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3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4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737" r:id="rId2"/>
    <p:sldMasterId id="2147483760" r:id="rId3"/>
    <p:sldMasterId id="2147483763" r:id="rId4"/>
    <p:sldMasterId id="2147483769" r:id="rId5"/>
  </p:sldMasterIdLst>
  <p:notesMasterIdLst>
    <p:notesMasterId r:id="rId16"/>
  </p:notesMasterIdLst>
  <p:sldIdLst>
    <p:sldId id="258" r:id="rId6"/>
    <p:sldId id="265" r:id="rId7"/>
    <p:sldId id="266" r:id="rId8"/>
    <p:sldId id="261" r:id="rId9"/>
    <p:sldId id="262" r:id="rId10"/>
    <p:sldId id="263" r:id="rId11"/>
    <p:sldId id="257" r:id="rId12"/>
    <p:sldId id="259" r:id="rId13"/>
    <p:sldId id="260" r:id="rId14"/>
    <p:sldId id="264" r:id="rId15"/>
  </p:sldIdLst>
  <p:sldSz cx="12192000" cy="6858000"/>
  <p:notesSz cx="6794500" cy="9906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27F"/>
    <a:srgbClr val="FFFCE1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81" autoAdjust="0"/>
    <p:restoredTop sz="94660"/>
  </p:normalViewPr>
  <p:slideViewPr>
    <p:cSldViewPr snapToGrid="0">
      <p:cViewPr varScale="1">
        <p:scale>
          <a:sx n="89" d="100"/>
          <a:sy n="89" d="100"/>
        </p:scale>
        <p:origin x="326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164278-1A16-4AA2-972B-E8A2AA0802A3}" type="datetimeFigureOut">
              <a:rPr lang="en-US" smtClean="0"/>
              <a:t>2/1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67262"/>
            <a:ext cx="543560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B3791B-2052-494E-82B0-3170225923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42989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5450" y="1238250"/>
            <a:ext cx="59436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B3791B-2052-494E-82B0-3170225923F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6506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25450" y="1238250"/>
            <a:ext cx="5943600" cy="3343275"/>
          </a:xfrm>
          <a:ln/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ru-RU" altLang="en-US" smtClean="0">
                <a:latin typeface="Arial" panose="020B0604020202020204" pitchFamily="34" charset="0"/>
              </a:rPr>
              <a:t> Позиционируется, что конкуренция между регионами – основа улучшения бизнес-климата. Но на практике, иностранные инвесторы прежде всего сравнивают Россию с другими странами, и выбор конкретного региона внутри страны становится важным уже после того, как компания принимает стратегическое решение о выходе в Россию в целом. Но на пути принятия такого решения зачастую встает барьер – восприятие бизнес-климата России в целом.</a:t>
            </a:r>
            <a:endParaRPr lang="en-US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2704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25450" y="1238250"/>
            <a:ext cx="5943600" cy="3343275"/>
          </a:xfrm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altLang="en-US" smtClean="0">
                <a:latin typeface="Arial" panose="020B0604020202020204" pitchFamily="34" charset="0"/>
              </a:rPr>
              <a:t>Если говорить непосредственно о методах повышения качества бизнес-климата отдельных регионов, то есть немаловажный аспект - сохранение баланса между ресурсами, которые тратятся на продвижение и </a:t>
            </a:r>
            <a:r>
              <a:rPr lang="en-US" altLang="en-US" smtClean="0">
                <a:latin typeface="Arial" panose="020B0604020202020204" pitchFamily="34" charset="0"/>
              </a:rPr>
              <a:t>PR</a:t>
            </a:r>
            <a:r>
              <a:rPr lang="ru-RU" altLang="en-US" smtClean="0">
                <a:latin typeface="Arial" panose="020B0604020202020204" pitchFamily="34" charset="0"/>
              </a:rPr>
              <a:t> с целью привлечения инвесторов, и ресурсами, которые идут на поддержку уже существующих / пришедших инвесторов и их проектов. </a:t>
            </a:r>
          </a:p>
          <a:p>
            <a:endParaRPr lang="ru-RU" altLang="en-US" smtClean="0">
              <a:latin typeface="Arial" panose="020B0604020202020204" pitchFamily="34" charset="0"/>
            </a:endParaRPr>
          </a:p>
          <a:p>
            <a:r>
              <a:rPr lang="ru-RU" altLang="en-US" smtClean="0">
                <a:latin typeface="Arial" panose="020B0604020202020204" pitchFamily="34" charset="0"/>
              </a:rPr>
              <a:t>Часто в этом смысле наблюдается «перекос», что выливается в негативное восприятие бизнес-климата инвесторами. </a:t>
            </a:r>
            <a:endParaRPr lang="en-US" altLang="en-U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5622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w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5.w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Y Panel"/>
          <p:cNvSpPr>
            <a:spLocks noChangeAspect="1"/>
          </p:cNvSpPr>
          <p:nvPr userDrawn="1"/>
        </p:nvSpPr>
        <p:spPr bwMode="gray">
          <a:xfrm rot="10800000">
            <a:off x="698505" y="136112"/>
            <a:ext cx="6171875" cy="3577372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941" dirty="0">
              <a:solidFill>
                <a:srgbClr val="333333"/>
              </a:solidFill>
            </a:endParaRPr>
          </a:p>
        </p:txBody>
      </p:sp>
      <p:pic>
        <p:nvPicPr>
          <p:cNvPr id="64" name="Logo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5857" y="5302650"/>
            <a:ext cx="1233683" cy="1149403"/>
          </a:xfrm>
          <a:prstGeom prst="rect">
            <a:avLst/>
          </a:prstGeom>
        </p:spPr>
      </p:pic>
      <p:sp>
        <p:nvSpPr>
          <p:cNvPr id="10" name="Date_Version"/>
          <p:cNvSpPr>
            <a:spLocks noGrp="1"/>
          </p:cNvSpPr>
          <p:nvPr>
            <p:ph type="body" sz="quarter" idx="13" hasCustomPrompt="1"/>
          </p:nvPr>
        </p:nvSpPr>
        <p:spPr>
          <a:xfrm>
            <a:off x="979198" y="3380826"/>
            <a:ext cx="5507757" cy="234810"/>
          </a:xfrm>
        </p:spPr>
        <p:txBody>
          <a:bodyPr/>
          <a:lstStyle>
            <a:lvl1pPr marL="0" marR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 sz="855">
                <a:solidFill>
                  <a:schemeClr val="bg2"/>
                </a:solidFill>
                <a:latin typeface="+mn-lt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5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</a:t>
            </a:r>
          </a:p>
        </p:txBody>
      </p:sp>
      <p:sp>
        <p:nvSpPr>
          <p:cNvPr id="6" name="Cover Text 2"/>
          <p:cNvSpPr>
            <a:spLocks noGrp="1"/>
          </p:cNvSpPr>
          <p:nvPr>
            <p:ph type="body" sz="quarter" idx="14" hasCustomPrompt="1"/>
          </p:nvPr>
        </p:nvSpPr>
        <p:spPr>
          <a:xfrm>
            <a:off x="979198" y="2637342"/>
            <a:ext cx="5507757" cy="389796"/>
          </a:xfrm>
        </p:spPr>
        <p:txBody>
          <a:bodyPr/>
          <a:lstStyle>
            <a:lvl1pPr>
              <a:spcAft>
                <a:spcPts val="0"/>
              </a:spcAft>
              <a:defRPr sz="1026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7" name="Cover Text 1"/>
          <p:cNvSpPr>
            <a:spLocks noGrp="1"/>
          </p:cNvSpPr>
          <p:nvPr>
            <p:ph type="title" hasCustomPrompt="1"/>
          </p:nvPr>
        </p:nvSpPr>
        <p:spPr>
          <a:xfrm>
            <a:off x="979994" y="1400980"/>
            <a:ext cx="5506961" cy="1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2394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8" name="Reliance Restricted"/>
          <p:cNvSpPr txBox="1"/>
          <p:nvPr userDrawn="1"/>
        </p:nvSpPr>
        <p:spPr>
          <a:xfrm>
            <a:off x="979199" y="3124986"/>
            <a:ext cx="2484365" cy="1578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Aft>
                <a:spcPts val="513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</a:pPr>
            <a:r>
              <a:rPr lang="en-US" sz="1026" b="1" kern="0" dirty="0">
                <a:solidFill>
                  <a:srgbClr val="000000"/>
                </a:solidFill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1190901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with S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95995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 bwMode="auto">
          <a:xfrm>
            <a:off x="698506" y="133005"/>
            <a:ext cx="10850644" cy="136328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endParaRPr lang="en-US" sz="1000" dirty="0" smtClean="0">
              <a:solidFill>
                <a:schemeClr val="tx1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4" name="Divider Gray"/>
          <p:cNvSpPr>
            <a:spLocks/>
          </p:cNvSpPr>
          <p:nvPr userDrawn="1"/>
        </p:nvSpPr>
        <p:spPr bwMode="auto">
          <a:xfrm>
            <a:off x="-144" y="1"/>
            <a:ext cx="12192000" cy="5984011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6">
              <a:alphaModFix amt="65000"/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941" dirty="0">
              <a:solidFill>
                <a:srgbClr val="646464"/>
              </a:solidFill>
            </a:endParaRPr>
          </a:p>
        </p:txBody>
      </p:sp>
      <p:sp>
        <p:nvSpPr>
          <p:cNvPr id="3" name="Mini-TOC"/>
          <p:cNvSpPr>
            <a:spLocks noGrp="1"/>
          </p:cNvSpPr>
          <p:nvPr>
            <p:ph type="tbl" sz="quarter" idx="13"/>
          </p:nvPr>
        </p:nvSpPr>
        <p:spPr>
          <a:xfrm>
            <a:off x="698506" y="2770180"/>
            <a:ext cx="5397351" cy="2263411"/>
          </a:xfrm>
        </p:spPr>
        <p:txBody>
          <a:bodyPr/>
          <a:lstStyle/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7" name="Cover Text 2"/>
          <p:cNvSpPr>
            <a:spLocks noGrp="1"/>
          </p:cNvSpPr>
          <p:nvPr>
            <p:ph type="subTitle" idx="11" hasCustomPrompt="1"/>
          </p:nvPr>
        </p:nvSpPr>
        <p:spPr>
          <a:xfrm>
            <a:off x="698507" y="2200073"/>
            <a:ext cx="5397493" cy="414676"/>
          </a:xfrm>
        </p:spPr>
        <p:txBody>
          <a:bodyPr tIns="0" bIns="0">
            <a:noAutofit/>
          </a:bodyPr>
          <a:lstStyle>
            <a:lvl1pPr marL="0" indent="0" algn="l">
              <a:lnSpc>
                <a:spcPts val="1283"/>
              </a:lnSpc>
              <a:spcBef>
                <a:spcPts val="0"/>
              </a:spcBef>
              <a:spcAft>
                <a:spcPts val="513"/>
              </a:spcAft>
              <a:buNone/>
              <a:defRPr sz="1197" baseline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368">
                <a:solidFill>
                  <a:srgbClr val="404040"/>
                </a:solidFill>
              </a:defRPr>
            </a:lvl2pPr>
            <a:lvl3pPr marL="781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72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63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54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45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36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27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Section subtitle</a:t>
            </a:r>
            <a:endParaRPr lang="en-GB" dirty="0"/>
          </a:p>
        </p:txBody>
      </p:sp>
      <p:sp>
        <p:nvSpPr>
          <p:cNvPr id="8" name="Cover Text 1"/>
          <p:cNvSpPr>
            <a:spLocks noGrp="1"/>
          </p:cNvSpPr>
          <p:nvPr>
            <p:ph type="title" hasCustomPrompt="1"/>
          </p:nvPr>
        </p:nvSpPr>
        <p:spPr>
          <a:xfrm>
            <a:off x="698507" y="1436019"/>
            <a:ext cx="5397493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052"/>
              </a:lnSpc>
              <a:spcBef>
                <a:spcPts val="0"/>
              </a:spcBef>
              <a:defRPr sz="1796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9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698651" y="341109"/>
            <a:ext cx="5397349" cy="1078159"/>
          </a:xfrm>
        </p:spPr>
        <p:txBody>
          <a:bodyPr/>
          <a:lstStyle>
            <a:lvl1pPr>
              <a:lnSpc>
                <a:spcPts val="7439"/>
              </a:lnSpc>
              <a:spcAft>
                <a:spcPts val="0"/>
              </a:spcAft>
              <a:defRPr sz="7183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51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69808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83234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9867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full-pag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sz="quarter" idx="12" hasCustomPrompt="1"/>
          </p:nvPr>
        </p:nvSpPr>
        <p:spPr>
          <a:xfrm>
            <a:off x="698505" y="1550891"/>
            <a:ext cx="10790355" cy="4561441"/>
          </a:xfrm>
        </p:spPr>
        <p:txBody>
          <a:bodyPr numCol="1" spcCol="0"/>
          <a:lstStyle>
            <a:lvl1pPr>
              <a:defRPr/>
            </a:lvl1pPr>
            <a:lvl5pPr>
              <a:buAutoNum type="arabicPeriod"/>
              <a:defRPr/>
            </a:lvl5pPr>
          </a:lstStyle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</p:txBody>
      </p:sp>
      <p:sp>
        <p:nvSpPr>
          <p:cNvPr id="5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670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full-page 2 snaking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698505" y="1550891"/>
            <a:ext cx="10790355" cy="4561441"/>
          </a:xfrm>
        </p:spPr>
        <p:txBody>
          <a:bodyPr numCol="2" spcCol="109728"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0"/>
            <a:endParaRPr lang="en-US" dirty="0"/>
          </a:p>
        </p:txBody>
      </p:sp>
      <p:sp>
        <p:nvSpPr>
          <p:cNvPr id="6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276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full-page 3 snaking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"/>
          <p:cNvSpPr>
            <a:spLocks noGrp="1"/>
          </p:cNvSpPr>
          <p:nvPr>
            <p:ph sz="quarter" idx="16" hasCustomPrompt="1"/>
          </p:nvPr>
        </p:nvSpPr>
        <p:spPr>
          <a:xfrm>
            <a:off x="698505" y="1550891"/>
            <a:ext cx="10792888" cy="4557121"/>
          </a:xfrm>
        </p:spPr>
        <p:txBody>
          <a:bodyPr numCol="3" spcCol="109728"/>
          <a:lstStyle>
            <a:lvl5pPr>
              <a:buClrTx/>
              <a:defRPr/>
            </a:lvl5pPr>
          </a:lstStyle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0"/>
            <a:endParaRPr lang="en-US" dirty="0"/>
          </a:p>
        </p:txBody>
      </p:sp>
      <p:sp>
        <p:nvSpPr>
          <p:cNvPr id="5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641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67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"/>
          <p:cNvSpPr>
            <a:spLocks noGrp="1"/>
          </p:cNvSpPr>
          <p:nvPr>
            <p:ph sz="quarter" idx="17" hasCustomPrompt="1"/>
          </p:nvPr>
        </p:nvSpPr>
        <p:spPr>
          <a:xfrm>
            <a:off x="4326567" y="1550891"/>
            <a:ext cx="7162293" cy="4557121"/>
          </a:xfrm>
        </p:spPr>
        <p:txBody>
          <a:bodyPr numCol="2" spcCol="109728"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0"/>
            <a:endParaRPr lang="en-US" dirty="0"/>
          </a:p>
        </p:txBody>
      </p:sp>
      <p:sp>
        <p:nvSpPr>
          <p:cNvPr id="5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05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67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sz="quarter" idx="17" hasCustomPrompt="1"/>
          </p:nvPr>
        </p:nvSpPr>
        <p:spPr>
          <a:xfrm>
            <a:off x="4326567" y="1550891"/>
            <a:ext cx="7162293" cy="4557121"/>
          </a:xfrm>
        </p:spPr>
        <p:txBody>
          <a:bodyPr numCol="1" spcCol="109728"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0"/>
            <a:endParaRPr lang="en-US" dirty="0"/>
          </a:p>
        </p:txBody>
      </p:sp>
      <p:sp>
        <p:nvSpPr>
          <p:cNvPr id="5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333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67-3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7985905" y="1550891"/>
            <a:ext cx="3502956" cy="456144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sz="quarter" idx="16" hasCustomPrompt="1"/>
          </p:nvPr>
        </p:nvSpPr>
        <p:spPr>
          <a:xfrm>
            <a:off x="698506" y="1550891"/>
            <a:ext cx="7162293" cy="4561441"/>
          </a:xfrm>
        </p:spPr>
        <p:txBody>
          <a:bodyPr numCol="2" spcCol="109728"/>
          <a:lstStyle>
            <a:lvl9pPr>
              <a:defRPr/>
            </a:lvl9pPr>
          </a:lstStyle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8"/>
            <a:endParaRPr lang="en-US" dirty="0"/>
          </a:p>
        </p:txBody>
      </p:sp>
      <p:sp>
        <p:nvSpPr>
          <p:cNvPr id="6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912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50-50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 hasCustomPrompt="1"/>
          </p:nvPr>
        </p:nvSpPr>
        <p:spPr>
          <a:xfrm>
            <a:off x="6161449" y="1550891"/>
            <a:ext cx="5327412" cy="455712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15" name="Content Placeholder 1"/>
          <p:cNvSpPr>
            <a:spLocks noGrp="1"/>
          </p:cNvSpPr>
          <p:nvPr>
            <p:ph sz="quarter" idx="16" hasCustomPrompt="1"/>
          </p:nvPr>
        </p:nvSpPr>
        <p:spPr>
          <a:xfrm>
            <a:off x="698506" y="1550891"/>
            <a:ext cx="5337837" cy="455712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6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299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8" hasCustomPrompt="1"/>
            <p:custDataLst>
              <p:tags r:id="rId1"/>
            </p:custDataLst>
          </p:nvPr>
        </p:nvSpPr>
        <p:spPr>
          <a:xfrm>
            <a:off x="9799935" y="1550891"/>
            <a:ext cx="1688925" cy="456144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sz="quarter" idx="17" hasCustomPrompt="1"/>
          </p:nvPr>
        </p:nvSpPr>
        <p:spPr>
          <a:xfrm>
            <a:off x="2512536" y="1550891"/>
            <a:ext cx="7162293" cy="456144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6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347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-partner info 4"/>
          <p:cNvSpPr>
            <a:spLocks noGrp="1"/>
          </p:cNvSpPr>
          <p:nvPr>
            <p:ph type="body" sz="quarter" idx="44" hasCustomPrompt="1"/>
          </p:nvPr>
        </p:nvSpPr>
        <p:spPr>
          <a:xfrm>
            <a:off x="8913771" y="3997481"/>
            <a:ext cx="2585515" cy="605428"/>
          </a:xfrm>
        </p:spPr>
        <p:txBody>
          <a:bodyPr/>
          <a:lstStyle>
            <a:lvl1pPr>
              <a:spcAft>
                <a:spcPts val="0"/>
              </a:spcAft>
              <a:defRPr sz="770"/>
            </a:lvl1pPr>
          </a:lstStyle>
          <a:p>
            <a:pPr lvl="0"/>
            <a:r>
              <a:rPr lang="en-US" dirty="0" smtClean="0"/>
              <a:t>Tel: +## #### #### #### </a:t>
            </a:r>
            <a:br>
              <a:rPr lang="en-US" dirty="0" smtClean="0"/>
            </a:br>
            <a:r>
              <a:rPr lang="en-US" dirty="0" smtClean="0"/>
              <a:t>Mobile: +## #### #### #### </a:t>
            </a:r>
            <a:br>
              <a:rPr lang="en-US" dirty="0" smtClean="0"/>
            </a:br>
            <a:r>
              <a:rPr lang="en-US" dirty="0" smtClean="0"/>
              <a:t>Email: </a:t>
            </a:r>
            <a:r>
              <a:rPr lang="en-US" dirty="0" err="1" smtClean="0"/>
              <a:t>xxx@xxx</a:t>
            </a:r>
            <a:endParaRPr lang="en-US" dirty="0" smtClean="0"/>
          </a:p>
        </p:txBody>
      </p:sp>
      <p:sp>
        <p:nvSpPr>
          <p:cNvPr id="14" name="Text Placeholder-partner title 4"/>
          <p:cNvSpPr>
            <a:spLocks noGrp="1"/>
          </p:cNvSpPr>
          <p:nvPr>
            <p:ph type="body" sz="quarter" idx="42" hasCustomPrompt="1"/>
          </p:nvPr>
        </p:nvSpPr>
        <p:spPr>
          <a:xfrm>
            <a:off x="8913771" y="3806731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1" name="Text Placeholder-partner name 4"/>
          <p:cNvSpPr>
            <a:spLocks noGrp="1"/>
          </p:cNvSpPr>
          <p:nvPr>
            <p:ph type="body" sz="quarter" idx="39" hasCustomPrompt="1"/>
          </p:nvPr>
        </p:nvSpPr>
        <p:spPr>
          <a:xfrm>
            <a:off x="8906823" y="3657447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artner or senior manager name</a:t>
            </a:r>
            <a:endParaRPr lang="en-US" dirty="0"/>
          </a:p>
        </p:txBody>
      </p:sp>
      <p:sp>
        <p:nvSpPr>
          <p:cNvPr id="18" name="Text Placeholder-partner info 3"/>
          <p:cNvSpPr>
            <a:spLocks noGrp="1"/>
          </p:cNvSpPr>
          <p:nvPr>
            <p:ph type="body" sz="quarter" idx="45" hasCustomPrompt="1"/>
          </p:nvPr>
        </p:nvSpPr>
        <p:spPr>
          <a:xfrm>
            <a:off x="8913771" y="2894441"/>
            <a:ext cx="2585515" cy="605428"/>
          </a:xfrm>
        </p:spPr>
        <p:txBody>
          <a:bodyPr/>
          <a:lstStyle>
            <a:lvl1pPr>
              <a:spcAft>
                <a:spcPts val="0"/>
              </a:spcAft>
              <a:defRPr sz="770"/>
            </a:lvl1pPr>
          </a:lstStyle>
          <a:p>
            <a:pPr lvl="0"/>
            <a:r>
              <a:rPr lang="en-US" dirty="0" smtClean="0"/>
              <a:t>Tel: +## #### #### #### </a:t>
            </a:r>
            <a:br>
              <a:rPr lang="en-US" dirty="0" smtClean="0"/>
            </a:br>
            <a:r>
              <a:rPr lang="en-US" dirty="0" smtClean="0"/>
              <a:t>Mobile: +## #### #### #### </a:t>
            </a:r>
            <a:br>
              <a:rPr lang="en-US" dirty="0" smtClean="0"/>
            </a:br>
            <a:r>
              <a:rPr lang="en-US" dirty="0" smtClean="0"/>
              <a:t>Email: </a:t>
            </a:r>
            <a:r>
              <a:rPr lang="en-US" dirty="0" err="1" smtClean="0"/>
              <a:t>xxx@xxx</a:t>
            </a:r>
            <a:endParaRPr lang="en-US" dirty="0" smtClean="0"/>
          </a:p>
        </p:txBody>
      </p:sp>
      <p:sp>
        <p:nvSpPr>
          <p:cNvPr id="15" name="Text Placeholder-partner title 3"/>
          <p:cNvSpPr>
            <a:spLocks noGrp="1"/>
          </p:cNvSpPr>
          <p:nvPr>
            <p:ph type="body" sz="quarter" idx="43" hasCustomPrompt="1"/>
          </p:nvPr>
        </p:nvSpPr>
        <p:spPr>
          <a:xfrm>
            <a:off x="8906823" y="2703691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9" name="Text Placeholder-partner name 3"/>
          <p:cNvSpPr>
            <a:spLocks noGrp="1"/>
          </p:cNvSpPr>
          <p:nvPr>
            <p:ph type="body" sz="quarter" idx="38" hasCustomPrompt="1"/>
          </p:nvPr>
        </p:nvSpPr>
        <p:spPr>
          <a:xfrm>
            <a:off x="8906823" y="2554408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artner or senior manager name</a:t>
            </a:r>
            <a:endParaRPr lang="en-US" dirty="0"/>
          </a:p>
        </p:txBody>
      </p:sp>
      <p:sp>
        <p:nvSpPr>
          <p:cNvPr id="19" name="Text Placeholder-partner info 2"/>
          <p:cNvSpPr>
            <a:spLocks noGrp="1"/>
          </p:cNvSpPr>
          <p:nvPr>
            <p:ph type="body" sz="quarter" idx="46" hasCustomPrompt="1"/>
          </p:nvPr>
        </p:nvSpPr>
        <p:spPr>
          <a:xfrm>
            <a:off x="8913771" y="1807989"/>
            <a:ext cx="2585515" cy="605428"/>
          </a:xfrm>
        </p:spPr>
        <p:txBody>
          <a:bodyPr/>
          <a:lstStyle>
            <a:lvl1pPr>
              <a:spcAft>
                <a:spcPts val="0"/>
              </a:spcAft>
              <a:defRPr sz="770"/>
            </a:lvl1pPr>
          </a:lstStyle>
          <a:p>
            <a:pPr lvl="0"/>
            <a:r>
              <a:rPr lang="en-US" dirty="0" smtClean="0"/>
              <a:t>Tel: +## #### #### #### </a:t>
            </a:r>
            <a:br>
              <a:rPr lang="en-US" dirty="0" smtClean="0"/>
            </a:br>
            <a:r>
              <a:rPr lang="en-US" dirty="0" smtClean="0"/>
              <a:t>Mobile: +## #### #### #### </a:t>
            </a:r>
            <a:br>
              <a:rPr lang="en-US" dirty="0" smtClean="0"/>
            </a:br>
            <a:r>
              <a:rPr lang="en-US" dirty="0" smtClean="0"/>
              <a:t>Email: </a:t>
            </a:r>
            <a:r>
              <a:rPr lang="en-US" dirty="0" err="1" smtClean="0"/>
              <a:t>xxx@xxx</a:t>
            </a:r>
            <a:endParaRPr lang="en-US" dirty="0" smtClean="0"/>
          </a:p>
        </p:txBody>
      </p:sp>
      <p:sp>
        <p:nvSpPr>
          <p:cNvPr id="13" name="Text Placeholder-partner title 2"/>
          <p:cNvSpPr>
            <a:spLocks noGrp="1"/>
          </p:cNvSpPr>
          <p:nvPr>
            <p:ph type="body" sz="quarter" idx="41" hasCustomPrompt="1"/>
          </p:nvPr>
        </p:nvSpPr>
        <p:spPr>
          <a:xfrm>
            <a:off x="8906823" y="1617239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8" name="Text Placeholder-partner name 2"/>
          <p:cNvSpPr>
            <a:spLocks noGrp="1"/>
          </p:cNvSpPr>
          <p:nvPr>
            <p:ph type="body" sz="quarter" idx="37" hasCustomPrompt="1"/>
          </p:nvPr>
        </p:nvSpPr>
        <p:spPr>
          <a:xfrm>
            <a:off x="8906823" y="1467956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artner or senior manager name</a:t>
            </a:r>
            <a:endParaRPr lang="en-US" dirty="0"/>
          </a:p>
        </p:txBody>
      </p:sp>
      <p:sp>
        <p:nvSpPr>
          <p:cNvPr id="20" name="Text Placeholder-partner info 1"/>
          <p:cNvSpPr>
            <a:spLocks noGrp="1"/>
          </p:cNvSpPr>
          <p:nvPr>
            <p:ph type="body" sz="quarter" idx="47" hasCustomPrompt="1"/>
          </p:nvPr>
        </p:nvSpPr>
        <p:spPr>
          <a:xfrm>
            <a:off x="8913771" y="704950"/>
            <a:ext cx="2585515" cy="605428"/>
          </a:xfrm>
        </p:spPr>
        <p:txBody>
          <a:bodyPr/>
          <a:lstStyle>
            <a:lvl1pPr>
              <a:spcAft>
                <a:spcPts val="0"/>
              </a:spcAft>
              <a:defRPr sz="770"/>
            </a:lvl1pPr>
          </a:lstStyle>
          <a:p>
            <a:pPr lvl="0"/>
            <a:r>
              <a:rPr lang="en-US" dirty="0" smtClean="0"/>
              <a:t>Tel: +## #### #### #### </a:t>
            </a:r>
            <a:br>
              <a:rPr lang="en-US" dirty="0" smtClean="0"/>
            </a:br>
            <a:r>
              <a:rPr lang="en-US" dirty="0" smtClean="0"/>
              <a:t>Mobile: +## #### #### #### </a:t>
            </a:r>
            <a:br>
              <a:rPr lang="en-US" dirty="0" smtClean="0"/>
            </a:br>
            <a:r>
              <a:rPr lang="en-US" dirty="0" smtClean="0"/>
              <a:t>Email: </a:t>
            </a:r>
            <a:r>
              <a:rPr lang="en-US" dirty="0" err="1" smtClean="0"/>
              <a:t>xxx@xxx</a:t>
            </a:r>
            <a:endParaRPr lang="en-US" dirty="0" smtClean="0"/>
          </a:p>
        </p:txBody>
      </p:sp>
      <p:sp>
        <p:nvSpPr>
          <p:cNvPr id="4" name="Text Placeholder-partner title 1"/>
          <p:cNvSpPr>
            <a:spLocks noGrp="1"/>
          </p:cNvSpPr>
          <p:nvPr>
            <p:ph type="body" sz="quarter" idx="40" hasCustomPrompt="1"/>
          </p:nvPr>
        </p:nvSpPr>
        <p:spPr>
          <a:xfrm>
            <a:off x="8913771" y="514200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3" name="Text Placeholder-partner name 1"/>
          <p:cNvSpPr>
            <a:spLocks noGrp="1"/>
          </p:cNvSpPr>
          <p:nvPr>
            <p:ph type="body" sz="quarter" idx="36" hasCustomPrompt="1"/>
          </p:nvPr>
        </p:nvSpPr>
        <p:spPr>
          <a:xfrm>
            <a:off x="8913771" y="364916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artner or senior manager name</a:t>
            </a:r>
            <a:endParaRPr lang="en-US" dirty="0"/>
          </a:p>
        </p:txBody>
      </p:sp>
      <p:sp>
        <p:nvSpPr>
          <p:cNvPr id="21" name="EY Panel"/>
          <p:cNvSpPr>
            <a:spLocks noChangeAspect="1"/>
          </p:cNvSpPr>
          <p:nvPr userDrawn="1"/>
        </p:nvSpPr>
        <p:spPr bwMode="gray">
          <a:xfrm rot="10800000">
            <a:off x="698505" y="389797"/>
            <a:ext cx="6171875" cy="4145325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941" dirty="0">
              <a:solidFill>
                <a:srgbClr val="646464"/>
              </a:solidFill>
            </a:endParaRPr>
          </a:p>
        </p:txBody>
      </p:sp>
      <p:sp>
        <p:nvSpPr>
          <p:cNvPr id="23" name="Cover Text 2"/>
          <p:cNvSpPr>
            <a:spLocks noGrp="1"/>
          </p:cNvSpPr>
          <p:nvPr>
            <p:ph type="body" sz="quarter" idx="14" hasCustomPrompt="1"/>
          </p:nvPr>
        </p:nvSpPr>
        <p:spPr>
          <a:xfrm>
            <a:off x="979199" y="2637342"/>
            <a:ext cx="5504644" cy="389796"/>
          </a:xfrm>
        </p:spPr>
        <p:txBody>
          <a:bodyPr/>
          <a:lstStyle>
            <a:lvl1pPr>
              <a:spcAft>
                <a:spcPts val="0"/>
              </a:spcAft>
              <a:defRPr sz="1026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24" name="Cover Text 1"/>
          <p:cNvSpPr>
            <a:spLocks noGrp="1"/>
          </p:cNvSpPr>
          <p:nvPr>
            <p:ph type="title" hasCustomPrompt="1"/>
          </p:nvPr>
        </p:nvSpPr>
        <p:spPr>
          <a:xfrm>
            <a:off x="979994" y="1400980"/>
            <a:ext cx="5504644" cy="1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2394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pic>
        <p:nvPicPr>
          <p:cNvPr id="25" name="Logo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8657" y="5316152"/>
            <a:ext cx="1236940" cy="1152800"/>
          </a:xfrm>
          <a:prstGeom prst="rect">
            <a:avLst/>
          </a:prstGeom>
        </p:spPr>
      </p:pic>
      <p:sp>
        <p:nvSpPr>
          <p:cNvPr id="28" name="Date_Version"/>
          <p:cNvSpPr>
            <a:spLocks noGrp="1"/>
          </p:cNvSpPr>
          <p:nvPr>
            <p:ph type="body" sz="quarter" idx="13" hasCustomPrompt="1"/>
          </p:nvPr>
        </p:nvSpPr>
        <p:spPr>
          <a:xfrm>
            <a:off x="979994" y="3969325"/>
            <a:ext cx="5507757" cy="234810"/>
          </a:xfrm>
        </p:spPr>
        <p:txBody>
          <a:bodyPr/>
          <a:lstStyle>
            <a:lvl1pPr marL="0" marR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 sz="855">
                <a:solidFill>
                  <a:schemeClr val="bg2"/>
                </a:solidFill>
                <a:latin typeface="+mn-lt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5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29" name="Reliance Restricted"/>
          <p:cNvSpPr txBox="1"/>
          <p:nvPr userDrawn="1"/>
        </p:nvSpPr>
        <p:spPr>
          <a:xfrm>
            <a:off x="979994" y="3713485"/>
            <a:ext cx="2484365" cy="1578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Aft>
                <a:spcPts val="513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</a:pPr>
            <a:r>
              <a:rPr lang="en-US" sz="1026" b="1" kern="0" dirty="0">
                <a:solidFill>
                  <a:srgbClr val="000000"/>
                </a:solidFill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423195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0572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Column 12"/>
          <p:cNvSpPr/>
          <p:nvPr userDrawn="1"/>
        </p:nvSpPr>
        <p:spPr>
          <a:xfrm>
            <a:off x="10706951" y="1550890"/>
            <a:ext cx="788211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0" name="Gutter 11"/>
          <p:cNvSpPr/>
          <p:nvPr userDrawn="1"/>
        </p:nvSpPr>
        <p:spPr>
          <a:xfrm>
            <a:off x="10581846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6" name="Column 11"/>
          <p:cNvSpPr/>
          <p:nvPr userDrawn="1"/>
        </p:nvSpPr>
        <p:spPr>
          <a:xfrm>
            <a:off x="9799936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1" name="Gutter 10"/>
          <p:cNvSpPr/>
          <p:nvPr userDrawn="1"/>
        </p:nvSpPr>
        <p:spPr>
          <a:xfrm>
            <a:off x="9674830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0" name="Column 10"/>
          <p:cNvSpPr/>
          <p:nvPr userDrawn="1"/>
        </p:nvSpPr>
        <p:spPr>
          <a:xfrm>
            <a:off x="8892920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2" name="Gutter 9"/>
          <p:cNvSpPr/>
          <p:nvPr userDrawn="1"/>
        </p:nvSpPr>
        <p:spPr>
          <a:xfrm>
            <a:off x="8767815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1" name="Column 9"/>
          <p:cNvSpPr/>
          <p:nvPr userDrawn="1"/>
        </p:nvSpPr>
        <p:spPr>
          <a:xfrm>
            <a:off x="7985906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3" name="Gutter 8"/>
          <p:cNvSpPr/>
          <p:nvPr userDrawn="1"/>
        </p:nvSpPr>
        <p:spPr>
          <a:xfrm>
            <a:off x="7860799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2" name="Column 8"/>
          <p:cNvSpPr/>
          <p:nvPr userDrawn="1"/>
        </p:nvSpPr>
        <p:spPr>
          <a:xfrm>
            <a:off x="7078889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4" name="Gutter 7"/>
          <p:cNvSpPr/>
          <p:nvPr userDrawn="1"/>
        </p:nvSpPr>
        <p:spPr>
          <a:xfrm>
            <a:off x="6953784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3" name="Column 7"/>
          <p:cNvSpPr/>
          <p:nvPr userDrawn="1"/>
        </p:nvSpPr>
        <p:spPr>
          <a:xfrm>
            <a:off x="6161450" y="1550890"/>
            <a:ext cx="792335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5" name="Gutter 6"/>
          <p:cNvSpPr/>
          <p:nvPr userDrawn="1"/>
        </p:nvSpPr>
        <p:spPr>
          <a:xfrm>
            <a:off x="6036343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4" name="Column 6"/>
          <p:cNvSpPr/>
          <p:nvPr userDrawn="1"/>
        </p:nvSpPr>
        <p:spPr>
          <a:xfrm>
            <a:off x="5244009" y="1550890"/>
            <a:ext cx="792335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6" name="Gutter 5"/>
          <p:cNvSpPr/>
          <p:nvPr userDrawn="1"/>
        </p:nvSpPr>
        <p:spPr>
          <a:xfrm>
            <a:off x="5118903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5" name="Column 5"/>
          <p:cNvSpPr/>
          <p:nvPr userDrawn="1"/>
        </p:nvSpPr>
        <p:spPr>
          <a:xfrm>
            <a:off x="4326569" y="1550890"/>
            <a:ext cx="792335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7" name="Gutter 4"/>
          <p:cNvSpPr/>
          <p:nvPr userDrawn="1"/>
        </p:nvSpPr>
        <p:spPr>
          <a:xfrm>
            <a:off x="4201462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6" name="Column 4"/>
          <p:cNvSpPr/>
          <p:nvPr userDrawn="1"/>
        </p:nvSpPr>
        <p:spPr>
          <a:xfrm>
            <a:off x="3419552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8" name="Gutter 3"/>
          <p:cNvSpPr/>
          <p:nvPr userDrawn="1"/>
        </p:nvSpPr>
        <p:spPr>
          <a:xfrm>
            <a:off x="3294447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7" name="Column 3"/>
          <p:cNvSpPr/>
          <p:nvPr userDrawn="1"/>
        </p:nvSpPr>
        <p:spPr>
          <a:xfrm>
            <a:off x="2512538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9" name="Gutter 2"/>
          <p:cNvSpPr/>
          <p:nvPr userDrawn="1"/>
        </p:nvSpPr>
        <p:spPr>
          <a:xfrm>
            <a:off x="2387431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8" name="Column 2"/>
          <p:cNvSpPr/>
          <p:nvPr userDrawn="1"/>
        </p:nvSpPr>
        <p:spPr>
          <a:xfrm>
            <a:off x="1605522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30" name="Gutter 1"/>
          <p:cNvSpPr/>
          <p:nvPr userDrawn="1"/>
        </p:nvSpPr>
        <p:spPr>
          <a:xfrm>
            <a:off x="1480416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9" name="Column 1"/>
          <p:cNvSpPr/>
          <p:nvPr userDrawn="1"/>
        </p:nvSpPr>
        <p:spPr>
          <a:xfrm>
            <a:off x="698650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3" name="Title Headlin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Do not send to a client. Add a slide with this master to get this grid.</a:t>
            </a:r>
          </a:p>
        </p:txBody>
      </p:sp>
      <p:sp>
        <p:nvSpPr>
          <p:cNvPr id="31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Use this slide to arrange items so that they fit neatly into this grid. Press ALT-F9 to toggle column and margin guides on and off. </a:t>
            </a:r>
          </a:p>
        </p:txBody>
      </p:sp>
    </p:spTree>
    <p:extLst>
      <p:ext uri="{BB962C8B-B14F-4D97-AF65-F5344CB8AC3E}">
        <p14:creationId xmlns:p14="http://schemas.microsoft.com/office/powerpoint/2010/main" val="307013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51200" y="6415201"/>
            <a:ext cx="4579200" cy="201600"/>
          </a:xfrm>
          <a:prstGeom prst="rect">
            <a:avLst/>
          </a:prstGeom>
        </p:spPr>
        <p:txBody>
          <a:bodyPr/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GB" sz="941" dirty="0">
                <a:solidFill>
                  <a:srgbClr val="808080"/>
                </a:solidFill>
              </a:rPr>
              <a:t>Presentation title</a:t>
            </a:r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2700">
            <a:solidFill>
              <a:srgbClr val="FFC0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1697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en-US" sz="1697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59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with imag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Y Panel"/>
          <p:cNvSpPr>
            <a:spLocks noChangeAspect="1"/>
          </p:cNvSpPr>
          <p:nvPr userDrawn="1"/>
        </p:nvSpPr>
        <p:spPr bwMode="gray">
          <a:xfrm rot="10800000">
            <a:off x="698505" y="389797"/>
            <a:ext cx="6171875" cy="4145325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941">
              <a:solidFill>
                <a:srgbClr val="333333"/>
              </a:solidFill>
            </a:endParaRPr>
          </a:p>
        </p:txBody>
      </p:sp>
      <p:pic>
        <p:nvPicPr>
          <p:cNvPr id="64" name="Logo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5857" y="5302650"/>
            <a:ext cx="1233683" cy="1149403"/>
          </a:xfrm>
          <a:prstGeom prst="rect">
            <a:avLst/>
          </a:prstGeom>
        </p:spPr>
      </p:pic>
      <p:sp>
        <p:nvSpPr>
          <p:cNvPr id="10" name="Date_Version"/>
          <p:cNvSpPr>
            <a:spLocks noGrp="1"/>
          </p:cNvSpPr>
          <p:nvPr>
            <p:ph type="body" sz="quarter" idx="13" hasCustomPrompt="1"/>
          </p:nvPr>
        </p:nvSpPr>
        <p:spPr>
          <a:xfrm>
            <a:off x="979994" y="3969325"/>
            <a:ext cx="5507757" cy="234810"/>
          </a:xfrm>
        </p:spPr>
        <p:txBody>
          <a:bodyPr/>
          <a:lstStyle>
            <a:lvl1pPr marL="0" marR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 sz="855">
                <a:solidFill>
                  <a:schemeClr val="bg2"/>
                </a:solidFill>
                <a:latin typeface="+mn-lt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5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6" name="Cover Text 2"/>
          <p:cNvSpPr>
            <a:spLocks noGrp="1"/>
          </p:cNvSpPr>
          <p:nvPr>
            <p:ph type="body" sz="quarter" idx="14" hasCustomPrompt="1"/>
          </p:nvPr>
        </p:nvSpPr>
        <p:spPr>
          <a:xfrm>
            <a:off x="979198" y="2637342"/>
            <a:ext cx="5507757" cy="389796"/>
          </a:xfrm>
        </p:spPr>
        <p:txBody>
          <a:bodyPr/>
          <a:lstStyle>
            <a:lvl1pPr>
              <a:spcAft>
                <a:spcPts val="0"/>
              </a:spcAft>
              <a:defRPr sz="1026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7" name="Cover Text 1"/>
          <p:cNvSpPr>
            <a:spLocks noGrp="1"/>
          </p:cNvSpPr>
          <p:nvPr>
            <p:ph type="title" hasCustomPrompt="1"/>
          </p:nvPr>
        </p:nvSpPr>
        <p:spPr>
          <a:xfrm>
            <a:off x="979994" y="1400980"/>
            <a:ext cx="5506961" cy="1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2394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8" name="Reliance Restricted"/>
          <p:cNvSpPr txBox="1"/>
          <p:nvPr userDrawn="1"/>
        </p:nvSpPr>
        <p:spPr>
          <a:xfrm>
            <a:off x="979994" y="3713485"/>
            <a:ext cx="2484365" cy="1578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Aft>
                <a:spcPts val="513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</a:pPr>
            <a:r>
              <a:rPr lang="en-US" sz="1026" b="1" kern="0" dirty="0">
                <a:solidFill>
                  <a:srgbClr val="000000"/>
                </a:solidFill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2178417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-partner info 4"/>
          <p:cNvSpPr>
            <a:spLocks noGrp="1"/>
          </p:cNvSpPr>
          <p:nvPr>
            <p:ph type="body" sz="quarter" idx="44" hasCustomPrompt="1"/>
          </p:nvPr>
        </p:nvSpPr>
        <p:spPr>
          <a:xfrm>
            <a:off x="8913771" y="3997481"/>
            <a:ext cx="2585515" cy="605428"/>
          </a:xfrm>
        </p:spPr>
        <p:txBody>
          <a:bodyPr/>
          <a:lstStyle>
            <a:lvl1pPr>
              <a:spcAft>
                <a:spcPts val="0"/>
              </a:spcAft>
              <a:defRPr sz="770"/>
            </a:lvl1pPr>
          </a:lstStyle>
          <a:p>
            <a:pPr lvl="0"/>
            <a:r>
              <a:rPr lang="en-US" dirty="0" smtClean="0"/>
              <a:t>Tel: +## #### #### #### </a:t>
            </a:r>
            <a:br>
              <a:rPr lang="en-US" dirty="0" smtClean="0"/>
            </a:br>
            <a:r>
              <a:rPr lang="en-US" dirty="0" smtClean="0"/>
              <a:t>Mobile: +## #### #### #### </a:t>
            </a:r>
            <a:br>
              <a:rPr lang="en-US" dirty="0" smtClean="0"/>
            </a:br>
            <a:r>
              <a:rPr lang="en-US" dirty="0" smtClean="0"/>
              <a:t>Email: </a:t>
            </a:r>
            <a:r>
              <a:rPr lang="en-US" dirty="0" err="1" smtClean="0"/>
              <a:t>xxx@xxx</a:t>
            </a:r>
            <a:endParaRPr lang="en-US" dirty="0" smtClean="0"/>
          </a:p>
        </p:txBody>
      </p:sp>
      <p:sp>
        <p:nvSpPr>
          <p:cNvPr id="14" name="Text Placeholder-partner title 4"/>
          <p:cNvSpPr>
            <a:spLocks noGrp="1"/>
          </p:cNvSpPr>
          <p:nvPr>
            <p:ph type="body" sz="quarter" idx="42" hasCustomPrompt="1"/>
          </p:nvPr>
        </p:nvSpPr>
        <p:spPr>
          <a:xfrm>
            <a:off x="8913771" y="3806731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1" name="Text Placeholder-partner name 4"/>
          <p:cNvSpPr>
            <a:spLocks noGrp="1"/>
          </p:cNvSpPr>
          <p:nvPr>
            <p:ph type="body" sz="quarter" idx="39" hasCustomPrompt="1"/>
          </p:nvPr>
        </p:nvSpPr>
        <p:spPr>
          <a:xfrm>
            <a:off x="8906823" y="3657447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artner or senior manager name</a:t>
            </a:r>
            <a:endParaRPr lang="en-US" dirty="0"/>
          </a:p>
        </p:txBody>
      </p:sp>
      <p:sp>
        <p:nvSpPr>
          <p:cNvPr id="18" name="Text Placeholder-partner info 3"/>
          <p:cNvSpPr>
            <a:spLocks noGrp="1"/>
          </p:cNvSpPr>
          <p:nvPr>
            <p:ph type="body" sz="quarter" idx="45" hasCustomPrompt="1"/>
          </p:nvPr>
        </p:nvSpPr>
        <p:spPr>
          <a:xfrm>
            <a:off x="8913771" y="2894441"/>
            <a:ext cx="2585515" cy="605428"/>
          </a:xfrm>
        </p:spPr>
        <p:txBody>
          <a:bodyPr/>
          <a:lstStyle>
            <a:lvl1pPr>
              <a:spcAft>
                <a:spcPts val="0"/>
              </a:spcAft>
              <a:defRPr sz="770"/>
            </a:lvl1pPr>
          </a:lstStyle>
          <a:p>
            <a:pPr lvl="0"/>
            <a:r>
              <a:rPr lang="en-US" dirty="0" smtClean="0"/>
              <a:t>Tel: +## #### #### #### </a:t>
            </a:r>
            <a:br>
              <a:rPr lang="en-US" dirty="0" smtClean="0"/>
            </a:br>
            <a:r>
              <a:rPr lang="en-US" dirty="0" smtClean="0"/>
              <a:t>Mobile: +## #### #### #### </a:t>
            </a:r>
            <a:br>
              <a:rPr lang="en-US" dirty="0" smtClean="0"/>
            </a:br>
            <a:r>
              <a:rPr lang="en-US" dirty="0" smtClean="0"/>
              <a:t>Email: </a:t>
            </a:r>
            <a:r>
              <a:rPr lang="en-US" dirty="0" err="1" smtClean="0"/>
              <a:t>xxx@xxx</a:t>
            </a:r>
            <a:endParaRPr lang="en-US" dirty="0" smtClean="0"/>
          </a:p>
        </p:txBody>
      </p:sp>
      <p:sp>
        <p:nvSpPr>
          <p:cNvPr id="15" name="Text Placeholder-partner title 3"/>
          <p:cNvSpPr>
            <a:spLocks noGrp="1"/>
          </p:cNvSpPr>
          <p:nvPr>
            <p:ph type="body" sz="quarter" idx="43" hasCustomPrompt="1"/>
          </p:nvPr>
        </p:nvSpPr>
        <p:spPr>
          <a:xfrm>
            <a:off x="8906823" y="2703691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9" name="Text Placeholder-partner name 3"/>
          <p:cNvSpPr>
            <a:spLocks noGrp="1"/>
          </p:cNvSpPr>
          <p:nvPr>
            <p:ph type="body" sz="quarter" idx="38" hasCustomPrompt="1"/>
          </p:nvPr>
        </p:nvSpPr>
        <p:spPr>
          <a:xfrm>
            <a:off x="8906823" y="2554408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artner or senior manager name</a:t>
            </a:r>
            <a:endParaRPr lang="en-US" dirty="0"/>
          </a:p>
        </p:txBody>
      </p:sp>
      <p:sp>
        <p:nvSpPr>
          <p:cNvPr id="19" name="Text Placeholder-partner info 2"/>
          <p:cNvSpPr>
            <a:spLocks noGrp="1"/>
          </p:cNvSpPr>
          <p:nvPr>
            <p:ph type="body" sz="quarter" idx="46" hasCustomPrompt="1"/>
          </p:nvPr>
        </p:nvSpPr>
        <p:spPr>
          <a:xfrm>
            <a:off x="8913771" y="1807989"/>
            <a:ext cx="2585515" cy="605428"/>
          </a:xfrm>
        </p:spPr>
        <p:txBody>
          <a:bodyPr/>
          <a:lstStyle>
            <a:lvl1pPr>
              <a:spcAft>
                <a:spcPts val="0"/>
              </a:spcAft>
              <a:defRPr sz="770"/>
            </a:lvl1pPr>
          </a:lstStyle>
          <a:p>
            <a:pPr lvl="0"/>
            <a:r>
              <a:rPr lang="en-US" dirty="0" smtClean="0"/>
              <a:t>Tel: +## #### #### #### </a:t>
            </a:r>
            <a:br>
              <a:rPr lang="en-US" dirty="0" smtClean="0"/>
            </a:br>
            <a:r>
              <a:rPr lang="en-US" dirty="0" smtClean="0"/>
              <a:t>Mobile: +## #### #### #### </a:t>
            </a:r>
            <a:br>
              <a:rPr lang="en-US" dirty="0" smtClean="0"/>
            </a:br>
            <a:r>
              <a:rPr lang="en-US" dirty="0" smtClean="0"/>
              <a:t>Email: </a:t>
            </a:r>
            <a:r>
              <a:rPr lang="en-US" dirty="0" err="1" smtClean="0"/>
              <a:t>xxx@xxx</a:t>
            </a:r>
            <a:endParaRPr lang="en-US" dirty="0" smtClean="0"/>
          </a:p>
        </p:txBody>
      </p:sp>
      <p:sp>
        <p:nvSpPr>
          <p:cNvPr id="13" name="Text Placeholder-partner title 2"/>
          <p:cNvSpPr>
            <a:spLocks noGrp="1"/>
          </p:cNvSpPr>
          <p:nvPr>
            <p:ph type="body" sz="quarter" idx="41" hasCustomPrompt="1"/>
          </p:nvPr>
        </p:nvSpPr>
        <p:spPr>
          <a:xfrm>
            <a:off x="8906823" y="1617239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8" name="Text Placeholder-partner name 2"/>
          <p:cNvSpPr>
            <a:spLocks noGrp="1"/>
          </p:cNvSpPr>
          <p:nvPr>
            <p:ph type="body" sz="quarter" idx="37" hasCustomPrompt="1"/>
          </p:nvPr>
        </p:nvSpPr>
        <p:spPr>
          <a:xfrm>
            <a:off x="8906823" y="1467956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artner or senior manager name</a:t>
            </a:r>
            <a:endParaRPr lang="en-US" dirty="0"/>
          </a:p>
        </p:txBody>
      </p:sp>
      <p:sp>
        <p:nvSpPr>
          <p:cNvPr id="20" name="Text Placeholder-partner info 1"/>
          <p:cNvSpPr>
            <a:spLocks noGrp="1"/>
          </p:cNvSpPr>
          <p:nvPr>
            <p:ph type="body" sz="quarter" idx="47" hasCustomPrompt="1"/>
          </p:nvPr>
        </p:nvSpPr>
        <p:spPr>
          <a:xfrm>
            <a:off x="8913771" y="704950"/>
            <a:ext cx="2585515" cy="605428"/>
          </a:xfrm>
        </p:spPr>
        <p:txBody>
          <a:bodyPr/>
          <a:lstStyle>
            <a:lvl1pPr>
              <a:spcAft>
                <a:spcPts val="0"/>
              </a:spcAft>
              <a:defRPr sz="770"/>
            </a:lvl1pPr>
          </a:lstStyle>
          <a:p>
            <a:pPr lvl="0"/>
            <a:r>
              <a:rPr lang="en-US" dirty="0" smtClean="0"/>
              <a:t>Tel: +## #### #### #### </a:t>
            </a:r>
            <a:br>
              <a:rPr lang="en-US" dirty="0" smtClean="0"/>
            </a:br>
            <a:r>
              <a:rPr lang="en-US" dirty="0" smtClean="0"/>
              <a:t>Mobile: +## #### #### #### </a:t>
            </a:r>
            <a:br>
              <a:rPr lang="en-US" dirty="0" smtClean="0"/>
            </a:br>
            <a:r>
              <a:rPr lang="en-US" dirty="0" smtClean="0"/>
              <a:t>Email: </a:t>
            </a:r>
            <a:r>
              <a:rPr lang="en-US" dirty="0" err="1" smtClean="0"/>
              <a:t>xxx@xxx</a:t>
            </a:r>
            <a:endParaRPr lang="en-US" dirty="0" smtClean="0"/>
          </a:p>
        </p:txBody>
      </p:sp>
      <p:sp>
        <p:nvSpPr>
          <p:cNvPr id="4" name="Text Placeholder-partner title 1"/>
          <p:cNvSpPr>
            <a:spLocks noGrp="1"/>
          </p:cNvSpPr>
          <p:nvPr>
            <p:ph type="body" sz="quarter" idx="40" hasCustomPrompt="1"/>
          </p:nvPr>
        </p:nvSpPr>
        <p:spPr>
          <a:xfrm>
            <a:off x="8913771" y="514200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3" name="Text Placeholder-partner name 1"/>
          <p:cNvSpPr>
            <a:spLocks noGrp="1"/>
          </p:cNvSpPr>
          <p:nvPr>
            <p:ph type="body" sz="quarter" idx="36" hasCustomPrompt="1"/>
          </p:nvPr>
        </p:nvSpPr>
        <p:spPr>
          <a:xfrm>
            <a:off x="8913771" y="364916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artner or senior manager name</a:t>
            </a:r>
            <a:endParaRPr lang="en-US" dirty="0"/>
          </a:p>
        </p:txBody>
      </p:sp>
      <p:sp>
        <p:nvSpPr>
          <p:cNvPr id="21" name="EY Panel"/>
          <p:cNvSpPr>
            <a:spLocks noChangeAspect="1"/>
          </p:cNvSpPr>
          <p:nvPr userDrawn="1"/>
        </p:nvSpPr>
        <p:spPr bwMode="gray">
          <a:xfrm rot="10800000">
            <a:off x="698505" y="389797"/>
            <a:ext cx="6171875" cy="4145325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941">
              <a:solidFill>
                <a:srgbClr val="646464"/>
              </a:solidFill>
            </a:endParaRPr>
          </a:p>
        </p:txBody>
      </p:sp>
      <p:sp>
        <p:nvSpPr>
          <p:cNvPr id="23" name="Cover Text 2"/>
          <p:cNvSpPr>
            <a:spLocks noGrp="1"/>
          </p:cNvSpPr>
          <p:nvPr>
            <p:ph type="body" sz="quarter" idx="14" hasCustomPrompt="1"/>
          </p:nvPr>
        </p:nvSpPr>
        <p:spPr>
          <a:xfrm>
            <a:off x="979199" y="2637342"/>
            <a:ext cx="5504644" cy="389796"/>
          </a:xfrm>
        </p:spPr>
        <p:txBody>
          <a:bodyPr/>
          <a:lstStyle>
            <a:lvl1pPr>
              <a:spcAft>
                <a:spcPts val="0"/>
              </a:spcAft>
              <a:defRPr sz="1026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24" name="Cover Text 1"/>
          <p:cNvSpPr>
            <a:spLocks noGrp="1"/>
          </p:cNvSpPr>
          <p:nvPr>
            <p:ph type="title" hasCustomPrompt="1"/>
          </p:nvPr>
        </p:nvSpPr>
        <p:spPr>
          <a:xfrm>
            <a:off x="979994" y="1400980"/>
            <a:ext cx="5504644" cy="1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2394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pic>
        <p:nvPicPr>
          <p:cNvPr id="25" name="Logo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8657" y="5316152"/>
            <a:ext cx="1236940" cy="1152800"/>
          </a:xfrm>
          <a:prstGeom prst="rect">
            <a:avLst/>
          </a:prstGeom>
        </p:spPr>
      </p:pic>
      <p:sp>
        <p:nvSpPr>
          <p:cNvPr id="28" name="Date_Version"/>
          <p:cNvSpPr>
            <a:spLocks noGrp="1"/>
          </p:cNvSpPr>
          <p:nvPr>
            <p:ph type="body" sz="quarter" idx="13" hasCustomPrompt="1"/>
          </p:nvPr>
        </p:nvSpPr>
        <p:spPr>
          <a:xfrm>
            <a:off x="979994" y="3969325"/>
            <a:ext cx="5507757" cy="234810"/>
          </a:xfrm>
        </p:spPr>
        <p:txBody>
          <a:bodyPr/>
          <a:lstStyle>
            <a:lvl1pPr marL="0" marR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 sz="855">
                <a:solidFill>
                  <a:schemeClr val="bg2"/>
                </a:solidFill>
                <a:latin typeface="+mn-lt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5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29" name="Reliance Restricted"/>
          <p:cNvSpPr txBox="1"/>
          <p:nvPr userDrawn="1"/>
        </p:nvSpPr>
        <p:spPr>
          <a:xfrm>
            <a:off x="979994" y="3713485"/>
            <a:ext cx="2484365" cy="1578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Aft>
                <a:spcPts val="513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</a:pPr>
            <a:r>
              <a:rPr lang="en-US" sz="1026" b="1" kern="0" dirty="0">
                <a:solidFill>
                  <a:srgbClr val="000000"/>
                </a:solidFill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1234681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without image - small lef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Y Panel"/>
          <p:cNvSpPr>
            <a:spLocks noChangeAspect="1"/>
          </p:cNvSpPr>
          <p:nvPr userDrawn="1"/>
        </p:nvSpPr>
        <p:spPr bwMode="gray">
          <a:xfrm rot="10800000">
            <a:off x="698507" y="373220"/>
            <a:ext cx="4420396" cy="2968949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941">
              <a:solidFill>
                <a:srgbClr val="646464"/>
              </a:solidFill>
            </a:endParaRPr>
          </a:p>
        </p:txBody>
      </p:sp>
      <p:sp>
        <p:nvSpPr>
          <p:cNvPr id="10" name="Date_Version"/>
          <p:cNvSpPr>
            <a:spLocks noGrp="1"/>
          </p:cNvSpPr>
          <p:nvPr>
            <p:ph type="body" sz="quarter" idx="13" hasCustomPrompt="1"/>
          </p:nvPr>
        </p:nvSpPr>
        <p:spPr>
          <a:xfrm>
            <a:off x="979199" y="2993964"/>
            <a:ext cx="3851592" cy="234810"/>
          </a:xfrm>
        </p:spPr>
        <p:txBody>
          <a:bodyPr/>
          <a:lstStyle>
            <a:lvl1pPr marL="0" marR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 sz="855">
                <a:solidFill>
                  <a:schemeClr val="bg2"/>
                </a:solidFill>
                <a:latin typeface="+mn-lt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5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6" name="Cover Text 2"/>
          <p:cNvSpPr>
            <a:spLocks noGrp="1"/>
          </p:cNvSpPr>
          <p:nvPr>
            <p:ph type="body" sz="quarter" idx="14" hasCustomPrompt="1"/>
          </p:nvPr>
        </p:nvSpPr>
        <p:spPr>
          <a:xfrm>
            <a:off x="979199" y="2243325"/>
            <a:ext cx="3851592" cy="389796"/>
          </a:xfrm>
        </p:spPr>
        <p:txBody>
          <a:bodyPr/>
          <a:lstStyle>
            <a:lvl1pPr>
              <a:spcAft>
                <a:spcPts val="0"/>
              </a:spcAft>
              <a:defRPr sz="1026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7" name="Cover Text 1"/>
          <p:cNvSpPr>
            <a:spLocks noGrp="1"/>
          </p:cNvSpPr>
          <p:nvPr>
            <p:ph type="title" hasCustomPrompt="1"/>
          </p:nvPr>
        </p:nvSpPr>
        <p:spPr>
          <a:xfrm>
            <a:off x="979199" y="1137707"/>
            <a:ext cx="3851592" cy="80018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2394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pic>
        <p:nvPicPr>
          <p:cNvPr id="9" name="Logo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8657" y="5316152"/>
            <a:ext cx="1236940" cy="1152800"/>
          </a:xfrm>
          <a:prstGeom prst="rect">
            <a:avLst/>
          </a:prstGeom>
        </p:spPr>
      </p:pic>
      <p:sp>
        <p:nvSpPr>
          <p:cNvPr id="11" name="Reliance Restricted"/>
          <p:cNvSpPr txBox="1"/>
          <p:nvPr userDrawn="1"/>
        </p:nvSpPr>
        <p:spPr>
          <a:xfrm>
            <a:off x="979199" y="2786626"/>
            <a:ext cx="2484365" cy="1578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Aft>
                <a:spcPts val="513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</a:pPr>
            <a:r>
              <a:rPr lang="en-US" sz="1026" b="1" kern="0" dirty="0">
                <a:solidFill>
                  <a:srgbClr val="000000"/>
                </a:solidFill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370562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without image - small r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Y Panel"/>
          <p:cNvSpPr>
            <a:spLocks noChangeAspect="1"/>
          </p:cNvSpPr>
          <p:nvPr userDrawn="1"/>
        </p:nvSpPr>
        <p:spPr bwMode="gray">
          <a:xfrm rot="10800000">
            <a:off x="7069623" y="373220"/>
            <a:ext cx="4420396" cy="2968949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941">
              <a:solidFill>
                <a:srgbClr val="646464"/>
              </a:solidFill>
            </a:endParaRPr>
          </a:p>
        </p:txBody>
      </p:sp>
      <p:sp>
        <p:nvSpPr>
          <p:cNvPr id="11" name="Date_Version"/>
          <p:cNvSpPr>
            <a:spLocks noGrp="1"/>
          </p:cNvSpPr>
          <p:nvPr>
            <p:ph type="body" sz="quarter" idx="13" hasCustomPrompt="1"/>
          </p:nvPr>
        </p:nvSpPr>
        <p:spPr>
          <a:xfrm>
            <a:off x="7361389" y="2993964"/>
            <a:ext cx="3851592" cy="234810"/>
          </a:xfrm>
        </p:spPr>
        <p:txBody>
          <a:bodyPr/>
          <a:lstStyle>
            <a:lvl1pPr marL="0" marR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 sz="855">
                <a:solidFill>
                  <a:schemeClr val="bg2"/>
                </a:solidFill>
                <a:latin typeface="+mn-lt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5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12" name="Cover Text 2"/>
          <p:cNvSpPr>
            <a:spLocks noGrp="1"/>
          </p:cNvSpPr>
          <p:nvPr>
            <p:ph type="body" sz="quarter" idx="14" hasCustomPrompt="1"/>
          </p:nvPr>
        </p:nvSpPr>
        <p:spPr>
          <a:xfrm>
            <a:off x="7360595" y="2243325"/>
            <a:ext cx="3851592" cy="389796"/>
          </a:xfrm>
        </p:spPr>
        <p:txBody>
          <a:bodyPr/>
          <a:lstStyle>
            <a:lvl1pPr>
              <a:spcAft>
                <a:spcPts val="0"/>
              </a:spcAft>
              <a:defRPr sz="1026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13" name="Cover Text 1"/>
          <p:cNvSpPr>
            <a:spLocks noGrp="1"/>
          </p:cNvSpPr>
          <p:nvPr>
            <p:ph type="title" hasCustomPrompt="1"/>
          </p:nvPr>
        </p:nvSpPr>
        <p:spPr>
          <a:xfrm>
            <a:off x="7361389" y="1137707"/>
            <a:ext cx="3851592" cy="80018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2394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pic>
        <p:nvPicPr>
          <p:cNvPr id="7" name="Logo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8657" y="5316152"/>
            <a:ext cx="1236940" cy="1152800"/>
          </a:xfrm>
          <a:prstGeom prst="rect">
            <a:avLst/>
          </a:prstGeom>
        </p:spPr>
      </p:pic>
      <p:sp>
        <p:nvSpPr>
          <p:cNvPr id="8" name="Reliance Restricted"/>
          <p:cNvSpPr>
            <a:spLocks noGrp="1"/>
          </p:cNvSpPr>
          <p:nvPr>
            <p:ph type="body" sz="quarter" idx="15" hasCustomPrompt="1"/>
          </p:nvPr>
        </p:nvSpPr>
        <p:spPr>
          <a:xfrm>
            <a:off x="7360594" y="2786626"/>
            <a:ext cx="2477857" cy="165871"/>
          </a:xfrm>
        </p:spPr>
        <p:txBody>
          <a:bodyPr/>
          <a:lstStyle>
            <a:lvl1pPr>
              <a:defRPr sz="1026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Reliance Restrict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025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ransmittal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Bottom rule"/>
          <p:cNvCxnSpPr/>
          <p:nvPr userDrawn="1"/>
        </p:nvCxnSpPr>
        <p:spPr bwMode="gray">
          <a:xfrm>
            <a:off x="698505" y="6660826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4" name="Filename_Subsec_Page"/>
          <p:cNvSpPr txBox="1"/>
          <p:nvPr userDrawn="1"/>
        </p:nvSpPr>
        <p:spPr>
          <a:xfrm>
            <a:off x="698505" y="6529701"/>
            <a:ext cx="10790355" cy="1296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eaLnBrk="0" fontAlgn="base" hangingPunct="0">
              <a:spcAft>
                <a:spcPct val="0"/>
              </a:spcAft>
            </a:pPr>
            <a:r>
              <a:rPr lang="en-US" sz="599">
                <a:solidFill>
                  <a:srgbClr val="808080"/>
                </a:solidFill>
              </a:rPr>
              <a:t>Location scouting for a new pet food production plant:  | </a:t>
            </a:r>
            <a:r>
              <a:rPr lang="en-US" sz="599" b="1">
                <a:solidFill>
                  <a:srgbClr val="808080"/>
                </a:solidFill>
              </a:rPr>
              <a:t>Page </a:t>
            </a:r>
            <a:fld id="{C5AB31DF-C152-4795-A6BA-15B43F769BFA}" type="slidenum">
              <a:rPr lang="en-US" sz="599" b="1">
                <a:solidFill>
                  <a:srgbClr val="808080"/>
                </a:solidFill>
              </a:rPr>
              <a:pPr algn="r" eaLnBrk="0" fontAlgn="base" hangingPunct="0">
                <a:spcAft>
                  <a:spcPct val="0"/>
                </a:spcAft>
              </a:pPr>
              <a:t>‹#›</a:t>
            </a:fld>
            <a:r>
              <a:rPr lang="en-US" sz="599" b="1">
                <a:solidFill>
                  <a:srgbClr val="808080"/>
                </a:solidFill>
              </a:rPr>
              <a:t> of 28</a:t>
            </a:r>
            <a:endParaRPr lang="en-US" sz="599" b="1" dirty="0">
              <a:solidFill>
                <a:srgbClr val="808080"/>
              </a:solidFill>
            </a:endParaRPr>
          </a:p>
        </p:txBody>
      </p:sp>
      <p:sp>
        <p:nvSpPr>
          <p:cNvPr id="5" name="LocalFirmNameAndAddress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4273" y="1865809"/>
            <a:ext cx="2244129" cy="121403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70" b="1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70" b="0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513"/>
              </a:spcBef>
              <a:spcAft>
                <a:spcPts val="513"/>
              </a:spcAft>
              <a:buNone/>
              <a:defRPr lang="en-US" sz="770" b="1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3pPr>
            <a:lvl4pPr>
              <a:lnSpc>
                <a:spcPct val="100000"/>
              </a:lnSpc>
              <a:spcAft>
                <a:spcPts val="513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Aft>
                <a:spcPts val="513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Add the local firm name as a level 1 entry, then “indent” to level 2 for the address, then indent to level 3 for the ey.com.</a:t>
            </a:r>
          </a:p>
          <a:p>
            <a:pPr lvl="1"/>
            <a:r>
              <a:rPr lang="en-US" dirty="0" smtClean="0"/>
              <a:t>Address level</a:t>
            </a:r>
          </a:p>
          <a:p>
            <a:pPr lvl="2"/>
            <a:r>
              <a:rPr lang="en-US" dirty="0" smtClean="0"/>
              <a:t>ey.com level</a:t>
            </a:r>
            <a:endParaRPr lang="en-US" dirty="0"/>
          </a:p>
        </p:txBody>
      </p:sp>
      <p:cxnSp>
        <p:nvCxnSpPr>
          <p:cNvPr id="6" name="Top rule"/>
          <p:cNvCxnSpPr/>
          <p:nvPr userDrawn="1"/>
        </p:nvCxnSpPr>
        <p:spPr bwMode="gray">
          <a:xfrm>
            <a:off x="698505" y="391351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7" name="Filename_Vers_Draft"/>
          <p:cNvSpPr txBox="1">
            <a:spLocks/>
          </p:cNvSpPr>
          <p:nvPr userDrawn="1"/>
        </p:nvSpPr>
        <p:spPr>
          <a:xfrm>
            <a:off x="698506" y="222307"/>
            <a:ext cx="4636433" cy="165871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8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defRPr sz="14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175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defRPr sz="12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96850" indent="-192088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70000"/>
              <a:buFont typeface="Wingdings 3" pitchFamily="18" charset="2"/>
              <a:buNone/>
              <a:defRPr sz="1200" b="1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 marL="393700" indent="-195263" algn="just" defTabSz="99536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70000"/>
              <a:buFont typeface="Arial Narrow" pitchFamily="34" charset="0"/>
              <a:buChar char="–"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8509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6pPr>
            <a:lvl7pPr marL="13081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7pPr>
            <a:lvl8pPr marL="17653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8pPr>
            <a:lvl9pPr marL="22225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ts val="1026"/>
              </a:lnSpc>
              <a:spcBef>
                <a:spcPts val="513"/>
              </a:spcBef>
              <a:spcAft>
                <a:spcPts val="0"/>
              </a:spcAft>
            </a:pPr>
            <a:r>
              <a:rPr lang="de-DE" sz="599" b="0" kern="0" dirty="0" smtClean="0">
                <a:solidFill>
                  <a:srgbClr val="808080"/>
                </a:solidFill>
                <a:latin typeface="Arial"/>
              </a:rPr>
              <a:t>01 June 2017 | Version 1.0 (</a:t>
            </a:r>
            <a:r>
              <a:rPr lang="de-DE" sz="599" b="0" kern="0" dirty="0" err="1" smtClean="0">
                <a:solidFill>
                  <a:srgbClr val="808080"/>
                </a:solidFill>
                <a:latin typeface="Arial"/>
              </a:rPr>
              <a:t>Draft</a:t>
            </a:r>
            <a:r>
              <a:rPr lang="de-DE" sz="599" b="0" kern="0" dirty="0" smtClean="0">
                <a:solidFill>
                  <a:srgbClr val="808080"/>
                </a:solidFill>
                <a:latin typeface="Arial"/>
              </a:rPr>
              <a:t>)</a:t>
            </a:r>
            <a:endParaRPr lang="en-US" sz="599" b="0" kern="0"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8" name="Letter text"/>
          <p:cNvSpPr>
            <a:spLocks noGrp="1"/>
          </p:cNvSpPr>
          <p:nvPr>
            <p:ph type="body" sz="quarter" idx="14" hasCustomPrompt="1"/>
          </p:nvPr>
        </p:nvSpPr>
        <p:spPr>
          <a:xfrm>
            <a:off x="3415425" y="2109866"/>
            <a:ext cx="8073436" cy="429170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55"/>
            </a:lvl1pPr>
            <a:lvl2pPr>
              <a:lnSpc>
                <a:spcPct val="100000"/>
              </a:lnSpc>
              <a:spcBef>
                <a:spcPts val="0"/>
              </a:spcBef>
              <a:defRPr sz="941"/>
            </a:lvl2pPr>
            <a:lvl3pPr>
              <a:lnSpc>
                <a:spcPct val="100000"/>
              </a:lnSpc>
              <a:spcBef>
                <a:spcPts val="0"/>
              </a:spcBef>
              <a:defRPr sz="855"/>
            </a:lvl3pPr>
            <a:lvl4pPr>
              <a:lnSpc>
                <a:spcPct val="100000"/>
              </a:lnSpc>
              <a:spcBef>
                <a:spcPts val="0"/>
              </a:spcBef>
              <a:defRPr sz="855"/>
            </a:lvl4pPr>
            <a:lvl5pPr>
              <a:lnSpc>
                <a:spcPct val="100000"/>
              </a:lnSpc>
              <a:spcBef>
                <a:spcPts val="0"/>
              </a:spcBef>
              <a:defRPr sz="855"/>
            </a:lvl5pPr>
          </a:lstStyle>
          <a:p>
            <a:pPr lvl="0"/>
            <a:r>
              <a:rPr lang="en-US" dirty="0" smtClean="0"/>
              <a:t>Put the text of the letter here</a:t>
            </a:r>
            <a:endParaRPr lang="en-US" dirty="0"/>
          </a:p>
        </p:txBody>
      </p:sp>
      <p:sp>
        <p:nvSpPr>
          <p:cNvPr id="9" name="ProjectName"/>
          <p:cNvSpPr>
            <a:spLocks noGrp="1"/>
          </p:cNvSpPr>
          <p:nvPr>
            <p:ph type="body" sz="quarter" idx="15" hasCustomPrompt="1"/>
          </p:nvPr>
        </p:nvSpPr>
        <p:spPr>
          <a:xfrm>
            <a:off x="3415426" y="1865809"/>
            <a:ext cx="4457972" cy="226057"/>
          </a:xfrm>
        </p:spPr>
        <p:txBody>
          <a:bodyPr/>
          <a:lstStyle>
            <a:lvl1pPr>
              <a:defRPr sz="941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roject name</a:t>
            </a:r>
            <a:endParaRPr lang="en-US" dirty="0"/>
          </a:p>
        </p:txBody>
      </p:sp>
      <p:sp>
        <p:nvSpPr>
          <p:cNvPr id="10" name="Date"/>
          <p:cNvSpPr>
            <a:spLocks noGrp="1"/>
          </p:cNvSpPr>
          <p:nvPr>
            <p:ph type="body" sz="quarter" idx="16" hasCustomPrompt="1"/>
          </p:nvPr>
        </p:nvSpPr>
        <p:spPr>
          <a:xfrm>
            <a:off x="8236561" y="1865809"/>
            <a:ext cx="3252300" cy="226057"/>
          </a:xfrm>
        </p:spPr>
        <p:txBody>
          <a:bodyPr/>
          <a:lstStyle>
            <a:lvl1pPr algn="r">
              <a:defRPr sz="941" b="1">
                <a:solidFill>
                  <a:schemeClr val="tx1"/>
                </a:solidFill>
              </a:defRPr>
            </a:lvl1pPr>
            <a:lvl2pPr algn="r">
              <a:defRPr/>
            </a:lvl2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1" name="ClientAddress"/>
          <p:cNvSpPr>
            <a:spLocks noGrp="1"/>
          </p:cNvSpPr>
          <p:nvPr>
            <p:ph type="body" sz="quarter" idx="17" hasCustomPrompt="1"/>
          </p:nvPr>
        </p:nvSpPr>
        <p:spPr>
          <a:xfrm>
            <a:off x="3415425" y="912289"/>
            <a:ext cx="4458204" cy="829353"/>
          </a:xfrm>
        </p:spPr>
        <p:txBody>
          <a:bodyPr anchor="ctr" anchorCtr="0"/>
          <a:lstStyle>
            <a:lvl1pPr>
              <a:spcAft>
                <a:spcPts val="0"/>
              </a:spcAft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Put the client contact name and address here</a:t>
            </a:r>
            <a:endParaRPr lang="en-US" dirty="0"/>
          </a:p>
        </p:txBody>
      </p:sp>
      <p:pic>
        <p:nvPicPr>
          <p:cNvPr id="12" name="Logo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507" y="663482"/>
            <a:ext cx="791997" cy="738124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415426" y="682137"/>
            <a:ext cx="2484365" cy="1447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Aft>
                <a:spcPts val="513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</a:pPr>
            <a:r>
              <a:rPr lang="en-US" sz="941" b="1" kern="0" dirty="0">
                <a:solidFill>
                  <a:srgbClr val="000000"/>
                </a:solidFill>
              </a:rPr>
              <a:t>Reliance Restricted</a:t>
            </a:r>
          </a:p>
        </p:txBody>
      </p:sp>
      <p:sp>
        <p:nvSpPr>
          <p:cNvPr id="14" name="BottomFooter"/>
          <p:cNvSpPr>
            <a:spLocks noGrp="1"/>
          </p:cNvSpPr>
          <p:nvPr>
            <p:ph type="body" sz="quarter" idx="18" hasCustomPrompt="1"/>
          </p:nvPr>
        </p:nvSpPr>
        <p:spPr>
          <a:xfrm>
            <a:off x="694274" y="6529701"/>
            <a:ext cx="8069308" cy="129686"/>
          </a:xfrm>
        </p:spPr>
        <p:txBody>
          <a:bodyPr/>
          <a:lstStyle>
            <a:lvl1pPr algn="l">
              <a:defRPr sz="599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footer text here, such as “A member firm of Ernst &amp; Young Global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2611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ransmittal letter - 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Bottom rule"/>
          <p:cNvCxnSpPr/>
          <p:nvPr userDrawn="1"/>
        </p:nvCxnSpPr>
        <p:spPr bwMode="gray">
          <a:xfrm>
            <a:off x="698505" y="6660826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15" name="Filename_Subsec_Page"/>
          <p:cNvSpPr txBox="1"/>
          <p:nvPr userDrawn="1"/>
        </p:nvSpPr>
        <p:spPr>
          <a:xfrm>
            <a:off x="698505" y="6529701"/>
            <a:ext cx="10790355" cy="1296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eaLnBrk="0" fontAlgn="base" hangingPunct="0">
              <a:spcAft>
                <a:spcPct val="0"/>
              </a:spcAft>
            </a:pPr>
            <a:r>
              <a:rPr lang="en-US" sz="599">
                <a:solidFill>
                  <a:srgbClr val="808080"/>
                </a:solidFill>
              </a:rPr>
              <a:t>Location scouting for a new pet food production plant:  | </a:t>
            </a:r>
            <a:r>
              <a:rPr lang="en-US" sz="599" b="1">
                <a:solidFill>
                  <a:srgbClr val="808080"/>
                </a:solidFill>
              </a:rPr>
              <a:t>Page </a:t>
            </a:r>
            <a:fld id="{CAFA98B2-BC5E-44E6-B585-4CC81CCFD31E}" type="slidenum">
              <a:rPr lang="en-US" sz="599" b="1">
                <a:solidFill>
                  <a:srgbClr val="808080"/>
                </a:solidFill>
              </a:rPr>
              <a:pPr algn="r" eaLnBrk="0" fontAlgn="base" hangingPunct="0">
                <a:spcAft>
                  <a:spcPct val="0"/>
                </a:spcAft>
              </a:pPr>
              <a:t>‹#›</a:t>
            </a:fld>
            <a:r>
              <a:rPr lang="en-US" sz="599" b="1">
                <a:solidFill>
                  <a:srgbClr val="808080"/>
                </a:solidFill>
              </a:rPr>
              <a:t> of 28</a:t>
            </a:r>
            <a:endParaRPr lang="en-US" sz="599" b="1" dirty="0">
              <a:solidFill>
                <a:srgbClr val="808080"/>
              </a:solidFill>
            </a:endParaRPr>
          </a:p>
        </p:txBody>
      </p:sp>
      <p:cxnSp>
        <p:nvCxnSpPr>
          <p:cNvPr id="8" name="Top rule"/>
          <p:cNvCxnSpPr/>
          <p:nvPr userDrawn="1"/>
        </p:nvCxnSpPr>
        <p:spPr bwMode="gray">
          <a:xfrm>
            <a:off x="698505" y="391351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9" name="Filename_Vers_Draft"/>
          <p:cNvSpPr txBox="1">
            <a:spLocks/>
          </p:cNvSpPr>
          <p:nvPr userDrawn="1"/>
        </p:nvSpPr>
        <p:spPr>
          <a:xfrm>
            <a:off x="698506" y="222307"/>
            <a:ext cx="4636433" cy="165871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8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defRPr sz="14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175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defRPr sz="12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96850" indent="-192088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70000"/>
              <a:buFont typeface="Wingdings 3" pitchFamily="18" charset="2"/>
              <a:buNone/>
              <a:defRPr sz="1200" b="1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 marL="393700" indent="-195263" algn="just" defTabSz="99536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70000"/>
              <a:buFont typeface="Arial Narrow" pitchFamily="34" charset="0"/>
              <a:buChar char="–"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8509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6pPr>
            <a:lvl7pPr marL="13081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7pPr>
            <a:lvl8pPr marL="17653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8pPr>
            <a:lvl9pPr marL="22225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ts val="1026"/>
              </a:lnSpc>
              <a:spcBef>
                <a:spcPts val="513"/>
              </a:spcBef>
              <a:spcAft>
                <a:spcPts val="0"/>
              </a:spcAft>
            </a:pPr>
            <a:r>
              <a:rPr lang="de-DE" sz="599" b="0" kern="0" smtClean="0">
                <a:solidFill>
                  <a:srgbClr val="808080"/>
                </a:solidFill>
                <a:latin typeface="Arial"/>
              </a:rPr>
              <a:t>01 June 2017 | Version 1.0 (Draft)</a:t>
            </a:r>
            <a:endParaRPr lang="en-US" sz="599" b="0" kern="0" dirty="0" smtClean="0">
              <a:solidFill>
                <a:srgbClr val="808080"/>
              </a:solidFill>
              <a:latin typeface="Arial"/>
            </a:endParaRPr>
          </a:p>
        </p:txBody>
      </p:sp>
      <p:pic>
        <p:nvPicPr>
          <p:cNvPr id="23" name="Logo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507" y="663482"/>
            <a:ext cx="791997" cy="738124"/>
          </a:xfrm>
          <a:prstGeom prst="rect">
            <a:avLst/>
          </a:prstGeom>
        </p:spPr>
      </p:pic>
      <p:sp>
        <p:nvSpPr>
          <p:cNvPr id="12" name="Letter text"/>
          <p:cNvSpPr>
            <a:spLocks noGrp="1"/>
          </p:cNvSpPr>
          <p:nvPr>
            <p:ph type="body" sz="quarter" idx="14" hasCustomPrompt="1"/>
          </p:nvPr>
        </p:nvSpPr>
        <p:spPr>
          <a:xfrm>
            <a:off x="3415425" y="1865810"/>
            <a:ext cx="8073436" cy="453575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55"/>
            </a:lvl1pPr>
            <a:lvl2pPr>
              <a:lnSpc>
                <a:spcPct val="100000"/>
              </a:lnSpc>
              <a:spcBef>
                <a:spcPts val="0"/>
              </a:spcBef>
              <a:defRPr sz="941"/>
            </a:lvl2pPr>
            <a:lvl3pPr>
              <a:lnSpc>
                <a:spcPct val="100000"/>
              </a:lnSpc>
              <a:spcBef>
                <a:spcPts val="0"/>
              </a:spcBef>
              <a:defRPr sz="855"/>
            </a:lvl3pPr>
            <a:lvl4pPr>
              <a:lnSpc>
                <a:spcPct val="100000"/>
              </a:lnSpc>
              <a:spcBef>
                <a:spcPts val="0"/>
              </a:spcBef>
              <a:defRPr sz="855"/>
            </a:lvl4pPr>
            <a:lvl5pPr>
              <a:lnSpc>
                <a:spcPct val="100000"/>
              </a:lnSpc>
              <a:spcBef>
                <a:spcPts val="0"/>
              </a:spcBef>
              <a:defRPr sz="855"/>
            </a:lvl5pPr>
          </a:lstStyle>
          <a:p>
            <a:pPr lvl="0"/>
            <a:r>
              <a:rPr lang="en-US" dirty="0" smtClean="0"/>
              <a:t>Put the text of the letter here</a:t>
            </a:r>
            <a:endParaRPr lang="en-US" dirty="0"/>
          </a:p>
        </p:txBody>
      </p:sp>
      <p:sp>
        <p:nvSpPr>
          <p:cNvPr id="13" name="BottomFooter"/>
          <p:cNvSpPr>
            <a:spLocks noGrp="1"/>
          </p:cNvSpPr>
          <p:nvPr>
            <p:ph type="body" sz="quarter" idx="18" hasCustomPrompt="1"/>
          </p:nvPr>
        </p:nvSpPr>
        <p:spPr>
          <a:xfrm>
            <a:off x="694274" y="6529701"/>
            <a:ext cx="8069308" cy="129686"/>
          </a:xfrm>
        </p:spPr>
        <p:txBody>
          <a:bodyPr/>
          <a:lstStyle>
            <a:lvl1pPr algn="l">
              <a:defRPr sz="599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footer text here, such as “A member firm of Ernst &amp; Young Global”</a:t>
            </a:r>
            <a:endParaRPr lang="en-US" dirty="0"/>
          </a:p>
        </p:txBody>
      </p:sp>
      <p:sp>
        <p:nvSpPr>
          <p:cNvPr id="10" name="LocalFirmNameAndAddress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4273" y="1865809"/>
            <a:ext cx="2244129" cy="121403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70" b="1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70" b="0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513"/>
              </a:spcBef>
              <a:spcAft>
                <a:spcPts val="513"/>
              </a:spcAft>
              <a:buNone/>
              <a:defRPr lang="en-US" sz="770" b="1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3pPr>
            <a:lvl4pPr>
              <a:lnSpc>
                <a:spcPct val="100000"/>
              </a:lnSpc>
              <a:spcAft>
                <a:spcPts val="513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Aft>
                <a:spcPts val="513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Add the local firm name as a level 1 entry, then “indent” to level 2 for the address, then indent to level 3 for the ey.com.</a:t>
            </a:r>
          </a:p>
          <a:p>
            <a:pPr lvl="1"/>
            <a:r>
              <a:rPr lang="en-US" dirty="0" smtClean="0"/>
              <a:t>Address level</a:t>
            </a:r>
          </a:p>
          <a:p>
            <a:pPr lvl="2"/>
            <a:r>
              <a:rPr lang="en-US" dirty="0" smtClean="0"/>
              <a:t>ey.com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3234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2"/>
          </p:nvPr>
        </p:nvSpPr>
        <p:spPr>
          <a:xfrm>
            <a:off x="698505" y="1550889"/>
            <a:ext cx="10790355" cy="4850678"/>
          </a:xfrm>
        </p:spPr>
        <p:txBody>
          <a:bodyPr/>
          <a:lstStyle/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3829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 - small lef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Y Panel"/>
          <p:cNvSpPr>
            <a:spLocks noChangeAspect="1"/>
          </p:cNvSpPr>
          <p:nvPr userDrawn="1"/>
        </p:nvSpPr>
        <p:spPr bwMode="gray">
          <a:xfrm rot="10800000">
            <a:off x="698507" y="373220"/>
            <a:ext cx="4420396" cy="2968949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941" dirty="0">
              <a:solidFill>
                <a:srgbClr val="646464"/>
              </a:solidFill>
            </a:endParaRPr>
          </a:p>
        </p:txBody>
      </p:sp>
      <p:sp>
        <p:nvSpPr>
          <p:cNvPr id="10" name="Date_Version"/>
          <p:cNvSpPr>
            <a:spLocks noGrp="1"/>
          </p:cNvSpPr>
          <p:nvPr>
            <p:ph type="body" sz="quarter" idx="13" hasCustomPrompt="1"/>
          </p:nvPr>
        </p:nvSpPr>
        <p:spPr>
          <a:xfrm>
            <a:off x="979199" y="2993964"/>
            <a:ext cx="3851592" cy="234810"/>
          </a:xfrm>
        </p:spPr>
        <p:txBody>
          <a:bodyPr/>
          <a:lstStyle>
            <a:lvl1pPr marL="0" marR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 sz="855">
                <a:solidFill>
                  <a:schemeClr val="bg2"/>
                </a:solidFill>
                <a:latin typeface="+mn-lt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5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6" name="Cover Text 2"/>
          <p:cNvSpPr>
            <a:spLocks noGrp="1"/>
          </p:cNvSpPr>
          <p:nvPr>
            <p:ph type="body" sz="quarter" idx="14" hasCustomPrompt="1"/>
          </p:nvPr>
        </p:nvSpPr>
        <p:spPr>
          <a:xfrm>
            <a:off x="979199" y="2243325"/>
            <a:ext cx="3851592" cy="389796"/>
          </a:xfrm>
        </p:spPr>
        <p:txBody>
          <a:bodyPr/>
          <a:lstStyle>
            <a:lvl1pPr>
              <a:spcAft>
                <a:spcPts val="0"/>
              </a:spcAft>
              <a:defRPr sz="1026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7" name="Cover Text 1"/>
          <p:cNvSpPr>
            <a:spLocks noGrp="1"/>
          </p:cNvSpPr>
          <p:nvPr>
            <p:ph type="title" hasCustomPrompt="1"/>
          </p:nvPr>
        </p:nvSpPr>
        <p:spPr>
          <a:xfrm>
            <a:off x="979199" y="1137707"/>
            <a:ext cx="3851592" cy="80018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2394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pic>
        <p:nvPicPr>
          <p:cNvPr id="9" name="Logo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8657" y="5316152"/>
            <a:ext cx="1236940" cy="1152800"/>
          </a:xfrm>
          <a:prstGeom prst="rect">
            <a:avLst/>
          </a:prstGeom>
        </p:spPr>
      </p:pic>
      <p:sp>
        <p:nvSpPr>
          <p:cNvPr id="11" name="Reliance Restricted"/>
          <p:cNvSpPr txBox="1"/>
          <p:nvPr userDrawn="1"/>
        </p:nvSpPr>
        <p:spPr>
          <a:xfrm>
            <a:off x="979199" y="2786626"/>
            <a:ext cx="2484365" cy="1578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Aft>
                <a:spcPts val="513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</a:pPr>
            <a:r>
              <a:rPr lang="en-US" sz="1026" b="1" kern="0" dirty="0">
                <a:solidFill>
                  <a:srgbClr val="000000"/>
                </a:solidFill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1168139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C deta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3"/>
          <p:cNvSpPr>
            <a:spLocks noGrp="1"/>
          </p:cNvSpPr>
          <p:nvPr>
            <p:ph type="tbl" sz="quarter" idx="12"/>
          </p:nvPr>
        </p:nvSpPr>
        <p:spPr>
          <a:xfrm>
            <a:off x="698505" y="1550889"/>
            <a:ext cx="10790355" cy="4850678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en-US"/>
          </a:p>
        </p:txBody>
      </p:sp>
      <p:sp>
        <p:nvSpPr>
          <p:cNvPr id="7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379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ver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vider Image"/>
          <p:cNvSpPr>
            <a:spLocks/>
          </p:cNvSpPr>
          <p:nvPr userDrawn="1"/>
        </p:nvSpPr>
        <p:spPr bwMode="auto">
          <a:xfrm>
            <a:off x="0" y="1168"/>
            <a:ext cx="12192000" cy="5984011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59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941" dirty="0">
              <a:solidFill>
                <a:srgbClr val="646464"/>
              </a:solidFill>
            </a:endParaRPr>
          </a:p>
        </p:txBody>
      </p:sp>
      <p:sp>
        <p:nvSpPr>
          <p:cNvPr id="7" name="Cover Text 2"/>
          <p:cNvSpPr>
            <a:spLocks noGrp="1"/>
          </p:cNvSpPr>
          <p:nvPr>
            <p:ph type="subTitle" idx="11" hasCustomPrompt="1"/>
          </p:nvPr>
        </p:nvSpPr>
        <p:spPr>
          <a:xfrm>
            <a:off x="698507" y="2200073"/>
            <a:ext cx="5397493" cy="414676"/>
          </a:xfrm>
        </p:spPr>
        <p:txBody>
          <a:bodyPr tIns="0" bIns="0">
            <a:noAutofit/>
          </a:bodyPr>
          <a:lstStyle>
            <a:lvl1pPr marL="0" indent="0" algn="l">
              <a:lnSpc>
                <a:spcPts val="1283"/>
              </a:lnSpc>
              <a:spcBef>
                <a:spcPts val="0"/>
              </a:spcBef>
              <a:spcAft>
                <a:spcPts val="513"/>
              </a:spcAft>
              <a:buNone/>
              <a:defRPr sz="1197" baseline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368">
                <a:solidFill>
                  <a:srgbClr val="404040"/>
                </a:solidFill>
              </a:defRPr>
            </a:lvl2pPr>
            <a:lvl3pPr marL="781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72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63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54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45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36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27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Section subtitle</a:t>
            </a:r>
            <a:endParaRPr lang="en-GB" dirty="0"/>
          </a:p>
        </p:txBody>
      </p:sp>
      <p:sp>
        <p:nvSpPr>
          <p:cNvPr id="4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698651" y="341109"/>
            <a:ext cx="5397349" cy="1078159"/>
          </a:xfrm>
        </p:spPr>
        <p:txBody>
          <a:bodyPr/>
          <a:lstStyle>
            <a:lvl1pPr>
              <a:lnSpc>
                <a:spcPts val="7439"/>
              </a:lnSpc>
              <a:spcAft>
                <a:spcPts val="0"/>
              </a:spcAft>
              <a:defRPr sz="7183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6" name="Cover Text 1"/>
          <p:cNvSpPr>
            <a:spLocks noGrp="1"/>
          </p:cNvSpPr>
          <p:nvPr>
            <p:ph type="title" hasCustomPrompt="1"/>
          </p:nvPr>
        </p:nvSpPr>
        <p:spPr>
          <a:xfrm>
            <a:off x="698507" y="1436019"/>
            <a:ext cx="5397493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052"/>
              </a:lnSpc>
              <a:spcBef>
                <a:spcPts val="0"/>
              </a:spcBef>
              <a:defRPr sz="1796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56285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4491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ver with S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Gray"/>
          <p:cNvSpPr>
            <a:spLocks/>
          </p:cNvSpPr>
          <p:nvPr userDrawn="1"/>
        </p:nvSpPr>
        <p:spPr bwMode="auto">
          <a:xfrm>
            <a:off x="0" y="1"/>
            <a:ext cx="12192000" cy="5984011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941" dirty="0">
              <a:solidFill>
                <a:srgbClr val="646464"/>
              </a:solidFill>
            </a:endParaRPr>
          </a:p>
        </p:txBody>
      </p:sp>
      <p:sp>
        <p:nvSpPr>
          <p:cNvPr id="3" name="Mini-TOC"/>
          <p:cNvSpPr>
            <a:spLocks noGrp="1"/>
          </p:cNvSpPr>
          <p:nvPr>
            <p:ph type="tbl" sz="quarter" idx="13"/>
          </p:nvPr>
        </p:nvSpPr>
        <p:spPr>
          <a:xfrm>
            <a:off x="698506" y="2770180"/>
            <a:ext cx="5397351" cy="2263411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7" name="Cover Text 2"/>
          <p:cNvSpPr>
            <a:spLocks noGrp="1"/>
          </p:cNvSpPr>
          <p:nvPr>
            <p:ph type="subTitle" idx="11" hasCustomPrompt="1"/>
          </p:nvPr>
        </p:nvSpPr>
        <p:spPr>
          <a:xfrm>
            <a:off x="698507" y="2200073"/>
            <a:ext cx="5397493" cy="414676"/>
          </a:xfrm>
        </p:spPr>
        <p:txBody>
          <a:bodyPr tIns="0" bIns="0">
            <a:noAutofit/>
          </a:bodyPr>
          <a:lstStyle>
            <a:lvl1pPr marL="0" indent="0" algn="l">
              <a:lnSpc>
                <a:spcPts val="1283"/>
              </a:lnSpc>
              <a:spcBef>
                <a:spcPts val="0"/>
              </a:spcBef>
              <a:spcAft>
                <a:spcPts val="513"/>
              </a:spcAft>
              <a:buNone/>
              <a:defRPr sz="1197" baseline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368">
                <a:solidFill>
                  <a:srgbClr val="404040"/>
                </a:solidFill>
              </a:defRPr>
            </a:lvl2pPr>
            <a:lvl3pPr marL="781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72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63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54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45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36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27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Section subtitle</a:t>
            </a:r>
            <a:endParaRPr lang="en-GB" dirty="0"/>
          </a:p>
        </p:txBody>
      </p:sp>
      <p:sp>
        <p:nvSpPr>
          <p:cNvPr id="8" name="Cover Text 1"/>
          <p:cNvSpPr>
            <a:spLocks noGrp="1"/>
          </p:cNvSpPr>
          <p:nvPr>
            <p:ph type="title" hasCustomPrompt="1"/>
          </p:nvPr>
        </p:nvSpPr>
        <p:spPr>
          <a:xfrm>
            <a:off x="698507" y="1436019"/>
            <a:ext cx="5397493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052"/>
              </a:lnSpc>
              <a:spcBef>
                <a:spcPts val="0"/>
              </a:spcBef>
              <a:defRPr sz="1796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9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698651" y="341109"/>
            <a:ext cx="5397349" cy="1078159"/>
          </a:xfrm>
        </p:spPr>
        <p:txBody>
          <a:bodyPr/>
          <a:lstStyle>
            <a:lvl1pPr>
              <a:lnSpc>
                <a:spcPts val="7439"/>
              </a:lnSpc>
              <a:spcAft>
                <a:spcPts val="0"/>
              </a:spcAft>
              <a:defRPr sz="7183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814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nner page –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338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nner page – full-pag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sz="quarter" idx="12" hasCustomPrompt="1"/>
          </p:nvPr>
        </p:nvSpPr>
        <p:spPr>
          <a:xfrm>
            <a:off x="698505" y="1550891"/>
            <a:ext cx="10790355" cy="4561441"/>
          </a:xfrm>
        </p:spPr>
        <p:txBody>
          <a:bodyPr numCol="1" spcCol="0"/>
          <a:lstStyle>
            <a:lvl1pPr>
              <a:defRPr/>
            </a:lvl1pPr>
            <a:lvl5pPr>
              <a:buAutoNum type="arabicPeriod"/>
              <a:defRPr/>
            </a:lvl5pPr>
          </a:lstStyle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</p:txBody>
      </p:sp>
      <p:sp>
        <p:nvSpPr>
          <p:cNvPr id="5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718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nner page – full-page 2 snaking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698505" y="1550891"/>
            <a:ext cx="10790355" cy="4561441"/>
          </a:xfrm>
        </p:spPr>
        <p:txBody>
          <a:bodyPr numCol="2" spcCol="109728"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0"/>
            <a:endParaRPr lang="en-US" dirty="0"/>
          </a:p>
        </p:txBody>
      </p:sp>
      <p:sp>
        <p:nvSpPr>
          <p:cNvPr id="6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031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nner page – full-page 3 snaking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"/>
          <p:cNvSpPr>
            <a:spLocks noGrp="1"/>
          </p:cNvSpPr>
          <p:nvPr>
            <p:ph sz="quarter" idx="16" hasCustomPrompt="1"/>
          </p:nvPr>
        </p:nvSpPr>
        <p:spPr>
          <a:xfrm>
            <a:off x="698505" y="1550891"/>
            <a:ext cx="10792888" cy="4557121"/>
          </a:xfrm>
        </p:spPr>
        <p:txBody>
          <a:bodyPr numCol="3" spcCol="109728"/>
          <a:lstStyle>
            <a:lvl5pPr>
              <a:buClrTx/>
              <a:defRPr/>
            </a:lvl5pPr>
          </a:lstStyle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0"/>
            <a:endParaRPr lang="en-US" dirty="0"/>
          </a:p>
        </p:txBody>
      </p:sp>
      <p:sp>
        <p:nvSpPr>
          <p:cNvPr id="5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6138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nner page – 33-67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"/>
          <p:cNvSpPr>
            <a:spLocks noGrp="1"/>
          </p:cNvSpPr>
          <p:nvPr>
            <p:ph sz="quarter" idx="17" hasCustomPrompt="1"/>
          </p:nvPr>
        </p:nvSpPr>
        <p:spPr>
          <a:xfrm>
            <a:off x="4326567" y="1550891"/>
            <a:ext cx="7162293" cy="4557121"/>
          </a:xfrm>
        </p:spPr>
        <p:txBody>
          <a:bodyPr numCol="2" spcCol="109728"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0"/>
            <a:endParaRPr lang="en-US" dirty="0"/>
          </a:p>
        </p:txBody>
      </p:sp>
      <p:sp>
        <p:nvSpPr>
          <p:cNvPr id="5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476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nner page – 33-67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sz="quarter" idx="17" hasCustomPrompt="1"/>
          </p:nvPr>
        </p:nvSpPr>
        <p:spPr>
          <a:xfrm>
            <a:off x="4326567" y="1550891"/>
            <a:ext cx="7162293" cy="4557121"/>
          </a:xfrm>
        </p:spPr>
        <p:txBody>
          <a:bodyPr numCol="1" spcCol="109728"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0"/>
            <a:endParaRPr lang="en-US" dirty="0"/>
          </a:p>
        </p:txBody>
      </p:sp>
      <p:sp>
        <p:nvSpPr>
          <p:cNvPr id="5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5998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nner page – 67-3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7985905" y="1550891"/>
            <a:ext cx="3502956" cy="456144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sz="quarter" idx="16" hasCustomPrompt="1"/>
          </p:nvPr>
        </p:nvSpPr>
        <p:spPr>
          <a:xfrm>
            <a:off x="698506" y="1550891"/>
            <a:ext cx="7162293" cy="4561441"/>
          </a:xfrm>
        </p:spPr>
        <p:txBody>
          <a:bodyPr numCol="2" spcCol="109728"/>
          <a:lstStyle>
            <a:lvl9pPr>
              <a:defRPr/>
            </a:lvl9pPr>
          </a:lstStyle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8"/>
            <a:endParaRPr lang="en-US" dirty="0"/>
          </a:p>
        </p:txBody>
      </p:sp>
      <p:sp>
        <p:nvSpPr>
          <p:cNvPr id="6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530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 - small r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Y Panel"/>
          <p:cNvSpPr>
            <a:spLocks noChangeAspect="1"/>
          </p:cNvSpPr>
          <p:nvPr userDrawn="1"/>
        </p:nvSpPr>
        <p:spPr bwMode="gray">
          <a:xfrm rot="10800000">
            <a:off x="7069623" y="373220"/>
            <a:ext cx="4420396" cy="2968949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941" dirty="0">
              <a:solidFill>
                <a:srgbClr val="646464"/>
              </a:solidFill>
            </a:endParaRPr>
          </a:p>
        </p:txBody>
      </p:sp>
      <p:sp>
        <p:nvSpPr>
          <p:cNvPr id="11" name="Date_Version"/>
          <p:cNvSpPr>
            <a:spLocks noGrp="1"/>
          </p:cNvSpPr>
          <p:nvPr>
            <p:ph type="body" sz="quarter" idx="13" hasCustomPrompt="1"/>
          </p:nvPr>
        </p:nvSpPr>
        <p:spPr>
          <a:xfrm>
            <a:off x="7361389" y="2993964"/>
            <a:ext cx="3851592" cy="234810"/>
          </a:xfrm>
        </p:spPr>
        <p:txBody>
          <a:bodyPr/>
          <a:lstStyle>
            <a:lvl1pPr marL="0" marR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 sz="855">
                <a:solidFill>
                  <a:schemeClr val="bg2"/>
                </a:solidFill>
                <a:latin typeface="+mn-lt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5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12" name="Cover Text 2"/>
          <p:cNvSpPr>
            <a:spLocks noGrp="1"/>
          </p:cNvSpPr>
          <p:nvPr>
            <p:ph type="body" sz="quarter" idx="14" hasCustomPrompt="1"/>
          </p:nvPr>
        </p:nvSpPr>
        <p:spPr>
          <a:xfrm>
            <a:off x="7360595" y="2243325"/>
            <a:ext cx="3851592" cy="389796"/>
          </a:xfrm>
        </p:spPr>
        <p:txBody>
          <a:bodyPr/>
          <a:lstStyle>
            <a:lvl1pPr>
              <a:spcAft>
                <a:spcPts val="0"/>
              </a:spcAft>
              <a:defRPr sz="1026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13" name="Cover Text 1"/>
          <p:cNvSpPr>
            <a:spLocks noGrp="1"/>
          </p:cNvSpPr>
          <p:nvPr>
            <p:ph type="title" hasCustomPrompt="1"/>
          </p:nvPr>
        </p:nvSpPr>
        <p:spPr>
          <a:xfrm>
            <a:off x="7361389" y="1137707"/>
            <a:ext cx="3851592" cy="80018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2394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pic>
        <p:nvPicPr>
          <p:cNvPr id="7" name="Logo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8657" y="5316152"/>
            <a:ext cx="1236940" cy="1152800"/>
          </a:xfrm>
          <a:prstGeom prst="rect">
            <a:avLst/>
          </a:prstGeom>
        </p:spPr>
      </p:pic>
      <p:sp>
        <p:nvSpPr>
          <p:cNvPr id="8" name="Reliance Restricted"/>
          <p:cNvSpPr>
            <a:spLocks noGrp="1"/>
          </p:cNvSpPr>
          <p:nvPr>
            <p:ph type="body" sz="quarter" idx="15" hasCustomPrompt="1"/>
          </p:nvPr>
        </p:nvSpPr>
        <p:spPr>
          <a:xfrm>
            <a:off x="7360594" y="2786626"/>
            <a:ext cx="2477857" cy="165871"/>
          </a:xfrm>
        </p:spPr>
        <p:txBody>
          <a:bodyPr/>
          <a:lstStyle>
            <a:lvl1pPr>
              <a:defRPr sz="1026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Reliance Restrict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683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nner page – 50-50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 hasCustomPrompt="1"/>
          </p:nvPr>
        </p:nvSpPr>
        <p:spPr>
          <a:xfrm>
            <a:off x="6161449" y="1550891"/>
            <a:ext cx="5327412" cy="455712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15" name="Content Placeholder 1"/>
          <p:cNvSpPr>
            <a:spLocks noGrp="1"/>
          </p:cNvSpPr>
          <p:nvPr>
            <p:ph sz="quarter" idx="16" hasCustomPrompt="1"/>
          </p:nvPr>
        </p:nvSpPr>
        <p:spPr>
          <a:xfrm>
            <a:off x="698506" y="1550891"/>
            <a:ext cx="5337837" cy="455712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6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2061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nn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8" hasCustomPrompt="1"/>
            <p:custDataLst>
              <p:tags r:id="rId1"/>
            </p:custDataLst>
          </p:nvPr>
        </p:nvSpPr>
        <p:spPr>
          <a:xfrm>
            <a:off x="9799935" y="1550891"/>
            <a:ext cx="1688925" cy="456144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sz="quarter" idx="17" hasCustomPrompt="1"/>
          </p:nvPr>
        </p:nvSpPr>
        <p:spPr>
          <a:xfrm>
            <a:off x="2512536" y="1550891"/>
            <a:ext cx="7162293" cy="456144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6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1866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234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Column 12"/>
          <p:cNvSpPr/>
          <p:nvPr userDrawn="1"/>
        </p:nvSpPr>
        <p:spPr>
          <a:xfrm>
            <a:off x="10706951" y="1550890"/>
            <a:ext cx="788211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0" name="Gutter 11"/>
          <p:cNvSpPr/>
          <p:nvPr userDrawn="1"/>
        </p:nvSpPr>
        <p:spPr>
          <a:xfrm>
            <a:off x="10581846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6" name="Column 11"/>
          <p:cNvSpPr/>
          <p:nvPr userDrawn="1"/>
        </p:nvSpPr>
        <p:spPr>
          <a:xfrm>
            <a:off x="9799936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1" name="Gutter 10"/>
          <p:cNvSpPr/>
          <p:nvPr userDrawn="1"/>
        </p:nvSpPr>
        <p:spPr>
          <a:xfrm>
            <a:off x="9674830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0" name="Column 10"/>
          <p:cNvSpPr/>
          <p:nvPr userDrawn="1"/>
        </p:nvSpPr>
        <p:spPr>
          <a:xfrm>
            <a:off x="8892920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2" name="Gutter 9"/>
          <p:cNvSpPr/>
          <p:nvPr userDrawn="1"/>
        </p:nvSpPr>
        <p:spPr>
          <a:xfrm>
            <a:off x="8767815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1" name="Column 9"/>
          <p:cNvSpPr/>
          <p:nvPr userDrawn="1"/>
        </p:nvSpPr>
        <p:spPr>
          <a:xfrm>
            <a:off x="7985906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3" name="Gutter 8"/>
          <p:cNvSpPr/>
          <p:nvPr userDrawn="1"/>
        </p:nvSpPr>
        <p:spPr>
          <a:xfrm>
            <a:off x="7860799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2" name="Column 8"/>
          <p:cNvSpPr/>
          <p:nvPr userDrawn="1"/>
        </p:nvSpPr>
        <p:spPr>
          <a:xfrm>
            <a:off x="7078889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4" name="Gutter 7"/>
          <p:cNvSpPr/>
          <p:nvPr userDrawn="1"/>
        </p:nvSpPr>
        <p:spPr>
          <a:xfrm>
            <a:off x="6953784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3" name="Column 7"/>
          <p:cNvSpPr/>
          <p:nvPr userDrawn="1"/>
        </p:nvSpPr>
        <p:spPr>
          <a:xfrm>
            <a:off x="6161450" y="1550890"/>
            <a:ext cx="792335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5" name="Gutter 6"/>
          <p:cNvSpPr/>
          <p:nvPr userDrawn="1"/>
        </p:nvSpPr>
        <p:spPr>
          <a:xfrm>
            <a:off x="6036343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4" name="Column 6"/>
          <p:cNvSpPr/>
          <p:nvPr userDrawn="1"/>
        </p:nvSpPr>
        <p:spPr>
          <a:xfrm>
            <a:off x="5244009" y="1550890"/>
            <a:ext cx="792335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6" name="Gutter 5"/>
          <p:cNvSpPr/>
          <p:nvPr userDrawn="1"/>
        </p:nvSpPr>
        <p:spPr>
          <a:xfrm>
            <a:off x="5118903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5" name="Column 5"/>
          <p:cNvSpPr/>
          <p:nvPr userDrawn="1"/>
        </p:nvSpPr>
        <p:spPr>
          <a:xfrm>
            <a:off x="4326569" y="1550890"/>
            <a:ext cx="792335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7" name="Gutter 4"/>
          <p:cNvSpPr/>
          <p:nvPr userDrawn="1"/>
        </p:nvSpPr>
        <p:spPr>
          <a:xfrm>
            <a:off x="4201462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6" name="Column 4"/>
          <p:cNvSpPr/>
          <p:nvPr userDrawn="1"/>
        </p:nvSpPr>
        <p:spPr>
          <a:xfrm>
            <a:off x="3419552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8" name="Gutter 3"/>
          <p:cNvSpPr/>
          <p:nvPr userDrawn="1"/>
        </p:nvSpPr>
        <p:spPr>
          <a:xfrm>
            <a:off x="3294447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7" name="Column 3"/>
          <p:cNvSpPr/>
          <p:nvPr userDrawn="1"/>
        </p:nvSpPr>
        <p:spPr>
          <a:xfrm>
            <a:off x="2512538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9" name="Gutter 2"/>
          <p:cNvSpPr/>
          <p:nvPr userDrawn="1"/>
        </p:nvSpPr>
        <p:spPr>
          <a:xfrm>
            <a:off x="2387431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8" name="Column 2"/>
          <p:cNvSpPr/>
          <p:nvPr userDrawn="1"/>
        </p:nvSpPr>
        <p:spPr>
          <a:xfrm>
            <a:off x="1605522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30" name="Gutter 1"/>
          <p:cNvSpPr/>
          <p:nvPr userDrawn="1"/>
        </p:nvSpPr>
        <p:spPr>
          <a:xfrm>
            <a:off x="1480416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9" name="Column 1"/>
          <p:cNvSpPr/>
          <p:nvPr userDrawn="1"/>
        </p:nvSpPr>
        <p:spPr>
          <a:xfrm>
            <a:off x="698650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3" name="Title Headlin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Do not send to a client. Add a slide with this master to get this grid.</a:t>
            </a:r>
          </a:p>
        </p:txBody>
      </p:sp>
      <p:sp>
        <p:nvSpPr>
          <p:cNvPr id="31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Use this slide to arrange items so that they fit neatly into this grid. Press ALT-F9 to toggle column and margin guides on and off. </a:t>
            </a:r>
          </a:p>
        </p:txBody>
      </p:sp>
    </p:spTree>
    <p:extLst>
      <p:ext uri="{BB962C8B-B14F-4D97-AF65-F5344CB8AC3E}">
        <p14:creationId xmlns:p14="http://schemas.microsoft.com/office/powerpoint/2010/main" val="1394985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with imag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Y Panel"/>
          <p:cNvSpPr>
            <a:spLocks noChangeAspect="1"/>
          </p:cNvSpPr>
          <p:nvPr userDrawn="1"/>
        </p:nvSpPr>
        <p:spPr bwMode="gray">
          <a:xfrm rot="10800000">
            <a:off x="698505" y="389797"/>
            <a:ext cx="6171875" cy="4145325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941">
              <a:solidFill>
                <a:srgbClr val="333333"/>
              </a:solidFill>
            </a:endParaRPr>
          </a:p>
        </p:txBody>
      </p:sp>
      <p:pic>
        <p:nvPicPr>
          <p:cNvPr id="64" name="Logo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65857" y="5302650"/>
            <a:ext cx="1233683" cy="1149403"/>
          </a:xfrm>
          <a:prstGeom prst="rect">
            <a:avLst/>
          </a:prstGeom>
        </p:spPr>
      </p:pic>
      <p:sp>
        <p:nvSpPr>
          <p:cNvPr id="10" name="Date_Version"/>
          <p:cNvSpPr>
            <a:spLocks noGrp="1"/>
          </p:cNvSpPr>
          <p:nvPr>
            <p:ph type="body" sz="quarter" idx="13" hasCustomPrompt="1"/>
          </p:nvPr>
        </p:nvSpPr>
        <p:spPr>
          <a:xfrm>
            <a:off x="979994" y="3969325"/>
            <a:ext cx="5507757" cy="234810"/>
          </a:xfrm>
        </p:spPr>
        <p:txBody>
          <a:bodyPr/>
          <a:lstStyle>
            <a:lvl1pPr marL="0" marR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 sz="855">
                <a:solidFill>
                  <a:schemeClr val="bg2"/>
                </a:solidFill>
                <a:latin typeface="+mn-lt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5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6" name="Cover Text 2"/>
          <p:cNvSpPr>
            <a:spLocks noGrp="1"/>
          </p:cNvSpPr>
          <p:nvPr>
            <p:ph type="body" sz="quarter" idx="14" hasCustomPrompt="1"/>
          </p:nvPr>
        </p:nvSpPr>
        <p:spPr>
          <a:xfrm>
            <a:off x="979198" y="2637342"/>
            <a:ext cx="5507757" cy="389796"/>
          </a:xfrm>
        </p:spPr>
        <p:txBody>
          <a:bodyPr/>
          <a:lstStyle>
            <a:lvl1pPr>
              <a:spcAft>
                <a:spcPts val="0"/>
              </a:spcAft>
              <a:defRPr sz="1026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7" name="Cover Text 1"/>
          <p:cNvSpPr>
            <a:spLocks noGrp="1"/>
          </p:cNvSpPr>
          <p:nvPr>
            <p:ph type="title" hasCustomPrompt="1"/>
          </p:nvPr>
        </p:nvSpPr>
        <p:spPr>
          <a:xfrm>
            <a:off x="979994" y="1400980"/>
            <a:ext cx="5506961" cy="1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2394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8" name="Reliance Restricted"/>
          <p:cNvSpPr txBox="1"/>
          <p:nvPr userDrawn="1"/>
        </p:nvSpPr>
        <p:spPr>
          <a:xfrm>
            <a:off x="979994" y="3713485"/>
            <a:ext cx="2484365" cy="1578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Aft>
                <a:spcPts val="513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</a:pPr>
            <a:r>
              <a:rPr lang="en-US" sz="1026" b="1" kern="0" dirty="0">
                <a:solidFill>
                  <a:srgbClr val="000000"/>
                </a:solidFill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1632568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-partner info 4"/>
          <p:cNvSpPr>
            <a:spLocks noGrp="1"/>
          </p:cNvSpPr>
          <p:nvPr>
            <p:ph type="body" sz="quarter" idx="44" hasCustomPrompt="1"/>
          </p:nvPr>
        </p:nvSpPr>
        <p:spPr>
          <a:xfrm>
            <a:off x="8913771" y="3997481"/>
            <a:ext cx="2585515" cy="605428"/>
          </a:xfrm>
        </p:spPr>
        <p:txBody>
          <a:bodyPr/>
          <a:lstStyle>
            <a:lvl1pPr>
              <a:spcAft>
                <a:spcPts val="0"/>
              </a:spcAft>
              <a:defRPr sz="770"/>
            </a:lvl1pPr>
          </a:lstStyle>
          <a:p>
            <a:pPr lvl="0"/>
            <a:r>
              <a:rPr lang="en-US" dirty="0" smtClean="0"/>
              <a:t>Tel: +## #### #### #### </a:t>
            </a:r>
            <a:br>
              <a:rPr lang="en-US" dirty="0" smtClean="0"/>
            </a:br>
            <a:r>
              <a:rPr lang="en-US" dirty="0" smtClean="0"/>
              <a:t>Mobile: +## #### #### #### </a:t>
            </a:r>
            <a:br>
              <a:rPr lang="en-US" dirty="0" smtClean="0"/>
            </a:br>
            <a:r>
              <a:rPr lang="en-US" dirty="0" smtClean="0"/>
              <a:t>Email: </a:t>
            </a:r>
            <a:r>
              <a:rPr lang="en-US" dirty="0" err="1" smtClean="0"/>
              <a:t>xxx@xxx</a:t>
            </a:r>
            <a:endParaRPr lang="en-US" dirty="0" smtClean="0"/>
          </a:p>
        </p:txBody>
      </p:sp>
      <p:sp>
        <p:nvSpPr>
          <p:cNvPr id="14" name="Text Placeholder-partner title 4"/>
          <p:cNvSpPr>
            <a:spLocks noGrp="1"/>
          </p:cNvSpPr>
          <p:nvPr>
            <p:ph type="body" sz="quarter" idx="42" hasCustomPrompt="1"/>
          </p:nvPr>
        </p:nvSpPr>
        <p:spPr>
          <a:xfrm>
            <a:off x="8913771" y="3806731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1" name="Text Placeholder-partner name 4"/>
          <p:cNvSpPr>
            <a:spLocks noGrp="1"/>
          </p:cNvSpPr>
          <p:nvPr>
            <p:ph type="body" sz="quarter" idx="39" hasCustomPrompt="1"/>
          </p:nvPr>
        </p:nvSpPr>
        <p:spPr>
          <a:xfrm>
            <a:off x="8906823" y="3657447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artner or senior manager name</a:t>
            </a:r>
            <a:endParaRPr lang="en-US" dirty="0"/>
          </a:p>
        </p:txBody>
      </p:sp>
      <p:sp>
        <p:nvSpPr>
          <p:cNvPr id="18" name="Text Placeholder-partner info 3"/>
          <p:cNvSpPr>
            <a:spLocks noGrp="1"/>
          </p:cNvSpPr>
          <p:nvPr>
            <p:ph type="body" sz="quarter" idx="45" hasCustomPrompt="1"/>
          </p:nvPr>
        </p:nvSpPr>
        <p:spPr>
          <a:xfrm>
            <a:off x="8913771" y="2894441"/>
            <a:ext cx="2585515" cy="605428"/>
          </a:xfrm>
        </p:spPr>
        <p:txBody>
          <a:bodyPr/>
          <a:lstStyle>
            <a:lvl1pPr>
              <a:spcAft>
                <a:spcPts val="0"/>
              </a:spcAft>
              <a:defRPr sz="770"/>
            </a:lvl1pPr>
          </a:lstStyle>
          <a:p>
            <a:pPr lvl="0"/>
            <a:r>
              <a:rPr lang="en-US" dirty="0" smtClean="0"/>
              <a:t>Tel: +## #### #### #### </a:t>
            </a:r>
            <a:br>
              <a:rPr lang="en-US" dirty="0" smtClean="0"/>
            </a:br>
            <a:r>
              <a:rPr lang="en-US" dirty="0" smtClean="0"/>
              <a:t>Mobile: +## #### #### #### </a:t>
            </a:r>
            <a:br>
              <a:rPr lang="en-US" dirty="0" smtClean="0"/>
            </a:br>
            <a:r>
              <a:rPr lang="en-US" dirty="0" smtClean="0"/>
              <a:t>Email: </a:t>
            </a:r>
            <a:r>
              <a:rPr lang="en-US" dirty="0" err="1" smtClean="0"/>
              <a:t>xxx@xxx</a:t>
            </a:r>
            <a:endParaRPr lang="en-US" dirty="0" smtClean="0"/>
          </a:p>
        </p:txBody>
      </p:sp>
      <p:sp>
        <p:nvSpPr>
          <p:cNvPr id="15" name="Text Placeholder-partner title 3"/>
          <p:cNvSpPr>
            <a:spLocks noGrp="1"/>
          </p:cNvSpPr>
          <p:nvPr>
            <p:ph type="body" sz="quarter" idx="43" hasCustomPrompt="1"/>
          </p:nvPr>
        </p:nvSpPr>
        <p:spPr>
          <a:xfrm>
            <a:off x="8906823" y="2703691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9" name="Text Placeholder-partner name 3"/>
          <p:cNvSpPr>
            <a:spLocks noGrp="1"/>
          </p:cNvSpPr>
          <p:nvPr>
            <p:ph type="body" sz="quarter" idx="38" hasCustomPrompt="1"/>
          </p:nvPr>
        </p:nvSpPr>
        <p:spPr>
          <a:xfrm>
            <a:off x="8906823" y="2554408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artner or senior manager name</a:t>
            </a:r>
            <a:endParaRPr lang="en-US" dirty="0"/>
          </a:p>
        </p:txBody>
      </p:sp>
      <p:sp>
        <p:nvSpPr>
          <p:cNvPr id="19" name="Text Placeholder-partner info 2"/>
          <p:cNvSpPr>
            <a:spLocks noGrp="1"/>
          </p:cNvSpPr>
          <p:nvPr>
            <p:ph type="body" sz="quarter" idx="46" hasCustomPrompt="1"/>
          </p:nvPr>
        </p:nvSpPr>
        <p:spPr>
          <a:xfrm>
            <a:off x="8913771" y="1807989"/>
            <a:ext cx="2585515" cy="605428"/>
          </a:xfrm>
        </p:spPr>
        <p:txBody>
          <a:bodyPr/>
          <a:lstStyle>
            <a:lvl1pPr>
              <a:spcAft>
                <a:spcPts val="0"/>
              </a:spcAft>
              <a:defRPr sz="770"/>
            </a:lvl1pPr>
          </a:lstStyle>
          <a:p>
            <a:pPr lvl="0"/>
            <a:r>
              <a:rPr lang="en-US" dirty="0" smtClean="0"/>
              <a:t>Tel: +## #### #### #### </a:t>
            </a:r>
            <a:br>
              <a:rPr lang="en-US" dirty="0" smtClean="0"/>
            </a:br>
            <a:r>
              <a:rPr lang="en-US" dirty="0" smtClean="0"/>
              <a:t>Mobile: +## #### #### #### </a:t>
            </a:r>
            <a:br>
              <a:rPr lang="en-US" dirty="0" smtClean="0"/>
            </a:br>
            <a:r>
              <a:rPr lang="en-US" dirty="0" smtClean="0"/>
              <a:t>Email: </a:t>
            </a:r>
            <a:r>
              <a:rPr lang="en-US" dirty="0" err="1" smtClean="0"/>
              <a:t>xxx@xxx</a:t>
            </a:r>
            <a:endParaRPr lang="en-US" dirty="0" smtClean="0"/>
          </a:p>
        </p:txBody>
      </p:sp>
      <p:sp>
        <p:nvSpPr>
          <p:cNvPr id="13" name="Text Placeholder-partner title 2"/>
          <p:cNvSpPr>
            <a:spLocks noGrp="1"/>
          </p:cNvSpPr>
          <p:nvPr>
            <p:ph type="body" sz="quarter" idx="41" hasCustomPrompt="1"/>
          </p:nvPr>
        </p:nvSpPr>
        <p:spPr>
          <a:xfrm>
            <a:off x="8906823" y="1617239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8" name="Text Placeholder-partner name 2"/>
          <p:cNvSpPr>
            <a:spLocks noGrp="1"/>
          </p:cNvSpPr>
          <p:nvPr>
            <p:ph type="body" sz="quarter" idx="37" hasCustomPrompt="1"/>
          </p:nvPr>
        </p:nvSpPr>
        <p:spPr>
          <a:xfrm>
            <a:off x="8906823" y="1467956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artner or senior manager name</a:t>
            </a:r>
            <a:endParaRPr lang="en-US" dirty="0"/>
          </a:p>
        </p:txBody>
      </p:sp>
      <p:sp>
        <p:nvSpPr>
          <p:cNvPr id="20" name="Text Placeholder-partner info 1"/>
          <p:cNvSpPr>
            <a:spLocks noGrp="1"/>
          </p:cNvSpPr>
          <p:nvPr>
            <p:ph type="body" sz="quarter" idx="47" hasCustomPrompt="1"/>
          </p:nvPr>
        </p:nvSpPr>
        <p:spPr>
          <a:xfrm>
            <a:off x="8913771" y="704950"/>
            <a:ext cx="2585515" cy="605428"/>
          </a:xfrm>
        </p:spPr>
        <p:txBody>
          <a:bodyPr/>
          <a:lstStyle>
            <a:lvl1pPr>
              <a:spcAft>
                <a:spcPts val="0"/>
              </a:spcAft>
              <a:defRPr sz="770"/>
            </a:lvl1pPr>
          </a:lstStyle>
          <a:p>
            <a:pPr lvl="0"/>
            <a:r>
              <a:rPr lang="en-US" dirty="0" smtClean="0"/>
              <a:t>Tel: +## #### #### #### </a:t>
            </a:r>
            <a:br>
              <a:rPr lang="en-US" dirty="0" smtClean="0"/>
            </a:br>
            <a:r>
              <a:rPr lang="en-US" dirty="0" smtClean="0"/>
              <a:t>Mobile: +## #### #### #### </a:t>
            </a:r>
            <a:br>
              <a:rPr lang="en-US" dirty="0" smtClean="0"/>
            </a:br>
            <a:r>
              <a:rPr lang="en-US" dirty="0" smtClean="0"/>
              <a:t>Email: </a:t>
            </a:r>
            <a:r>
              <a:rPr lang="en-US" dirty="0" err="1" smtClean="0"/>
              <a:t>xxx@xxx</a:t>
            </a:r>
            <a:endParaRPr lang="en-US" dirty="0" smtClean="0"/>
          </a:p>
        </p:txBody>
      </p:sp>
      <p:sp>
        <p:nvSpPr>
          <p:cNvPr id="4" name="Text Placeholder-partner title 1"/>
          <p:cNvSpPr>
            <a:spLocks noGrp="1"/>
          </p:cNvSpPr>
          <p:nvPr>
            <p:ph type="body" sz="quarter" idx="40" hasCustomPrompt="1"/>
          </p:nvPr>
        </p:nvSpPr>
        <p:spPr>
          <a:xfrm>
            <a:off x="8913771" y="514200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3" name="Text Placeholder-partner name 1"/>
          <p:cNvSpPr>
            <a:spLocks noGrp="1"/>
          </p:cNvSpPr>
          <p:nvPr>
            <p:ph type="body" sz="quarter" idx="36" hasCustomPrompt="1"/>
          </p:nvPr>
        </p:nvSpPr>
        <p:spPr>
          <a:xfrm>
            <a:off x="8913771" y="364916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artner or senior manager name</a:t>
            </a:r>
            <a:endParaRPr lang="en-US" dirty="0"/>
          </a:p>
        </p:txBody>
      </p:sp>
      <p:sp>
        <p:nvSpPr>
          <p:cNvPr id="21" name="EY Panel"/>
          <p:cNvSpPr>
            <a:spLocks noChangeAspect="1"/>
          </p:cNvSpPr>
          <p:nvPr userDrawn="1"/>
        </p:nvSpPr>
        <p:spPr bwMode="gray">
          <a:xfrm rot="10800000">
            <a:off x="698505" y="389797"/>
            <a:ext cx="6171875" cy="4145325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941">
              <a:solidFill>
                <a:srgbClr val="646464"/>
              </a:solidFill>
            </a:endParaRPr>
          </a:p>
        </p:txBody>
      </p:sp>
      <p:sp>
        <p:nvSpPr>
          <p:cNvPr id="23" name="Cover Text 2"/>
          <p:cNvSpPr>
            <a:spLocks noGrp="1"/>
          </p:cNvSpPr>
          <p:nvPr>
            <p:ph type="body" sz="quarter" idx="14" hasCustomPrompt="1"/>
          </p:nvPr>
        </p:nvSpPr>
        <p:spPr>
          <a:xfrm>
            <a:off x="979199" y="2637342"/>
            <a:ext cx="5504644" cy="389796"/>
          </a:xfrm>
        </p:spPr>
        <p:txBody>
          <a:bodyPr/>
          <a:lstStyle>
            <a:lvl1pPr>
              <a:spcAft>
                <a:spcPts val="0"/>
              </a:spcAft>
              <a:defRPr sz="1026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24" name="Cover Text 1"/>
          <p:cNvSpPr>
            <a:spLocks noGrp="1"/>
          </p:cNvSpPr>
          <p:nvPr>
            <p:ph type="title" hasCustomPrompt="1"/>
          </p:nvPr>
        </p:nvSpPr>
        <p:spPr>
          <a:xfrm>
            <a:off x="979994" y="1400980"/>
            <a:ext cx="5504644" cy="1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2394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pic>
        <p:nvPicPr>
          <p:cNvPr id="25" name="Logo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8657" y="5316152"/>
            <a:ext cx="1236940" cy="1152800"/>
          </a:xfrm>
          <a:prstGeom prst="rect">
            <a:avLst/>
          </a:prstGeom>
        </p:spPr>
      </p:pic>
      <p:sp>
        <p:nvSpPr>
          <p:cNvPr id="28" name="Date_Version"/>
          <p:cNvSpPr>
            <a:spLocks noGrp="1"/>
          </p:cNvSpPr>
          <p:nvPr>
            <p:ph type="body" sz="quarter" idx="13" hasCustomPrompt="1"/>
          </p:nvPr>
        </p:nvSpPr>
        <p:spPr>
          <a:xfrm>
            <a:off x="979994" y="3969325"/>
            <a:ext cx="5507757" cy="234810"/>
          </a:xfrm>
        </p:spPr>
        <p:txBody>
          <a:bodyPr/>
          <a:lstStyle>
            <a:lvl1pPr marL="0" marR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 sz="855">
                <a:solidFill>
                  <a:schemeClr val="bg2"/>
                </a:solidFill>
                <a:latin typeface="+mn-lt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5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29" name="Reliance Restricted"/>
          <p:cNvSpPr txBox="1"/>
          <p:nvPr userDrawn="1"/>
        </p:nvSpPr>
        <p:spPr>
          <a:xfrm>
            <a:off x="979994" y="3713485"/>
            <a:ext cx="2484365" cy="1578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Aft>
                <a:spcPts val="513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</a:pPr>
            <a:r>
              <a:rPr lang="en-US" sz="1026" b="1" kern="0" dirty="0">
                <a:solidFill>
                  <a:srgbClr val="000000"/>
                </a:solidFill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819760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without image - small lef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Y Panel"/>
          <p:cNvSpPr>
            <a:spLocks noChangeAspect="1"/>
          </p:cNvSpPr>
          <p:nvPr userDrawn="1"/>
        </p:nvSpPr>
        <p:spPr bwMode="gray">
          <a:xfrm rot="10800000">
            <a:off x="698507" y="373220"/>
            <a:ext cx="4420396" cy="2968949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941">
              <a:solidFill>
                <a:srgbClr val="646464"/>
              </a:solidFill>
            </a:endParaRPr>
          </a:p>
        </p:txBody>
      </p:sp>
      <p:sp>
        <p:nvSpPr>
          <p:cNvPr id="10" name="Date_Version"/>
          <p:cNvSpPr>
            <a:spLocks noGrp="1"/>
          </p:cNvSpPr>
          <p:nvPr>
            <p:ph type="body" sz="quarter" idx="13" hasCustomPrompt="1"/>
          </p:nvPr>
        </p:nvSpPr>
        <p:spPr>
          <a:xfrm>
            <a:off x="979199" y="2993964"/>
            <a:ext cx="3851592" cy="234810"/>
          </a:xfrm>
        </p:spPr>
        <p:txBody>
          <a:bodyPr/>
          <a:lstStyle>
            <a:lvl1pPr marL="0" marR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 sz="855">
                <a:solidFill>
                  <a:schemeClr val="bg2"/>
                </a:solidFill>
                <a:latin typeface="+mn-lt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5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6" name="Cover Text 2"/>
          <p:cNvSpPr>
            <a:spLocks noGrp="1"/>
          </p:cNvSpPr>
          <p:nvPr>
            <p:ph type="body" sz="quarter" idx="14" hasCustomPrompt="1"/>
          </p:nvPr>
        </p:nvSpPr>
        <p:spPr>
          <a:xfrm>
            <a:off x="979199" y="2243325"/>
            <a:ext cx="3851592" cy="389796"/>
          </a:xfrm>
        </p:spPr>
        <p:txBody>
          <a:bodyPr/>
          <a:lstStyle>
            <a:lvl1pPr>
              <a:spcAft>
                <a:spcPts val="0"/>
              </a:spcAft>
              <a:defRPr sz="1026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7" name="Cover Text 1"/>
          <p:cNvSpPr>
            <a:spLocks noGrp="1"/>
          </p:cNvSpPr>
          <p:nvPr>
            <p:ph type="title" hasCustomPrompt="1"/>
          </p:nvPr>
        </p:nvSpPr>
        <p:spPr>
          <a:xfrm>
            <a:off x="979199" y="1137707"/>
            <a:ext cx="3851592" cy="80018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2394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pic>
        <p:nvPicPr>
          <p:cNvPr id="9" name="Logo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8657" y="5316152"/>
            <a:ext cx="1236940" cy="1152800"/>
          </a:xfrm>
          <a:prstGeom prst="rect">
            <a:avLst/>
          </a:prstGeom>
        </p:spPr>
      </p:pic>
      <p:sp>
        <p:nvSpPr>
          <p:cNvPr id="11" name="Reliance Restricted"/>
          <p:cNvSpPr txBox="1"/>
          <p:nvPr userDrawn="1"/>
        </p:nvSpPr>
        <p:spPr>
          <a:xfrm>
            <a:off x="979199" y="2786626"/>
            <a:ext cx="2484365" cy="1578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Aft>
                <a:spcPts val="513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</a:pPr>
            <a:r>
              <a:rPr lang="en-US" sz="1026" b="1" kern="0" dirty="0">
                <a:solidFill>
                  <a:srgbClr val="000000"/>
                </a:solidFill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794822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without image - small r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Y Panel"/>
          <p:cNvSpPr>
            <a:spLocks noChangeAspect="1"/>
          </p:cNvSpPr>
          <p:nvPr userDrawn="1"/>
        </p:nvSpPr>
        <p:spPr bwMode="gray">
          <a:xfrm rot="10800000">
            <a:off x="7069623" y="373220"/>
            <a:ext cx="4420396" cy="2968949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941">
              <a:solidFill>
                <a:srgbClr val="646464"/>
              </a:solidFill>
            </a:endParaRPr>
          </a:p>
        </p:txBody>
      </p:sp>
      <p:sp>
        <p:nvSpPr>
          <p:cNvPr id="11" name="Date_Version"/>
          <p:cNvSpPr>
            <a:spLocks noGrp="1"/>
          </p:cNvSpPr>
          <p:nvPr>
            <p:ph type="body" sz="quarter" idx="13" hasCustomPrompt="1"/>
          </p:nvPr>
        </p:nvSpPr>
        <p:spPr>
          <a:xfrm>
            <a:off x="7361389" y="2993964"/>
            <a:ext cx="3851592" cy="234810"/>
          </a:xfrm>
        </p:spPr>
        <p:txBody>
          <a:bodyPr/>
          <a:lstStyle>
            <a:lvl1pPr marL="0" marR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 sz="855">
                <a:solidFill>
                  <a:schemeClr val="bg2"/>
                </a:solidFill>
                <a:latin typeface="+mn-lt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5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12" name="Cover Text 2"/>
          <p:cNvSpPr>
            <a:spLocks noGrp="1"/>
          </p:cNvSpPr>
          <p:nvPr>
            <p:ph type="body" sz="quarter" idx="14" hasCustomPrompt="1"/>
          </p:nvPr>
        </p:nvSpPr>
        <p:spPr>
          <a:xfrm>
            <a:off x="7360595" y="2243325"/>
            <a:ext cx="3851592" cy="389796"/>
          </a:xfrm>
        </p:spPr>
        <p:txBody>
          <a:bodyPr/>
          <a:lstStyle>
            <a:lvl1pPr>
              <a:spcAft>
                <a:spcPts val="0"/>
              </a:spcAft>
              <a:defRPr sz="1026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13" name="Cover Text 1"/>
          <p:cNvSpPr>
            <a:spLocks noGrp="1"/>
          </p:cNvSpPr>
          <p:nvPr>
            <p:ph type="title" hasCustomPrompt="1"/>
          </p:nvPr>
        </p:nvSpPr>
        <p:spPr>
          <a:xfrm>
            <a:off x="7361389" y="1137707"/>
            <a:ext cx="3851592" cy="80018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2394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pic>
        <p:nvPicPr>
          <p:cNvPr id="7" name="Logo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8657" y="5316152"/>
            <a:ext cx="1236940" cy="1152800"/>
          </a:xfrm>
          <a:prstGeom prst="rect">
            <a:avLst/>
          </a:prstGeom>
        </p:spPr>
      </p:pic>
      <p:sp>
        <p:nvSpPr>
          <p:cNvPr id="8" name="Reliance Restricted"/>
          <p:cNvSpPr>
            <a:spLocks noGrp="1"/>
          </p:cNvSpPr>
          <p:nvPr>
            <p:ph type="body" sz="quarter" idx="15" hasCustomPrompt="1"/>
          </p:nvPr>
        </p:nvSpPr>
        <p:spPr>
          <a:xfrm>
            <a:off x="7360594" y="2786626"/>
            <a:ext cx="2477857" cy="165871"/>
          </a:xfrm>
        </p:spPr>
        <p:txBody>
          <a:bodyPr/>
          <a:lstStyle>
            <a:lvl1pPr>
              <a:defRPr sz="1026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Reliance Restrict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1712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ransmittal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Bottom rule"/>
          <p:cNvCxnSpPr/>
          <p:nvPr userDrawn="1"/>
        </p:nvCxnSpPr>
        <p:spPr bwMode="gray">
          <a:xfrm>
            <a:off x="698505" y="6660826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4" name="Filename_Subsec_Page"/>
          <p:cNvSpPr txBox="1"/>
          <p:nvPr userDrawn="1"/>
        </p:nvSpPr>
        <p:spPr>
          <a:xfrm>
            <a:off x="698505" y="6529701"/>
            <a:ext cx="10790355" cy="1296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eaLnBrk="0" fontAlgn="base" hangingPunct="0">
              <a:spcAft>
                <a:spcPct val="0"/>
              </a:spcAft>
            </a:pPr>
            <a:r>
              <a:rPr lang="en-US" sz="599">
                <a:solidFill>
                  <a:srgbClr val="808080"/>
                </a:solidFill>
              </a:rPr>
              <a:t>:  | </a:t>
            </a:r>
            <a:r>
              <a:rPr lang="en-US" sz="599" b="1">
                <a:solidFill>
                  <a:srgbClr val="808080"/>
                </a:solidFill>
              </a:rPr>
              <a:t>Page </a:t>
            </a:r>
            <a:fld id="{B050B644-EDA1-4ACD-8B4A-543DB89C4758}" type="slidenum">
              <a:rPr lang="en-US" sz="599" b="1">
                <a:solidFill>
                  <a:srgbClr val="808080"/>
                </a:solidFill>
              </a:rPr>
              <a:pPr algn="r" eaLnBrk="0" fontAlgn="base" hangingPunct="0">
                <a:spcAft>
                  <a:spcPct val="0"/>
                </a:spcAft>
              </a:pPr>
              <a:t>‹#›</a:t>
            </a:fld>
            <a:r>
              <a:rPr lang="en-US" sz="599" b="1">
                <a:solidFill>
                  <a:srgbClr val="808080"/>
                </a:solidFill>
              </a:rPr>
              <a:t> of 3</a:t>
            </a:r>
            <a:endParaRPr lang="en-US" sz="599" b="1" dirty="0">
              <a:solidFill>
                <a:srgbClr val="808080"/>
              </a:solidFill>
            </a:endParaRPr>
          </a:p>
        </p:txBody>
      </p:sp>
      <p:sp>
        <p:nvSpPr>
          <p:cNvPr id="5" name="LocalFirmNameAndAddress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4273" y="1865809"/>
            <a:ext cx="2244129" cy="121403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70" b="1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70" b="0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513"/>
              </a:spcBef>
              <a:spcAft>
                <a:spcPts val="513"/>
              </a:spcAft>
              <a:buNone/>
              <a:defRPr lang="en-US" sz="770" b="1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3pPr>
            <a:lvl4pPr>
              <a:lnSpc>
                <a:spcPct val="100000"/>
              </a:lnSpc>
              <a:spcAft>
                <a:spcPts val="513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Aft>
                <a:spcPts val="513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Add the local firm name as a level 1 entry, then “indent” to level 2 for the address, then indent to level 3 for the ey.com.</a:t>
            </a:r>
          </a:p>
          <a:p>
            <a:pPr lvl="1"/>
            <a:r>
              <a:rPr lang="en-US" dirty="0" smtClean="0"/>
              <a:t>Address level</a:t>
            </a:r>
          </a:p>
          <a:p>
            <a:pPr lvl="2"/>
            <a:r>
              <a:rPr lang="en-US" dirty="0" smtClean="0"/>
              <a:t>ey.com level</a:t>
            </a:r>
            <a:endParaRPr lang="en-US" dirty="0"/>
          </a:p>
        </p:txBody>
      </p:sp>
      <p:cxnSp>
        <p:nvCxnSpPr>
          <p:cNvPr id="6" name="Top rule"/>
          <p:cNvCxnSpPr/>
          <p:nvPr userDrawn="1"/>
        </p:nvCxnSpPr>
        <p:spPr bwMode="gray">
          <a:xfrm>
            <a:off x="698505" y="391351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7" name="Filename_Vers_Draft"/>
          <p:cNvSpPr txBox="1">
            <a:spLocks/>
          </p:cNvSpPr>
          <p:nvPr userDrawn="1"/>
        </p:nvSpPr>
        <p:spPr>
          <a:xfrm>
            <a:off x="698506" y="222307"/>
            <a:ext cx="4636433" cy="165871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8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defRPr sz="14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175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defRPr sz="12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96850" indent="-192088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70000"/>
              <a:buFont typeface="Wingdings 3" pitchFamily="18" charset="2"/>
              <a:buNone/>
              <a:defRPr sz="1200" b="1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 marL="393700" indent="-195263" algn="just" defTabSz="99536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70000"/>
              <a:buFont typeface="Arial Narrow" pitchFamily="34" charset="0"/>
              <a:buChar char="–"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8509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6pPr>
            <a:lvl7pPr marL="13081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7pPr>
            <a:lvl8pPr marL="17653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8pPr>
            <a:lvl9pPr marL="22225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ts val="1026"/>
              </a:lnSpc>
              <a:spcBef>
                <a:spcPts val="513"/>
              </a:spcBef>
              <a:spcAft>
                <a:spcPts val="0"/>
              </a:spcAft>
            </a:pPr>
            <a:r>
              <a:rPr lang="de-DE" sz="599" b="0" kern="0" smtClean="0">
                <a:solidFill>
                  <a:srgbClr val="808080"/>
                </a:solidFill>
                <a:latin typeface="Arial"/>
              </a:rPr>
              <a:t>19 May 2017 | Version 1.0 (Draft)</a:t>
            </a:r>
            <a:endParaRPr lang="en-US" sz="599" b="0" kern="0"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8" name="Letter text"/>
          <p:cNvSpPr>
            <a:spLocks noGrp="1"/>
          </p:cNvSpPr>
          <p:nvPr>
            <p:ph type="body" sz="quarter" idx="14" hasCustomPrompt="1"/>
          </p:nvPr>
        </p:nvSpPr>
        <p:spPr>
          <a:xfrm>
            <a:off x="3415425" y="2109866"/>
            <a:ext cx="8073436" cy="429170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55"/>
            </a:lvl1pPr>
            <a:lvl2pPr>
              <a:lnSpc>
                <a:spcPct val="100000"/>
              </a:lnSpc>
              <a:spcBef>
                <a:spcPts val="0"/>
              </a:spcBef>
              <a:defRPr sz="941"/>
            </a:lvl2pPr>
            <a:lvl3pPr>
              <a:lnSpc>
                <a:spcPct val="100000"/>
              </a:lnSpc>
              <a:spcBef>
                <a:spcPts val="0"/>
              </a:spcBef>
              <a:defRPr sz="855"/>
            </a:lvl3pPr>
            <a:lvl4pPr>
              <a:lnSpc>
                <a:spcPct val="100000"/>
              </a:lnSpc>
              <a:spcBef>
                <a:spcPts val="0"/>
              </a:spcBef>
              <a:defRPr sz="855"/>
            </a:lvl4pPr>
            <a:lvl5pPr>
              <a:lnSpc>
                <a:spcPct val="100000"/>
              </a:lnSpc>
              <a:spcBef>
                <a:spcPts val="0"/>
              </a:spcBef>
              <a:defRPr sz="855"/>
            </a:lvl5pPr>
          </a:lstStyle>
          <a:p>
            <a:pPr lvl="0"/>
            <a:r>
              <a:rPr lang="en-US" dirty="0" smtClean="0"/>
              <a:t>Put the text of the letter here</a:t>
            </a:r>
            <a:endParaRPr lang="en-US" dirty="0"/>
          </a:p>
        </p:txBody>
      </p:sp>
      <p:sp>
        <p:nvSpPr>
          <p:cNvPr id="9" name="ProjectName"/>
          <p:cNvSpPr>
            <a:spLocks noGrp="1"/>
          </p:cNvSpPr>
          <p:nvPr>
            <p:ph type="body" sz="quarter" idx="15" hasCustomPrompt="1"/>
          </p:nvPr>
        </p:nvSpPr>
        <p:spPr>
          <a:xfrm>
            <a:off x="3415426" y="1865809"/>
            <a:ext cx="4457972" cy="226057"/>
          </a:xfrm>
        </p:spPr>
        <p:txBody>
          <a:bodyPr/>
          <a:lstStyle>
            <a:lvl1pPr>
              <a:defRPr sz="941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roject name</a:t>
            </a:r>
            <a:endParaRPr lang="en-US" dirty="0"/>
          </a:p>
        </p:txBody>
      </p:sp>
      <p:sp>
        <p:nvSpPr>
          <p:cNvPr id="10" name="Date"/>
          <p:cNvSpPr>
            <a:spLocks noGrp="1"/>
          </p:cNvSpPr>
          <p:nvPr>
            <p:ph type="body" sz="quarter" idx="16" hasCustomPrompt="1"/>
          </p:nvPr>
        </p:nvSpPr>
        <p:spPr>
          <a:xfrm>
            <a:off x="8236561" y="1865809"/>
            <a:ext cx="3252300" cy="226057"/>
          </a:xfrm>
        </p:spPr>
        <p:txBody>
          <a:bodyPr/>
          <a:lstStyle>
            <a:lvl1pPr algn="r">
              <a:defRPr sz="941" b="1">
                <a:solidFill>
                  <a:schemeClr val="tx1"/>
                </a:solidFill>
              </a:defRPr>
            </a:lvl1pPr>
            <a:lvl2pPr algn="r">
              <a:defRPr/>
            </a:lvl2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1" name="ClientAddress"/>
          <p:cNvSpPr>
            <a:spLocks noGrp="1"/>
          </p:cNvSpPr>
          <p:nvPr>
            <p:ph type="body" sz="quarter" idx="17" hasCustomPrompt="1"/>
          </p:nvPr>
        </p:nvSpPr>
        <p:spPr>
          <a:xfrm>
            <a:off x="3415425" y="912289"/>
            <a:ext cx="4458204" cy="829353"/>
          </a:xfrm>
        </p:spPr>
        <p:txBody>
          <a:bodyPr anchor="ctr" anchorCtr="0"/>
          <a:lstStyle>
            <a:lvl1pPr>
              <a:spcAft>
                <a:spcPts val="0"/>
              </a:spcAft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Put the client contact name and address here</a:t>
            </a:r>
            <a:endParaRPr lang="en-US" dirty="0"/>
          </a:p>
        </p:txBody>
      </p:sp>
      <p:pic>
        <p:nvPicPr>
          <p:cNvPr id="12" name="Logo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507" y="663482"/>
            <a:ext cx="791997" cy="738124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415426" y="682137"/>
            <a:ext cx="2484365" cy="1447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Aft>
                <a:spcPts val="513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</a:pPr>
            <a:r>
              <a:rPr lang="en-US" sz="941" b="1" kern="0" dirty="0">
                <a:solidFill>
                  <a:srgbClr val="000000"/>
                </a:solidFill>
              </a:rPr>
              <a:t>Reliance Restricted</a:t>
            </a:r>
          </a:p>
        </p:txBody>
      </p:sp>
      <p:sp>
        <p:nvSpPr>
          <p:cNvPr id="14" name="BottomFooter"/>
          <p:cNvSpPr>
            <a:spLocks noGrp="1"/>
          </p:cNvSpPr>
          <p:nvPr>
            <p:ph type="body" sz="quarter" idx="18" hasCustomPrompt="1"/>
          </p:nvPr>
        </p:nvSpPr>
        <p:spPr>
          <a:xfrm>
            <a:off x="694274" y="6529701"/>
            <a:ext cx="8069308" cy="129686"/>
          </a:xfrm>
        </p:spPr>
        <p:txBody>
          <a:bodyPr/>
          <a:lstStyle>
            <a:lvl1pPr algn="l">
              <a:defRPr sz="599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footer text here, such as “A member firm of Ernst &amp; Young Global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6961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ransmittal letter - 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Bottom rule"/>
          <p:cNvCxnSpPr/>
          <p:nvPr userDrawn="1"/>
        </p:nvCxnSpPr>
        <p:spPr bwMode="gray">
          <a:xfrm>
            <a:off x="698505" y="6660826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15" name="Filename_Subsec_Page"/>
          <p:cNvSpPr txBox="1"/>
          <p:nvPr userDrawn="1"/>
        </p:nvSpPr>
        <p:spPr>
          <a:xfrm>
            <a:off x="698505" y="6529701"/>
            <a:ext cx="10790355" cy="1296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eaLnBrk="0" fontAlgn="base" hangingPunct="0">
              <a:spcAft>
                <a:spcPct val="0"/>
              </a:spcAft>
            </a:pPr>
            <a:r>
              <a:rPr lang="en-US" sz="599">
                <a:solidFill>
                  <a:srgbClr val="808080"/>
                </a:solidFill>
              </a:rPr>
              <a:t>:  | </a:t>
            </a:r>
            <a:r>
              <a:rPr lang="en-US" sz="599" b="1">
                <a:solidFill>
                  <a:srgbClr val="808080"/>
                </a:solidFill>
              </a:rPr>
              <a:t>Page </a:t>
            </a:r>
            <a:fld id="{EF715131-DB87-4067-A92A-05586F3A2578}" type="slidenum">
              <a:rPr lang="en-US" sz="599" b="1">
                <a:solidFill>
                  <a:srgbClr val="808080"/>
                </a:solidFill>
              </a:rPr>
              <a:pPr algn="r" eaLnBrk="0" fontAlgn="base" hangingPunct="0">
                <a:spcAft>
                  <a:spcPct val="0"/>
                </a:spcAft>
              </a:pPr>
              <a:t>‹#›</a:t>
            </a:fld>
            <a:r>
              <a:rPr lang="en-US" sz="599" b="1">
                <a:solidFill>
                  <a:srgbClr val="808080"/>
                </a:solidFill>
              </a:rPr>
              <a:t> of 3</a:t>
            </a:r>
            <a:endParaRPr lang="en-US" sz="599" b="1" dirty="0">
              <a:solidFill>
                <a:srgbClr val="808080"/>
              </a:solidFill>
            </a:endParaRPr>
          </a:p>
        </p:txBody>
      </p:sp>
      <p:cxnSp>
        <p:nvCxnSpPr>
          <p:cNvPr id="8" name="Top rule"/>
          <p:cNvCxnSpPr/>
          <p:nvPr userDrawn="1"/>
        </p:nvCxnSpPr>
        <p:spPr bwMode="gray">
          <a:xfrm>
            <a:off x="698505" y="391351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9" name="Filename_Vers_Draft"/>
          <p:cNvSpPr txBox="1">
            <a:spLocks/>
          </p:cNvSpPr>
          <p:nvPr userDrawn="1"/>
        </p:nvSpPr>
        <p:spPr>
          <a:xfrm>
            <a:off x="698506" y="222307"/>
            <a:ext cx="4636433" cy="165871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8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defRPr sz="14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175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defRPr sz="12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96850" indent="-192088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70000"/>
              <a:buFont typeface="Wingdings 3" pitchFamily="18" charset="2"/>
              <a:buNone/>
              <a:defRPr sz="1200" b="1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 marL="393700" indent="-195263" algn="just" defTabSz="99536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70000"/>
              <a:buFont typeface="Arial Narrow" pitchFamily="34" charset="0"/>
              <a:buChar char="–"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8509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6pPr>
            <a:lvl7pPr marL="13081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7pPr>
            <a:lvl8pPr marL="17653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8pPr>
            <a:lvl9pPr marL="22225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ts val="1026"/>
              </a:lnSpc>
              <a:spcBef>
                <a:spcPts val="513"/>
              </a:spcBef>
              <a:spcAft>
                <a:spcPts val="0"/>
              </a:spcAft>
            </a:pPr>
            <a:r>
              <a:rPr lang="de-DE" sz="599" b="0" kern="0" smtClean="0">
                <a:solidFill>
                  <a:srgbClr val="808080"/>
                </a:solidFill>
                <a:latin typeface="Arial"/>
              </a:rPr>
              <a:t>19 May 2017 | Version 1.0 (Draft)</a:t>
            </a:r>
            <a:endParaRPr lang="en-US" sz="599" b="0" kern="0" dirty="0" smtClean="0">
              <a:solidFill>
                <a:srgbClr val="808080"/>
              </a:solidFill>
              <a:latin typeface="Arial"/>
            </a:endParaRPr>
          </a:p>
        </p:txBody>
      </p:sp>
      <p:pic>
        <p:nvPicPr>
          <p:cNvPr id="23" name="Logo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507" y="663482"/>
            <a:ext cx="791997" cy="738124"/>
          </a:xfrm>
          <a:prstGeom prst="rect">
            <a:avLst/>
          </a:prstGeom>
        </p:spPr>
      </p:pic>
      <p:sp>
        <p:nvSpPr>
          <p:cNvPr id="12" name="Letter text"/>
          <p:cNvSpPr>
            <a:spLocks noGrp="1"/>
          </p:cNvSpPr>
          <p:nvPr>
            <p:ph type="body" sz="quarter" idx="14" hasCustomPrompt="1"/>
          </p:nvPr>
        </p:nvSpPr>
        <p:spPr>
          <a:xfrm>
            <a:off x="3415425" y="1865810"/>
            <a:ext cx="8073436" cy="453575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55"/>
            </a:lvl1pPr>
            <a:lvl2pPr>
              <a:lnSpc>
                <a:spcPct val="100000"/>
              </a:lnSpc>
              <a:spcBef>
                <a:spcPts val="0"/>
              </a:spcBef>
              <a:defRPr sz="941"/>
            </a:lvl2pPr>
            <a:lvl3pPr>
              <a:lnSpc>
                <a:spcPct val="100000"/>
              </a:lnSpc>
              <a:spcBef>
                <a:spcPts val="0"/>
              </a:spcBef>
              <a:defRPr sz="855"/>
            </a:lvl3pPr>
            <a:lvl4pPr>
              <a:lnSpc>
                <a:spcPct val="100000"/>
              </a:lnSpc>
              <a:spcBef>
                <a:spcPts val="0"/>
              </a:spcBef>
              <a:defRPr sz="855"/>
            </a:lvl4pPr>
            <a:lvl5pPr>
              <a:lnSpc>
                <a:spcPct val="100000"/>
              </a:lnSpc>
              <a:spcBef>
                <a:spcPts val="0"/>
              </a:spcBef>
              <a:defRPr sz="855"/>
            </a:lvl5pPr>
          </a:lstStyle>
          <a:p>
            <a:pPr lvl="0"/>
            <a:r>
              <a:rPr lang="en-US" dirty="0" smtClean="0"/>
              <a:t>Put the text of the letter here</a:t>
            </a:r>
            <a:endParaRPr lang="en-US" dirty="0"/>
          </a:p>
        </p:txBody>
      </p:sp>
      <p:sp>
        <p:nvSpPr>
          <p:cNvPr id="13" name="BottomFooter"/>
          <p:cNvSpPr>
            <a:spLocks noGrp="1"/>
          </p:cNvSpPr>
          <p:nvPr>
            <p:ph type="body" sz="quarter" idx="18" hasCustomPrompt="1"/>
          </p:nvPr>
        </p:nvSpPr>
        <p:spPr>
          <a:xfrm>
            <a:off x="694274" y="6529701"/>
            <a:ext cx="8069308" cy="129686"/>
          </a:xfrm>
        </p:spPr>
        <p:txBody>
          <a:bodyPr/>
          <a:lstStyle>
            <a:lvl1pPr algn="l">
              <a:defRPr sz="599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footer text here, such as “A member firm of Ernst &amp; Young Global”</a:t>
            </a:r>
            <a:endParaRPr lang="en-US" dirty="0"/>
          </a:p>
        </p:txBody>
      </p:sp>
      <p:sp>
        <p:nvSpPr>
          <p:cNvPr id="10" name="LocalFirmNameAndAddress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4273" y="1865809"/>
            <a:ext cx="2244129" cy="121403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70" b="1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70" b="0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513"/>
              </a:spcBef>
              <a:spcAft>
                <a:spcPts val="513"/>
              </a:spcAft>
              <a:buNone/>
              <a:defRPr lang="en-US" sz="770" b="1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3pPr>
            <a:lvl4pPr>
              <a:lnSpc>
                <a:spcPct val="100000"/>
              </a:lnSpc>
              <a:spcAft>
                <a:spcPts val="513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Aft>
                <a:spcPts val="513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Add the local firm name as a level 1 entry, then “indent” to level 2 for the address, then indent to level 3 for the ey.com.</a:t>
            </a:r>
          </a:p>
          <a:p>
            <a:pPr lvl="1"/>
            <a:r>
              <a:rPr lang="en-US" dirty="0" smtClean="0"/>
              <a:t>Address level</a:t>
            </a:r>
          </a:p>
          <a:p>
            <a:pPr lvl="2"/>
            <a:r>
              <a:rPr lang="en-US" dirty="0" smtClean="0"/>
              <a:t>ey.com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64597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mittal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Bottom rule"/>
          <p:cNvCxnSpPr/>
          <p:nvPr userDrawn="1"/>
        </p:nvCxnSpPr>
        <p:spPr bwMode="gray">
          <a:xfrm>
            <a:off x="698505" y="6660826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4" name="Filename_Subsec_Page"/>
          <p:cNvSpPr txBox="1"/>
          <p:nvPr userDrawn="1"/>
        </p:nvSpPr>
        <p:spPr>
          <a:xfrm>
            <a:off x="698505" y="6680491"/>
            <a:ext cx="10790355" cy="1296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eaLnBrk="0" fontAlgn="base" hangingPunct="0">
              <a:spcAft>
                <a:spcPct val="0"/>
              </a:spcAft>
            </a:pPr>
            <a:r>
              <a:rPr lang="en-US" sz="599" dirty="0">
                <a:solidFill>
                  <a:srgbClr val="808080"/>
                </a:solidFill>
              </a:rPr>
              <a:t>Business location study  | </a:t>
            </a:r>
            <a:r>
              <a:rPr lang="en-US" sz="599" b="1" dirty="0">
                <a:solidFill>
                  <a:srgbClr val="808080"/>
                </a:solidFill>
              </a:rPr>
              <a:t>Page </a:t>
            </a:r>
            <a:fld id="{FD1AD871-C508-40F0-B861-70A7BB19695E}" type="slidenum">
              <a:rPr lang="en-US" sz="599" b="1">
                <a:solidFill>
                  <a:srgbClr val="808080"/>
                </a:solidFill>
              </a:rPr>
              <a:pPr algn="r" eaLnBrk="0" fontAlgn="base" hangingPunct="0">
                <a:spcAft>
                  <a:spcPct val="0"/>
                </a:spcAft>
              </a:pPr>
              <a:t>‹#›</a:t>
            </a:fld>
            <a:r>
              <a:rPr lang="en-US" sz="599" b="1" dirty="0">
                <a:solidFill>
                  <a:srgbClr val="808080"/>
                </a:solidFill>
              </a:rPr>
              <a:t> of 88</a:t>
            </a:r>
          </a:p>
        </p:txBody>
      </p:sp>
      <p:sp>
        <p:nvSpPr>
          <p:cNvPr id="5" name="LocalFirmNameAndAddress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4273" y="1865809"/>
            <a:ext cx="2244129" cy="121403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70" b="1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70" b="0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513"/>
              </a:spcBef>
              <a:spcAft>
                <a:spcPts val="513"/>
              </a:spcAft>
              <a:buNone/>
              <a:defRPr lang="en-US" sz="770" b="1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3pPr>
            <a:lvl4pPr>
              <a:lnSpc>
                <a:spcPct val="100000"/>
              </a:lnSpc>
              <a:spcAft>
                <a:spcPts val="513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Aft>
                <a:spcPts val="513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Add the local firm name as a level 1 entry, then “indent” to level 2 for the address, then indent to level 3 for the ey.com.</a:t>
            </a:r>
          </a:p>
          <a:p>
            <a:pPr lvl="1"/>
            <a:r>
              <a:rPr lang="en-US" dirty="0" smtClean="0"/>
              <a:t>Address level</a:t>
            </a:r>
          </a:p>
          <a:p>
            <a:pPr lvl="2"/>
            <a:r>
              <a:rPr lang="en-US" dirty="0" smtClean="0"/>
              <a:t>ey.com level</a:t>
            </a:r>
            <a:endParaRPr lang="en-US" dirty="0"/>
          </a:p>
        </p:txBody>
      </p:sp>
      <p:cxnSp>
        <p:nvCxnSpPr>
          <p:cNvPr id="6" name="Top rule"/>
          <p:cNvCxnSpPr/>
          <p:nvPr userDrawn="1"/>
        </p:nvCxnSpPr>
        <p:spPr bwMode="gray">
          <a:xfrm>
            <a:off x="698505" y="391351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7" name="Filename_Vers_Draft"/>
          <p:cNvSpPr txBox="1">
            <a:spLocks/>
          </p:cNvSpPr>
          <p:nvPr userDrawn="1"/>
        </p:nvSpPr>
        <p:spPr>
          <a:xfrm>
            <a:off x="698506" y="222307"/>
            <a:ext cx="4636433" cy="165871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8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defRPr sz="14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175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defRPr sz="12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96850" indent="-192088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70000"/>
              <a:buFont typeface="Wingdings 3" pitchFamily="18" charset="2"/>
              <a:buNone/>
              <a:defRPr sz="1200" b="1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 marL="393700" indent="-195263" algn="just" defTabSz="99536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70000"/>
              <a:buFont typeface="Arial Narrow" pitchFamily="34" charset="0"/>
              <a:buChar char="–"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8509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6pPr>
            <a:lvl7pPr marL="13081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7pPr>
            <a:lvl8pPr marL="17653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8pPr>
            <a:lvl9pPr marL="22225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ts val="1026"/>
              </a:lnSpc>
              <a:spcBef>
                <a:spcPts val="513"/>
              </a:spcBef>
              <a:spcAft>
                <a:spcPts val="0"/>
              </a:spcAft>
            </a:pPr>
            <a:r>
              <a:rPr lang="de-DE" sz="599" b="0" kern="0" smtClean="0">
                <a:solidFill>
                  <a:srgbClr val="808080"/>
                </a:solidFill>
                <a:latin typeface="Arial"/>
              </a:rPr>
              <a:t>12 July 2017 | Version 1.0 (Draft)</a:t>
            </a:r>
            <a:endParaRPr lang="en-US" sz="599" b="0" kern="0"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8" name="Letter text"/>
          <p:cNvSpPr>
            <a:spLocks noGrp="1"/>
          </p:cNvSpPr>
          <p:nvPr>
            <p:ph type="body" sz="quarter" idx="14" hasCustomPrompt="1"/>
          </p:nvPr>
        </p:nvSpPr>
        <p:spPr>
          <a:xfrm>
            <a:off x="3415425" y="2109866"/>
            <a:ext cx="8073436" cy="429170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55"/>
            </a:lvl1pPr>
            <a:lvl2pPr>
              <a:lnSpc>
                <a:spcPct val="100000"/>
              </a:lnSpc>
              <a:spcBef>
                <a:spcPts val="0"/>
              </a:spcBef>
              <a:defRPr sz="941"/>
            </a:lvl2pPr>
            <a:lvl3pPr>
              <a:lnSpc>
                <a:spcPct val="100000"/>
              </a:lnSpc>
              <a:spcBef>
                <a:spcPts val="0"/>
              </a:spcBef>
              <a:defRPr sz="855"/>
            </a:lvl3pPr>
            <a:lvl4pPr>
              <a:lnSpc>
                <a:spcPct val="100000"/>
              </a:lnSpc>
              <a:spcBef>
                <a:spcPts val="0"/>
              </a:spcBef>
              <a:defRPr sz="855"/>
            </a:lvl4pPr>
            <a:lvl5pPr>
              <a:lnSpc>
                <a:spcPct val="100000"/>
              </a:lnSpc>
              <a:spcBef>
                <a:spcPts val="0"/>
              </a:spcBef>
              <a:defRPr sz="855"/>
            </a:lvl5pPr>
          </a:lstStyle>
          <a:p>
            <a:pPr lvl="0"/>
            <a:r>
              <a:rPr lang="en-US" dirty="0" smtClean="0"/>
              <a:t>Put the text of the letter here</a:t>
            </a:r>
            <a:endParaRPr lang="en-US" dirty="0"/>
          </a:p>
        </p:txBody>
      </p:sp>
      <p:sp>
        <p:nvSpPr>
          <p:cNvPr id="9" name="ProjectName"/>
          <p:cNvSpPr>
            <a:spLocks noGrp="1"/>
          </p:cNvSpPr>
          <p:nvPr>
            <p:ph type="body" sz="quarter" idx="15" hasCustomPrompt="1"/>
          </p:nvPr>
        </p:nvSpPr>
        <p:spPr>
          <a:xfrm>
            <a:off x="3415426" y="1865809"/>
            <a:ext cx="4457972" cy="226057"/>
          </a:xfrm>
        </p:spPr>
        <p:txBody>
          <a:bodyPr/>
          <a:lstStyle>
            <a:lvl1pPr>
              <a:defRPr sz="941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roject name</a:t>
            </a:r>
            <a:endParaRPr lang="en-US" dirty="0"/>
          </a:p>
        </p:txBody>
      </p:sp>
      <p:sp>
        <p:nvSpPr>
          <p:cNvPr id="10" name="Date"/>
          <p:cNvSpPr>
            <a:spLocks noGrp="1"/>
          </p:cNvSpPr>
          <p:nvPr>
            <p:ph type="body" sz="quarter" idx="16" hasCustomPrompt="1"/>
          </p:nvPr>
        </p:nvSpPr>
        <p:spPr>
          <a:xfrm>
            <a:off x="8236561" y="1865809"/>
            <a:ext cx="3252300" cy="226057"/>
          </a:xfrm>
        </p:spPr>
        <p:txBody>
          <a:bodyPr/>
          <a:lstStyle>
            <a:lvl1pPr algn="r">
              <a:defRPr sz="941" b="1">
                <a:solidFill>
                  <a:schemeClr val="tx1"/>
                </a:solidFill>
              </a:defRPr>
            </a:lvl1pPr>
            <a:lvl2pPr algn="r">
              <a:defRPr/>
            </a:lvl2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1" name="ClientAddress"/>
          <p:cNvSpPr>
            <a:spLocks noGrp="1"/>
          </p:cNvSpPr>
          <p:nvPr>
            <p:ph type="body" sz="quarter" idx="17" hasCustomPrompt="1"/>
          </p:nvPr>
        </p:nvSpPr>
        <p:spPr>
          <a:xfrm>
            <a:off x="3415425" y="912289"/>
            <a:ext cx="4458204" cy="829353"/>
          </a:xfrm>
        </p:spPr>
        <p:txBody>
          <a:bodyPr anchor="ctr" anchorCtr="0"/>
          <a:lstStyle>
            <a:lvl1pPr>
              <a:spcAft>
                <a:spcPts val="0"/>
              </a:spcAft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Put the client contact name and address here</a:t>
            </a:r>
            <a:endParaRPr lang="en-US" dirty="0"/>
          </a:p>
        </p:txBody>
      </p:sp>
      <p:pic>
        <p:nvPicPr>
          <p:cNvPr id="12" name="Logo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507" y="663482"/>
            <a:ext cx="791997" cy="738124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415426" y="682137"/>
            <a:ext cx="2484365" cy="1447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Aft>
                <a:spcPts val="513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</a:pPr>
            <a:r>
              <a:rPr lang="en-US" sz="941" b="1" kern="0" dirty="0">
                <a:solidFill>
                  <a:srgbClr val="000000"/>
                </a:solidFill>
              </a:rPr>
              <a:t>Reliance Restricted</a:t>
            </a:r>
          </a:p>
        </p:txBody>
      </p:sp>
      <p:sp>
        <p:nvSpPr>
          <p:cNvPr id="14" name="BottomFooter"/>
          <p:cNvSpPr>
            <a:spLocks noGrp="1"/>
          </p:cNvSpPr>
          <p:nvPr>
            <p:ph type="body" sz="quarter" idx="18" hasCustomPrompt="1"/>
          </p:nvPr>
        </p:nvSpPr>
        <p:spPr>
          <a:xfrm>
            <a:off x="694274" y="6529701"/>
            <a:ext cx="8069308" cy="129686"/>
          </a:xfrm>
        </p:spPr>
        <p:txBody>
          <a:bodyPr/>
          <a:lstStyle>
            <a:lvl1pPr algn="l">
              <a:defRPr sz="599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footer text here, such as “A member firm of Ernst &amp; Young Global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337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2"/>
          </p:nvPr>
        </p:nvSpPr>
        <p:spPr>
          <a:xfrm>
            <a:off x="698505" y="1550889"/>
            <a:ext cx="10790355" cy="4850678"/>
          </a:xfrm>
        </p:spPr>
        <p:txBody>
          <a:bodyPr/>
          <a:lstStyle/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9715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C deta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3"/>
          <p:cNvSpPr>
            <a:spLocks noGrp="1"/>
          </p:cNvSpPr>
          <p:nvPr>
            <p:ph type="tbl" sz="quarter" idx="12"/>
          </p:nvPr>
        </p:nvSpPr>
        <p:spPr>
          <a:xfrm>
            <a:off x="698505" y="1550889"/>
            <a:ext cx="10790355" cy="4850678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en-US"/>
          </a:p>
        </p:txBody>
      </p:sp>
      <p:sp>
        <p:nvSpPr>
          <p:cNvPr id="7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458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cover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vider Image"/>
          <p:cNvSpPr>
            <a:spLocks/>
          </p:cNvSpPr>
          <p:nvPr userDrawn="1"/>
        </p:nvSpPr>
        <p:spPr bwMode="auto">
          <a:xfrm>
            <a:off x="0" y="1168"/>
            <a:ext cx="12192000" cy="5984011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59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941" dirty="0">
              <a:solidFill>
                <a:srgbClr val="646464"/>
              </a:solidFill>
            </a:endParaRPr>
          </a:p>
        </p:txBody>
      </p:sp>
      <p:sp>
        <p:nvSpPr>
          <p:cNvPr id="7" name="Cover Text 2"/>
          <p:cNvSpPr>
            <a:spLocks noGrp="1"/>
          </p:cNvSpPr>
          <p:nvPr>
            <p:ph type="subTitle" idx="11" hasCustomPrompt="1"/>
          </p:nvPr>
        </p:nvSpPr>
        <p:spPr>
          <a:xfrm>
            <a:off x="698507" y="2200073"/>
            <a:ext cx="5397493" cy="414676"/>
          </a:xfrm>
        </p:spPr>
        <p:txBody>
          <a:bodyPr tIns="0" bIns="0">
            <a:noAutofit/>
          </a:bodyPr>
          <a:lstStyle>
            <a:lvl1pPr marL="0" indent="0" algn="l">
              <a:lnSpc>
                <a:spcPts val="1283"/>
              </a:lnSpc>
              <a:spcBef>
                <a:spcPts val="0"/>
              </a:spcBef>
              <a:spcAft>
                <a:spcPts val="513"/>
              </a:spcAft>
              <a:buNone/>
              <a:defRPr sz="1197" baseline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368">
                <a:solidFill>
                  <a:srgbClr val="404040"/>
                </a:solidFill>
              </a:defRPr>
            </a:lvl2pPr>
            <a:lvl3pPr marL="781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72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63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54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45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36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27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Section subtitle</a:t>
            </a:r>
            <a:endParaRPr lang="en-GB" dirty="0"/>
          </a:p>
        </p:txBody>
      </p:sp>
      <p:sp>
        <p:nvSpPr>
          <p:cNvPr id="4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698651" y="341109"/>
            <a:ext cx="5397349" cy="1078159"/>
          </a:xfrm>
        </p:spPr>
        <p:txBody>
          <a:bodyPr/>
          <a:lstStyle>
            <a:lvl1pPr>
              <a:lnSpc>
                <a:spcPts val="7439"/>
              </a:lnSpc>
              <a:spcAft>
                <a:spcPts val="0"/>
              </a:spcAft>
              <a:defRPr sz="7183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6" name="Cover Text 1"/>
          <p:cNvSpPr>
            <a:spLocks noGrp="1"/>
          </p:cNvSpPr>
          <p:nvPr>
            <p:ph type="title" hasCustomPrompt="1"/>
          </p:nvPr>
        </p:nvSpPr>
        <p:spPr>
          <a:xfrm>
            <a:off x="698507" y="1436019"/>
            <a:ext cx="5397493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052"/>
              </a:lnSpc>
              <a:spcBef>
                <a:spcPts val="0"/>
              </a:spcBef>
              <a:defRPr sz="1796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64212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4491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cover with S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Gray"/>
          <p:cNvSpPr>
            <a:spLocks/>
          </p:cNvSpPr>
          <p:nvPr userDrawn="1"/>
        </p:nvSpPr>
        <p:spPr bwMode="auto">
          <a:xfrm>
            <a:off x="0" y="1"/>
            <a:ext cx="12192000" cy="5984011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941" dirty="0">
              <a:solidFill>
                <a:srgbClr val="646464"/>
              </a:solidFill>
            </a:endParaRPr>
          </a:p>
        </p:txBody>
      </p:sp>
      <p:sp>
        <p:nvSpPr>
          <p:cNvPr id="3" name="Mini-TOC"/>
          <p:cNvSpPr>
            <a:spLocks noGrp="1"/>
          </p:cNvSpPr>
          <p:nvPr>
            <p:ph type="tbl" sz="quarter" idx="13"/>
          </p:nvPr>
        </p:nvSpPr>
        <p:spPr>
          <a:xfrm>
            <a:off x="698506" y="2770180"/>
            <a:ext cx="5397351" cy="2263411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7" name="Cover Text 2"/>
          <p:cNvSpPr>
            <a:spLocks noGrp="1"/>
          </p:cNvSpPr>
          <p:nvPr>
            <p:ph type="subTitle" idx="11" hasCustomPrompt="1"/>
          </p:nvPr>
        </p:nvSpPr>
        <p:spPr>
          <a:xfrm>
            <a:off x="698507" y="2200073"/>
            <a:ext cx="5397493" cy="414676"/>
          </a:xfrm>
        </p:spPr>
        <p:txBody>
          <a:bodyPr tIns="0" bIns="0">
            <a:noAutofit/>
          </a:bodyPr>
          <a:lstStyle>
            <a:lvl1pPr marL="0" indent="0" algn="l">
              <a:lnSpc>
                <a:spcPts val="1283"/>
              </a:lnSpc>
              <a:spcBef>
                <a:spcPts val="0"/>
              </a:spcBef>
              <a:spcAft>
                <a:spcPts val="513"/>
              </a:spcAft>
              <a:buNone/>
              <a:defRPr sz="1197" baseline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368">
                <a:solidFill>
                  <a:srgbClr val="404040"/>
                </a:solidFill>
              </a:defRPr>
            </a:lvl2pPr>
            <a:lvl3pPr marL="781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72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63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54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45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36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27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Section subtitle</a:t>
            </a:r>
            <a:endParaRPr lang="en-GB" dirty="0"/>
          </a:p>
        </p:txBody>
      </p:sp>
      <p:sp>
        <p:nvSpPr>
          <p:cNvPr id="8" name="Cover Text 1"/>
          <p:cNvSpPr>
            <a:spLocks noGrp="1"/>
          </p:cNvSpPr>
          <p:nvPr>
            <p:ph type="title" hasCustomPrompt="1"/>
          </p:nvPr>
        </p:nvSpPr>
        <p:spPr>
          <a:xfrm>
            <a:off x="698507" y="1436019"/>
            <a:ext cx="5397493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052"/>
              </a:lnSpc>
              <a:spcBef>
                <a:spcPts val="0"/>
              </a:spcBef>
              <a:defRPr sz="1796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9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698651" y="341109"/>
            <a:ext cx="5397349" cy="1078159"/>
          </a:xfrm>
        </p:spPr>
        <p:txBody>
          <a:bodyPr/>
          <a:lstStyle>
            <a:lvl1pPr>
              <a:lnSpc>
                <a:spcPts val="7439"/>
              </a:lnSpc>
              <a:spcAft>
                <a:spcPts val="0"/>
              </a:spcAft>
              <a:defRPr sz="7183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27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nner page –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575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nner page – full-pag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sz="quarter" idx="12" hasCustomPrompt="1"/>
          </p:nvPr>
        </p:nvSpPr>
        <p:spPr>
          <a:xfrm>
            <a:off x="698505" y="1550891"/>
            <a:ext cx="10790355" cy="4561441"/>
          </a:xfrm>
        </p:spPr>
        <p:txBody>
          <a:bodyPr numCol="1" spcCol="0"/>
          <a:lstStyle>
            <a:lvl1pPr>
              <a:defRPr/>
            </a:lvl1pPr>
            <a:lvl5pPr>
              <a:buAutoNum type="arabicPeriod"/>
              <a:defRPr/>
            </a:lvl5pPr>
          </a:lstStyle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</p:txBody>
      </p:sp>
      <p:sp>
        <p:nvSpPr>
          <p:cNvPr id="5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1696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nner page – full-page 2 snaking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698505" y="1550891"/>
            <a:ext cx="10790355" cy="4561441"/>
          </a:xfrm>
        </p:spPr>
        <p:txBody>
          <a:bodyPr numCol="2" spcCol="109728"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0"/>
            <a:endParaRPr lang="en-US" dirty="0"/>
          </a:p>
        </p:txBody>
      </p:sp>
      <p:sp>
        <p:nvSpPr>
          <p:cNvPr id="6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00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nner page – full-page 3 snaking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"/>
          <p:cNvSpPr>
            <a:spLocks noGrp="1"/>
          </p:cNvSpPr>
          <p:nvPr>
            <p:ph sz="quarter" idx="16" hasCustomPrompt="1"/>
          </p:nvPr>
        </p:nvSpPr>
        <p:spPr>
          <a:xfrm>
            <a:off x="698505" y="1550891"/>
            <a:ext cx="10792888" cy="4557121"/>
          </a:xfrm>
        </p:spPr>
        <p:txBody>
          <a:bodyPr numCol="3" spcCol="109728"/>
          <a:lstStyle>
            <a:lvl5pPr>
              <a:buClrTx/>
              <a:defRPr/>
            </a:lvl5pPr>
          </a:lstStyle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0"/>
            <a:endParaRPr lang="en-US" dirty="0"/>
          </a:p>
        </p:txBody>
      </p:sp>
      <p:sp>
        <p:nvSpPr>
          <p:cNvPr id="5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850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nner page – 33-67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"/>
          <p:cNvSpPr>
            <a:spLocks noGrp="1"/>
          </p:cNvSpPr>
          <p:nvPr>
            <p:ph sz="quarter" idx="17" hasCustomPrompt="1"/>
          </p:nvPr>
        </p:nvSpPr>
        <p:spPr>
          <a:xfrm>
            <a:off x="4326567" y="1550891"/>
            <a:ext cx="7162293" cy="4557121"/>
          </a:xfrm>
        </p:spPr>
        <p:txBody>
          <a:bodyPr numCol="2" spcCol="109728"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0"/>
            <a:endParaRPr lang="en-US" dirty="0"/>
          </a:p>
        </p:txBody>
      </p:sp>
      <p:sp>
        <p:nvSpPr>
          <p:cNvPr id="5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654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nner page – 33-67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sz="quarter" idx="17" hasCustomPrompt="1"/>
          </p:nvPr>
        </p:nvSpPr>
        <p:spPr>
          <a:xfrm>
            <a:off x="4326567" y="1550891"/>
            <a:ext cx="7162293" cy="4557121"/>
          </a:xfrm>
        </p:spPr>
        <p:txBody>
          <a:bodyPr numCol="1" spcCol="109728"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0"/>
            <a:endParaRPr lang="en-US" dirty="0"/>
          </a:p>
        </p:txBody>
      </p:sp>
      <p:sp>
        <p:nvSpPr>
          <p:cNvPr id="5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6997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mittal letter - 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Bottom rule"/>
          <p:cNvCxnSpPr/>
          <p:nvPr userDrawn="1"/>
        </p:nvCxnSpPr>
        <p:spPr bwMode="gray">
          <a:xfrm>
            <a:off x="698505" y="6660826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15" name="Filename_Subsec_Page"/>
          <p:cNvSpPr txBox="1"/>
          <p:nvPr userDrawn="1"/>
        </p:nvSpPr>
        <p:spPr>
          <a:xfrm>
            <a:off x="698505" y="6680491"/>
            <a:ext cx="10790355" cy="1296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eaLnBrk="0" fontAlgn="base" hangingPunct="0">
              <a:spcAft>
                <a:spcPct val="0"/>
              </a:spcAft>
            </a:pPr>
            <a:r>
              <a:rPr lang="en-US" sz="599" dirty="0">
                <a:solidFill>
                  <a:srgbClr val="808080"/>
                </a:solidFill>
              </a:rPr>
              <a:t>Business location study | </a:t>
            </a:r>
            <a:r>
              <a:rPr lang="en-US" sz="599" b="1" dirty="0">
                <a:solidFill>
                  <a:srgbClr val="808080"/>
                </a:solidFill>
              </a:rPr>
              <a:t>Page </a:t>
            </a:r>
            <a:fld id="{EC3879CF-16A9-445B-92EA-24FF94247F6F}" type="slidenum">
              <a:rPr lang="en-US" sz="599" b="1">
                <a:solidFill>
                  <a:srgbClr val="808080"/>
                </a:solidFill>
              </a:rPr>
              <a:pPr algn="r" eaLnBrk="0" fontAlgn="base" hangingPunct="0">
                <a:spcAft>
                  <a:spcPct val="0"/>
                </a:spcAft>
              </a:pPr>
              <a:t>‹#›</a:t>
            </a:fld>
            <a:r>
              <a:rPr lang="en-US" sz="599" b="1" dirty="0">
                <a:solidFill>
                  <a:srgbClr val="808080"/>
                </a:solidFill>
              </a:rPr>
              <a:t> of 17</a:t>
            </a:r>
          </a:p>
        </p:txBody>
      </p:sp>
      <p:cxnSp>
        <p:nvCxnSpPr>
          <p:cNvPr id="8" name="Top rule"/>
          <p:cNvCxnSpPr/>
          <p:nvPr userDrawn="1"/>
        </p:nvCxnSpPr>
        <p:spPr bwMode="gray">
          <a:xfrm>
            <a:off x="698505" y="391351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9" name="Filename_Vers_Draft"/>
          <p:cNvSpPr txBox="1">
            <a:spLocks/>
          </p:cNvSpPr>
          <p:nvPr userDrawn="1"/>
        </p:nvSpPr>
        <p:spPr>
          <a:xfrm>
            <a:off x="698506" y="222307"/>
            <a:ext cx="4636433" cy="165871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8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defRPr sz="14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175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defRPr sz="12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96850" indent="-192088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70000"/>
              <a:buFont typeface="Wingdings 3" pitchFamily="18" charset="2"/>
              <a:buNone/>
              <a:defRPr sz="1200" b="1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 marL="393700" indent="-195263" algn="just" defTabSz="99536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70000"/>
              <a:buFont typeface="Arial Narrow" pitchFamily="34" charset="0"/>
              <a:buChar char="–"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8509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6pPr>
            <a:lvl7pPr marL="13081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7pPr>
            <a:lvl8pPr marL="17653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8pPr>
            <a:lvl9pPr marL="22225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ts val="1026"/>
              </a:lnSpc>
              <a:spcBef>
                <a:spcPts val="513"/>
              </a:spcBef>
              <a:spcAft>
                <a:spcPts val="0"/>
              </a:spcAft>
            </a:pPr>
            <a:r>
              <a:rPr lang="de-DE" sz="599" b="0" kern="0" smtClean="0">
                <a:solidFill>
                  <a:srgbClr val="808080"/>
                </a:solidFill>
                <a:latin typeface="Arial"/>
              </a:rPr>
              <a:t>12 July 2017 | Version 1.0 (Draft)</a:t>
            </a:r>
            <a:endParaRPr lang="en-US" sz="599" b="0" kern="0" dirty="0" smtClean="0">
              <a:solidFill>
                <a:srgbClr val="808080"/>
              </a:solidFill>
              <a:latin typeface="Arial"/>
            </a:endParaRPr>
          </a:p>
        </p:txBody>
      </p:sp>
      <p:pic>
        <p:nvPicPr>
          <p:cNvPr id="23" name="Logo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507" y="663482"/>
            <a:ext cx="791997" cy="738124"/>
          </a:xfrm>
          <a:prstGeom prst="rect">
            <a:avLst/>
          </a:prstGeom>
        </p:spPr>
      </p:pic>
      <p:sp>
        <p:nvSpPr>
          <p:cNvPr id="12" name="Letter text"/>
          <p:cNvSpPr>
            <a:spLocks noGrp="1"/>
          </p:cNvSpPr>
          <p:nvPr>
            <p:ph type="body" sz="quarter" idx="14" hasCustomPrompt="1"/>
          </p:nvPr>
        </p:nvSpPr>
        <p:spPr>
          <a:xfrm>
            <a:off x="3415425" y="1865810"/>
            <a:ext cx="8073436" cy="453575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55"/>
            </a:lvl1pPr>
            <a:lvl2pPr>
              <a:lnSpc>
                <a:spcPct val="100000"/>
              </a:lnSpc>
              <a:spcBef>
                <a:spcPts val="0"/>
              </a:spcBef>
              <a:defRPr sz="941"/>
            </a:lvl2pPr>
            <a:lvl3pPr>
              <a:lnSpc>
                <a:spcPct val="100000"/>
              </a:lnSpc>
              <a:spcBef>
                <a:spcPts val="0"/>
              </a:spcBef>
              <a:defRPr sz="855"/>
            </a:lvl3pPr>
            <a:lvl4pPr>
              <a:lnSpc>
                <a:spcPct val="100000"/>
              </a:lnSpc>
              <a:spcBef>
                <a:spcPts val="0"/>
              </a:spcBef>
              <a:defRPr sz="855"/>
            </a:lvl4pPr>
            <a:lvl5pPr>
              <a:lnSpc>
                <a:spcPct val="100000"/>
              </a:lnSpc>
              <a:spcBef>
                <a:spcPts val="0"/>
              </a:spcBef>
              <a:defRPr sz="855"/>
            </a:lvl5pPr>
          </a:lstStyle>
          <a:p>
            <a:pPr lvl="0"/>
            <a:r>
              <a:rPr lang="en-US" dirty="0" smtClean="0"/>
              <a:t>Put the text of the letter here</a:t>
            </a:r>
            <a:endParaRPr lang="en-US" dirty="0"/>
          </a:p>
        </p:txBody>
      </p:sp>
      <p:sp>
        <p:nvSpPr>
          <p:cNvPr id="13" name="BottomFooter"/>
          <p:cNvSpPr>
            <a:spLocks noGrp="1"/>
          </p:cNvSpPr>
          <p:nvPr>
            <p:ph type="body" sz="quarter" idx="18" hasCustomPrompt="1"/>
          </p:nvPr>
        </p:nvSpPr>
        <p:spPr>
          <a:xfrm>
            <a:off x="694274" y="6529701"/>
            <a:ext cx="8069308" cy="129686"/>
          </a:xfrm>
        </p:spPr>
        <p:txBody>
          <a:bodyPr/>
          <a:lstStyle>
            <a:lvl1pPr algn="l">
              <a:defRPr sz="599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footer text here, such as “A member firm of Ernst &amp; Young Global”</a:t>
            </a:r>
            <a:endParaRPr lang="en-US" dirty="0"/>
          </a:p>
        </p:txBody>
      </p:sp>
      <p:sp>
        <p:nvSpPr>
          <p:cNvPr id="10" name="LocalFirmNameAndAddress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4273" y="1865809"/>
            <a:ext cx="2244129" cy="121403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70" b="1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70" b="0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513"/>
              </a:spcBef>
              <a:spcAft>
                <a:spcPts val="513"/>
              </a:spcAft>
              <a:buNone/>
              <a:defRPr lang="en-US" sz="770" b="1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3pPr>
            <a:lvl4pPr>
              <a:lnSpc>
                <a:spcPct val="100000"/>
              </a:lnSpc>
              <a:spcAft>
                <a:spcPts val="513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Aft>
                <a:spcPts val="513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Add the local firm name as a level 1 entry, then “indent” to level 2 for the address, then indent to level 3 for the ey.com.</a:t>
            </a:r>
          </a:p>
          <a:p>
            <a:pPr lvl="1"/>
            <a:r>
              <a:rPr lang="en-US" dirty="0" smtClean="0"/>
              <a:t>Address level</a:t>
            </a:r>
          </a:p>
          <a:p>
            <a:pPr lvl="2"/>
            <a:r>
              <a:rPr lang="en-US" dirty="0" smtClean="0"/>
              <a:t>ey.com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118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nner page – 67-3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7985905" y="1550891"/>
            <a:ext cx="3502956" cy="456144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sz="quarter" idx="16" hasCustomPrompt="1"/>
          </p:nvPr>
        </p:nvSpPr>
        <p:spPr>
          <a:xfrm>
            <a:off x="698506" y="1550891"/>
            <a:ext cx="7162293" cy="4561441"/>
          </a:xfrm>
        </p:spPr>
        <p:txBody>
          <a:bodyPr numCol="2" spcCol="109728"/>
          <a:lstStyle>
            <a:lvl9pPr>
              <a:defRPr/>
            </a:lvl9pPr>
          </a:lstStyle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8"/>
            <a:endParaRPr lang="en-US" dirty="0"/>
          </a:p>
        </p:txBody>
      </p:sp>
      <p:sp>
        <p:nvSpPr>
          <p:cNvPr id="6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439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nner page – 50-50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 hasCustomPrompt="1"/>
          </p:nvPr>
        </p:nvSpPr>
        <p:spPr>
          <a:xfrm>
            <a:off x="6161449" y="1550891"/>
            <a:ext cx="5327412" cy="455712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15" name="Content Placeholder 1"/>
          <p:cNvSpPr>
            <a:spLocks noGrp="1"/>
          </p:cNvSpPr>
          <p:nvPr>
            <p:ph sz="quarter" idx="16" hasCustomPrompt="1"/>
          </p:nvPr>
        </p:nvSpPr>
        <p:spPr>
          <a:xfrm>
            <a:off x="698506" y="1550891"/>
            <a:ext cx="5337837" cy="455712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6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03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nn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8" hasCustomPrompt="1"/>
            <p:custDataLst>
              <p:tags r:id="rId1"/>
            </p:custDataLst>
          </p:nvPr>
        </p:nvSpPr>
        <p:spPr>
          <a:xfrm>
            <a:off x="9799935" y="1550891"/>
            <a:ext cx="1688925" cy="456144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sz="quarter" idx="17" hasCustomPrompt="1"/>
          </p:nvPr>
        </p:nvSpPr>
        <p:spPr>
          <a:xfrm>
            <a:off x="2512536" y="1550891"/>
            <a:ext cx="7162293" cy="456144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6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118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2397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Column 12"/>
          <p:cNvSpPr/>
          <p:nvPr userDrawn="1"/>
        </p:nvSpPr>
        <p:spPr>
          <a:xfrm>
            <a:off x="10706951" y="1550890"/>
            <a:ext cx="788211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0" name="Gutter 11"/>
          <p:cNvSpPr/>
          <p:nvPr userDrawn="1"/>
        </p:nvSpPr>
        <p:spPr>
          <a:xfrm>
            <a:off x="10581846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6" name="Column 11"/>
          <p:cNvSpPr/>
          <p:nvPr userDrawn="1"/>
        </p:nvSpPr>
        <p:spPr>
          <a:xfrm>
            <a:off x="9799936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1" name="Gutter 10"/>
          <p:cNvSpPr/>
          <p:nvPr userDrawn="1"/>
        </p:nvSpPr>
        <p:spPr>
          <a:xfrm>
            <a:off x="9674830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0" name="Column 10"/>
          <p:cNvSpPr/>
          <p:nvPr userDrawn="1"/>
        </p:nvSpPr>
        <p:spPr>
          <a:xfrm>
            <a:off x="8892920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2" name="Gutter 9"/>
          <p:cNvSpPr/>
          <p:nvPr userDrawn="1"/>
        </p:nvSpPr>
        <p:spPr>
          <a:xfrm>
            <a:off x="8767815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1" name="Column 9"/>
          <p:cNvSpPr/>
          <p:nvPr userDrawn="1"/>
        </p:nvSpPr>
        <p:spPr>
          <a:xfrm>
            <a:off x="7985906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3" name="Gutter 8"/>
          <p:cNvSpPr/>
          <p:nvPr userDrawn="1"/>
        </p:nvSpPr>
        <p:spPr>
          <a:xfrm>
            <a:off x="7860799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2" name="Column 8"/>
          <p:cNvSpPr/>
          <p:nvPr userDrawn="1"/>
        </p:nvSpPr>
        <p:spPr>
          <a:xfrm>
            <a:off x="7078889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4" name="Gutter 7"/>
          <p:cNvSpPr/>
          <p:nvPr userDrawn="1"/>
        </p:nvSpPr>
        <p:spPr>
          <a:xfrm>
            <a:off x="6953784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3" name="Column 7"/>
          <p:cNvSpPr/>
          <p:nvPr userDrawn="1"/>
        </p:nvSpPr>
        <p:spPr>
          <a:xfrm>
            <a:off x="6161450" y="1550890"/>
            <a:ext cx="792335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5" name="Gutter 6"/>
          <p:cNvSpPr/>
          <p:nvPr userDrawn="1"/>
        </p:nvSpPr>
        <p:spPr>
          <a:xfrm>
            <a:off x="6036343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4" name="Column 6"/>
          <p:cNvSpPr/>
          <p:nvPr userDrawn="1"/>
        </p:nvSpPr>
        <p:spPr>
          <a:xfrm>
            <a:off x="5244009" y="1550890"/>
            <a:ext cx="792335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6" name="Gutter 5"/>
          <p:cNvSpPr/>
          <p:nvPr userDrawn="1"/>
        </p:nvSpPr>
        <p:spPr>
          <a:xfrm>
            <a:off x="5118903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5" name="Column 5"/>
          <p:cNvSpPr/>
          <p:nvPr userDrawn="1"/>
        </p:nvSpPr>
        <p:spPr>
          <a:xfrm>
            <a:off x="4326569" y="1550890"/>
            <a:ext cx="792335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7" name="Gutter 4"/>
          <p:cNvSpPr/>
          <p:nvPr userDrawn="1"/>
        </p:nvSpPr>
        <p:spPr>
          <a:xfrm>
            <a:off x="4201462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6" name="Column 4"/>
          <p:cNvSpPr/>
          <p:nvPr userDrawn="1"/>
        </p:nvSpPr>
        <p:spPr>
          <a:xfrm>
            <a:off x="3419552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8" name="Gutter 3"/>
          <p:cNvSpPr/>
          <p:nvPr userDrawn="1"/>
        </p:nvSpPr>
        <p:spPr>
          <a:xfrm>
            <a:off x="3294447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7" name="Column 3"/>
          <p:cNvSpPr/>
          <p:nvPr userDrawn="1"/>
        </p:nvSpPr>
        <p:spPr>
          <a:xfrm>
            <a:off x="2512538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9" name="Gutter 2"/>
          <p:cNvSpPr/>
          <p:nvPr userDrawn="1"/>
        </p:nvSpPr>
        <p:spPr>
          <a:xfrm>
            <a:off x="2387431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8" name="Column 2"/>
          <p:cNvSpPr/>
          <p:nvPr userDrawn="1"/>
        </p:nvSpPr>
        <p:spPr>
          <a:xfrm>
            <a:off x="1605522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30" name="Gutter 1"/>
          <p:cNvSpPr/>
          <p:nvPr userDrawn="1"/>
        </p:nvSpPr>
        <p:spPr>
          <a:xfrm>
            <a:off x="1480416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9" name="Column 1"/>
          <p:cNvSpPr/>
          <p:nvPr userDrawn="1"/>
        </p:nvSpPr>
        <p:spPr>
          <a:xfrm>
            <a:off x="698650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3" name="Title Headlin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Do not send to a client. Add a slide with this master to get this grid.</a:t>
            </a:r>
          </a:p>
        </p:txBody>
      </p:sp>
      <p:sp>
        <p:nvSpPr>
          <p:cNvPr id="31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Use this slide to arrange items so that they fit neatly into this grid. Press ALT-F9 to toggle column and margin guides on and off. </a:t>
            </a:r>
          </a:p>
        </p:txBody>
      </p:sp>
    </p:spTree>
    <p:extLst>
      <p:ext uri="{BB962C8B-B14F-4D97-AF65-F5344CB8AC3E}">
        <p14:creationId xmlns:p14="http://schemas.microsoft.com/office/powerpoint/2010/main" val="121574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anner page –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12" y="1442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>
          <a:xfrm>
            <a:off x="698503" y="539081"/>
            <a:ext cx="8861644" cy="17416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690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anner page –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12" y="1442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>
          <a:xfrm>
            <a:off x="698503" y="539081"/>
            <a:ext cx="8861644" cy="17416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341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 image">
    <p:bg>
      <p:bgPr>
        <a:blipFill dpi="0" rotWithShape="1">
          <a:blip r:embed="rId2">
            <a:lum/>
          </a:blip>
          <a:srcRect/>
          <a:stretch>
            <a:fillRect l="-9000" r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Y Panel"/>
          <p:cNvSpPr>
            <a:spLocks noChangeAspect="1"/>
          </p:cNvSpPr>
          <p:nvPr userDrawn="1"/>
        </p:nvSpPr>
        <p:spPr bwMode="gray">
          <a:xfrm rot="10800000">
            <a:off x="698505" y="389797"/>
            <a:ext cx="6171875" cy="4145325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941">
              <a:solidFill>
                <a:srgbClr val="333333"/>
              </a:solidFill>
            </a:endParaRPr>
          </a:p>
        </p:txBody>
      </p:sp>
      <p:pic>
        <p:nvPicPr>
          <p:cNvPr id="64" name="Logo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5857" y="5302650"/>
            <a:ext cx="1233683" cy="1149403"/>
          </a:xfrm>
          <a:prstGeom prst="rect">
            <a:avLst/>
          </a:prstGeom>
        </p:spPr>
      </p:pic>
      <p:sp>
        <p:nvSpPr>
          <p:cNvPr id="10" name="Date_Version"/>
          <p:cNvSpPr>
            <a:spLocks noGrp="1"/>
          </p:cNvSpPr>
          <p:nvPr>
            <p:ph type="body" sz="quarter" idx="13" hasCustomPrompt="1"/>
          </p:nvPr>
        </p:nvSpPr>
        <p:spPr>
          <a:xfrm>
            <a:off x="979994" y="3969325"/>
            <a:ext cx="5507757" cy="234810"/>
          </a:xfrm>
        </p:spPr>
        <p:txBody>
          <a:bodyPr/>
          <a:lstStyle>
            <a:lvl1pPr marL="0" marR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 sz="855">
                <a:solidFill>
                  <a:schemeClr val="bg2"/>
                </a:solidFill>
                <a:latin typeface="+mn-lt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5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6" name="Cover Text 2"/>
          <p:cNvSpPr>
            <a:spLocks noGrp="1"/>
          </p:cNvSpPr>
          <p:nvPr>
            <p:ph type="body" sz="quarter" idx="14" hasCustomPrompt="1"/>
          </p:nvPr>
        </p:nvSpPr>
        <p:spPr>
          <a:xfrm>
            <a:off x="979198" y="2637342"/>
            <a:ext cx="5507757" cy="389796"/>
          </a:xfrm>
        </p:spPr>
        <p:txBody>
          <a:bodyPr/>
          <a:lstStyle>
            <a:lvl1pPr>
              <a:spcAft>
                <a:spcPts val="0"/>
              </a:spcAft>
              <a:defRPr sz="1026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7" name="Cover Text 1"/>
          <p:cNvSpPr>
            <a:spLocks noGrp="1"/>
          </p:cNvSpPr>
          <p:nvPr>
            <p:ph type="title" hasCustomPrompt="1"/>
          </p:nvPr>
        </p:nvSpPr>
        <p:spPr>
          <a:xfrm>
            <a:off x="979994" y="1400980"/>
            <a:ext cx="5506961" cy="1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2394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8" name="Reliance Restricted"/>
          <p:cNvSpPr txBox="1"/>
          <p:nvPr userDrawn="1"/>
        </p:nvSpPr>
        <p:spPr>
          <a:xfrm>
            <a:off x="979994" y="3713485"/>
            <a:ext cx="2484365" cy="1578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Aft>
                <a:spcPts val="513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</a:pPr>
            <a:r>
              <a:rPr lang="en-US" sz="1026" b="1" kern="0" dirty="0" smtClean="0">
                <a:solidFill>
                  <a:srgbClr val="000000"/>
                </a:solidFill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3432407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-partner info 4"/>
          <p:cNvSpPr>
            <a:spLocks noGrp="1"/>
          </p:cNvSpPr>
          <p:nvPr>
            <p:ph type="body" sz="quarter" idx="44" hasCustomPrompt="1"/>
          </p:nvPr>
        </p:nvSpPr>
        <p:spPr>
          <a:xfrm>
            <a:off x="8913771" y="3997481"/>
            <a:ext cx="2585515" cy="605428"/>
          </a:xfrm>
        </p:spPr>
        <p:txBody>
          <a:bodyPr/>
          <a:lstStyle>
            <a:lvl1pPr>
              <a:spcAft>
                <a:spcPts val="0"/>
              </a:spcAft>
              <a:defRPr sz="770"/>
            </a:lvl1pPr>
          </a:lstStyle>
          <a:p>
            <a:pPr lvl="0"/>
            <a:r>
              <a:rPr lang="en-US" dirty="0" smtClean="0"/>
              <a:t>Tel: +## #### #### #### </a:t>
            </a:r>
            <a:br>
              <a:rPr lang="en-US" dirty="0" smtClean="0"/>
            </a:br>
            <a:r>
              <a:rPr lang="en-US" dirty="0" smtClean="0"/>
              <a:t>Mobile: +## #### #### #### </a:t>
            </a:r>
            <a:br>
              <a:rPr lang="en-US" dirty="0" smtClean="0"/>
            </a:br>
            <a:r>
              <a:rPr lang="en-US" dirty="0" smtClean="0"/>
              <a:t>Email: </a:t>
            </a:r>
            <a:r>
              <a:rPr lang="en-US" dirty="0" err="1" smtClean="0"/>
              <a:t>xxx@xxx</a:t>
            </a:r>
            <a:endParaRPr lang="en-US" dirty="0" smtClean="0"/>
          </a:p>
        </p:txBody>
      </p:sp>
      <p:sp>
        <p:nvSpPr>
          <p:cNvPr id="14" name="Text Placeholder-partner title 4"/>
          <p:cNvSpPr>
            <a:spLocks noGrp="1"/>
          </p:cNvSpPr>
          <p:nvPr>
            <p:ph type="body" sz="quarter" idx="42" hasCustomPrompt="1"/>
          </p:nvPr>
        </p:nvSpPr>
        <p:spPr>
          <a:xfrm>
            <a:off x="8913771" y="3806731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1" name="Text Placeholder-partner name 4"/>
          <p:cNvSpPr>
            <a:spLocks noGrp="1"/>
          </p:cNvSpPr>
          <p:nvPr>
            <p:ph type="body" sz="quarter" idx="39" hasCustomPrompt="1"/>
          </p:nvPr>
        </p:nvSpPr>
        <p:spPr>
          <a:xfrm>
            <a:off x="8906823" y="3657447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artner or senior manager name</a:t>
            </a:r>
            <a:endParaRPr lang="en-US" dirty="0"/>
          </a:p>
        </p:txBody>
      </p:sp>
      <p:sp>
        <p:nvSpPr>
          <p:cNvPr id="18" name="Text Placeholder-partner info 3"/>
          <p:cNvSpPr>
            <a:spLocks noGrp="1"/>
          </p:cNvSpPr>
          <p:nvPr>
            <p:ph type="body" sz="quarter" idx="45" hasCustomPrompt="1"/>
          </p:nvPr>
        </p:nvSpPr>
        <p:spPr>
          <a:xfrm>
            <a:off x="8913771" y="2894441"/>
            <a:ext cx="2585515" cy="605428"/>
          </a:xfrm>
        </p:spPr>
        <p:txBody>
          <a:bodyPr/>
          <a:lstStyle>
            <a:lvl1pPr>
              <a:spcAft>
                <a:spcPts val="0"/>
              </a:spcAft>
              <a:defRPr sz="770"/>
            </a:lvl1pPr>
          </a:lstStyle>
          <a:p>
            <a:pPr lvl="0"/>
            <a:r>
              <a:rPr lang="en-US" dirty="0" smtClean="0"/>
              <a:t>Tel: +## #### #### #### </a:t>
            </a:r>
            <a:br>
              <a:rPr lang="en-US" dirty="0" smtClean="0"/>
            </a:br>
            <a:r>
              <a:rPr lang="en-US" dirty="0" smtClean="0"/>
              <a:t>Mobile: +## #### #### #### </a:t>
            </a:r>
            <a:br>
              <a:rPr lang="en-US" dirty="0" smtClean="0"/>
            </a:br>
            <a:r>
              <a:rPr lang="en-US" dirty="0" smtClean="0"/>
              <a:t>Email: </a:t>
            </a:r>
            <a:r>
              <a:rPr lang="en-US" dirty="0" err="1" smtClean="0"/>
              <a:t>xxx@xxx</a:t>
            </a:r>
            <a:endParaRPr lang="en-US" dirty="0" smtClean="0"/>
          </a:p>
        </p:txBody>
      </p:sp>
      <p:sp>
        <p:nvSpPr>
          <p:cNvPr id="15" name="Text Placeholder-partner title 3"/>
          <p:cNvSpPr>
            <a:spLocks noGrp="1"/>
          </p:cNvSpPr>
          <p:nvPr>
            <p:ph type="body" sz="quarter" idx="43" hasCustomPrompt="1"/>
          </p:nvPr>
        </p:nvSpPr>
        <p:spPr>
          <a:xfrm>
            <a:off x="8906823" y="2703691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9" name="Text Placeholder-partner name 3"/>
          <p:cNvSpPr>
            <a:spLocks noGrp="1"/>
          </p:cNvSpPr>
          <p:nvPr>
            <p:ph type="body" sz="quarter" idx="38" hasCustomPrompt="1"/>
          </p:nvPr>
        </p:nvSpPr>
        <p:spPr>
          <a:xfrm>
            <a:off x="8906823" y="2554408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artner or senior manager name</a:t>
            </a:r>
            <a:endParaRPr lang="en-US" dirty="0"/>
          </a:p>
        </p:txBody>
      </p:sp>
      <p:sp>
        <p:nvSpPr>
          <p:cNvPr id="19" name="Text Placeholder-partner info 2"/>
          <p:cNvSpPr>
            <a:spLocks noGrp="1"/>
          </p:cNvSpPr>
          <p:nvPr>
            <p:ph type="body" sz="quarter" idx="46" hasCustomPrompt="1"/>
          </p:nvPr>
        </p:nvSpPr>
        <p:spPr>
          <a:xfrm>
            <a:off x="8913771" y="1807989"/>
            <a:ext cx="2585515" cy="605428"/>
          </a:xfrm>
        </p:spPr>
        <p:txBody>
          <a:bodyPr/>
          <a:lstStyle>
            <a:lvl1pPr>
              <a:spcAft>
                <a:spcPts val="0"/>
              </a:spcAft>
              <a:defRPr sz="770"/>
            </a:lvl1pPr>
          </a:lstStyle>
          <a:p>
            <a:pPr lvl="0"/>
            <a:r>
              <a:rPr lang="en-US" dirty="0" smtClean="0"/>
              <a:t>Tel: +## #### #### #### </a:t>
            </a:r>
            <a:br>
              <a:rPr lang="en-US" dirty="0" smtClean="0"/>
            </a:br>
            <a:r>
              <a:rPr lang="en-US" dirty="0" smtClean="0"/>
              <a:t>Mobile: +## #### #### #### </a:t>
            </a:r>
            <a:br>
              <a:rPr lang="en-US" dirty="0" smtClean="0"/>
            </a:br>
            <a:r>
              <a:rPr lang="en-US" dirty="0" smtClean="0"/>
              <a:t>Email: </a:t>
            </a:r>
            <a:r>
              <a:rPr lang="en-US" dirty="0" err="1" smtClean="0"/>
              <a:t>xxx@xxx</a:t>
            </a:r>
            <a:endParaRPr lang="en-US" dirty="0" smtClean="0"/>
          </a:p>
        </p:txBody>
      </p:sp>
      <p:sp>
        <p:nvSpPr>
          <p:cNvPr id="13" name="Text Placeholder-partner title 2"/>
          <p:cNvSpPr>
            <a:spLocks noGrp="1"/>
          </p:cNvSpPr>
          <p:nvPr>
            <p:ph type="body" sz="quarter" idx="41" hasCustomPrompt="1"/>
          </p:nvPr>
        </p:nvSpPr>
        <p:spPr>
          <a:xfrm>
            <a:off x="8906823" y="1617239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8" name="Text Placeholder-partner name 2"/>
          <p:cNvSpPr>
            <a:spLocks noGrp="1"/>
          </p:cNvSpPr>
          <p:nvPr>
            <p:ph type="body" sz="quarter" idx="37" hasCustomPrompt="1"/>
          </p:nvPr>
        </p:nvSpPr>
        <p:spPr>
          <a:xfrm>
            <a:off x="8906823" y="1467956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artner or senior manager name</a:t>
            </a:r>
            <a:endParaRPr lang="en-US" dirty="0"/>
          </a:p>
        </p:txBody>
      </p:sp>
      <p:sp>
        <p:nvSpPr>
          <p:cNvPr id="20" name="Text Placeholder-partner info 1"/>
          <p:cNvSpPr>
            <a:spLocks noGrp="1"/>
          </p:cNvSpPr>
          <p:nvPr>
            <p:ph type="body" sz="quarter" idx="47" hasCustomPrompt="1"/>
          </p:nvPr>
        </p:nvSpPr>
        <p:spPr>
          <a:xfrm>
            <a:off x="8913771" y="704950"/>
            <a:ext cx="2585515" cy="605428"/>
          </a:xfrm>
        </p:spPr>
        <p:txBody>
          <a:bodyPr/>
          <a:lstStyle>
            <a:lvl1pPr>
              <a:spcAft>
                <a:spcPts val="0"/>
              </a:spcAft>
              <a:defRPr sz="770"/>
            </a:lvl1pPr>
          </a:lstStyle>
          <a:p>
            <a:pPr lvl="0"/>
            <a:r>
              <a:rPr lang="en-US" dirty="0" smtClean="0"/>
              <a:t>Tel: +## #### #### #### </a:t>
            </a:r>
            <a:br>
              <a:rPr lang="en-US" dirty="0" smtClean="0"/>
            </a:br>
            <a:r>
              <a:rPr lang="en-US" dirty="0" smtClean="0"/>
              <a:t>Mobile: +## #### #### #### </a:t>
            </a:r>
            <a:br>
              <a:rPr lang="en-US" dirty="0" smtClean="0"/>
            </a:br>
            <a:r>
              <a:rPr lang="en-US" dirty="0" smtClean="0"/>
              <a:t>Email: </a:t>
            </a:r>
            <a:r>
              <a:rPr lang="en-US" dirty="0" err="1" smtClean="0"/>
              <a:t>xxx@xxx</a:t>
            </a:r>
            <a:endParaRPr lang="en-US" dirty="0" smtClean="0"/>
          </a:p>
        </p:txBody>
      </p:sp>
      <p:sp>
        <p:nvSpPr>
          <p:cNvPr id="4" name="Text Placeholder-partner title 1"/>
          <p:cNvSpPr>
            <a:spLocks noGrp="1"/>
          </p:cNvSpPr>
          <p:nvPr>
            <p:ph type="body" sz="quarter" idx="40" hasCustomPrompt="1"/>
          </p:nvPr>
        </p:nvSpPr>
        <p:spPr>
          <a:xfrm>
            <a:off x="8913771" y="514200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3" name="Text Placeholder-partner name 1"/>
          <p:cNvSpPr>
            <a:spLocks noGrp="1"/>
          </p:cNvSpPr>
          <p:nvPr>
            <p:ph type="body" sz="quarter" idx="36" hasCustomPrompt="1"/>
          </p:nvPr>
        </p:nvSpPr>
        <p:spPr>
          <a:xfrm>
            <a:off x="8913771" y="364916"/>
            <a:ext cx="2585515" cy="124403"/>
          </a:xfrm>
        </p:spPr>
        <p:txBody>
          <a:bodyPr/>
          <a:lstStyle>
            <a:lvl1pPr>
              <a:spcAft>
                <a:spcPts val="0"/>
              </a:spcAft>
              <a:defRPr sz="855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artner or senior manager name</a:t>
            </a:r>
            <a:endParaRPr lang="en-US" dirty="0"/>
          </a:p>
        </p:txBody>
      </p:sp>
      <p:sp>
        <p:nvSpPr>
          <p:cNvPr id="21" name="EY Panel"/>
          <p:cNvSpPr>
            <a:spLocks noChangeAspect="1"/>
          </p:cNvSpPr>
          <p:nvPr userDrawn="1"/>
        </p:nvSpPr>
        <p:spPr bwMode="gray">
          <a:xfrm rot="10800000">
            <a:off x="698505" y="389797"/>
            <a:ext cx="6171875" cy="4145325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941">
              <a:solidFill>
                <a:srgbClr val="646464"/>
              </a:solidFill>
            </a:endParaRPr>
          </a:p>
        </p:txBody>
      </p:sp>
      <p:sp>
        <p:nvSpPr>
          <p:cNvPr id="23" name="Cover Text 2"/>
          <p:cNvSpPr>
            <a:spLocks noGrp="1"/>
          </p:cNvSpPr>
          <p:nvPr>
            <p:ph type="body" sz="quarter" idx="14" hasCustomPrompt="1"/>
          </p:nvPr>
        </p:nvSpPr>
        <p:spPr>
          <a:xfrm>
            <a:off x="979199" y="2637342"/>
            <a:ext cx="5504644" cy="389796"/>
          </a:xfrm>
        </p:spPr>
        <p:txBody>
          <a:bodyPr/>
          <a:lstStyle>
            <a:lvl1pPr>
              <a:spcAft>
                <a:spcPts val="0"/>
              </a:spcAft>
              <a:defRPr sz="1026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24" name="Cover Text 1"/>
          <p:cNvSpPr>
            <a:spLocks noGrp="1"/>
          </p:cNvSpPr>
          <p:nvPr>
            <p:ph type="title" hasCustomPrompt="1"/>
          </p:nvPr>
        </p:nvSpPr>
        <p:spPr>
          <a:xfrm>
            <a:off x="979994" y="1400980"/>
            <a:ext cx="5504644" cy="1147830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2394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pic>
        <p:nvPicPr>
          <p:cNvPr id="25" name="Logo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8657" y="5316152"/>
            <a:ext cx="1236940" cy="1152800"/>
          </a:xfrm>
          <a:prstGeom prst="rect">
            <a:avLst/>
          </a:prstGeom>
        </p:spPr>
      </p:pic>
      <p:sp>
        <p:nvSpPr>
          <p:cNvPr id="28" name="Date_Version"/>
          <p:cNvSpPr>
            <a:spLocks noGrp="1"/>
          </p:cNvSpPr>
          <p:nvPr>
            <p:ph type="body" sz="quarter" idx="13" hasCustomPrompt="1"/>
          </p:nvPr>
        </p:nvSpPr>
        <p:spPr>
          <a:xfrm>
            <a:off x="979994" y="3969325"/>
            <a:ext cx="5507757" cy="234810"/>
          </a:xfrm>
        </p:spPr>
        <p:txBody>
          <a:bodyPr/>
          <a:lstStyle>
            <a:lvl1pPr marL="0" marR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 sz="855">
                <a:solidFill>
                  <a:schemeClr val="bg2"/>
                </a:solidFill>
                <a:latin typeface="+mn-lt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5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29" name="Reliance Restricted"/>
          <p:cNvSpPr txBox="1"/>
          <p:nvPr userDrawn="1"/>
        </p:nvSpPr>
        <p:spPr>
          <a:xfrm>
            <a:off x="979994" y="3713485"/>
            <a:ext cx="2484365" cy="1578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Aft>
                <a:spcPts val="513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</a:pPr>
            <a:r>
              <a:rPr lang="en-US" sz="1026" b="1" kern="0" dirty="0" smtClean="0">
                <a:solidFill>
                  <a:srgbClr val="000000"/>
                </a:solidFill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870852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 - small lef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Y Panel"/>
          <p:cNvSpPr>
            <a:spLocks noChangeAspect="1"/>
          </p:cNvSpPr>
          <p:nvPr userDrawn="1"/>
        </p:nvSpPr>
        <p:spPr bwMode="gray">
          <a:xfrm rot="10800000">
            <a:off x="698507" y="373220"/>
            <a:ext cx="4420396" cy="2968949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941">
              <a:solidFill>
                <a:srgbClr val="646464"/>
              </a:solidFill>
            </a:endParaRPr>
          </a:p>
        </p:txBody>
      </p:sp>
      <p:sp>
        <p:nvSpPr>
          <p:cNvPr id="10" name="Date_Version"/>
          <p:cNvSpPr>
            <a:spLocks noGrp="1"/>
          </p:cNvSpPr>
          <p:nvPr>
            <p:ph type="body" sz="quarter" idx="13" hasCustomPrompt="1"/>
          </p:nvPr>
        </p:nvSpPr>
        <p:spPr>
          <a:xfrm>
            <a:off x="979199" y="2993964"/>
            <a:ext cx="3851592" cy="234810"/>
          </a:xfrm>
        </p:spPr>
        <p:txBody>
          <a:bodyPr/>
          <a:lstStyle>
            <a:lvl1pPr marL="0" marR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 sz="855">
                <a:solidFill>
                  <a:schemeClr val="bg2"/>
                </a:solidFill>
                <a:latin typeface="+mn-lt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5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6" name="Cover Text 2"/>
          <p:cNvSpPr>
            <a:spLocks noGrp="1"/>
          </p:cNvSpPr>
          <p:nvPr>
            <p:ph type="body" sz="quarter" idx="14" hasCustomPrompt="1"/>
          </p:nvPr>
        </p:nvSpPr>
        <p:spPr>
          <a:xfrm>
            <a:off x="979199" y="2243325"/>
            <a:ext cx="3851592" cy="389796"/>
          </a:xfrm>
        </p:spPr>
        <p:txBody>
          <a:bodyPr/>
          <a:lstStyle>
            <a:lvl1pPr>
              <a:spcAft>
                <a:spcPts val="0"/>
              </a:spcAft>
              <a:defRPr sz="1026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7" name="Cover Text 1"/>
          <p:cNvSpPr>
            <a:spLocks noGrp="1"/>
          </p:cNvSpPr>
          <p:nvPr>
            <p:ph type="title" hasCustomPrompt="1"/>
          </p:nvPr>
        </p:nvSpPr>
        <p:spPr>
          <a:xfrm>
            <a:off x="979199" y="1137707"/>
            <a:ext cx="3851592" cy="80018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2394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pic>
        <p:nvPicPr>
          <p:cNvPr id="9" name="Logo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8657" y="5316152"/>
            <a:ext cx="1236940" cy="1152800"/>
          </a:xfrm>
          <a:prstGeom prst="rect">
            <a:avLst/>
          </a:prstGeom>
        </p:spPr>
      </p:pic>
      <p:sp>
        <p:nvSpPr>
          <p:cNvPr id="11" name="Reliance Restricted"/>
          <p:cNvSpPr txBox="1"/>
          <p:nvPr userDrawn="1"/>
        </p:nvSpPr>
        <p:spPr>
          <a:xfrm>
            <a:off x="979199" y="2786626"/>
            <a:ext cx="2484365" cy="1578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Aft>
                <a:spcPts val="513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</a:pPr>
            <a:r>
              <a:rPr lang="en-US" sz="1026" b="1" kern="0" dirty="0" smtClean="0">
                <a:solidFill>
                  <a:srgbClr val="000000"/>
                </a:solidFill>
              </a:rPr>
              <a:t>Reliance Restricted</a:t>
            </a:r>
          </a:p>
        </p:txBody>
      </p:sp>
    </p:spTree>
    <p:extLst>
      <p:ext uri="{BB962C8B-B14F-4D97-AF65-F5344CB8AC3E}">
        <p14:creationId xmlns:p14="http://schemas.microsoft.com/office/powerpoint/2010/main" val="881393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2"/>
          </p:nvPr>
        </p:nvSpPr>
        <p:spPr>
          <a:xfrm>
            <a:off x="698505" y="1550889"/>
            <a:ext cx="10790355" cy="4850678"/>
          </a:xfrm>
        </p:spPr>
        <p:txBody>
          <a:bodyPr/>
          <a:lstStyle/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9525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without image - small r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Y Panel"/>
          <p:cNvSpPr>
            <a:spLocks noChangeAspect="1"/>
          </p:cNvSpPr>
          <p:nvPr userDrawn="1"/>
        </p:nvSpPr>
        <p:spPr bwMode="gray">
          <a:xfrm rot="10800000">
            <a:off x="7069623" y="373220"/>
            <a:ext cx="4420396" cy="2968949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GB" sz="941">
              <a:solidFill>
                <a:srgbClr val="646464"/>
              </a:solidFill>
            </a:endParaRPr>
          </a:p>
        </p:txBody>
      </p:sp>
      <p:sp>
        <p:nvSpPr>
          <p:cNvPr id="11" name="Date_Version"/>
          <p:cNvSpPr>
            <a:spLocks noGrp="1"/>
          </p:cNvSpPr>
          <p:nvPr>
            <p:ph type="body" sz="quarter" idx="13" hasCustomPrompt="1"/>
          </p:nvPr>
        </p:nvSpPr>
        <p:spPr>
          <a:xfrm>
            <a:off x="7361389" y="2993964"/>
            <a:ext cx="3851592" cy="234810"/>
          </a:xfrm>
        </p:spPr>
        <p:txBody>
          <a:bodyPr/>
          <a:lstStyle>
            <a:lvl1pPr marL="0" marR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 sz="855">
                <a:solidFill>
                  <a:schemeClr val="bg2"/>
                </a:solidFill>
                <a:latin typeface="+mn-lt"/>
              </a:defRPr>
            </a:lvl1pPr>
          </a:lstStyle>
          <a:p>
            <a:pPr marL="0" marR="0" lvl="0" indent="0" algn="l" defTabSz="85113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55" b="0" i="0" u="none" strike="noStrike" kern="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XX Month 2015 | Version XX (Draft)</a:t>
            </a:r>
          </a:p>
        </p:txBody>
      </p:sp>
      <p:sp>
        <p:nvSpPr>
          <p:cNvPr id="12" name="Cover Text 2"/>
          <p:cNvSpPr>
            <a:spLocks noGrp="1"/>
          </p:cNvSpPr>
          <p:nvPr>
            <p:ph type="body" sz="quarter" idx="14" hasCustomPrompt="1"/>
          </p:nvPr>
        </p:nvSpPr>
        <p:spPr>
          <a:xfrm>
            <a:off x="7360595" y="2243325"/>
            <a:ext cx="3851592" cy="389796"/>
          </a:xfrm>
        </p:spPr>
        <p:txBody>
          <a:bodyPr/>
          <a:lstStyle>
            <a:lvl1pPr>
              <a:spcAft>
                <a:spcPts val="0"/>
              </a:spcAft>
              <a:defRPr sz="1026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13" name="Cover Text 1"/>
          <p:cNvSpPr>
            <a:spLocks noGrp="1"/>
          </p:cNvSpPr>
          <p:nvPr>
            <p:ph type="title" hasCustomPrompt="1"/>
          </p:nvPr>
        </p:nvSpPr>
        <p:spPr>
          <a:xfrm>
            <a:off x="7361389" y="1137707"/>
            <a:ext cx="3851592" cy="80018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spcBef>
                <a:spcPts val="0"/>
              </a:spcBef>
              <a:defRPr sz="2394" baseline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pic>
        <p:nvPicPr>
          <p:cNvPr id="7" name="Logo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8657" y="5316152"/>
            <a:ext cx="1236940" cy="1152800"/>
          </a:xfrm>
          <a:prstGeom prst="rect">
            <a:avLst/>
          </a:prstGeom>
        </p:spPr>
      </p:pic>
      <p:sp>
        <p:nvSpPr>
          <p:cNvPr id="8" name="Reliance Restricted"/>
          <p:cNvSpPr>
            <a:spLocks noGrp="1"/>
          </p:cNvSpPr>
          <p:nvPr>
            <p:ph type="body" sz="quarter" idx="15" hasCustomPrompt="1"/>
          </p:nvPr>
        </p:nvSpPr>
        <p:spPr>
          <a:xfrm>
            <a:off x="7360594" y="2786626"/>
            <a:ext cx="2477857" cy="165871"/>
          </a:xfrm>
        </p:spPr>
        <p:txBody>
          <a:bodyPr/>
          <a:lstStyle>
            <a:lvl1pPr>
              <a:defRPr sz="1026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Reliance Restrict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6980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mittal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Bottom rule"/>
          <p:cNvCxnSpPr/>
          <p:nvPr userDrawn="1"/>
        </p:nvCxnSpPr>
        <p:spPr bwMode="gray">
          <a:xfrm>
            <a:off x="698505" y="6660826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5" name="LocalFirmNameAndAddress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4273" y="1865809"/>
            <a:ext cx="2244129" cy="121403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70" b="1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70" b="0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513"/>
              </a:spcBef>
              <a:spcAft>
                <a:spcPts val="513"/>
              </a:spcAft>
              <a:buNone/>
              <a:defRPr lang="en-US" sz="770" b="1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3pPr>
            <a:lvl4pPr>
              <a:lnSpc>
                <a:spcPct val="100000"/>
              </a:lnSpc>
              <a:spcAft>
                <a:spcPts val="513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Aft>
                <a:spcPts val="513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Add the local firm name as a level 1 entry, then “indent” to level 2 for the address, then indent to level 3 for the ey.com.</a:t>
            </a:r>
          </a:p>
          <a:p>
            <a:pPr lvl="1"/>
            <a:r>
              <a:rPr lang="en-US" dirty="0" smtClean="0"/>
              <a:t>Address level</a:t>
            </a:r>
          </a:p>
          <a:p>
            <a:pPr lvl="2"/>
            <a:r>
              <a:rPr lang="en-US" dirty="0" smtClean="0"/>
              <a:t>ey.com level</a:t>
            </a:r>
            <a:endParaRPr lang="en-US" dirty="0"/>
          </a:p>
        </p:txBody>
      </p:sp>
      <p:cxnSp>
        <p:nvCxnSpPr>
          <p:cNvPr id="6" name="Top rule"/>
          <p:cNvCxnSpPr/>
          <p:nvPr userDrawn="1"/>
        </p:nvCxnSpPr>
        <p:spPr bwMode="gray">
          <a:xfrm>
            <a:off x="698505" y="391351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7" name="Filename_Vers_Draft"/>
          <p:cNvSpPr txBox="1">
            <a:spLocks/>
          </p:cNvSpPr>
          <p:nvPr userDrawn="1"/>
        </p:nvSpPr>
        <p:spPr>
          <a:xfrm>
            <a:off x="698506" y="222307"/>
            <a:ext cx="4636433" cy="165871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8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defRPr sz="14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175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defRPr sz="12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96850" indent="-192088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70000"/>
              <a:buFont typeface="Wingdings 3" pitchFamily="18" charset="2"/>
              <a:buNone/>
              <a:defRPr sz="1200" b="1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 marL="393700" indent="-195263" algn="just" defTabSz="99536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70000"/>
              <a:buFont typeface="Arial Narrow" pitchFamily="34" charset="0"/>
              <a:buChar char="–"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8509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6pPr>
            <a:lvl7pPr marL="13081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7pPr>
            <a:lvl8pPr marL="17653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8pPr>
            <a:lvl9pPr marL="22225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ts val="1026"/>
              </a:lnSpc>
              <a:spcBef>
                <a:spcPts val="513"/>
              </a:spcBef>
              <a:spcAft>
                <a:spcPts val="0"/>
              </a:spcAft>
            </a:pPr>
            <a:r>
              <a:rPr lang="de-DE" sz="599" b="0" kern="0" smtClean="0">
                <a:solidFill>
                  <a:srgbClr val="808080"/>
                </a:solidFill>
                <a:latin typeface="Arial"/>
              </a:rPr>
              <a:t>12 July 2017 | Version 1.0 (Draft)</a:t>
            </a:r>
            <a:endParaRPr lang="en-US" sz="599" b="0" kern="0"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8" name="Letter text"/>
          <p:cNvSpPr>
            <a:spLocks noGrp="1"/>
          </p:cNvSpPr>
          <p:nvPr>
            <p:ph type="body" sz="quarter" idx="14" hasCustomPrompt="1"/>
          </p:nvPr>
        </p:nvSpPr>
        <p:spPr>
          <a:xfrm>
            <a:off x="3415425" y="2109866"/>
            <a:ext cx="8073436" cy="429170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55"/>
            </a:lvl1pPr>
            <a:lvl2pPr>
              <a:lnSpc>
                <a:spcPct val="100000"/>
              </a:lnSpc>
              <a:spcBef>
                <a:spcPts val="0"/>
              </a:spcBef>
              <a:defRPr sz="941"/>
            </a:lvl2pPr>
            <a:lvl3pPr>
              <a:lnSpc>
                <a:spcPct val="100000"/>
              </a:lnSpc>
              <a:spcBef>
                <a:spcPts val="0"/>
              </a:spcBef>
              <a:defRPr sz="855"/>
            </a:lvl3pPr>
            <a:lvl4pPr>
              <a:lnSpc>
                <a:spcPct val="100000"/>
              </a:lnSpc>
              <a:spcBef>
                <a:spcPts val="0"/>
              </a:spcBef>
              <a:defRPr sz="855"/>
            </a:lvl4pPr>
            <a:lvl5pPr>
              <a:lnSpc>
                <a:spcPct val="100000"/>
              </a:lnSpc>
              <a:spcBef>
                <a:spcPts val="0"/>
              </a:spcBef>
              <a:defRPr sz="855"/>
            </a:lvl5pPr>
          </a:lstStyle>
          <a:p>
            <a:pPr lvl="0"/>
            <a:r>
              <a:rPr lang="en-US" dirty="0" smtClean="0"/>
              <a:t>Put the text of the letter here</a:t>
            </a:r>
            <a:endParaRPr lang="en-US" dirty="0"/>
          </a:p>
        </p:txBody>
      </p:sp>
      <p:sp>
        <p:nvSpPr>
          <p:cNvPr id="9" name="ProjectName"/>
          <p:cNvSpPr>
            <a:spLocks noGrp="1"/>
          </p:cNvSpPr>
          <p:nvPr>
            <p:ph type="body" sz="quarter" idx="15" hasCustomPrompt="1"/>
          </p:nvPr>
        </p:nvSpPr>
        <p:spPr>
          <a:xfrm>
            <a:off x="3415426" y="1865809"/>
            <a:ext cx="4457972" cy="226057"/>
          </a:xfrm>
        </p:spPr>
        <p:txBody>
          <a:bodyPr/>
          <a:lstStyle>
            <a:lvl1pPr>
              <a:defRPr sz="941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Project name</a:t>
            </a:r>
            <a:endParaRPr lang="en-US" dirty="0"/>
          </a:p>
        </p:txBody>
      </p:sp>
      <p:sp>
        <p:nvSpPr>
          <p:cNvPr id="10" name="Date"/>
          <p:cNvSpPr>
            <a:spLocks noGrp="1"/>
          </p:cNvSpPr>
          <p:nvPr>
            <p:ph type="body" sz="quarter" idx="16" hasCustomPrompt="1"/>
          </p:nvPr>
        </p:nvSpPr>
        <p:spPr>
          <a:xfrm>
            <a:off x="8236561" y="1865809"/>
            <a:ext cx="3252300" cy="226057"/>
          </a:xfrm>
        </p:spPr>
        <p:txBody>
          <a:bodyPr/>
          <a:lstStyle>
            <a:lvl1pPr algn="r">
              <a:defRPr sz="941" b="1">
                <a:solidFill>
                  <a:schemeClr val="tx1"/>
                </a:solidFill>
              </a:defRPr>
            </a:lvl1pPr>
            <a:lvl2pPr algn="r">
              <a:defRPr/>
            </a:lvl2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1" name="ClientAddress"/>
          <p:cNvSpPr>
            <a:spLocks noGrp="1"/>
          </p:cNvSpPr>
          <p:nvPr>
            <p:ph type="body" sz="quarter" idx="17" hasCustomPrompt="1"/>
          </p:nvPr>
        </p:nvSpPr>
        <p:spPr>
          <a:xfrm>
            <a:off x="3415425" y="912289"/>
            <a:ext cx="4458204" cy="829353"/>
          </a:xfrm>
        </p:spPr>
        <p:txBody>
          <a:bodyPr anchor="ctr" anchorCtr="0"/>
          <a:lstStyle>
            <a:lvl1pPr>
              <a:spcAft>
                <a:spcPts val="0"/>
              </a:spcAft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Put the client contact name and address here</a:t>
            </a:r>
            <a:endParaRPr lang="en-US" dirty="0"/>
          </a:p>
        </p:txBody>
      </p:sp>
      <p:pic>
        <p:nvPicPr>
          <p:cNvPr id="12" name="Logo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07" y="663482"/>
            <a:ext cx="791997" cy="738124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415426" y="682137"/>
            <a:ext cx="2484365" cy="1447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eaLnBrk="0" fontAlgn="base" hangingPunct="0">
              <a:spcAft>
                <a:spcPts val="513"/>
              </a:spcAft>
              <a:buClr>
                <a:srgbClr val="808080"/>
              </a:buClr>
              <a:buSzPct val="70000"/>
              <a:buFont typeface="Arial" panose="020B0604020202020204" pitchFamily="34" charset="0"/>
              <a:buNone/>
            </a:pPr>
            <a:r>
              <a:rPr lang="en-US" sz="941" b="1" kern="0" dirty="0" smtClean="0">
                <a:solidFill>
                  <a:srgbClr val="000000"/>
                </a:solidFill>
              </a:rPr>
              <a:t>Reliance Restricted</a:t>
            </a:r>
          </a:p>
        </p:txBody>
      </p:sp>
      <p:sp>
        <p:nvSpPr>
          <p:cNvPr id="14" name="Filename_Subsec_Page"/>
          <p:cNvSpPr txBox="1"/>
          <p:nvPr userDrawn="1"/>
        </p:nvSpPr>
        <p:spPr>
          <a:xfrm>
            <a:off x="698505" y="6687673"/>
            <a:ext cx="10790355" cy="1296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0" fontAlgn="base" hangingPunct="0">
              <a:spcAft>
                <a:spcPct val="0"/>
              </a:spcAft>
              <a:defRPr/>
            </a:pPr>
            <a:r>
              <a:rPr lang="en-US" sz="599" b="1" dirty="0" smtClean="0">
                <a:solidFill>
                  <a:srgbClr val="808080"/>
                </a:solidFill>
              </a:rPr>
              <a:t>Page </a:t>
            </a:r>
            <a:fld id="{DEEFF633-18A4-4DB4-AB87-62FD3821FF1E}" type="slidenum">
              <a:rPr lang="en-US" sz="599" b="1" smtClean="0">
                <a:solidFill>
                  <a:srgbClr val="808080"/>
                </a:solidFill>
              </a:rPr>
              <a:pPr eaLnBrk="0" fontAlgn="base" hangingPunct="0">
                <a:spcAft>
                  <a:spcPct val="0"/>
                </a:spcAft>
                <a:defRPr/>
              </a:pPr>
              <a:t>‹#›</a:t>
            </a:fld>
            <a:r>
              <a:rPr lang="en-US" sz="599" dirty="0" smtClean="0">
                <a:solidFill>
                  <a:srgbClr val="808080"/>
                </a:solidFill>
              </a:rPr>
              <a:t> |</a:t>
            </a:r>
            <a:r>
              <a:rPr lang="en-US" sz="599" b="1" dirty="0" smtClean="0">
                <a:solidFill>
                  <a:srgbClr val="808080"/>
                </a:solidFill>
              </a:rPr>
              <a:t> </a:t>
            </a:r>
            <a:r>
              <a:rPr lang="ru-RU" sz="599" dirty="0" smtClean="0">
                <a:solidFill>
                  <a:srgbClr val="808080"/>
                </a:solidFill>
              </a:rPr>
              <a:t>Разработка Стратегии развития АО «Фонд недвижимости «</a:t>
            </a:r>
            <a:r>
              <a:rPr lang="ru-RU" sz="599" dirty="0" err="1" smtClean="0">
                <a:solidFill>
                  <a:srgbClr val="808080"/>
                </a:solidFill>
              </a:rPr>
              <a:t>Самрук-Қазына</a:t>
            </a:r>
            <a:r>
              <a:rPr lang="ru-RU" sz="599" dirty="0" smtClean="0">
                <a:solidFill>
                  <a:srgbClr val="808080"/>
                </a:solidFill>
              </a:rPr>
              <a:t>» на 2018–2027 гг.</a:t>
            </a:r>
            <a:r>
              <a:rPr lang="en-US" sz="599" dirty="0" smtClean="0">
                <a:solidFill>
                  <a:srgbClr val="808080"/>
                </a:solidFill>
              </a:rPr>
              <a:t> | </a:t>
            </a:r>
            <a:r>
              <a:rPr lang="ru-RU" sz="599" dirty="0" smtClean="0">
                <a:solidFill>
                  <a:srgbClr val="808080"/>
                </a:solidFill>
              </a:rPr>
              <a:t>Презентация по результатам услуг Этапа 1</a:t>
            </a:r>
            <a:r>
              <a:rPr lang="en-US" sz="599" dirty="0" smtClean="0">
                <a:solidFill>
                  <a:srgbClr val="808080"/>
                </a:solidFill>
              </a:rPr>
              <a:t> | </a:t>
            </a:r>
            <a:r>
              <a:rPr lang="en-US" sz="599" b="1" dirty="0" smtClean="0">
                <a:solidFill>
                  <a:srgbClr val="808080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798219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nsmittal letter - seco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Bottom rule"/>
          <p:cNvCxnSpPr/>
          <p:nvPr userDrawn="1"/>
        </p:nvCxnSpPr>
        <p:spPr bwMode="gray">
          <a:xfrm>
            <a:off x="698505" y="6660826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15" name="Filename_Subsec_Page"/>
          <p:cNvSpPr txBox="1"/>
          <p:nvPr userDrawn="1"/>
        </p:nvSpPr>
        <p:spPr>
          <a:xfrm>
            <a:off x="698505" y="6529701"/>
            <a:ext cx="10790355" cy="1296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eaLnBrk="0" fontAlgn="base" hangingPunct="0">
              <a:spcAft>
                <a:spcPct val="0"/>
              </a:spcAft>
            </a:pPr>
            <a:r>
              <a:rPr lang="en-US" sz="599" smtClean="0">
                <a:solidFill>
                  <a:srgbClr val="808080"/>
                </a:solidFill>
              </a:rPr>
              <a:t>:  | </a:t>
            </a:r>
            <a:r>
              <a:rPr lang="en-US" sz="599" b="1" smtClean="0">
                <a:solidFill>
                  <a:srgbClr val="808080"/>
                </a:solidFill>
              </a:rPr>
              <a:t>Page </a:t>
            </a:r>
            <a:fld id="{A4F4F3FC-A6DC-44A6-8487-7CC68CE3290A}" type="slidenum">
              <a:rPr lang="en-US" sz="599" b="1" smtClean="0">
                <a:solidFill>
                  <a:srgbClr val="808080"/>
                </a:solidFill>
              </a:rPr>
              <a:pPr algn="r" eaLnBrk="0" fontAlgn="base" hangingPunct="0">
                <a:spcAft>
                  <a:spcPct val="0"/>
                </a:spcAft>
              </a:pPr>
              <a:t>‹#›</a:t>
            </a:fld>
            <a:r>
              <a:rPr lang="en-US" sz="599" b="1" smtClean="0">
                <a:solidFill>
                  <a:srgbClr val="808080"/>
                </a:solidFill>
              </a:rPr>
              <a:t> of 4</a:t>
            </a:r>
            <a:endParaRPr lang="en-US" sz="599" b="1" dirty="0" smtClean="0">
              <a:solidFill>
                <a:srgbClr val="808080"/>
              </a:solidFill>
            </a:endParaRPr>
          </a:p>
        </p:txBody>
      </p:sp>
      <p:cxnSp>
        <p:nvCxnSpPr>
          <p:cNvPr id="8" name="Top rule"/>
          <p:cNvCxnSpPr/>
          <p:nvPr userDrawn="1"/>
        </p:nvCxnSpPr>
        <p:spPr bwMode="gray">
          <a:xfrm>
            <a:off x="698505" y="391351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9" name="Filename_Vers_Draft"/>
          <p:cNvSpPr txBox="1">
            <a:spLocks/>
          </p:cNvSpPr>
          <p:nvPr userDrawn="1"/>
        </p:nvSpPr>
        <p:spPr>
          <a:xfrm>
            <a:off x="698506" y="222307"/>
            <a:ext cx="4636433" cy="165871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defRPr sz="2800" b="1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588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defRPr sz="14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175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defRPr sz="12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96850" indent="-192088" algn="just" defTabSz="995363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70000"/>
              <a:buFont typeface="Wingdings 3" pitchFamily="18" charset="2"/>
              <a:buNone/>
              <a:defRPr sz="1200" b="1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4pPr>
            <a:lvl5pPr marL="393700" indent="-195263" algn="just" defTabSz="995363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70000"/>
              <a:buFont typeface="Arial Narrow" pitchFamily="34" charset="0"/>
              <a:buChar char="–"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8509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6pPr>
            <a:lvl7pPr marL="13081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7pPr>
            <a:lvl8pPr marL="17653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8pPr>
            <a:lvl9pPr marL="2222500" indent="-195263" algn="l" defTabSz="995363" rtl="0" eaLnBrk="1" fontAlgn="base" hangingPunct="1">
              <a:spcBef>
                <a:spcPct val="15000"/>
              </a:spcBef>
              <a:spcAft>
                <a:spcPct val="15000"/>
              </a:spcAft>
              <a:buClr>
                <a:schemeClr val="tx2"/>
              </a:buClr>
              <a:buFont typeface="Arial Narrow" pitchFamily="34" charset="0"/>
              <a:buChar char="–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ts val="1026"/>
              </a:lnSpc>
              <a:spcBef>
                <a:spcPts val="513"/>
              </a:spcBef>
              <a:spcAft>
                <a:spcPts val="0"/>
              </a:spcAft>
            </a:pPr>
            <a:r>
              <a:rPr lang="de-DE" sz="599" b="0" kern="0" smtClean="0">
                <a:solidFill>
                  <a:srgbClr val="808080"/>
                </a:solidFill>
                <a:latin typeface="Arial"/>
              </a:rPr>
              <a:t>12 July 2017 | Version 1.0 (Draft)</a:t>
            </a:r>
            <a:endParaRPr lang="en-US" sz="599" b="0" kern="0" dirty="0" smtClean="0">
              <a:solidFill>
                <a:srgbClr val="808080"/>
              </a:solidFill>
              <a:latin typeface="Arial"/>
            </a:endParaRPr>
          </a:p>
        </p:txBody>
      </p:sp>
      <p:pic>
        <p:nvPicPr>
          <p:cNvPr id="23" name="Logo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07" y="663482"/>
            <a:ext cx="791997" cy="738124"/>
          </a:xfrm>
          <a:prstGeom prst="rect">
            <a:avLst/>
          </a:prstGeom>
        </p:spPr>
      </p:pic>
      <p:sp>
        <p:nvSpPr>
          <p:cNvPr id="12" name="Letter text"/>
          <p:cNvSpPr>
            <a:spLocks noGrp="1"/>
          </p:cNvSpPr>
          <p:nvPr>
            <p:ph type="body" sz="quarter" idx="14" hasCustomPrompt="1"/>
          </p:nvPr>
        </p:nvSpPr>
        <p:spPr>
          <a:xfrm>
            <a:off x="3415425" y="1865810"/>
            <a:ext cx="8073436" cy="4535759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55"/>
            </a:lvl1pPr>
            <a:lvl2pPr>
              <a:lnSpc>
                <a:spcPct val="100000"/>
              </a:lnSpc>
              <a:spcBef>
                <a:spcPts val="0"/>
              </a:spcBef>
              <a:defRPr sz="941"/>
            </a:lvl2pPr>
            <a:lvl3pPr>
              <a:lnSpc>
                <a:spcPct val="100000"/>
              </a:lnSpc>
              <a:spcBef>
                <a:spcPts val="0"/>
              </a:spcBef>
              <a:defRPr sz="855"/>
            </a:lvl3pPr>
            <a:lvl4pPr>
              <a:lnSpc>
                <a:spcPct val="100000"/>
              </a:lnSpc>
              <a:spcBef>
                <a:spcPts val="0"/>
              </a:spcBef>
              <a:defRPr sz="855"/>
            </a:lvl4pPr>
            <a:lvl5pPr>
              <a:lnSpc>
                <a:spcPct val="100000"/>
              </a:lnSpc>
              <a:spcBef>
                <a:spcPts val="0"/>
              </a:spcBef>
              <a:defRPr sz="855"/>
            </a:lvl5pPr>
          </a:lstStyle>
          <a:p>
            <a:pPr lvl="0"/>
            <a:r>
              <a:rPr lang="en-US" dirty="0" smtClean="0"/>
              <a:t>Put the text of the letter here</a:t>
            </a:r>
            <a:endParaRPr lang="en-US" dirty="0"/>
          </a:p>
        </p:txBody>
      </p:sp>
      <p:sp>
        <p:nvSpPr>
          <p:cNvPr id="13" name="BottomFooter"/>
          <p:cNvSpPr>
            <a:spLocks noGrp="1"/>
          </p:cNvSpPr>
          <p:nvPr>
            <p:ph type="body" sz="quarter" idx="18" hasCustomPrompt="1"/>
          </p:nvPr>
        </p:nvSpPr>
        <p:spPr>
          <a:xfrm>
            <a:off x="694274" y="6529701"/>
            <a:ext cx="8069308" cy="129686"/>
          </a:xfrm>
        </p:spPr>
        <p:txBody>
          <a:bodyPr/>
          <a:lstStyle>
            <a:lvl1pPr algn="l">
              <a:defRPr sz="599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footer text here, such as “A member firm of Ernst &amp; Young Global”</a:t>
            </a:r>
            <a:endParaRPr lang="en-US" dirty="0"/>
          </a:p>
        </p:txBody>
      </p:sp>
      <p:sp>
        <p:nvSpPr>
          <p:cNvPr id="10" name="LocalFirmNameAndAddress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94273" y="1865809"/>
            <a:ext cx="2244129" cy="1214032"/>
          </a:xfrm>
          <a:prstGeom prst="rect">
            <a:avLst/>
          </a:prstGeom>
        </p:spPr>
        <p:txBody>
          <a:bodyPr lIns="0" tIns="0" rIns="0" bIns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70" b="1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 sz="770" b="0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513"/>
              </a:spcBef>
              <a:spcAft>
                <a:spcPts val="513"/>
              </a:spcAft>
              <a:buNone/>
              <a:defRPr lang="en-US" sz="770" b="1" i="0" noProof="0" dirty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3pPr>
            <a:lvl4pPr>
              <a:lnSpc>
                <a:spcPct val="100000"/>
              </a:lnSpc>
              <a:spcAft>
                <a:spcPts val="513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lnSpc>
                <a:spcPct val="100000"/>
              </a:lnSpc>
              <a:spcAft>
                <a:spcPts val="513"/>
              </a:spcAft>
              <a:buFont typeface="Arial" pitchFamily="34" charset="0"/>
              <a:buChar char="─"/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Add the local firm name as a level 1 entry, then “indent” to level 2 for the address, then indent to level 3 for the ey.com.</a:t>
            </a:r>
          </a:p>
          <a:p>
            <a:pPr lvl="1"/>
            <a:r>
              <a:rPr lang="en-US" dirty="0" smtClean="0"/>
              <a:t>Address level</a:t>
            </a:r>
          </a:p>
          <a:p>
            <a:pPr lvl="2"/>
            <a:r>
              <a:rPr lang="en-US" dirty="0" smtClean="0"/>
              <a:t>ey.com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422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Bottom rule"/>
          <p:cNvCxnSpPr/>
          <p:nvPr userDrawn="1"/>
        </p:nvCxnSpPr>
        <p:spPr bwMode="gray">
          <a:xfrm>
            <a:off x="698505" y="6660826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cxnSp>
        <p:nvCxnSpPr>
          <p:cNvPr id="6" name="Top rule"/>
          <p:cNvCxnSpPr/>
          <p:nvPr userDrawn="1"/>
        </p:nvCxnSpPr>
        <p:spPr bwMode="gray">
          <a:xfrm>
            <a:off x="698505" y="391351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5" name="Filename_Subsec_Page"/>
          <p:cNvSpPr txBox="1"/>
          <p:nvPr userDrawn="1"/>
        </p:nvSpPr>
        <p:spPr>
          <a:xfrm>
            <a:off x="698505" y="6687673"/>
            <a:ext cx="10790355" cy="1296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eaLnBrk="0" fontAlgn="base" hangingPunct="0">
              <a:spcAft>
                <a:spcPct val="0"/>
              </a:spcAft>
              <a:defRPr/>
            </a:pPr>
            <a:r>
              <a:rPr lang="en-US" sz="599" b="1" dirty="0" smtClean="0">
                <a:solidFill>
                  <a:srgbClr val="808080"/>
                </a:solidFill>
              </a:rPr>
              <a:t>Page </a:t>
            </a:r>
            <a:fld id="{DEEFF633-18A4-4DB4-AB87-62FD3821FF1E}" type="slidenum">
              <a:rPr lang="en-US" sz="599" b="1" smtClean="0">
                <a:solidFill>
                  <a:srgbClr val="808080"/>
                </a:solidFill>
              </a:rPr>
              <a:pPr eaLnBrk="0" fontAlgn="base" hangingPunct="0">
                <a:spcAft>
                  <a:spcPct val="0"/>
                </a:spcAft>
                <a:defRPr/>
              </a:pPr>
              <a:t>‹#›</a:t>
            </a:fld>
            <a:r>
              <a:rPr lang="en-US" sz="599" dirty="0" smtClean="0">
                <a:solidFill>
                  <a:srgbClr val="808080"/>
                </a:solidFill>
              </a:rPr>
              <a:t> |</a:t>
            </a:r>
            <a:r>
              <a:rPr lang="en-US" sz="599" b="1" dirty="0" smtClean="0">
                <a:solidFill>
                  <a:srgbClr val="808080"/>
                </a:solidFill>
              </a:rPr>
              <a:t> </a:t>
            </a:r>
            <a:r>
              <a:rPr lang="ru-RU" sz="599" dirty="0" smtClean="0">
                <a:solidFill>
                  <a:srgbClr val="808080"/>
                </a:solidFill>
              </a:rPr>
              <a:t>Разработка Стратегии развития АО «Фонд недвижимости «</a:t>
            </a:r>
            <a:r>
              <a:rPr lang="ru-RU" sz="599" dirty="0" err="1" smtClean="0">
                <a:solidFill>
                  <a:srgbClr val="808080"/>
                </a:solidFill>
              </a:rPr>
              <a:t>Самрук-Қазына</a:t>
            </a:r>
            <a:r>
              <a:rPr lang="ru-RU" sz="599" dirty="0" smtClean="0">
                <a:solidFill>
                  <a:srgbClr val="808080"/>
                </a:solidFill>
              </a:rPr>
              <a:t>» на 2018–2027 гг.</a:t>
            </a:r>
            <a:r>
              <a:rPr lang="en-US" sz="599" dirty="0" smtClean="0">
                <a:solidFill>
                  <a:srgbClr val="808080"/>
                </a:solidFill>
              </a:rPr>
              <a:t> | </a:t>
            </a:r>
            <a:r>
              <a:rPr lang="ru-RU" sz="599" dirty="0" smtClean="0">
                <a:solidFill>
                  <a:srgbClr val="808080"/>
                </a:solidFill>
              </a:rPr>
              <a:t>Презентация по результатам услуг Этапа 1</a:t>
            </a:r>
            <a:r>
              <a:rPr lang="en-US" sz="599" dirty="0" smtClean="0">
                <a:solidFill>
                  <a:srgbClr val="808080"/>
                </a:solidFill>
              </a:rPr>
              <a:t> | </a:t>
            </a:r>
            <a:r>
              <a:rPr lang="en-US" sz="599" b="1" dirty="0" smtClean="0">
                <a:solidFill>
                  <a:srgbClr val="808080"/>
                </a:soli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3298180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2"/>
          </p:nvPr>
        </p:nvSpPr>
        <p:spPr>
          <a:xfrm>
            <a:off x="698505" y="1550889"/>
            <a:ext cx="10790355" cy="4850678"/>
          </a:xfrm>
        </p:spPr>
        <p:txBody>
          <a:bodyPr/>
          <a:lstStyle/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920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deta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3"/>
          <p:cNvSpPr>
            <a:spLocks noGrp="1"/>
          </p:cNvSpPr>
          <p:nvPr>
            <p:ph type="tbl" sz="quarter" idx="12"/>
          </p:nvPr>
        </p:nvSpPr>
        <p:spPr>
          <a:xfrm>
            <a:off x="698505" y="1550889"/>
            <a:ext cx="10790355" cy="4850678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en-US"/>
          </a:p>
        </p:txBody>
      </p:sp>
      <p:sp>
        <p:nvSpPr>
          <p:cNvPr id="7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3229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vider Image"/>
          <p:cNvSpPr>
            <a:spLocks/>
          </p:cNvSpPr>
          <p:nvPr userDrawn="1"/>
        </p:nvSpPr>
        <p:spPr bwMode="auto">
          <a:xfrm>
            <a:off x="0" y="1168"/>
            <a:ext cx="12192000" cy="5984011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59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941" dirty="0">
              <a:solidFill>
                <a:srgbClr val="646464"/>
              </a:solidFill>
            </a:endParaRPr>
          </a:p>
        </p:txBody>
      </p:sp>
      <p:sp>
        <p:nvSpPr>
          <p:cNvPr id="7" name="Cover Text 2"/>
          <p:cNvSpPr>
            <a:spLocks noGrp="1"/>
          </p:cNvSpPr>
          <p:nvPr>
            <p:ph type="subTitle" idx="11" hasCustomPrompt="1"/>
          </p:nvPr>
        </p:nvSpPr>
        <p:spPr>
          <a:xfrm>
            <a:off x="698507" y="2200073"/>
            <a:ext cx="5397493" cy="414676"/>
          </a:xfrm>
        </p:spPr>
        <p:txBody>
          <a:bodyPr tIns="0" bIns="0">
            <a:noAutofit/>
          </a:bodyPr>
          <a:lstStyle>
            <a:lvl1pPr marL="0" indent="0" algn="l">
              <a:lnSpc>
                <a:spcPts val="1283"/>
              </a:lnSpc>
              <a:spcBef>
                <a:spcPts val="0"/>
              </a:spcBef>
              <a:spcAft>
                <a:spcPts val="513"/>
              </a:spcAft>
              <a:buNone/>
              <a:defRPr sz="1197" baseline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368">
                <a:solidFill>
                  <a:srgbClr val="404040"/>
                </a:solidFill>
              </a:defRPr>
            </a:lvl2pPr>
            <a:lvl3pPr marL="781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72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63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54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45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36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27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Section subtitle</a:t>
            </a:r>
            <a:endParaRPr lang="en-GB" dirty="0"/>
          </a:p>
        </p:txBody>
      </p:sp>
      <p:sp>
        <p:nvSpPr>
          <p:cNvPr id="4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698651" y="341109"/>
            <a:ext cx="5397349" cy="1078159"/>
          </a:xfrm>
        </p:spPr>
        <p:txBody>
          <a:bodyPr/>
          <a:lstStyle>
            <a:lvl1pPr>
              <a:lnSpc>
                <a:spcPts val="7439"/>
              </a:lnSpc>
              <a:spcAft>
                <a:spcPts val="0"/>
              </a:spcAft>
              <a:defRPr sz="7183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6" name="Cover Text 1"/>
          <p:cNvSpPr>
            <a:spLocks noGrp="1"/>
          </p:cNvSpPr>
          <p:nvPr>
            <p:ph type="title" hasCustomPrompt="1"/>
          </p:nvPr>
        </p:nvSpPr>
        <p:spPr>
          <a:xfrm>
            <a:off x="698507" y="1436019"/>
            <a:ext cx="5397493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052"/>
              </a:lnSpc>
              <a:spcBef>
                <a:spcPts val="0"/>
              </a:spcBef>
              <a:defRPr sz="1796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3582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4491" userDrawn="1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with S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vider Gray"/>
          <p:cNvSpPr>
            <a:spLocks/>
          </p:cNvSpPr>
          <p:nvPr userDrawn="1"/>
        </p:nvSpPr>
        <p:spPr bwMode="auto">
          <a:xfrm>
            <a:off x="0" y="1"/>
            <a:ext cx="12192000" cy="5984011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941" dirty="0">
              <a:solidFill>
                <a:srgbClr val="646464"/>
              </a:solidFill>
            </a:endParaRPr>
          </a:p>
        </p:txBody>
      </p:sp>
      <p:sp>
        <p:nvSpPr>
          <p:cNvPr id="3" name="Mini-TOC"/>
          <p:cNvSpPr>
            <a:spLocks noGrp="1"/>
          </p:cNvSpPr>
          <p:nvPr>
            <p:ph type="tbl" sz="quarter" idx="13"/>
          </p:nvPr>
        </p:nvSpPr>
        <p:spPr>
          <a:xfrm>
            <a:off x="698506" y="2770180"/>
            <a:ext cx="5397351" cy="2263411"/>
          </a:xfrm>
        </p:spPr>
        <p:txBody>
          <a:bodyPr/>
          <a:lstStyle/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7" name="Cover Text 2"/>
          <p:cNvSpPr>
            <a:spLocks noGrp="1"/>
          </p:cNvSpPr>
          <p:nvPr>
            <p:ph type="subTitle" idx="11" hasCustomPrompt="1"/>
          </p:nvPr>
        </p:nvSpPr>
        <p:spPr>
          <a:xfrm>
            <a:off x="698507" y="2200073"/>
            <a:ext cx="5397493" cy="414676"/>
          </a:xfrm>
        </p:spPr>
        <p:txBody>
          <a:bodyPr tIns="0" bIns="0">
            <a:noAutofit/>
          </a:bodyPr>
          <a:lstStyle>
            <a:lvl1pPr marL="0" indent="0" algn="l">
              <a:lnSpc>
                <a:spcPts val="1283"/>
              </a:lnSpc>
              <a:spcBef>
                <a:spcPts val="0"/>
              </a:spcBef>
              <a:spcAft>
                <a:spcPts val="513"/>
              </a:spcAft>
              <a:buNone/>
              <a:defRPr sz="1197" baseline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368">
                <a:solidFill>
                  <a:srgbClr val="404040"/>
                </a:solidFill>
              </a:defRPr>
            </a:lvl2pPr>
            <a:lvl3pPr marL="781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72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63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54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45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36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27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Section subtitle</a:t>
            </a:r>
            <a:endParaRPr lang="en-GB" dirty="0"/>
          </a:p>
        </p:txBody>
      </p:sp>
      <p:sp>
        <p:nvSpPr>
          <p:cNvPr id="8" name="Cover Text 1"/>
          <p:cNvSpPr>
            <a:spLocks noGrp="1"/>
          </p:cNvSpPr>
          <p:nvPr>
            <p:ph type="title" hasCustomPrompt="1"/>
          </p:nvPr>
        </p:nvSpPr>
        <p:spPr>
          <a:xfrm>
            <a:off x="698507" y="1436019"/>
            <a:ext cx="5397493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052"/>
              </a:lnSpc>
              <a:spcBef>
                <a:spcPts val="0"/>
              </a:spcBef>
              <a:defRPr sz="1796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9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698651" y="341109"/>
            <a:ext cx="5397349" cy="1078159"/>
          </a:xfrm>
        </p:spPr>
        <p:txBody>
          <a:bodyPr/>
          <a:lstStyle>
            <a:lvl1pPr>
              <a:lnSpc>
                <a:spcPts val="7439"/>
              </a:lnSpc>
              <a:spcAft>
                <a:spcPts val="0"/>
              </a:spcAft>
              <a:defRPr sz="7183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731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12" y="1442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>
          <a:xfrm>
            <a:off x="698503" y="539081"/>
            <a:ext cx="8861644" cy="17416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0898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full-page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sz="quarter" idx="12" hasCustomPrompt="1"/>
          </p:nvPr>
        </p:nvSpPr>
        <p:spPr>
          <a:xfrm>
            <a:off x="698505" y="1550891"/>
            <a:ext cx="10790355" cy="4561441"/>
          </a:xfrm>
        </p:spPr>
        <p:txBody>
          <a:bodyPr numCol="1" spcCol="0"/>
          <a:lstStyle>
            <a:lvl1pPr>
              <a:defRPr/>
            </a:lvl1pPr>
            <a:lvl5pPr>
              <a:buAutoNum type="arabicPeriod"/>
              <a:defRPr/>
            </a:lvl5pPr>
          </a:lstStyle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</p:txBody>
      </p:sp>
      <p:sp>
        <p:nvSpPr>
          <p:cNvPr id="5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433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detail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3"/>
          <p:cNvSpPr>
            <a:spLocks noGrp="1"/>
          </p:cNvSpPr>
          <p:nvPr>
            <p:ph type="tbl" sz="quarter" idx="12"/>
          </p:nvPr>
        </p:nvSpPr>
        <p:spPr>
          <a:xfrm>
            <a:off x="698505" y="1550889"/>
            <a:ext cx="10790355" cy="4850678"/>
          </a:xfrm>
        </p:spPr>
        <p:txBody>
          <a:bodyPr/>
          <a:lstStyle/>
          <a:p>
            <a:r>
              <a:rPr lang="en-US" dirty="0" smtClean="0"/>
              <a:t>Click icon to add table</a:t>
            </a:r>
            <a:endParaRPr lang="en-US" dirty="0"/>
          </a:p>
        </p:txBody>
      </p:sp>
      <p:sp>
        <p:nvSpPr>
          <p:cNvPr id="7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6793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full-page 2 snaking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698505" y="1550891"/>
            <a:ext cx="10790355" cy="4561441"/>
          </a:xfrm>
        </p:spPr>
        <p:txBody>
          <a:bodyPr numCol="2" spcCol="109728"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0"/>
            <a:endParaRPr lang="en-US" dirty="0"/>
          </a:p>
        </p:txBody>
      </p:sp>
      <p:sp>
        <p:nvSpPr>
          <p:cNvPr id="6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22725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full-page 3 snaking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"/>
          <p:cNvSpPr>
            <a:spLocks noGrp="1"/>
          </p:cNvSpPr>
          <p:nvPr>
            <p:ph sz="quarter" idx="16" hasCustomPrompt="1"/>
          </p:nvPr>
        </p:nvSpPr>
        <p:spPr>
          <a:xfrm>
            <a:off x="698505" y="1550891"/>
            <a:ext cx="10792888" cy="4557121"/>
          </a:xfrm>
        </p:spPr>
        <p:txBody>
          <a:bodyPr numCol="3" spcCol="109728"/>
          <a:lstStyle>
            <a:lvl5pPr>
              <a:buClrTx/>
              <a:defRPr/>
            </a:lvl5pPr>
          </a:lstStyle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0"/>
            <a:endParaRPr lang="en-US" dirty="0"/>
          </a:p>
        </p:txBody>
      </p:sp>
      <p:sp>
        <p:nvSpPr>
          <p:cNvPr id="5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5111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67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"/>
          <p:cNvSpPr>
            <a:spLocks noGrp="1"/>
          </p:cNvSpPr>
          <p:nvPr>
            <p:ph sz="quarter" idx="17" hasCustomPrompt="1"/>
          </p:nvPr>
        </p:nvSpPr>
        <p:spPr>
          <a:xfrm>
            <a:off x="4326567" y="1550891"/>
            <a:ext cx="7162293" cy="4557121"/>
          </a:xfrm>
        </p:spPr>
        <p:txBody>
          <a:bodyPr numCol="2" spcCol="109728"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0"/>
            <a:endParaRPr lang="en-US" dirty="0"/>
          </a:p>
        </p:txBody>
      </p:sp>
      <p:sp>
        <p:nvSpPr>
          <p:cNvPr id="5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89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33-67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sz="quarter" idx="17" hasCustomPrompt="1"/>
          </p:nvPr>
        </p:nvSpPr>
        <p:spPr>
          <a:xfrm>
            <a:off x="4326567" y="1550891"/>
            <a:ext cx="7162293" cy="4557121"/>
          </a:xfrm>
        </p:spPr>
        <p:txBody>
          <a:bodyPr numCol="1" spcCol="109728"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0"/>
            <a:endParaRPr lang="en-US" dirty="0"/>
          </a:p>
        </p:txBody>
      </p:sp>
      <p:sp>
        <p:nvSpPr>
          <p:cNvPr id="5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156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67-3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7985905" y="1550891"/>
            <a:ext cx="3502956" cy="456144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sz="quarter" idx="16" hasCustomPrompt="1"/>
          </p:nvPr>
        </p:nvSpPr>
        <p:spPr>
          <a:xfrm>
            <a:off x="698506" y="1550891"/>
            <a:ext cx="7162293" cy="4561441"/>
          </a:xfrm>
        </p:spPr>
        <p:txBody>
          <a:bodyPr numCol="2" spcCol="109728"/>
          <a:lstStyle>
            <a:lvl9pPr>
              <a:defRPr/>
            </a:lvl9pPr>
          </a:lstStyle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</a:p>
          <a:p>
            <a:pPr lvl="8"/>
            <a:endParaRPr lang="en-US" dirty="0"/>
          </a:p>
        </p:txBody>
      </p:sp>
      <p:sp>
        <p:nvSpPr>
          <p:cNvPr id="6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319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page – 50-50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Content Placeholder 2"/>
          <p:cNvSpPr>
            <a:spLocks noGrp="1"/>
          </p:cNvSpPr>
          <p:nvPr>
            <p:ph sz="quarter" idx="17" hasCustomPrompt="1"/>
          </p:nvPr>
        </p:nvSpPr>
        <p:spPr>
          <a:xfrm>
            <a:off x="6161449" y="1550891"/>
            <a:ext cx="5327412" cy="455712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15" name="Content Placeholder 1"/>
          <p:cNvSpPr>
            <a:spLocks noGrp="1"/>
          </p:cNvSpPr>
          <p:nvPr>
            <p:ph sz="quarter" idx="16" hasCustomPrompt="1"/>
          </p:nvPr>
        </p:nvSpPr>
        <p:spPr>
          <a:xfrm>
            <a:off x="698506" y="1550891"/>
            <a:ext cx="5337837" cy="455712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6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557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sz="quarter" idx="18" hasCustomPrompt="1"/>
            <p:custDataLst>
              <p:tags r:id="rId1"/>
            </p:custDataLst>
          </p:nvPr>
        </p:nvSpPr>
        <p:spPr>
          <a:xfrm>
            <a:off x="9799935" y="1550891"/>
            <a:ext cx="1688925" cy="456144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sz="quarter" idx="17" hasCustomPrompt="1"/>
          </p:nvPr>
        </p:nvSpPr>
        <p:spPr>
          <a:xfrm>
            <a:off x="2512536" y="1550891"/>
            <a:ext cx="7162293" cy="456144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6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here to edit the banner headline for this page</a:t>
            </a:r>
            <a:endParaRPr lang="en-US" dirty="0"/>
          </a:p>
        </p:txBody>
      </p:sp>
      <p:sp>
        <p:nvSpPr>
          <p:cNvPr id="2" name="Title Headlin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08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7142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Mini-TOC"/>
          <p:cNvSpPr>
            <a:spLocks noGrp="1"/>
          </p:cNvSpPr>
          <p:nvPr>
            <p:ph type="tbl" sz="quarter" idx="13"/>
          </p:nvPr>
        </p:nvSpPr>
        <p:spPr>
          <a:xfrm>
            <a:off x="7975481" y="563961"/>
            <a:ext cx="3514249" cy="62201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Column 12"/>
          <p:cNvSpPr/>
          <p:nvPr userDrawn="1"/>
        </p:nvSpPr>
        <p:spPr>
          <a:xfrm>
            <a:off x="10706951" y="1550890"/>
            <a:ext cx="788211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0" name="Gutter 11"/>
          <p:cNvSpPr/>
          <p:nvPr userDrawn="1"/>
        </p:nvSpPr>
        <p:spPr>
          <a:xfrm>
            <a:off x="10581846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6" name="Column 11"/>
          <p:cNvSpPr/>
          <p:nvPr userDrawn="1"/>
        </p:nvSpPr>
        <p:spPr>
          <a:xfrm>
            <a:off x="9799936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1" name="Gutter 10"/>
          <p:cNvSpPr/>
          <p:nvPr userDrawn="1"/>
        </p:nvSpPr>
        <p:spPr>
          <a:xfrm>
            <a:off x="9674830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0" name="Column 10"/>
          <p:cNvSpPr/>
          <p:nvPr userDrawn="1"/>
        </p:nvSpPr>
        <p:spPr>
          <a:xfrm>
            <a:off x="8892920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2" name="Gutter 9"/>
          <p:cNvSpPr/>
          <p:nvPr userDrawn="1"/>
        </p:nvSpPr>
        <p:spPr>
          <a:xfrm>
            <a:off x="8767815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1" name="Column 9"/>
          <p:cNvSpPr/>
          <p:nvPr userDrawn="1"/>
        </p:nvSpPr>
        <p:spPr>
          <a:xfrm>
            <a:off x="7985906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3" name="Gutter 8"/>
          <p:cNvSpPr/>
          <p:nvPr userDrawn="1"/>
        </p:nvSpPr>
        <p:spPr>
          <a:xfrm>
            <a:off x="7860799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2" name="Column 8"/>
          <p:cNvSpPr/>
          <p:nvPr userDrawn="1"/>
        </p:nvSpPr>
        <p:spPr>
          <a:xfrm>
            <a:off x="7078889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4" name="Gutter 7"/>
          <p:cNvSpPr/>
          <p:nvPr userDrawn="1"/>
        </p:nvSpPr>
        <p:spPr>
          <a:xfrm>
            <a:off x="6953784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3" name="Column 7"/>
          <p:cNvSpPr/>
          <p:nvPr userDrawn="1"/>
        </p:nvSpPr>
        <p:spPr>
          <a:xfrm>
            <a:off x="6161450" y="1550890"/>
            <a:ext cx="792335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5" name="Gutter 6"/>
          <p:cNvSpPr/>
          <p:nvPr userDrawn="1"/>
        </p:nvSpPr>
        <p:spPr>
          <a:xfrm>
            <a:off x="6036343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4" name="Column 6"/>
          <p:cNvSpPr/>
          <p:nvPr userDrawn="1"/>
        </p:nvSpPr>
        <p:spPr>
          <a:xfrm>
            <a:off x="5244009" y="1550890"/>
            <a:ext cx="792335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6" name="Gutter 5"/>
          <p:cNvSpPr/>
          <p:nvPr userDrawn="1"/>
        </p:nvSpPr>
        <p:spPr>
          <a:xfrm>
            <a:off x="5118903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5" name="Column 5"/>
          <p:cNvSpPr/>
          <p:nvPr userDrawn="1"/>
        </p:nvSpPr>
        <p:spPr>
          <a:xfrm>
            <a:off x="4326569" y="1550890"/>
            <a:ext cx="792335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7" name="Gutter 4"/>
          <p:cNvSpPr/>
          <p:nvPr userDrawn="1"/>
        </p:nvSpPr>
        <p:spPr>
          <a:xfrm>
            <a:off x="4201462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6" name="Column 4"/>
          <p:cNvSpPr/>
          <p:nvPr userDrawn="1"/>
        </p:nvSpPr>
        <p:spPr>
          <a:xfrm>
            <a:off x="3419552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8" name="Gutter 3"/>
          <p:cNvSpPr/>
          <p:nvPr userDrawn="1"/>
        </p:nvSpPr>
        <p:spPr>
          <a:xfrm>
            <a:off x="3294447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7" name="Column 3"/>
          <p:cNvSpPr/>
          <p:nvPr userDrawn="1"/>
        </p:nvSpPr>
        <p:spPr>
          <a:xfrm>
            <a:off x="2512538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29" name="Gutter 2"/>
          <p:cNvSpPr/>
          <p:nvPr userDrawn="1"/>
        </p:nvSpPr>
        <p:spPr>
          <a:xfrm>
            <a:off x="2387431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8" name="Column 2"/>
          <p:cNvSpPr/>
          <p:nvPr userDrawn="1"/>
        </p:nvSpPr>
        <p:spPr>
          <a:xfrm>
            <a:off x="1605522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30" name="Gutter 1"/>
          <p:cNvSpPr/>
          <p:nvPr userDrawn="1"/>
        </p:nvSpPr>
        <p:spPr>
          <a:xfrm>
            <a:off x="1480416" y="1550890"/>
            <a:ext cx="125197" cy="4850679"/>
          </a:xfrm>
          <a:prstGeom prst="rect">
            <a:avLst/>
          </a:prstGeom>
          <a:solidFill>
            <a:srgbClr val="7FD1D6"/>
          </a:solidFill>
          <a:ln>
            <a:noFill/>
          </a:ln>
        </p:spPr>
        <p:txBody>
          <a:bodyPr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19" name="Column 1"/>
          <p:cNvSpPr/>
          <p:nvPr userDrawn="1"/>
        </p:nvSpPr>
        <p:spPr>
          <a:xfrm>
            <a:off x="698650" y="1550890"/>
            <a:ext cx="781909" cy="485067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eaLnBrk="0" fontAlgn="base" hangingPunct="0"/>
            <a:endParaRPr lang="en-US" sz="941" dirty="0" smtClean="0">
              <a:solidFill>
                <a:srgbClr val="000000"/>
              </a:solidFill>
              <a:latin typeface="Arial Narrow" pitchFamily="34" charset="0"/>
              <a:ea typeface="Arial"/>
              <a:cs typeface="Times New Roman"/>
            </a:endParaRPr>
          </a:p>
        </p:txBody>
      </p:sp>
      <p:sp>
        <p:nvSpPr>
          <p:cNvPr id="3" name="Title Headlin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Do not send to a client. Add a slide with this master to get this grid.</a:t>
            </a:r>
          </a:p>
        </p:txBody>
      </p:sp>
      <p:sp>
        <p:nvSpPr>
          <p:cNvPr id="31" name="Title Headline 2"/>
          <p:cNvSpPr>
            <a:spLocks noGrp="1"/>
          </p:cNvSpPr>
          <p:nvPr>
            <p:ph type="body" sz="quarter" idx="10" hasCustomPrompt="1"/>
          </p:nvPr>
        </p:nvSpPr>
        <p:spPr>
          <a:xfrm>
            <a:off x="698505" y="721785"/>
            <a:ext cx="6943361" cy="480777"/>
          </a:xfrm>
        </p:spPr>
        <p:txBody>
          <a:bodyPr lIns="137160"/>
          <a:lstStyle>
            <a:lvl1pPr>
              <a:defRPr sz="1197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Use this slide to arrange items so that they fit neatly into this grid. Press ALT-F9 to toggle column and margin guides on and off. </a:t>
            </a:r>
          </a:p>
        </p:txBody>
      </p:sp>
    </p:spTree>
    <p:extLst>
      <p:ext uri="{BB962C8B-B14F-4D97-AF65-F5344CB8AC3E}">
        <p14:creationId xmlns:p14="http://schemas.microsoft.com/office/powerpoint/2010/main" val="363987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01600"/>
            <a:ext cx="10977033" cy="860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25599"/>
            <a:ext cx="10972800" cy="46989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623723" y="6496184"/>
            <a:ext cx="1584960" cy="20116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1 January 2014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51200" y="6496184"/>
            <a:ext cx="4579200" cy="201168"/>
          </a:xfrm>
          <a:prstGeom prst="rect">
            <a:avLst/>
          </a:prstGeom>
        </p:spPr>
        <p:txBody>
          <a:bodyPr/>
          <a:lstStyle/>
          <a:p>
            <a:r>
              <a:rPr lang="en-GB" smtClean="0"/>
              <a:t>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3001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vider Image"/>
          <p:cNvSpPr>
            <a:spLocks/>
          </p:cNvSpPr>
          <p:nvPr userDrawn="1"/>
        </p:nvSpPr>
        <p:spPr bwMode="auto">
          <a:xfrm>
            <a:off x="0" y="1168"/>
            <a:ext cx="12192000" cy="5984011"/>
          </a:xfrm>
          <a:custGeom>
            <a:avLst/>
            <a:gdLst>
              <a:gd name="T0" fmla="*/ 0 w 6736"/>
              <a:gd name="T1" fmla="*/ 0 h 4156"/>
              <a:gd name="T2" fmla="*/ 0 w 6736"/>
              <a:gd name="T3" fmla="*/ 4156 h 4156"/>
              <a:gd name="T4" fmla="*/ 6736 w 6736"/>
              <a:gd name="T5" fmla="*/ 2968 h 4156"/>
              <a:gd name="T6" fmla="*/ 6736 w 6736"/>
              <a:gd name="T7" fmla="*/ 0 h 4156"/>
              <a:gd name="T8" fmla="*/ 0 w 6736"/>
              <a:gd name="T9" fmla="*/ 0 h 4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736" h="4156">
                <a:moveTo>
                  <a:pt x="0" y="0"/>
                </a:moveTo>
                <a:lnTo>
                  <a:pt x="0" y="4156"/>
                </a:lnTo>
                <a:lnTo>
                  <a:pt x="6736" y="2968"/>
                </a:lnTo>
                <a:lnTo>
                  <a:pt x="6736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59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78191" tIns="39095" rIns="78191" bIns="39095" numCol="1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941" dirty="0">
              <a:solidFill>
                <a:srgbClr val="646464"/>
              </a:solidFill>
            </a:endParaRPr>
          </a:p>
        </p:txBody>
      </p:sp>
      <p:sp>
        <p:nvSpPr>
          <p:cNvPr id="7" name="Cover Text 2"/>
          <p:cNvSpPr>
            <a:spLocks noGrp="1"/>
          </p:cNvSpPr>
          <p:nvPr>
            <p:ph type="subTitle" idx="11" hasCustomPrompt="1"/>
          </p:nvPr>
        </p:nvSpPr>
        <p:spPr>
          <a:xfrm>
            <a:off x="698507" y="2200073"/>
            <a:ext cx="5397493" cy="414676"/>
          </a:xfrm>
        </p:spPr>
        <p:txBody>
          <a:bodyPr tIns="0" bIns="0">
            <a:noAutofit/>
          </a:bodyPr>
          <a:lstStyle>
            <a:lvl1pPr marL="0" indent="0" algn="l">
              <a:lnSpc>
                <a:spcPts val="1283"/>
              </a:lnSpc>
              <a:spcBef>
                <a:spcPts val="0"/>
              </a:spcBef>
              <a:spcAft>
                <a:spcPts val="513"/>
              </a:spcAft>
              <a:buNone/>
              <a:defRPr sz="1197" baseline="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368">
                <a:solidFill>
                  <a:srgbClr val="404040"/>
                </a:solidFill>
              </a:defRPr>
            </a:lvl2pPr>
            <a:lvl3pPr marL="7819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72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63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54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45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36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27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Section subtitle</a:t>
            </a:r>
            <a:endParaRPr lang="en-GB" dirty="0"/>
          </a:p>
        </p:txBody>
      </p:sp>
      <p:sp>
        <p:nvSpPr>
          <p:cNvPr id="4" name="Section No"/>
          <p:cNvSpPr>
            <a:spLocks noGrp="1"/>
          </p:cNvSpPr>
          <p:nvPr>
            <p:ph type="body" sz="quarter" idx="12" hasCustomPrompt="1"/>
          </p:nvPr>
        </p:nvSpPr>
        <p:spPr>
          <a:xfrm>
            <a:off x="698651" y="341109"/>
            <a:ext cx="5397349" cy="1078159"/>
          </a:xfrm>
        </p:spPr>
        <p:txBody>
          <a:bodyPr/>
          <a:lstStyle>
            <a:lvl1pPr>
              <a:lnSpc>
                <a:spcPts val="7439"/>
              </a:lnSpc>
              <a:spcAft>
                <a:spcPts val="0"/>
              </a:spcAft>
              <a:defRPr sz="7183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6" name="Cover Text 1"/>
          <p:cNvSpPr>
            <a:spLocks noGrp="1"/>
          </p:cNvSpPr>
          <p:nvPr>
            <p:ph type="title" hasCustomPrompt="1"/>
          </p:nvPr>
        </p:nvSpPr>
        <p:spPr>
          <a:xfrm>
            <a:off x="698507" y="1436019"/>
            <a:ext cx="5397493" cy="583991"/>
          </a:xfrm>
          <a:prstGeom prst="rect">
            <a:avLst/>
          </a:prstGeom>
        </p:spPr>
        <p:txBody>
          <a:bodyPr lIns="0" anchor="t">
            <a:noAutofit/>
          </a:bodyPr>
          <a:lstStyle>
            <a:lvl1pPr>
              <a:lnSpc>
                <a:spcPts val="2052"/>
              </a:lnSpc>
              <a:spcBef>
                <a:spcPts val="0"/>
              </a:spcBef>
              <a:defRPr sz="1796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5960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4491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3413" y="757504"/>
            <a:ext cx="7320000" cy="860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3413" y="1753200"/>
            <a:ext cx="73200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0" y="2403073"/>
            <a:ext cx="12192000" cy="3347943"/>
            <a:chOff x="0" y="2403072"/>
            <a:chExt cx="9144000" cy="3347943"/>
          </a:xfrm>
        </p:grpSpPr>
        <p:sp>
          <p:nvSpPr>
            <p:cNvPr id="5" name="Freeform 8"/>
            <p:cNvSpPr>
              <a:spLocks/>
            </p:cNvSpPr>
            <p:nvPr userDrawn="1"/>
          </p:nvSpPr>
          <p:spPr bwMode="gray">
            <a:xfrm>
              <a:off x="2279115" y="2403072"/>
              <a:ext cx="6864885" cy="249308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pic>
          <p:nvPicPr>
            <p:cNvPr id="6" name="Picture 3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4408610"/>
              <a:ext cx="2289301" cy="13424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7" name="Picture 6" descr="EY_Logo_Tag_Stacked_RGB_RUS.wmf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727" y="5748934"/>
            <a:ext cx="2013496" cy="74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390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609600" y="1044000"/>
            <a:ext cx="1097280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609600" y="6242400"/>
            <a:ext cx="109728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0794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6"/>
          <p:cNvSpPr>
            <a:spLocks noChangeArrowheads="1"/>
          </p:cNvSpPr>
          <p:nvPr/>
        </p:nvSpPr>
        <p:spPr bwMode="auto">
          <a:xfrm rot="5400000">
            <a:off x="391320" y="762795"/>
            <a:ext cx="3313112" cy="4095751"/>
          </a:xfrm>
          <a:prstGeom prst="triangle">
            <a:avLst>
              <a:gd name="adj" fmla="val 60227"/>
            </a:avLst>
          </a:prstGeom>
          <a:blipFill dpi="0" rotWithShape="0">
            <a:blip r:embed="rId2" cstate="print"/>
            <a:srcRect/>
            <a:stretch>
              <a:fillRect r="-11536"/>
            </a:stretch>
          </a:blipFill>
          <a:ln w="9525">
            <a:noFill/>
            <a:miter lim="800000"/>
            <a:headEnd/>
            <a:tailEnd/>
          </a:ln>
          <a:effectLst/>
        </p:spPr>
        <p:txBody>
          <a:bodyPr wrap="none" lIns="91424" tIns="45712" rIns="91424" bIns="4571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b="1">
              <a:solidFill>
                <a:srgbClr val="646464"/>
              </a:solidFill>
            </a:endParaRPr>
          </a:p>
        </p:txBody>
      </p:sp>
      <p:sp>
        <p:nvSpPr>
          <p:cNvPr id="5" name="AutoShape 8"/>
          <p:cNvSpPr>
            <a:spLocks noChangeArrowheads="1"/>
          </p:cNvSpPr>
          <p:nvPr userDrawn="1"/>
        </p:nvSpPr>
        <p:spPr bwMode="auto">
          <a:xfrm rot="5400000">
            <a:off x="391320" y="762795"/>
            <a:ext cx="3313112" cy="4095751"/>
          </a:xfrm>
          <a:prstGeom prst="triangle">
            <a:avLst>
              <a:gd name="adj" fmla="val 60227"/>
            </a:avLst>
          </a:prstGeom>
          <a:blipFill dpi="0" rotWithShape="0">
            <a:blip r:embed="rId3" cstate="print"/>
            <a:srcRect/>
            <a:stretch>
              <a:fillRect r="-61941"/>
            </a:stretch>
          </a:blipFill>
          <a:ln w="9525">
            <a:noFill/>
            <a:miter lim="800000"/>
            <a:headEnd/>
            <a:tailEnd/>
          </a:ln>
          <a:effectLst/>
        </p:spPr>
        <p:txBody>
          <a:bodyPr wrap="none" lIns="91424" tIns="45712" rIns="91424" bIns="4571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b="1">
              <a:solidFill>
                <a:srgbClr val="646464"/>
              </a:solidFill>
            </a:endParaRPr>
          </a:p>
        </p:txBody>
      </p:sp>
      <p:sp>
        <p:nvSpPr>
          <p:cNvPr id="6" name="Freeform 10"/>
          <p:cNvSpPr>
            <a:spLocks/>
          </p:cNvSpPr>
          <p:nvPr userDrawn="1"/>
        </p:nvSpPr>
        <p:spPr bwMode="auto">
          <a:xfrm>
            <a:off x="4099985" y="565150"/>
            <a:ext cx="8089900" cy="2586038"/>
          </a:xfrm>
          <a:custGeom>
            <a:avLst/>
            <a:gdLst>
              <a:gd name="T0" fmla="*/ 0 w 3822"/>
              <a:gd name="T1" fmla="*/ 1629 h 1629"/>
              <a:gd name="T2" fmla="*/ 3822 w 3822"/>
              <a:gd name="T3" fmla="*/ 0 h 1629"/>
              <a:gd name="T4" fmla="*/ 3822 w 3822"/>
              <a:gd name="T5" fmla="*/ 492 h 1629"/>
              <a:gd name="T6" fmla="*/ 0 w 3822"/>
              <a:gd name="T7" fmla="*/ 1629 h 162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3822" h="1629">
                <a:moveTo>
                  <a:pt x="0" y="1629"/>
                </a:moveTo>
                <a:lnTo>
                  <a:pt x="3822" y="0"/>
                </a:lnTo>
                <a:lnTo>
                  <a:pt x="3822" y="492"/>
                </a:lnTo>
                <a:lnTo>
                  <a:pt x="0" y="162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b="1" smtClean="0">
              <a:solidFill>
                <a:srgbClr val="646464"/>
              </a:solidFill>
            </a:endParaRPr>
          </a:p>
        </p:txBody>
      </p:sp>
      <p:pic>
        <p:nvPicPr>
          <p:cNvPr id="7" name="Picture 18" descr="logo_black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1351" y="6364288"/>
            <a:ext cx="21463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78818" y="3457576"/>
            <a:ext cx="7389283" cy="908050"/>
          </a:xfrm>
        </p:spPr>
        <p:txBody>
          <a:bodyPr tIns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626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083052" y="4354515"/>
            <a:ext cx="7389283" cy="1019175"/>
          </a:xfrm>
        </p:spPr>
        <p:txBody>
          <a:bodyPr/>
          <a:lstStyle>
            <a:lvl1pPr marL="0" indent="0">
              <a:lnSpc>
                <a:spcPct val="85000"/>
              </a:lnSpc>
              <a:buFont typeface="Arial" charset="0"/>
              <a:buNone/>
              <a:defRPr sz="200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9612827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0"/>
          <p:cNvSpPr>
            <a:spLocks/>
          </p:cNvSpPr>
          <p:nvPr/>
        </p:nvSpPr>
        <p:spPr bwMode="auto">
          <a:xfrm>
            <a:off x="4106333" y="552450"/>
            <a:ext cx="8077200" cy="2590800"/>
          </a:xfrm>
          <a:custGeom>
            <a:avLst/>
            <a:gdLst>
              <a:gd name="T0" fmla="*/ 0 w 3816"/>
              <a:gd name="T1" fmla="*/ 1632 h 1632"/>
              <a:gd name="T2" fmla="*/ 3816 w 3816"/>
              <a:gd name="T3" fmla="*/ 0 h 1632"/>
              <a:gd name="T4" fmla="*/ 3816 w 3816"/>
              <a:gd name="T5" fmla="*/ 496 h 1632"/>
              <a:gd name="T6" fmla="*/ 0 w 3816"/>
              <a:gd name="T7" fmla="*/ 1632 h 1632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3816" h="1632">
                <a:moveTo>
                  <a:pt x="0" y="1632"/>
                </a:moveTo>
                <a:lnTo>
                  <a:pt x="3816" y="0"/>
                </a:lnTo>
                <a:lnTo>
                  <a:pt x="3816" y="496"/>
                </a:lnTo>
                <a:lnTo>
                  <a:pt x="0" y="163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b="1" smtClean="0">
              <a:solidFill>
                <a:srgbClr val="646464"/>
              </a:solidFill>
            </a:endParaRPr>
          </a:p>
        </p:txBody>
      </p:sp>
      <p:pic>
        <p:nvPicPr>
          <p:cNvPr id="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233" y="6027739"/>
            <a:ext cx="1111251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utoShape 6" descr="Sml_Motion_Input"/>
          <p:cNvSpPr>
            <a:spLocks noChangeArrowheads="1"/>
          </p:cNvSpPr>
          <p:nvPr userDrawn="1"/>
        </p:nvSpPr>
        <p:spPr bwMode="gray">
          <a:xfrm rot="5400000">
            <a:off x="382853" y="771261"/>
            <a:ext cx="3313112" cy="4078817"/>
          </a:xfrm>
          <a:prstGeom prst="triangle">
            <a:avLst>
              <a:gd name="adj" fmla="val 60231"/>
            </a:avLst>
          </a:prstGeom>
          <a:blipFill dpi="0" rotWithShape="0">
            <a:blip r:embed="rId3"/>
            <a:srcRect/>
            <a:tile tx="0" ty="0" sx="100000" sy="100000" flip="none" algn="tl"/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anchor="ctr"/>
          <a:lstStyle>
            <a:lvl1pPr defTabSz="995363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defTabSz="995363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995363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defTabSz="995363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defTabSz="995363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4413" indent="1588" defTabSz="9953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1613" indent="1588" defTabSz="9953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98813" indent="1588" defTabSz="9953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6013" indent="1588" defTabSz="9953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1400" smtClean="0">
              <a:solidFill>
                <a:srgbClr val="646464"/>
              </a:solidFill>
              <a:latin typeface="EYInterstate Regular" panose="02000503020000020004" pitchFamily="2" charset="0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78817" y="3457575"/>
            <a:ext cx="7389283" cy="908050"/>
          </a:xfrm>
        </p:spPr>
        <p:txBody>
          <a:bodyPr tIns="0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083050" y="4354514"/>
            <a:ext cx="7389283" cy="101917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marL="0" indent="0">
              <a:lnSpc>
                <a:spcPct val="85000"/>
              </a:lnSpc>
              <a:buFont typeface="Arial" pitchFamily="34" charset="0"/>
              <a:buNone/>
              <a:defRPr sz="2000"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75750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08489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0472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765739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6"/>
          <p:cNvSpPr>
            <a:spLocks noChangeArrowheads="1"/>
          </p:cNvSpPr>
          <p:nvPr/>
        </p:nvSpPr>
        <p:spPr bwMode="auto">
          <a:xfrm rot="5400000">
            <a:off x="391320" y="762795"/>
            <a:ext cx="3313112" cy="4095751"/>
          </a:xfrm>
          <a:prstGeom prst="triangle">
            <a:avLst>
              <a:gd name="adj" fmla="val 60227"/>
            </a:avLst>
          </a:prstGeom>
          <a:blipFill dpi="0" rotWithShape="0">
            <a:blip r:embed="rId2" cstate="print"/>
            <a:srcRect/>
            <a:stretch>
              <a:fillRect r="-11536"/>
            </a:stretch>
          </a:blipFill>
          <a:ln w="9525">
            <a:noFill/>
            <a:miter lim="800000"/>
            <a:headEnd/>
            <a:tailEnd/>
          </a:ln>
          <a:effectLst/>
        </p:spPr>
        <p:txBody>
          <a:bodyPr wrap="none" lIns="91424" tIns="45712" rIns="91424" bIns="4571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b="1">
              <a:solidFill>
                <a:srgbClr val="646464"/>
              </a:solidFill>
            </a:endParaRPr>
          </a:p>
        </p:txBody>
      </p:sp>
      <p:sp>
        <p:nvSpPr>
          <p:cNvPr id="5" name="AutoShape 8"/>
          <p:cNvSpPr>
            <a:spLocks noChangeArrowheads="1"/>
          </p:cNvSpPr>
          <p:nvPr userDrawn="1"/>
        </p:nvSpPr>
        <p:spPr bwMode="auto">
          <a:xfrm rot="5400000">
            <a:off x="391320" y="762795"/>
            <a:ext cx="3313112" cy="4095751"/>
          </a:xfrm>
          <a:prstGeom prst="triangle">
            <a:avLst>
              <a:gd name="adj" fmla="val 60227"/>
            </a:avLst>
          </a:prstGeom>
          <a:blipFill dpi="0" rotWithShape="0">
            <a:blip r:embed="rId3" cstate="print"/>
            <a:srcRect/>
            <a:stretch>
              <a:fillRect r="-61941"/>
            </a:stretch>
          </a:blipFill>
          <a:ln w="9525">
            <a:noFill/>
            <a:miter lim="800000"/>
            <a:headEnd/>
            <a:tailEnd/>
          </a:ln>
          <a:effectLst/>
        </p:spPr>
        <p:txBody>
          <a:bodyPr wrap="none" lIns="91424" tIns="45712" rIns="91424" bIns="45712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800" b="1">
              <a:solidFill>
                <a:srgbClr val="646464"/>
              </a:solidFill>
            </a:endParaRPr>
          </a:p>
        </p:txBody>
      </p:sp>
      <p:sp>
        <p:nvSpPr>
          <p:cNvPr id="6" name="Freeform 10"/>
          <p:cNvSpPr>
            <a:spLocks/>
          </p:cNvSpPr>
          <p:nvPr userDrawn="1"/>
        </p:nvSpPr>
        <p:spPr bwMode="auto">
          <a:xfrm>
            <a:off x="4099985" y="565150"/>
            <a:ext cx="8089900" cy="2586038"/>
          </a:xfrm>
          <a:custGeom>
            <a:avLst/>
            <a:gdLst>
              <a:gd name="T0" fmla="*/ 0 w 3822"/>
              <a:gd name="T1" fmla="*/ 1629 h 1629"/>
              <a:gd name="T2" fmla="*/ 3822 w 3822"/>
              <a:gd name="T3" fmla="*/ 0 h 1629"/>
              <a:gd name="T4" fmla="*/ 3822 w 3822"/>
              <a:gd name="T5" fmla="*/ 492 h 1629"/>
              <a:gd name="T6" fmla="*/ 0 w 3822"/>
              <a:gd name="T7" fmla="*/ 1629 h 162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3822" h="1629">
                <a:moveTo>
                  <a:pt x="0" y="1629"/>
                </a:moveTo>
                <a:lnTo>
                  <a:pt x="3822" y="0"/>
                </a:lnTo>
                <a:lnTo>
                  <a:pt x="3822" y="492"/>
                </a:lnTo>
                <a:lnTo>
                  <a:pt x="0" y="162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4" tIns="45712" rIns="91424" bIns="45712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b="1" smtClean="0">
              <a:solidFill>
                <a:srgbClr val="646464"/>
              </a:solidFill>
            </a:endParaRPr>
          </a:p>
        </p:txBody>
      </p:sp>
      <p:pic>
        <p:nvPicPr>
          <p:cNvPr id="7" name="Picture 18" descr="logo_black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1351" y="6364288"/>
            <a:ext cx="21463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78818" y="3457576"/>
            <a:ext cx="7389283" cy="908050"/>
          </a:xfrm>
        </p:spPr>
        <p:txBody>
          <a:bodyPr tIns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626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083052" y="4354515"/>
            <a:ext cx="7389283" cy="1019175"/>
          </a:xfrm>
        </p:spPr>
        <p:txBody>
          <a:bodyPr/>
          <a:lstStyle>
            <a:lvl1pPr marL="0" indent="0">
              <a:lnSpc>
                <a:spcPct val="85000"/>
              </a:lnSpc>
              <a:buFont typeface="Arial" charset="0"/>
              <a:buNone/>
              <a:defRPr sz="2000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8740856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0"/>
          <p:cNvSpPr>
            <a:spLocks/>
          </p:cNvSpPr>
          <p:nvPr/>
        </p:nvSpPr>
        <p:spPr bwMode="auto">
          <a:xfrm>
            <a:off x="4106333" y="552450"/>
            <a:ext cx="8077200" cy="2590800"/>
          </a:xfrm>
          <a:custGeom>
            <a:avLst/>
            <a:gdLst>
              <a:gd name="T0" fmla="*/ 0 w 3816"/>
              <a:gd name="T1" fmla="*/ 1632 h 1632"/>
              <a:gd name="T2" fmla="*/ 3816 w 3816"/>
              <a:gd name="T3" fmla="*/ 0 h 1632"/>
              <a:gd name="T4" fmla="*/ 3816 w 3816"/>
              <a:gd name="T5" fmla="*/ 496 h 1632"/>
              <a:gd name="T6" fmla="*/ 0 w 3816"/>
              <a:gd name="T7" fmla="*/ 1632 h 1632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3816" h="1632">
                <a:moveTo>
                  <a:pt x="0" y="1632"/>
                </a:moveTo>
                <a:lnTo>
                  <a:pt x="3816" y="0"/>
                </a:lnTo>
                <a:lnTo>
                  <a:pt x="3816" y="496"/>
                </a:lnTo>
                <a:lnTo>
                  <a:pt x="0" y="163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b="1" smtClean="0">
              <a:solidFill>
                <a:srgbClr val="646464"/>
              </a:solidFill>
            </a:endParaRPr>
          </a:p>
        </p:txBody>
      </p:sp>
      <p:pic>
        <p:nvPicPr>
          <p:cNvPr id="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233" y="6027739"/>
            <a:ext cx="1111251" cy="6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utoShape 6" descr="Sml_Motion_Input"/>
          <p:cNvSpPr>
            <a:spLocks noChangeArrowheads="1"/>
          </p:cNvSpPr>
          <p:nvPr userDrawn="1"/>
        </p:nvSpPr>
        <p:spPr bwMode="gray">
          <a:xfrm rot="5400000">
            <a:off x="382853" y="771261"/>
            <a:ext cx="3313112" cy="4078817"/>
          </a:xfrm>
          <a:prstGeom prst="triangle">
            <a:avLst>
              <a:gd name="adj" fmla="val 60231"/>
            </a:avLst>
          </a:prstGeom>
          <a:blipFill dpi="0" rotWithShape="0">
            <a:blip r:embed="rId3"/>
            <a:srcRect/>
            <a:tile tx="0" ty="0" sx="100000" sy="100000" flip="none" algn="tl"/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anchor="ctr"/>
          <a:lstStyle>
            <a:lvl1pPr defTabSz="995363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defTabSz="995363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995363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defTabSz="995363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defTabSz="995363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4413" indent="1588" defTabSz="9953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1613" indent="1588" defTabSz="9953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98813" indent="1588" defTabSz="9953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6013" indent="1588" defTabSz="99536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lnSpc>
                <a:spcPts val="1400"/>
              </a:lnSpc>
              <a:spcBef>
                <a:spcPct val="0"/>
              </a:spcBef>
              <a:spcAft>
                <a:spcPct val="0"/>
              </a:spcAft>
            </a:pPr>
            <a:endParaRPr lang="en-GB" altLang="en-US" sz="1400" smtClean="0">
              <a:solidFill>
                <a:srgbClr val="646464"/>
              </a:solidFill>
              <a:latin typeface="EYInterstate Regular" panose="02000503020000020004" pitchFamily="2" charset="0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78817" y="3457575"/>
            <a:ext cx="7389283" cy="908050"/>
          </a:xfrm>
        </p:spPr>
        <p:txBody>
          <a:bodyPr tIns="0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083050" y="4354514"/>
            <a:ext cx="7389283" cy="101917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marL="0" indent="0">
              <a:lnSpc>
                <a:spcPct val="85000"/>
              </a:lnSpc>
              <a:buFont typeface="Arial" pitchFamily="34" charset="0"/>
              <a:buNone/>
              <a:defRPr sz="2000">
                <a:solidFill>
                  <a:schemeClr val="accent4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605436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58489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" Target="../slides/slid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tags" Target="../tags/tag12.xml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vmlDrawing" Target="../drawings/vmlDrawing5.v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oleObject" Target="../embeddings/oleObject5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4.xml"/><Relationship Id="rId7" Type="http://schemas.openxmlformats.org/officeDocument/2006/relationships/image" Target="../media/image12.jpeg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5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9.xml"/><Relationship Id="rId7" Type="http://schemas.openxmlformats.org/officeDocument/2006/relationships/image" Target="../media/image12.jpeg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157002743"/>
              </p:ext>
            </p:extLst>
          </p:nvPr>
        </p:nvGraphicFramePr>
        <p:xfrm>
          <a:off x="1812" y="1442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Bottom rule"/>
          <p:cNvCxnSpPr/>
          <p:nvPr userDrawn="1"/>
        </p:nvCxnSpPr>
        <p:spPr bwMode="gray">
          <a:xfrm>
            <a:off x="698505" y="6660826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698505" y="1550891"/>
            <a:ext cx="10790355" cy="45614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9" name="Banner Box"/>
          <p:cNvSpPr/>
          <p:nvPr userDrawn="1"/>
        </p:nvSpPr>
        <p:spPr>
          <a:xfrm>
            <a:off x="698507" y="458988"/>
            <a:ext cx="10794988" cy="829353"/>
          </a:xfrm>
          <a:prstGeom prst="rect">
            <a:avLst/>
          </a:prstGeom>
          <a:solidFill>
            <a:schemeClr val="accent3"/>
          </a:solidFill>
        </p:spPr>
        <p:txBody>
          <a:bodyPr wrap="square" rtlCol="0" anchor="ctr">
            <a:noAutofit/>
          </a:bodyPr>
          <a:lstStyle/>
          <a:p>
            <a:pPr eaLnBrk="0" fontAlgn="base" hangingPunct="0">
              <a:spcBef>
                <a:spcPct val="50000"/>
              </a:spcBef>
            </a:pPr>
            <a:endParaRPr lang="en-US" sz="941" dirty="0">
              <a:solidFill>
                <a:srgbClr val="000000"/>
              </a:solidFill>
              <a:ea typeface="Arial"/>
              <a:cs typeface="Times New Roman"/>
            </a:endParaRPr>
          </a:p>
        </p:txBody>
      </p:sp>
      <p:sp>
        <p:nvSpPr>
          <p:cNvPr id="4" name="Title Headline 1"/>
          <p:cNvSpPr>
            <a:spLocks noGrp="1"/>
          </p:cNvSpPr>
          <p:nvPr>
            <p:ph type="title"/>
          </p:nvPr>
        </p:nvSpPr>
        <p:spPr>
          <a:xfrm>
            <a:off x="698504" y="539081"/>
            <a:ext cx="6943360" cy="174165"/>
          </a:xfrm>
          <a:prstGeom prst="rect">
            <a:avLst/>
          </a:prstGeom>
          <a:noFill/>
        </p:spPr>
        <p:txBody>
          <a:bodyPr vert="horz" lIns="137160" tIns="0" rIns="0" bIns="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Top rule"/>
          <p:cNvCxnSpPr/>
          <p:nvPr userDrawn="1"/>
        </p:nvCxnSpPr>
        <p:spPr bwMode="gray">
          <a:xfrm>
            <a:off x="698505" y="391351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11" name="HomeLinkButton">
            <a:hlinkClick r:id="rId72" action="ppaction://hlinksldjump" highlightClick="1"/>
          </p:cNvPr>
          <p:cNvSpPr/>
          <p:nvPr userDrawn="1"/>
        </p:nvSpPr>
        <p:spPr bwMode="auto">
          <a:xfrm>
            <a:off x="11172034" y="196439"/>
            <a:ext cx="321461" cy="165871"/>
          </a:xfrm>
          <a:prstGeom prst="actionButtonHome">
            <a:avLst/>
          </a:prstGeom>
          <a:solidFill>
            <a:schemeClr val="tx2"/>
          </a:solidFill>
          <a:ln>
            <a:noFill/>
          </a:ln>
        </p:spPr>
        <p:txBody>
          <a:bodyPr rot="0" spcFirstLastPara="0" vertOverflow="overflow" horzOverflow="overflow" vert="horz" wrap="square" lIns="117286" tIns="117286" rIns="117286" bIns="11728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ts val="513"/>
              </a:spcAft>
            </a:pPr>
            <a:endParaRPr lang="en-US" sz="770" dirty="0">
              <a:solidFill>
                <a:srgbClr val="646464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5863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  <p:sldLayoutId id="2147483723" r:id="rId51"/>
    <p:sldLayoutId id="2147483724" r:id="rId52"/>
    <p:sldLayoutId id="2147483725" r:id="rId53"/>
    <p:sldLayoutId id="2147483726" r:id="rId54"/>
    <p:sldLayoutId id="2147483727" r:id="rId55"/>
    <p:sldLayoutId id="2147483728" r:id="rId56"/>
    <p:sldLayoutId id="2147483729" r:id="rId57"/>
    <p:sldLayoutId id="2147483730" r:id="rId58"/>
    <p:sldLayoutId id="2147483731" r:id="rId59"/>
    <p:sldLayoutId id="2147483732" r:id="rId60"/>
    <p:sldLayoutId id="2147483733" r:id="rId61"/>
    <p:sldLayoutId id="2147483734" r:id="rId62"/>
    <p:sldLayoutId id="2147483735" r:id="rId63"/>
    <p:sldLayoutId id="2147483736" r:id="rId64"/>
    <p:sldLayoutId id="2147483776" r:id="rId65"/>
    <p:sldLayoutId id="2147483777" r:id="rId66"/>
  </p:sldLayoutIdLst>
  <p:timing>
    <p:tnLst>
      <p:par>
        <p:cTn id="1" dur="indefinite" restart="never" nodeType="tmRoot"/>
      </p:par>
    </p:tnLst>
  </p:timing>
  <p:hf hdr="0"/>
  <p:txStyles>
    <p:titleStyle>
      <a:lvl1pPr algn="l" defTabSz="851135" rtl="0" eaLnBrk="1" fontAlgn="base" hangingPunct="1">
        <a:lnSpc>
          <a:spcPts val="1283"/>
        </a:lnSpc>
        <a:spcBef>
          <a:spcPts val="0"/>
        </a:spcBef>
        <a:spcAft>
          <a:spcPct val="0"/>
        </a:spcAft>
        <a:defRPr sz="1026" b="1">
          <a:solidFill>
            <a:schemeClr val="bg2"/>
          </a:solidFill>
          <a:latin typeface="+mn-lt"/>
          <a:ea typeface="+mj-ea"/>
          <a:cs typeface="Arial" pitchFamily="34" charset="0"/>
        </a:defRPr>
      </a:lvl1pPr>
      <a:lvl2pPr algn="l" defTabSz="851135" rtl="0" eaLnBrk="1" fontAlgn="base" hangingPunct="1">
        <a:spcBef>
          <a:spcPct val="0"/>
        </a:spcBef>
        <a:spcAft>
          <a:spcPct val="0"/>
        </a:spcAft>
        <a:defRPr sz="1197" b="1">
          <a:solidFill>
            <a:schemeClr val="tx2"/>
          </a:solidFill>
          <a:latin typeface="Arial" charset="0"/>
        </a:defRPr>
      </a:lvl2pPr>
      <a:lvl3pPr algn="l" defTabSz="851135" rtl="0" eaLnBrk="1" fontAlgn="base" hangingPunct="1">
        <a:spcBef>
          <a:spcPct val="0"/>
        </a:spcBef>
        <a:spcAft>
          <a:spcPct val="0"/>
        </a:spcAft>
        <a:defRPr sz="1197" b="1">
          <a:solidFill>
            <a:schemeClr val="tx2"/>
          </a:solidFill>
          <a:latin typeface="Arial" charset="0"/>
        </a:defRPr>
      </a:lvl3pPr>
      <a:lvl4pPr algn="l" defTabSz="851135" rtl="0" eaLnBrk="1" fontAlgn="base" hangingPunct="1">
        <a:spcBef>
          <a:spcPct val="0"/>
        </a:spcBef>
        <a:spcAft>
          <a:spcPct val="0"/>
        </a:spcAft>
        <a:defRPr sz="1197" b="1">
          <a:solidFill>
            <a:schemeClr val="tx2"/>
          </a:solidFill>
          <a:latin typeface="Arial" charset="0"/>
        </a:defRPr>
      </a:lvl4pPr>
      <a:lvl5pPr algn="l" defTabSz="851135" rtl="0" eaLnBrk="1" fontAlgn="base" hangingPunct="1">
        <a:spcBef>
          <a:spcPct val="0"/>
        </a:spcBef>
        <a:spcAft>
          <a:spcPct val="0"/>
        </a:spcAft>
        <a:defRPr sz="1197" b="1">
          <a:solidFill>
            <a:schemeClr val="tx2"/>
          </a:solidFill>
          <a:latin typeface="Arial" charset="0"/>
        </a:defRPr>
      </a:lvl5pPr>
      <a:lvl6pPr marL="390952" algn="l" defTabSz="851135" rtl="0" eaLnBrk="1" fontAlgn="base" hangingPunct="1">
        <a:spcBef>
          <a:spcPct val="0"/>
        </a:spcBef>
        <a:spcAft>
          <a:spcPct val="0"/>
        </a:spcAft>
        <a:defRPr sz="1197" b="1">
          <a:solidFill>
            <a:schemeClr val="tx2"/>
          </a:solidFill>
          <a:latin typeface="Arial" charset="0"/>
        </a:defRPr>
      </a:lvl6pPr>
      <a:lvl7pPr marL="781903" algn="l" defTabSz="851135" rtl="0" eaLnBrk="1" fontAlgn="base" hangingPunct="1">
        <a:spcBef>
          <a:spcPct val="0"/>
        </a:spcBef>
        <a:spcAft>
          <a:spcPct val="0"/>
        </a:spcAft>
        <a:defRPr sz="1197" b="1">
          <a:solidFill>
            <a:schemeClr val="tx2"/>
          </a:solidFill>
          <a:latin typeface="Arial" charset="0"/>
        </a:defRPr>
      </a:lvl7pPr>
      <a:lvl8pPr marL="1172855" algn="l" defTabSz="851135" rtl="0" eaLnBrk="1" fontAlgn="base" hangingPunct="1">
        <a:spcBef>
          <a:spcPct val="0"/>
        </a:spcBef>
        <a:spcAft>
          <a:spcPct val="0"/>
        </a:spcAft>
        <a:defRPr sz="1197" b="1">
          <a:solidFill>
            <a:schemeClr val="tx2"/>
          </a:solidFill>
          <a:latin typeface="Arial" charset="0"/>
        </a:defRPr>
      </a:lvl8pPr>
      <a:lvl9pPr marL="1563807" algn="l" defTabSz="851135" rtl="0" eaLnBrk="1" fontAlgn="base" hangingPunct="1">
        <a:spcBef>
          <a:spcPct val="0"/>
        </a:spcBef>
        <a:spcAft>
          <a:spcPct val="0"/>
        </a:spcAft>
        <a:defRPr sz="1197" b="1">
          <a:solidFill>
            <a:schemeClr val="tx2"/>
          </a:solidFill>
          <a:latin typeface="Arial" charset="0"/>
        </a:defRPr>
      </a:lvl9pPr>
    </p:titleStyle>
    <p:bodyStyle>
      <a:lvl1pPr algn="l" defTabSz="851135" rtl="0" eaLnBrk="1" fontAlgn="base" hangingPunct="1">
        <a:lnSpc>
          <a:spcPct val="100000"/>
        </a:lnSpc>
        <a:spcBef>
          <a:spcPts val="0"/>
        </a:spcBef>
        <a:spcAft>
          <a:spcPts val="513"/>
        </a:spcAft>
        <a:defRPr sz="855" baseline="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1358" algn="l" defTabSz="851135" rtl="0" eaLnBrk="1" fontAlgn="base" hangingPunct="1">
        <a:lnSpc>
          <a:spcPct val="100000"/>
        </a:lnSpc>
        <a:spcBef>
          <a:spcPts val="0"/>
        </a:spcBef>
        <a:spcAft>
          <a:spcPts val="513"/>
        </a:spcAft>
        <a:buClr>
          <a:srgbClr val="000000"/>
        </a:buClr>
        <a:defRPr sz="941" b="1" i="0">
          <a:solidFill>
            <a:schemeClr val="tx1"/>
          </a:solidFill>
          <a:latin typeface="+mn-lt"/>
          <a:cs typeface="Arial" pitchFamily="34" charset="0"/>
        </a:defRPr>
      </a:lvl2pPr>
      <a:lvl3pPr marL="156381" indent="-156381" algn="l" defTabSz="851135" rtl="0" eaLnBrk="1" fontAlgn="base" hangingPunct="1">
        <a:lnSpc>
          <a:spcPct val="100000"/>
        </a:lnSpc>
        <a:spcBef>
          <a:spcPts val="0"/>
        </a:spcBef>
        <a:spcAft>
          <a:spcPts val="513"/>
        </a:spcAft>
        <a:buClr>
          <a:schemeClr val="accent1"/>
        </a:buClr>
        <a:buSzPct val="70000"/>
        <a:buFont typeface="Arial" panose="020B0604020202020204" pitchFamily="34" charset="0"/>
        <a:buChar char="►"/>
        <a:defRPr sz="855" b="0">
          <a:solidFill>
            <a:schemeClr val="bg1"/>
          </a:solidFill>
          <a:latin typeface="+mn-lt"/>
          <a:cs typeface="Arial" pitchFamily="34" charset="0"/>
        </a:defRPr>
      </a:lvl3pPr>
      <a:lvl4pPr marL="312761" indent="-156381" algn="l" defTabSz="851135" rtl="0" eaLnBrk="1" fontAlgn="base" hangingPunct="1">
        <a:lnSpc>
          <a:spcPct val="100000"/>
        </a:lnSpc>
        <a:spcBef>
          <a:spcPts val="0"/>
        </a:spcBef>
        <a:spcAft>
          <a:spcPts val="513"/>
        </a:spcAft>
        <a:buClr>
          <a:schemeClr val="accent1"/>
        </a:buClr>
        <a:buSzPct val="70000"/>
        <a:buFont typeface="Arial" panose="020B0604020202020204" pitchFamily="34" charset="0"/>
        <a:buChar char="►"/>
        <a:defRPr sz="855">
          <a:solidFill>
            <a:schemeClr val="bg1"/>
          </a:solidFill>
          <a:latin typeface="+mn-lt"/>
          <a:cs typeface="Arial" pitchFamily="34" charset="0"/>
        </a:defRPr>
      </a:lvl4pPr>
      <a:lvl5pPr marL="156381" indent="-156381" algn="l" defTabSz="851135" rtl="0" eaLnBrk="1" fontAlgn="base" hangingPunct="1">
        <a:lnSpc>
          <a:spcPct val="100000"/>
        </a:lnSpc>
        <a:spcBef>
          <a:spcPts val="0"/>
        </a:spcBef>
        <a:spcAft>
          <a:spcPts val="513"/>
        </a:spcAft>
        <a:buClrTx/>
        <a:buSzPct val="100000"/>
        <a:buFont typeface="+mj-lt"/>
        <a:buAutoNum type="arabicPeriod"/>
        <a:defRPr sz="855" baseline="0">
          <a:solidFill>
            <a:schemeClr val="bg1"/>
          </a:solidFill>
          <a:latin typeface="+mn-lt"/>
          <a:cs typeface="Arial" pitchFamily="34" charset="0"/>
        </a:defRPr>
      </a:lvl5pPr>
      <a:lvl6pPr marL="0" indent="0" algn="l" defTabSz="0" rtl="0" eaLnBrk="1" fontAlgn="base" hangingPunct="1">
        <a:lnSpc>
          <a:spcPct val="100000"/>
        </a:lnSpc>
        <a:spcBef>
          <a:spcPts val="0"/>
        </a:spcBef>
        <a:spcAft>
          <a:spcPts val="513"/>
        </a:spcAft>
        <a:buClr>
          <a:schemeClr val="tx2"/>
        </a:buClr>
        <a:buFont typeface="Arial Narrow" pitchFamily="34" charset="0"/>
        <a:buNone/>
        <a:defRPr sz="855" b="1" i="0" baseline="0">
          <a:solidFill>
            <a:schemeClr val="bg1"/>
          </a:solidFill>
          <a:latin typeface="+mn-lt"/>
        </a:defRPr>
      </a:lvl6pPr>
      <a:lvl7pPr marL="0" indent="0" algn="l" defTabSz="851135" rtl="0" eaLnBrk="1" fontAlgn="base" hangingPunct="1">
        <a:lnSpc>
          <a:spcPct val="100000"/>
        </a:lnSpc>
        <a:spcBef>
          <a:spcPts val="0"/>
        </a:spcBef>
        <a:spcAft>
          <a:spcPts val="513"/>
        </a:spcAft>
        <a:buClr>
          <a:schemeClr val="tx2"/>
        </a:buClr>
        <a:buFont typeface="Arial Narrow" pitchFamily="34" charset="0"/>
        <a:buNone/>
        <a:defRPr sz="855" i="1" baseline="0">
          <a:solidFill>
            <a:schemeClr val="tx1"/>
          </a:solidFill>
          <a:latin typeface="+mn-lt"/>
        </a:defRPr>
      </a:lvl7pPr>
      <a:lvl8pPr marL="0" indent="0" algn="l" defTabSz="851135" rtl="0" eaLnBrk="1" fontAlgn="base" hangingPunct="1">
        <a:lnSpc>
          <a:spcPct val="100000"/>
        </a:lnSpc>
        <a:spcBef>
          <a:spcPts val="0"/>
        </a:spcBef>
        <a:spcAft>
          <a:spcPts val="513"/>
        </a:spcAft>
        <a:buClr>
          <a:schemeClr val="tx2"/>
        </a:buClr>
        <a:buFont typeface="Arial Narrow" pitchFamily="34" charset="0"/>
        <a:buNone/>
        <a:defRPr sz="1026" b="1">
          <a:solidFill>
            <a:schemeClr val="bg1"/>
          </a:solidFill>
          <a:latin typeface="+mn-lt"/>
        </a:defRPr>
      </a:lvl8pPr>
      <a:lvl9pPr marL="0" indent="0" algn="l" defTabSz="851135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 Narrow" pitchFamily="34" charset="0"/>
        <a:buNone/>
        <a:defRPr sz="855" baseline="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1pPr>
      <a:lvl2pPr marL="390952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2pPr>
      <a:lvl3pPr marL="781903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3pPr>
      <a:lvl4pPr marL="1172855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4pPr>
      <a:lvl5pPr marL="1563807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5pPr>
      <a:lvl6pPr marL="1954759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6pPr>
      <a:lvl7pPr marL="2345710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7pPr>
      <a:lvl8pPr marL="2736662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8pPr>
      <a:lvl9pPr marL="3127614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446" userDrawn="1">
          <p15:clr>
            <a:srgbClr val="F26B43"/>
          </p15:clr>
        </p15:guide>
        <p15:guide id="2" pos="511" userDrawn="1">
          <p15:clr>
            <a:srgbClr val="F26B43"/>
          </p15:clr>
        </p15:guide>
        <p15:guide id="3" orient="horz" pos="1073" userDrawn="1">
          <p15:clr>
            <a:srgbClr val="F26B43"/>
          </p15:clr>
        </p15:guide>
        <p15:guide id="4" pos="8469" userDrawn="1">
          <p15:clr>
            <a:srgbClr val="F26B43"/>
          </p15:clr>
        </p15:guide>
        <p15:guide id="5" pos="1088" userDrawn="1">
          <p15:clr>
            <a:srgbClr val="F26B43"/>
          </p15:clr>
        </p15:guide>
        <p15:guide id="6" pos="1180" userDrawn="1">
          <p15:clr>
            <a:srgbClr val="F26B43"/>
          </p15:clr>
        </p15:guide>
        <p15:guide id="7" pos="1760" userDrawn="1">
          <p15:clr>
            <a:srgbClr val="F26B43"/>
          </p15:clr>
        </p15:guide>
        <p15:guide id="8" pos="1848" userDrawn="1">
          <p15:clr>
            <a:srgbClr val="F26B43"/>
          </p15:clr>
        </p15:guide>
        <p15:guide id="9" pos="2427" userDrawn="1">
          <p15:clr>
            <a:srgbClr val="F26B43"/>
          </p15:clr>
        </p15:guide>
        <p15:guide id="10" pos="2516" userDrawn="1">
          <p15:clr>
            <a:srgbClr val="F26B43"/>
          </p15:clr>
        </p15:guide>
        <p15:guide id="11" pos="3096" userDrawn="1">
          <p15:clr>
            <a:srgbClr val="F26B43"/>
          </p15:clr>
        </p15:guide>
        <p15:guide id="12" pos="3184" userDrawn="1">
          <p15:clr>
            <a:srgbClr val="F26B43"/>
          </p15:clr>
        </p15:guide>
        <p15:guide id="13" pos="3767" userDrawn="1">
          <p15:clr>
            <a:srgbClr val="F26B43"/>
          </p15:clr>
        </p15:guide>
        <p15:guide id="14" pos="3861" userDrawn="1">
          <p15:clr>
            <a:srgbClr val="F26B43"/>
          </p15:clr>
        </p15:guide>
        <p15:guide id="15" pos="4444" userDrawn="1">
          <p15:clr>
            <a:srgbClr val="F26B43"/>
          </p15:clr>
        </p15:guide>
        <p15:guide id="16" pos="4536" userDrawn="1">
          <p15:clr>
            <a:srgbClr val="F26B43"/>
          </p15:clr>
        </p15:guide>
        <p15:guide id="17" pos="5117" userDrawn="1">
          <p15:clr>
            <a:srgbClr val="F26B43"/>
          </p15:clr>
        </p15:guide>
        <p15:guide id="18" pos="5212" userDrawn="1">
          <p15:clr>
            <a:srgbClr val="F26B43"/>
          </p15:clr>
        </p15:guide>
        <p15:guide id="19" pos="5792" userDrawn="1">
          <p15:clr>
            <a:srgbClr val="F26B43"/>
          </p15:clr>
        </p15:guide>
        <p15:guide id="20" pos="5880" userDrawn="1">
          <p15:clr>
            <a:srgbClr val="F26B43"/>
          </p15:clr>
        </p15:guide>
        <p15:guide id="21" pos="6459" userDrawn="1">
          <p15:clr>
            <a:srgbClr val="F26B43"/>
          </p15:clr>
        </p15:guide>
        <p15:guide id="22" pos="6549" userDrawn="1">
          <p15:clr>
            <a:srgbClr val="F26B43"/>
          </p15:clr>
        </p15:guide>
        <p15:guide id="23" pos="7128" userDrawn="1">
          <p15:clr>
            <a:srgbClr val="F26B43"/>
          </p15:clr>
        </p15:guide>
        <p15:guide id="24" pos="7216" userDrawn="1">
          <p15:clr>
            <a:srgbClr val="F26B43"/>
          </p15:clr>
        </p15:guide>
        <p15:guide id="25" pos="7795" userDrawn="1">
          <p15:clr>
            <a:srgbClr val="F26B43"/>
          </p15:clr>
        </p15:guide>
        <p15:guide id="26" pos="78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/>
          </p:nvPr>
        </p:nvGraphicFramePr>
        <p:xfrm>
          <a:off x="1812" y="1442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Bottom rule"/>
          <p:cNvCxnSpPr/>
          <p:nvPr userDrawn="1"/>
        </p:nvCxnSpPr>
        <p:spPr bwMode="gray">
          <a:xfrm>
            <a:off x="698505" y="6660826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3" name="Text Placeholder 1"/>
          <p:cNvSpPr>
            <a:spLocks noGrp="1"/>
          </p:cNvSpPr>
          <p:nvPr>
            <p:ph type="body" idx="1"/>
          </p:nvPr>
        </p:nvSpPr>
        <p:spPr>
          <a:xfrm>
            <a:off x="698505" y="1647568"/>
            <a:ext cx="10790355" cy="4464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 (TAS Body text)</a:t>
            </a:r>
          </a:p>
          <a:p>
            <a:pPr lvl="1"/>
            <a:r>
              <a:rPr lang="en-US" dirty="0" smtClean="0"/>
              <a:t>Second level (TAS Text heading 1)</a:t>
            </a:r>
          </a:p>
          <a:p>
            <a:pPr lvl="2"/>
            <a:r>
              <a:rPr lang="en-US" dirty="0" smtClean="0"/>
              <a:t>Third level (TAS Bullet 1)</a:t>
            </a:r>
          </a:p>
          <a:p>
            <a:pPr lvl="3"/>
            <a:r>
              <a:rPr lang="en-US" dirty="0" smtClean="0"/>
              <a:t>Fourth level (TAS Bullet 2)</a:t>
            </a:r>
          </a:p>
          <a:p>
            <a:pPr lvl="4"/>
            <a:r>
              <a:rPr lang="en-US" dirty="0" smtClean="0"/>
              <a:t>Fifth level (TAS Bullet number)</a:t>
            </a:r>
          </a:p>
          <a:p>
            <a:pPr lvl="5"/>
            <a:r>
              <a:rPr lang="en-US" dirty="0" smtClean="0"/>
              <a:t>Sixth level (TAS Text heading 2)</a:t>
            </a:r>
          </a:p>
          <a:p>
            <a:pPr lvl="6"/>
            <a:r>
              <a:rPr lang="en-US" dirty="0" smtClean="0"/>
              <a:t>Seventh level (TAS Text heading 3)</a:t>
            </a:r>
          </a:p>
          <a:p>
            <a:pPr lvl="7"/>
            <a:r>
              <a:rPr lang="en-US" dirty="0" smtClean="0"/>
              <a:t>Eighth level (TAS Heading callout)</a:t>
            </a:r>
          </a:p>
          <a:p>
            <a:pPr lvl="8"/>
            <a:r>
              <a:rPr lang="en-US" dirty="0" smtClean="0"/>
              <a:t>Ninth level (TAS Single space body text)</a:t>
            </a:r>
            <a:endParaRPr lang="en-US" dirty="0"/>
          </a:p>
        </p:txBody>
      </p:sp>
      <p:sp>
        <p:nvSpPr>
          <p:cNvPr id="9" name="Banner Box"/>
          <p:cNvSpPr/>
          <p:nvPr userDrawn="1"/>
        </p:nvSpPr>
        <p:spPr>
          <a:xfrm>
            <a:off x="698507" y="458988"/>
            <a:ext cx="10794988" cy="1091902"/>
          </a:xfrm>
          <a:prstGeom prst="rect">
            <a:avLst/>
          </a:prstGeom>
          <a:solidFill>
            <a:schemeClr val="accent3"/>
          </a:solidFill>
        </p:spPr>
        <p:txBody>
          <a:bodyPr wrap="square" rtlCol="0" anchor="ctr">
            <a:noAutofit/>
          </a:bodyPr>
          <a:lstStyle/>
          <a:p>
            <a:pPr eaLnBrk="0" fontAlgn="base" hangingPunct="0">
              <a:spcBef>
                <a:spcPct val="50000"/>
              </a:spcBef>
            </a:pPr>
            <a:endParaRPr lang="en-US" sz="941" dirty="0" smtClean="0">
              <a:solidFill>
                <a:srgbClr val="000000"/>
              </a:solidFill>
              <a:ea typeface="Arial"/>
              <a:cs typeface="Times New Roman"/>
            </a:endParaRPr>
          </a:p>
        </p:txBody>
      </p:sp>
      <p:sp>
        <p:nvSpPr>
          <p:cNvPr id="4" name="Title Headline 1"/>
          <p:cNvSpPr>
            <a:spLocks noGrp="1"/>
          </p:cNvSpPr>
          <p:nvPr>
            <p:ph type="title"/>
          </p:nvPr>
        </p:nvSpPr>
        <p:spPr>
          <a:xfrm>
            <a:off x="698504" y="539081"/>
            <a:ext cx="6943360" cy="174165"/>
          </a:xfrm>
          <a:prstGeom prst="rect">
            <a:avLst/>
          </a:prstGeom>
          <a:noFill/>
        </p:spPr>
        <p:txBody>
          <a:bodyPr vert="horz" lIns="137160" tIns="0" rIns="0" bIns="0" rtlCol="0" anchor="t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Top rule"/>
          <p:cNvCxnSpPr/>
          <p:nvPr userDrawn="1"/>
        </p:nvCxnSpPr>
        <p:spPr bwMode="gray">
          <a:xfrm>
            <a:off x="698505" y="391351"/>
            <a:ext cx="10790355" cy="0"/>
          </a:xfrm>
          <a:prstGeom prst="line">
            <a:avLst/>
          </a:prstGeom>
          <a:noFill/>
          <a:ln w="6350">
            <a:solidFill>
              <a:schemeClr val="bg2"/>
            </a:solidFill>
            <a:miter lim="800000"/>
            <a:headEnd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638780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  <p:sldLayoutId id="2147483754" r:id="rId17"/>
    <p:sldLayoutId id="2147483755" r:id="rId18"/>
    <p:sldLayoutId id="2147483756" r:id="rId19"/>
    <p:sldLayoutId id="2147483757" r:id="rId20"/>
    <p:sldLayoutId id="2147483758" r:id="rId21"/>
    <p:sldLayoutId id="2147483759" r:id="rId22"/>
    <p:sldLayoutId id="2147483775" r:id="rId23"/>
  </p:sldLayoutIdLst>
  <p:timing>
    <p:tnLst>
      <p:par>
        <p:cTn id="1" dur="indefinite" restart="never" nodeType="tmRoot"/>
      </p:par>
    </p:tnLst>
  </p:timing>
  <p:hf hdr="0"/>
  <p:txStyles>
    <p:titleStyle>
      <a:lvl1pPr algn="l" defTabSz="851135" rtl="0" eaLnBrk="1" fontAlgn="base" hangingPunct="1">
        <a:lnSpc>
          <a:spcPts val="1283"/>
        </a:lnSpc>
        <a:spcBef>
          <a:spcPts val="0"/>
        </a:spcBef>
        <a:spcAft>
          <a:spcPct val="0"/>
        </a:spcAft>
        <a:defRPr sz="1026" b="1">
          <a:solidFill>
            <a:schemeClr val="bg2"/>
          </a:solidFill>
          <a:latin typeface="+mn-lt"/>
          <a:ea typeface="+mj-ea"/>
          <a:cs typeface="Arial" pitchFamily="34" charset="0"/>
        </a:defRPr>
      </a:lvl1pPr>
      <a:lvl2pPr algn="l" defTabSz="851135" rtl="0" eaLnBrk="1" fontAlgn="base" hangingPunct="1">
        <a:spcBef>
          <a:spcPct val="0"/>
        </a:spcBef>
        <a:spcAft>
          <a:spcPct val="0"/>
        </a:spcAft>
        <a:defRPr sz="1197" b="1">
          <a:solidFill>
            <a:schemeClr val="tx2"/>
          </a:solidFill>
          <a:latin typeface="Arial" charset="0"/>
        </a:defRPr>
      </a:lvl2pPr>
      <a:lvl3pPr algn="l" defTabSz="851135" rtl="0" eaLnBrk="1" fontAlgn="base" hangingPunct="1">
        <a:spcBef>
          <a:spcPct val="0"/>
        </a:spcBef>
        <a:spcAft>
          <a:spcPct val="0"/>
        </a:spcAft>
        <a:defRPr sz="1197" b="1">
          <a:solidFill>
            <a:schemeClr val="tx2"/>
          </a:solidFill>
          <a:latin typeface="Arial" charset="0"/>
        </a:defRPr>
      </a:lvl3pPr>
      <a:lvl4pPr algn="l" defTabSz="851135" rtl="0" eaLnBrk="1" fontAlgn="base" hangingPunct="1">
        <a:spcBef>
          <a:spcPct val="0"/>
        </a:spcBef>
        <a:spcAft>
          <a:spcPct val="0"/>
        </a:spcAft>
        <a:defRPr sz="1197" b="1">
          <a:solidFill>
            <a:schemeClr val="tx2"/>
          </a:solidFill>
          <a:latin typeface="Arial" charset="0"/>
        </a:defRPr>
      </a:lvl4pPr>
      <a:lvl5pPr algn="l" defTabSz="851135" rtl="0" eaLnBrk="1" fontAlgn="base" hangingPunct="1">
        <a:spcBef>
          <a:spcPct val="0"/>
        </a:spcBef>
        <a:spcAft>
          <a:spcPct val="0"/>
        </a:spcAft>
        <a:defRPr sz="1197" b="1">
          <a:solidFill>
            <a:schemeClr val="tx2"/>
          </a:solidFill>
          <a:latin typeface="Arial" charset="0"/>
        </a:defRPr>
      </a:lvl5pPr>
      <a:lvl6pPr marL="390952" algn="l" defTabSz="851135" rtl="0" eaLnBrk="1" fontAlgn="base" hangingPunct="1">
        <a:spcBef>
          <a:spcPct val="0"/>
        </a:spcBef>
        <a:spcAft>
          <a:spcPct val="0"/>
        </a:spcAft>
        <a:defRPr sz="1197" b="1">
          <a:solidFill>
            <a:schemeClr val="tx2"/>
          </a:solidFill>
          <a:latin typeface="Arial" charset="0"/>
        </a:defRPr>
      </a:lvl6pPr>
      <a:lvl7pPr marL="781903" algn="l" defTabSz="851135" rtl="0" eaLnBrk="1" fontAlgn="base" hangingPunct="1">
        <a:spcBef>
          <a:spcPct val="0"/>
        </a:spcBef>
        <a:spcAft>
          <a:spcPct val="0"/>
        </a:spcAft>
        <a:defRPr sz="1197" b="1">
          <a:solidFill>
            <a:schemeClr val="tx2"/>
          </a:solidFill>
          <a:latin typeface="Arial" charset="0"/>
        </a:defRPr>
      </a:lvl7pPr>
      <a:lvl8pPr marL="1172855" algn="l" defTabSz="851135" rtl="0" eaLnBrk="1" fontAlgn="base" hangingPunct="1">
        <a:spcBef>
          <a:spcPct val="0"/>
        </a:spcBef>
        <a:spcAft>
          <a:spcPct val="0"/>
        </a:spcAft>
        <a:defRPr sz="1197" b="1">
          <a:solidFill>
            <a:schemeClr val="tx2"/>
          </a:solidFill>
          <a:latin typeface="Arial" charset="0"/>
        </a:defRPr>
      </a:lvl8pPr>
      <a:lvl9pPr marL="1563807" algn="l" defTabSz="851135" rtl="0" eaLnBrk="1" fontAlgn="base" hangingPunct="1">
        <a:spcBef>
          <a:spcPct val="0"/>
        </a:spcBef>
        <a:spcAft>
          <a:spcPct val="0"/>
        </a:spcAft>
        <a:defRPr sz="1197" b="1">
          <a:solidFill>
            <a:schemeClr val="tx2"/>
          </a:solidFill>
          <a:latin typeface="Arial" charset="0"/>
        </a:defRPr>
      </a:lvl9pPr>
    </p:titleStyle>
    <p:bodyStyle>
      <a:lvl1pPr algn="l" defTabSz="851135" rtl="0" eaLnBrk="1" fontAlgn="base" hangingPunct="1">
        <a:lnSpc>
          <a:spcPct val="100000"/>
        </a:lnSpc>
        <a:spcBef>
          <a:spcPts val="0"/>
        </a:spcBef>
        <a:spcAft>
          <a:spcPts val="513"/>
        </a:spcAft>
        <a:defRPr sz="855" baseline="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1358" algn="l" defTabSz="851135" rtl="0" eaLnBrk="1" fontAlgn="base" hangingPunct="1">
        <a:lnSpc>
          <a:spcPct val="100000"/>
        </a:lnSpc>
        <a:spcBef>
          <a:spcPts val="0"/>
        </a:spcBef>
        <a:spcAft>
          <a:spcPts val="513"/>
        </a:spcAft>
        <a:buClr>
          <a:srgbClr val="000000"/>
        </a:buClr>
        <a:defRPr sz="941" b="1" i="0">
          <a:solidFill>
            <a:schemeClr val="tx1"/>
          </a:solidFill>
          <a:latin typeface="+mn-lt"/>
          <a:cs typeface="Arial" pitchFamily="34" charset="0"/>
        </a:defRPr>
      </a:lvl2pPr>
      <a:lvl3pPr marL="156381" indent="-156381" algn="l" defTabSz="851135" rtl="0" eaLnBrk="1" fontAlgn="base" hangingPunct="1">
        <a:lnSpc>
          <a:spcPct val="100000"/>
        </a:lnSpc>
        <a:spcBef>
          <a:spcPts val="0"/>
        </a:spcBef>
        <a:spcAft>
          <a:spcPts val="513"/>
        </a:spcAft>
        <a:buClr>
          <a:schemeClr val="accent1"/>
        </a:buClr>
        <a:buSzPct val="70000"/>
        <a:buFont typeface="Arial" panose="020B0604020202020204" pitchFamily="34" charset="0"/>
        <a:buChar char="►"/>
        <a:defRPr sz="855" b="0">
          <a:solidFill>
            <a:schemeClr val="bg1"/>
          </a:solidFill>
          <a:latin typeface="+mn-lt"/>
          <a:cs typeface="Arial" pitchFamily="34" charset="0"/>
        </a:defRPr>
      </a:lvl3pPr>
      <a:lvl4pPr marL="312761" indent="-156381" algn="l" defTabSz="851135" rtl="0" eaLnBrk="1" fontAlgn="base" hangingPunct="1">
        <a:lnSpc>
          <a:spcPct val="100000"/>
        </a:lnSpc>
        <a:spcBef>
          <a:spcPts val="0"/>
        </a:spcBef>
        <a:spcAft>
          <a:spcPts val="513"/>
        </a:spcAft>
        <a:buClr>
          <a:schemeClr val="accent1"/>
        </a:buClr>
        <a:buSzPct val="70000"/>
        <a:buFont typeface="Arial" panose="020B0604020202020204" pitchFamily="34" charset="0"/>
        <a:buChar char="►"/>
        <a:defRPr sz="855">
          <a:solidFill>
            <a:schemeClr val="bg1"/>
          </a:solidFill>
          <a:latin typeface="+mn-lt"/>
          <a:cs typeface="Arial" pitchFamily="34" charset="0"/>
        </a:defRPr>
      </a:lvl4pPr>
      <a:lvl5pPr marL="156381" indent="-156381" algn="l" defTabSz="851135" rtl="0" eaLnBrk="1" fontAlgn="base" hangingPunct="1">
        <a:lnSpc>
          <a:spcPct val="100000"/>
        </a:lnSpc>
        <a:spcBef>
          <a:spcPts val="0"/>
        </a:spcBef>
        <a:spcAft>
          <a:spcPts val="513"/>
        </a:spcAft>
        <a:buClrTx/>
        <a:buSzPct val="100000"/>
        <a:buFont typeface="+mj-lt"/>
        <a:buAutoNum type="arabicPeriod"/>
        <a:defRPr sz="855" baseline="0">
          <a:solidFill>
            <a:schemeClr val="bg1"/>
          </a:solidFill>
          <a:latin typeface="+mn-lt"/>
          <a:cs typeface="Arial" pitchFamily="34" charset="0"/>
        </a:defRPr>
      </a:lvl5pPr>
      <a:lvl6pPr marL="0" indent="0" algn="l" defTabSz="0" rtl="0" eaLnBrk="1" fontAlgn="base" hangingPunct="1">
        <a:lnSpc>
          <a:spcPct val="100000"/>
        </a:lnSpc>
        <a:spcBef>
          <a:spcPts val="0"/>
        </a:spcBef>
        <a:spcAft>
          <a:spcPts val="513"/>
        </a:spcAft>
        <a:buClr>
          <a:schemeClr val="tx2"/>
        </a:buClr>
        <a:buFont typeface="Arial Narrow" pitchFamily="34" charset="0"/>
        <a:buNone/>
        <a:defRPr sz="855" b="1" i="0" baseline="0">
          <a:solidFill>
            <a:schemeClr val="bg1"/>
          </a:solidFill>
          <a:latin typeface="+mn-lt"/>
        </a:defRPr>
      </a:lvl6pPr>
      <a:lvl7pPr marL="0" indent="0" algn="l" defTabSz="851135" rtl="0" eaLnBrk="1" fontAlgn="base" hangingPunct="1">
        <a:lnSpc>
          <a:spcPct val="100000"/>
        </a:lnSpc>
        <a:spcBef>
          <a:spcPts val="0"/>
        </a:spcBef>
        <a:spcAft>
          <a:spcPts val="513"/>
        </a:spcAft>
        <a:buClr>
          <a:schemeClr val="tx2"/>
        </a:buClr>
        <a:buFont typeface="Arial Narrow" pitchFamily="34" charset="0"/>
        <a:buNone/>
        <a:defRPr sz="855" i="1" baseline="0">
          <a:solidFill>
            <a:schemeClr val="tx1"/>
          </a:solidFill>
          <a:latin typeface="+mn-lt"/>
        </a:defRPr>
      </a:lvl7pPr>
      <a:lvl8pPr marL="0" indent="0" algn="l" defTabSz="851135" rtl="0" eaLnBrk="1" fontAlgn="base" hangingPunct="1">
        <a:lnSpc>
          <a:spcPct val="100000"/>
        </a:lnSpc>
        <a:spcBef>
          <a:spcPts val="0"/>
        </a:spcBef>
        <a:spcAft>
          <a:spcPts val="513"/>
        </a:spcAft>
        <a:buClr>
          <a:schemeClr val="tx2"/>
        </a:buClr>
        <a:buFont typeface="Arial Narrow" pitchFamily="34" charset="0"/>
        <a:buNone/>
        <a:defRPr sz="1026" b="1">
          <a:solidFill>
            <a:schemeClr val="bg1"/>
          </a:solidFill>
          <a:latin typeface="+mn-lt"/>
        </a:defRPr>
      </a:lvl8pPr>
      <a:lvl9pPr marL="0" indent="0" algn="l" defTabSz="851135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tx2"/>
        </a:buClr>
        <a:buFont typeface="Arial Narrow" pitchFamily="34" charset="0"/>
        <a:buNone/>
        <a:defRPr sz="855" baseline="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1pPr>
      <a:lvl2pPr marL="390952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2pPr>
      <a:lvl3pPr marL="781903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3pPr>
      <a:lvl4pPr marL="1172855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4pPr>
      <a:lvl5pPr marL="1563807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5pPr>
      <a:lvl6pPr marL="1954759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6pPr>
      <a:lvl7pPr marL="2345710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7pPr>
      <a:lvl8pPr marL="2736662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8pPr>
      <a:lvl9pPr marL="3127614" algn="l" defTabSz="781903" rtl="0" eaLnBrk="1" latinLnBrk="0" hangingPunct="1">
        <a:defRPr sz="153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446" userDrawn="1">
          <p15:clr>
            <a:srgbClr val="F26B43"/>
          </p15:clr>
        </p15:guide>
        <p15:guide id="2" pos="511" userDrawn="1">
          <p15:clr>
            <a:srgbClr val="F26B43"/>
          </p15:clr>
        </p15:guide>
        <p15:guide id="3" orient="horz" pos="1073" userDrawn="1">
          <p15:clr>
            <a:srgbClr val="F26B43"/>
          </p15:clr>
        </p15:guide>
        <p15:guide id="4" pos="8469" userDrawn="1">
          <p15:clr>
            <a:srgbClr val="F26B43"/>
          </p15:clr>
        </p15:guide>
        <p15:guide id="5" pos="1088" userDrawn="1">
          <p15:clr>
            <a:srgbClr val="F26B43"/>
          </p15:clr>
        </p15:guide>
        <p15:guide id="6" pos="1180" userDrawn="1">
          <p15:clr>
            <a:srgbClr val="F26B43"/>
          </p15:clr>
        </p15:guide>
        <p15:guide id="7" pos="1760" userDrawn="1">
          <p15:clr>
            <a:srgbClr val="F26B43"/>
          </p15:clr>
        </p15:guide>
        <p15:guide id="8" pos="1848" userDrawn="1">
          <p15:clr>
            <a:srgbClr val="F26B43"/>
          </p15:clr>
        </p15:guide>
        <p15:guide id="9" pos="2427" userDrawn="1">
          <p15:clr>
            <a:srgbClr val="F26B43"/>
          </p15:clr>
        </p15:guide>
        <p15:guide id="10" pos="2516" userDrawn="1">
          <p15:clr>
            <a:srgbClr val="F26B43"/>
          </p15:clr>
        </p15:guide>
        <p15:guide id="11" pos="3115" userDrawn="1">
          <p15:clr>
            <a:srgbClr val="F26B43"/>
          </p15:clr>
        </p15:guide>
        <p15:guide id="12" pos="3184" userDrawn="1">
          <p15:clr>
            <a:srgbClr val="F26B43"/>
          </p15:clr>
        </p15:guide>
        <p15:guide id="13" pos="3767" userDrawn="1">
          <p15:clr>
            <a:srgbClr val="F26B43"/>
          </p15:clr>
        </p15:guide>
        <p15:guide id="14" pos="3861" userDrawn="1">
          <p15:clr>
            <a:srgbClr val="F26B43"/>
          </p15:clr>
        </p15:guide>
        <p15:guide id="15" pos="4444" userDrawn="1">
          <p15:clr>
            <a:srgbClr val="F26B43"/>
          </p15:clr>
        </p15:guide>
        <p15:guide id="16" pos="4536" userDrawn="1">
          <p15:clr>
            <a:srgbClr val="F26B43"/>
          </p15:clr>
        </p15:guide>
        <p15:guide id="17" pos="5117" userDrawn="1">
          <p15:clr>
            <a:srgbClr val="F26B43"/>
          </p15:clr>
        </p15:guide>
        <p15:guide id="18" pos="5212" userDrawn="1">
          <p15:clr>
            <a:srgbClr val="F26B43"/>
          </p15:clr>
        </p15:guide>
        <p15:guide id="19" pos="5792" userDrawn="1">
          <p15:clr>
            <a:srgbClr val="F26B43"/>
          </p15:clr>
        </p15:guide>
        <p15:guide id="20" pos="5880" userDrawn="1">
          <p15:clr>
            <a:srgbClr val="F26B43"/>
          </p15:clr>
        </p15:guide>
        <p15:guide id="21" pos="6459" userDrawn="1">
          <p15:clr>
            <a:srgbClr val="F26B43"/>
          </p15:clr>
        </p15:guide>
        <p15:guide id="22" pos="6549" userDrawn="1">
          <p15:clr>
            <a:srgbClr val="F26B43"/>
          </p15:clr>
        </p15:guide>
        <p15:guide id="23" pos="7128" userDrawn="1">
          <p15:clr>
            <a:srgbClr val="F26B43"/>
          </p15:clr>
        </p15:guide>
        <p15:guide id="24" pos="7216" userDrawn="1">
          <p15:clr>
            <a:srgbClr val="F26B43"/>
          </p15:clr>
        </p15:guide>
        <p15:guide id="25" pos="7795" userDrawn="1">
          <p15:clr>
            <a:srgbClr val="F26B43"/>
          </p15:clr>
        </p15:guide>
        <p15:guide id="26" pos="788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65757"/>
            <a:ext cx="10972800" cy="5671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5600"/>
            <a:ext cx="109728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609600" y="6415200"/>
            <a:ext cx="96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0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Стр.</a:t>
            </a:r>
            <a:r>
              <a:rPr lang="en-GB" sz="10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fld id="{9AE4D82F-B047-469B-AC52-A46321747EAF}" type="slidenum">
              <a:rPr lang="en-GB" sz="100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GB" sz="10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93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09613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7913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33513" indent="-355600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7525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00025"/>
            <a:ext cx="10974917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5993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7485" y="1412876"/>
            <a:ext cx="10974916" cy="4519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9" name="Rectangle 6"/>
          <p:cNvSpPr>
            <a:spLocks noChangeArrowheads="1"/>
          </p:cNvSpPr>
          <p:nvPr/>
        </p:nvSpPr>
        <p:spPr bwMode="auto">
          <a:xfrm>
            <a:off x="615951" y="6424613"/>
            <a:ext cx="884767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92F8589-4E5B-446F-9896-AD332C784AFD}" type="slidenum">
              <a:rPr lang="en-US" altLang="en-US" sz="1100" smtClean="0">
                <a:solidFill>
                  <a:srgbClr val="646464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100" smtClean="0">
              <a:solidFill>
                <a:srgbClr val="646464"/>
              </a:solidFill>
              <a:cs typeface="Arial" panose="020B0604020202020204" pitchFamily="34" charset="0"/>
            </a:endParaRPr>
          </a:p>
        </p:txBody>
      </p:sp>
      <p:sp>
        <p:nvSpPr>
          <p:cNvPr id="1031" name="Line 8"/>
          <p:cNvSpPr>
            <a:spLocks noChangeShapeType="1"/>
          </p:cNvSpPr>
          <p:nvPr/>
        </p:nvSpPr>
        <p:spPr bwMode="auto">
          <a:xfrm>
            <a:off x="607484" y="6243638"/>
            <a:ext cx="10972800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424" tIns="45712" rIns="91424" bIns="45712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b="1" smtClean="0">
              <a:solidFill>
                <a:srgbClr val="646464"/>
              </a:solidFill>
            </a:endParaRPr>
          </a:p>
        </p:txBody>
      </p:sp>
      <p:sp>
        <p:nvSpPr>
          <p:cNvPr id="1032" name="Line 9"/>
          <p:cNvSpPr>
            <a:spLocks noChangeShapeType="1"/>
          </p:cNvSpPr>
          <p:nvPr/>
        </p:nvSpPr>
        <p:spPr bwMode="auto">
          <a:xfrm>
            <a:off x="607484" y="200025"/>
            <a:ext cx="10972800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424" tIns="45712" rIns="91424" bIns="45712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b="1" smtClean="0">
              <a:solidFill>
                <a:srgbClr val="646464"/>
              </a:solidFill>
            </a:endParaRPr>
          </a:p>
        </p:txBody>
      </p:sp>
      <p:sp>
        <p:nvSpPr>
          <p:cNvPr id="1034" name="Line 12"/>
          <p:cNvSpPr>
            <a:spLocks noChangeShapeType="1"/>
          </p:cNvSpPr>
          <p:nvPr userDrawn="1"/>
        </p:nvSpPr>
        <p:spPr bwMode="auto">
          <a:xfrm>
            <a:off x="607484" y="6243638"/>
            <a:ext cx="10972800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424" tIns="45712" rIns="91424" bIns="45712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b="1" smtClean="0">
              <a:solidFill>
                <a:srgbClr val="646464"/>
              </a:solidFill>
            </a:endParaRPr>
          </a:p>
        </p:txBody>
      </p:sp>
      <p:sp>
        <p:nvSpPr>
          <p:cNvPr id="1035" name="Line 13"/>
          <p:cNvSpPr>
            <a:spLocks noChangeShapeType="1"/>
          </p:cNvSpPr>
          <p:nvPr userDrawn="1"/>
        </p:nvSpPr>
        <p:spPr bwMode="auto">
          <a:xfrm>
            <a:off x="607484" y="200025"/>
            <a:ext cx="10972800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424" tIns="45712" rIns="91424" bIns="45712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b="1" smtClean="0">
              <a:solidFill>
                <a:srgbClr val="646464"/>
              </a:solidFill>
            </a:endParaRPr>
          </a:p>
        </p:txBody>
      </p:sp>
      <p:pic>
        <p:nvPicPr>
          <p:cNvPr id="1036" name="Picture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8651" y="6369050"/>
            <a:ext cx="7493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10191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119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239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358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477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58775" indent="-35877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anose="020B0604020202020204" pitchFamily="34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5963" indent="-35401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anose="020B0604020202020204" pitchFamily="34" charset="0"/>
        <a:buChar char="►"/>
        <a:defRPr sz="2000">
          <a:solidFill>
            <a:srgbClr val="646464"/>
          </a:solidFill>
          <a:latin typeface="+mn-lt"/>
        </a:defRPr>
      </a:lvl2pPr>
      <a:lvl3pPr marL="1079500" indent="-3603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anose="020B0604020202020204" pitchFamily="34" charset="0"/>
        <a:buChar char="►"/>
        <a:defRPr>
          <a:solidFill>
            <a:srgbClr val="646464"/>
          </a:solidFill>
          <a:latin typeface="+mn-lt"/>
        </a:defRPr>
      </a:lvl3pPr>
      <a:lvl4pPr marL="1439863" indent="-357188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anose="020B0604020202020204" pitchFamily="34" charset="0"/>
        <a:buChar char="►"/>
        <a:defRPr sz="1600">
          <a:solidFill>
            <a:srgbClr val="646464"/>
          </a:solidFill>
          <a:latin typeface="+mn-lt"/>
        </a:defRPr>
      </a:lvl4pPr>
      <a:lvl5pPr marL="1798638" indent="-35560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anose="020B0604020202020204" pitchFamily="34" charset="0"/>
        <a:buChar char="►"/>
        <a:defRPr sz="1600">
          <a:solidFill>
            <a:srgbClr val="646464"/>
          </a:solidFill>
          <a:latin typeface="+mn-lt"/>
        </a:defRPr>
      </a:lvl5pPr>
      <a:lvl6pPr marL="2257027" indent="-357125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146" indent="-357125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266" indent="-357125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8385" indent="-357125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5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00025"/>
            <a:ext cx="10974917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35993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7485" y="1412876"/>
            <a:ext cx="10974916" cy="4519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9" name="Rectangle 6"/>
          <p:cNvSpPr>
            <a:spLocks noChangeArrowheads="1"/>
          </p:cNvSpPr>
          <p:nvPr/>
        </p:nvSpPr>
        <p:spPr bwMode="auto">
          <a:xfrm>
            <a:off x="615951" y="6424613"/>
            <a:ext cx="884767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92F8589-4E5B-446F-9896-AD332C784AFD}" type="slidenum">
              <a:rPr lang="en-US" altLang="en-US" sz="1100" smtClean="0">
                <a:solidFill>
                  <a:srgbClr val="646464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1100" smtClean="0">
              <a:solidFill>
                <a:srgbClr val="646464"/>
              </a:solidFill>
              <a:cs typeface="Arial" panose="020B0604020202020204" pitchFamily="34" charset="0"/>
            </a:endParaRPr>
          </a:p>
        </p:txBody>
      </p:sp>
      <p:sp>
        <p:nvSpPr>
          <p:cNvPr id="1031" name="Line 8"/>
          <p:cNvSpPr>
            <a:spLocks noChangeShapeType="1"/>
          </p:cNvSpPr>
          <p:nvPr/>
        </p:nvSpPr>
        <p:spPr bwMode="auto">
          <a:xfrm>
            <a:off x="607484" y="6243638"/>
            <a:ext cx="10972800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424" tIns="45712" rIns="91424" bIns="45712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b="1" smtClean="0">
              <a:solidFill>
                <a:srgbClr val="646464"/>
              </a:solidFill>
            </a:endParaRPr>
          </a:p>
        </p:txBody>
      </p:sp>
      <p:sp>
        <p:nvSpPr>
          <p:cNvPr id="1032" name="Line 9"/>
          <p:cNvSpPr>
            <a:spLocks noChangeShapeType="1"/>
          </p:cNvSpPr>
          <p:nvPr/>
        </p:nvSpPr>
        <p:spPr bwMode="auto">
          <a:xfrm>
            <a:off x="607484" y="200025"/>
            <a:ext cx="10972800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424" tIns="45712" rIns="91424" bIns="45712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b="1" smtClean="0">
              <a:solidFill>
                <a:srgbClr val="646464"/>
              </a:solidFill>
            </a:endParaRPr>
          </a:p>
        </p:txBody>
      </p:sp>
      <p:sp>
        <p:nvSpPr>
          <p:cNvPr id="1034" name="Line 12"/>
          <p:cNvSpPr>
            <a:spLocks noChangeShapeType="1"/>
          </p:cNvSpPr>
          <p:nvPr userDrawn="1"/>
        </p:nvSpPr>
        <p:spPr bwMode="auto">
          <a:xfrm>
            <a:off x="607484" y="6243638"/>
            <a:ext cx="10972800" cy="0"/>
          </a:xfrm>
          <a:prstGeom prst="line">
            <a:avLst/>
          </a:prstGeom>
          <a:noFill/>
          <a:ln w="3175">
            <a:solidFill>
              <a:srgbClr val="64646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424" tIns="45712" rIns="91424" bIns="45712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b="1" smtClean="0">
              <a:solidFill>
                <a:srgbClr val="646464"/>
              </a:solidFill>
            </a:endParaRPr>
          </a:p>
        </p:txBody>
      </p:sp>
      <p:sp>
        <p:nvSpPr>
          <p:cNvPr id="1035" name="Line 13"/>
          <p:cNvSpPr>
            <a:spLocks noChangeShapeType="1"/>
          </p:cNvSpPr>
          <p:nvPr userDrawn="1"/>
        </p:nvSpPr>
        <p:spPr bwMode="auto">
          <a:xfrm>
            <a:off x="607484" y="200025"/>
            <a:ext cx="10972800" cy="0"/>
          </a:xfrm>
          <a:prstGeom prst="line">
            <a:avLst/>
          </a:prstGeom>
          <a:noFill/>
          <a:ln w="6350">
            <a:solidFill>
              <a:srgbClr val="64646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91424" tIns="45712" rIns="91424" bIns="45712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 b="1" smtClean="0">
              <a:solidFill>
                <a:srgbClr val="646464"/>
              </a:solidFill>
            </a:endParaRPr>
          </a:p>
        </p:txBody>
      </p:sp>
      <p:pic>
        <p:nvPicPr>
          <p:cNvPr id="1036" name="Picture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88651" y="6369050"/>
            <a:ext cx="7493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7973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119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239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358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477" algn="l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58775" indent="-35877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anose="020B0604020202020204" pitchFamily="34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5963" indent="-35401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anose="020B0604020202020204" pitchFamily="34" charset="0"/>
        <a:buChar char="►"/>
        <a:defRPr sz="2000">
          <a:solidFill>
            <a:srgbClr val="646464"/>
          </a:solidFill>
          <a:latin typeface="+mn-lt"/>
        </a:defRPr>
      </a:lvl2pPr>
      <a:lvl3pPr marL="1079500" indent="-3603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anose="020B0604020202020204" pitchFamily="34" charset="0"/>
        <a:buChar char="►"/>
        <a:defRPr>
          <a:solidFill>
            <a:srgbClr val="646464"/>
          </a:solidFill>
          <a:latin typeface="+mn-lt"/>
        </a:defRPr>
      </a:lvl3pPr>
      <a:lvl4pPr marL="1439863" indent="-357188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anose="020B0604020202020204" pitchFamily="34" charset="0"/>
        <a:buChar char="►"/>
        <a:defRPr sz="1600">
          <a:solidFill>
            <a:srgbClr val="646464"/>
          </a:solidFill>
          <a:latin typeface="+mn-lt"/>
        </a:defRPr>
      </a:lvl4pPr>
      <a:lvl5pPr marL="1798638" indent="-35560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panose="020B0604020202020204" pitchFamily="34" charset="0"/>
        <a:buChar char="►"/>
        <a:defRPr sz="1600">
          <a:solidFill>
            <a:srgbClr val="646464"/>
          </a:solidFill>
          <a:latin typeface="+mn-lt"/>
        </a:defRPr>
      </a:lvl5pPr>
      <a:lvl6pPr marL="2257027" indent="-357125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146" indent="-357125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266" indent="-357125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8385" indent="-357125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5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jpeg"/><Relationship Id="rId9" Type="http://schemas.openxmlformats.org/officeDocument/2006/relationships/image" Target="../media/image3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00772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able Placeholder 1"/>
          <p:cNvSpPr>
            <a:spLocks noGrp="1"/>
          </p:cNvSpPr>
          <p:nvPr>
            <p:ph type="tbl" sz="quarter" idx="13"/>
          </p:nvPr>
        </p:nvSpPr>
        <p:spPr/>
      </p:sp>
      <p:sp>
        <p:nvSpPr>
          <p:cNvPr id="3" name="Subtitle 2"/>
          <p:cNvSpPr>
            <a:spLocks noGrp="1"/>
          </p:cNvSpPr>
          <p:nvPr>
            <p:ph type="subTitle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047880" y="1436019"/>
            <a:ext cx="5281302" cy="583991"/>
          </a:xfrm>
        </p:spPr>
        <p:txBody>
          <a:bodyPr/>
          <a:lstStyle/>
          <a:p>
            <a:r>
              <a:rPr lang="ru-RU" dirty="0" smtClean="0"/>
              <a:t>Иностранные инвестиции в Новосибирскую область: Подход инвестора 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296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7910" y="806523"/>
            <a:ext cx="6646233" cy="174165"/>
          </a:xfrm>
        </p:spPr>
        <p:txBody>
          <a:bodyPr/>
          <a:lstStyle/>
          <a:p>
            <a:r>
              <a:rPr lang="ru-RU" sz="1400" dirty="0">
                <a:solidFill>
                  <a:schemeClr val="tx2"/>
                </a:solidFill>
              </a:rPr>
              <a:t>Один из основных приоритетов  - технологический бизнес</a:t>
            </a:r>
            <a:endParaRPr lang="en-US" sz="1400" dirty="0">
              <a:solidFill>
                <a:schemeClr val="tx2"/>
              </a:solidFill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2057910" y="1840134"/>
            <a:ext cx="1382713" cy="10969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07984" y="1837554"/>
            <a:ext cx="1843206" cy="119233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4574" y="3103958"/>
            <a:ext cx="1383487" cy="14409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Content Placeholder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07985" y="3118863"/>
            <a:ext cx="1822633" cy="83666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" name="TextBox 3"/>
          <p:cNvSpPr txBox="1"/>
          <p:nvPr/>
        </p:nvSpPr>
        <p:spPr>
          <a:xfrm>
            <a:off x="2064605" y="1540192"/>
            <a:ext cx="2652589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200" b="1" dirty="0">
                <a:solidFill>
                  <a:schemeClr val="bg1"/>
                </a:solidFill>
              </a:rPr>
              <a:t>Инфраструктура и кадры</a:t>
            </a:r>
            <a:endParaRPr lang="en-US" sz="1200" b="1" dirty="0" err="1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332221" y="1540192"/>
            <a:ext cx="2579901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u-RU" sz="1200" b="1" dirty="0">
                <a:solidFill>
                  <a:schemeClr val="bg1"/>
                </a:solidFill>
              </a:rPr>
              <a:t>Истории успеха</a:t>
            </a:r>
            <a:endParaRPr lang="en-US" sz="1200" b="1" dirty="0" err="1">
              <a:solidFill>
                <a:schemeClr val="bg1"/>
              </a:solidFill>
            </a:endParaRPr>
          </a:p>
        </p:txBody>
      </p:sp>
      <p:sp>
        <p:nvSpPr>
          <p:cNvPr id="5" name="AutoShape 2" descr="Image result for цфт"/>
          <p:cNvSpPr>
            <a:spLocks noChangeAspect="1" noChangeArrowheads="1"/>
          </p:cNvSpPr>
          <p:nvPr/>
        </p:nvSpPr>
        <p:spPr bwMode="auto">
          <a:xfrm>
            <a:off x="1679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4" descr="Image result for цфт"/>
          <p:cNvSpPr>
            <a:spLocks noChangeAspect="1" noChangeArrowheads="1"/>
          </p:cNvSpPr>
          <p:nvPr/>
        </p:nvSpPr>
        <p:spPr bwMode="auto">
          <a:xfrm>
            <a:off x="1831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AutoShape 6" descr="Image result for цфт"/>
          <p:cNvSpPr>
            <a:spLocks noChangeAspect="1" noChangeArrowheads="1"/>
          </p:cNvSpPr>
          <p:nvPr/>
        </p:nvSpPr>
        <p:spPr bwMode="auto">
          <a:xfrm>
            <a:off x="1984375" y="1603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AutoShape 8" descr="Image result for цфт"/>
          <p:cNvSpPr>
            <a:spLocks noChangeAspect="1" noChangeArrowheads="1"/>
          </p:cNvSpPr>
          <p:nvPr/>
        </p:nvSpPr>
        <p:spPr bwMode="auto">
          <a:xfrm>
            <a:off x="2136775" y="32035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32220" y="1790402"/>
            <a:ext cx="1419626" cy="95451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0" name="Picture 19"/>
          <p:cNvPicPr/>
          <p:nvPr/>
        </p:nvPicPr>
        <p:blipFill rotWithShape="1">
          <a:blip r:embed="rId7"/>
          <a:srcRect l="6688" t="41476" r="46372" b="22349"/>
          <a:stretch/>
        </p:blipFill>
        <p:spPr bwMode="auto">
          <a:xfrm>
            <a:off x="7924657" y="1794608"/>
            <a:ext cx="1592723" cy="95031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18128" y="2937097"/>
            <a:ext cx="1585359" cy="67444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32220" y="2937097"/>
            <a:ext cx="1443340" cy="65954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44077" y="3796406"/>
            <a:ext cx="1419626" cy="52790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5" name="Picture 24"/>
          <p:cNvPicPr/>
          <p:nvPr/>
        </p:nvPicPr>
        <p:blipFill rotWithShape="1">
          <a:blip r:embed="rId11"/>
          <a:srcRect l="15926" t="53635" r="47290" b="29360"/>
          <a:stretch/>
        </p:blipFill>
        <p:spPr bwMode="auto">
          <a:xfrm>
            <a:off x="7924656" y="3803724"/>
            <a:ext cx="1599252" cy="52058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7" name="Picture 26"/>
          <p:cNvPicPr/>
          <p:nvPr/>
        </p:nvPicPr>
        <p:blipFill rotWithShape="1">
          <a:blip r:embed="rId12"/>
          <a:srcRect l="5326" t="53687" r="41047" b="29954"/>
          <a:stretch/>
        </p:blipFill>
        <p:spPr bwMode="auto">
          <a:xfrm>
            <a:off x="6344078" y="4544920"/>
            <a:ext cx="1431483" cy="73193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8" name="Picture 27"/>
          <p:cNvPicPr/>
          <p:nvPr/>
        </p:nvPicPr>
        <p:blipFill rotWithShape="1">
          <a:blip r:embed="rId13"/>
          <a:srcRect l="11642" t="49541" r="45134" b="29542"/>
          <a:stretch/>
        </p:blipFill>
        <p:spPr bwMode="auto">
          <a:xfrm>
            <a:off x="8060146" y="4548939"/>
            <a:ext cx="1443340" cy="7239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1937578" y="4823484"/>
            <a:ext cx="3613613" cy="1198020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171450" indent="-17145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bg1"/>
                </a:solidFill>
              </a:rPr>
              <a:t>Более 10 тыс. </a:t>
            </a:r>
            <a:r>
              <a:rPr lang="en-US" sz="1100" dirty="0">
                <a:solidFill>
                  <a:schemeClr val="bg1"/>
                </a:solidFill>
              </a:rPr>
              <a:t>IT</a:t>
            </a:r>
            <a:r>
              <a:rPr lang="ru-RU" sz="1100" dirty="0">
                <a:solidFill>
                  <a:schemeClr val="bg1"/>
                </a:solidFill>
              </a:rPr>
              <a:t> специалистов сконцентрированы в радиусе 10 км</a:t>
            </a:r>
          </a:p>
          <a:p>
            <a:pPr marL="171450" indent="-17145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bg1"/>
                </a:solidFill>
              </a:rPr>
              <a:t>Работают как на крупнейшие российские компании</a:t>
            </a:r>
            <a:r>
              <a:rPr lang="en-US" sz="1100" dirty="0">
                <a:solidFill>
                  <a:schemeClr val="bg1"/>
                </a:solidFill>
              </a:rPr>
              <a:t> (</a:t>
            </a:r>
            <a:r>
              <a:rPr lang="en-US" sz="1100" dirty="0" err="1">
                <a:solidFill>
                  <a:schemeClr val="bg1"/>
                </a:solidFill>
              </a:rPr>
              <a:t>Ya</a:t>
            </a:r>
            <a:r>
              <a:rPr lang="en-US" sz="1100" dirty="0">
                <a:solidFill>
                  <a:schemeClr val="bg1"/>
                </a:solidFill>
              </a:rPr>
              <a:t>, </a:t>
            </a:r>
            <a:r>
              <a:rPr lang="en-US" sz="1100" dirty="0" err="1">
                <a:solidFill>
                  <a:schemeClr val="bg1"/>
                </a:solidFill>
              </a:rPr>
              <a:t>Sber</a:t>
            </a:r>
            <a:r>
              <a:rPr lang="en-US" sz="1100" dirty="0">
                <a:solidFill>
                  <a:schemeClr val="bg1"/>
                </a:solidFill>
              </a:rPr>
              <a:t>, </a:t>
            </a:r>
            <a:r>
              <a:rPr lang="en-US" sz="1100" dirty="0" err="1">
                <a:solidFill>
                  <a:schemeClr val="bg1"/>
                </a:solidFill>
              </a:rPr>
              <a:t>Tinkoff</a:t>
            </a:r>
            <a:r>
              <a:rPr lang="en-US" sz="1100" dirty="0">
                <a:solidFill>
                  <a:schemeClr val="bg1"/>
                </a:solidFill>
              </a:rPr>
              <a:t>)</a:t>
            </a:r>
            <a:r>
              <a:rPr lang="ru-RU" sz="1100" dirty="0">
                <a:solidFill>
                  <a:schemeClr val="bg1"/>
                </a:solidFill>
              </a:rPr>
              <a:t>, так и на глобальный рынок (</a:t>
            </a:r>
            <a:r>
              <a:rPr lang="en-US" sz="1100" dirty="0">
                <a:solidFill>
                  <a:schemeClr val="bg1"/>
                </a:solidFill>
              </a:rPr>
              <a:t>Google, Microsoft, IBM, ESRI, </a:t>
            </a:r>
            <a:r>
              <a:rPr lang="ru-RU" sz="1100" dirty="0">
                <a:solidFill>
                  <a:schemeClr val="bg1"/>
                </a:solidFill>
              </a:rPr>
              <a:t> и другие)</a:t>
            </a:r>
          </a:p>
          <a:p>
            <a:pPr marL="171450" indent="-171450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bg1"/>
                </a:solidFill>
              </a:rPr>
              <a:t>Соотношение цена</a:t>
            </a:r>
            <a:r>
              <a:rPr lang="en-US" sz="1100" dirty="0">
                <a:solidFill>
                  <a:schemeClr val="bg1"/>
                </a:solidFill>
              </a:rPr>
              <a:t> / </a:t>
            </a:r>
            <a:r>
              <a:rPr lang="ru-RU" sz="1100" dirty="0">
                <a:solidFill>
                  <a:schemeClr val="bg1"/>
                </a:solidFill>
              </a:rPr>
              <a:t>качество наших разработчиков  - одно из лучших в мире</a:t>
            </a:r>
            <a:endParaRPr lang="en-US" sz="11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596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047877" y="557883"/>
            <a:ext cx="7820022" cy="480777"/>
          </a:xfrm>
        </p:spPr>
        <p:txBody>
          <a:bodyPr/>
          <a:lstStyle/>
          <a:p>
            <a:r>
              <a:rPr lang="ru-RU" sz="1800" b="1" dirty="0">
                <a:latin typeface="EYInterstate Light" panose="02000506000000020004" pitchFamily="2" charset="0"/>
              </a:rPr>
              <a:t>Исследование инвестиционной привлекательности от </a:t>
            </a:r>
            <a:r>
              <a:rPr lang="en-US" sz="1800" b="1" dirty="0">
                <a:latin typeface="EYInterstate Light" panose="02000506000000020004" pitchFamily="2" charset="0"/>
              </a:rPr>
              <a:t>EY</a:t>
            </a:r>
            <a:r>
              <a:rPr lang="ru-RU" sz="1800" b="1" dirty="0">
                <a:latin typeface="EYInterstate Light" panose="02000506000000020004" pitchFamily="2" charset="0"/>
              </a:rPr>
              <a:t>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047878" y="1652954"/>
            <a:ext cx="3634885" cy="244682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1200" kern="0" dirty="0">
                <a:latin typeface="EYInterstate Light" panose="02000506000000020004" pitchFamily="2" charset="0"/>
              </a:rPr>
              <a:t>В 2017 году </a:t>
            </a:r>
            <a:r>
              <a:rPr lang="en-US" sz="1200" kern="0" dirty="0">
                <a:latin typeface="EYInterstate Light" panose="02000506000000020004" pitchFamily="2" charset="0"/>
              </a:rPr>
              <a:t>EY</a:t>
            </a:r>
            <a:r>
              <a:rPr lang="ru-RU" sz="1200" kern="0" dirty="0">
                <a:latin typeface="EYInterstate Light" panose="02000506000000020004" pitchFamily="2" charset="0"/>
              </a:rPr>
              <a:t> провела исследование инвестиционной привлекательности стран Европы. </a:t>
            </a: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1200" dirty="0">
                <a:latin typeface="EYInterstate Light" panose="02000506000000020004" pitchFamily="2" charset="0"/>
              </a:rPr>
              <a:t>В рамках исследования </a:t>
            </a:r>
            <a:r>
              <a:rPr lang="ru-RU" sz="1200" dirty="0">
                <a:latin typeface="EYInterstate Light" panose="02000506000000020004" pitchFamily="2" charset="0"/>
              </a:rPr>
              <a:t>был</a:t>
            </a:r>
            <a:r>
              <a:rPr lang="en-US" sz="1200" dirty="0">
                <a:latin typeface="EYInterstate Light" panose="02000506000000020004" pitchFamily="2" charset="0"/>
              </a:rPr>
              <a:t> </a:t>
            </a:r>
            <a:r>
              <a:rPr lang="ru-RU" sz="1200" dirty="0">
                <a:latin typeface="EYInterstate Light" panose="02000506000000020004" pitchFamily="2" charset="0"/>
              </a:rPr>
              <a:t>проведен опрос, в котором участвовали </a:t>
            </a:r>
            <a:r>
              <a:rPr lang="ru-RU" sz="1200" dirty="0">
                <a:latin typeface="EYInterstate Light" panose="02000506000000020004" pitchFamily="2" charset="0"/>
              </a:rPr>
              <a:t>505 </a:t>
            </a:r>
            <a:r>
              <a:rPr lang="ru-RU" sz="1200" dirty="0">
                <a:latin typeface="EYInterstate Light" panose="02000506000000020004" pitchFamily="2" charset="0"/>
              </a:rPr>
              <a:t>руководителей и топ-менеджеров </a:t>
            </a:r>
            <a:r>
              <a:rPr lang="ru-RU" sz="1200" dirty="0">
                <a:latin typeface="EYInterstate Light" panose="02000506000000020004" pitchFamily="2" charset="0"/>
              </a:rPr>
              <a:t>международных компаний, из них 81% имеют представительства в </a:t>
            </a:r>
            <a:r>
              <a:rPr lang="ru-RU" sz="1200" dirty="0">
                <a:latin typeface="EYInterstate Light" panose="02000506000000020004" pitchFamily="2" charset="0"/>
              </a:rPr>
              <a:t>Европе.</a:t>
            </a: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1200" dirty="0">
                <a:latin typeface="EYInterstate Light" panose="02000506000000020004" pitchFamily="2" charset="0"/>
              </a:rPr>
              <a:t>Использовались </a:t>
            </a:r>
            <a:r>
              <a:rPr lang="ru-RU" sz="1200" dirty="0">
                <a:latin typeface="EYInterstate Light" panose="02000506000000020004" pitchFamily="2" charset="0"/>
              </a:rPr>
              <a:t>данные по </a:t>
            </a:r>
            <a:r>
              <a:rPr lang="ru-RU" sz="1200" u="sng" dirty="0">
                <a:latin typeface="EYInterstate Light" panose="02000506000000020004" pitchFamily="2" charset="0"/>
              </a:rPr>
              <a:t>реальному</a:t>
            </a:r>
            <a:r>
              <a:rPr lang="ru-RU" sz="1200" dirty="0">
                <a:latin typeface="EYInterstate Light" panose="02000506000000020004" pitchFamily="2" charset="0"/>
              </a:rPr>
              <a:t> притоку иностранных инвестиций в промышленное производство и сферу услуг в Европе</a:t>
            </a:r>
            <a:r>
              <a:rPr lang="ru-RU" sz="1200" dirty="0">
                <a:latin typeface="EYInterstate Light" panose="02000506000000020004" pitchFamily="2" charset="0"/>
              </a:rPr>
              <a:t>.</a:t>
            </a: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1200" dirty="0">
                <a:latin typeface="EYInterstate Light" panose="02000506000000020004" pitchFamily="2" charset="0"/>
              </a:rPr>
              <a:t>Не </a:t>
            </a:r>
            <a:r>
              <a:rPr lang="ru-RU" sz="1200" dirty="0">
                <a:latin typeface="EYInterstate Light" panose="02000506000000020004" pitchFamily="2" charset="0"/>
              </a:rPr>
              <a:t>учитывались </a:t>
            </a:r>
            <a:r>
              <a:rPr lang="ru-RU" sz="1200" dirty="0">
                <a:latin typeface="EYInterstate Light" panose="02000506000000020004" pitchFamily="2" charset="0"/>
              </a:rPr>
              <a:t>портфельные инвестиции и сделки слияния и поглощения</a:t>
            </a:r>
            <a:r>
              <a:rPr lang="ru-RU" sz="1200" dirty="0">
                <a:latin typeface="EYInterstate Light" panose="02000506000000020004" pitchFamily="2" charset="0"/>
              </a:rPr>
              <a:t>.</a:t>
            </a:r>
            <a:endParaRPr lang="ru-RU" sz="1200" kern="0" dirty="0">
              <a:latin typeface="EYInterstate Light" panose="02000506000000020004" pitchFamily="2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2770" y="1633547"/>
            <a:ext cx="3978715" cy="4542967"/>
          </a:xfrm>
          <a:prstGeom prst="rect">
            <a:avLst/>
          </a:prstGeom>
        </p:spPr>
      </p:pic>
      <p:pic>
        <p:nvPicPr>
          <p:cNvPr id="6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9510" y="6307504"/>
            <a:ext cx="56197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2047878" y="6447204"/>
            <a:ext cx="663575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100" dirty="0">
                <a:solidFill>
                  <a:srgbClr val="646464"/>
                </a:solidFill>
                <a:cs typeface="Arial" panose="020B0604020202020204" pitchFamily="34" charset="0"/>
              </a:rPr>
              <a:t>Стр. 2</a:t>
            </a:r>
            <a:endParaRPr lang="en-US" altLang="en-US" sz="1100" dirty="0">
              <a:solidFill>
                <a:srgbClr val="646464"/>
              </a:solidFill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1661" y="4321359"/>
            <a:ext cx="2182738" cy="2046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330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Table 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3909664"/>
              </p:ext>
            </p:extLst>
          </p:nvPr>
        </p:nvGraphicFramePr>
        <p:xfrm>
          <a:off x="2047878" y="1384429"/>
          <a:ext cx="3728947" cy="2653612"/>
        </p:xfrm>
        <a:graphic>
          <a:graphicData uri="http://schemas.openxmlformats.org/drawingml/2006/table">
            <a:tbl>
              <a:tblPr/>
              <a:tblGrid>
                <a:gridCol w="848107"/>
                <a:gridCol w="451285"/>
                <a:gridCol w="451285"/>
                <a:gridCol w="484354"/>
                <a:gridCol w="373479"/>
                <a:gridCol w="373479"/>
                <a:gridCol w="373479"/>
                <a:gridCol w="373479"/>
              </a:tblGrid>
              <a:tr h="183641">
                <a:tc gridSpan="8"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Топ-10 стран</a:t>
                      </a:r>
                      <a:r>
                        <a:rPr lang="ru-RU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 инвесторов в Россию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335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EYInterstate Light" panose="02000506000000020004" pitchFamily="2" charset="0"/>
                        </a:rPr>
                        <a:t>Страна происхождения инвестиций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EYInterstate Light" panose="02000506000000020004" pitchFamily="2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EYInterstate Light" panose="02000506000000020004" pitchFamily="2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EYInterstate Light" panose="02000506000000020004" pitchFamily="2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EYInterstate Light" panose="02000506000000020004" pitchFamily="2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EYInterstate Light" panose="02000506000000020004" pitchFamily="2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EYInterstate Light" panose="02000506000000020004" pitchFamily="2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EYInterstate Light" panose="02000506000000020004" pitchFamily="2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8364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Германи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</a:tr>
              <a:tr h="18364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США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364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Франци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</a:tr>
              <a:tr h="18364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Япони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364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Австри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</a:tr>
              <a:tr h="18364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Китай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364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Итали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</a:tr>
              <a:tr h="18364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Финлянди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8364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Швейцари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</a:tr>
              <a:tr h="18364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Голландия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86" name="TextBox 85"/>
          <p:cNvSpPr txBox="1"/>
          <p:nvPr/>
        </p:nvSpPr>
        <p:spPr>
          <a:xfrm>
            <a:off x="2047878" y="4129584"/>
            <a:ext cx="3726611" cy="27392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900" dirty="0">
                <a:latin typeface="EYInterstate Light" panose="02000506000000020004" pitchFamily="2" charset="0"/>
              </a:rPr>
              <a:t>По </a:t>
            </a:r>
            <a:r>
              <a:rPr lang="ru-RU" sz="900" dirty="0">
                <a:latin typeface="EYInterstate Light" panose="02000506000000020004" pitchFamily="2" charset="0"/>
              </a:rPr>
              <a:t>итогам 2016 года зарубежные инвесторы вложились в 205 проектов в России – это самый высокий показатель за всю история проведения исследования, однако на фоне рекордных темпов роста прошлого года (61%) в этом году они были более чем скромными (2</a:t>
            </a:r>
            <a:r>
              <a:rPr lang="ru-RU" sz="900" dirty="0">
                <a:latin typeface="EYInterstate Light" panose="02000506000000020004" pitchFamily="2" charset="0"/>
              </a:rPr>
              <a:t>%).</a:t>
            </a:r>
            <a:endParaRPr lang="en-US" sz="900" dirty="0">
              <a:latin typeface="EYInterstate Light" panose="02000506000000020004" pitchFamily="2" charset="0"/>
            </a:endParaRP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900" dirty="0">
                <a:latin typeface="EYInterstate Light" panose="02000506000000020004" pitchFamily="2" charset="0"/>
              </a:rPr>
              <a:t>Крупнейшим иностранным инвестором в российскую экономику по-прежнему остается Западная Европа (98 проектов, причем наиболее активно инвестирует Германия: число немецких проектов увеличилось почти на 20% с 36 до </a:t>
            </a:r>
            <a:r>
              <a:rPr lang="ru-RU" sz="900" dirty="0">
                <a:latin typeface="EYInterstate Light" panose="02000506000000020004" pitchFamily="2" charset="0"/>
              </a:rPr>
              <a:t>43</a:t>
            </a:r>
            <a:r>
              <a:rPr lang="en-US" sz="900" dirty="0">
                <a:latin typeface="EYInterstate Light" panose="02000506000000020004" pitchFamily="2" charset="0"/>
              </a:rPr>
              <a:t>.</a:t>
            </a:r>
            <a:endParaRPr lang="en-US" sz="900" dirty="0">
              <a:latin typeface="EYInterstate Light" panose="02000506000000020004" pitchFamily="2" charset="0"/>
            </a:endParaRP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900" dirty="0">
                <a:latin typeface="EYInterstate Light" panose="02000506000000020004" pitchFamily="2" charset="0"/>
              </a:rPr>
              <a:t>2016 год стал рекордным для США: количество проектов американских компаний выросло сразу на 31%, достигнув 38 – наивысший показатель за все время проведения </a:t>
            </a:r>
            <a:r>
              <a:rPr lang="ru-RU" sz="900" dirty="0">
                <a:latin typeface="EYInterstate Light" panose="02000506000000020004" pitchFamily="2" charset="0"/>
              </a:rPr>
              <a:t>исследования</a:t>
            </a:r>
            <a:r>
              <a:rPr lang="en-US" sz="900" dirty="0">
                <a:latin typeface="EYInterstate Light" panose="02000506000000020004" pitchFamily="2" charset="0"/>
              </a:rPr>
              <a:t>.</a:t>
            </a: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900" dirty="0">
                <a:latin typeface="EYInterstate Light" panose="02000506000000020004" pitchFamily="2" charset="0"/>
              </a:rPr>
              <a:t>Регион АТР - разнонаправленная динамика: число проектов японских компаний увеличилось с 10 до 12, а Китай показал негативный тренд - падение с 12 до 9 проектов в этом году.</a:t>
            </a:r>
            <a:endParaRPr lang="en-US" sz="900" dirty="0">
              <a:latin typeface="EYInterstate Light" panose="02000506000000020004" pitchFamily="2" charset="0"/>
            </a:endParaRP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►"/>
            </a:pPr>
            <a:endParaRPr lang="ru-RU" sz="900" kern="0" dirty="0">
              <a:latin typeface="EYInterstate Light" panose="02000506000000020004" pitchFamily="2" charset="0"/>
            </a:endParaRP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►"/>
            </a:pPr>
            <a:endParaRPr lang="en-US" sz="900" kern="0" dirty="0" err="1">
              <a:latin typeface="EYInterstate Light" panose="02000506000000020004" pitchFamily="2" charset="0"/>
            </a:endParaRPr>
          </a:p>
        </p:txBody>
      </p:sp>
      <p:sp>
        <p:nvSpPr>
          <p:cNvPr id="87" name="Text Placeholder 1"/>
          <p:cNvSpPr txBox="1">
            <a:spLocks/>
          </p:cNvSpPr>
          <p:nvPr/>
        </p:nvSpPr>
        <p:spPr>
          <a:xfrm>
            <a:off x="2047878" y="609603"/>
            <a:ext cx="7855191" cy="480777"/>
          </a:xfrm>
          <a:prstGeom prst="rect">
            <a:avLst/>
          </a:prstGeom>
        </p:spPr>
        <p:txBody>
          <a:bodyPr vert="horz" lIns="137160" tIns="0" rIns="0" bIns="0" rtlCol="0">
            <a:noAutofit/>
          </a:bodyPr>
          <a:lstStyle>
            <a:lvl1pPr algn="l" defTabSz="85113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defRPr sz="1197" baseline="0">
                <a:solidFill>
                  <a:schemeClr val="tx2"/>
                </a:solidFill>
                <a:latin typeface="+mn-lt"/>
                <a:ea typeface="+mn-ea"/>
                <a:cs typeface="Arial" pitchFamily="34" charset="0"/>
              </a:defRPr>
            </a:lvl1pPr>
            <a:lvl2pPr marL="1358" algn="l" defTabSz="85113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rgbClr val="000000"/>
              </a:buClr>
              <a:defRPr sz="941" b="1" i="0">
                <a:solidFill>
                  <a:schemeClr val="tx1"/>
                </a:solidFill>
                <a:latin typeface="+mn-lt"/>
                <a:cs typeface="Arial" pitchFamily="34" charset="0"/>
              </a:defRPr>
            </a:lvl2pPr>
            <a:lvl3pPr marL="156381" indent="-156381" algn="l" defTabSz="85113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►"/>
              <a:defRPr sz="855" b="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 marL="312761" indent="-156381" algn="l" defTabSz="85113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►"/>
              <a:defRPr sz="855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 marL="156381" indent="-156381" algn="l" defTabSz="85113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Tx/>
              <a:buSzPct val="100000"/>
              <a:buFont typeface="+mj-lt"/>
              <a:buAutoNum type="arabicPeriod"/>
              <a:defRPr sz="855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 marL="0" indent="0" algn="l" defTabSz="0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chemeClr val="tx2"/>
              </a:buClr>
              <a:buFont typeface="Arial Narrow" pitchFamily="34" charset="0"/>
              <a:buNone/>
              <a:defRPr sz="855" b="1" i="0" baseline="0">
                <a:solidFill>
                  <a:schemeClr val="bg1"/>
                </a:solidFill>
                <a:latin typeface="+mn-lt"/>
              </a:defRPr>
            </a:lvl6pPr>
            <a:lvl7pPr marL="0" indent="0" algn="l" defTabSz="85113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chemeClr val="tx2"/>
              </a:buClr>
              <a:buFont typeface="Arial Narrow" pitchFamily="34" charset="0"/>
              <a:buNone/>
              <a:defRPr sz="855" i="1" baseline="0">
                <a:solidFill>
                  <a:schemeClr val="tx1"/>
                </a:solidFill>
                <a:latin typeface="+mn-lt"/>
              </a:defRPr>
            </a:lvl7pPr>
            <a:lvl8pPr marL="0" indent="0" algn="l" defTabSz="85113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513"/>
              </a:spcAft>
              <a:buClr>
                <a:schemeClr val="tx2"/>
              </a:buClr>
              <a:buFont typeface="Arial Narrow" pitchFamily="34" charset="0"/>
              <a:buNone/>
              <a:defRPr sz="1026" b="1">
                <a:solidFill>
                  <a:schemeClr val="bg1"/>
                </a:solidFill>
                <a:latin typeface="+mn-lt"/>
              </a:defRPr>
            </a:lvl8pPr>
            <a:lvl9pPr marL="0" indent="0" algn="l" defTabSz="851135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 Narrow" pitchFamily="34" charset="0"/>
              <a:buNone/>
              <a:defRPr sz="855" baseline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ru-RU" sz="1800" b="1" kern="0" dirty="0">
                <a:latin typeface="EYInterstate Light" panose="02000506000000020004" pitchFamily="2" charset="0"/>
              </a:rPr>
              <a:t>Исследование инвестиционной привлекательности стран: Страны – инвесторы и регионы</a:t>
            </a:r>
            <a:endParaRPr lang="ru-RU" sz="1800" kern="0" dirty="0">
              <a:latin typeface="EYInterstate Light" panose="02000506000000020004" pitchFamily="2" charset="0"/>
            </a:endParaRPr>
          </a:p>
        </p:txBody>
      </p:sp>
      <p:pic>
        <p:nvPicPr>
          <p:cNvPr id="89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0250" y="6238493"/>
            <a:ext cx="56197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0" name="Rectangle 6"/>
          <p:cNvSpPr>
            <a:spLocks noChangeArrowheads="1"/>
          </p:cNvSpPr>
          <p:nvPr/>
        </p:nvSpPr>
        <p:spPr bwMode="auto">
          <a:xfrm>
            <a:off x="2047878" y="6447204"/>
            <a:ext cx="663575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100" dirty="0">
                <a:solidFill>
                  <a:srgbClr val="646464"/>
                </a:solidFill>
                <a:latin typeface="EYInterstate Light" panose="02000506000000020004" pitchFamily="2" charset="0"/>
                <a:cs typeface="Arial" panose="020B0604020202020204" pitchFamily="34" charset="0"/>
              </a:rPr>
              <a:t>Стр. 4</a:t>
            </a:r>
            <a:endParaRPr lang="en-US" altLang="en-US" sz="1100" dirty="0">
              <a:solidFill>
                <a:srgbClr val="646464"/>
              </a:solidFill>
              <a:latin typeface="EYInterstate Light" panose="02000506000000020004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4943192"/>
              </p:ext>
            </p:extLst>
          </p:nvPr>
        </p:nvGraphicFramePr>
        <p:xfrm>
          <a:off x="6460918" y="1458752"/>
          <a:ext cx="3651306" cy="2504966"/>
        </p:xfrm>
        <a:graphic>
          <a:graphicData uri="http://schemas.openxmlformats.org/drawingml/2006/table">
            <a:tbl>
              <a:tblPr/>
              <a:tblGrid>
                <a:gridCol w="2285012"/>
                <a:gridCol w="683147"/>
                <a:gridCol w="683147"/>
              </a:tblGrid>
              <a:tr h="112612">
                <a:tc gridSpan="3">
                  <a:txBody>
                    <a:bodyPr/>
                    <a:lstStyle/>
                    <a:p>
                      <a:pPr algn="l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Центральная Россия - лидер по числу проектов ПИИ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8851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EYInterstate Light" panose="02000506000000020004" pitchFamily="2" charset="0"/>
                        </a:rPr>
                        <a:t>Сектор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EYInterstate Light" panose="02000506000000020004" pitchFamily="2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effectLst/>
                          <a:latin typeface="EYInterstate Light" panose="02000506000000020004" pitchFamily="2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11261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Москва и Московская область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</a:tr>
              <a:tr h="22522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Санкт-Петербург и Ленинградская область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261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Калужская область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</a:tr>
              <a:tr h="11261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Ульяновская область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261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Приморский край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</a:tr>
              <a:tr h="11261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Республика Татарстан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261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Нижегородская область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</a:tr>
              <a:tr h="11261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Владимирская область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1261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Краснодарский край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</a:tr>
              <a:tr h="11261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Свердловская область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EYInterstate Light" panose="02000506000000020004" pitchFamily="2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6460919" y="4129583"/>
            <a:ext cx="3726611" cy="218521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900" dirty="0">
                <a:latin typeface="EYInterstate Light" panose="02000506000000020004" pitchFamily="2" charset="0"/>
              </a:rPr>
              <a:t>На Центральный регион </a:t>
            </a:r>
            <a:r>
              <a:rPr lang="ru-RU" sz="900" dirty="0">
                <a:latin typeface="EYInterstate Light" panose="02000506000000020004" pitchFamily="2" charset="0"/>
              </a:rPr>
              <a:t>России</a:t>
            </a:r>
            <a:r>
              <a:rPr lang="en-US" sz="900" dirty="0">
                <a:latin typeface="EYInterstate Light" panose="02000506000000020004" pitchFamily="2" charset="0"/>
              </a:rPr>
              <a:t> </a:t>
            </a:r>
            <a:r>
              <a:rPr lang="ru-RU" sz="900" dirty="0">
                <a:latin typeface="EYInterstate Light" panose="02000506000000020004" pitchFamily="2" charset="0"/>
              </a:rPr>
              <a:t>пришлось </a:t>
            </a:r>
            <a:r>
              <a:rPr lang="ru-RU" sz="900" dirty="0">
                <a:latin typeface="EYInterstate Light" panose="02000506000000020004" pitchFamily="2" charset="0"/>
              </a:rPr>
              <a:t>подавляющее </a:t>
            </a:r>
            <a:r>
              <a:rPr lang="ru-RU" sz="900" dirty="0">
                <a:latin typeface="EYInterstate Light" panose="02000506000000020004" pitchFamily="2" charset="0"/>
              </a:rPr>
              <a:t>число</a:t>
            </a:r>
            <a:r>
              <a:rPr lang="en-US" sz="900" dirty="0">
                <a:latin typeface="EYInterstate Light" panose="02000506000000020004" pitchFamily="2" charset="0"/>
              </a:rPr>
              <a:t> </a:t>
            </a:r>
            <a:r>
              <a:rPr lang="ru-RU" sz="900" dirty="0">
                <a:latin typeface="EYInterstate Light" panose="02000506000000020004" pitchFamily="2" charset="0"/>
              </a:rPr>
              <a:t>проектов </a:t>
            </a:r>
            <a:r>
              <a:rPr lang="ru-RU" sz="900" dirty="0">
                <a:latin typeface="EYInterstate Light" panose="02000506000000020004" pitchFamily="2" charset="0"/>
              </a:rPr>
              <a:t>ПИИ</a:t>
            </a:r>
            <a:r>
              <a:rPr lang="ru-RU" sz="900" dirty="0">
                <a:latin typeface="EYInterstate Light" panose="02000506000000020004" pitchFamily="2" charset="0"/>
              </a:rPr>
              <a:t>.</a:t>
            </a:r>
            <a:endParaRPr lang="en-US" sz="900" dirty="0">
              <a:latin typeface="EYInterstate Light" panose="02000506000000020004" pitchFamily="2" charset="0"/>
            </a:endParaRP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900" dirty="0">
                <a:latin typeface="EYInterstate Light" panose="02000506000000020004" pitchFamily="2" charset="0"/>
              </a:rPr>
              <a:t>Большая </a:t>
            </a:r>
            <a:r>
              <a:rPr lang="ru-RU" sz="900" dirty="0">
                <a:latin typeface="EYInterstate Light" panose="02000506000000020004" pitchFamily="2" charset="0"/>
              </a:rPr>
              <a:t>часть проектов в </a:t>
            </a:r>
            <a:r>
              <a:rPr lang="ru-RU" sz="900" dirty="0">
                <a:latin typeface="EYInterstate Light" panose="02000506000000020004" pitchFamily="2" charset="0"/>
              </a:rPr>
              <a:t>Москве и Московской области пришлась </a:t>
            </a:r>
            <a:r>
              <a:rPr lang="ru-RU" sz="900" dirty="0">
                <a:latin typeface="EYInterstate Light" panose="02000506000000020004" pitchFamily="2" charset="0"/>
              </a:rPr>
              <a:t>на пищевую </a:t>
            </a:r>
            <a:r>
              <a:rPr lang="ru-RU" sz="900" dirty="0">
                <a:latin typeface="EYInterstate Light" panose="02000506000000020004" pitchFamily="2" charset="0"/>
              </a:rPr>
              <a:t>промышленность </a:t>
            </a:r>
            <a:r>
              <a:rPr lang="ru-RU" sz="900" dirty="0">
                <a:latin typeface="EYInterstate Light" panose="02000506000000020004" pitchFamily="2" charset="0"/>
              </a:rPr>
              <a:t>(10 проектов) и </a:t>
            </a:r>
            <a:r>
              <a:rPr lang="ru-RU" sz="900" dirty="0">
                <a:latin typeface="EYInterstate Light" panose="02000506000000020004" pitchFamily="2" charset="0"/>
              </a:rPr>
              <a:t>сборку автомобилей </a:t>
            </a:r>
            <a:r>
              <a:rPr lang="ru-RU" sz="900" dirty="0">
                <a:latin typeface="EYInterstate Light" panose="02000506000000020004" pitchFamily="2" charset="0"/>
              </a:rPr>
              <a:t>(6 проектов). </a:t>
            </a:r>
            <a:endParaRPr lang="ru-RU" sz="900" dirty="0">
              <a:latin typeface="EYInterstate Light" panose="02000506000000020004" pitchFamily="2" charset="0"/>
            </a:endParaRP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900" dirty="0">
                <a:latin typeface="EYInterstate Light" panose="02000506000000020004" pitchFamily="2" charset="0"/>
              </a:rPr>
              <a:t>За год количество </a:t>
            </a:r>
            <a:r>
              <a:rPr lang="ru-RU" sz="900" dirty="0">
                <a:latin typeface="EYInterstate Light" panose="02000506000000020004" pitchFamily="2" charset="0"/>
              </a:rPr>
              <a:t>проектов в </a:t>
            </a:r>
            <a:r>
              <a:rPr lang="ru-RU" sz="900" dirty="0">
                <a:latin typeface="EYInterstate Light" panose="02000506000000020004" pitchFamily="2" charset="0"/>
              </a:rPr>
              <a:t>Калужской области выросло </a:t>
            </a:r>
            <a:r>
              <a:rPr lang="ru-RU" sz="900" dirty="0">
                <a:latin typeface="EYInterstate Light" panose="02000506000000020004" pitchFamily="2" charset="0"/>
              </a:rPr>
              <a:t>почти в два раза, при </a:t>
            </a:r>
            <a:r>
              <a:rPr lang="ru-RU" sz="900" dirty="0">
                <a:latin typeface="EYInterstate Light" panose="02000506000000020004" pitchFamily="2" charset="0"/>
              </a:rPr>
              <a:t>этом они </a:t>
            </a:r>
            <a:r>
              <a:rPr lang="ru-RU" sz="900" dirty="0">
                <a:latin typeface="EYInterstate Light" panose="02000506000000020004" pitchFamily="2" charset="0"/>
              </a:rPr>
              <a:t>охватывали почти все </a:t>
            </a:r>
            <a:r>
              <a:rPr lang="ru-RU" sz="900" dirty="0">
                <a:latin typeface="EYInterstate Light" panose="02000506000000020004" pitchFamily="2" charset="0"/>
              </a:rPr>
              <a:t>отрасли: начиная </a:t>
            </a:r>
            <a:r>
              <a:rPr lang="ru-RU" sz="900" dirty="0">
                <a:latin typeface="EYInterstate Light" panose="02000506000000020004" pitchFamily="2" charset="0"/>
              </a:rPr>
              <a:t>с фармацевтики и </a:t>
            </a:r>
            <a:r>
              <a:rPr lang="ru-RU" sz="900" dirty="0">
                <a:latin typeface="EYInterstate Light" panose="02000506000000020004" pitchFamily="2" charset="0"/>
              </a:rPr>
              <a:t>химической промышленности </a:t>
            </a:r>
            <a:r>
              <a:rPr lang="ru-RU" sz="900" dirty="0">
                <a:latin typeface="EYInterstate Light" panose="02000506000000020004" pitchFamily="2" charset="0"/>
              </a:rPr>
              <a:t>и </a:t>
            </a:r>
            <a:r>
              <a:rPr lang="ru-RU" sz="900" dirty="0">
                <a:latin typeface="EYInterstate Light" panose="02000506000000020004" pitchFamily="2" charset="0"/>
              </a:rPr>
              <a:t>заканчивая пищевой </a:t>
            </a:r>
            <a:r>
              <a:rPr lang="ru-RU" sz="900" dirty="0">
                <a:latin typeface="EYInterstate Light" panose="02000506000000020004" pitchFamily="2" charset="0"/>
              </a:rPr>
              <a:t>и лесной </a:t>
            </a:r>
            <a:r>
              <a:rPr lang="ru-RU" sz="900" dirty="0">
                <a:latin typeface="EYInterstate Light" panose="02000506000000020004" pitchFamily="2" charset="0"/>
              </a:rPr>
              <a:t>промышленностью.</a:t>
            </a: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900" dirty="0">
                <a:latin typeface="EYInterstate Light" panose="02000506000000020004" pitchFamily="2" charset="0"/>
              </a:rPr>
              <a:t>Три из семи китайских ПИИ приходились на Приморский край.</a:t>
            </a: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►"/>
            </a:pPr>
            <a:r>
              <a:rPr lang="ru-RU" sz="900" dirty="0">
                <a:latin typeface="EYInterstate Light" panose="02000506000000020004" pitchFamily="2" charset="0"/>
              </a:rPr>
              <a:t>Новосибирская область не попала в ТОП-10, как и остальные регионы СФО,</a:t>
            </a:r>
            <a:endParaRPr lang="ru-RU" sz="900" kern="0" dirty="0">
              <a:latin typeface="EYInterstate Light" panose="02000506000000020004" pitchFamily="2" charset="0"/>
            </a:endParaRPr>
          </a:p>
          <a:p>
            <a:pPr marL="171450" indent="-171450">
              <a:spcAft>
                <a:spcPts val="600"/>
              </a:spcAft>
              <a:buClr>
                <a:schemeClr val="accent1"/>
              </a:buClr>
              <a:buSzPct val="70000"/>
              <a:buFont typeface="Arial" panose="020B0604020202020204" pitchFamily="34" charset="0"/>
              <a:buChar char="►"/>
            </a:pPr>
            <a:endParaRPr lang="en-US" sz="900" kern="0" dirty="0" err="1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1701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62150" y="1111275"/>
            <a:ext cx="8229600" cy="4698000"/>
          </a:xfrm>
        </p:spPr>
        <p:txBody>
          <a:bodyPr/>
          <a:lstStyle/>
          <a:p>
            <a:pPr marL="0" indent="0">
              <a:spcAft>
                <a:spcPts val="300"/>
              </a:spcAft>
              <a:buNone/>
            </a:pPr>
            <a:r>
              <a:rPr lang="ru-RU" sz="2000" dirty="0">
                <a:solidFill>
                  <a:schemeClr val="tx1"/>
                </a:solidFill>
              </a:rPr>
              <a:t>Что может выделить Россию на международной арене: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ru-RU" sz="2000" dirty="0">
                <a:solidFill>
                  <a:schemeClr val="tx1"/>
                </a:solidFill>
              </a:rPr>
              <a:t>«Делаем лучше всех»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ru-RU" sz="2000" dirty="0">
                <a:solidFill>
                  <a:schemeClr val="tx1"/>
                </a:solidFill>
              </a:rPr>
              <a:t>«Делаем дешевле всех»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ru-RU" sz="2000" dirty="0">
                <a:solidFill>
                  <a:schemeClr val="tx1"/>
                </a:solidFill>
              </a:rPr>
              <a:t>«Уникальные предложения»</a:t>
            </a:r>
          </a:p>
          <a:p>
            <a:pPr marL="0" indent="0">
              <a:spcBef>
                <a:spcPts val="200"/>
              </a:spcBef>
              <a:spcAft>
                <a:spcPts val="200"/>
              </a:spcAft>
              <a:buNone/>
            </a:pPr>
            <a:endParaRPr lang="ru-RU" sz="600" dirty="0">
              <a:solidFill>
                <a:schemeClr val="tx1"/>
              </a:solidFill>
            </a:endParaRPr>
          </a:p>
          <a:p>
            <a:pPr marL="0" indent="0">
              <a:spcAft>
                <a:spcPts val="300"/>
              </a:spcAft>
              <a:buNone/>
            </a:pPr>
            <a:r>
              <a:rPr lang="ru-RU" sz="2000" dirty="0">
                <a:solidFill>
                  <a:schemeClr val="tx1"/>
                </a:solidFill>
              </a:rPr>
              <a:t>Ресурсы </a:t>
            </a:r>
            <a:endParaRPr lang="ru-RU" sz="2000" dirty="0">
              <a:solidFill>
                <a:schemeClr val="tx1"/>
              </a:solidFill>
            </a:endParaRP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ru-RU" sz="2000" dirty="0">
                <a:solidFill>
                  <a:schemeClr val="tx1"/>
                </a:solidFill>
              </a:rPr>
              <a:t>Компетенции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ru-RU" sz="2000" dirty="0">
                <a:solidFill>
                  <a:schemeClr val="tx1"/>
                </a:solidFill>
              </a:rPr>
              <a:t>Курс рубля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ru-RU" sz="2000" dirty="0">
                <a:solidFill>
                  <a:schemeClr val="tx1"/>
                </a:solidFill>
              </a:rPr>
              <a:t>Природные </a:t>
            </a:r>
            <a:r>
              <a:rPr lang="ru-RU" sz="2000" dirty="0">
                <a:solidFill>
                  <a:schemeClr val="tx1"/>
                </a:solidFill>
              </a:rPr>
              <a:t>ресурсы</a:t>
            </a:r>
          </a:p>
          <a:p>
            <a:pPr marL="0" indent="0">
              <a:spcBef>
                <a:spcPts val="200"/>
              </a:spcBef>
              <a:spcAft>
                <a:spcPts val="200"/>
              </a:spcAft>
              <a:buNone/>
            </a:pPr>
            <a:endParaRPr lang="ru-RU" sz="600" dirty="0">
              <a:solidFill>
                <a:schemeClr val="tx1"/>
              </a:solidFill>
            </a:endParaRPr>
          </a:p>
          <a:p>
            <a:pPr marL="0" indent="0">
              <a:spcAft>
                <a:spcPts val="300"/>
              </a:spcAft>
              <a:buNone/>
            </a:pPr>
            <a:r>
              <a:rPr lang="ru-RU" sz="2000" dirty="0">
                <a:solidFill>
                  <a:schemeClr val="tx1"/>
                </a:solidFill>
              </a:rPr>
              <a:t>Поддержка со стороны государства 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ru-RU" sz="2000" dirty="0">
                <a:solidFill>
                  <a:schemeClr val="tx1"/>
                </a:solidFill>
              </a:rPr>
              <a:t>Льготы, субсидии и </a:t>
            </a:r>
            <a:r>
              <a:rPr lang="ru-RU" sz="2000" dirty="0" err="1">
                <a:solidFill>
                  <a:schemeClr val="tx1"/>
                </a:solidFill>
              </a:rPr>
              <a:t>тд</a:t>
            </a:r>
            <a:r>
              <a:rPr lang="ru-RU" sz="2000" dirty="0">
                <a:solidFill>
                  <a:schemeClr val="tx1"/>
                </a:solidFill>
              </a:rPr>
              <a:t>.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ru-RU" sz="2000" dirty="0">
                <a:solidFill>
                  <a:schemeClr val="tx1"/>
                </a:solidFill>
              </a:rPr>
              <a:t>Вклад в образование (инновации и </a:t>
            </a:r>
            <a:r>
              <a:rPr lang="ru-RU" sz="2000" dirty="0" err="1">
                <a:solidFill>
                  <a:schemeClr val="tx1"/>
                </a:solidFill>
              </a:rPr>
              <a:t>тд</a:t>
            </a:r>
            <a:r>
              <a:rPr lang="ru-RU" sz="2000" dirty="0">
                <a:solidFill>
                  <a:schemeClr val="tx1"/>
                </a:solidFill>
              </a:rPr>
              <a:t>.)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ru-RU" sz="2000" dirty="0">
                <a:solidFill>
                  <a:schemeClr val="tx1"/>
                </a:solidFill>
              </a:rPr>
              <a:t>Доступность уникальных предложений (инфраструктура, </a:t>
            </a:r>
            <a:r>
              <a:rPr lang="en-US" sz="2000" dirty="0">
                <a:solidFill>
                  <a:schemeClr val="tx1"/>
                </a:solidFill>
              </a:rPr>
              <a:t>PR</a:t>
            </a:r>
            <a:r>
              <a:rPr lang="ru-RU" sz="20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981200" y="365757"/>
            <a:ext cx="8229600" cy="567147"/>
          </a:xfrm>
        </p:spPr>
        <p:txBody>
          <a:bodyPr/>
          <a:lstStyle/>
          <a:p>
            <a:r>
              <a:rPr lang="ru-RU" sz="1800" dirty="0"/>
              <a:t>Развитие новых инвестиционных и экспортных проектов в Российской Федерации 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20416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63"/>
          <p:cNvSpPr txBox="1">
            <a:spLocks noChangeArrowheads="1"/>
          </p:cNvSpPr>
          <p:nvPr/>
        </p:nvSpPr>
        <p:spPr bwMode="auto">
          <a:xfrm>
            <a:off x="1981200" y="203200"/>
            <a:ext cx="8686800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400">
                <a:solidFill>
                  <a:srgbClr val="646464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000">
                <a:solidFill>
                  <a:srgbClr val="646464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rgbClr val="646464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en-US" sz="2800" dirty="0"/>
              <a:t>Конкуренция за инвестиции</a:t>
            </a:r>
          </a:p>
        </p:txBody>
      </p:sp>
      <p:sp>
        <p:nvSpPr>
          <p:cNvPr id="6147" name="TextBox 29"/>
          <p:cNvSpPr txBox="1">
            <a:spLocks noChangeArrowheads="1"/>
          </p:cNvSpPr>
          <p:nvPr/>
        </p:nvSpPr>
        <p:spPr bwMode="auto">
          <a:xfrm>
            <a:off x="1985963" y="1316038"/>
            <a:ext cx="8488362" cy="538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28600" indent="-22860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400">
                <a:solidFill>
                  <a:srgbClr val="646464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000">
                <a:solidFill>
                  <a:srgbClr val="646464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rgbClr val="646464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ts val="600"/>
              </a:spcAft>
            </a:pPr>
            <a:r>
              <a:rPr lang="ru-RU" altLang="en-US" sz="2000" dirty="0"/>
              <a:t>Обоснован ли акцент на конкуренцию между городом и областью?</a:t>
            </a:r>
          </a:p>
        </p:txBody>
      </p:sp>
      <p:grpSp>
        <p:nvGrpSpPr>
          <p:cNvPr id="6148" name="Group 24"/>
          <p:cNvGrpSpPr>
            <a:grpSpLocks/>
          </p:cNvGrpSpPr>
          <p:nvPr/>
        </p:nvGrpSpPr>
        <p:grpSpPr bwMode="auto">
          <a:xfrm>
            <a:off x="2447925" y="2192586"/>
            <a:ext cx="7373938" cy="3354359"/>
            <a:chOff x="923525" y="2584119"/>
            <a:chExt cx="7373760" cy="3353991"/>
          </a:xfrm>
        </p:grpSpPr>
        <p:sp>
          <p:nvSpPr>
            <p:cNvPr id="6149" name="Line 4"/>
            <p:cNvSpPr>
              <a:spLocks noChangeShapeType="1"/>
            </p:cNvSpPr>
            <p:nvPr/>
          </p:nvSpPr>
          <p:spPr bwMode="auto">
            <a:xfrm flipH="1">
              <a:off x="2768990" y="3579085"/>
              <a:ext cx="2028825" cy="1412875"/>
            </a:xfrm>
            <a:prstGeom prst="line">
              <a:avLst/>
            </a:prstGeom>
            <a:noFill/>
            <a:ln w="28575">
              <a:solidFill>
                <a:srgbClr val="FFD200"/>
              </a:solidFill>
              <a:prstDash val="dash"/>
              <a:round/>
              <a:headEnd type="none" w="sm" len="sm"/>
              <a:tailEnd type="stealth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45720" rIns="45720" anchor="ctr" anchorCtr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>
                <a:solidFill>
                  <a:srgbClr val="646464"/>
                </a:solidFill>
              </a:endParaRPr>
            </a:p>
          </p:txBody>
        </p:sp>
        <p:sp>
          <p:nvSpPr>
            <p:cNvPr id="6150" name="Line 5"/>
            <p:cNvSpPr>
              <a:spLocks noChangeShapeType="1"/>
            </p:cNvSpPr>
            <p:nvPr/>
          </p:nvSpPr>
          <p:spPr bwMode="auto">
            <a:xfrm flipH="1">
              <a:off x="3423040" y="4175985"/>
              <a:ext cx="1377950" cy="987425"/>
            </a:xfrm>
            <a:prstGeom prst="line">
              <a:avLst/>
            </a:prstGeom>
            <a:noFill/>
            <a:ln w="28575">
              <a:solidFill>
                <a:srgbClr val="FFD200"/>
              </a:solidFill>
              <a:prstDash val="dash"/>
              <a:round/>
              <a:headEnd type="none" w="sm" len="sm"/>
              <a:tailEnd type="stealth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45720" rIns="45720" anchor="ctr" anchorCtr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>
                <a:solidFill>
                  <a:srgbClr val="646464"/>
                </a:solidFill>
              </a:endParaRPr>
            </a:p>
          </p:txBody>
        </p:sp>
        <p:sp>
          <p:nvSpPr>
            <p:cNvPr id="6151" name="Line 6"/>
            <p:cNvSpPr>
              <a:spLocks noChangeShapeType="1"/>
            </p:cNvSpPr>
            <p:nvPr/>
          </p:nvSpPr>
          <p:spPr bwMode="auto">
            <a:xfrm flipH="1">
              <a:off x="4110428" y="4785585"/>
              <a:ext cx="690563" cy="495300"/>
            </a:xfrm>
            <a:prstGeom prst="line">
              <a:avLst/>
            </a:prstGeom>
            <a:noFill/>
            <a:ln w="28575">
              <a:solidFill>
                <a:srgbClr val="FFD200"/>
              </a:solidFill>
              <a:prstDash val="dash"/>
              <a:round/>
              <a:headEnd type="none" w="sm" len="sm"/>
              <a:tailEnd type="stealth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45720" rIns="45720" anchor="ctr" anchorCtr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>
                <a:solidFill>
                  <a:srgbClr val="646464"/>
                </a:solidFill>
              </a:endParaRPr>
            </a:p>
          </p:txBody>
        </p:sp>
        <p:sp>
          <p:nvSpPr>
            <p:cNvPr id="6152" name="Rectangle 7"/>
            <p:cNvSpPr>
              <a:spLocks noChangeArrowheads="1"/>
            </p:cNvSpPr>
            <p:nvPr/>
          </p:nvSpPr>
          <p:spPr bwMode="auto">
            <a:xfrm>
              <a:off x="4821641" y="3169510"/>
              <a:ext cx="458788" cy="2768600"/>
            </a:xfrm>
            <a:prstGeom prst="rect">
              <a:avLst/>
            </a:prstGeom>
            <a:solidFill>
              <a:srgbClr val="6464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720" rIns="45720" anchor="ctr" anchorCtr="1"/>
            <a:lstStyle>
              <a:lvl1pPr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2400">
                  <a:solidFill>
                    <a:srgbClr val="646464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2000">
                  <a:solidFill>
                    <a:srgbClr val="646464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>
                  <a:solidFill>
                    <a:srgbClr val="646464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altLang="en-US" sz="1800" b="1">
                <a:solidFill>
                  <a:srgbClr val="FFFFFF"/>
                </a:solidFill>
              </a:endParaRPr>
            </a:p>
          </p:txBody>
        </p:sp>
        <p:sp>
          <p:nvSpPr>
            <p:cNvPr id="6153" name="Line 8"/>
            <p:cNvSpPr>
              <a:spLocks noChangeShapeType="1"/>
            </p:cNvSpPr>
            <p:nvPr/>
          </p:nvSpPr>
          <p:spPr bwMode="auto">
            <a:xfrm>
              <a:off x="2622940" y="2988535"/>
              <a:ext cx="2174875" cy="587375"/>
            </a:xfrm>
            <a:prstGeom prst="line">
              <a:avLst/>
            </a:prstGeom>
            <a:noFill/>
            <a:ln w="28575">
              <a:solidFill>
                <a:srgbClr val="FFD200"/>
              </a:solidFill>
              <a:round/>
              <a:headEnd type="none" w="sm" len="sm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45720" rIns="45720" anchor="ctr" anchorCtr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>
                <a:solidFill>
                  <a:srgbClr val="646464"/>
                </a:solidFill>
              </a:endParaRPr>
            </a:p>
          </p:txBody>
        </p:sp>
        <p:sp>
          <p:nvSpPr>
            <p:cNvPr id="6154" name="Line 10"/>
            <p:cNvSpPr>
              <a:spLocks noChangeShapeType="1"/>
            </p:cNvSpPr>
            <p:nvPr/>
          </p:nvSpPr>
          <p:spPr bwMode="auto">
            <a:xfrm>
              <a:off x="2622940" y="3591785"/>
              <a:ext cx="2174875" cy="587375"/>
            </a:xfrm>
            <a:prstGeom prst="line">
              <a:avLst/>
            </a:prstGeom>
            <a:noFill/>
            <a:ln w="28575">
              <a:solidFill>
                <a:srgbClr val="FFD200"/>
              </a:solidFill>
              <a:round/>
              <a:headEnd type="none" w="sm" len="sm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45720" rIns="45720" anchor="ctr" anchorCtr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>
                <a:solidFill>
                  <a:srgbClr val="646464"/>
                </a:solidFill>
              </a:endParaRPr>
            </a:p>
          </p:txBody>
        </p:sp>
        <p:sp>
          <p:nvSpPr>
            <p:cNvPr id="6155" name="Line 11"/>
            <p:cNvSpPr>
              <a:spLocks noChangeShapeType="1"/>
            </p:cNvSpPr>
            <p:nvPr/>
          </p:nvSpPr>
          <p:spPr bwMode="auto">
            <a:xfrm>
              <a:off x="2618178" y="4191860"/>
              <a:ext cx="2179638" cy="590550"/>
            </a:xfrm>
            <a:prstGeom prst="line">
              <a:avLst/>
            </a:prstGeom>
            <a:noFill/>
            <a:ln w="28575">
              <a:solidFill>
                <a:srgbClr val="FFD200"/>
              </a:solidFill>
              <a:round/>
              <a:headEnd type="none" w="sm" len="sm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45720" rIns="45720" anchor="ctr" anchorCtr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>
                <a:solidFill>
                  <a:srgbClr val="646464"/>
                </a:solidFill>
              </a:endParaRPr>
            </a:p>
          </p:txBody>
        </p:sp>
        <p:sp>
          <p:nvSpPr>
            <p:cNvPr id="6156" name="Line 12"/>
            <p:cNvSpPr>
              <a:spLocks noChangeShapeType="1"/>
            </p:cNvSpPr>
            <p:nvPr/>
          </p:nvSpPr>
          <p:spPr bwMode="auto">
            <a:xfrm>
              <a:off x="2618178" y="3890235"/>
              <a:ext cx="4066097" cy="1074965"/>
            </a:xfrm>
            <a:prstGeom prst="line">
              <a:avLst/>
            </a:prstGeom>
            <a:noFill/>
            <a:ln w="28575">
              <a:solidFill>
                <a:srgbClr val="FFD200"/>
              </a:solidFill>
              <a:round/>
              <a:headEnd type="none" w="sm" len="sm"/>
              <a:tailEnd type="stealth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45720" rIns="45720" anchor="ctr" anchorCtr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>
                <a:solidFill>
                  <a:srgbClr val="646464"/>
                </a:solidFill>
              </a:endParaRPr>
            </a:p>
          </p:txBody>
        </p:sp>
        <p:sp>
          <p:nvSpPr>
            <p:cNvPr id="6157" name="Text Box 14"/>
            <p:cNvSpPr txBox="1">
              <a:spLocks noChangeArrowheads="1"/>
            </p:cNvSpPr>
            <p:nvPr/>
          </p:nvSpPr>
          <p:spPr bwMode="auto">
            <a:xfrm>
              <a:off x="923525" y="3659430"/>
              <a:ext cx="1551958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 anchorCtr="1">
              <a:spAutoFit/>
            </a:bodyPr>
            <a:lstStyle>
              <a:lvl1pPr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2400">
                  <a:solidFill>
                    <a:srgbClr val="646464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2000">
                  <a:solidFill>
                    <a:srgbClr val="646464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>
                  <a:solidFill>
                    <a:srgbClr val="646464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en-US" sz="1800" b="1" dirty="0"/>
                <a:t>Частные инвестиции</a:t>
              </a:r>
              <a:endParaRPr lang="en-US" altLang="en-US" sz="1800" b="1" dirty="0"/>
            </a:p>
          </p:txBody>
        </p:sp>
        <p:sp>
          <p:nvSpPr>
            <p:cNvPr id="6158" name="Text Box 15"/>
            <p:cNvSpPr txBox="1">
              <a:spLocks noChangeArrowheads="1"/>
            </p:cNvSpPr>
            <p:nvPr/>
          </p:nvSpPr>
          <p:spPr bwMode="auto">
            <a:xfrm>
              <a:off x="3978786" y="2584119"/>
              <a:ext cx="2906662" cy="523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45720" rIns="45720" anchor="ctr" anchorCtr="1">
              <a:spAutoFit/>
            </a:bodyPr>
            <a:lstStyle>
              <a:lvl1pPr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2400">
                  <a:solidFill>
                    <a:srgbClr val="646464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2000">
                  <a:solidFill>
                    <a:srgbClr val="646464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>
                  <a:solidFill>
                    <a:srgbClr val="646464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en-US" sz="1400" b="1" dirty="0"/>
                <a:t>Восприятие бизнес-климата Новосибирской области</a:t>
              </a:r>
              <a:endParaRPr lang="en-US" altLang="en-US" sz="1400" b="1" dirty="0"/>
            </a:p>
          </p:txBody>
        </p:sp>
        <p:sp>
          <p:nvSpPr>
            <p:cNvPr id="6159" name="Line 6"/>
            <p:cNvSpPr>
              <a:spLocks noChangeShapeType="1"/>
            </p:cNvSpPr>
            <p:nvPr/>
          </p:nvSpPr>
          <p:spPr bwMode="auto">
            <a:xfrm flipH="1">
              <a:off x="4533594" y="5059660"/>
              <a:ext cx="262563" cy="212780"/>
            </a:xfrm>
            <a:prstGeom prst="line">
              <a:avLst/>
            </a:prstGeom>
            <a:noFill/>
            <a:ln w="28575">
              <a:solidFill>
                <a:srgbClr val="FFD200"/>
              </a:solidFill>
              <a:prstDash val="dash"/>
              <a:round/>
              <a:headEnd type="none" w="sm" len="sm"/>
              <a:tailEnd type="stealth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45720" rIns="45720" anchor="ctr" anchorCtr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>
                <a:solidFill>
                  <a:srgbClr val="646464"/>
                </a:solidFill>
              </a:endParaRPr>
            </a:p>
          </p:txBody>
        </p:sp>
        <p:sp>
          <p:nvSpPr>
            <p:cNvPr id="6160" name="Line 11"/>
            <p:cNvSpPr>
              <a:spLocks noChangeShapeType="1"/>
            </p:cNvSpPr>
            <p:nvPr/>
          </p:nvSpPr>
          <p:spPr bwMode="auto">
            <a:xfrm>
              <a:off x="2613345" y="4465935"/>
              <a:ext cx="2179638" cy="590550"/>
            </a:xfrm>
            <a:prstGeom prst="line">
              <a:avLst/>
            </a:prstGeom>
            <a:noFill/>
            <a:ln w="28575">
              <a:solidFill>
                <a:srgbClr val="FFD200"/>
              </a:solidFill>
              <a:round/>
              <a:headEnd type="none" w="sm" len="sm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45720" rIns="45720" anchor="ctr" anchorCtr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>
                <a:solidFill>
                  <a:srgbClr val="646464"/>
                </a:solidFill>
              </a:endParaRPr>
            </a:p>
          </p:txBody>
        </p:sp>
        <p:sp>
          <p:nvSpPr>
            <p:cNvPr id="6161" name="Line 4"/>
            <p:cNvSpPr>
              <a:spLocks noChangeShapeType="1"/>
            </p:cNvSpPr>
            <p:nvPr/>
          </p:nvSpPr>
          <p:spPr bwMode="auto">
            <a:xfrm flipH="1">
              <a:off x="3112609" y="3865931"/>
              <a:ext cx="1679429" cy="1176080"/>
            </a:xfrm>
            <a:prstGeom prst="line">
              <a:avLst/>
            </a:prstGeom>
            <a:noFill/>
            <a:ln w="28575">
              <a:solidFill>
                <a:srgbClr val="FFD200"/>
              </a:solidFill>
              <a:prstDash val="dash"/>
              <a:round/>
              <a:headEnd type="none" w="sm" len="sm"/>
              <a:tailEnd type="stealth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45720" rIns="45720" anchor="ctr" anchorCtr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>
                <a:solidFill>
                  <a:srgbClr val="646464"/>
                </a:solidFill>
              </a:endParaRPr>
            </a:p>
          </p:txBody>
        </p:sp>
        <p:sp>
          <p:nvSpPr>
            <p:cNvPr id="6162" name="Line 8"/>
            <p:cNvSpPr>
              <a:spLocks noChangeShapeType="1"/>
            </p:cNvSpPr>
            <p:nvPr/>
          </p:nvSpPr>
          <p:spPr bwMode="auto">
            <a:xfrm>
              <a:off x="2617164" y="3275380"/>
              <a:ext cx="2174875" cy="587375"/>
            </a:xfrm>
            <a:prstGeom prst="line">
              <a:avLst/>
            </a:prstGeom>
            <a:noFill/>
            <a:ln w="28575">
              <a:solidFill>
                <a:srgbClr val="FFD200"/>
              </a:solidFill>
              <a:round/>
              <a:headEnd type="none" w="sm" len="sm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45720" rIns="45720" anchor="ctr" anchorCtr="1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b="1">
                <a:solidFill>
                  <a:srgbClr val="646464"/>
                </a:solidFill>
              </a:endParaRPr>
            </a:p>
          </p:txBody>
        </p:sp>
        <p:sp>
          <p:nvSpPr>
            <p:cNvPr id="6163" name="Text Box 14"/>
            <p:cNvSpPr txBox="1">
              <a:spLocks noChangeArrowheads="1"/>
            </p:cNvSpPr>
            <p:nvPr/>
          </p:nvSpPr>
          <p:spPr bwMode="auto">
            <a:xfrm>
              <a:off x="6745327" y="4665360"/>
              <a:ext cx="1551958" cy="7385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 anchorCtr="1">
              <a:spAutoFit/>
            </a:bodyPr>
            <a:lstStyle>
              <a:lvl1pPr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2400">
                  <a:solidFill>
                    <a:srgbClr val="646464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2000">
                  <a:solidFill>
                    <a:srgbClr val="646464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>
                  <a:solidFill>
                    <a:srgbClr val="646464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en-US" sz="1400" b="1" dirty="0"/>
                <a:t>Новосибирская область/Новосибирск</a:t>
              </a:r>
              <a:endParaRPr lang="en-US" altLang="en-US" sz="1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807323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extBox 1"/>
          <p:cNvSpPr txBox="1">
            <a:spLocks noChangeArrowheads="1"/>
          </p:cNvSpPr>
          <p:nvPr/>
        </p:nvSpPr>
        <p:spPr bwMode="auto">
          <a:xfrm>
            <a:off x="1981200" y="203200"/>
            <a:ext cx="8686800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400">
                <a:solidFill>
                  <a:srgbClr val="646464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000">
                <a:solidFill>
                  <a:srgbClr val="646464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rgbClr val="646464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en-US" sz="2800" dirty="0"/>
              <a:t>Комплексный подход к привлечению инвесторов</a:t>
            </a:r>
          </a:p>
        </p:txBody>
      </p:sp>
      <p:sp>
        <p:nvSpPr>
          <p:cNvPr id="13315" name="TextBox 9"/>
          <p:cNvSpPr txBox="1">
            <a:spLocks noChangeArrowheads="1"/>
          </p:cNvSpPr>
          <p:nvPr/>
        </p:nvSpPr>
        <p:spPr bwMode="auto">
          <a:xfrm>
            <a:off x="1985964" y="1163639"/>
            <a:ext cx="8258175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28600" indent="-22860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400">
                <a:solidFill>
                  <a:srgbClr val="646464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2000">
                <a:solidFill>
                  <a:srgbClr val="646464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>
                <a:solidFill>
                  <a:srgbClr val="646464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panose="020B0604020202020204" pitchFamily="34" charset="0"/>
              <a:buChar char="►"/>
              <a:defRPr sz="1600">
                <a:solidFill>
                  <a:srgbClr val="646464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ts val="600"/>
              </a:spcAft>
            </a:pPr>
            <a:r>
              <a:rPr lang="ru-RU" altLang="en-US" sz="2000" dirty="0"/>
              <a:t>Чрезмерное внимание к привлечению инвесторов, а не к системному сопровождению инвестиционных проектов</a:t>
            </a:r>
          </a:p>
        </p:txBody>
      </p:sp>
      <p:grpSp>
        <p:nvGrpSpPr>
          <p:cNvPr id="13316" name="Group 14"/>
          <p:cNvGrpSpPr>
            <a:grpSpLocks/>
          </p:cNvGrpSpPr>
          <p:nvPr/>
        </p:nvGrpSpPr>
        <p:grpSpPr bwMode="auto">
          <a:xfrm>
            <a:off x="3100389" y="2641601"/>
            <a:ext cx="5907087" cy="3052763"/>
            <a:chOff x="959" y="1533"/>
            <a:chExt cx="3721" cy="1923"/>
          </a:xfrm>
        </p:grpSpPr>
        <p:sp>
          <p:nvSpPr>
            <p:cNvPr id="13317" name="Rectangle 4"/>
            <p:cNvSpPr>
              <a:spLocks noChangeAspect="1" noChangeArrowheads="1"/>
            </p:cNvSpPr>
            <p:nvPr/>
          </p:nvSpPr>
          <p:spPr bwMode="auto">
            <a:xfrm rot="-900000">
              <a:off x="3097" y="1533"/>
              <a:ext cx="1413" cy="679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/>
            <a:lstStyle>
              <a:lvl1pPr defTabSz="1042988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2400">
                  <a:solidFill>
                    <a:srgbClr val="646464"/>
                  </a:solidFill>
                  <a:latin typeface="Arial" panose="020B0604020202020204" pitchFamily="34" charset="0"/>
                </a:defRPr>
              </a:lvl1pPr>
              <a:lvl2pPr marL="742950" indent="-285750" defTabSz="1042988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2000">
                  <a:solidFill>
                    <a:srgbClr val="646464"/>
                  </a:solidFill>
                  <a:latin typeface="Arial" panose="020B0604020202020204" pitchFamily="34" charset="0"/>
                </a:defRPr>
              </a:lvl2pPr>
              <a:lvl3pPr marL="1143000" indent="-228600" defTabSz="1042988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>
                  <a:solidFill>
                    <a:srgbClr val="646464"/>
                  </a:solidFill>
                  <a:latin typeface="Arial" panose="020B0604020202020204" pitchFamily="34" charset="0"/>
                </a:defRPr>
              </a:lvl3pPr>
              <a:lvl4pPr marL="1600200" indent="-228600" defTabSz="1042988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4pPr>
              <a:lvl5pPr marL="2057400" indent="-228600" defTabSz="1042988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5pPr>
              <a:lvl6pPr marL="2514600" indent="-228600" defTabSz="1042988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6pPr>
              <a:lvl7pPr marL="2971800" indent="-228600" defTabSz="1042988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7pPr>
              <a:lvl8pPr marL="3429000" indent="-228600" defTabSz="1042988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8pPr>
              <a:lvl9pPr marL="3886200" indent="-228600" defTabSz="1042988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A28A"/>
                </a:buClr>
                <a:buSzTx/>
                <a:buFont typeface="Times" panose="02020603050405020304" pitchFamily="18" charset="0"/>
                <a:buNone/>
              </a:pPr>
              <a:r>
                <a:rPr lang="ru-RU" altLang="en-US" sz="1800" b="1" dirty="0">
                  <a:solidFill>
                    <a:srgbClr val="FFFFFF"/>
                  </a:solidFill>
                </a:rPr>
                <a:t>Поддержка и сопровождение проектов</a:t>
              </a:r>
              <a:endParaRPr lang="en-US" altLang="en-US" sz="1800" b="1" dirty="0">
                <a:solidFill>
                  <a:srgbClr val="FFFFFF"/>
                </a:solidFill>
              </a:endParaRPr>
            </a:p>
          </p:txBody>
        </p:sp>
        <p:sp>
          <p:nvSpPr>
            <p:cNvPr id="13318" name="Rectangle 5"/>
            <p:cNvSpPr>
              <a:spLocks noChangeAspect="1" noChangeArrowheads="1"/>
            </p:cNvSpPr>
            <p:nvPr/>
          </p:nvSpPr>
          <p:spPr bwMode="auto">
            <a:xfrm rot="-900000">
              <a:off x="959" y="1864"/>
              <a:ext cx="1414" cy="927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/>
            <a:lstStyle>
              <a:lvl1pPr defTabSz="1042988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2400">
                  <a:solidFill>
                    <a:srgbClr val="646464"/>
                  </a:solidFill>
                  <a:latin typeface="Arial" panose="020B0604020202020204" pitchFamily="34" charset="0"/>
                </a:defRPr>
              </a:lvl1pPr>
              <a:lvl2pPr marL="742950" indent="-285750" defTabSz="1042988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2000">
                  <a:solidFill>
                    <a:srgbClr val="646464"/>
                  </a:solidFill>
                  <a:latin typeface="Arial" panose="020B0604020202020204" pitchFamily="34" charset="0"/>
                </a:defRPr>
              </a:lvl2pPr>
              <a:lvl3pPr marL="1143000" indent="-228600" defTabSz="1042988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>
                  <a:solidFill>
                    <a:srgbClr val="646464"/>
                  </a:solidFill>
                  <a:latin typeface="Arial" panose="020B0604020202020204" pitchFamily="34" charset="0"/>
                </a:defRPr>
              </a:lvl3pPr>
              <a:lvl4pPr marL="1600200" indent="-228600" defTabSz="1042988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4pPr>
              <a:lvl5pPr marL="2057400" indent="-228600" defTabSz="1042988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5pPr>
              <a:lvl6pPr marL="2514600" indent="-228600" defTabSz="1042988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6pPr>
              <a:lvl7pPr marL="2971800" indent="-228600" defTabSz="1042988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7pPr>
              <a:lvl8pPr marL="3429000" indent="-228600" defTabSz="1042988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8pPr>
              <a:lvl9pPr marL="3886200" indent="-228600" defTabSz="1042988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A28A"/>
                </a:buClr>
                <a:buSzTx/>
                <a:buFont typeface="Times" panose="02020603050405020304" pitchFamily="18" charset="0"/>
                <a:buNone/>
              </a:pPr>
              <a:r>
                <a:rPr lang="ru-RU" altLang="en-US" sz="1800" b="1" dirty="0">
                  <a:solidFill>
                    <a:srgbClr val="FFFFFF"/>
                  </a:solidFill>
                </a:rPr>
                <a:t>Продвижение региона и привлечение инвесторов</a:t>
              </a:r>
              <a:endParaRPr lang="en-US" altLang="en-US" sz="1800" b="1" dirty="0">
                <a:solidFill>
                  <a:srgbClr val="FFFFFF"/>
                </a:solidFill>
              </a:endParaRPr>
            </a:p>
          </p:txBody>
        </p:sp>
        <p:sp>
          <p:nvSpPr>
            <p:cNvPr id="13319" name="Rectangle 6"/>
            <p:cNvSpPr>
              <a:spLocks noChangeAspect="1" noChangeArrowheads="1"/>
            </p:cNvSpPr>
            <p:nvPr/>
          </p:nvSpPr>
          <p:spPr bwMode="auto">
            <a:xfrm rot="-900000">
              <a:off x="1047" y="2495"/>
              <a:ext cx="3633" cy="69"/>
            </a:xfrm>
            <a:prstGeom prst="rect">
              <a:avLst/>
            </a:pr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45720" rIns="45720"/>
            <a:lstStyle>
              <a:lvl1pPr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2400">
                  <a:solidFill>
                    <a:srgbClr val="646464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2000">
                  <a:solidFill>
                    <a:srgbClr val="646464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>
                  <a:solidFill>
                    <a:srgbClr val="646464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US" altLang="en-US" sz="1800" b="1">
                <a:solidFill>
                  <a:srgbClr val="FFFFFF"/>
                </a:solidFill>
              </a:endParaRPr>
            </a:p>
          </p:txBody>
        </p:sp>
        <p:sp>
          <p:nvSpPr>
            <p:cNvPr id="13320" name="AutoShape 7"/>
            <p:cNvSpPr>
              <a:spLocks noChangeAspect="1" noChangeArrowheads="1"/>
            </p:cNvSpPr>
            <p:nvPr/>
          </p:nvSpPr>
          <p:spPr bwMode="auto">
            <a:xfrm>
              <a:off x="2190" y="2598"/>
              <a:ext cx="1346" cy="858"/>
            </a:xfrm>
            <a:prstGeom prst="triangle">
              <a:avLst>
                <a:gd name="adj" fmla="val 50000"/>
              </a:avLst>
            </a:prstGeom>
            <a:solidFill>
              <a:srgbClr val="FFD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45720" rIns="45720" anchor="ctr"/>
            <a:lstStyle>
              <a:lvl1pPr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2400">
                  <a:solidFill>
                    <a:srgbClr val="646464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2000">
                  <a:solidFill>
                    <a:srgbClr val="646464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>
                  <a:solidFill>
                    <a:srgbClr val="646464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FD200"/>
                </a:buClr>
                <a:buSzPct val="75000"/>
                <a:buFont typeface="Arial" panose="020B0604020202020204" pitchFamily="34" charset="0"/>
                <a:buChar char="►"/>
                <a:defRPr sz="1600">
                  <a:solidFill>
                    <a:srgbClr val="646464"/>
                  </a:solidFill>
                  <a:latin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US" altLang="en-US" sz="1800" b="1">
                  <a:solidFill>
                    <a:srgbClr val="FFFFFF"/>
                  </a:solidFill>
                </a:rPr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5117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067937" y="466219"/>
            <a:ext cx="8086688" cy="427345"/>
          </a:xfrm>
        </p:spPr>
        <p:txBody>
          <a:bodyPr vert="horz" lIns="117286" tIns="0" rIns="0" bIns="0" rtlCol="0">
            <a:noAutofit/>
          </a:bodyPr>
          <a:lstStyle/>
          <a:p>
            <a:r>
              <a:rPr lang="ru-RU" sz="1368" b="1" dirty="0"/>
              <a:t>При выборе местоположения международные инвесторы ориентируются на комплексную оценку региона, но в зависимости от специфики производства особое значение может быть присвоено отдельным факторам. </a:t>
            </a:r>
            <a:endParaRPr lang="en-US" sz="1368" b="1" dirty="0"/>
          </a:p>
        </p:txBody>
      </p:sp>
      <p:grpSp>
        <p:nvGrpSpPr>
          <p:cNvPr id="5" name="Group 4"/>
          <p:cNvGrpSpPr/>
          <p:nvPr/>
        </p:nvGrpSpPr>
        <p:grpSpPr>
          <a:xfrm>
            <a:off x="2611516" y="836088"/>
            <a:ext cx="8910338" cy="5325659"/>
            <a:chOff x="1376896" y="1614745"/>
            <a:chExt cx="7499622" cy="4482482"/>
          </a:xfrm>
        </p:grpSpPr>
        <p:sp>
          <p:nvSpPr>
            <p:cNvPr id="460" name="Line 7"/>
            <p:cNvSpPr>
              <a:spLocks noChangeShapeType="1"/>
            </p:cNvSpPr>
            <p:nvPr/>
          </p:nvSpPr>
          <p:spPr bwMode="auto">
            <a:xfrm flipH="1" flipV="1">
              <a:off x="4794239" y="5678706"/>
              <a:ext cx="10990" cy="0"/>
            </a:xfrm>
            <a:prstGeom prst="line">
              <a:avLst/>
            </a:prstGeom>
            <a:noFill/>
            <a:ln w="1588">
              <a:solidFill>
                <a:srgbClr val="BCBE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61" name="Line 8"/>
            <p:cNvSpPr>
              <a:spLocks noChangeShapeType="1"/>
            </p:cNvSpPr>
            <p:nvPr/>
          </p:nvSpPr>
          <p:spPr bwMode="auto">
            <a:xfrm flipH="1" flipV="1">
              <a:off x="4777143" y="5674737"/>
              <a:ext cx="9769" cy="2646"/>
            </a:xfrm>
            <a:prstGeom prst="line">
              <a:avLst/>
            </a:prstGeom>
            <a:noFill/>
            <a:ln w="1588">
              <a:solidFill>
                <a:srgbClr val="BCBE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62" name="Freeform 9"/>
            <p:cNvSpPr>
              <a:spLocks/>
            </p:cNvSpPr>
            <p:nvPr/>
          </p:nvSpPr>
          <p:spPr bwMode="auto">
            <a:xfrm>
              <a:off x="4779586" y="5676060"/>
              <a:ext cx="9769" cy="1323"/>
            </a:xfrm>
            <a:custGeom>
              <a:avLst/>
              <a:gdLst>
                <a:gd name="T0" fmla="*/ 0 w 16"/>
                <a:gd name="T1" fmla="*/ 0 h 2"/>
                <a:gd name="T2" fmla="*/ 11 w 16"/>
                <a:gd name="T3" fmla="*/ 0 h 2"/>
                <a:gd name="T4" fmla="*/ 16 w 16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2">
                  <a:moveTo>
                    <a:pt x="0" y="0"/>
                  </a:moveTo>
                  <a:lnTo>
                    <a:pt x="11" y="0"/>
                  </a:lnTo>
                  <a:lnTo>
                    <a:pt x="16" y="2"/>
                  </a:lnTo>
                </a:path>
              </a:pathLst>
            </a:custGeom>
            <a:noFill/>
            <a:ln w="1588">
              <a:solidFill>
                <a:srgbClr val="BCBE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63" name="Freeform 10"/>
            <p:cNvSpPr>
              <a:spLocks/>
            </p:cNvSpPr>
            <p:nvPr/>
          </p:nvSpPr>
          <p:spPr bwMode="auto">
            <a:xfrm>
              <a:off x="4796682" y="5678706"/>
              <a:ext cx="8548" cy="0"/>
            </a:xfrm>
            <a:custGeom>
              <a:avLst/>
              <a:gdLst>
                <a:gd name="T0" fmla="*/ 0 w 13"/>
                <a:gd name="T1" fmla="*/ 0 h 1"/>
                <a:gd name="T2" fmla="*/ 4 w 13"/>
                <a:gd name="T3" fmla="*/ 0 h 1"/>
                <a:gd name="T4" fmla="*/ 13 w 1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">
                  <a:moveTo>
                    <a:pt x="0" y="0"/>
                  </a:moveTo>
                  <a:lnTo>
                    <a:pt x="4" y="0"/>
                  </a:lnTo>
                  <a:lnTo>
                    <a:pt x="13" y="1"/>
                  </a:lnTo>
                </a:path>
              </a:pathLst>
            </a:custGeom>
            <a:noFill/>
            <a:ln w="1588">
              <a:solidFill>
                <a:srgbClr val="BCBE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64" name="Freeform 12"/>
            <p:cNvSpPr>
              <a:spLocks/>
            </p:cNvSpPr>
            <p:nvPr/>
          </p:nvSpPr>
          <p:spPr bwMode="auto">
            <a:xfrm>
              <a:off x="2743942" y="3401988"/>
              <a:ext cx="200267" cy="193144"/>
            </a:xfrm>
            <a:custGeom>
              <a:avLst/>
              <a:gdLst>
                <a:gd name="T0" fmla="*/ 13 w 328"/>
                <a:gd name="T1" fmla="*/ 11 h 291"/>
                <a:gd name="T2" fmla="*/ 23 w 328"/>
                <a:gd name="T3" fmla="*/ 7 h 291"/>
                <a:gd name="T4" fmla="*/ 38 w 328"/>
                <a:gd name="T5" fmla="*/ 4 h 291"/>
                <a:gd name="T6" fmla="*/ 60 w 328"/>
                <a:gd name="T7" fmla="*/ 1 h 291"/>
                <a:gd name="T8" fmla="*/ 76 w 328"/>
                <a:gd name="T9" fmla="*/ 10 h 291"/>
                <a:gd name="T10" fmla="*/ 93 w 328"/>
                <a:gd name="T11" fmla="*/ 17 h 291"/>
                <a:gd name="T12" fmla="*/ 109 w 328"/>
                <a:gd name="T13" fmla="*/ 24 h 291"/>
                <a:gd name="T14" fmla="*/ 113 w 328"/>
                <a:gd name="T15" fmla="*/ 16 h 291"/>
                <a:gd name="T16" fmla="*/ 123 w 328"/>
                <a:gd name="T17" fmla="*/ 23 h 291"/>
                <a:gd name="T18" fmla="*/ 134 w 328"/>
                <a:gd name="T19" fmla="*/ 36 h 291"/>
                <a:gd name="T20" fmla="*/ 156 w 328"/>
                <a:gd name="T21" fmla="*/ 60 h 291"/>
                <a:gd name="T22" fmla="*/ 177 w 328"/>
                <a:gd name="T23" fmla="*/ 67 h 291"/>
                <a:gd name="T24" fmla="*/ 195 w 328"/>
                <a:gd name="T25" fmla="*/ 79 h 291"/>
                <a:gd name="T26" fmla="*/ 219 w 328"/>
                <a:gd name="T27" fmla="*/ 92 h 291"/>
                <a:gd name="T28" fmla="*/ 235 w 328"/>
                <a:gd name="T29" fmla="*/ 80 h 291"/>
                <a:gd name="T30" fmla="*/ 246 w 328"/>
                <a:gd name="T31" fmla="*/ 70 h 291"/>
                <a:gd name="T32" fmla="*/ 252 w 328"/>
                <a:gd name="T33" fmla="*/ 84 h 291"/>
                <a:gd name="T34" fmla="*/ 255 w 328"/>
                <a:gd name="T35" fmla="*/ 117 h 291"/>
                <a:gd name="T36" fmla="*/ 269 w 328"/>
                <a:gd name="T37" fmla="*/ 132 h 291"/>
                <a:gd name="T38" fmla="*/ 283 w 328"/>
                <a:gd name="T39" fmla="*/ 130 h 291"/>
                <a:gd name="T40" fmla="*/ 286 w 328"/>
                <a:gd name="T41" fmla="*/ 134 h 291"/>
                <a:gd name="T42" fmla="*/ 285 w 328"/>
                <a:gd name="T43" fmla="*/ 145 h 291"/>
                <a:gd name="T44" fmla="*/ 302 w 328"/>
                <a:gd name="T45" fmla="*/ 156 h 291"/>
                <a:gd name="T46" fmla="*/ 308 w 328"/>
                <a:gd name="T47" fmla="*/ 155 h 291"/>
                <a:gd name="T48" fmla="*/ 311 w 328"/>
                <a:gd name="T49" fmla="*/ 165 h 291"/>
                <a:gd name="T50" fmla="*/ 291 w 328"/>
                <a:gd name="T51" fmla="*/ 179 h 291"/>
                <a:gd name="T52" fmla="*/ 278 w 328"/>
                <a:gd name="T53" fmla="*/ 195 h 291"/>
                <a:gd name="T54" fmla="*/ 286 w 328"/>
                <a:gd name="T55" fmla="*/ 205 h 291"/>
                <a:gd name="T56" fmla="*/ 299 w 328"/>
                <a:gd name="T57" fmla="*/ 203 h 291"/>
                <a:gd name="T58" fmla="*/ 321 w 328"/>
                <a:gd name="T59" fmla="*/ 189 h 291"/>
                <a:gd name="T60" fmla="*/ 328 w 328"/>
                <a:gd name="T61" fmla="*/ 199 h 291"/>
                <a:gd name="T62" fmla="*/ 323 w 328"/>
                <a:gd name="T63" fmla="*/ 208 h 291"/>
                <a:gd name="T64" fmla="*/ 299 w 328"/>
                <a:gd name="T65" fmla="*/ 220 h 291"/>
                <a:gd name="T66" fmla="*/ 249 w 328"/>
                <a:gd name="T67" fmla="*/ 246 h 291"/>
                <a:gd name="T68" fmla="*/ 225 w 328"/>
                <a:gd name="T69" fmla="*/ 262 h 291"/>
                <a:gd name="T70" fmla="*/ 206 w 328"/>
                <a:gd name="T71" fmla="*/ 249 h 291"/>
                <a:gd name="T72" fmla="*/ 186 w 328"/>
                <a:gd name="T73" fmla="*/ 261 h 291"/>
                <a:gd name="T74" fmla="*/ 185 w 328"/>
                <a:gd name="T75" fmla="*/ 271 h 291"/>
                <a:gd name="T76" fmla="*/ 177 w 328"/>
                <a:gd name="T77" fmla="*/ 279 h 291"/>
                <a:gd name="T78" fmla="*/ 163 w 328"/>
                <a:gd name="T79" fmla="*/ 291 h 291"/>
                <a:gd name="T80" fmla="*/ 143 w 328"/>
                <a:gd name="T81" fmla="*/ 273 h 291"/>
                <a:gd name="T82" fmla="*/ 129 w 328"/>
                <a:gd name="T83" fmla="*/ 253 h 291"/>
                <a:gd name="T84" fmla="*/ 111 w 328"/>
                <a:gd name="T85" fmla="*/ 251 h 291"/>
                <a:gd name="T86" fmla="*/ 96 w 328"/>
                <a:gd name="T87" fmla="*/ 235 h 291"/>
                <a:gd name="T88" fmla="*/ 109 w 328"/>
                <a:gd name="T89" fmla="*/ 216 h 291"/>
                <a:gd name="T90" fmla="*/ 93 w 328"/>
                <a:gd name="T91" fmla="*/ 208 h 291"/>
                <a:gd name="T92" fmla="*/ 77 w 328"/>
                <a:gd name="T93" fmla="*/ 175 h 291"/>
                <a:gd name="T94" fmla="*/ 58 w 328"/>
                <a:gd name="T95" fmla="*/ 140 h 291"/>
                <a:gd name="T96" fmla="*/ 47 w 328"/>
                <a:gd name="T97" fmla="*/ 113 h 291"/>
                <a:gd name="T98" fmla="*/ 1 w 328"/>
                <a:gd name="T99" fmla="*/ 89 h 291"/>
                <a:gd name="T100" fmla="*/ 13 w 328"/>
                <a:gd name="T101" fmla="*/ 70 h 291"/>
                <a:gd name="T102" fmla="*/ 28 w 328"/>
                <a:gd name="T103" fmla="*/ 54 h 291"/>
                <a:gd name="T104" fmla="*/ 23 w 328"/>
                <a:gd name="T105" fmla="*/ 40 h 291"/>
                <a:gd name="T106" fmla="*/ 10 w 328"/>
                <a:gd name="T107" fmla="*/ 27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8" h="291">
                  <a:moveTo>
                    <a:pt x="3" y="14"/>
                  </a:moveTo>
                  <a:lnTo>
                    <a:pt x="4" y="13"/>
                  </a:lnTo>
                  <a:lnTo>
                    <a:pt x="10" y="14"/>
                  </a:lnTo>
                  <a:lnTo>
                    <a:pt x="13" y="11"/>
                  </a:lnTo>
                  <a:lnTo>
                    <a:pt x="14" y="8"/>
                  </a:lnTo>
                  <a:lnTo>
                    <a:pt x="17" y="7"/>
                  </a:lnTo>
                  <a:lnTo>
                    <a:pt x="18" y="6"/>
                  </a:lnTo>
                  <a:lnTo>
                    <a:pt x="23" y="7"/>
                  </a:lnTo>
                  <a:lnTo>
                    <a:pt x="26" y="7"/>
                  </a:lnTo>
                  <a:lnTo>
                    <a:pt x="30" y="7"/>
                  </a:lnTo>
                  <a:lnTo>
                    <a:pt x="34" y="6"/>
                  </a:lnTo>
                  <a:lnTo>
                    <a:pt x="38" y="4"/>
                  </a:lnTo>
                  <a:lnTo>
                    <a:pt x="44" y="3"/>
                  </a:lnTo>
                  <a:lnTo>
                    <a:pt x="51" y="1"/>
                  </a:lnTo>
                  <a:lnTo>
                    <a:pt x="56" y="0"/>
                  </a:lnTo>
                  <a:lnTo>
                    <a:pt x="60" y="1"/>
                  </a:lnTo>
                  <a:lnTo>
                    <a:pt x="64" y="4"/>
                  </a:lnTo>
                  <a:lnTo>
                    <a:pt x="69" y="7"/>
                  </a:lnTo>
                  <a:lnTo>
                    <a:pt x="74" y="10"/>
                  </a:lnTo>
                  <a:lnTo>
                    <a:pt x="76" y="10"/>
                  </a:lnTo>
                  <a:lnTo>
                    <a:pt x="81" y="10"/>
                  </a:lnTo>
                  <a:lnTo>
                    <a:pt x="86" y="10"/>
                  </a:lnTo>
                  <a:lnTo>
                    <a:pt x="89" y="14"/>
                  </a:lnTo>
                  <a:lnTo>
                    <a:pt x="93" y="17"/>
                  </a:lnTo>
                  <a:lnTo>
                    <a:pt x="96" y="21"/>
                  </a:lnTo>
                  <a:lnTo>
                    <a:pt x="101" y="23"/>
                  </a:lnTo>
                  <a:lnTo>
                    <a:pt x="107" y="26"/>
                  </a:lnTo>
                  <a:lnTo>
                    <a:pt x="109" y="24"/>
                  </a:lnTo>
                  <a:lnTo>
                    <a:pt x="113" y="26"/>
                  </a:lnTo>
                  <a:lnTo>
                    <a:pt x="114" y="24"/>
                  </a:lnTo>
                  <a:lnTo>
                    <a:pt x="113" y="21"/>
                  </a:lnTo>
                  <a:lnTo>
                    <a:pt x="113" y="16"/>
                  </a:lnTo>
                  <a:lnTo>
                    <a:pt x="114" y="13"/>
                  </a:lnTo>
                  <a:lnTo>
                    <a:pt x="116" y="11"/>
                  </a:lnTo>
                  <a:lnTo>
                    <a:pt x="120" y="16"/>
                  </a:lnTo>
                  <a:lnTo>
                    <a:pt x="123" y="23"/>
                  </a:lnTo>
                  <a:lnTo>
                    <a:pt x="127" y="30"/>
                  </a:lnTo>
                  <a:lnTo>
                    <a:pt x="127" y="33"/>
                  </a:lnTo>
                  <a:lnTo>
                    <a:pt x="132" y="39"/>
                  </a:lnTo>
                  <a:lnTo>
                    <a:pt x="134" y="36"/>
                  </a:lnTo>
                  <a:lnTo>
                    <a:pt x="142" y="41"/>
                  </a:lnTo>
                  <a:lnTo>
                    <a:pt x="147" y="49"/>
                  </a:lnTo>
                  <a:lnTo>
                    <a:pt x="153" y="56"/>
                  </a:lnTo>
                  <a:lnTo>
                    <a:pt x="156" y="60"/>
                  </a:lnTo>
                  <a:lnTo>
                    <a:pt x="164" y="63"/>
                  </a:lnTo>
                  <a:lnTo>
                    <a:pt x="172" y="66"/>
                  </a:lnTo>
                  <a:lnTo>
                    <a:pt x="173" y="64"/>
                  </a:lnTo>
                  <a:lnTo>
                    <a:pt x="177" y="67"/>
                  </a:lnTo>
                  <a:lnTo>
                    <a:pt x="183" y="67"/>
                  </a:lnTo>
                  <a:lnTo>
                    <a:pt x="186" y="70"/>
                  </a:lnTo>
                  <a:lnTo>
                    <a:pt x="190" y="73"/>
                  </a:lnTo>
                  <a:lnTo>
                    <a:pt x="195" y="79"/>
                  </a:lnTo>
                  <a:lnTo>
                    <a:pt x="200" y="86"/>
                  </a:lnTo>
                  <a:lnTo>
                    <a:pt x="210" y="92"/>
                  </a:lnTo>
                  <a:lnTo>
                    <a:pt x="215" y="93"/>
                  </a:lnTo>
                  <a:lnTo>
                    <a:pt x="219" y="92"/>
                  </a:lnTo>
                  <a:lnTo>
                    <a:pt x="227" y="87"/>
                  </a:lnTo>
                  <a:lnTo>
                    <a:pt x="227" y="87"/>
                  </a:lnTo>
                  <a:lnTo>
                    <a:pt x="235" y="80"/>
                  </a:lnTo>
                  <a:lnTo>
                    <a:pt x="235" y="80"/>
                  </a:lnTo>
                  <a:lnTo>
                    <a:pt x="238" y="79"/>
                  </a:lnTo>
                  <a:lnTo>
                    <a:pt x="240" y="73"/>
                  </a:lnTo>
                  <a:lnTo>
                    <a:pt x="245" y="70"/>
                  </a:lnTo>
                  <a:lnTo>
                    <a:pt x="246" y="70"/>
                  </a:lnTo>
                  <a:lnTo>
                    <a:pt x="249" y="71"/>
                  </a:lnTo>
                  <a:lnTo>
                    <a:pt x="249" y="71"/>
                  </a:lnTo>
                  <a:lnTo>
                    <a:pt x="250" y="77"/>
                  </a:lnTo>
                  <a:lnTo>
                    <a:pt x="252" y="84"/>
                  </a:lnTo>
                  <a:lnTo>
                    <a:pt x="252" y="92"/>
                  </a:lnTo>
                  <a:lnTo>
                    <a:pt x="252" y="92"/>
                  </a:lnTo>
                  <a:lnTo>
                    <a:pt x="252" y="102"/>
                  </a:lnTo>
                  <a:lnTo>
                    <a:pt x="255" y="117"/>
                  </a:lnTo>
                  <a:lnTo>
                    <a:pt x="258" y="123"/>
                  </a:lnTo>
                  <a:lnTo>
                    <a:pt x="260" y="129"/>
                  </a:lnTo>
                  <a:lnTo>
                    <a:pt x="266" y="132"/>
                  </a:lnTo>
                  <a:lnTo>
                    <a:pt x="269" y="132"/>
                  </a:lnTo>
                  <a:lnTo>
                    <a:pt x="273" y="132"/>
                  </a:lnTo>
                  <a:lnTo>
                    <a:pt x="273" y="132"/>
                  </a:lnTo>
                  <a:lnTo>
                    <a:pt x="279" y="130"/>
                  </a:lnTo>
                  <a:lnTo>
                    <a:pt x="283" y="130"/>
                  </a:lnTo>
                  <a:lnTo>
                    <a:pt x="283" y="130"/>
                  </a:lnTo>
                  <a:lnTo>
                    <a:pt x="285" y="130"/>
                  </a:lnTo>
                  <a:lnTo>
                    <a:pt x="286" y="132"/>
                  </a:lnTo>
                  <a:lnTo>
                    <a:pt x="286" y="134"/>
                  </a:lnTo>
                  <a:lnTo>
                    <a:pt x="283" y="142"/>
                  </a:lnTo>
                  <a:lnTo>
                    <a:pt x="283" y="142"/>
                  </a:lnTo>
                  <a:lnTo>
                    <a:pt x="283" y="143"/>
                  </a:lnTo>
                  <a:lnTo>
                    <a:pt x="285" y="145"/>
                  </a:lnTo>
                  <a:lnTo>
                    <a:pt x="291" y="150"/>
                  </a:lnTo>
                  <a:lnTo>
                    <a:pt x="301" y="156"/>
                  </a:lnTo>
                  <a:lnTo>
                    <a:pt x="301" y="156"/>
                  </a:lnTo>
                  <a:lnTo>
                    <a:pt x="302" y="156"/>
                  </a:lnTo>
                  <a:lnTo>
                    <a:pt x="305" y="156"/>
                  </a:lnTo>
                  <a:lnTo>
                    <a:pt x="306" y="155"/>
                  </a:lnTo>
                  <a:lnTo>
                    <a:pt x="306" y="155"/>
                  </a:lnTo>
                  <a:lnTo>
                    <a:pt x="308" y="155"/>
                  </a:lnTo>
                  <a:lnTo>
                    <a:pt x="309" y="155"/>
                  </a:lnTo>
                  <a:lnTo>
                    <a:pt x="312" y="157"/>
                  </a:lnTo>
                  <a:lnTo>
                    <a:pt x="312" y="162"/>
                  </a:lnTo>
                  <a:lnTo>
                    <a:pt x="311" y="165"/>
                  </a:lnTo>
                  <a:lnTo>
                    <a:pt x="309" y="166"/>
                  </a:lnTo>
                  <a:lnTo>
                    <a:pt x="309" y="166"/>
                  </a:lnTo>
                  <a:lnTo>
                    <a:pt x="301" y="172"/>
                  </a:lnTo>
                  <a:lnTo>
                    <a:pt x="291" y="179"/>
                  </a:lnTo>
                  <a:lnTo>
                    <a:pt x="278" y="189"/>
                  </a:lnTo>
                  <a:lnTo>
                    <a:pt x="278" y="189"/>
                  </a:lnTo>
                  <a:lnTo>
                    <a:pt x="278" y="192"/>
                  </a:lnTo>
                  <a:lnTo>
                    <a:pt x="278" y="195"/>
                  </a:lnTo>
                  <a:lnTo>
                    <a:pt x="278" y="195"/>
                  </a:lnTo>
                  <a:lnTo>
                    <a:pt x="280" y="199"/>
                  </a:lnTo>
                  <a:lnTo>
                    <a:pt x="286" y="205"/>
                  </a:lnTo>
                  <a:lnTo>
                    <a:pt x="286" y="205"/>
                  </a:lnTo>
                  <a:lnTo>
                    <a:pt x="289" y="206"/>
                  </a:lnTo>
                  <a:lnTo>
                    <a:pt x="293" y="206"/>
                  </a:lnTo>
                  <a:lnTo>
                    <a:pt x="299" y="203"/>
                  </a:lnTo>
                  <a:lnTo>
                    <a:pt x="299" y="203"/>
                  </a:lnTo>
                  <a:lnTo>
                    <a:pt x="303" y="200"/>
                  </a:lnTo>
                  <a:lnTo>
                    <a:pt x="308" y="196"/>
                  </a:lnTo>
                  <a:lnTo>
                    <a:pt x="313" y="193"/>
                  </a:lnTo>
                  <a:lnTo>
                    <a:pt x="321" y="189"/>
                  </a:lnTo>
                  <a:lnTo>
                    <a:pt x="321" y="189"/>
                  </a:lnTo>
                  <a:lnTo>
                    <a:pt x="323" y="190"/>
                  </a:lnTo>
                  <a:lnTo>
                    <a:pt x="326" y="193"/>
                  </a:lnTo>
                  <a:lnTo>
                    <a:pt x="328" y="199"/>
                  </a:lnTo>
                  <a:lnTo>
                    <a:pt x="326" y="202"/>
                  </a:lnTo>
                  <a:lnTo>
                    <a:pt x="326" y="205"/>
                  </a:lnTo>
                  <a:lnTo>
                    <a:pt x="326" y="205"/>
                  </a:lnTo>
                  <a:lnTo>
                    <a:pt x="323" y="208"/>
                  </a:lnTo>
                  <a:lnTo>
                    <a:pt x="318" y="212"/>
                  </a:lnTo>
                  <a:lnTo>
                    <a:pt x="308" y="216"/>
                  </a:lnTo>
                  <a:lnTo>
                    <a:pt x="308" y="216"/>
                  </a:lnTo>
                  <a:lnTo>
                    <a:pt x="299" y="220"/>
                  </a:lnTo>
                  <a:lnTo>
                    <a:pt x="289" y="223"/>
                  </a:lnTo>
                  <a:lnTo>
                    <a:pt x="275" y="225"/>
                  </a:lnTo>
                  <a:lnTo>
                    <a:pt x="256" y="236"/>
                  </a:lnTo>
                  <a:lnTo>
                    <a:pt x="249" y="246"/>
                  </a:lnTo>
                  <a:lnTo>
                    <a:pt x="249" y="258"/>
                  </a:lnTo>
                  <a:lnTo>
                    <a:pt x="242" y="269"/>
                  </a:lnTo>
                  <a:lnTo>
                    <a:pt x="233" y="266"/>
                  </a:lnTo>
                  <a:lnTo>
                    <a:pt x="225" y="262"/>
                  </a:lnTo>
                  <a:lnTo>
                    <a:pt x="220" y="259"/>
                  </a:lnTo>
                  <a:lnTo>
                    <a:pt x="216" y="255"/>
                  </a:lnTo>
                  <a:lnTo>
                    <a:pt x="212" y="251"/>
                  </a:lnTo>
                  <a:lnTo>
                    <a:pt x="206" y="249"/>
                  </a:lnTo>
                  <a:lnTo>
                    <a:pt x="199" y="251"/>
                  </a:lnTo>
                  <a:lnTo>
                    <a:pt x="196" y="255"/>
                  </a:lnTo>
                  <a:lnTo>
                    <a:pt x="193" y="258"/>
                  </a:lnTo>
                  <a:lnTo>
                    <a:pt x="186" y="261"/>
                  </a:lnTo>
                  <a:lnTo>
                    <a:pt x="183" y="262"/>
                  </a:lnTo>
                  <a:lnTo>
                    <a:pt x="180" y="265"/>
                  </a:lnTo>
                  <a:lnTo>
                    <a:pt x="180" y="268"/>
                  </a:lnTo>
                  <a:lnTo>
                    <a:pt x="185" y="271"/>
                  </a:lnTo>
                  <a:lnTo>
                    <a:pt x="189" y="271"/>
                  </a:lnTo>
                  <a:lnTo>
                    <a:pt x="185" y="275"/>
                  </a:lnTo>
                  <a:lnTo>
                    <a:pt x="179" y="275"/>
                  </a:lnTo>
                  <a:lnTo>
                    <a:pt x="177" y="279"/>
                  </a:lnTo>
                  <a:lnTo>
                    <a:pt x="173" y="282"/>
                  </a:lnTo>
                  <a:lnTo>
                    <a:pt x="172" y="285"/>
                  </a:lnTo>
                  <a:lnTo>
                    <a:pt x="166" y="288"/>
                  </a:lnTo>
                  <a:lnTo>
                    <a:pt x="163" y="291"/>
                  </a:lnTo>
                  <a:lnTo>
                    <a:pt x="159" y="283"/>
                  </a:lnTo>
                  <a:lnTo>
                    <a:pt x="153" y="276"/>
                  </a:lnTo>
                  <a:lnTo>
                    <a:pt x="147" y="269"/>
                  </a:lnTo>
                  <a:lnTo>
                    <a:pt x="143" y="273"/>
                  </a:lnTo>
                  <a:lnTo>
                    <a:pt x="130" y="262"/>
                  </a:lnTo>
                  <a:lnTo>
                    <a:pt x="133" y="258"/>
                  </a:lnTo>
                  <a:lnTo>
                    <a:pt x="132" y="255"/>
                  </a:lnTo>
                  <a:lnTo>
                    <a:pt x="129" y="253"/>
                  </a:lnTo>
                  <a:lnTo>
                    <a:pt x="126" y="251"/>
                  </a:lnTo>
                  <a:lnTo>
                    <a:pt x="122" y="246"/>
                  </a:lnTo>
                  <a:lnTo>
                    <a:pt x="116" y="249"/>
                  </a:lnTo>
                  <a:lnTo>
                    <a:pt x="111" y="251"/>
                  </a:lnTo>
                  <a:lnTo>
                    <a:pt x="110" y="248"/>
                  </a:lnTo>
                  <a:lnTo>
                    <a:pt x="103" y="249"/>
                  </a:lnTo>
                  <a:lnTo>
                    <a:pt x="100" y="245"/>
                  </a:lnTo>
                  <a:lnTo>
                    <a:pt x="96" y="235"/>
                  </a:lnTo>
                  <a:lnTo>
                    <a:pt x="104" y="229"/>
                  </a:lnTo>
                  <a:lnTo>
                    <a:pt x="109" y="225"/>
                  </a:lnTo>
                  <a:lnTo>
                    <a:pt x="111" y="220"/>
                  </a:lnTo>
                  <a:lnTo>
                    <a:pt x="109" y="216"/>
                  </a:lnTo>
                  <a:lnTo>
                    <a:pt x="103" y="215"/>
                  </a:lnTo>
                  <a:lnTo>
                    <a:pt x="99" y="213"/>
                  </a:lnTo>
                  <a:lnTo>
                    <a:pt x="97" y="212"/>
                  </a:lnTo>
                  <a:lnTo>
                    <a:pt x="93" y="208"/>
                  </a:lnTo>
                  <a:lnTo>
                    <a:pt x="79" y="202"/>
                  </a:lnTo>
                  <a:lnTo>
                    <a:pt x="83" y="186"/>
                  </a:lnTo>
                  <a:lnTo>
                    <a:pt x="77" y="180"/>
                  </a:lnTo>
                  <a:lnTo>
                    <a:pt x="77" y="175"/>
                  </a:lnTo>
                  <a:lnTo>
                    <a:pt x="70" y="170"/>
                  </a:lnTo>
                  <a:lnTo>
                    <a:pt x="67" y="152"/>
                  </a:lnTo>
                  <a:lnTo>
                    <a:pt x="64" y="145"/>
                  </a:lnTo>
                  <a:lnTo>
                    <a:pt x="58" y="140"/>
                  </a:lnTo>
                  <a:lnTo>
                    <a:pt x="54" y="127"/>
                  </a:lnTo>
                  <a:lnTo>
                    <a:pt x="53" y="123"/>
                  </a:lnTo>
                  <a:lnTo>
                    <a:pt x="51" y="117"/>
                  </a:lnTo>
                  <a:lnTo>
                    <a:pt x="47" y="113"/>
                  </a:lnTo>
                  <a:lnTo>
                    <a:pt x="37" y="106"/>
                  </a:lnTo>
                  <a:lnTo>
                    <a:pt x="28" y="100"/>
                  </a:lnTo>
                  <a:lnTo>
                    <a:pt x="16" y="94"/>
                  </a:lnTo>
                  <a:lnTo>
                    <a:pt x="1" y="89"/>
                  </a:lnTo>
                  <a:lnTo>
                    <a:pt x="0" y="84"/>
                  </a:lnTo>
                  <a:lnTo>
                    <a:pt x="1" y="80"/>
                  </a:lnTo>
                  <a:lnTo>
                    <a:pt x="8" y="74"/>
                  </a:lnTo>
                  <a:lnTo>
                    <a:pt x="13" y="70"/>
                  </a:lnTo>
                  <a:lnTo>
                    <a:pt x="17" y="66"/>
                  </a:lnTo>
                  <a:lnTo>
                    <a:pt x="20" y="63"/>
                  </a:lnTo>
                  <a:lnTo>
                    <a:pt x="28" y="60"/>
                  </a:lnTo>
                  <a:lnTo>
                    <a:pt x="28" y="54"/>
                  </a:lnTo>
                  <a:lnTo>
                    <a:pt x="28" y="50"/>
                  </a:lnTo>
                  <a:lnTo>
                    <a:pt x="27" y="49"/>
                  </a:lnTo>
                  <a:lnTo>
                    <a:pt x="26" y="44"/>
                  </a:lnTo>
                  <a:lnTo>
                    <a:pt x="23" y="40"/>
                  </a:lnTo>
                  <a:lnTo>
                    <a:pt x="23" y="36"/>
                  </a:lnTo>
                  <a:lnTo>
                    <a:pt x="20" y="27"/>
                  </a:lnTo>
                  <a:lnTo>
                    <a:pt x="14" y="27"/>
                  </a:lnTo>
                  <a:lnTo>
                    <a:pt x="10" y="27"/>
                  </a:lnTo>
                  <a:lnTo>
                    <a:pt x="6" y="24"/>
                  </a:lnTo>
                  <a:lnTo>
                    <a:pt x="4" y="17"/>
                  </a:lnTo>
                  <a:lnTo>
                    <a:pt x="3" y="1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65" name="Freeform 13"/>
            <p:cNvSpPr>
              <a:spLocks/>
            </p:cNvSpPr>
            <p:nvPr/>
          </p:nvSpPr>
          <p:spPr bwMode="auto">
            <a:xfrm>
              <a:off x="1902575" y="4604508"/>
              <a:ext cx="167296" cy="168009"/>
            </a:xfrm>
            <a:custGeom>
              <a:avLst/>
              <a:gdLst>
                <a:gd name="T0" fmla="*/ 153 w 273"/>
                <a:gd name="T1" fmla="*/ 0 h 254"/>
                <a:gd name="T2" fmla="*/ 186 w 273"/>
                <a:gd name="T3" fmla="*/ 38 h 254"/>
                <a:gd name="T4" fmla="*/ 202 w 273"/>
                <a:gd name="T5" fmla="*/ 45 h 254"/>
                <a:gd name="T6" fmla="*/ 217 w 273"/>
                <a:gd name="T7" fmla="*/ 71 h 254"/>
                <a:gd name="T8" fmla="*/ 236 w 273"/>
                <a:gd name="T9" fmla="*/ 95 h 254"/>
                <a:gd name="T10" fmla="*/ 220 w 273"/>
                <a:gd name="T11" fmla="*/ 101 h 254"/>
                <a:gd name="T12" fmla="*/ 237 w 273"/>
                <a:gd name="T13" fmla="*/ 111 h 254"/>
                <a:gd name="T14" fmla="*/ 252 w 273"/>
                <a:gd name="T15" fmla="*/ 111 h 254"/>
                <a:gd name="T16" fmla="*/ 270 w 273"/>
                <a:gd name="T17" fmla="*/ 124 h 254"/>
                <a:gd name="T18" fmla="*/ 259 w 273"/>
                <a:gd name="T19" fmla="*/ 135 h 254"/>
                <a:gd name="T20" fmla="*/ 265 w 273"/>
                <a:gd name="T21" fmla="*/ 144 h 254"/>
                <a:gd name="T22" fmla="*/ 269 w 273"/>
                <a:gd name="T23" fmla="*/ 164 h 254"/>
                <a:gd name="T24" fmla="*/ 234 w 273"/>
                <a:gd name="T25" fmla="*/ 164 h 254"/>
                <a:gd name="T26" fmla="*/ 224 w 273"/>
                <a:gd name="T27" fmla="*/ 171 h 254"/>
                <a:gd name="T28" fmla="*/ 213 w 273"/>
                <a:gd name="T29" fmla="*/ 175 h 254"/>
                <a:gd name="T30" fmla="*/ 190 w 273"/>
                <a:gd name="T31" fmla="*/ 191 h 254"/>
                <a:gd name="T32" fmla="*/ 163 w 273"/>
                <a:gd name="T33" fmla="*/ 222 h 254"/>
                <a:gd name="T34" fmla="*/ 157 w 273"/>
                <a:gd name="T35" fmla="*/ 234 h 254"/>
                <a:gd name="T36" fmla="*/ 136 w 273"/>
                <a:gd name="T37" fmla="*/ 247 h 254"/>
                <a:gd name="T38" fmla="*/ 128 w 273"/>
                <a:gd name="T39" fmla="*/ 235 h 254"/>
                <a:gd name="T40" fmla="*/ 121 w 273"/>
                <a:gd name="T41" fmla="*/ 228 h 254"/>
                <a:gd name="T42" fmla="*/ 111 w 273"/>
                <a:gd name="T43" fmla="*/ 227 h 254"/>
                <a:gd name="T44" fmla="*/ 101 w 273"/>
                <a:gd name="T45" fmla="*/ 234 h 254"/>
                <a:gd name="T46" fmla="*/ 98 w 273"/>
                <a:gd name="T47" fmla="*/ 244 h 254"/>
                <a:gd name="T48" fmla="*/ 87 w 273"/>
                <a:gd name="T49" fmla="*/ 240 h 254"/>
                <a:gd name="T50" fmla="*/ 75 w 273"/>
                <a:gd name="T51" fmla="*/ 240 h 254"/>
                <a:gd name="T52" fmla="*/ 63 w 273"/>
                <a:gd name="T53" fmla="*/ 240 h 254"/>
                <a:gd name="T54" fmla="*/ 43 w 273"/>
                <a:gd name="T55" fmla="*/ 234 h 254"/>
                <a:gd name="T56" fmla="*/ 31 w 273"/>
                <a:gd name="T57" fmla="*/ 234 h 254"/>
                <a:gd name="T58" fmla="*/ 24 w 273"/>
                <a:gd name="T59" fmla="*/ 215 h 254"/>
                <a:gd name="T60" fmla="*/ 2 w 273"/>
                <a:gd name="T61" fmla="*/ 181 h 254"/>
                <a:gd name="T62" fmla="*/ 10 w 273"/>
                <a:gd name="T63" fmla="*/ 151 h 254"/>
                <a:gd name="T64" fmla="*/ 0 w 273"/>
                <a:gd name="T65" fmla="*/ 129 h 254"/>
                <a:gd name="T66" fmla="*/ 20 w 273"/>
                <a:gd name="T67" fmla="*/ 113 h 254"/>
                <a:gd name="T68" fmla="*/ 31 w 273"/>
                <a:gd name="T69" fmla="*/ 109 h 254"/>
                <a:gd name="T70" fmla="*/ 58 w 273"/>
                <a:gd name="T71" fmla="*/ 83 h 254"/>
                <a:gd name="T72" fmla="*/ 67 w 273"/>
                <a:gd name="T73" fmla="*/ 81 h 254"/>
                <a:gd name="T74" fmla="*/ 70 w 273"/>
                <a:gd name="T75" fmla="*/ 86 h 254"/>
                <a:gd name="T76" fmla="*/ 78 w 273"/>
                <a:gd name="T77" fmla="*/ 78 h 254"/>
                <a:gd name="T78" fmla="*/ 81 w 273"/>
                <a:gd name="T79" fmla="*/ 75 h 254"/>
                <a:gd name="T80" fmla="*/ 86 w 273"/>
                <a:gd name="T81" fmla="*/ 72 h 254"/>
                <a:gd name="T82" fmla="*/ 87 w 273"/>
                <a:gd name="T83" fmla="*/ 71 h 254"/>
                <a:gd name="T84" fmla="*/ 88 w 273"/>
                <a:gd name="T85" fmla="*/ 65 h 254"/>
                <a:gd name="T86" fmla="*/ 84 w 273"/>
                <a:gd name="T87" fmla="*/ 62 h 254"/>
                <a:gd name="T88" fmla="*/ 84 w 273"/>
                <a:gd name="T89" fmla="*/ 53 h 254"/>
                <a:gd name="T90" fmla="*/ 96 w 273"/>
                <a:gd name="T91" fmla="*/ 46 h 254"/>
                <a:gd name="T92" fmla="*/ 104 w 273"/>
                <a:gd name="T93" fmla="*/ 43 h 254"/>
                <a:gd name="T94" fmla="*/ 114 w 273"/>
                <a:gd name="T95" fmla="*/ 36 h 254"/>
                <a:gd name="T96" fmla="*/ 118 w 273"/>
                <a:gd name="T97" fmla="*/ 3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3" h="254">
                  <a:moveTo>
                    <a:pt x="118" y="30"/>
                  </a:moveTo>
                  <a:lnTo>
                    <a:pt x="118" y="29"/>
                  </a:lnTo>
                  <a:lnTo>
                    <a:pt x="121" y="30"/>
                  </a:lnTo>
                  <a:lnTo>
                    <a:pt x="153" y="0"/>
                  </a:lnTo>
                  <a:lnTo>
                    <a:pt x="166" y="13"/>
                  </a:lnTo>
                  <a:lnTo>
                    <a:pt x="157" y="22"/>
                  </a:lnTo>
                  <a:lnTo>
                    <a:pt x="179" y="45"/>
                  </a:lnTo>
                  <a:lnTo>
                    <a:pt x="186" y="38"/>
                  </a:lnTo>
                  <a:lnTo>
                    <a:pt x="189" y="35"/>
                  </a:lnTo>
                  <a:lnTo>
                    <a:pt x="191" y="33"/>
                  </a:lnTo>
                  <a:lnTo>
                    <a:pt x="191" y="33"/>
                  </a:lnTo>
                  <a:lnTo>
                    <a:pt x="202" y="45"/>
                  </a:lnTo>
                  <a:lnTo>
                    <a:pt x="200" y="48"/>
                  </a:lnTo>
                  <a:lnTo>
                    <a:pt x="203" y="52"/>
                  </a:lnTo>
                  <a:lnTo>
                    <a:pt x="213" y="63"/>
                  </a:lnTo>
                  <a:lnTo>
                    <a:pt x="217" y="71"/>
                  </a:lnTo>
                  <a:lnTo>
                    <a:pt x="222" y="75"/>
                  </a:lnTo>
                  <a:lnTo>
                    <a:pt x="224" y="78"/>
                  </a:lnTo>
                  <a:lnTo>
                    <a:pt x="236" y="88"/>
                  </a:lnTo>
                  <a:lnTo>
                    <a:pt x="236" y="95"/>
                  </a:lnTo>
                  <a:lnTo>
                    <a:pt x="229" y="95"/>
                  </a:lnTo>
                  <a:lnTo>
                    <a:pt x="223" y="95"/>
                  </a:lnTo>
                  <a:lnTo>
                    <a:pt x="222" y="95"/>
                  </a:lnTo>
                  <a:lnTo>
                    <a:pt x="220" y="101"/>
                  </a:lnTo>
                  <a:lnTo>
                    <a:pt x="222" y="109"/>
                  </a:lnTo>
                  <a:lnTo>
                    <a:pt x="224" y="111"/>
                  </a:lnTo>
                  <a:lnTo>
                    <a:pt x="230" y="109"/>
                  </a:lnTo>
                  <a:lnTo>
                    <a:pt x="237" y="111"/>
                  </a:lnTo>
                  <a:lnTo>
                    <a:pt x="242" y="116"/>
                  </a:lnTo>
                  <a:lnTo>
                    <a:pt x="243" y="116"/>
                  </a:lnTo>
                  <a:lnTo>
                    <a:pt x="246" y="113"/>
                  </a:lnTo>
                  <a:lnTo>
                    <a:pt x="252" y="111"/>
                  </a:lnTo>
                  <a:lnTo>
                    <a:pt x="257" y="116"/>
                  </a:lnTo>
                  <a:lnTo>
                    <a:pt x="263" y="111"/>
                  </a:lnTo>
                  <a:lnTo>
                    <a:pt x="273" y="119"/>
                  </a:lnTo>
                  <a:lnTo>
                    <a:pt x="270" y="124"/>
                  </a:lnTo>
                  <a:lnTo>
                    <a:pt x="267" y="126"/>
                  </a:lnTo>
                  <a:lnTo>
                    <a:pt x="265" y="129"/>
                  </a:lnTo>
                  <a:lnTo>
                    <a:pt x="260" y="132"/>
                  </a:lnTo>
                  <a:lnTo>
                    <a:pt x="259" y="135"/>
                  </a:lnTo>
                  <a:lnTo>
                    <a:pt x="259" y="136"/>
                  </a:lnTo>
                  <a:lnTo>
                    <a:pt x="259" y="139"/>
                  </a:lnTo>
                  <a:lnTo>
                    <a:pt x="259" y="141"/>
                  </a:lnTo>
                  <a:lnTo>
                    <a:pt x="265" y="144"/>
                  </a:lnTo>
                  <a:lnTo>
                    <a:pt x="267" y="145"/>
                  </a:lnTo>
                  <a:lnTo>
                    <a:pt x="269" y="152"/>
                  </a:lnTo>
                  <a:lnTo>
                    <a:pt x="269" y="158"/>
                  </a:lnTo>
                  <a:lnTo>
                    <a:pt x="269" y="164"/>
                  </a:lnTo>
                  <a:lnTo>
                    <a:pt x="269" y="164"/>
                  </a:lnTo>
                  <a:lnTo>
                    <a:pt x="252" y="162"/>
                  </a:lnTo>
                  <a:lnTo>
                    <a:pt x="243" y="162"/>
                  </a:lnTo>
                  <a:lnTo>
                    <a:pt x="234" y="164"/>
                  </a:lnTo>
                  <a:lnTo>
                    <a:pt x="234" y="164"/>
                  </a:lnTo>
                  <a:lnTo>
                    <a:pt x="229" y="166"/>
                  </a:lnTo>
                  <a:lnTo>
                    <a:pt x="226" y="168"/>
                  </a:lnTo>
                  <a:lnTo>
                    <a:pt x="224" y="171"/>
                  </a:lnTo>
                  <a:lnTo>
                    <a:pt x="220" y="174"/>
                  </a:lnTo>
                  <a:lnTo>
                    <a:pt x="220" y="174"/>
                  </a:lnTo>
                  <a:lnTo>
                    <a:pt x="217" y="174"/>
                  </a:lnTo>
                  <a:lnTo>
                    <a:pt x="213" y="175"/>
                  </a:lnTo>
                  <a:lnTo>
                    <a:pt x="204" y="174"/>
                  </a:lnTo>
                  <a:lnTo>
                    <a:pt x="200" y="175"/>
                  </a:lnTo>
                  <a:lnTo>
                    <a:pt x="194" y="184"/>
                  </a:lnTo>
                  <a:lnTo>
                    <a:pt x="190" y="191"/>
                  </a:lnTo>
                  <a:lnTo>
                    <a:pt x="180" y="205"/>
                  </a:lnTo>
                  <a:lnTo>
                    <a:pt x="167" y="212"/>
                  </a:lnTo>
                  <a:lnTo>
                    <a:pt x="160" y="218"/>
                  </a:lnTo>
                  <a:lnTo>
                    <a:pt x="163" y="222"/>
                  </a:lnTo>
                  <a:lnTo>
                    <a:pt x="170" y="228"/>
                  </a:lnTo>
                  <a:lnTo>
                    <a:pt x="166" y="235"/>
                  </a:lnTo>
                  <a:lnTo>
                    <a:pt x="159" y="232"/>
                  </a:lnTo>
                  <a:lnTo>
                    <a:pt x="157" y="234"/>
                  </a:lnTo>
                  <a:lnTo>
                    <a:pt x="150" y="254"/>
                  </a:lnTo>
                  <a:lnTo>
                    <a:pt x="146" y="252"/>
                  </a:lnTo>
                  <a:lnTo>
                    <a:pt x="138" y="250"/>
                  </a:lnTo>
                  <a:lnTo>
                    <a:pt x="136" y="247"/>
                  </a:lnTo>
                  <a:lnTo>
                    <a:pt x="136" y="244"/>
                  </a:lnTo>
                  <a:lnTo>
                    <a:pt x="137" y="237"/>
                  </a:lnTo>
                  <a:lnTo>
                    <a:pt x="133" y="237"/>
                  </a:lnTo>
                  <a:lnTo>
                    <a:pt x="128" y="235"/>
                  </a:lnTo>
                  <a:lnTo>
                    <a:pt x="126" y="235"/>
                  </a:lnTo>
                  <a:lnTo>
                    <a:pt x="123" y="232"/>
                  </a:lnTo>
                  <a:lnTo>
                    <a:pt x="121" y="231"/>
                  </a:lnTo>
                  <a:lnTo>
                    <a:pt x="121" y="228"/>
                  </a:lnTo>
                  <a:lnTo>
                    <a:pt x="117" y="227"/>
                  </a:lnTo>
                  <a:lnTo>
                    <a:pt x="116" y="227"/>
                  </a:lnTo>
                  <a:lnTo>
                    <a:pt x="113" y="227"/>
                  </a:lnTo>
                  <a:lnTo>
                    <a:pt x="111" y="227"/>
                  </a:lnTo>
                  <a:lnTo>
                    <a:pt x="107" y="228"/>
                  </a:lnTo>
                  <a:lnTo>
                    <a:pt x="107" y="228"/>
                  </a:lnTo>
                  <a:lnTo>
                    <a:pt x="104" y="231"/>
                  </a:lnTo>
                  <a:lnTo>
                    <a:pt x="101" y="234"/>
                  </a:lnTo>
                  <a:lnTo>
                    <a:pt x="101" y="235"/>
                  </a:lnTo>
                  <a:lnTo>
                    <a:pt x="101" y="244"/>
                  </a:lnTo>
                  <a:lnTo>
                    <a:pt x="101" y="244"/>
                  </a:lnTo>
                  <a:lnTo>
                    <a:pt x="98" y="244"/>
                  </a:lnTo>
                  <a:lnTo>
                    <a:pt x="97" y="244"/>
                  </a:lnTo>
                  <a:lnTo>
                    <a:pt x="93" y="241"/>
                  </a:lnTo>
                  <a:lnTo>
                    <a:pt x="91" y="240"/>
                  </a:lnTo>
                  <a:lnTo>
                    <a:pt x="87" y="240"/>
                  </a:lnTo>
                  <a:lnTo>
                    <a:pt x="84" y="237"/>
                  </a:lnTo>
                  <a:lnTo>
                    <a:pt x="80" y="237"/>
                  </a:lnTo>
                  <a:lnTo>
                    <a:pt x="78" y="238"/>
                  </a:lnTo>
                  <a:lnTo>
                    <a:pt x="75" y="240"/>
                  </a:lnTo>
                  <a:lnTo>
                    <a:pt x="71" y="241"/>
                  </a:lnTo>
                  <a:lnTo>
                    <a:pt x="70" y="242"/>
                  </a:lnTo>
                  <a:lnTo>
                    <a:pt x="67" y="242"/>
                  </a:lnTo>
                  <a:lnTo>
                    <a:pt x="63" y="240"/>
                  </a:lnTo>
                  <a:lnTo>
                    <a:pt x="58" y="238"/>
                  </a:lnTo>
                  <a:lnTo>
                    <a:pt x="54" y="237"/>
                  </a:lnTo>
                  <a:lnTo>
                    <a:pt x="45" y="235"/>
                  </a:lnTo>
                  <a:lnTo>
                    <a:pt x="43" y="234"/>
                  </a:lnTo>
                  <a:lnTo>
                    <a:pt x="41" y="234"/>
                  </a:lnTo>
                  <a:lnTo>
                    <a:pt x="38" y="234"/>
                  </a:lnTo>
                  <a:lnTo>
                    <a:pt x="31" y="232"/>
                  </a:lnTo>
                  <a:lnTo>
                    <a:pt x="31" y="234"/>
                  </a:lnTo>
                  <a:lnTo>
                    <a:pt x="31" y="232"/>
                  </a:lnTo>
                  <a:lnTo>
                    <a:pt x="31" y="229"/>
                  </a:lnTo>
                  <a:lnTo>
                    <a:pt x="28" y="222"/>
                  </a:lnTo>
                  <a:lnTo>
                    <a:pt x="24" y="215"/>
                  </a:lnTo>
                  <a:lnTo>
                    <a:pt x="22" y="208"/>
                  </a:lnTo>
                  <a:lnTo>
                    <a:pt x="11" y="195"/>
                  </a:lnTo>
                  <a:lnTo>
                    <a:pt x="2" y="191"/>
                  </a:lnTo>
                  <a:lnTo>
                    <a:pt x="2" y="181"/>
                  </a:lnTo>
                  <a:lnTo>
                    <a:pt x="7" y="169"/>
                  </a:lnTo>
                  <a:lnTo>
                    <a:pt x="11" y="161"/>
                  </a:lnTo>
                  <a:lnTo>
                    <a:pt x="11" y="156"/>
                  </a:lnTo>
                  <a:lnTo>
                    <a:pt x="10" y="151"/>
                  </a:lnTo>
                  <a:lnTo>
                    <a:pt x="2" y="135"/>
                  </a:lnTo>
                  <a:lnTo>
                    <a:pt x="0" y="129"/>
                  </a:lnTo>
                  <a:lnTo>
                    <a:pt x="0" y="129"/>
                  </a:lnTo>
                  <a:lnTo>
                    <a:pt x="0" y="129"/>
                  </a:lnTo>
                  <a:lnTo>
                    <a:pt x="5" y="125"/>
                  </a:lnTo>
                  <a:lnTo>
                    <a:pt x="11" y="119"/>
                  </a:lnTo>
                  <a:lnTo>
                    <a:pt x="17" y="115"/>
                  </a:lnTo>
                  <a:lnTo>
                    <a:pt x="20" y="113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7" y="112"/>
                  </a:lnTo>
                  <a:lnTo>
                    <a:pt x="31" y="109"/>
                  </a:lnTo>
                  <a:lnTo>
                    <a:pt x="40" y="102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8" y="83"/>
                  </a:lnTo>
                  <a:lnTo>
                    <a:pt x="63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7" y="81"/>
                  </a:lnTo>
                  <a:lnTo>
                    <a:pt x="67" y="83"/>
                  </a:lnTo>
                  <a:lnTo>
                    <a:pt x="67" y="85"/>
                  </a:lnTo>
                  <a:lnTo>
                    <a:pt x="70" y="86"/>
                  </a:lnTo>
                  <a:lnTo>
                    <a:pt x="70" y="86"/>
                  </a:lnTo>
                  <a:lnTo>
                    <a:pt x="74" y="85"/>
                  </a:lnTo>
                  <a:lnTo>
                    <a:pt x="75" y="83"/>
                  </a:lnTo>
                  <a:lnTo>
                    <a:pt x="77" y="82"/>
                  </a:lnTo>
                  <a:lnTo>
                    <a:pt x="78" y="78"/>
                  </a:lnTo>
                  <a:lnTo>
                    <a:pt x="80" y="78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1" y="75"/>
                  </a:lnTo>
                  <a:lnTo>
                    <a:pt x="81" y="75"/>
                  </a:lnTo>
                  <a:lnTo>
                    <a:pt x="83" y="73"/>
                  </a:lnTo>
                  <a:lnTo>
                    <a:pt x="83" y="73"/>
                  </a:lnTo>
                  <a:lnTo>
                    <a:pt x="86" y="72"/>
                  </a:lnTo>
                  <a:lnTo>
                    <a:pt x="87" y="71"/>
                  </a:lnTo>
                  <a:lnTo>
                    <a:pt x="87" y="71"/>
                  </a:lnTo>
                  <a:lnTo>
                    <a:pt x="87" y="71"/>
                  </a:lnTo>
                  <a:lnTo>
                    <a:pt x="87" y="71"/>
                  </a:lnTo>
                  <a:lnTo>
                    <a:pt x="88" y="69"/>
                  </a:lnTo>
                  <a:lnTo>
                    <a:pt x="88" y="68"/>
                  </a:lnTo>
                  <a:lnTo>
                    <a:pt x="88" y="68"/>
                  </a:lnTo>
                  <a:lnTo>
                    <a:pt x="88" y="65"/>
                  </a:lnTo>
                  <a:lnTo>
                    <a:pt x="88" y="63"/>
                  </a:lnTo>
                  <a:lnTo>
                    <a:pt x="87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3" y="62"/>
                  </a:lnTo>
                  <a:lnTo>
                    <a:pt x="81" y="60"/>
                  </a:lnTo>
                  <a:lnTo>
                    <a:pt x="81" y="58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88" y="49"/>
                  </a:lnTo>
                  <a:lnTo>
                    <a:pt x="96" y="46"/>
                  </a:lnTo>
                  <a:lnTo>
                    <a:pt x="96" y="46"/>
                  </a:lnTo>
                  <a:lnTo>
                    <a:pt x="98" y="46"/>
                  </a:lnTo>
                  <a:lnTo>
                    <a:pt x="101" y="46"/>
                  </a:lnTo>
                  <a:lnTo>
                    <a:pt x="101" y="46"/>
                  </a:lnTo>
                  <a:lnTo>
                    <a:pt x="104" y="43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10" y="38"/>
                  </a:lnTo>
                  <a:lnTo>
                    <a:pt x="114" y="36"/>
                  </a:lnTo>
                  <a:lnTo>
                    <a:pt x="117" y="35"/>
                  </a:lnTo>
                  <a:lnTo>
                    <a:pt x="118" y="33"/>
                  </a:lnTo>
                  <a:lnTo>
                    <a:pt x="118" y="30"/>
                  </a:lnTo>
                  <a:lnTo>
                    <a:pt x="118" y="3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66" name="Freeform 14"/>
            <p:cNvSpPr>
              <a:spLocks/>
            </p:cNvSpPr>
            <p:nvPr/>
          </p:nvSpPr>
          <p:spPr bwMode="auto">
            <a:xfrm>
              <a:off x="1884258" y="4599216"/>
              <a:ext cx="90365" cy="91280"/>
            </a:xfrm>
            <a:custGeom>
              <a:avLst/>
              <a:gdLst>
                <a:gd name="T0" fmla="*/ 23 w 147"/>
                <a:gd name="T1" fmla="*/ 132 h 137"/>
                <a:gd name="T2" fmla="*/ 6 w 147"/>
                <a:gd name="T3" fmla="*/ 134 h 137"/>
                <a:gd name="T4" fmla="*/ 4 w 147"/>
                <a:gd name="T5" fmla="*/ 120 h 137"/>
                <a:gd name="T6" fmla="*/ 6 w 147"/>
                <a:gd name="T7" fmla="*/ 111 h 137"/>
                <a:gd name="T8" fmla="*/ 7 w 147"/>
                <a:gd name="T9" fmla="*/ 107 h 137"/>
                <a:gd name="T10" fmla="*/ 29 w 147"/>
                <a:gd name="T11" fmla="*/ 110 h 137"/>
                <a:gd name="T12" fmla="*/ 44 w 147"/>
                <a:gd name="T13" fmla="*/ 114 h 137"/>
                <a:gd name="T14" fmla="*/ 59 w 147"/>
                <a:gd name="T15" fmla="*/ 104 h 137"/>
                <a:gd name="T16" fmla="*/ 74 w 147"/>
                <a:gd name="T17" fmla="*/ 53 h 137"/>
                <a:gd name="T18" fmla="*/ 60 w 147"/>
                <a:gd name="T19" fmla="*/ 57 h 137"/>
                <a:gd name="T20" fmla="*/ 59 w 147"/>
                <a:gd name="T21" fmla="*/ 46 h 137"/>
                <a:gd name="T22" fmla="*/ 70 w 147"/>
                <a:gd name="T23" fmla="*/ 21 h 137"/>
                <a:gd name="T24" fmla="*/ 93 w 147"/>
                <a:gd name="T25" fmla="*/ 0 h 137"/>
                <a:gd name="T26" fmla="*/ 94 w 147"/>
                <a:gd name="T27" fmla="*/ 14 h 137"/>
                <a:gd name="T28" fmla="*/ 107 w 147"/>
                <a:gd name="T29" fmla="*/ 14 h 137"/>
                <a:gd name="T30" fmla="*/ 116 w 147"/>
                <a:gd name="T31" fmla="*/ 31 h 137"/>
                <a:gd name="T32" fmla="*/ 133 w 147"/>
                <a:gd name="T33" fmla="*/ 24 h 137"/>
                <a:gd name="T34" fmla="*/ 135 w 147"/>
                <a:gd name="T35" fmla="*/ 23 h 137"/>
                <a:gd name="T36" fmla="*/ 136 w 147"/>
                <a:gd name="T37" fmla="*/ 23 h 137"/>
                <a:gd name="T38" fmla="*/ 142 w 147"/>
                <a:gd name="T39" fmla="*/ 30 h 137"/>
                <a:gd name="T40" fmla="*/ 146 w 147"/>
                <a:gd name="T41" fmla="*/ 37 h 137"/>
                <a:gd name="T42" fmla="*/ 147 w 147"/>
                <a:gd name="T43" fmla="*/ 38 h 137"/>
                <a:gd name="T44" fmla="*/ 147 w 147"/>
                <a:gd name="T45" fmla="*/ 41 h 137"/>
                <a:gd name="T46" fmla="*/ 143 w 147"/>
                <a:gd name="T47" fmla="*/ 44 h 137"/>
                <a:gd name="T48" fmla="*/ 136 w 147"/>
                <a:gd name="T49" fmla="*/ 48 h 137"/>
                <a:gd name="T50" fmla="*/ 133 w 147"/>
                <a:gd name="T51" fmla="*/ 51 h 137"/>
                <a:gd name="T52" fmla="*/ 130 w 147"/>
                <a:gd name="T53" fmla="*/ 53 h 137"/>
                <a:gd name="T54" fmla="*/ 125 w 147"/>
                <a:gd name="T55" fmla="*/ 54 h 137"/>
                <a:gd name="T56" fmla="*/ 117 w 147"/>
                <a:gd name="T57" fmla="*/ 57 h 137"/>
                <a:gd name="T58" fmla="*/ 113 w 147"/>
                <a:gd name="T59" fmla="*/ 60 h 137"/>
                <a:gd name="T60" fmla="*/ 110 w 147"/>
                <a:gd name="T61" fmla="*/ 68 h 137"/>
                <a:gd name="T62" fmla="*/ 113 w 147"/>
                <a:gd name="T63" fmla="*/ 70 h 137"/>
                <a:gd name="T64" fmla="*/ 116 w 147"/>
                <a:gd name="T65" fmla="*/ 70 h 137"/>
                <a:gd name="T66" fmla="*/ 119 w 147"/>
                <a:gd name="T67" fmla="*/ 73 h 137"/>
                <a:gd name="T68" fmla="*/ 119 w 147"/>
                <a:gd name="T69" fmla="*/ 76 h 137"/>
                <a:gd name="T70" fmla="*/ 116 w 147"/>
                <a:gd name="T71" fmla="*/ 79 h 137"/>
                <a:gd name="T72" fmla="*/ 116 w 147"/>
                <a:gd name="T73" fmla="*/ 79 h 137"/>
                <a:gd name="T74" fmla="*/ 115 w 147"/>
                <a:gd name="T75" fmla="*/ 80 h 137"/>
                <a:gd name="T76" fmla="*/ 112 w 147"/>
                <a:gd name="T77" fmla="*/ 81 h 137"/>
                <a:gd name="T78" fmla="*/ 110 w 147"/>
                <a:gd name="T79" fmla="*/ 83 h 137"/>
                <a:gd name="T80" fmla="*/ 109 w 147"/>
                <a:gd name="T81" fmla="*/ 86 h 137"/>
                <a:gd name="T82" fmla="*/ 106 w 147"/>
                <a:gd name="T83" fmla="*/ 89 h 137"/>
                <a:gd name="T84" fmla="*/ 104 w 147"/>
                <a:gd name="T85" fmla="*/ 91 h 137"/>
                <a:gd name="T86" fmla="*/ 99 w 147"/>
                <a:gd name="T87" fmla="*/ 94 h 137"/>
                <a:gd name="T88" fmla="*/ 96 w 147"/>
                <a:gd name="T89" fmla="*/ 93 h 137"/>
                <a:gd name="T90" fmla="*/ 96 w 147"/>
                <a:gd name="T91" fmla="*/ 89 h 137"/>
                <a:gd name="T92" fmla="*/ 94 w 147"/>
                <a:gd name="T93" fmla="*/ 87 h 137"/>
                <a:gd name="T94" fmla="*/ 87 w 147"/>
                <a:gd name="T95" fmla="*/ 91 h 137"/>
                <a:gd name="T96" fmla="*/ 82 w 147"/>
                <a:gd name="T97" fmla="*/ 96 h 137"/>
                <a:gd name="T98" fmla="*/ 60 w 147"/>
                <a:gd name="T99" fmla="*/ 117 h 137"/>
                <a:gd name="T100" fmla="*/ 53 w 147"/>
                <a:gd name="T101" fmla="*/ 120 h 137"/>
                <a:gd name="T102" fmla="*/ 47 w 147"/>
                <a:gd name="T103" fmla="*/ 123 h 137"/>
                <a:gd name="T104" fmla="*/ 34 w 147"/>
                <a:gd name="T105" fmla="*/ 133 h 137"/>
                <a:gd name="T106" fmla="*/ 29 w 147"/>
                <a:gd name="T107" fmla="*/ 13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7" h="137">
                  <a:moveTo>
                    <a:pt x="29" y="137"/>
                  </a:moveTo>
                  <a:lnTo>
                    <a:pt x="23" y="132"/>
                  </a:lnTo>
                  <a:lnTo>
                    <a:pt x="16" y="132"/>
                  </a:lnTo>
                  <a:lnTo>
                    <a:pt x="6" y="134"/>
                  </a:lnTo>
                  <a:lnTo>
                    <a:pt x="0" y="129"/>
                  </a:lnTo>
                  <a:lnTo>
                    <a:pt x="4" y="120"/>
                  </a:lnTo>
                  <a:lnTo>
                    <a:pt x="6" y="117"/>
                  </a:lnTo>
                  <a:lnTo>
                    <a:pt x="6" y="111"/>
                  </a:lnTo>
                  <a:lnTo>
                    <a:pt x="6" y="109"/>
                  </a:lnTo>
                  <a:lnTo>
                    <a:pt x="7" y="107"/>
                  </a:lnTo>
                  <a:lnTo>
                    <a:pt x="30" y="93"/>
                  </a:lnTo>
                  <a:lnTo>
                    <a:pt x="29" y="110"/>
                  </a:lnTo>
                  <a:lnTo>
                    <a:pt x="36" y="120"/>
                  </a:lnTo>
                  <a:lnTo>
                    <a:pt x="44" y="114"/>
                  </a:lnTo>
                  <a:lnTo>
                    <a:pt x="51" y="117"/>
                  </a:lnTo>
                  <a:lnTo>
                    <a:pt x="59" y="104"/>
                  </a:lnTo>
                  <a:lnTo>
                    <a:pt x="53" y="76"/>
                  </a:lnTo>
                  <a:lnTo>
                    <a:pt x="74" y="53"/>
                  </a:lnTo>
                  <a:lnTo>
                    <a:pt x="69" y="47"/>
                  </a:lnTo>
                  <a:lnTo>
                    <a:pt x="60" y="57"/>
                  </a:lnTo>
                  <a:lnTo>
                    <a:pt x="57" y="54"/>
                  </a:lnTo>
                  <a:lnTo>
                    <a:pt x="59" y="46"/>
                  </a:lnTo>
                  <a:lnTo>
                    <a:pt x="74" y="27"/>
                  </a:lnTo>
                  <a:lnTo>
                    <a:pt x="70" y="21"/>
                  </a:lnTo>
                  <a:lnTo>
                    <a:pt x="73" y="17"/>
                  </a:lnTo>
                  <a:lnTo>
                    <a:pt x="93" y="0"/>
                  </a:lnTo>
                  <a:lnTo>
                    <a:pt x="99" y="7"/>
                  </a:lnTo>
                  <a:lnTo>
                    <a:pt x="94" y="14"/>
                  </a:lnTo>
                  <a:lnTo>
                    <a:pt x="102" y="20"/>
                  </a:lnTo>
                  <a:lnTo>
                    <a:pt x="107" y="14"/>
                  </a:lnTo>
                  <a:lnTo>
                    <a:pt x="120" y="27"/>
                  </a:lnTo>
                  <a:lnTo>
                    <a:pt x="116" y="31"/>
                  </a:lnTo>
                  <a:lnTo>
                    <a:pt x="120" y="36"/>
                  </a:lnTo>
                  <a:lnTo>
                    <a:pt x="133" y="24"/>
                  </a:lnTo>
                  <a:lnTo>
                    <a:pt x="133" y="24"/>
                  </a:lnTo>
                  <a:lnTo>
                    <a:pt x="135" y="23"/>
                  </a:lnTo>
                  <a:lnTo>
                    <a:pt x="135" y="23"/>
                  </a:lnTo>
                  <a:lnTo>
                    <a:pt x="136" y="23"/>
                  </a:lnTo>
                  <a:lnTo>
                    <a:pt x="139" y="24"/>
                  </a:lnTo>
                  <a:lnTo>
                    <a:pt x="142" y="30"/>
                  </a:lnTo>
                  <a:lnTo>
                    <a:pt x="145" y="36"/>
                  </a:lnTo>
                  <a:lnTo>
                    <a:pt x="146" y="37"/>
                  </a:lnTo>
                  <a:lnTo>
                    <a:pt x="147" y="37"/>
                  </a:lnTo>
                  <a:lnTo>
                    <a:pt x="147" y="38"/>
                  </a:lnTo>
                  <a:lnTo>
                    <a:pt x="147" y="38"/>
                  </a:lnTo>
                  <a:lnTo>
                    <a:pt x="147" y="41"/>
                  </a:lnTo>
                  <a:lnTo>
                    <a:pt x="146" y="43"/>
                  </a:lnTo>
                  <a:lnTo>
                    <a:pt x="143" y="44"/>
                  </a:lnTo>
                  <a:lnTo>
                    <a:pt x="139" y="46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3" y="51"/>
                  </a:lnTo>
                  <a:lnTo>
                    <a:pt x="130" y="53"/>
                  </a:lnTo>
                  <a:lnTo>
                    <a:pt x="130" y="53"/>
                  </a:lnTo>
                  <a:lnTo>
                    <a:pt x="127" y="54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17" y="57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0" y="66"/>
                  </a:lnTo>
                  <a:lnTo>
                    <a:pt x="110" y="68"/>
                  </a:lnTo>
                  <a:lnTo>
                    <a:pt x="112" y="70"/>
                  </a:lnTo>
                  <a:lnTo>
                    <a:pt x="113" y="70"/>
                  </a:lnTo>
                  <a:lnTo>
                    <a:pt x="113" y="70"/>
                  </a:lnTo>
                  <a:lnTo>
                    <a:pt x="116" y="70"/>
                  </a:lnTo>
                  <a:lnTo>
                    <a:pt x="117" y="71"/>
                  </a:lnTo>
                  <a:lnTo>
                    <a:pt x="119" y="73"/>
                  </a:lnTo>
                  <a:lnTo>
                    <a:pt x="119" y="76"/>
                  </a:lnTo>
                  <a:lnTo>
                    <a:pt x="119" y="76"/>
                  </a:lnTo>
                  <a:lnTo>
                    <a:pt x="117" y="77"/>
                  </a:lnTo>
                  <a:lnTo>
                    <a:pt x="116" y="79"/>
                  </a:lnTo>
                  <a:lnTo>
                    <a:pt x="116" y="79"/>
                  </a:lnTo>
                  <a:lnTo>
                    <a:pt x="116" y="79"/>
                  </a:lnTo>
                  <a:lnTo>
                    <a:pt x="116" y="79"/>
                  </a:lnTo>
                  <a:lnTo>
                    <a:pt x="115" y="80"/>
                  </a:lnTo>
                  <a:lnTo>
                    <a:pt x="112" y="81"/>
                  </a:lnTo>
                  <a:lnTo>
                    <a:pt x="112" y="81"/>
                  </a:lnTo>
                  <a:lnTo>
                    <a:pt x="110" y="83"/>
                  </a:lnTo>
                  <a:lnTo>
                    <a:pt x="110" y="83"/>
                  </a:lnTo>
                  <a:lnTo>
                    <a:pt x="110" y="84"/>
                  </a:lnTo>
                  <a:lnTo>
                    <a:pt x="109" y="86"/>
                  </a:lnTo>
                  <a:lnTo>
                    <a:pt x="107" y="86"/>
                  </a:lnTo>
                  <a:lnTo>
                    <a:pt x="106" y="89"/>
                  </a:lnTo>
                  <a:lnTo>
                    <a:pt x="106" y="89"/>
                  </a:lnTo>
                  <a:lnTo>
                    <a:pt x="104" y="91"/>
                  </a:lnTo>
                  <a:lnTo>
                    <a:pt x="103" y="93"/>
                  </a:lnTo>
                  <a:lnTo>
                    <a:pt x="99" y="94"/>
                  </a:lnTo>
                  <a:lnTo>
                    <a:pt x="99" y="94"/>
                  </a:lnTo>
                  <a:lnTo>
                    <a:pt x="96" y="93"/>
                  </a:lnTo>
                  <a:lnTo>
                    <a:pt x="96" y="91"/>
                  </a:lnTo>
                  <a:lnTo>
                    <a:pt x="96" y="89"/>
                  </a:lnTo>
                  <a:lnTo>
                    <a:pt x="94" y="87"/>
                  </a:lnTo>
                  <a:lnTo>
                    <a:pt x="94" y="87"/>
                  </a:lnTo>
                  <a:lnTo>
                    <a:pt x="92" y="89"/>
                  </a:lnTo>
                  <a:lnTo>
                    <a:pt x="87" y="91"/>
                  </a:lnTo>
                  <a:lnTo>
                    <a:pt x="82" y="96"/>
                  </a:lnTo>
                  <a:lnTo>
                    <a:pt x="82" y="96"/>
                  </a:lnTo>
                  <a:lnTo>
                    <a:pt x="69" y="110"/>
                  </a:lnTo>
                  <a:lnTo>
                    <a:pt x="60" y="117"/>
                  </a:lnTo>
                  <a:lnTo>
                    <a:pt x="56" y="119"/>
                  </a:lnTo>
                  <a:lnTo>
                    <a:pt x="53" y="120"/>
                  </a:lnTo>
                  <a:lnTo>
                    <a:pt x="53" y="120"/>
                  </a:lnTo>
                  <a:lnTo>
                    <a:pt x="47" y="123"/>
                  </a:lnTo>
                  <a:lnTo>
                    <a:pt x="40" y="127"/>
                  </a:lnTo>
                  <a:lnTo>
                    <a:pt x="34" y="133"/>
                  </a:lnTo>
                  <a:lnTo>
                    <a:pt x="29" y="137"/>
                  </a:lnTo>
                  <a:lnTo>
                    <a:pt x="29" y="13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67" name="Freeform 15"/>
            <p:cNvSpPr>
              <a:spLocks/>
            </p:cNvSpPr>
            <p:nvPr/>
          </p:nvSpPr>
          <p:spPr bwMode="auto">
            <a:xfrm>
              <a:off x="7762836" y="5050326"/>
              <a:ext cx="372448" cy="887669"/>
            </a:xfrm>
            <a:custGeom>
              <a:avLst/>
              <a:gdLst>
                <a:gd name="T0" fmla="*/ 189 w 610"/>
                <a:gd name="T1" fmla="*/ 572 h 1342"/>
                <a:gd name="T2" fmla="*/ 191 w 610"/>
                <a:gd name="T3" fmla="*/ 499 h 1342"/>
                <a:gd name="T4" fmla="*/ 199 w 610"/>
                <a:gd name="T5" fmla="*/ 422 h 1342"/>
                <a:gd name="T6" fmla="*/ 257 w 610"/>
                <a:gd name="T7" fmla="*/ 363 h 1342"/>
                <a:gd name="T8" fmla="*/ 298 w 610"/>
                <a:gd name="T9" fmla="*/ 377 h 1342"/>
                <a:gd name="T10" fmla="*/ 342 w 610"/>
                <a:gd name="T11" fmla="*/ 377 h 1342"/>
                <a:gd name="T12" fmla="*/ 414 w 610"/>
                <a:gd name="T13" fmla="*/ 340 h 1342"/>
                <a:gd name="T14" fmla="*/ 421 w 610"/>
                <a:gd name="T15" fmla="*/ 275 h 1342"/>
                <a:gd name="T16" fmla="*/ 466 w 610"/>
                <a:gd name="T17" fmla="*/ 205 h 1342"/>
                <a:gd name="T18" fmla="*/ 486 w 610"/>
                <a:gd name="T19" fmla="*/ 138 h 1342"/>
                <a:gd name="T20" fmla="*/ 424 w 610"/>
                <a:gd name="T21" fmla="*/ 135 h 1342"/>
                <a:gd name="T22" fmla="*/ 393 w 610"/>
                <a:gd name="T23" fmla="*/ 124 h 1342"/>
                <a:gd name="T24" fmla="*/ 391 w 610"/>
                <a:gd name="T25" fmla="*/ 76 h 1342"/>
                <a:gd name="T26" fmla="*/ 436 w 610"/>
                <a:gd name="T27" fmla="*/ 0 h 1342"/>
                <a:gd name="T28" fmla="*/ 494 w 610"/>
                <a:gd name="T29" fmla="*/ 31 h 1342"/>
                <a:gd name="T30" fmla="*/ 539 w 610"/>
                <a:gd name="T31" fmla="*/ 65 h 1342"/>
                <a:gd name="T32" fmla="*/ 540 w 610"/>
                <a:gd name="T33" fmla="*/ 112 h 1342"/>
                <a:gd name="T34" fmla="*/ 593 w 610"/>
                <a:gd name="T35" fmla="*/ 108 h 1342"/>
                <a:gd name="T36" fmla="*/ 590 w 610"/>
                <a:gd name="T37" fmla="*/ 215 h 1342"/>
                <a:gd name="T38" fmla="*/ 605 w 610"/>
                <a:gd name="T39" fmla="*/ 318 h 1342"/>
                <a:gd name="T40" fmla="*/ 607 w 610"/>
                <a:gd name="T41" fmla="*/ 426 h 1342"/>
                <a:gd name="T42" fmla="*/ 586 w 610"/>
                <a:gd name="T43" fmla="*/ 522 h 1342"/>
                <a:gd name="T44" fmla="*/ 574 w 610"/>
                <a:gd name="T45" fmla="*/ 605 h 1342"/>
                <a:gd name="T46" fmla="*/ 567 w 610"/>
                <a:gd name="T47" fmla="*/ 648 h 1342"/>
                <a:gd name="T48" fmla="*/ 553 w 610"/>
                <a:gd name="T49" fmla="*/ 721 h 1342"/>
                <a:gd name="T50" fmla="*/ 556 w 610"/>
                <a:gd name="T51" fmla="*/ 781 h 1342"/>
                <a:gd name="T52" fmla="*/ 563 w 610"/>
                <a:gd name="T53" fmla="*/ 824 h 1342"/>
                <a:gd name="T54" fmla="*/ 546 w 610"/>
                <a:gd name="T55" fmla="*/ 858 h 1342"/>
                <a:gd name="T56" fmla="*/ 534 w 610"/>
                <a:gd name="T57" fmla="*/ 940 h 1342"/>
                <a:gd name="T58" fmla="*/ 506 w 610"/>
                <a:gd name="T59" fmla="*/ 997 h 1342"/>
                <a:gd name="T60" fmla="*/ 481 w 610"/>
                <a:gd name="T61" fmla="*/ 1053 h 1342"/>
                <a:gd name="T62" fmla="*/ 458 w 610"/>
                <a:gd name="T63" fmla="*/ 1085 h 1342"/>
                <a:gd name="T64" fmla="*/ 418 w 610"/>
                <a:gd name="T65" fmla="*/ 1118 h 1342"/>
                <a:gd name="T66" fmla="*/ 381 w 610"/>
                <a:gd name="T67" fmla="*/ 1128 h 1342"/>
                <a:gd name="T68" fmla="*/ 361 w 610"/>
                <a:gd name="T69" fmla="*/ 1142 h 1342"/>
                <a:gd name="T70" fmla="*/ 334 w 610"/>
                <a:gd name="T71" fmla="*/ 1146 h 1342"/>
                <a:gd name="T72" fmla="*/ 307 w 610"/>
                <a:gd name="T73" fmla="*/ 1165 h 1342"/>
                <a:gd name="T74" fmla="*/ 281 w 610"/>
                <a:gd name="T75" fmla="*/ 1118 h 1342"/>
                <a:gd name="T76" fmla="*/ 262 w 610"/>
                <a:gd name="T77" fmla="*/ 1096 h 1342"/>
                <a:gd name="T78" fmla="*/ 236 w 610"/>
                <a:gd name="T79" fmla="*/ 1155 h 1342"/>
                <a:gd name="T80" fmla="*/ 232 w 610"/>
                <a:gd name="T81" fmla="*/ 1123 h 1342"/>
                <a:gd name="T82" fmla="*/ 208 w 610"/>
                <a:gd name="T83" fmla="*/ 1120 h 1342"/>
                <a:gd name="T84" fmla="*/ 211 w 610"/>
                <a:gd name="T85" fmla="*/ 1149 h 1342"/>
                <a:gd name="T86" fmla="*/ 209 w 610"/>
                <a:gd name="T87" fmla="*/ 1176 h 1342"/>
                <a:gd name="T88" fmla="*/ 205 w 610"/>
                <a:gd name="T89" fmla="*/ 1192 h 1342"/>
                <a:gd name="T90" fmla="*/ 211 w 610"/>
                <a:gd name="T91" fmla="*/ 1208 h 1342"/>
                <a:gd name="T92" fmla="*/ 198 w 610"/>
                <a:gd name="T93" fmla="*/ 1239 h 1342"/>
                <a:gd name="T94" fmla="*/ 192 w 610"/>
                <a:gd name="T95" fmla="*/ 1267 h 1342"/>
                <a:gd name="T96" fmla="*/ 165 w 610"/>
                <a:gd name="T97" fmla="*/ 1274 h 1342"/>
                <a:gd name="T98" fmla="*/ 138 w 610"/>
                <a:gd name="T99" fmla="*/ 1282 h 1342"/>
                <a:gd name="T100" fmla="*/ 168 w 610"/>
                <a:gd name="T101" fmla="*/ 1294 h 1342"/>
                <a:gd name="T102" fmla="*/ 156 w 610"/>
                <a:gd name="T103" fmla="*/ 1301 h 1342"/>
                <a:gd name="T104" fmla="*/ 168 w 610"/>
                <a:gd name="T105" fmla="*/ 1342 h 1342"/>
                <a:gd name="T106" fmla="*/ 118 w 610"/>
                <a:gd name="T107" fmla="*/ 1249 h 1342"/>
                <a:gd name="T108" fmla="*/ 159 w 610"/>
                <a:gd name="T109" fmla="*/ 1186 h 1342"/>
                <a:gd name="T110" fmla="*/ 63 w 610"/>
                <a:gd name="T111" fmla="*/ 994 h 1342"/>
                <a:gd name="T112" fmla="*/ 19 w 610"/>
                <a:gd name="T113" fmla="*/ 901 h 1342"/>
                <a:gd name="T114" fmla="*/ 65 w 610"/>
                <a:gd name="T115" fmla="*/ 805 h 1342"/>
                <a:gd name="T116" fmla="*/ 189 w 610"/>
                <a:gd name="T117" fmla="*/ 752 h 1342"/>
                <a:gd name="T118" fmla="*/ 192 w 610"/>
                <a:gd name="T119" fmla="*/ 671 h 1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10" h="1342">
                  <a:moveTo>
                    <a:pt x="196" y="622"/>
                  </a:moveTo>
                  <a:lnTo>
                    <a:pt x="196" y="622"/>
                  </a:lnTo>
                  <a:lnTo>
                    <a:pt x="195" y="616"/>
                  </a:lnTo>
                  <a:lnTo>
                    <a:pt x="193" y="611"/>
                  </a:lnTo>
                  <a:lnTo>
                    <a:pt x="192" y="608"/>
                  </a:lnTo>
                  <a:lnTo>
                    <a:pt x="191" y="605"/>
                  </a:lnTo>
                  <a:lnTo>
                    <a:pt x="188" y="603"/>
                  </a:lnTo>
                  <a:lnTo>
                    <a:pt x="185" y="602"/>
                  </a:lnTo>
                  <a:lnTo>
                    <a:pt x="185" y="601"/>
                  </a:lnTo>
                  <a:lnTo>
                    <a:pt x="185" y="598"/>
                  </a:lnTo>
                  <a:lnTo>
                    <a:pt x="186" y="596"/>
                  </a:lnTo>
                  <a:lnTo>
                    <a:pt x="188" y="592"/>
                  </a:lnTo>
                  <a:lnTo>
                    <a:pt x="186" y="585"/>
                  </a:lnTo>
                  <a:lnTo>
                    <a:pt x="186" y="585"/>
                  </a:lnTo>
                  <a:lnTo>
                    <a:pt x="189" y="576"/>
                  </a:lnTo>
                  <a:lnTo>
                    <a:pt x="189" y="572"/>
                  </a:lnTo>
                  <a:lnTo>
                    <a:pt x="189" y="569"/>
                  </a:lnTo>
                  <a:lnTo>
                    <a:pt x="186" y="562"/>
                  </a:lnTo>
                  <a:lnTo>
                    <a:pt x="186" y="560"/>
                  </a:lnTo>
                  <a:lnTo>
                    <a:pt x="189" y="555"/>
                  </a:lnTo>
                  <a:lnTo>
                    <a:pt x="189" y="552"/>
                  </a:lnTo>
                  <a:lnTo>
                    <a:pt x="186" y="549"/>
                  </a:lnTo>
                  <a:lnTo>
                    <a:pt x="183" y="548"/>
                  </a:lnTo>
                  <a:lnTo>
                    <a:pt x="182" y="546"/>
                  </a:lnTo>
                  <a:lnTo>
                    <a:pt x="176" y="546"/>
                  </a:lnTo>
                  <a:lnTo>
                    <a:pt x="175" y="545"/>
                  </a:lnTo>
                  <a:lnTo>
                    <a:pt x="173" y="540"/>
                  </a:lnTo>
                  <a:lnTo>
                    <a:pt x="175" y="535"/>
                  </a:lnTo>
                  <a:lnTo>
                    <a:pt x="173" y="530"/>
                  </a:lnTo>
                  <a:lnTo>
                    <a:pt x="173" y="515"/>
                  </a:lnTo>
                  <a:lnTo>
                    <a:pt x="181" y="507"/>
                  </a:lnTo>
                  <a:lnTo>
                    <a:pt x="191" y="499"/>
                  </a:lnTo>
                  <a:lnTo>
                    <a:pt x="196" y="493"/>
                  </a:lnTo>
                  <a:lnTo>
                    <a:pt x="202" y="490"/>
                  </a:lnTo>
                  <a:lnTo>
                    <a:pt x="205" y="486"/>
                  </a:lnTo>
                  <a:lnTo>
                    <a:pt x="206" y="480"/>
                  </a:lnTo>
                  <a:lnTo>
                    <a:pt x="205" y="475"/>
                  </a:lnTo>
                  <a:lnTo>
                    <a:pt x="201" y="469"/>
                  </a:lnTo>
                  <a:lnTo>
                    <a:pt x="195" y="457"/>
                  </a:lnTo>
                  <a:lnTo>
                    <a:pt x="195" y="446"/>
                  </a:lnTo>
                  <a:lnTo>
                    <a:pt x="192" y="439"/>
                  </a:lnTo>
                  <a:lnTo>
                    <a:pt x="192" y="436"/>
                  </a:lnTo>
                  <a:lnTo>
                    <a:pt x="195" y="436"/>
                  </a:lnTo>
                  <a:lnTo>
                    <a:pt x="199" y="437"/>
                  </a:lnTo>
                  <a:lnTo>
                    <a:pt x="202" y="436"/>
                  </a:lnTo>
                  <a:lnTo>
                    <a:pt x="204" y="433"/>
                  </a:lnTo>
                  <a:lnTo>
                    <a:pt x="202" y="429"/>
                  </a:lnTo>
                  <a:lnTo>
                    <a:pt x="199" y="422"/>
                  </a:lnTo>
                  <a:lnTo>
                    <a:pt x="198" y="417"/>
                  </a:lnTo>
                  <a:lnTo>
                    <a:pt x="196" y="412"/>
                  </a:lnTo>
                  <a:lnTo>
                    <a:pt x="195" y="407"/>
                  </a:lnTo>
                  <a:lnTo>
                    <a:pt x="195" y="406"/>
                  </a:lnTo>
                  <a:lnTo>
                    <a:pt x="202" y="400"/>
                  </a:lnTo>
                  <a:lnTo>
                    <a:pt x="218" y="387"/>
                  </a:lnTo>
                  <a:lnTo>
                    <a:pt x="228" y="384"/>
                  </a:lnTo>
                  <a:lnTo>
                    <a:pt x="232" y="381"/>
                  </a:lnTo>
                  <a:lnTo>
                    <a:pt x="232" y="376"/>
                  </a:lnTo>
                  <a:lnTo>
                    <a:pt x="234" y="371"/>
                  </a:lnTo>
                  <a:lnTo>
                    <a:pt x="235" y="367"/>
                  </a:lnTo>
                  <a:lnTo>
                    <a:pt x="238" y="367"/>
                  </a:lnTo>
                  <a:lnTo>
                    <a:pt x="242" y="367"/>
                  </a:lnTo>
                  <a:lnTo>
                    <a:pt x="248" y="367"/>
                  </a:lnTo>
                  <a:lnTo>
                    <a:pt x="252" y="364"/>
                  </a:lnTo>
                  <a:lnTo>
                    <a:pt x="257" y="363"/>
                  </a:lnTo>
                  <a:lnTo>
                    <a:pt x="259" y="364"/>
                  </a:lnTo>
                  <a:lnTo>
                    <a:pt x="259" y="364"/>
                  </a:lnTo>
                  <a:lnTo>
                    <a:pt x="259" y="369"/>
                  </a:lnTo>
                  <a:lnTo>
                    <a:pt x="264" y="371"/>
                  </a:lnTo>
                  <a:lnTo>
                    <a:pt x="271" y="373"/>
                  </a:lnTo>
                  <a:lnTo>
                    <a:pt x="275" y="371"/>
                  </a:lnTo>
                  <a:lnTo>
                    <a:pt x="278" y="371"/>
                  </a:lnTo>
                  <a:lnTo>
                    <a:pt x="279" y="374"/>
                  </a:lnTo>
                  <a:lnTo>
                    <a:pt x="281" y="379"/>
                  </a:lnTo>
                  <a:lnTo>
                    <a:pt x="278" y="384"/>
                  </a:lnTo>
                  <a:lnTo>
                    <a:pt x="277" y="389"/>
                  </a:lnTo>
                  <a:lnTo>
                    <a:pt x="277" y="391"/>
                  </a:lnTo>
                  <a:lnTo>
                    <a:pt x="282" y="393"/>
                  </a:lnTo>
                  <a:lnTo>
                    <a:pt x="285" y="391"/>
                  </a:lnTo>
                  <a:lnTo>
                    <a:pt x="289" y="386"/>
                  </a:lnTo>
                  <a:lnTo>
                    <a:pt x="298" y="377"/>
                  </a:lnTo>
                  <a:lnTo>
                    <a:pt x="299" y="376"/>
                  </a:lnTo>
                  <a:lnTo>
                    <a:pt x="305" y="376"/>
                  </a:lnTo>
                  <a:lnTo>
                    <a:pt x="308" y="371"/>
                  </a:lnTo>
                  <a:lnTo>
                    <a:pt x="309" y="366"/>
                  </a:lnTo>
                  <a:lnTo>
                    <a:pt x="312" y="364"/>
                  </a:lnTo>
                  <a:lnTo>
                    <a:pt x="317" y="364"/>
                  </a:lnTo>
                  <a:lnTo>
                    <a:pt x="321" y="367"/>
                  </a:lnTo>
                  <a:lnTo>
                    <a:pt x="321" y="370"/>
                  </a:lnTo>
                  <a:lnTo>
                    <a:pt x="320" y="373"/>
                  </a:lnTo>
                  <a:lnTo>
                    <a:pt x="314" y="374"/>
                  </a:lnTo>
                  <a:lnTo>
                    <a:pt x="311" y="377"/>
                  </a:lnTo>
                  <a:lnTo>
                    <a:pt x="314" y="380"/>
                  </a:lnTo>
                  <a:lnTo>
                    <a:pt x="320" y="379"/>
                  </a:lnTo>
                  <a:lnTo>
                    <a:pt x="322" y="376"/>
                  </a:lnTo>
                  <a:lnTo>
                    <a:pt x="330" y="376"/>
                  </a:lnTo>
                  <a:lnTo>
                    <a:pt x="342" y="377"/>
                  </a:lnTo>
                  <a:lnTo>
                    <a:pt x="350" y="377"/>
                  </a:lnTo>
                  <a:lnTo>
                    <a:pt x="354" y="374"/>
                  </a:lnTo>
                  <a:lnTo>
                    <a:pt x="357" y="370"/>
                  </a:lnTo>
                  <a:lnTo>
                    <a:pt x="360" y="363"/>
                  </a:lnTo>
                  <a:lnTo>
                    <a:pt x="361" y="361"/>
                  </a:lnTo>
                  <a:lnTo>
                    <a:pt x="368" y="363"/>
                  </a:lnTo>
                  <a:lnTo>
                    <a:pt x="377" y="366"/>
                  </a:lnTo>
                  <a:lnTo>
                    <a:pt x="381" y="364"/>
                  </a:lnTo>
                  <a:lnTo>
                    <a:pt x="390" y="359"/>
                  </a:lnTo>
                  <a:lnTo>
                    <a:pt x="394" y="354"/>
                  </a:lnTo>
                  <a:lnTo>
                    <a:pt x="395" y="347"/>
                  </a:lnTo>
                  <a:lnTo>
                    <a:pt x="398" y="344"/>
                  </a:lnTo>
                  <a:lnTo>
                    <a:pt x="403" y="343"/>
                  </a:lnTo>
                  <a:lnTo>
                    <a:pt x="407" y="341"/>
                  </a:lnTo>
                  <a:lnTo>
                    <a:pt x="411" y="341"/>
                  </a:lnTo>
                  <a:lnTo>
                    <a:pt x="414" y="340"/>
                  </a:lnTo>
                  <a:lnTo>
                    <a:pt x="415" y="336"/>
                  </a:lnTo>
                  <a:lnTo>
                    <a:pt x="417" y="330"/>
                  </a:lnTo>
                  <a:lnTo>
                    <a:pt x="420" y="327"/>
                  </a:lnTo>
                  <a:lnTo>
                    <a:pt x="421" y="321"/>
                  </a:lnTo>
                  <a:lnTo>
                    <a:pt x="421" y="317"/>
                  </a:lnTo>
                  <a:lnTo>
                    <a:pt x="423" y="314"/>
                  </a:lnTo>
                  <a:lnTo>
                    <a:pt x="424" y="311"/>
                  </a:lnTo>
                  <a:lnTo>
                    <a:pt x="424" y="308"/>
                  </a:lnTo>
                  <a:lnTo>
                    <a:pt x="424" y="304"/>
                  </a:lnTo>
                  <a:lnTo>
                    <a:pt x="424" y="301"/>
                  </a:lnTo>
                  <a:lnTo>
                    <a:pt x="427" y="297"/>
                  </a:lnTo>
                  <a:lnTo>
                    <a:pt x="428" y="294"/>
                  </a:lnTo>
                  <a:lnTo>
                    <a:pt x="431" y="288"/>
                  </a:lnTo>
                  <a:lnTo>
                    <a:pt x="431" y="283"/>
                  </a:lnTo>
                  <a:lnTo>
                    <a:pt x="428" y="280"/>
                  </a:lnTo>
                  <a:lnTo>
                    <a:pt x="421" y="275"/>
                  </a:lnTo>
                  <a:lnTo>
                    <a:pt x="418" y="271"/>
                  </a:lnTo>
                  <a:lnTo>
                    <a:pt x="415" y="264"/>
                  </a:lnTo>
                  <a:lnTo>
                    <a:pt x="413" y="244"/>
                  </a:lnTo>
                  <a:lnTo>
                    <a:pt x="414" y="240"/>
                  </a:lnTo>
                  <a:lnTo>
                    <a:pt x="418" y="238"/>
                  </a:lnTo>
                  <a:lnTo>
                    <a:pt x="421" y="238"/>
                  </a:lnTo>
                  <a:lnTo>
                    <a:pt x="426" y="238"/>
                  </a:lnTo>
                  <a:lnTo>
                    <a:pt x="431" y="238"/>
                  </a:lnTo>
                  <a:lnTo>
                    <a:pt x="434" y="235"/>
                  </a:lnTo>
                  <a:lnTo>
                    <a:pt x="438" y="231"/>
                  </a:lnTo>
                  <a:lnTo>
                    <a:pt x="443" y="230"/>
                  </a:lnTo>
                  <a:lnTo>
                    <a:pt x="448" y="228"/>
                  </a:lnTo>
                  <a:lnTo>
                    <a:pt x="454" y="228"/>
                  </a:lnTo>
                  <a:lnTo>
                    <a:pt x="460" y="224"/>
                  </a:lnTo>
                  <a:lnTo>
                    <a:pt x="464" y="217"/>
                  </a:lnTo>
                  <a:lnTo>
                    <a:pt x="466" y="205"/>
                  </a:lnTo>
                  <a:lnTo>
                    <a:pt x="467" y="201"/>
                  </a:lnTo>
                  <a:lnTo>
                    <a:pt x="470" y="198"/>
                  </a:lnTo>
                  <a:lnTo>
                    <a:pt x="473" y="194"/>
                  </a:lnTo>
                  <a:lnTo>
                    <a:pt x="474" y="190"/>
                  </a:lnTo>
                  <a:lnTo>
                    <a:pt x="478" y="185"/>
                  </a:lnTo>
                  <a:lnTo>
                    <a:pt x="481" y="182"/>
                  </a:lnTo>
                  <a:lnTo>
                    <a:pt x="480" y="171"/>
                  </a:lnTo>
                  <a:lnTo>
                    <a:pt x="478" y="168"/>
                  </a:lnTo>
                  <a:lnTo>
                    <a:pt x="481" y="164"/>
                  </a:lnTo>
                  <a:lnTo>
                    <a:pt x="486" y="161"/>
                  </a:lnTo>
                  <a:lnTo>
                    <a:pt x="490" y="155"/>
                  </a:lnTo>
                  <a:lnTo>
                    <a:pt x="494" y="149"/>
                  </a:lnTo>
                  <a:lnTo>
                    <a:pt x="494" y="144"/>
                  </a:lnTo>
                  <a:lnTo>
                    <a:pt x="493" y="139"/>
                  </a:lnTo>
                  <a:lnTo>
                    <a:pt x="490" y="138"/>
                  </a:lnTo>
                  <a:lnTo>
                    <a:pt x="486" y="138"/>
                  </a:lnTo>
                  <a:lnTo>
                    <a:pt x="481" y="139"/>
                  </a:lnTo>
                  <a:lnTo>
                    <a:pt x="477" y="142"/>
                  </a:lnTo>
                  <a:lnTo>
                    <a:pt x="473" y="144"/>
                  </a:lnTo>
                  <a:lnTo>
                    <a:pt x="470" y="142"/>
                  </a:lnTo>
                  <a:lnTo>
                    <a:pt x="467" y="138"/>
                  </a:lnTo>
                  <a:lnTo>
                    <a:pt x="470" y="131"/>
                  </a:lnTo>
                  <a:lnTo>
                    <a:pt x="468" y="127"/>
                  </a:lnTo>
                  <a:lnTo>
                    <a:pt x="467" y="125"/>
                  </a:lnTo>
                  <a:lnTo>
                    <a:pt x="460" y="125"/>
                  </a:lnTo>
                  <a:lnTo>
                    <a:pt x="456" y="127"/>
                  </a:lnTo>
                  <a:lnTo>
                    <a:pt x="454" y="131"/>
                  </a:lnTo>
                  <a:lnTo>
                    <a:pt x="450" y="134"/>
                  </a:lnTo>
                  <a:lnTo>
                    <a:pt x="446" y="137"/>
                  </a:lnTo>
                  <a:lnTo>
                    <a:pt x="436" y="135"/>
                  </a:lnTo>
                  <a:lnTo>
                    <a:pt x="430" y="135"/>
                  </a:lnTo>
                  <a:lnTo>
                    <a:pt x="424" y="135"/>
                  </a:lnTo>
                  <a:lnTo>
                    <a:pt x="420" y="139"/>
                  </a:lnTo>
                  <a:lnTo>
                    <a:pt x="413" y="145"/>
                  </a:lnTo>
                  <a:lnTo>
                    <a:pt x="410" y="148"/>
                  </a:lnTo>
                  <a:lnTo>
                    <a:pt x="405" y="149"/>
                  </a:lnTo>
                  <a:lnTo>
                    <a:pt x="403" y="149"/>
                  </a:lnTo>
                  <a:lnTo>
                    <a:pt x="401" y="145"/>
                  </a:lnTo>
                  <a:lnTo>
                    <a:pt x="401" y="142"/>
                  </a:lnTo>
                  <a:lnTo>
                    <a:pt x="405" y="134"/>
                  </a:lnTo>
                  <a:lnTo>
                    <a:pt x="413" y="127"/>
                  </a:lnTo>
                  <a:lnTo>
                    <a:pt x="414" y="122"/>
                  </a:lnTo>
                  <a:lnTo>
                    <a:pt x="411" y="121"/>
                  </a:lnTo>
                  <a:lnTo>
                    <a:pt x="407" y="121"/>
                  </a:lnTo>
                  <a:lnTo>
                    <a:pt x="403" y="121"/>
                  </a:lnTo>
                  <a:lnTo>
                    <a:pt x="400" y="121"/>
                  </a:lnTo>
                  <a:lnTo>
                    <a:pt x="397" y="121"/>
                  </a:lnTo>
                  <a:lnTo>
                    <a:pt x="393" y="124"/>
                  </a:lnTo>
                  <a:lnTo>
                    <a:pt x="388" y="124"/>
                  </a:lnTo>
                  <a:lnTo>
                    <a:pt x="381" y="121"/>
                  </a:lnTo>
                  <a:lnTo>
                    <a:pt x="377" y="119"/>
                  </a:lnTo>
                  <a:lnTo>
                    <a:pt x="371" y="119"/>
                  </a:lnTo>
                  <a:lnTo>
                    <a:pt x="365" y="119"/>
                  </a:lnTo>
                  <a:lnTo>
                    <a:pt x="364" y="116"/>
                  </a:lnTo>
                  <a:lnTo>
                    <a:pt x="364" y="114"/>
                  </a:lnTo>
                  <a:lnTo>
                    <a:pt x="365" y="105"/>
                  </a:lnTo>
                  <a:lnTo>
                    <a:pt x="365" y="98"/>
                  </a:lnTo>
                  <a:lnTo>
                    <a:pt x="367" y="94"/>
                  </a:lnTo>
                  <a:lnTo>
                    <a:pt x="368" y="89"/>
                  </a:lnTo>
                  <a:lnTo>
                    <a:pt x="375" y="82"/>
                  </a:lnTo>
                  <a:lnTo>
                    <a:pt x="383" y="75"/>
                  </a:lnTo>
                  <a:lnTo>
                    <a:pt x="384" y="75"/>
                  </a:lnTo>
                  <a:lnTo>
                    <a:pt x="387" y="75"/>
                  </a:lnTo>
                  <a:lnTo>
                    <a:pt x="391" y="76"/>
                  </a:lnTo>
                  <a:lnTo>
                    <a:pt x="397" y="76"/>
                  </a:lnTo>
                  <a:lnTo>
                    <a:pt x="401" y="72"/>
                  </a:lnTo>
                  <a:lnTo>
                    <a:pt x="407" y="66"/>
                  </a:lnTo>
                  <a:lnTo>
                    <a:pt x="408" y="62"/>
                  </a:lnTo>
                  <a:lnTo>
                    <a:pt x="410" y="55"/>
                  </a:lnTo>
                  <a:lnTo>
                    <a:pt x="413" y="49"/>
                  </a:lnTo>
                  <a:lnTo>
                    <a:pt x="418" y="45"/>
                  </a:lnTo>
                  <a:lnTo>
                    <a:pt x="424" y="42"/>
                  </a:lnTo>
                  <a:lnTo>
                    <a:pt x="428" y="38"/>
                  </a:lnTo>
                  <a:lnTo>
                    <a:pt x="428" y="32"/>
                  </a:lnTo>
                  <a:lnTo>
                    <a:pt x="421" y="21"/>
                  </a:lnTo>
                  <a:lnTo>
                    <a:pt x="423" y="15"/>
                  </a:lnTo>
                  <a:lnTo>
                    <a:pt x="424" y="5"/>
                  </a:lnTo>
                  <a:lnTo>
                    <a:pt x="427" y="0"/>
                  </a:lnTo>
                  <a:lnTo>
                    <a:pt x="431" y="0"/>
                  </a:lnTo>
                  <a:lnTo>
                    <a:pt x="436" y="0"/>
                  </a:lnTo>
                  <a:lnTo>
                    <a:pt x="441" y="2"/>
                  </a:lnTo>
                  <a:lnTo>
                    <a:pt x="447" y="3"/>
                  </a:lnTo>
                  <a:lnTo>
                    <a:pt x="453" y="3"/>
                  </a:lnTo>
                  <a:lnTo>
                    <a:pt x="456" y="6"/>
                  </a:lnTo>
                  <a:lnTo>
                    <a:pt x="460" y="13"/>
                  </a:lnTo>
                  <a:lnTo>
                    <a:pt x="464" y="18"/>
                  </a:lnTo>
                  <a:lnTo>
                    <a:pt x="468" y="22"/>
                  </a:lnTo>
                  <a:lnTo>
                    <a:pt x="474" y="23"/>
                  </a:lnTo>
                  <a:lnTo>
                    <a:pt x="477" y="28"/>
                  </a:lnTo>
                  <a:lnTo>
                    <a:pt x="478" y="29"/>
                  </a:lnTo>
                  <a:lnTo>
                    <a:pt x="481" y="29"/>
                  </a:lnTo>
                  <a:lnTo>
                    <a:pt x="486" y="25"/>
                  </a:lnTo>
                  <a:lnTo>
                    <a:pt x="487" y="23"/>
                  </a:lnTo>
                  <a:lnTo>
                    <a:pt x="491" y="23"/>
                  </a:lnTo>
                  <a:lnTo>
                    <a:pt x="493" y="26"/>
                  </a:lnTo>
                  <a:lnTo>
                    <a:pt x="494" y="31"/>
                  </a:lnTo>
                  <a:lnTo>
                    <a:pt x="491" y="41"/>
                  </a:lnTo>
                  <a:lnTo>
                    <a:pt x="490" y="51"/>
                  </a:lnTo>
                  <a:lnTo>
                    <a:pt x="490" y="52"/>
                  </a:lnTo>
                  <a:lnTo>
                    <a:pt x="491" y="53"/>
                  </a:lnTo>
                  <a:lnTo>
                    <a:pt x="494" y="49"/>
                  </a:lnTo>
                  <a:lnTo>
                    <a:pt x="499" y="45"/>
                  </a:lnTo>
                  <a:lnTo>
                    <a:pt x="501" y="43"/>
                  </a:lnTo>
                  <a:lnTo>
                    <a:pt x="506" y="43"/>
                  </a:lnTo>
                  <a:lnTo>
                    <a:pt x="510" y="46"/>
                  </a:lnTo>
                  <a:lnTo>
                    <a:pt x="517" y="49"/>
                  </a:lnTo>
                  <a:lnTo>
                    <a:pt x="523" y="52"/>
                  </a:lnTo>
                  <a:lnTo>
                    <a:pt x="530" y="52"/>
                  </a:lnTo>
                  <a:lnTo>
                    <a:pt x="536" y="53"/>
                  </a:lnTo>
                  <a:lnTo>
                    <a:pt x="537" y="56"/>
                  </a:lnTo>
                  <a:lnTo>
                    <a:pt x="537" y="61"/>
                  </a:lnTo>
                  <a:lnTo>
                    <a:pt x="539" y="65"/>
                  </a:lnTo>
                  <a:lnTo>
                    <a:pt x="540" y="66"/>
                  </a:lnTo>
                  <a:lnTo>
                    <a:pt x="542" y="69"/>
                  </a:lnTo>
                  <a:lnTo>
                    <a:pt x="542" y="71"/>
                  </a:lnTo>
                  <a:lnTo>
                    <a:pt x="540" y="71"/>
                  </a:lnTo>
                  <a:lnTo>
                    <a:pt x="536" y="71"/>
                  </a:lnTo>
                  <a:lnTo>
                    <a:pt x="534" y="74"/>
                  </a:lnTo>
                  <a:lnTo>
                    <a:pt x="531" y="81"/>
                  </a:lnTo>
                  <a:lnTo>
                    <a:pt x="529" y="85"/>
                  </a:lnTo>
                  <a:lnTo>
                    <a:pt x="524" y="89"/>
                  </a:lnTo>
                  <a:lnTo>
                    <a:pt x="520" y="95"/>
                  </a:lnTo>
                  <a:lnTo>
                    <a:pt x="519" y="98"/>
                  </a:lnTo>
                  <a:lnTo>
                    <a:pt x="521" y="101"/>
                  </a:lnTo>
                  <a:lnTo>
                    <a:pt x="529" y="102"/>
                  </a:lnTo>
                  <a:lnTo>
                    <a:pt x="537" y="104"/>
                  </a:lnTo>
                  <a:lnTo>
                    <a:pt x="539" y="106"/>
                  </a:lnTo>
                  <a:lnTo>
                    <a:pt x="540" y="112"/>
                  </a:lnTo>
                  <a:lnTo>
                    <a:pt x="540" y="118"/>
                  </a:lnTo>
                  <a:lnTo>
                    <a:pt x="540" y="122"/>
                  </a:lnTo>
                  <a:lnTo>
                    <a:pt x="540" y="125"/>
                  </a:lnTo>
                  <a:lnTo>
                    <a:pt x="543" y="125"/>
                  </a:lnTo>
                  <a:lnTo>
                    <a:pt x="549" y="121"/>
                  </a:lnTo>
                  <a:lnTo>
                    <a:pt x="557" y="115"/>
                  </a:lnTo>
                  <a:lnTo>
                    <a:pt x="563" y="111"/>
                  </a:lnTo>
                  <a:lnTo>
                    <a:pt x="567" y="108"/>
                  </a:lnTo>
                  <a:lnTo>
                    <a:pt x="573" y="108"/>
                  </a:lnTo>
                  <a:lnTo>
                    <a:pt x="576" y="111"/>
                  </a:lnTo>
                  <a:lnTo>
                    <a:pt x="582" y="114"/>
                  </a:lnTo>
                  <a:lnTo>
                    <a:pt x="584" y="114"/>
                  </a:lnTo>
                  <a:lnTo>
                    <a:pt x="584" y="109"/>
                  </a:lnTo>
                  <a:lnTo>
                    <a:pt x="587" y="108"/>
                  </a:lnTo>
                  <a:lnTo>
                    <a:pt x="590" y="109"/>
                  </a:lnTo>
                  <a:lnTo>
                    <a:pt x="593" y="108"/>
                  </a:lnTo>
                  <a:lnTo>
                    <a:pt x="597" y="122"/>
                  </a:lnTo>
                  <a:lnTo>
                    <a:pt x="596" y="125"/>
                  </a:lnTo>
                  <a:lnTo>
                    <a:pt x="590" y="127"/>
                  </a:lnTo>
                  <a:lnTo>
                    <a:pt x="589" y="131"/>
                  </a:lnTo>
                  <a:lnTo>
                    <a:pt x="587" y="135"/>
                  </a:lnTo>
                  <a:lnTo>
                    <a:pt x="587" y="142"/>
                  </a:lnTo>
                  <a:lnTo>
                    <a:pt x="587" y="152"/>
                  </a:lnTo>
                  <a:lnTo>
                    <a:pt x="589" y="161"/>
                  </a:lnTo>
                  <a:lnTo>
                    <a:pt x="587" y="167"/>
                  </a:lnTo>
                  <a:lnTo>
                    <a:pt x="586" y="174"/>
                  </a:lnTo>
                  <a:lnTo>
                    <a:pt x="584" y="178"/>
                  </a:lnTo>
                  <a:lnTo>
                    <a:pt x="584" y="181"/>
                  </a:lnTo>
                  <a:lnTo>
                    <a:pt x="584" y="190"/>
                  </a:lnTo>
                  <a:lnTo>
                    <a:pt x="587" y="202"/>
                  </a:lnTo>
                  <a:lnTo>
                    <a:pt x="590" y="211"/>
                  </a:lnTo>
                  <a:lnTo>
                    <a:pt x="590" y="215"/>
                  </a:lnTo>
                  <a:lnTo>
                    <a:pt x="592" y="220"/>
                  </a:lnTo>
                  <a:lnTo>
                    <a:pt x="593" y="232"/>
                  </a:lnTo>
                  <a:lnTo>
                    <a:pt x="595" y="245"/>
                  </a:lnTo>
                  <a:lnTo>
                    <a:pt x="597" y="254"/>
                  </a:lnTo>
                  <a:lnTo>
                    <a:pt x="597" y="258"/>
                  </a:lnTo>
                  <a:lnTo>
                    <a:pt x="603" y="261"/>
                  </a:lnTo>
                  <a:lnTo>
                    <a:pt x="603" y="267"/>
                  </a:lnTo>
                  <a:lnTo>
                    <a:pt x="603" y="271"/>
                  </a:lnTo>
                  <a:lnTo>
                    <a:pt x="603" y="278"/>
                  </a:lnTo>
                  <a:lnTo>
                    <a:pt x="600" y="285"/>
                  </a:lnTo>
                  <a:lnTo>
                    <a:pt x="599" y="291"/>
                  </a:lnTo>
                  <a:lnTo>
                    <a:pt x="599" y="294"/>
                  </a:lnTo>
                  <a:lnTo>
                    <a:pt x="599" y="297"/>
                  </a:lnTo>
                  <a:lnTo>
                    <a:pt x="602" y="303"/>
                  </a:lnTo>
                  <a:lnTo>
                    <a:pt x="603" y="310"/>
                  </a:lnTo>
                  <a:lnTo>
                    <a:pt x="605" y="318"/>
                  </a:lnTo>
                  <a:lnTo>
                    <a:pt x="605" y="321"/>
                  </a:lnTo>
                  <a:lnTo>
                    <a:pt x="607" y="323"/>
                  </a:lnTo>
                  <a:lnTo>
                    <a:pt x="609" y="326"/>
                  </a:lnTo>
                  <a:lnTo>
                    <a:pt x="610" y="330"/>
                  </a:lnTo>
                  <a:lnTo>
                    <a:pt x="610" y="344"/>
                  </a:lnTo>
                  <a:lnTo>
                    <a:pt x="609" y="353"/>
                  </a:lnTo>
                  <a:lnTo>
                    <a:pt x="609" y="370"/>
                  </a:lnTo>
                  <a:lnTo>
                    <a:pt x="607" y="387"/>
                  </a:lnTo>
                  <a:lnTo>
                    <a:pt x="609" y="394"/>
                  </a:lnTo>
                  <a:lnTo>
                    <a:pt x="607" y="399"/>
                  </a:lnTo>
                  <a:lnTo>
                    <a:pt x="609" y="404"/>
                  </a:lnTo>
                  <a:lnTo>
                    <a:pt x="609" y="407"/>
                  </a:lnTo>
                  <a:lnTo>
                    <a:pt x="609" y="410"/>
                  </a:lnTo>
                  <a:lnTo>
                    <a:pt x="610" y="413"/>
                  </a:lnTo>
                  <a:lnTo>
                    <a:pt x="610" y="419"/>
                  </a:lnTo>
                  <a:lnTo>
                    <a:pt x="607" y="426"/>
                  </a:lnTo>
                  <a:lnTo>
                    <a:pt x="605" y="436"/>
                  </a:lnTo>
                  <a:lnTo>
                    <a:pt x="599" y="452"/>
                  </a:lnTo>
                  <a:lnTo>
                    <a:pt x="597" y="462"/>
                  </a:lnTo>
                  <a:lnTo>
                    <a:pt x="596" y="467"/>
                  </a:lnTo>
                  <a:lnTo>
                    <a:pt x="596" y="475"/>
                  </a:lnTo>
                  <a:lnTo>
                    <a:pt x="596" y="480"/>
                  </a:lnTo>
                  <a:lnTo>
                    <a:pt x="596" y="485"/>
                  </a:lnTo>
                  <a:lnTo>
                    <a:pt x="595" y="489"/>
                  </a:lnTo>
                  <a:lnTo>
                    <a:pt x="595" y="493"/>
                  </a:lnTo>
                  <a:lnTo>
                    <a:pt x="595" y="497"/>
                  </a:lnTo>
                  <a:lnTo>
                    <a:pt x="596" y="502"/>
                  </a:lnTo>
                  <a:lnTo>
                    <a:pt x="595" y="506"/>
                  </a:lnTo>
                  <a:lnTo>
                    <a:pt x="593" y="510"/>
                  </a:lnTo>
                  <a:lnTo>
                    <a:pt x="590" y="513"/>
                  </a:lnTo>
                  <a:lnTo>
                    <a:pt x="587" y="517"/>
                  </a:lnTo>
                  <a:lnTo>
                    <a:pt x="586" y="522"/>
                  </a:lnTo>
                  <a:lnTo>
                    <a:pt x="584" y="529"/>
                  </a:lnTo>
                  <a:lnTo>
                    <a:pt x="583" y="536"/>
                  </a:lnTo>
                  <a:lnTo>
                    <a:pt x="582" y="539"/>
                  </a:lnTo>
                  <a:lnTo>
                    <a:pt x="580" y="546"/>
                  </a:lnTo>
                  <a:lnTo>
                    <a:pt x="579" y="549"/>
                  </a:lnTo>
                  <a:lnTo>
                    <a:pt x="579" y="553"/>
                  </a:lnTo>
                  <a:lnTo>
                    <a:pt x="579" y="558"/>
                  </a:lnTo>
                  <a:lnTo>
                    <a:pt x="580" y="568"/>
                  </a:lnTo>
                  <a:lnTo>
                    <a:pt x="580" y="575"/>
                  </a:lnTo>
                  <a:lnTo>
                    <a:pt x="577" y="581"/>
                  </a:lnTo>
                  <a:lnTo>
                    <a:pt x="577" y="583"/>
                  </a:lnTo>
                  <a:lnTo>
                    <a:pt x="574" y="592"/>
                  </a:lnTo>
                  <a:lnTo>
                    <a:pt x="573" y="598"/>
                  </a:lnTo>
                  <a:lnTo>
                    <a:pt x="573" y="601"/>
                  </a:lnTo>
                  <a:lnTo>
                    <a:pt x="574" y="603"/>
                  </a:lnTo>
                  <a:lnTo>
                    <a:pt x="574" y="605"/>
                  </a:lnTo>
                  <a:lnTo>
                    <a:pt x="574" y="609"/>
                  </a:lnTo>
                  <a:lnTo>
                    <a:pt x="574" y="623"/>
                  </a:lnTo>
                  <a:lnTo>
                    <a:pt x="574" y="628"/>
                  </a:lnTo>
                  <a:lnTo>
                    <a:pt x="577" y="631"/>
                  </a:lnTo>
                  <a:lnTo>
                    <a:pt x="577" y="632"/>
                  </a:lnTo>
                  <a:lnTo>
                    <a:pt x="576" y="634"/>
                  </a:lnTo>
                  <a:lnTo>
                    <a:pt x="573" y="635"/>
                  </a:lnTo>
                  <a:lnTo>
                    <a:pt x="569" y="635"/>
                  </a:lnTo>
                  <a:lnTo>
                    <a:pt x="566" y="634"/>
                  </a:lnTo>
                  <a:lnTo>
                    <a:pt x="564" y="635"/>
                  </a:lnTo>
                  <a:lnTo>
                    <a:pt x="564" y="636"/>
                  </a:lnTo>
                  <a:lnTo>
                    <a:pt x="567" y="639"/>
                  </a:lnTo>
                  <a:lnTo>
                    <a:pt x="569" y="642"/>
                  </a:lnTo>
                  <a:lnTo>
                    <a:pt x="567" y="644"/>
                  </a:lnTo>
                  <a:lnTo>
                    <a:pt x="566" y="645"/>
                  </a:lnTo>
                  <a:lnTo>
                    <a:pt x="567" y="648"/>
                  </a:lnTo>
                  <a:lnTo>
                    <a:pt x="569" y="651"/>
                  </a:lnTo>
                  <a:lnTo>
                    <a:pt x="570" y="652"/>
                  </a:lnTo>
                  <a:lnTo>
                    <a:pt x="569" y="654"/>
                  </a:lnTo>
                  <a:lnTo>
                    <a:pt x="566" y="661"/>
                  </a:lnTo>
                  <a:lnTo>
                    <a:pt x="564" y="665"/>
                  </a:lnTo>
                  <a:lnTo>
                    <a:pt x="564" y="669"/>
                  </a:lnTo>
                  <a:lnTo>
                    <a:pt x="567" y="672"/>
                  </a:lnTo>
                  <a:lnTo>
                    <a:pt x="570" y="675"/>
                  </a:lnTo>
                  <a:lnTo>
                    <a:pt x="572" y="676"/>
                  </a:lnTo>
                  <a:lnTo>
                    <a:pt x="572" y="681"/>
                  </a:lnTo>
                  <a:lnTo>
                    <a:pt x="572" y="688"/>
                  </a:lnTo>
                  <a:lnTo>
                    <a:pt x="569" y="697"/>
                  </a:lnTo>
                  <a:lnTo>
                    <a:pt x="566" y="702"/>
                  </a:lnTo>
                  <a:lnTo>
                    <a:pt x="562" y="708"/>
                  </a:lnTo>
                  <a:lnTo>
                    <a:pt x="556" y="717"/>
                  </a:lnTo>
                  <a:lnTo>
                    <a:pt x="553" y="721"/>
                  </a:lnTo>
                  <a:lnTo>
                    <a:pt x="550" y="725"/>
                  </a:lnTo>
                  <a:lnTo>
                    <a:pt x="550" y="729"/>
                  </a:lnTo>
                  <a:lnTo>
                    <a:pt x="552" y="735"/>
                  </a:lnTo>
                  <a:lnTo>
                    <a:pt x="553" y="741"/>
                  </a:lnTo>
                  <a:lnTo>
                    <a:pt x="556" y="747"/>
                  </a:lnTo>
                  <a:lnTo>
                    <a:pt x="554" y="750"/>
                  </a:lnTo>
                  <a:lnTo>
                    <a:pt x="553" y="754"/>
                  </a:lnTo>
                  <a:lnTo>
                    <a:pt x="550" y="757"/>
                  </a:lnTo>
                  <a:lnTo>
                    <a:pt x="550" y="761"/>
                  </a:lnTo>
                  <a:lnTo>
                    <a:pt x="552" y="762"/>
                  </a:lnTo>
                  <a:lnTo>
                    <a:pt x="552" y="765"/>
                  </a:lnTo>
                  <a:lnTo>
                    <a:pt x="550" y="768"/>
                  </a:lnTo>
                  <a:lnTo>
                    <a:pt x="550" y="770"/>
                  </a:lnTo>
                  <a:lnTo>
                    <a:pt x="550" y="771"/>
                  </a:lnTo>
                  <a:lnTo>
                    <a:pt x="553" y="774"/>
                  </a:lnTo>
                  <a:lnTo>
                    <a:pt x="556" y="781"/>
                  </a:lnTo>
                  <a:lnTo>
                    <a:pt x="557" y="787"/>
                  </a:lnTo>
                  <a:lnTo>
                    <a:pt x="557" y="791"/>
                  </a:lnTo>
                  <a:lnTo>
                    <a:pt x="556" y="795"/>
                  </a:lnTo>
                  <a:lnTo>
                    <a:pt x="554" y="801"/>
                  </a:lnTo>
                  <a:lnTo>
                    <a:pt x="554" y="803"/>
                  </a:lnTo>
                  <a:lnTo>
                    <a:pt x="554" y="805"/>
                  </a:lnTo>
                  <a:lnTo>
                    <a:pt x="557" y="808"/>
                  </a:lnTo>
                  <a:lnTo>
                    <a:pt x="556" y="810"/>
                  </a:lnTo>
                  <a:lnTo>
                    <a:pt x="554" y="811"/>
                  </a:lnTo>
                  <a:lnTo>
                    <a:pt x="552" y="811"/>
                  </a:lnTo>
                  <a:lnTo>
                    <a:pt x="550" y="813"/>
                  </a:lnTo>
                  <a:lnTo>
                    <a:pt x="550" y="814"/>
                  </a:lnTo>
                  <a:lnTo>
                    <a:pt x="552" y="815"/>
                  </a:lnTo>
                  <a:lnTo>
                    <a:pt x="554" y="818"/>
                  </a:lnTo>
                  <a:lnTo>
                    <a:pt x="559" y="820"/>
                  </a:lnTo>
                  <a:lnTo>
                    <a:pt x="563" y="824"/>
                  </a:lnTo>
                  <a:lnTo>
                    <a:pt x="563" y="828"/>
                  </a:lnTo>
                  <a:lnTo>
                    <a:pt x="563" y="837"/>
                  </a:lnTo>
                  <a:lnTo>
                    <a:pt x="562" y="841"/>
                  </a:lnTo>
                  <a:lnTo>
                    <a:pt x="560" y="845"/>
                  </a:lnTo>
                  <a:lnTo>
                    <a:pt x="559" y="850"/>
                  </a:lnTo>
                  <a:lnTo>
                    <a:pt x="559" y="853"/>
                  </a:lnTo>
                  <a:lnTo>
                    <a:pt x="559" y="857"/>
                  </a:lnTo>
                  <a:lnTo>
                    <a:pt x="556" y="860"/>
                  </a:lnTo>
                  <a:lnTo>
                    <a:pt x="554" y="861"/>
                  </a:lnTo>
                  <a:lnTo>
                    <a:pt x="553" y="863"/>
                  </a:lnTo>
                  <a:lnTo>
                    <a:pt x="550" y="863"/>
                  </a:lnTo>
                  <a:lnTo>
                    <a:pt x="549" y="861"/>
                  </a:lnTo>
                  <a:lnTo>
                    <a:pt x="549" y="858"/>
                  </a:lnTo>
                  <a:lnTo>
                    <a:pt x="549" y="857"/>
                  </a:lnTo>
                  <a:lnTo>
                    <a:pt x="547" y="857"/>
                  </a:lnTo>
                  <a:lnTo>
                    <a:pt x="546" y="858"/>
                  </a:lnTo>
                  <a:lnTo>
                    <a:pt x="543" y="860"/>
                  </a:lnTo>
                  <a:lnTo>
                    <a:pt x="543" y="861"/>
                  </a:lnTo>
                  <a:lnTo>
                    <a:pt x="546" y="863"/>
                  </a:lnTo>
                  <a:lnTo>
                    <a:pt x="549" y="867"/>
                  </a:lnTo>
                  <a:lnTo>
                    <a:pt x="552" y="873"/>
                  </a:lnTo>
                  <a:lnTo>
                    <a:pt x="552" y="876"/>
                  </a:lnTo>
                  <a:lnTo>
                    <a:pt x="550" y="880"/>
                  </a:lnTo>
                  <a:lnTo>
                    <a:pt x="552" y="881"/>
                  </a:lnTo>
                  <a:lnTo>
                    <a:pt x="554" y="887"/>
                  </a:lnTo>
                  <a:lnTo>
                    <a:pt x="554" y="893"/>
                  </a:lnTo>
                  <a:lnTo>
                    <a:pt x="554" y="897"/>
                  </a:lnTo>
                  <a:lnTo>
                    <a:pt x="547" y="908"/>
                  </a:lnTo>
                  <a:lnTo>
                    <a:pt x="542" y="920"/>
                  </a:lnTo>
                  <a:lnTo>
                    <a:pt x="536" y="929"/>
                  </a:lnTo>
                  <a:lnTo>
                    <a:pt x="534" y="934"/>
                  </a:lnTo>
                  <a:lnTo>
                    <a:pt x="534" y="940"/>
                  </a:lnTo>
                  <a:lnTo>
                    <a:pt x="531" y="941"/>
                  </a:lnTo>
                  <a:lnTo>
                    <a:pt x="531" y="944"/>
                  </a:lnTo>
                  <a:lnTo>
                    <a:pt x="533" y="946"/>
                  </a:lnTo>
                  <a:lnTo>
                    <a:pt x="533" y="949"/>
                  </a:lnTo>
                  <a:lnTo>
                    <a:pt x="529" y="951"/>
                  </a:lnTo>
                  <a:lnTo>
                    <a:pt x="526" y="954"/>
                  </a:lnTo>
                  <a:lnTo>
                    <a:pt x="524" y="963"/>
                  </a:lnTo>
                  <a:lnTo>
                    <a:pt x="521" y="969"/>
                  </a:lnTo>
                  <a:lnTo>
                    <a:pt x="516" y="973"/>
                  </a:lnTo>
                  <a:lnTo>
                    <a:pt x="514" y="979"/>
                  </a:lnTo>
                  <a:lnTo>
                    <a:pt x="511" y="986"/>
                  </a:lnTo>
                  <a:lnTo>
                    <a:pt x="509" y="987"/>
                  </a:lnTo>
                  <a:lnTo>
                    <a:pt x="509" y="990"/>
                  </a:lnTo>
                  <a:lnTo>
                    <a:pt x="510" y="992"/>
                  </a:lnTo>
                  <a:lnTo>
                    <a:pt x="507" y="994"/>
                  </a:lnTo>
                  <a:lnTo>
                    <a:pt x="506" y="997"/>
                  </a:lnTo>
                  <a:lnTo>
                    <a:pt x="503" y="1000"/>
                  </a:lnTo>
                  <a:lnTo>
                    <a:pt x="501" y="1004"/>
                  </a:lnTo>
                  <a:lnTo>
                    <a:pt x="500" y="1007"/>
                  </a:lnTo>
                  <a:lnTo>
                    <a:pt x="499" y="1010"/>
                  </a:lnTo>
                  <a:lnTo>
                    <a:pt x="494" y="1013"/>
                  </a:lnTo>
                  <a:lnTo>
                    <a:pt x="493" y="1016"/>
                  </a:lnTo>
                  <a:lnTo>
                    <a:pt x="491" y="1017"/>
                  </a:lnTo>
                  <a:lnTo>
                    <a:pt x="491" y="1020"/>
                  </a:lnTo>
                  <a:lnTo>
                    <a:pt x="491" y="1022"/>
                  </a:lnTo>
                  <a:lnTo>
                    <a:pt x="491" y="1026"/>
                  </a:lnTo>
                  <a:lnTo>
                    <a:pt x="490" y="1029"/>
                  </a:lnTo>
                  <a:lnTo>
                    <a:pt x="487" y="1033"/>
                  </a:lnTo>
                  <a:lnTo>
                    <a:pt x="486" y="1039"/>
                  </a:lnTo>
                  <a:lnTo>
                    <a:pt x="483" y="1046"/>
                  </a:lnTo>
                  <a:lnTo>
                    <a:pt x="481" y="1049"/>
                  </a:lnTo>
                  <a:lnTo>
                    <a:pt x="481" y="1053"/>
                  </a:lnTo>
                  <a:lnTo>
                    <a:pt x="481" y="1057"/>
                  </a:lnTo>
                  <a:lnTo>
                    <a:pt x="480" y="1062"/>
                  </a:lnTo>
                  <a:lnTo>
                    <a:pt x="477" y="1066"/>
                  </a:lnTo>
                  <a:lnTo>
                    <a:pt x="474" y="1066"/>
                  </a:lnTo>
                  <a:lnTo>
                    <a:pt x="471" y="1065"/>
                  </a:lnTo>
                  <a:lnTo>
                    <a:pt x="471" y="1063"/>
                  </a:lnTo>
                  <a:lnTo>
                    <a:pt x="468" y="1063"/>
                  </a:lnTo>
                  <a:lnTo>
                    <a:pt x="468" y="1065"/>
                  </a:lnTo>
                  <a:lnTo>
                    <a:pt x="468" y="1067"/>
                  </a:lnTo>
                  <a:lnTo>
                    <a:pt x="466" y="1070"/>
                  </a:lnTo>
                  <a:lnTo>
                    <a:pt x="464" y="1075"/>
                  </a:lnTo>
                  <a:lnTo>
                    <a:pt x="463" y="1077"/>
                  </a:lnTo>
                  <a:lnTo>
                    <a:pt x="463" y="1080"/>
                  </a:lnTo>
                  <a:lnTo>
                    <a:pt x="463" y="1085"/>
                  </a:lnTo>
                  <a:lnTo>
                    <a:pt x="460" y="1085"/>
                  </a:lnTo>
                  <a:lnTo>
                    <a:pt x="458" y="1085"/>
                  </a:lnTo>
                  <a:lnTo>
                    <a:pt x="457" y="1083"/>
                  </a:lnTo>
                  <a:lnTo>
                    <a:pt x="454" y="1083"/>
                  </a:lnTo>
                  <a:lnTo>
                    <a:pt x="451" y="1083"/>
                  </a:lnTo>
                  <a:lnTo>
                    <a:pt x="450" y="1083"/>
                  </a:lnTo>
                  <a:lnTo>
                    <a:pt x="448" y="1086"/>
                  </a:lnTo>
                  <a:lnTo>
                    <a:pt x="446" y="1090"/>
                  </a:lnTo>
                  <a:lnTo>
                    <a:pt x="444" y="1092"/>
                  </a:lnTo>
                  <a:lnTo>
                    <a:pt x="443" y="1092"/>
                  </a:lnTo>
                  <a:lnTo>
                    <a:pt x="440" y="1092"/>
                  </a:lnTo>
                  <a:lnTo>
                    <a:pt x="438" y="1093"/>
                  </a:lnTo>
                  <a:lnTo>
                    <a:pt x="438" y="1095"/>
                  </a:lnTo>
                  <a:lnTo>
                    <a:pt x="438" y="1098"/>
                  </a:lnTo>
                  <a:lnTo>
                    <a:pt x="437" y="1100"/>
                  </a:lnTo>
                  <a:lnTo>
                    <a:pt x="434" y="1103"/>
                  </a:lnTo>
                  <a:lnTo>
                    <a:pt x="426" y="1109"/>
                  </a:lnTo>
                  <a:lnTo>
                    <a:pt x="418" y="1118"/>
                  </a:lnTo>
                  <a:lnTo>
                    <a:pt x="411" y="1123"/>
                  </a:lnTo>
                  <a:lnTo>
                    <a:pt x="408" y="1128"/>
                  </a:lnTo>
                  <a:lnTo>
                    <a:pt x="405" y="1135"/>
                  </a:lnTo>
                  <a:lnTo>
                    <a:pt x="401" y="1141"/>
                  </a:lnTo>
                  <a:lnTo>
                    <a:pt x="397" y="1143"/>
                  </a:lnTo>
                  <a:lnTo>
                    <a:pt x="395" y="1145"/>
                  </a:lnTo>
                  <a:lnTo>
                    <a:pt x="393" y="1145"/>
                  </a:lnTo>
                  <a:lnTo>
                    <a:pt x="391" y="1142"/>
                  </a:lnTo>
                  <a:lnTo>
                    <a:pt x="391" y="1139"/>
                  </a:lnTo>
                  <a:lnTo>
                    <a:pt x="391" y="1133"/>
                  </a:lnTo>
                  <a:lnTo>
                    <a:pt x="394" y="1129"/>
                  </a:lnTo>
                  <a:lnTo>
                    <a:pt x="394" y="1126"/>
                  </a:lnTo>
                  <a:lnTo>
                    <a:pt x="393" y="1125"/>
                  </a:lnTo>
                  <a:lnTo>
                    <a:pt x="388" y="1126"/>
                  </a:lnTo>
                  <a:lnTo>
                    <a:pt x="384" y="1126"/>
                  </a:lnTo>
                  <a:lnTo>
                    <a:pt x="381" y="1128"/>
                  </a:lnTo>
                  <a:lnTo>
                    <a:pt x="378" y="1129"/>
                  </a:lnTo>
                  <a:lnTo>
                    <a:pt x="377" y="1129"/>
                  </a:lnTo>
                  <a:lnTo>
                    <a:pt x="374" y="1130"/>
                  </a:lnTo>
                  <a:lnTo>
                    <a:pt x="373" y="1130"/>
                  </a:lnTo>
                  <a:lnTo>
                    <a:pt x="371" y="1133"/>
                  </a:lnTo>
                  <a:lnTo>
                    <a:pt x="371" y="1135"/>
                  </a:lnTo>
                  <a:lnTo>
                    <a:pt x="371" y="1136"/>
                  </a:lnTo>
                  <a:lnTo>
                    <a:pt x="374" y="1138"/>
                  </a:lnTo>
                  <a:lnTo>
                    <a:pt x="373" y="1139"/>
                  </a:lnTo>
                  <a:lnTo>
                    <a:pt x="373" y="1143"/>
                  </a:lnTo>
                  <a:lnTo>
                    <a:pt x="373" y="1148"/>
                  </a:lnTo>
                  <a:lnTo>
                    <a:pt x="371" y="1148"/>
                  </a:lnTo>
                  <a:lnTo>
                    <a:pt x="368" y="1148"/>
                  </a:lnTo>
                  <a:lnTo>
                    <a:pt x="365" y="1148"/>
                  </a:lnTo>
                  <a:lnTo>
                    <a:pt x="364" y="1143"/>
                  </a:lnTo>
                  <a:lnTo>
                    <a:pt x="361" y="1142"/>
                  </a:lnTo>
                  <a:lnTo>
                    <a:pt x="358" y="1139"/>
                  </a:lnTo>
                  <a:lnTo>
                    <a:pt x="355" y="1136"/>
                  </a:lnTo>
                  <a:lnTo>
                    <a:pt x="354" y="1135"/>
                  </a:lnTo>
                  <a:lnTo>
                    <a:pt x="354" y="1132"/>
                  </a:lnTo>
                  <a:lnTo>
                    <a:pt x="352" y="1130"/>
                  </a:lnTo>
                  <a:lnTo>
                    <a:pt x="350" y="1130"/>
                  </a:lnTo>
                  <a:lnTo>
                    <a:pt x="348" y="1130"/>
                  </a:lnTo>
                  <a:lnTo>
                    <a:pt x="347" y="1133"/>
                  </a:lnTo>
                  <a:lnTo>
                    <a:pt x="345" y="1136"/>
                  </a:lnTo>
                  <a:lnTo>
                    <a:pt x="344" y="1139"/>
                  </a:lnTo>
                  <a:lnTo>
                    <a:pt x="342" y="1139"/>
                  </a:lnTo>
                  <a:lnTo>
                    <a:pt x="341" y="1141"/>
                  </a:lnTo>
                  <a:lnTo>
                    <a:pt x="338" y="1142"/>
                  </a:lnTo>
                  <a:lnTo>
                    <a:pt x="337" y="1145"/>
                  </a:lnTo>
                  <a:lnTo>
                    <a:pt x="335" y="1146"/>
                  </a:lnTo>
                  <a:lnTo>
                    <a:pt x="334" y="1146"/>
                  </a:lnTo>
                  <a:lnTo>
                    <a:pt x="331" y="1148"/>
                  </a:lnTo>
                  <a:lnTo>
                    <a:pt x="328" y="1149"/>
                  </a:lnTo>
                  <a:lnTo>
                    <a:pt x="327" y="1148"/>
                  </a:lnTo>
                  <a:lnTo>
                    <a:pt x="324" y="1148"/>
                  </a:lnTo>
                  <a:lnTo>
                    <a:pt x="321" y="1146"/>
                  </a:lnTo>
                  <a:lnTo>
                    <a:pt x="318" y="1145"/>
                  </a:lnTo>
                  <a:lnTo>
                    <a:pt x="312" y="1142"/>
                  </a:lnTo>
                  <a:lnTo>
                    <a:pt x="308" y="1142"/>
                  </a:lnTo>
                  <a:lnTo>
                    <a:pt x="307" y="1146"/>
                  </a:lnTo>
                  <a:lnTo>
                    <a:pt x="307" y="1149"/>
                  </a:lnTo>
                  <a:lnTo>
                    <a:pt x="305" y="1151"/>
                  </a:lnTo>
                  <a:lnTo>
                    <a:pt x="305" y="1153"/>
                  </a:lnTo>
                  <a:lnTo>
                    <a:pt x="307" y="1156"/>
                  </a:lnTo>
                  <a:lnTo>
                    <a:pt x="307" y="1159"/>
                  </a:lnTo>
                  <a:lnTo>
                    <a:pt x="308" y="1162"/>
                  </a:lnTo>
                  <a:lnTo>
                    <a:pt x="307" y="1165"/>
                  </a:lnTo>
                  <a:lnTo>
                    <a:pt x="305" y="1162"/>
                  </a:lnTo>
                  <a:lnTo>
                    <a:pt x="301" y="1162"/>
                  </a:lnTo>
                  <a:lnTo>
                    <a:pt x="297" y="1161"/>
                  </a:lnTo>
                  <a:lnTo>
                    <a:pt x="297" y="1159"/>
                  </a:lnTo>
                  <a:lnTo>
                    <a:pt x="297" y="1155"/>
                  </a:lnTo>
                  <a:lnTo>
                    <a:pt x="295" y="1155"/>
                  </a:lnTo>
                  <a:lnTo>
                    <a:pt x="294" y="1151"/>
                  </a:lnTo>
                  <a:lnTo>
                    <a:pt x="289" y="1145"/>
                  </a:lnTo>
                  <a:lnTo>
                    <a:pt x="289" y="1139"/>
                  </a:lnTo>
                  <a:lnTo>
                    <a:pt x="288" y="1135"/>
                  </a:lnTo>
                  <a:lnTo>
                    <a:pt x="285" y="1133"/>
                  </a:lnTo>
                  <a:lnTo>
                    <a:pt x="284" y="1132"/>
                  </a:lnTo>
                  <a:lnTo>
                    <a:pt x="284" y="1128"/>
                  </a:lnTo>
                  <a:lnTo>
                    <a:pt x="284" y="1123"/>
                  </a:lnTo>
                  <a:lnTo>
                    <a:pt x="282" y="1120"/>
                  </a:lnTo>
                  <a:lnTo>
                    <a:pt x="281" y="1118"/>
                  </a:lnTo>
                  <a:lnTo>
                    <a:pt x="281" y="1116"/>
                  </a:lnTo>
                  <a:lnTo>
                    <a:pt x="282" y="1113"/>
                  </a:lnTo>
                  <a:lnTo>
                    <a:pt x="282" y="1112"/>
                  </a:lnTo>
                  <a:lnTo>
                    <a:pt x="281" y="1109"/>
                  </a:lnTo>
                  <a:lnTo>
                    <a:pt x="278" y="1108"/>
                  </a:lnTo>
                  <a:lnTo>
                    <a:pt x="277" y="1108"/>
                  </a:lnTo>
                  <a:lnTo>
                    <a:pt x="275" y="1108"/>
                  </a:lnTo>
                  <a:lnTo>
                    <a:pt x="274" y="1106"/>
                  </a:lnTo>
                  <a:lnTo>
                    <a:pt x="274" y="1103"/>
                  </a:lnTo>
                  <a:lnTo>
                    <a:pt x="275" y="1102"/>
                  </a:lnTo>
                  <a:lnTo>
                    <a:pt x="275" y="1100"/>
                  </a:lnTo>
                  <a:lnTo>
                    <a:pt x="272" y="1098"/>
                  </a:lnTo>
                  <a:lnTo>
                    <a:pt x="268" y="1095"/>
                  </a:lnTo>
                  <a:lnTo>
                    <a:pt x="265" y="1093"/>
                  </a:lnTo>
                  <a:lnTo>
                    <a:pt x="261" y="1095"/>
                  </a:lnTo>
                  <a:lnTo>
                    <a:pt x="262" y="1096"/>
                  </a:lnTo>
                  <a:lnTo>
                    <a:pt x="265" y="1100"/>
                  </a:lnTo>
                  <a:lnTo>
                    <a:pt x="265" y="1105"/>
                  </a:lnTo>
                  <a:lnTo>
                    <a:pt x="264" y="1109"/>
                  </a:lnTo>
                  <a:lnTo>
                    <a:pt x="258" y="1122"/>
                  </a:lnTo>
                  <a:lnTo>
                    <a:pt x="255" y="1130"/>
                  </a:lnTo>
                  <a:lnTo>
                    <a:pt x="251" y="1138"/>
                  </a:lnTo>
                  <a:lnTo>
                    <a:pt x="251" y="1143"/>
                  </a:lnTo>
                  <a:lnTo>
                    <a:pt x="251" y="1148"/>
                  </a:lnTo>
                  <a:lnTo>
                    <a:pt x="249" y="1152"/>
                  </a:lnTo>
                  <a:lnTo>
                    <a:pt x="246" y="1152"/>
                  </a:lnTo>
                  <a:lnTo>
                    <a:pt x="244" y="1152"/>
                  </a:lnTo>
                  <a:lnTo>
                    <a:pt x="242" y="1151"/>
                  </a:lnTo>
                  <a:lnTo>
                    <a:pt x="239" y="1151"/>
                  </a:lnTo>
                  <a:lnTo>
                    <a:pt x="239" y="1153"/>
                  </a:lnTo>
                  <a:lnTo>
                    <a:pt x="238" y="1156"/>
                  </a:lnTo>
                  <a:lnTo>
                    <a:pt x="236" y="1155"/>
                  </a:lnTo>
                  <a:lnTo>
                    <a:pt x="236" y="1152"/>
                  </a:lnTo>
                  <a:lnTo>
                    <a:pt x="236" y="1149"/>
                  </a:lnTo>
                  <a:lnTo>
                    <a:pt x="236" y="1145"/>
                  </a:lnTo>
                  <a:lnTo>
                    <a:pt x="236" y="1138"/>
                  </a:lnTo>
                  <a:lnTo>
                    <a:pt x="236" y="1129"/>
                  </a:lnTo>
                  <a:lnTo>
                    <a:pt x="239" y="1122"/>
                  </a:lnTo>
                  <a:lnTo>
                    <a:pt x="241" y="1116"/>
                  </a:lnTo>
                  <a:lnTo>
                    <a:pt x="238" y="1112"/>
                  </a:lnTo>
                  <a:lnTo>
                    <a:pt x="236" y="1110"/>
                  </a:lnTo>
                  <a:lnTo>
                    <a:pt x="235" y="1110"/>
                  </a:lnTo>
                  <a:lnTo>
                    <a:pt x="235" y="1113"/>
                  </a:lnTo>
                  <a:lnTo>
                    <a:pt x="235" y="1116"/>
                  </a:lnTo>
                  <a:lnTo>
                    <a:pt x="235" y="1120"/>
                  </a:lnTo>
                  <a:lnTo>
                    <a:pt x="235" y="1123"/>
                  </a:lnTo>
                  <a:lnTo>
                    <a:pt x="234" y="1123"/>
                  </a:lnTo>
                  <a:lnTo>
                    <a:pt x="232" y="1123"/>
                  </a:lnTo>
                  <a:lnTo>
                    <a:pt x="232" y="1120"/>
                  </a:lnTo>
                  <a:lnTo>
                    <a:pt x="231" y="1119"/>
                  </a:lnTo>
                  <a:lnTo>
                    <a:pt x="228" y="1118"/>
                  </a:lnTo>
                  <a:lnTo>
                    <a:pt x="226" y="1116"/>
                  </a:lnTo>
                  <a:lnTo>
                    <a:pt x="224" y="1116"/>
                  </a:lnTo>
                  <a:lnTo>
                    <a:pt x="222" y="1118"/>
                  </a:lnTo>
                  <a:lnTo>
                    <a:pt x="221" y="1119"/>
                  </a:lnTo>
                  <a:lnTo>
                    <a:pt x="219" y="1120"/>
                  </a:lnTo>
                  <a:lnTo>
                    <a:pt x="216" y="1120"/>
                  </a:lnTo>
                  <a:lnTo>
                    <a:pt x="216" y="1120"/>
                  </a:lnTo>
                  <a:lnTo>
                    <a:pt x="215" y="1118"/>
                  </a:lnTo>
                  <a:lnTo>
                    <a:pt x="214" y="1118"/>
                  </a:lnTo>
                  <a:lnTo>
                    <a:pt x="211" y="1118"/>
                  </a:lnTo>
                  <a:lnTo>
                    <a:pt x="209" y="1118"/>
                  </a:lnTo>
                  <a:lnTo>
                    <a:pt x="209" y="1119"/>
                  </a:lnTo>
                  <a:lnTo>
                    <a:pt x="208" y="1120"/>
                  </a:lnTo>
                  <a:lnTo>
                    <a:pt x="209" y="1122"/>
                  </a:lnTo>
                  <a:lnTo>
                    <a:pt x="212" y="1120"/>
                  </a:lnTo>
                  <a:lnTo>
                    <a:pt x="214" y="1122"/>
                  </a:lnTo>
                  <a:lnTo>
                    <a:pt x="212" y="1125"/>
                  </a:lnTo>
                  <a:lnTo>
                    <a:pt x="212" y="1128"/>
                  </a:lnTo>
                  <a:lnTo>
                    <a:pt x="214" y="1130"/>
                  </a:lnTo>
                  <a:lnTo>
                    <a:pt x="215" y="1133"/>
                  </a:lnTo>
                  <a:lnTo>
                    <a:pt x="215" y="1136"/>
                  </a:lnTo>
                  <a:lnTo>
                    <a:pt x="214" y="1139"/>
                  </a:lnTo>
                  <a:lnTo>
                    <a:pt x="212" y="1142"/>
                  </a:lnTo>
                  <a:lnTo>
                    <a:pt x="212" y="1145"/>
                  </a:lnTo>
                  <a:lnTo>
                    <a:pt x="214" y="1146"/>
                  </a:lnTo>
                  <a:lnTo>
                    <a:pt x="215" y="1146"/>
                  </a:lnTo>
                  <a:lnTo>
                    <a:pt x="215" y="1148"/>
                  </a:lnTo>
                  <a:lnTo>
                    <a:pt x="214" y="1149"/>
                  </a:lnTo>
                  <a:lnTo>
                    <a:pt x="211" y="1149"/>
                  </a:lnTo>
                  <a:lnTo>
                    <a:pt x="208" y="1149"/>
                  </a:lnTo>
                  <a:lnTo>
                    <a:pt x="208" y="1151"/>
                  </a:lnTo>
                  <a:lnTo>
                    <a:pt x="208" y="1153"/>
                  </a:lnTo>
                  <a:lnTo>
                    <a:pt x="211" y="1155"/>
                  </a:lnTo>
                  <a:lnTo>
                    <a:pt x="211" y="1152"/>
                  </a:lnTo>
                  <a:lnTo>
                    <a:pt x="212" y="1152"/>
                  </a:lnTo>
                  <a:lnTo>
                    <a:pt x="215" y="1153"/>
                  </a:lnTo>
                  <a:lnTo>
                    <a:pt x="214" y="1155"/>
                  </a:lnTo>
                  <a:lnTo>
                    <a:pt x="214" y="1161"/>
                  </a:lnTo>
                  <a:lnTo>
                    <a:pt x="211" y="1163"/>
                  </a:lnTo>
                  <a:lnTo>
                    <a:pt x="212" y="1165"/>
                  </a:lnTo>
                  <a:lnTo>
                    <a:pt x="212" y="1168"/>
                  </a:lnTo>
                  <a:lnTo>
                    <a:pt x="212" y="1171"/>
                  </a:lnTo>
                  <a:lnTo>
                    <a:pt x="211" y="1173"/>
                  </a:lnTo>
                  <a:lnTo>
                    <a:pt x="209" y="1173"/>
                  </a:lnTo>
                  <a:lnTo>
                    <a:pt x="209" y="1176"/>
                  </a:lnTo>
                  <a:lnTo>
                    <a:pt x="211" y="1179"/>
                  </a:lnTo>
                  <a:lnTo>
                    <a:pt x="211" y="1181"/>
                  </a:lnTo>
                  <a:lnTo>
                    <a:pt x="214" y="1185"/>
                  </a:lnTo>
                  <a:lnTo>
                    <a:pt x="214" y="1188"/>
                  </a:lnTo>
                  <a:lnTo>
                    <a:pt x="211" y="1188"/>
                  </a:lnTo>
                  <a:lnTo>
                    <a:pt x="208" y="1188"/>
                  </a:lnTo>
                  <a:lnTo>
                    <a:pt x="209" y="1185"/>
                  </a:lnTo>
                  <a:lnTo>
                    <a:pt x="208" y="1185"/>
                  </a:lnTo>
                  <a:lnTo>
                    <a:pt x="206" y="1186"/>
                  </a:lnTo>
                  <a:lnTo>
                    <a:pt x="204" y="1189"/>
                  </a:lnTo>
                  <a:lnTo>
                    <a:pt x="201" y="1191"/>
                  </a:lnTo>
                  <a:lnTo>
                    <a:pt x="198" y="1193"/>
                  </a:lnTo>
                  <a:lnTo>
                    <a:pt x="198" y="1196"/>
                  </a:lnTo>
                  <a:lnTo>
                    <a:pt x="201" y="1196"/>
                  </a:lnTo>
                  <a:lnTo>
                    <a:pt x="204" y="1193"/>
                  </a:lnTo>
                  <a:lnTo>
                    <a:pt x="205" y="1192"/>
                  </a:lnTo>
                  <a:lnTo>
                    <a:pt x="208" y="1192"/>
                  </a:lnTo>
                  <a:lnTo>
                    <a:pt x="208" y="1193"/>
                  </a:lnTo>
                  <a:lnTo>
                    <a:pt x="205" y="1198"/>
                  </a:lnTo>
                  <a:lnTo>
                    <a:pt x="204" y="1201"/>
                  </a:lnTo>
                  <a:lnTo>
                    <a:pt x="201" y="1202"/>
                  </a:lnTo>
                  <a:lnTo>
                    <a:pt x="198" y="1202"/>
                  </a:lnTo>
                  <a:lnTo>
                    <a:pt x="195" y="1204"/>
                  </a:lnTo>
                  <a:lnTo>
                    <a:pt x="196" y="1205"/>
                  </a:lnTo>
                  <a:lnTo>
                    <a:pt x="199" y="1206"/>
                  </a:lnTo>
                  <a:lnTo>
                    <a:pt x="201" y="1208"/>
                  </a:lnTo>
                  <a:lnTo>
                    <a:pt x="202" y="1212"/>
                  </a:lnTo>
                  <a:lnTo>
                    <a:pt x="204" y="1215"/>
                  </a:lnTo>
                  <a:lnTo>
                    <a:pt x="205" y="1214"/>
                  </a:lnTo>
                  <a:lnTo>
                    <a:pt x="205" y="1212"/>
                  </a:lnTo>
                  <a:lnTo>
                    <a:pt x="208" y="1209"/>
                  </a:lnTo>
                  <a:lnTo>
                    <a:pt x="211" y="1208"/>
                  </a:lnTo>
                  <a:lnTo>
                    <a:pt x="212" y="1209"/>
                  </a:lnTo>
                  <a:lnTo>
                    <a:pt x="211" y="1214"/>
                  </a:lnTo>
                  <a:lnTo>
                    <a:pt x="208" y="1216"/>
                  </a:lnTo>
                  <a:lnTo>
                    <a:pt x="205" y="1221"/>
                  </a:lnTo>
                  <a:lnTo>
                    <a:pt x="202" y="1224"/>
                  </a:lnTo>
                  <a:lnTo>
                    <a:pt x="202" y="1228"/>
                  </a:lnTo>
                  <a:lnTo>
                    <a:pt x="205" y="1229"/>
                  </a:lnTo>
                  <a:lnTo>
                    <a:pt x="208" y="1228"/>
                  </a:lnTo>
                  <a:lnTo>
                    <a:pt x="209" y="1229"/>
                  </a:lnTo>
                  <a:lnTo>
                    <a:pt x="209" y="1232"/>
                  </a:lnTo>
                  <a:lnTo>
                    <a:pt x="206" y="1232"/>
                  </a:lnTo>
                  <a:lnTo>
                    <a:pt x="204" y="1234"/>
                  </a:lnTo>
                  <a:lnTo>
                    <a:pt x="201" y="1234"/>
                  </a:lnTo>
                  <a:lnTo>
                    <a:pt x="198" y="1235"/>
                  </a:lnTo>
                  <a:lnTo>
                    <a:pt x="198" y="1238"/>
                  </a:lnTo>
                  <a:lnTo>
                    <a:pt x="198" y="1239"/>
                  </a:lnTo>
                  <a:lnTo>
                    <a:pt x="198" y="1244"/>
                  </a:lnTo>
                  <a:lnTo>
                    <a:pt x="201" y="1248"/>
                  </a:lnTo>
                  <a:lnTo>
                    <a:pt x="204" y="1252"/>
                  </a:lnTo>
                  <a:lnTo>
                    <a:pt x="205" y="1254"/>
                  </a:lnTo>
                  <a:lnTo>
                    <a:pt x="205" y="1258"/>
                  </a:lnTo>
                  <a:lnTo>
                    <a:pt x="205" y="1262"/>
                  </a:lnTo>
                  <a:lnTo>
                    <a:pt x="206" y="1264"/>
                  </a:lnTo>
                  <a:lnTo>
                    <a:pt x="208" y="1268"/>
                  </a:lnTo>
                  <a:lnTo>
                    <a:pt x="208" y="1271"/>
                  </a:lnTo>
                  <a:lnTo>
                    <a:pt x="206" y="1274"/>
                  </a:lnTo>
                  <a:lnTo>
                    <a:pt x="205" y="1274"/>
                  </a:lnTo>
                  <a:lnTo>
                    <a:pt x="199" y="1274"/>
                  </a:lnTo>
                  <a:lnTo>
                    <a:pt x="198" y="1274"/>
                  </a:lnTo>
                  <a:lnTo>
                    <a:pt x="198" y="1271"/>
                  </a:lnTo>
                  <a:lnTo>
                    <a:pt x="195" y="1268"/>
                  </a:lnTo>
                  <a:lnTo>
                    <a:pt x="192" y="1267"/>
                  </a:lnTo>
                  <a:lnTo>
                    <a:pt x="189" y="1262"/>
                  </a:lnTo>
                  <a:lnTo>
                    <a:pt x="188" y="1261"/>
                  </a:lnTo>
                  <a:lnTo>
                    <a:pt x="188" y="1264"/>
                  </a:lnTo>
                  <a:lnTo>
                    <a:pt x="188" y="1267"/>
                  </a:lnTo>
                  <a:lnTo>
                    <a:pt x="188" y="1269"/>
                  </a:lnTo>
                  <a:lnTo>
                    <a:pt x="186" y="1269"/>
                  </a:lnTo>
                  <a:lnTo>
                    <a:pt x="185" y="1269"/>
                  </a:lnTo>
                  <a:lnTo>
                    <a:pt x="181" y="1269"/>
                  </a:lnTo>
                  <a:lnTo>
                    <a:pt x="178" y="1271"/>
                  </a:lnTo>
                  <a:lnTo>
                    <a:pt x="176" y="1269"/>
                  </a:lnTo>
                  <a:lnTo>
                    <a:pt x="173" y="1271"/>
                  </a:lnTo>
                  <a:lnTo>
                    <a:pt x="175" y="1272"/>
                  </a:lnTo>
                  <a:lnTo>
                    <a:pt x="175" y="1274"/>
                  </a:lnTo>
                  <a:lnTo>
                    <a:pt x="173" y="1275"/>
                  </a:lnTo>
                  <a:lnTo>
                    <a:pt x="171" y="1275"/>
                  </a:lnTo>
                  <a:lnTo>
                    <a:pt x="165" y="1274"/>
                  </a:lnTo>
                  <a:lnTo>
                    <a:pt x="161" y="1275"/>
                  </a:lnTo>
                  <a:lnTo>
                    <a:pt x="159" y="1278"/>
                  </a:lnTo>
                  <a:lnTo>
                    <a:pt x="156" y="1281"/>
                  </a:lnTo>
                  <a:lnTo>
                    <a:pt x="153" y="1281"/>
                  </a:lnTo>
                  <a:lnTo>
                    <a:pt x="152" y="1281"/>
                  </a:lnTo>
                  <a:lnTo>
                    <a:pt x="152" y="1279"/>
                  </a:lnTo>
                  <a:lnTo>
                    <a:pt x="153" y="1277"/>
                  </a:lnTo>
                  <a:lnTo>
                    <a:pt x="155" y="1274"/>
                  </a:lnTo>
                  <a:lnTo>
                    <a:pt x="153" y="1274"/>
                  </a:lnTo>
                  <a:lnTo>
                    <a:pt x="152" y="1272"/>
                  </a:lnTo>
                  <a:lnTo>
                    <a:pt x="149" y="1275"/>
                  </a:lnTo>
                  <a:lnTo>
                    <a:pt x="148" y="1277"/>
                  </a:lnTo>
                  <a:lnTo>
                    <a:pt x="143" y="1278"/>
                  </a:lnTo>
                  <a:lnTo>
                    <a:pt x="140" y="1279"/>
                  </a:lnTo>
                  <a:lnTo>
                    <a:pt x="139" y="1281"/>
                  </a:lnTo>
                  <a:lnTo>
                    <a:pt x="138" y="1282"/>
                  </a:lnTo>
                  <a:lnTo>
                    <a:pt x="139" y="1285"/>
                  </a:lnTo>
                  <a:lnTo>
                    <a:pt x="140" y="1287"/>
                  </a:lnTo>
                  <a:lnTo>
                    <a:pt x="145" y="1287"/>
                  </a:lnTo>
                  <a:lnTo>
                    <a:pt x="148" y="1287"/>
                  </a:lnTo>
                  <a:lnTo>
                    <a:pt x="149" y="1288"/>
                  </a:lnTo>
                  <a:lnTo>
                    <a:pt x="151" y="1289"/>
                  </a:lnTo>
                  <a:lnTo>
                    <a:pt x="152" y="1291"/>
                  </a:lnTo>
                  <a:lnTo>
                    <a:pt x="155" y="1291"/>
                  </a:lnTo>
                  <a:lnTo>
                    <a:pt x="155" y="1288"/>
                  </a:lnTo>
                  <a:lnTo>
                    <a:pt x="158" y="1285"/>
                  </a:lnTo>
                  <a:lnTo>
                    <a:pt x="158" y="1287"/>
                  </a:lnTo>
                  <a:lnTo>
                    <a:pt x="159" y="1291"/>
                  </a:lnTo>
                  <a:lnTo>
                    <a:pt x="161" y="1292"/>
                  </a:lnTo>
                  <a:lnTo>
                    <a:pt x="162" y="1292"/>
                  </a:lnTo>
                  <a:lnTo>
                    <a:pt x="165" y="1292"/>
                  </a:lnTo>
                  <a:lnTo>
                    <a:pt x="168" y="1294"/>
                  </a:lnTo>
                  <a:lnTo>
                    <a:pt x="171" y="1295"/>
                  </a:lnTo>
                  <a:lnTo>
                    <a:pt x="171" y="1297"/>
                  </a:lnTo>
                  <a:lnTo>
                    <a:pt x="168" y="1297"/>
                  </a:lnTo>
                  <a:lnTo>
                    <a:pt x="168" y="1297"/>
                  </a:lnTo>
                  <a:lnTo>
                    <a:pt x="166" y="1298"/>
                  </a:lnTo>
                  <a:lnTo>
                    <a:pt x="168" y="1299"/>
                  </a:lnTo>
                  <a:lnTo>
                    <a:pt x="172" y="1302"/>
                  </a:lnTo>
                  <a:lnTo>
                    <a:pt x="172" y="1304"/>
                  </a:lnTo>
                  <a:lnTo>
                    <a:pt x="171" y="1307"/>
                  </a:lnTo>
                  <a:lnTo>
                    <a:pt x="168" y="1308"/>
                  </a:lnTo>
                  <a:lnTo>
                    <a:pt x="166" y="1310"/>
                  </a:lnTo>
                  <a:lnTo>
                    <a:pt x="162" y="1308"/>
                  </a:lnTo>
                  <a:lnTo>
                    <a:pt x="162" y="1304"/>
                  </a:lnTo>
                  <a:lnTo>
                    <a:pt x="161" y="1302"/>
                  </a:lnTo>
                  <a:lnTo>
                    <a:pt x="159" y="1301"/>
                  </a:lnTo>
                  <a:lnTo>
                    <a:pt x="156" y="1301"/>
                  </a:lnTo>
                  <a:lnTo>
                    <a:pt x="155" y="1301"/>
                  </a:lnTo>
                  <a:lnTo>
                    <a:pt x="155" y="1305"/>
                  </a:lnTo>
                  <a:lnTo>
                    <a:pt x="155" y="1307"/>
                  </a:lnTo>
                  <a:lnTo>
                    <a:pt x="155" y="1308"/>
                  </a:lnTo>
                  <a:lnTo>
                    <a:pt x="153" y="1311"/>
                  </a:lnTo>
                  <a:lnTo>
                    <a:pt x="153" y="1312"/>
                  </a:lnTo>
                  <a:lnTo>
                    <a:pt x="156" y="1312"/>
                  </a:lnTo>
                  <a:lnTo>
                    <a:pt x="158" y="1312"/>
                  </a:lnTo>
                  <a:lnTo>
                    <a:pt x="161" y="1311"/>
                  </a:lnTo>
                  <a:lnTo>
                    <a:pt x="165" y="1312"/>
                  </a:lnTo>
                  <a:lnTo>
                    <a:pt x="165" y="1314"/>
                  </a:lnTo>
                  <a:lnTo>
                    <a:pt x="166" y="1318"/>
                  </a:lnTo>
                  <a:lnTo>
                    <a:pt x="169" y="1321"/>
                  </a:lnTo>
                  <a:lnTo>
                    <a:pt x="171" y="1325"/>
                  </a:lnTo>
                  <a:lnTo>
                    <a:pt x="169" y="1335"/>
                  </a:lnTo>
                  <a:lnTo>
                    <a:pt x="168" y="1342"/>
                  </a:lnTo>
                  <a:lnTo>
                    <a:pt x="159" y="1332"/>
                  </a:lnTo>
                  <a:lnTo>
                    <a:pt x="149" y="1317"/>
                  </a:lnTo>
                  <a:lnTo>
                    <a:pt x="142" y="1310"/>
                  </a:lnTo>
                  <a:lnTo>
                    <a:pt x="136" y="1302"/>
                  </a:lnTo>
                  <a:lnTo>
                    <a:pt x="130" y="1295"/>
                  </a:lnTo>
                  <a:lnTo>
                    <a:pt x="123" y="1289"/>
                  </a:lnTo>
                  <a:lnTo>
                    <a:pt x="118" y="1289"/>
                  </a:lnTo>
                  <a:lnTo>
                    <a:pt x="112" y="1292"/>
                  </a:lnTo>
                  <a:lnTo>
                    <a:pt x="108" y="1292"/>
                  </a:lnTo>
                  <a:lnTo>
                    <a:pt x="106" y="1289"/>
                  </a:lnTo>
                  <a:lnTo>
                    <a:pt x="105" y="1287"/>
                  </a:lnTo>
                  <a:lnTo>
                    <a:pt x="106" y="1282"/>
                  </a:lnTo>
                  <a:lnTo>
                    <a:pt x="109" y="1271"/>
                  </a:lnTo>
                  <a:lnTo>
                    <a:pt x="109" y="1271"/>
                  </a:lnTo>
                  <a:lnTo>
                    <a:pt x="113" y="1259"/>
                  </a:lnTo>
                  <a:lnTo>
                    <a:pt x="118" y="1249"/>
                  </a:lnTo>
                  <a:lnTo>
                    <a:pt x="125" y="1242"/>
                  </a:lnTo>
                  <a:lnTo>
                    <a:pt x="132" y="1238"/>
                  </a:lnTo>
                  <a:lnTo>
                    <a:pt x="145" y="1231"/>
                  </a:lnTo>
                  <a:lnTo>
                    <a:pt x="152" y="1229"/>
                  </a:lnTo>
                  <a:lnTo>
                    <a:pt x="156" y="1225"/>
                  </a:lnTo>
                  <a:lnTo>
                    <a:pt x="156" y="1225"/>
                  </a:lnTo>
                  <a:lnTo>
                    <a:pt x="159" y="1225"/>
                  </a:lnTo>
                  <a:lnTo>
                    <a:pt x="161" y="1224"/>
                  </a:lnTo>
                  <a:lnTo>
                    <a:pt x="159" y="1221"/>
                  </a:lnTo>
                  <a:lnTo>
                    <a:pt x="158" y="1216"/>
                  </a:lnTo>
                  <a:lnTo>
                    <a:pt x="158" y="1214"/>
                  </a:lnTo>
                  <a:lnTo>
                    <a:pt x="161" y="1211"/>
                  </a:lnTo>
                  <a:lnTo>
                    <a:pt x="158" y="1205"/>
                  </a:lnTo>
                  <a:lnTo>
                    <a:pt x="159" y="1198"/>
                  </a:lnTo>
                  <a:lnTo>
                    <a:pt x="161" y="1192"/>
                  </a:lnTo>
                  <a:lnTo>
                    <a:pt x="159" y="1186"/>
                  </a:lnTo>
                  <a:lnTo>
                    <a:pt x="156" y="1181"/>
                  </a:lnTo>
                  <a:lnTo>
                    <a:pt x="153" y="1173"/>
                  </a:lnTo>
                  <a:lnTo>
                    <a:pt x="151" y="1149"/>
                  </a:lnTo>
                  <a:lnTo>
                    <a:pt x="149" y="1142"/>
                  </a:lnTo>
                  <a:lnTo>
                    <a:pt x="148" y="1135"/>
                  </a:lnTo>
                  <a:lnTo>
                    <a:pt x="142" y="1130"/>
                  </a:lnTo>
                  <a:lnTo>
                    <a:pt x="135" y="1123"/>
                  </a:lnTo>
                  <a:lnTo>
                    <a:pt x="130" y="1118"/>
                  </a:lnTo>
                  <a:lnTo>
                    <a:pt x="126" y="1108"/>
                  </a:lnTo>
                  <a:lnTo>
                    <a:pt x="122" y="1100"/>
                  </a:lnTo>
                  <a:lnTo>
                    <a:pt x="100" y="1062"/>
                  </a:lnTo>
                  <a:lnTo>
                    <a:pt x="98" y="1055"/>
                  </a:lnTo>
                  <a:lnTo>
                    <a:pt x="95" y="1046"/>
                  </a:lnTo>
                  <a:lnTo>
                    <a:pt x="93" y="1035"/>
                  </a:lnTo>
                  <a:lnTo>
                    <a:pt x="88" y="1024"/>
                  </a:lnTo>
                  <a:lnTo>
                    <a:pt x="63" y="994"/>
                  </a:lnTo>
                  <a:lnTo>
                    <a:pt x="59" y="987"/>
                  </a:lnTo>
                  <a:lnTo>
                    <a:pt x="42" y="970"/>
                  </a:lnTo>
                  <a:lnTo>
                    <a:pt x="27" y="953"/>
                  </a:lnTo>
                  <a:lnTo>
                    <a:pt x="19" y="949"/>
                  </a:lnTo>
                  <a:lnTo>
                    <a:pt x="10" y="947"/>
                  </a:lnTo>
                  <a:lnTo>
                    <a:pt x="7" y="946"/>
                  </a:lnTo>
                  <a:lnTo>
                    <a:pt x="2" y="943"/>
                  </a:lnTo>
                  <a:lnTo>
                    <a:pt x="0" y="939"/>
                  </a:lnTo>
                  <a:lnTo>
                    <a:pt x="2" y="936"/>
                  </a:lnTo>
                  <a:lnTo>
                    <a:pt x="2" y="936"/>
                  </a:lnTo>
                  <a:lnTo>
                    <a:pt x="2" y="930"/>
                  </a:lnTo>
                  <a:lnTo>
                    <a:pt x="3" y="924"/>
                  </a:lnTo>
                  <a:lnTo>
                    <a:pt x="9" y="917"/>
                  </a:lnTo>
                  <a:lnTo>
                    <a:pt x="17" y="911"/>
                  </a:lnTo>
                  <a:lnTo>
                    <a:pt x="17" y="911"/>
                  </a:lnTo>
                  <a:lnTo>
                    <a:pt x="19" y="901"/>
                  </a:lnTo>
                  <a:lnTo>
                    <a:pt x="24" y="894"/>
                  </a:lnTo>
                  <a:lnTo>
                    <a:pt x="30" y="887"/>
                  </a:lnTo>
                  <a:lnTo>
                    <a:pt x="37" y="881"/>
                  </a:lnTo>
                  <a:lnTo>
                    <a:pt x="50" y="871"/>
                  </a:lnTo>
                  <a:lnTo>
                    <a:pt x="53" y="867"/>
                  </a:lnTo>
                  <a:lnTo>
                    <a:pt x="55" y="864"/>
                  </a:lnTo>
                  <a:lnTo>
                    <a:pt x="55" y="861"/>
                  </a:lnTo>
                  <a:lnTo>
                    <a:pt x="50" y="857"/>
                  </a:lnTo>
                  <a:lnTo>
                    <a:pt x="50" y="851"/>
                  </a:lnTo>
                  <a:lnTo>
                    <a:pt x="52" y="845"/>
                  </a:lnTo>
                  <a:lnTo>
                    <a:pt x="52" y="845"/>
                  </a:lnTo>
                  <a:lnTo>
                    <a:pt x="50" y="841"/>
                  </a:lnTo>
                  <a:lnTo>
                    <a:pt x="52" y="837"/>
                  </a:lnTo>
                  <a:lnTo>
                    <a:pt x="57" y="825"/>
                  </a:lnTo>
                  <a:lnTo>
                    <a:pt x="62" y="813"/>
                  </a:lnTo>
                  <a:lnTo>
                    <a:pt x="65" y="805"/>
                  </a:lnTo>
                  <a:lnTo>
                    <a:pt x="65" y="805"/>
                  </a:lnTo>
                  <a:lnTo>
                    <a:pt x="72" y="805"/>
                  </a:lnTo>
                  <a:lnTo>
                    <a:pt x="86" y="805"/>
                  </a:lnTo>
                  <a:lnTo>
                    <a:pt x="106" y="805"/>
                  </a:lnTo>
                  <a:lnTo>
                    <a:pt x="128" y="804"/>
                  </a:lnTo>
                  <a:lnTo>
                    <a:pt x="151" y="801"/>
                  </a:lnTo>
                  <a:lnTo>
                    <a:pt x="171" y="795"/>
                  </a:lnTo>
                  <a:lnTo>
                    <a:pt x="181" y="792"/>
                  </a:lnTo>
                  <a:lnTo>
                    <a:pt x="188" y="788"/>
                  </a:lnTo>
                  <a:lnTo>
                    <a:pt x="193" y="784"/>
                  </a:lnTo>
                  <a:lnTo>
                    <a:pt x="196" y="777"/>
                  </a:lnTo>
                  <a:lnTo>
                    <a:pt x="196" y="777"/>
                  </a:lnTo>
                  <a:lnTo>
                    <a:pt x="198" y="772"/>
                  </a:lnTo>
                  <a:lnTo>
                    <a:pt x="198" y="768"/>
                  </a:lnTo>
                  <a:lnTo>
                    <a:pt x="193" y="760"/>
                  </a:lnTo>
                  <a:lnTo>
                    <a:pt x="189" y="752"/>
                  </a:lnTo>
                  <a:lnTo>
                    <a:pt x="188" y="747"/>
                  </a:lnTo>
                  <a:lnTo>
                    <a:pt x="189" y="741"/>
                  </a:lnTo>
                  <a:lnTo>
                    <a:pt x="189" y="741"/>
                  </a:lnTo>
                  <a:lnTo>
                    <a:pt x="201" y="707"/>
                  </a:lnTo>
                  <a:lnTo>
                    <a:pt x="196" y="698"/>
                  </a:lnTo>
                  <a:lnTo>
                    <a:pt x="198" y="694"/>
                  </a:lnTo>
                  <a:lnTo>
                    <a:pt x="199" y="691"/>
                  </a:lnTo>
                  <a:lnTo>
                    <a:pt x="199" y="688"/>
                  </a:lnTo>
                  <a:lnTo>
                    <a:pt x="198" y="685"/>
                  </a:lnTo>
                  <a:lnTo>
                    <a:pt x="198" y="681"/>
                  </a:lnTo>
                  <a:lnTo>
                    <a:pt x="196" y="679"/>
                  </a:lnTo>
                  <a:lnTo>
                    <a:pt x="193" y="678"/>
                  </a:lnTo>
                  <a:lnTo>
                    <a:pt x="191" y="678"/>
                  </a:lnTo>
                  <a:lnTo>
                    <a:pt x="191" y="676"/>
                  </a:lnTo>
                  <a:lnTo>
                    <a:pt x="191" y="675"/>
                  </a:lnTo>
                  <a:lnTo>
                    <a:pt x="192" y="671"/>
                  </a:lnTo>
                  <a:lnTo>
                    <a:pt x="193" y="666"/>
                  </a:lnTo>
                  <a:lnTo>
                    <a:pt x="192" y="665"/>
                  </a:lnTo>
                  <a:lnTo>
                    <a:pt x="191" y="664"/>
                  </a:lnTo>
                  <a:lnTo>
                    <a:pt x="188" y="661"/>
                  </a:lnTo>
                  <a:lnTo>
                    <a:pt x="186" y="659"/>
                  </a:lnTo>
                  <a:lnTo>
                    <a:pt x="186" y="656"/>
                  </a:lnTo>
                  <a:lnTo>
                    <a:pt x="186" y="652"/>
                  </a:lnTo>
                  <a:lnTo>
                    <a:pt x="186" y="648"/>
                  </a:lnTo>
                  <a:lnTo>
                    <a:pt x="188" y="646"/>
                  </a:lnTo>
                  <a:lnTo>
                    <a:pt x="193" y="639"/>
                  </a:lnTo>
                  <a:lnTo>
                    <a:pt x="192" y="639"/>
                  </a:lnTo>
                  <a:lnTo>
                    <a:pt x="192" y="636"/>
                  </a:lnTo>
                  <a:lnTo>
                    <a:pt x="192" y="634"/>
                  </a:lnTo>
                  <a:lnTo>
                    <a:pt x="195" y="631"/>
                  </a:lnTo>
                  <a:lnTo>
                    <a:pt x="196" y="62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ru-RU" sz="941" dirty="0">
                  <a:solidFill>
                    <a:srgbClr val="646464"/>
                  </a:solidFill>
                </a:rPr>
                <a:t>я</a:t>
              </a: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68" name="Freeform 16"/>
            <p:cNvSpPr>
              <a:spLocks/>
            </p:cNvSpPr>
            <p:nvPr/>
          </p:nvSpPr>
          <p:spPr bwMode="auto">
            <a:xfrm>
              <a:off x="2494829" y="3240594"/>
              <a:ext cx="218584" cy="308237"/>
            </a:xfrm>
            <a:custGeom>
              <a:avLst/>
              <a:gdLst>
                <a:gd name="T0" fmla="*/ 272 w 356"/>
                <a:gd name="T1" fmla="*/ 458 h 467"/>
                <a:gd name="T2" fmla="*/ 292 w 356"/>
                <a:gd name="T3" fmla="*/ 450 h 467"/>
                <a:gd name="T4" fmla="*/ 306 w 356"/>
                <a:gd name="T5" fmla="*/ 427 h 467"/>
                <a:gd name="T6" fmla="*/ 315 w 356"/>
                <a:gd name="T7" fmla="*/ 371 h 467"/>
                <a:gd name="T8" fmla="*/ 293 w 356"/>
                <a:gd name="T9" fmla="*/ 345 h 467"/>
                <a:gd name="T10" fmla="*/ 289 w 356"/>
                <a:gd name="T11" fmla="*/ 315 h 467"/>
                <a:gd name="T12" fmla="*/ 312 w 356"/>
                <a:gd name="T13" fmla="*/ 226 h 467"/>
                <a:gd name="T14" fmla="*/ 342 w 356"/>
                <a:gd name="T15" fmla="*/ 195 h 467"/>
                <a:gd name="T16" fmla="*/ 346 w 356"/>
                <a:gd name="T17" fmla="*/ 160 h 467"/>
                <a:gd name="T18" fmla="*/ 353 w 356"/>
                <a:gd name="T19" fmla="*/ 143 h 467"/>
                <a:gd name="T20" fmla="*/ 348 w 356"/>
                <a:gd name="T21" fmla="*/ 129 h 467"/>
                <a:gd name="T22" fmla="*/ 328 w 356"/>
                <a:gd name="T23" fmla="*/ 117 h 467"/>
                <a:gd name="T24" fmla="*/ 312 w 356"/>
                <a:gd name="T25" fmla="*/ 112 h 467"/>
                <a:gd name="T26" fmla="*/ 302 w 356"/>
                <a:gd name="T27" fmla="*/ 89 h 467"/>
                <a:gd name="T28" fmla="*/ 272 w 356"/>
                <a:gd name="T29" fmla="*/ 109 h 467"/>
                <a:gd name="T30" fmla="*/ 250 w 356"/>
                <a:gd name="T31" fmla="*/ 90 h 467"/>
                <a:gd name="T32" fmla="*/ 216 w 356"/>
                <a:gd name="T33" fmla="*/ 70 h 467"/>
                <a:gd name="T34" fmla="*/ 184 w 356"/>
                <a:gd name="T35" fmla="*/ 52 h 467"/>
                <a:gd name="T36" fmla="*/ 186 w 356"/>
                <a:gd name="T37" fmla="*/ 11 h 467"/>
                <a:gd name="T38" fmla="*/ 169 w 356"/>
                <a:gd name="T39" fmla="*/ 0 h 467"/>
                <a:gd name="T40" fmla="*/ 156 w 356"/>
                <a:gd name="T41" fmla="*/ 14 h 467"/>
                <a:gd name="T42" fmla="*/ 133 w 356"/>
                <a:gd name="T43" fmla="*/ 14 h 467"/>
                <a:gd name="T44" fmla="*/ 121 w 356"/>
                <a:gd name="T45" fmla="*/ 20 h 467"/>
                <a:gd name="T46" fmla="*/ 100 w 356"/>
                <a:gd name="T47" fmla="*/ 21 h 467"/>
                <a:gd name="T48" fmla="*/ 81 w 356"/>
                <a:gd name="T49" fmla="*/ 39 h 467"/>
                <a:gd name="T50" fmla="*/ 74 w 356"/>
                <a:gd name="T51" fmla="*/ 54 h 467"/>
                <a:gd name="T52" fmla="*/ 60 w 356"/>
                <a:gd name="T53" fmla="*/ 60 h 467"/>
                <a:gd name="T54" fmla="*/ 41 w 356"/>
                <a:gd name="T55" fmla="*/ 74 h 467"/>
                <a:gd name="T56" fmla="*/ 20 w 356"/>
                <a:gd name="T57" fmla="*/ 84 h 467"/>
                <a:gd name="T58" fmla="*/ 1 w 356"/>
                <a:gd name="T59" fmla="*/ 94 h 467"/>
                <a:gd name="T60" fmla="*/ 2 w 356"/>
                <a:gd name="T61" fmla="*/ 109 h 467"/>
                <a:gd name="T62" fmla="*/ 30 w 356"/>
                <a:gd name="T63" fmla="*/ 145 h 467"/>
                <a:gd name="T64" fmla="*/ 38 w 356"/>
                <a:gd name="T65" fmla="*/ 178 h 467"/>
                <a:gd name="T66" fmla="*/ 64 w 356"/>
                <a:gd name="T67" fmla="*/ 188 h 467"/>
                <a:gd name="T68" fmla="*/ 71 w 356"/>
                <a:gd name="T69" fmla="*/ 202 h 467"/>
                <a:gd name="T70" fmla="*/ 77 w 356"/>
                <a:gd name="T71" fmla="*/ 223 h 467"/>
                <a:gd name="T72" fmla="*/ 71 w 356"/>
                <a:gd name="T73" fmla="*/ 248 h 467"/>
                <a:gd name="T74" fmla="*/ 44 w 356"/>
                <a:gd name="T75" fmla="*/ 278 h 467"/>
                <a:gd name="T76" fmla="*/ 54 w 356"/>
                <a:gd name="T77" fmla="*/ 316 h 467"/>
                <a:gd name="T78" fmla="*/ 55 w 356"/>
                <a:gd name="T79" fmla="*/ 331 h 467"/>
                <a:gd name="T80" fmla="*/ 74 w 356"/>
                <a:gd name="T81" fmla="*/ 329 h 467"/>
                <a:gd name="T82" fmla="*/ 70 w 356"/>
                <a:gd name="T83" fmla="*/ 372 h 467"/>
                <a:gd name="T84" fmla="*/ 84 w 356"/>
                <a:gd name="T85" fmla="*/ 410 h 467"/>
                <a:gd name="T86" fmla="*/ 58 w 356"/>
                <a:gd name="T87" fmla="*/ 418 h 467"/>
                <a:gd name="T88" fmla="*/ 48 w 356"/>
                <a:gd name="T89" fmla="*/ 443 h 467"/>
                <a:gd name="T90" fmla="*/ 67 w 356"/>
                <a:gd name="T91" fmla="*/ 447 h 467"/>
                <a:gd name="T92" fmla="*/ 103 w 356"/>
                <a:gd name="T93" fmla="*/ 437 h 467"/>
                <a:gd name="T94" fmla="*/ 127 w 356"/>
                <a:gd name="T95" fmla="*/ 453 h 467"/>
                <a:gd name="T96" fmla="*/ 141 w 356"/>
                <a:gd name="T97" fmla="*/ 453 h 467"/>
                <a:gd name="T98" fmla="*/ 153 w 356"/>
                <a:gd name="T99" fmla="*/ 455 h 467"/>
                <a:gd name="T100" fmla="*/ 183 w 356"/>
                <a:gd name="T101" fmla="*/ 451 h 467"/>
                <a:gd name="T102" fmla="*/ 190 w 356"/>
                <a:gd name="T103" fmla="*/ 448 h 467"/>
                <a:gd name="T104" fmla="*/ 214 w 356"/>
                <a:gd name="T105" fmla="*/ 457 h 467"/>
                <a:gd name="T106" fmla="*/ 233 w 356"/>
                <a:gd name="T107" fmla="*/ 461 h 467"/>
                <a:gd name="T108" fmla="*/ 245 w 356"/>
                <a:gd name="T109" fmla="*/ 454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56" h="467">
                  <a:moveTo>
                    <a:pt x="262" y="467"/>
                  </a:moveTo>
                  <a:lnTo>
                    <a:pt x="263" y="464"/>
                  </a:lnTo>
                  <a:lnTo>
                    <a:pt x="266" y="461"/>
                  </a:lnTo>
                  <a:lnTo>
                    <a:pt x="269" y="460"/>
                  </a:lnTo>
                  <a:lnTo>
                    <a:pt x="272" y="458"/>
                  </a:lnTo>
                  <a:lnTo>
                    <a:pt x="275" y="457"/>
                  </a:lnTo>
                  <a:lnTo>
                    <a:pt x="277" y="454"/>
                  </a:lnTo>
                  <a:lnTo>
                    <a:pt x="283" y="448"/>
                  </a:lnTo>
                  <a:lnTo>
                    <a:pt x="287" y="448"/>
                  </a:lnTo>
                  <a:lnTo>
                    <a:pt x="292" y="450"/>
                  </a:lnTo>
                  <a:lnTo>
                    <a:pt x="295" y="443"/>
                  </a:lnTo>
                  <a:lnTo>
                    <a:pt x="290" y="437"/>
                  </a:lnTo>
                  <a:lnTo>
                    <a:pt x="297" y="427"/>
                  </a:lnTo>
                  <a:lnTo>
                    <a:pt x="302" y="428"/>
                  </a:lnTo>
                  <a:lnTo>
                    <a:pt x="306" y="427"/>
                  </a:lnTo>
                  <a:lnTo>
                    <a:pt x="310" y="411"/>
                  </a:lnTo>
                  <a:lnTo>
                    <a:pt x="316" y="395"/>
                  </a:lnTo>
                  <a:lnTo>
                    <a:pt x="319" y="390"/>
                  </a:lnTo>
                  <a:lnTo>
                    <a:pt x="319" y="382"/>
                  </a:lnTo>
                  <a:lnTo>
                    <a:pt x="315" y="371"/>
                  </a:lnTo>
                  <a:lnTo>
                    <a:pt x="295" y="367"/>
                  </a:lnTo>
                  <a:lnTo>
                    <a:pt x="286" y="364"/>
                  </a:lnTo>
                  <a:lnTo>
                    <a:pt x="283" y="359"/>
                  </a:lnTo>
                  <a:lnTo>
                    <a:pt x="289" y="349"/>
                  </a:lnTo>
                  <a:lnTo>
                    <a:pt x="293" y="345"/>
                  </a:lnTo>
                  <a:lnTo>
                    <a:pt x="292" y="339"/>
                  </a:lnTo>
                  <a:lnTo>
                    <a:pt x="286" y="338"/>
                  </a:lnTo>
                  <a:lnTo>
                    <a:pt x="282" y="331"/>
                  </a:lnTo>
                  <a:lnTo>
                    <a:pt x="285" y="325"/>
                  </a:lnTo>
                  <a:lnTo>
                    <a:pt x="289" y="315"/>
                  </a:lnTo>
                  <a:lnTo>
                    <a:pt x="293" y="306"/>
                  </a:lnTo>
                  <a:lnTo>
                    <a:pt x="286" y="298"/>
                  </a:lnTo>
                  <a:lnTo>
                    <a:pt x="269" y="275"/>
                  </a:lnTo>
                  <a:lnTo>
                    <a:pt x="297" y="251"/>
                  </a:lnTo>
                  <a:lnTo>
                    <a:pt x="312" y="226"/>
                  </a:lnTo>
                  <a:lnTo>
                    <a:pt x="316" y="221"/>
                  </a:lnTo>
                  <a:lnTo>
                    <a:pt x="322" y="213"/>
                  </a:lnTo>
                  <a:lnTo>
                    <a:pt x="329" y="208"/>
                  </a:lnTo>
                  <a:lnTo>
                    <a:pt x="339" y="196"/>
                  </a:lnTo>
                  <a:lnTo>
                    <a:pt x="342" y="195"/>
                  </a:lnTo>
                  <a:lnTo>
                    <a:pt x="346" y="190"/>
                  </a:lnTo>
                  <a:lnTo>
                    <a:pt x="356" y="175"/>
                  </a:lnTo>
                  <a:lnTo>
                    <a:pt x="352" y="169"/>
                  </a:lnTo>
                  <a:lnTo>
                    <a:pt x="348" y="166"/>
                  </a:lnTo>
                  <a:lnTo>
                    <a:pt x="346" y="160"/>
                  </a:lnTo>
                  <a:lnTo>
                    <a:pt x="346" y="156"/>
                  </a:lnTo>
                  <a:lnTo>
                    <a:pt x="350" y="153"/>
                  </a:lnTo>
                  <a:lnTo>
                    <a:pt x="352" y="150"/>
                  </a:lnTo>
                  <a:lnTo>
                    <a:pt x="353" y="146"/>
                  </a:lnTo>
                  <a:lnTo>
                    <a:pt x="353" y="143"/>
                  </a:lnTo>
                  <a:lnTo>
                    <a:pt x="355" y="137"/>
                  </a:lnTo>
                  <a:lnTo>
                    <a:pt x="355" y="135"/>
                  </a:lnTo>
                  <a:lnTo>
                    <a:pt x="349" y="132"/>
                  </a:lnTo>
                  <a:lnTo>
                    <a:pt x="348" y="130"/>
                  </a:lnTo>
                  <a:lnTo>
                    <a:pt x="348" y="129"/>
                  </a:lnTo>
                  <a:lnTo>
                    <a:pt x="346" y="116"/>
                  </a:lnTo>
                  <a:lnTo>
                    <a:pt x="336" y="116"/>
                  </a:lnTo>
                  <a:lnTo>
                    <a:pt x="335" y="119"/>
                  </a:lnTo>
                  <a:lnTo>
                    <a:pt x="329" y="119"/>
                  </a:lnTo>
                  <a:lnTo>
                    <a:pt x="328" y="117"/>
                  </a:lnTo>
                  <a:lnTo>
                    <a:pt x="323" y="119"/>
                  </a:lnTo>
                  <a:lnTo>
                    <a:pt x="320" y="122"/>
                  </a:lnTo>
                  <a:lnTo>
                    <a:pt x="316" y="119"/>
                  </a:lnTo>
                  <a:lnTo>
                    <a:pt x="313" y="115"/>
                  </a:lnTo>
                  <a:lnTo>
                    <a:pt x="312" y="112"/>
                  </a:lnTo>
                  <a:lnTo>
                    <a:pt x="309" y="112"/>
                  </a:lnTo>
                  <a:lnTo>
                    <a:pt x="303" y="112"/>
                  </a:lnTo>
                  <a:lnTo>
                    <a:pt x="309" y="103"/>
                  </a:lnTo>
                  <a:lnTo>
                    <a:pt x="312" y="89"/>
                  </a:lnTo>
                  <a:lnTo>
                    <a:pt x="302" y="89"/>
                  </a:lnTo>
                  <a:lnTo>
                    <a:pt x="285" y="96"/>
                  </a:lnTo>
                  <a:lnTo>
                    <a:pt x="289" y="109"/>
                  </a:lnTo>
                  <a:lnTo>
                    <a:pt x="283" y="115"/>
                  </a:lnTo>
                  <a:lnTo>
                    <a:pt x="277" y="113"/>
                  </a:lnTo>
                  <a:lnTo>
                    <a:pt x="272" y="109"/>
                  </a:lnTo>
                  <a:lnTo>
                    <a:pt x="266" y="110"/>
                  </a:lnTo>
                  <a:lnTo>
                    <a:pt x="265" y="110"/>
                  </a:lnTo>
                  <a:lnTo>
                    <a:pt x="262" y="99"/>
                  </a:lnTo>
                  <a:lnTo>
                    <a:pt x="257" y="92"/>
                  </a:lnTo>
                  <a:lnTo>
                    <a:pt x="250" y="90"/>
                  </a:lnTo>
                  <a:lnTo>
                    <a:pt x="249" y="89"/>
                  </a:lnTo>
                  <a:lnTo>
                    <a:pt x="239" y="84"/>
                  </a:lnTo>
                  <a:lnTo>
                    <a:pt x="233" y="74"/>
                  </a:lnTo>
                  <a:lnTo>
                    <a:pt x="226" y="72"/>
                  </a:lnTo>
                  <a:lnTo>
                    <a:pt x="216" y="70"/>
                  </a:lnTo>
                  <a:lnTo>
                    <a:pt x="207" y="69"/>
                  </a:lnTo>
                  <a:lnTo>
                    <a:pt x="203" y="64"/>
                  </a:lnTo>
                  <a:lnTo>
                    <a:pt x="196" y="62"/>
                  </a:lnTo>
                  <a:lnTo>
                    <a:pt x="189" y="56"/>
                  </a:lnTo>
                  <a:lnTo>
                    <a:pt x="184" y="52"/>
                  </a:lnTo>
                  <a:lnTo>
                    <a:pt x="181" y="46"/>
                  </a:lnTo>
                  <a:lnTo>
                    <a:pt x="180" y="37"/>
                  </a:lnTo>
                  <a:lnTo>
                    <a:pt x="181" y="29"/>
                  </a:lnTo>
                  <a:lnTo>
                    <a:pt x="181" y="19"/>
                  </a:lnTo>
                  <a:lnTo>
                    <a:pt x="186" y="11"/>
                  </a:lnTo>
                  <a:lnTo>
                    <a:pt x="180" y="7"/>
                  </a:lnTo>
                  <a:lnTo>
                    <a:pt x="176" y="11"/>
                  </a:lnTo>
                  <a:lnTo>
                    <a:pt x="170" y="6"/>
                  </a:lnTo>
                  <a:lnTo>
                    <a:pt x="173" y="3"/>
                  </a:lnTo>
                  <a:lnTo>
                    <a:pt x="169" y="0"/>
                  </a:lnTo>
                  <a:lnTo>
                    <a:pt x="166" y="4"/>
                  </a:lnTo>
                  <a:lnTo>
                    <a:pt x="164" y="9"/>
                  </a:lnTo>
                  <a:lnTo>
                    <a:pt x="161" y="13"/>
                  </a:lnTo>
                  <a:lnTo>
                    <a:pt x="159" y="14"/>
                  </a:lnTo>
                  <a:lnTo>
                    <a:pt x="156" y="14"/>
                  </a:lnTo>
                  <a:lnTo>
                    <a:pt x="150" y="16"/>
                  </a:lnTo>
                  <a:lnTo>
                    <a:pt x="147" y="16"/>
                  </a:lnTo>
                  <a:lnTo>
                    <a:pt x="140" y="21"/>
                  </a:lnTo>
                  <a:lnTo>
                    <a:pt x="136" y="14"/>
                  </a:lnTo>
                  <a:lnTo>
                    <a:pt x="133" y="14"/>
                  </a:lnTo>
                  <a:lnTo>
                    <a:pt x="130" y="14"/>
                  </a:lnTo>
                  <a:lnTo>
                    <a:pt x="131" y="23"/>
                  </a:lnTo>
                  <a:lnTo>
                    <a:pt x="124" y="24"/>
                  </a:lnTo>
                  <a:lnTo>
                    <a:pt x="123" y="21"/>
                  </a:lnTo>
                  <a:lnTo>
                    <a:pt x="121" y="20"/>
                  </a:lnTo>
                  <a:lnTo>
                    <a:pt x="118" y="19"/>
                  </a:lnTo>
                  <a:lnTo>
                    <a:pt x="117" y="17"/>
                  </a:lnTo>
                  <a:lnTo>
                    <a:pt x="113" y="23"/>
                  </a:lnTo>
                  <a:lnTo>
                    <a:pt x="104" y="21"/>
                  </a:lnTo>
                  <a:lnTo>
                    <a:pt x="100" y="21"/>
                  </a:lnTo>
                  <a:lnTo>
                    <a:pt x="90" y="23"/>
                  </a:lnTo>
                  <a:lnTo>
                    <a:pt x="84" y="21"/>
                  </a:lnTo>
                  <a:lnTo>
                    <a:pt x="86" y="27"/>
                  </a:lnTo>
                  <a:lnTo>
                    <a:pt x="84" y="37"/>
                  </a:lnTo>
                  <a:lnTo>
                    <a:pt x="81" y="39"/>
                  </a:lnTo>
                  <a:lnTo>
                    <a:pt x="78" y="43"/>
                  </a:lnTo>
                  <a:lnTo>
                    <a:pt x="77" y="44"/>
                  </a:lnTo>
                  <a:lnTo>
                    <a:pt x="74" y="50"/>
                  </a:lnTo>
                  <a:lnTo>
                    <a:pt x="74" y="52"/>
                  </a:lnTo>
                  <a:lnTo>
                    <a:pt x="74" y="54"/>
                  </a:lnTo>
                  <a:lnTo>
                    <a:pt x="74" y="57"/>
                  </a:lnTo>
                  <a:lnTo>
                    <a:pt x="68" y="60"/>
                  </a:lnTo>
                  <a:lnTo>
                    <a:pt x="65" y="62"/>
                  </a:lnTo>
                  <a:lnTo>
                    <a:pt x="63" y="60"/>
                  </a:lnTo>
                  <a:lnTo>
                    <a:pt x="60" y="60"/>
                  </a:lnTo>
                  <a:lnTo>
                    <a:pt x="57" y="62"/>
                  </a:lnTo>
                  <a:lnTo>
                    <a:pt x="55" y="66"/>
                  </a:lnTo>
                  <a:lnTo>
                    <a:pt x="48" y="72"/>
                  </a:lnTo>
                  <a:lnTo>
                    <a:pt x="44" y="73"/>
                  </a:lnTo>
                  <a:lnTo>
                    <a:pt x="41" y="74"/>
                  </a:lnTo>
                  <a:lnTo>
                    <a:pt x="37" y="74"/>
                  </a:lnTo>
                  <a:lnTo>
                    <a:pt x="31" y="74"/>
                  </a:lnTo>
                  <a:lnTo>
                    <a:pt x="27" y="77"/>
                  </a:lnTo>
                  <a:lnTo>
                    <a:pt x="23" y="82"/>
                  </a:lnTo>
                  <a:lnTo>
                    <a:pt x="20" y="84"/>
                  </a:lnTo>
                  <a:lnTo>
                    <a:pt x="14" y="87"/>
                  </a:lnTo>
                  <a:lnTo>
                    <a:pt x="10" y="90"/>
                  </a:lnTo>
                  <a:lnTo>
                    <a:pt x="5" y="92"/>
                  </a:lnTo>
                  <a:lnTo>
                    <a:pt x="4" y="93"/>
                  </a:lnTo>
                  <a:lnTo>
                    <a:pt x="1" y="94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2" y="106"/>
                  </a:lnTo>
                  <a:lnTo>
                    <a:pt x="2" y="109"/>
                  </a:lnTo>
                  <a:lnTo>
                    <a:pt x="15" y="122"/>
                  </a:lnTo>
                  <a:lnTo>
                    <a:pt x="24" y="122"/>
                  </a:lnTo>
                  <a:lnTo>
                    <a:pt x="27" y="126"/>
                  </a:lnTo>
                  <a:lnTo>
                    <a:pt x="27" y="136"/>
                  </a:lnTo>
                  <a:lnTo>
                    <a:pt x="30" y="145"/>
                  </a:lnTo>
                  <a:lnTo>
                    <a:pt x="31" y="153"/>
                  </a:lnTo>
                  <a:lnTo>
                    <a:pt x="31" y="160"/>
                  </a:lnTo>
                  <a:lnTo>
                    <a:pt x="33" y="163"/>
                  </a:lnTo>
                  <a:lnTo>
                    <a:pt x="35" y="172"/>
                  </a:lnTo>
                  <a:lnTo>
                    <a:pt x="38" y="178"/>
                  </a:lnTo>
                  <a:lnTo>
                    <a:pt x="47" y="180"/>
                  </a:lnTo>
                  <a:lnTo>
                    <a:pt x="53" y="179"/>
                  </a:lnTo>
                  <a:lnTo>
                    <a:pt x="55" y="179"/>
                  </a:lnTo>
                  <a:lnTo>
                    <a:pt x="60" y="185"/>
                  </a:lnTo>
                  <a:lnTo>
                    <a:pt x="64" y="188"/>
                  </a:lnTo>
                  <a:lnTo>
                    <a:pt x="67" y="189"/>
                  </a:lnTo>
                  <a:lnTo>
                    <a:pt x="70" y="190"/>
                  </a:lnTo>
                  <a:lnTo>
                    <a:pt x="77" y="190"/>
                  </a:lnTo>
                  <a:lnTo>
                    <a:pt x="77" y="198"/>
                  </a:lnTo>
                  <a:lnTo>
                    <a:pt x="71" y="202"/>
                  </a:lnTo>
                  <a:lnTo>
                    <a:pt x="71" y="213"/>
                  </a:lnTo>
                  <a:lnTo>
                    <a:pt x="73" y="216"/>
                  </a:lnTo>
                  <a:lnTo>
                    <a:pt x="73" y="221"/>
                  </a:lnTo>
                  <a:lnTo>
                    <a:pt x="74" y="222"/>
                  </a:lnTo>
                  <a:lnTo>
                    <a:pt x="77" y="223"/>
                  </a:lnTo>
                  <a:lnTo>
                    <a:pt x="78" y="229"/>
                  </a:lnTo>
                  <a:lnTo>
                    <a:pt x="78" y="235"/>
                  </a:lnTo>
                  <a:lnTo>
                    <a:pt x="77" y="239"/>
                  </a:lnTo>
                  <a:lnTo>
                    <a:pt x="73" y="245"/>
                  </a:lnTo>
                  <a:lnTo>
                    <a:pt x="71" y="248"/>
                  </a:lnTo>
                  <a:lnTo>
                    <a:pt x="67" y="255"/>
                  </a:lnTo>
                  <a:lnTo>
                    <a:pt x="63" y="259"/>
                  </a:lnTo>
                  <a:lnTo>
                    <a:pt x="54" y="265"/>
                  </a:lnTo>
                  <a:lnTo>
                    <a:pt x="47" y="271"/>
                  </a:lnTo>
                  <a:lnTo>
                    <a:pt x="44" y="278"/>
                  </a:lnTo>
                  <a:lnTo>
                    <a:pt x="48" y="289"/>
                  </a:lnTo>
                  <a:lnTo>
                    <a:pt x="51" y="292"/>
                  </a:lnTo>
                  <a:lnTo>
                    <a:pt x="55" y="298"/>
                  </a:lnTo>
                  <a:lnTo>
                    <a:pt x="57" y="308"/>
                  </a:lnTo>
                  <a:lnTo>
                    <a:pt x="54" y="316"/>
                  </a:lnTo>
                  <a:lnTo>
                    <a:pt x="50" y="321"/>
                  </a:lnTo>
                  <a:lnTo>
                    <a:pt x="48" y="325"/>
                  </a:lnTo>
                  <a:lnTo>
                    <a:pt x="51" y="327"/>
                  </a:lnTo>
                  <a:lnTo>
                    <a:pt x="53" y="328"/>
                  </a:lnTo>
                  <a:lnTo>
                    <a:pt x="55" y="331"/>
                  </a:lnTo>
                  <a:lnTo>
                    <a:pt x="57" y="335"/>
                  </a:lnTo>
                  <a:lnTo>
                    <a:pt x="63" y="337"/>
                  </a:lnTo>
                  <a:lnTo>
                    <a:pt x="65" y="335"/>
                  </a:lnTo>
                  <a:lnTo>
                    <a:pt x="68" y="334"/>
                  </a:lnTo>
                  <a:lnTo>
                    <a:pt x="74" y="329"/>
                  </a:lnTo>
                  <a:lnTo>
                    <a:pt x="84" y="344"/>
                  </a:lnTo>
                  <a:lnTo>
                    <a:pt x="78" y="348"/>
                  </a:lnTo>
                  <a:lnTo>
                    <a:pt x="74" y="365"/>
                  </a:lnTo>
                  <a:lnTo>
                    <a:pt x="73" y="368"/>
                  </a:lnTo>
                  <a:lnTo>
                    <a:pt x="70" y="372"/>
                  </a:lnTo>
                  <a:lnTo>
                    <a:pt x="71" y="377"/>
                  </a:lnTo>
                  <a:lnTo>
                    <a:pt x="80" y="392"/>
                  </a:lnTo>
                  <a:lnTo>
                    <a:pt x="88" y="400"/>
                  </a:lnTo>
                  <a:lnTo>
                    <a:pt x="88" y="405"/>
                  </a:lnTo>
                  <a:lnTo>
                    <a:pt x="84" y="410"/>
                  </a:lnTo>
                  <a:lnTo>
                    <a:pt x="77" y="410"/>
                  </a:lnTo>
                  <a:lnTo>
                    <a:pt x="68" y="408"/>
                  </a:lnTo>
                  <a:lnTo>
                    <a:pt x="63" y="410"/>
                  </a:lnTo>
                  <a:lnTo>
                    <a:pt x="60" y="414"/>
                  </a:lnTo>
                  <a:lnTo>
                    <a:pt x="58" y="418"/>
                  </a:lnTo>
                  <a:lnTo>
                    <a:pt x="51" y="427"/>
                  </a:lnTo>
                  <a:lnTo>
                    <a:pt x="47" y="431"/>
                  </a:lnTo>
                  <a:lnTo>
                    <a:pt x="44" y="434"/>
                  </a:lnTo>
                  <a:lnTo>
                    <a:pt x="47" y="438"/>
                  </a:lnTo>
                  <a:lnTo>
                    <a:pt x="48" y="443"/>
                  </a:lnTo>
                  <a:lnTo>
                    <a:pt x="48" y="443"/>
                  </a:lnTo>
                  <a:lnTo>
                    <a:pt x="53" y="451"/>
                  </a:lnTo>
                  <a:lnTo>
                    <a:pt x="58" y="450"/>
                  </a:lnTo>
                  <a:lnTo>
                    <a:pt x="63" y="448"/>
                  </a:lnTo>
                  <a:lnTo>
                    <a:pt x="67" y="447"/>
                  </a:lnTo>
                  <a:lnTo>
                    <a:pt x="70" y="444"/>
                  </a:lnTo>
                  <a:lnTo>
                    <a:pt x="86" y="453"/>
                  </a:lnTo>
                  <a:lnTo>
                    <a:pt x="90" y="448"/>
                  </a:lnTo>
                  <a:lnTo>
                    <a:pt x="84" y="441"/>
                  </a:lnTo>
                  <a:lnTo>
                    <a:pt x="103" y="437"/>
                  </a:lnTo>
                  <a:lnTo>
                    <a:pt x="108" y="438"/>
                  </a:lnTo>
                  <a:lnTo>
                    <a:pt x="116" y="438"/>
                  </a:lnTo>
                  <a:lnTo>
                    <a:pt x="121" y="441"/>
                  </a:lnTo>
                  <a:lnTo>
                    <a:pt x="126" y="445"/>
                  </a:lnTo>
                  <a:lnTo>
                    <a:pt x="127" y="453"/>
                  </a:lnTo>
                  <a:lnTo>
                    <a:pt x="128" y="457"/>
                  </a:lnTo>
                  <a:lnTo>
                    <a:pt x="131" y="457"/>
                  </a:lnTo>
                  <a:lnTo>
                    <a:pt x="134" y="455"/>
                  </a:lnTo>
                  <a:lnTo>
                    <a:pt x="139" y="451"/>
                  </a:lnTo>
                  <a:lnTo>
                    <a:pt x="141" y="453"/>
                  </a:lnTo>
                  <a:lnTo>
                    <a:pt x="143" y="458"/>
                  </a:lnTo>
                  <a:lnTo>
                    <a:pt x="143" y="461"/>
                  </a:lnTo>
                  <a:lnTo>
                    <a:pt x="146" y="463"/>
                  </a:lnTo>
                  <a:lnTo>
                    <a:pt x="151" y="460"/>
                  </a:lnTo>
                  <a:lnTo>
                    <a:pt x="153" y="455"/>
                  </a:lnTo>
                  <a:lnTo>
                    <a:pt x="156" y="455"/>
                  </a:lnTo>
                  <a:lnTo>
                    <a:pt x="159" y="460"/>
                  </a:lnTo>
                  <a:lnTo>
                    <a:pt x="161" y="457"/>
                  </a:lnTo>
                  <a:lnTo>
                    <a:pt x="179" y="457"/>
                  </a:lnTo>
                  <a:lnTo>
                    <a:pt x="183" y="451"/>
                  </a:lnTo>
                  <a:lnTo>
                    <a:pt x="184" y="448"/>
                  </a:lnTo>
                  <a:lnTo>
                    <a:pt x="186" y="447"/>
                  </a:lnTo>
                  <a:lnTo>
                    <a:pt x="187" y="445"/>
                  </a:lnTo>
                  <a:lnTo>
                    <a:pt x="189" y="447"/>
                  </a:lnTo>
                  <a:lnTo>
                    <a:pt x="190" y="448"/>
                  </a:lnTo>
                  <a:lnTo>
                    <a:pt x="197" y="451"/>
                  </a:lnTo>
                  <a:lnTo>
                    <a:pt x="207" y="453"/>
                  </a:lnTo>
                  <a:lnTo>
                    <a:pt x="213" y="453"/>
                  </a:lnTo>
                  <a:lnTo>
                    <a:pt x="214" y="455"/>
                  </a:lnTo>
                  <a:lnTo>
                    <a:pt x="214" y="457"/>
                  </a:lnTo>
                  <a:lnTo>
                    <a:pt x="214" y="460"/>
                  </a:lnTo>
                  <a:lnTo>
                    <a:pt x="216" y="463"/>
                  </a:lnTo>
                  <a:lnTo>
                    <a:pt x="220" y="465"/>
                  </a:lnTo>
                  <a:lnTo>
                    <a:pt x="229" y="463"/>
                  </a:lnTo>
                  <a:lnTo>
                    <a:pt x="233" y="461"/>
                  </a:lnTo>
                  <a:lnTo>
                    <a:pt x="232" y="457"/>
                  </a:lnTo>
                  <a:lnTo>
                    <a:pt x="223" y="455"/>
                  </a:lnTo>
                  <a:lnTo>
                    <a:pt x="223" y="453"/>
                  </a:lnTo>
                  <a:lnTo>
                    <a:pt x="233" y="454"/>
                  </a:lnTo>
                  <a:lnTo>
                    <a:pt x="245" y="454"/>
                  </a:lnTo>
                  <a:lnTo>
                    <a:pt x="249" y="457"/>
                  </a:lnTo>
                  <a:lnTo>
                    <a:pt x="257" y="465"/>
                  </a:lnTo>
                  <a:lnTo>
                    <a:pt x="262" y="467"/>
                  </a:lnTo>
                  <a:close/>
                </a:path>
              </a:pathLst>
            </a:custGeom>
            <a:solidFill>
              <a:srgbClr val="FFF27F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69" name="Freeform 17"/>
            <p:cNvSpPr>
              <a:spLocks/>
            </p:cNvSpPr>
            <p:nvPr/>
          </p:nvSpPr>
          <p:spPr bwMode="auto">
            <a:xfrm>
              <a:off x="2477733" y="3528987"/>
              <a:ext cx="243007" cy="219602"/>
            </a:xfrm>
            <a:custGeom>
              <a:avLst/>
              <a:gdLst>
                <a:gd name="T0" fmla="*/ 92 w 398"/>
                <a:gd name="T1" fmla="*/ 11 h 331"/>
                <a:gd name="T2" fmla="*/ 113 w 398"/>
                <a:gd name="T3" fmla="*/ 4 h 331"/>
                <a:gd name="T4" fmla="*/ 155 w 398"/>
                <a:gd name="T5" fmla="*/ 8 h 331"/>
                <a:gd name="T6" fmla="*/ 168 w 398"/>
                <a:gd name="T7" fmla="*/ 14 h 331"/>
                <a:gd name="T8" fmla="*/ 180 w 398"/>
                <a:gd name="T9" fmla="*/ 23 h 331"/>
                <a:gd name="T10" fmla="*/ 208 w 398"/>
                <a:gd name="T11" fmla="*/ 20 h 331"/>
                <a:gd name="T12" fmla="*/ 218 w 398"/>
                <a:gd name="T13" fmla="*/ 10 h 331"/>
                <a:gd name="T14" fmla="*/ 243 w 398"/>
                <a:gd name="T15" fmla="*/ 18 h 331"/>
                <a:gd name="T16" fmla="*/ 258 w 398"/>
                <a:gd name="T17" fmla="*/ 26 h 331"/>
                <a:gd name="T18" fmla="*/ 262 w 398"/>
                <a:gd name="T19" fmla="*/ 17 h 331"/>
                <a:gd name="T20" fmla="*/ 296 w 398"/>
                <a:gd name="T21" fmla="*/ 31 h 331"/>
                <a:gd name="T22" fmla="*/ 309 w 398"/>
                <a:gd name="T23" fmla="*/ 43 h 331"/>
                <a:gd name="T24" fmla="*/ 322 w 398"/>
                <a:gd name="T25" fmla="*/ 48 h 331"/>
                <a:gd name="T26" fmla="*/ 311 w 398"/>
                <a:gd name="T27" fmla="*/ 70 h 331"/>
                <a:gd name="T28" fmla="*/ 329 w 398"/>
                <a:gd name="T29" fmla="*/ 83 h 331"/>
                <a:gd name="T30" fmla="*/ 338 w 398"/>
                <a:gd name="T31" fmla="*/ 101 h 331"/>
                <a:gd name="T32" fmla="*/ 344 w 398"/>
                <a:gd name="T33" fmla="*/ 106 h 331"/>
                <a:gd name="T34" fmla="*/ 349 w 398"/>
                <a:gd name="T35" fmla="*/ 134 h 331"/>
                <a:gd name="T36" fmla="*/ 367 w 398"/>
                <a:gd name="T37" fmla="*/ 152 h 331"/>
                <a:gd name="T38" fmla="*/ 365 w 398"/>
                <a:gd name="T39" fmla="*/ 169 h 331"/>
                <a:gd name="T40" fmla="*/ 381 w 398"/>
                <a:gd name="T41" fmla="*/ 183 h 331"/>
                <a:gd name="T42" fmla="*/ 375 w 398"/>
                <a:gd name="T43" fmla="*/ 205 h 331"/>
                <a:gd name="T44" fmla="*/ 395 w 398"/>
                <a:gd name="T45" fmla="*/ 216 h 331"/>
                <a:gd name="T46" fmla="*/ 397 w 398"/>
                <a:gd name="T47" fmla="*/ 228 h 331"/>
                <a:gd name="T48" fmla="*/ 391 w 398"/>
                <a:gd name="T49" fmla="*/ 226 h 331"/>
                <a:gd name="T50" fmla="*/ 388 w 398"/>
                <a:gd name="T51" fmla="*/ 232 h 331"/>
                <a:gd name="T52" fmla="*/ 387 w 398"/>
                <a:gd name="T53" fmla="*/ 236 h 331"/>
                <a:gd name="T54" fmla="*/ 375 w 398"/>
                <a:gd name="T55" fmla="*/ 245 h 331"/>
                <a:gd name="T56" fmla="*/ 357 w 398"/>
                <a:gd name="T57" fmla="*/ 275 h 331"/>
                <a:gd name="T58" fmla="*/ 335 w 398"/>
                <a:gd name="T59" fmla="*/ 283 h 331"/>
                <a:gd name="T60" fmla="*/ 314 w 398"/>
                <a:gd name="T61" fmla="*/ 295 h 331"/>
                <a:gd name="T62" fmla="*/ 284 w 398"/>
                <a:gd name="T63" fmla="*/ 278 h 331"/>
                <a:gd name="T64" fmla="*/ 299 w 398"/>
                <a:gd name="T65" fmla="*/ 296 h 331"/>
                <a:gd name="T66" fmla="*/ 306 w 398"/>
                <a:gd name="T67" fmla="*/ 312 h 331"/>
                <a:gd name="T68" fmla="*/ 304 w 398"/>
                <a:gd name="T69" fmla="*/ 326 h 331"/>
                <a:gd name="T70" fmla="*/ 296 w 398"/>
                <a:gd name="T71" fmla="*/ 322 h 331"/>
                <a:gd name="T72" fmla="*/ 284 w 398"/>
                <a:gd name="T73" fmla="*/ 329 h 331"/>
                <a:gd name="T74" fmla="*/ 284 w 398"/>
                <a:gd name="T75" fmla="*/ 322 h 331"/>
                <a:gd name="T76" fmla="*/ 278 w 398"/>
                <a:gd name="T77" fmla="*/ 318 h 331"/>
                <a:gd name="T78" fmla="*/ 278 w 398"/>
                <a:gd name="T79" fmla="*/ 312 h 331"/>
                <a:gd name="T80" fmla="*/ 276 w 398"/>
                <a:gd name="T81" fmla="*/ 306 h 331"/>
                <a:gd name="T82" fmla="*/ 268 w 398"/>
                <a:gd name="T83" fmla="*/ 312 h 331"/>
                <a:gd name="T84" fmla="*/ 272 w 398"/>
                <a:gd name="T85" fmla="*/ 329 h 331"/>
                <a:gd name="T86" fmla="*/ 246 w 398"/>
                <a:gd name="T87" fmla="*/ 331 h 331"/>
                <a:gd name="T88" fmla="*/ 225 w 398"/>
                <a:gd name="T89" fmla="*/ 323 h 331"/>
                <a:gd name="T90" fmla="*/ 213 w 398"/>
                <a:gd name="T91" fmla="*/ 306 h 331"/>
                <a:gd name="T92" fmla="*/ 198 w 398"/>
                <a:gd name="T93" fmla="*/ 291 h 331"/>
                <a:gd name="T94" fmla="*/ 175 w 398"/>
                <a:gd name="T95" fmla="*/ 272 h 331"/>
                <a:gd name="T96" fmla="*/ 152 w 398"/>
                <a:gd name="T97" fmla="*/ 285 h 331"/>
                <a:gd name="T98" fmla="*/ 116 w 398"/>
                <a:gd name="T99" fmla="*/ 288 h 331"/>
                <a:gd name="T100" fmla="*/ 112 w 398"/>
                <a:gd name="T101" fmla="*/ 245 h 331"/>
                <a:gd name="T102" fmla="*/ 90 w 398"/>
                <a:gd name="T103" fmla="*/ 235 h 331"/>
                <a:gd name="T104" fmla="*/ 72 w 398"/>
                <a:gd name="T105" fmla="*/ 242 h 331"/>
                <a:gd name="T106" fmla="*/ 56 w 398"/>
                <a:gd name="T107" fmla="*/ 232 h 331"/>
                <a:gd name="T108" fmla="*/ 39 w 398"/>
                <a:gd name="T109" fmla="*/ 199 h 331"/>
                <a:gd name="T110" fmla="*/ 57 w 398"/>
                <a:gd name="T111" fmla="*/ 164 h 331"/>
                <a:gd name="T112" fmla="*/ 16 w 398"/>
                <a:gd name="T113" fmla="*/ 159 h 331"/>
                <a:gd name="T114" fmla="*/ 0 w 398"/>
                <a:gd name="T115" fmla="*/ 139 h 331"/>
                <a:gd name="T116" fmla="*/ 10 w 398"/>
                <a:gd name="T117" fmla="*/ 119 h 331"/>
                <a:gd name="T118" fmla="*/ 20 w 398"/>
                <a:gd name="T119" fmla="*/ 91 h 331"/>
                <a:gd name="T120" fmla="*/ 23 w 398"/>
                <a:gd name="T121" fmla="*/ 74 h 331"/>
                <a:gd name="T122" fmla="*/ 50 w 398"/>
                <a:gd name="T123" fmla="*/ 61 h 331"/>
                <a:gd name="T124" fmla="*/ 62 w 398"/>
                <a:gd name="T125" fmla="*/ 33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8" h="331">
                  <a:moveTo>
                    <a:pt x="77" y="6"/>
                  </a:moveTo>
                  <a:lnTo>
                    <a:pt x="77" y="6"/>
                  </a:lnTo>
                  <a:lnTo>
                    <a:pt x="82" y="14"/>
                  </a:lnTo>
                  <a:lnTo>
                    <a:pt x="87" y="13"/>
                  </a:lnTo>
                  <a:lnTo>
                    <a:pt x="92" y="11"/>
                  </a:lnTo>
                  <a:lnTo>
                    <a:pt x="96" y="10"/>
                  </a:lnTo>
                  <a:lnTo>
                    <a:pt x="99" y="7"/>
                  </a:lnTo>
                  <a:lnTo>
                    <a:pt x="115" y="16"/>
                  </a:lnTo>
                  <a:lnTo>
                    <a:pt x="119" y="11"/>
                  </a:lnTo>
                  <a:lnTo>
                    <a:pt x="113" y="4"/>
                  </a:lnTo>
                  <a:lnTo>
                    <a:pt x="132" y="0"/>
                  </a:lnTo>
                  <a:lnTo>
                    <a:pt x="136" y="1"/>
                  </a:lnTo>
                  <a:lnTo>
                    <a:pt x="145" y="1"/>
                  </a:lnTo>
                  <a:lnTo>
                    <a:pt x="150" y="4"/>
                  </a:lnTo>
                  <a:lnTo>
                    <a:pt x="155" y="8"/>
                  </a:lnTo>
                  <a:lnTo>
                    <a:pt x="156" y="16"/>
                  </a:lnTo>
                  <a:lnTo>
                    <a:pt x="157" y="20"/>
                  </a:lnTo>
                  <a:lnTo>
                    <a:pt x="160" y="20"/>
                  </a:lnTo>
                  <a:lnTo>
                    <a:pt x="163" y="18"/>
                  </a:lnTo>
                  <a:lnTo>
                    <a:pt x="168" y="14"/>
                  </a:lnTo>
                  <a:lnTo>
                    <a:pt x="170" y="16"/>
                  </a:lnTo>
                  <a:lnTo>
                    <a:pt x="170" y="21"/>
                  </a:lnTo>
                  <a:lnTo>
                    <a:pt x="172" y="24"/>
                  </a:lnTo>
                  <a:lnTo>
                    <a:pt x="175" y="26"/>
                  </a:lnTo>
                  <a:lnTo>
                    <a:pt x="180" y="23"/>
                  </a:lnTo>
                  <a:lnTo>
                    <a:pt x="182" y="18"/>
                  </a:lnTo>
                  <a:lnTo>
                    <a:pt x="185" y="18"/>
                  </a:lnTo>
                  <a:lnTo>
                    <a:pt x="188" y="23"/>
                  </a:lnTo>
                  <a:lnTo>
                    <a:pt x="189" y="20"/>
                  </a:lnTo>
                  <a:lnTo>
                    <a:pt x="208" y="20"/>
                  </a:lnTo>
                  <a:lnTo>
                    <a:pt x="210" y="14"/>
                  </a:lnTo>
                  <a:lnTo>
                    <a:pt x="213" y="11"/>
                  </a:lnTo>
                  <a:lnTo>
                    <a:pt x="215" y="10"/>
                  </a:lnTo>
                  <a:lnTo>
                    <a:pt x="216" y="8"/>
                  </a:lnTo>
                  <a:lnTo>
                    <a:pt x="218" y="10"/>
                  </a:lnTo>
                  <a:lnTo>
                    <a:pt x="219" y="11"/>
                  </a:lnTo>
                  <a:lnTo>
                    <a:pt x="226" y="14"/>
                  </a:lnTo>
                  <a:lnTo>
                    <a:pt x="236" y="16"/>
                  </a:lnTo>
                  <a:lnTo>
                    <a:pt x="242" y="16"/>
                  </a:lnTo>
                  <a:lnTo>
                    <a:pt x="243" y="18"/>
                  </a:lnTo>
                  <a:lnTo>
                    <a:pt x="243" y="20"/>
                  </a:lnTo>
                  <a:lnTo>
                    <a:pt x="243" y="23"/>
                  </a:lnTo>
                  <a:lnTo>
                    <a:pt x="245" y="26"/>
                  </a:lnTo>
                  <a:lnTo>
                    <a:pt x="249" y="28"/>
                  </a:lnTo>
                  <a:lnTo>
                    <a:pt x="258" y="26"/>
                  </a:lnTo>
                  <a:lnTo>
                    <a:pt x="262" y="24"/>
                  </a:lnTo>
                  <a:lnTo>
                    <a:pt x="259" y="20"/>
                  </a:lnTo>
                  <a:lnTo>
                    <a:pt x="252" y="18"/>
                  </a:lnTo>
                  <a:lnTo>
                    <a:pt x="252" y="16"/>
                  </a:lnTo>
                  <a:lnTo>
                    <a:pt x="262" y="17"/>
                  </a:lnTo>
                  <a:lnTo>
                    <a:pt x="274" y="17"/>
                  </a:lnTo>
                  <a:lnTo>
                    <a:pt x="278" y="20"/>
                  </a:lnTo>
                  <a:lnTo>
                    <a:pt x="286" y="28"/>
                  </a:lnTo>
                  <a:lnTo>
                    <a:pt x="291" y="30"/>
                  </a:lnTo>
                  <a:lnTo>
                    <a:pt x="296" y="31"/>
                  </a:lnTo>
                  <a:lnTo>
                    <a:pt x="302" y="33"/>
                  </a:lnTo>
                  <a:lnTo>
                    <a:pt x="305" y="34"/>
                  </a:lnTo>
                  <a:lnTo>
                    <a:pt x="306" y="37"/>
                  </a:lnTo>
                  <a:lnTo>
                    <a:pt x="308" y="40"/>
                  </a:lnTo>
                  <a:lnTo>
                    <a:pt x="309" y="43"/>
                  </a:lnTo>
                  <a:lnTo>
                    <a:pt x="312" y="46"/>
                  </a:lnTo>
                  <a:lnTo>
                    <a:pt x="315" y="46"/>
                  </a:lnTo>
                  <a:lnTo>
                    <a:pt x="318" y="46"/>
                  </a:lnTo>
                  <a:lnTo>
                    <a:pt x="321" y="46"/>
                  </a:lnTo>
                  <a:lnTo>
                    <a:pt x="322" y="48"/>
                  </a:lnTo>
                  <a:lnTo>
                    <a:pt x="325" y="51"/>
                  </a:lnTo>
                  <a:lnTo>
                    <a:pt x="322" y="56"/>
                  </a:lnTo>
                  <a:lnTo>
                    <a:pt x="315" y="59"/>
                  </a:lnTo>
                  <a:lnTo>
                    <a:pt x="311" y="61"/>
                  </a:lnTo>
                  <a:lnTo>
                    <a:pt x="311" y="70"/>
                  </a:lnTo>
                  <a:lnTo>
                    <a:pt x="312" y="73"/>
                  </a:lnTo>
                  <a:lnTo>
                    <a:pt x="314" y="74"/>
                  </a:lnTo>
                  <a:lnTo>
                    <a:pt x="319" y="76"/>
                  </a:lnTo>
                  <a:lnTo>
                    <a:pt x="325" y="80"/>
                  </a:lnTo>
                  <a:lnTo>
                    <a:pt x="329" y="83"/>
                  </a:lnTo>
                  <a:lnTo>
                    <a:pt x="334" y="83"/>
                  </a:lnTo>
                  <a:lnTo>
                    <a:pt x="339" y="89"/>
                  </a:lnTo>
                  <a:lnTo>
                    <a:pt x="341" y="91"/>
                  </a:lnTo>
                  <a:lnTo>
                    <a:pt x="341" y="97"/>
                  </a:lnTo>
                  <a:lnTo>
                    <a:pt x="338" y="101"/>
                  </a:lnTo>
                  <a:lnTo>
                    <a:pt x="335" y="103"/>
                  </a:lnTo>
                  <a:lnTo>
                    <a:pt x="335" y="107"/>
                  </a:lnTo>
                  <a:lnTo>
                    <a:pt x="338" y="110"/>
                  </a:lnTo>
                  <a:lnTo>
                    <a:pt x="342" y="107"/>
                  </a:lnTo>
                  <a:lnTo>
                    <a:pt x="344" y="106"/>
                  </a:lnTo>
                  <a:lnTo>
                    <a:pt x="348" y="107"/>
                  </a:lnTo>
                  <a:lnTo>
                    <a:pt x="352" y="113"/>
                  </a:lnTo>
                  <a:lnTo>
                    <a:pt x="351" y="124"/>
                  </a:lnTo>
                  <a:lnTo>
                    <a:pt x="349" y="133"/>
                  </a:lnTo>
                  <a:lnTo>
                    <a:pt x="349" y="134"/>
                  </a:lnTo>
                  <a:lnTo>
                    <a:pt x="357" y="134"/>
                  </a:lnTo>
                  <a:lnTo>
                    <a:pt x="362" y="136"/>
                  </a:lnTo>
                  <a:lnTo>
                    <a:pt x="365" y="136"/>
                  </a:lnTo>
                  <a:lnTo>
                    <a:pt x="367" y="140"/>
                  </a:lnTo>
                  <a:lnTo>
                    <a:pt x="367" y="152"/>
                  </a:lnTo>
                  <a:lnTo>
                    <a:pt x="369" y="157"/>
                  </a:lnTo>
                  <a:lnTo>
                    <a:pt x="372" y="162"/>
                  </a:lnTo>
                  <a:lnTo>
                    <a:pt x="371" y="162"/>
                  </a:lnTo>
                  <a:lnTo>
                    <a:pt x="368" y="164"/>
                  </a:lnTo>
                  <a:lnTo>
                    <a:pt x="365" y="169"/>
                  </a:lnTo>
                  <a:lnTo>
                    <a:pt x="367" y="175"/>
                  </a:lnTo>
                  <a:lnTo>
                    <a:pt x="372" y="176"/>
                  </a:lnTo>
                  <a:lnTo>
                    <a:pt x="381" y="176"/>
                  </a:lnTo>
                  <a:lnTo>
                    <a:pt x="382" y="182"/>
                  </a:lnTo>
                  <a:lnTo>
                    <a:pt x="381" y="183"/>
                  </a:lnTo>
                  <a:lnTo>
                    <a:pt x="375" y="185"/>
                  </a:lnTo>
                  <a:lnTo>
                    <a:pt x="369" y="185"/>
                  </a:lnTo>
                  <a:lnTo>
                    <a:pt x="369" y="192"/>
                  </a:lnTo>
                  <a:lnTo>
                    <a:pt x="372" y="200"/>
                  </a:lnTo>
                  <a:lnTo>
                    <a:pt x="375" y="205"/>
                  </a:lnTo>
                  <a:lnTo>
                    <a:pt x="379" y="206"/>
                  </a:lnTo>
                  <a:lnTo>
                    <a:pt x="387" y="207"/>
                  </a:lnTo>
                  <a:lnTo>
                    <a:pt x="394" y="213"/>
                  </a:lnTo>
                  <a:lnTo>
                    <a:pt x="394" y="213"/>
                  </a:lnTo>
                  <a:lnTo>
                    <a:pt x="395" y="216"/>
                  </a:lnTo>
                  <a:lnTo>
                    <a:pt x="398" y="219"/>
                  </a:lnTo>
                  <a:lnTo>
                    <a:pt x="398" y="222"/>
                  </a:lnTo>
                  <a:lnTo>
                    <a:pt x="398" y="222"/>
                  </a:lnTo>
                  <a:lnTo>
                    <a:pt x="398" y="228"/>
                  </a:lnTo>
                  <a:lnTo>
                    <a:pt x="397" y="228"/>
                  </a:lnTo>
                  <a:lnTo>
                    <a:pt x="395" y="228"/>
                  </a:lnTo>
                  <a:lnTo>
                    <a:pt x="395" y="228"/>
                  </a:lnTo>
                  <a:lnTo>
                    <a:pt x="394" y="228"/>
                  </a:lnTo>
                  <a:lnTo>
                    <a:pt x="391" y="226"/>
                  </a:lnTo>
                  <a:lnTo>
                    <a:pt x="391" y="226"/>
                  </a:lnTo>
                  <a:lnTo>
                    <a:pt x="388" y="228"/>
                  </a:lnTo>
                  <a:lnTo>
                    <a:pt x="387" y="228"/>
                  </a:lnTo>
                  <a:lnTo>
                    <a:pt x="387" y="230"/>
                  </a:lnTo>
                  <a:lnTo>
                    <a:pt x="387" y="230"/>
                  </a:lnTo>
                  <a:lnTo>
                    <a:pt x="388" y="232"/>
                  </a:lnTo>
                  <a:lnTo>
                    <a:pt x="390" y="232"/>
                  </a:lnTo>
                  <a:lnTo>
                    <a:pt x="390" y="233"/>
                  </a:lnTo>
                  <a:lnTo>
                    <a:pt x="390" y="233"/>
                  </a:lnTo>
                  <a:lnTo>
                    <a:pt x="387" y="236"/>
                  </a:lnTo>
                  <a:lnTo>
                    <a:pt x="387" y="236"/>
                  </a:lnTo>
                  <a:lnTo>
                    <a:pt x="385" y="236"/>
                  </a:lnTo>
                  <a:lnTo>
                    <a:pt x="382" y="235"/>
                  </a:lnTo>
                  <a:lnTo>
                    <a:pt x="379" y="232"/>
                  </a:lnTo>
                  <a:lnTo>
                    <a:pt x="375" y="245"/>
                  </a:lnTo>
                  <a:lnTo>
                    <a:pt x="375" y="245"/>
                  </a:lnTo>
                  <a:lnTo>
                    <a:pt x="368" y="248"/>
                  </a:lnTo>
                  <a:lnTo>
                    <a:pt x="359" y="253"/>
                  </a:lnTo>
                  <a:lnTo>
                    <a:pt x="364" y="262"/>
                  </a:lnTo>
                  <a:lnTo>
                    <a:pt x="359" y="270"/>
                  </a:lnTo>
                  <a:lnTo>
                    <a:pt x="357" y="275"/>
                  </a:lnTo>
                  <a:lnTo>
                    <a:pt x="357" y="280"/>
                  </a:lnTo>
                  <a:lnTo>
                    <a:pt x="354" y="282"/>
                  </a:lnTo>
                  <a:lnTo>
                    <a:pt x="345" y="280"/>
                  </a:lnTo>
                  <a:lnTo>
                    <a:pt x="341" y="282"/>
                  </a:lnTo>
                  <a:lnTo>
                    <a:pt x="335" y="283"/>
                  </a:lnTo>
                  <a:lnTo>
                    <a:pt x="332" y="291"/>
                  </a:lnTo>
                  <a:lnTo>
                    <a:pt x="331" y="295"/>
                  </a:lnTo>
                  <a:lnTo>
                    <a:pt x="326" y="296"/>
                  </a:lnTo>
                  <a:lnTo>
                    <a:pt x="321" y="296"/>
                  </a:lnTo>
                  <a:lnTo>
                    <a:pt x="314" y="295"/>
                  </a:lnTo>
                  <a:lnTo>
                    <a:pt x="308" y="295"/>
                  </a:lnTo>
                  <a:lnTo>
                    <a:pt x="301" y="293"/>
                  </a:lnTo>
                  <a:lnTo>
                    <a:pt x="296" y="289"/>
                  </a:lnTo>
                  <a:lnTo>
                    <a:pt x="286" y="280"/>
                  </a:lnTo>
                  <a:lnTo>
                    <a:pt x="284" y="278"/>
                  </a:lnTo>
                  <a:lnTo>
                    <a:pt x="281" y="285"/>
                  </a:lnTo>
                  <a:lnTo>
                    <a:pt x="279" y="289"/>
                  </a:lnTo>
                  <a:lnTo>
                    <a:pt x="282" y="292"/>
                  </a:lnTo>
                  <a:lnTo>
                    <a:pt x="291" y="296"/>
                  </a:lnTo>
                  <a:lnTo>
                    <a:pt x="299" y="296"/>
                  </a:lnTo>
                  <a:lnTo>
                    <a:pt x="299" y="296"/>
                  </a:lnTo>
                  <a:lnTo>
                    <a:pt x="302" y="298"/>
                  </a:lnTo>
                  <a:lnTo>
                    <a:pt x="304" y="301"/>
                  </a:lnTo>
                  <a:lnTo>
                    <a:pt x="304" y="301"/>
                  </a:lnTo>
                  <a:lnTo>
                    <a:pt x="306" y="312"/>
                  </a:lnTo>
                  <a:lnTo>
                    <a:pt x="306" y="319"/>
                  </a:lnTo>
                  <a:lnTo>
                    <a:pt x="306" y="323"/>
                  </a:lnTo>
                  <a:lnTo>
                    <a:pt x="306" y="323"/>
                  </a:lnTo>
                  <a:lnTo>
                    <a:pt x="306" y="325"/>
                  </a:lnTo>
                  <a:lnTo>
                    <a:pt x="304" y="326"/>
                  </a:lnTo>
                  <a:lnTo>
                    <a:pt x="302" y="325"/>
                  </a:lnTo>
                  <a:lnTo>
                    <a:pt x="301" y="323"/>
                  </a:lnTo>
                  <a:lnTo>
                    <a:pt x="301" y="323"/>
                  </a:lnTo>
                  <a:lnTo>
                    <a:pt x="299" y="322"/>
                  </a:lnTo>
                  <a:lnTo>
                    <a:pt x="296" y="322"/>
                  </a:lnTo>
                  <a:lnTo>
                    <a:pt x="292" y="323"/>
                  </a:lnTo>
                  <a:lnTo>
                    <a:pt x="292" y="323"/>
                  </a:lnTo>
                  <a:lnTo>
                    <a:pt x="289" y="326"/>
                  </a:lnTo>
                  <a:lnTo>
                    <a:pt x="286" y="328"/>
                  </a:lnTo>
                  <a:lnTo>
                    <a:pt x="284" y="329"/>
                  </a:lnTo>
                  <a:lnTo>
                    <a:pt x="284" y="329"/>
                  </a:lnTo>
                  <a:lnTo>
                    <a:pt x="282" y="328"/>
                  </a:lnTo>
                  <a:lnTo>
                    <a:pt x="282" y="326"/>
                  </a:lnTo>
                  <a:lnTo>
                    <a:pt x="284" y="322"/>
                  </a:lnTo>
                  <a:lnTo>
                    <a:pt x="284" y="322"/>
                  </a:lnTo>
                  <a:lnTo>
                    <a:pt x="284" y="319"/>
                  </a:lnTo>
                  <a:lnTo>
                    <a:pt x="282" y="318"/>
                  </a:lnTo>
                  <a:lnTo>
                    <a:pt x="281" y="318"/>
                  </a:lnTo>
                  <a:lnTo>
                    <a:pt x="281" y="318"/>
                  </a:lnTo>
                  <a:lnTo>
                    <a:pt x="278" y="318"/>
                  </a:lnTo>
                  <a:lnTo>
                    <a:pt x="276" y="318"/>
                  </a:lnTo>
                  <a:lnTo>
                    <a:pt x="275" y="316"/>
                  </a:lnTo>
                  <a:lnTo>
                    <a:pt x="275" y="315"/>
                  </a:lnTo>
                  <a:lnTo>
                    <a:pt x="275" y="315"/>
                  </a:lnTo>
                  <a:lnTo>
                    <a:pt x="278" y="312"/>
                  </a:lnTo>
                  <a:lnTo>
                    <a:pt x="279" y="309"/>
                  </a:lnTo>
                  <a:lnTo>
                    <a:pt x="279" y="308"/>
                  </a:lnTo>
                  <a:lnTo>
                    <a:pt x="279" y="308"/>
                  </a:lnTo>
                  <a:lnTo>
                    <a:pt x="279" y="306"/>
                  </a:lnTo>
                  <a:lnTo>
                    <a:pt x="276" y="306"/>
                  </a:lnTo>
                  <a:lnTo>
                    <a:pt x="274" y="308"/>
                  </a:lnTo>
                  <a:lnTo>
                    <a:pt x="274" y="308"/>
                  </a:lnTo>
                  <a:lnTo>
                    <a:pt x="272" y="309"/>
                  </a:lnTo>
                  <a:lnTo>
                    <a:pt x="268" y="312"/>
                  </a:lnTo>
                  <a:lnTo>
                    <a:pt x="268" y="312"/>
                  </a:lnTo>
                  <a:lnTo>
                    <a:pt x="268" y="313"/>
                  </a:lnTo>
                  <a:lnTo>
                    <a:pt x="268" y="315"/>
                  </a:lnTo>
                  <a:lnTo>
                    <a:pt x="268" y="318"/>
                  </a:lnTo>
                  <a:lnTo>
                    <a:pt x="272" y="326"/>
                  </a:lnTo>
                  <a:lnTo>
                    <a:pt x="272" y="329"/>
                  </a:lnTo>
                  <a:lnTo>
                    <a:pt x="268" y="329"/>
                  </a:lnTo>
                  <a:lnTo>
                    <a:pt x="259" y="328"/>
                  </a:lnTo>
                  <a:lnTo>
                    <a:pt x="256" y="329"/>
                  </a:lnTo>
                  <a:lnTo>
                    <a:pt x="252" y="328"/>
                  </a:lnTo>
                  <a:lnTo>
                    <a:pt x="246" y="331"/>
                  </a:lnTo>
                  <a:lnTo>
                    <a:pt x="239" y="331"/>
                  </a:lnTo>
                  <a:lnTo>
                    <a:pt x="238" y="331"/>
                  </a:lnTo>
                  <a:lnTo>
                    <a:pt x="231" y="326"/>
                  </a:lnTo>
                  <a:lnTo>
                    <a:pt x="228" y="326"/>
                  </a:lnTo>
                  <a:lnTo>
                    <a:pt x="225" y="323"/>
                  </a:lnTo>
                  <a:lnTo>
                    <a:pt x="222" y="326"/>
                  </a:lnTo>
                  <a:lnTo>
                    <a:pt x="218" y="326"/>
                  </a:lnTo>
                  <a:lnTo>
                    <a:pt x="219" y="318"/>
                  </a:lnTo>
                  <a:lnTo>
                    <a:pt x="218" y="312"/>
                  </a:lnTo>
                  <a:lnTo>
                    <a:pt x="213" y="306"/>
                  </a:lnTo>
                  <a:lnTo>
                    <a:pt x="206" y="299"/>
                  </a:lnTo>
                  <a:lnTo>
                    <a:pt x="203" y="296"/>
                  </a:lnTo>
                  <a:lnTo>
                    <a:pt x="202" y="292"/>
                  </a:lnTo>
                  <a:lnTo>
                    <a:pt x="199" y="291"/>
                  </a:lnTo>
                  <a:lnTo>
                    <a:pt x="198" y="291"/>
                  </a:lnTo>
                  <a:lnTo>
                    <a:pt x="193" y="292"/>
                  </a:lnTo>
                  <a:lnTo>
                    <a:pt x="190" y="286"/>
                  </a:lnTo>
                  <a:lnTo>
                    <a:pt x="186" y="280"/>
                  </a:lnTo>
                  <a:lnTo>
                    <a:pt x="179" y="279"/>
                  </a:lnTo>
                  <a:lnTo>
                    <a:pt x="175" y="272"/>
                  </a:lnTo>
                  <a:lnTo>
                    <a:pt x="173" y="272"/>
                  </a:lnTo>
                  <a:lnTo>
                    <a:pt x="166" y="276"/>
                  </a:lnTo>
                  <a:lnTo>
                    <a:pt x="163" y="278"/>
                  </a:lnTo>
                  <a:lnTo>
                    <a:pt x="157" y="280"/>
                  </a:lnTo>
                  <a:lnTo>
                    <a:pt x="152" y="285"/>
                  </a:lnTo>
                  <a:lnTo>
                    <a:pt x="140" y="289"/>
                  </a:lnTo>
                  <a:lnTo>
                    <a:pt x="133" y="285"/>
                  </a:lnTo>
                  <a:lnTo>
                    <a:pt x="129" y="285"/>
                  </a:lnTo>
                  <a:lnTo>
                    <a:pt x="122" y="289"/>
                  </a:lnTo>
                  <a:lnTo>
                    <a:pt x="116" y="288"/>
                  </a:lnTo>
                  <a:lnTo>
                    <a:pt x="113" y="283"/>
                  </a:lnTo>
                  <a:lnTo>
                    <a:pt x="113" y="278"/>
                  </a:lnTo>
                  <a:lnTo>
                    <a:pt x="117" y="270"/>
                  </a:lnTo>
                  <a:lnTo>
                    <a:pt x="112" y="253"/>
                  </a:lnTo>
                  <a:lnTo>
                    <a:pt x="112" y="245"/>
                  </a:lnTo>
                  <a:lnTo>
                    <a:pt x="110" y="239"/>
                  </a:lnTo>
                  <a:lnTo>
                    <a:pt x="94" y="243"/>
                  </a:lnTo>
                  <a:lnTo>
                    <a:pt x="87" y="243"/>
                  </a:lnTo>
                  <a:lnTo>
                    <a:pt x="83" y="242"/>
                  </a:lnTo>
                  <a:lnTo>
                    <a:pt x="90" y="235"/>
                  </a:lnTo>
                  <a:lnTo>
                    <a:pt x="90" y="230"/>
                  </a:lnTo>
                  <a:lnTo>
                    <a:pt x="84" y="229"/>
                  </a:lnTo>
                  <a:lnTo>
                    <a:pt x="79" y="235"/>
                  </a:lnTo>
                  <a:lnTo>
                    <a:pt x="73" y="240"/>
                  </a:lnTo>
                  <a:lnTo>
                    <a:pt x="72" y="242"/>
                  </a:lnTo>
                  <a:lnTo>
                    <a:pt x="62" y="238"/>
                  </a:lnTo>
                  <a:lnTo>
                    <a:pt x="60" y="236"/>
                  </a:lnTo>
                  <a:lnTo>
                    <a:pt x="60" y="230"/>
                  </a:lnTo>
                  <a:lnTo>
                    <a:pt x="59" y="230"/>
                  </a:lnTo>
                  <a:lnTo>
                    <a:pt x="56" y="232"/>
                  </a:lnTo>
                  <a:lnTo>
                    <a:pt x="46" y="226"/>
                  </a:lnTo>
                  <a:lnTo>
                    <a:pt x="44" y="220"/>
                  </a:lnTo>
                  <a:lnTo>
                    <a:pt x="41" y="207"/>
                  </a:lnTo>
                  <a:lnTo>
                    <a:pt x="37" y="202"/>
                  </a:lnTo>
                  <a:lnTo>
                    <a:pt x="39" y="199"/>
                  </a:lnTo>
                  <a:lnTo>
                    <a:pt x="46" y="193"/>
                  </a:lnTo>
                  <a:lnTo>
                    <a:pt x="52" y="190"/>
                  </a:lnTo>
                  <a:lnTo>
                    <a:pt x="54" y="189"/>
                  </a:lnTo>
                  <a:lnTo>
                    <a:pt x="56" y="185"/>
                  </a:lnTo>
                  <a:lnTo>
                    <a:pt x="57" y="164"/>
                  </a:lnTo>
                  <a:lnTo>
                    <a:pt x="47" y="162"/>
                  </a:lnTo>
                  <a:lnTo>
                    <a:pt x="30" y="156"/>
                  </a:lnTo>
                  <a:lnTo>
                    <a:pt x="24" y="160"/>
                  </a:lnTo>
                  <a:lnTo>
                    <a:pt x="21" y="163"/>
                  </a:lnTo>
                  <a:lnTo>
                    <a:pt x="16" y="159"/>
                  </a:lnTo>
                  <a:lnTo>
                    <a:pt x="13" y="156"/>
                  </a:lnTo>
                  <a:lnTo>
                    <a:pt x="9" y="154"/>
                  </a:lnTo>
                  <a:lnTo>
                    <a:pt x="6" y="150"/>
                  </a:lnTo>
                  <a:lnTo>
                    <a:pt x="3" y="144"/>
                  </a:lnTo>
                  <a:lnTo>
                    <a:pt x="0" y="139"/>
                  </a:lnTo>
                  <a:lnTo>
                    <a:pt x="3" y="136"/>
                  </a:lnTo>
                  <a:lnTo>
                    <a:pt x="4" y="132"/>
                  </a:lnTo>
                  <a:lnTo>
                    <a:pt x="6" y="129"/>
                  </a:lnTo>
                  <a:lnTo>
                    <a:pt x="7" y="123"/>
                  </a:lnTo>
                  <a:lnTo>
                    <a:pt x="10" y="119"/>
                  </a:lnTo>
                  <a:lnTo>
                    <a:pt x="9" y="109"/>
                  </a:lnTo>
                  <a:lnTo>
                    <a:pt x="7" y="101"/>
                  </a:lnTo>
                  <a:lnTo>
                    <a:pt x="13" y="100"/>
                  </a:lnTo>
                  <a:lnTo>
                    <a:pt x="13" y="94"/>
                  </a:lnTo>
                  <a:lnTo>
                    <a:pt x="20" y="91"/>
                  </a:lnTo>
                  <a:lnTo>
                    <a:pt x="23" y="90"/>
                  </a:lnTo>
                  <a:lnTo>
                    <a:pt x="29" y="86"/>
                  </a:lnTo>
                  <a:lnTo>
                    <a:pt x="24" y="81"/>
                  </a:lnTo>
                  <a:lnTo>
                    <a:pt x="21" y="79"/>
                  </a:lnTo>
                  <a:lnTo>
                    <a:pt x="23" y="74"/>
                  </a:lnTo>
                  <a:lnTo>
                    <a:pt x="37" y="67"/>
                  </a:lnTo>
                  <a:lnTo>
                    <a:pt x="37" y="64"/>
                  </a:lnTo>
                  <a:lnTo>
                    <a:pt x="40" y="64"/>
                  </a:lnTo>
                  <a:lnTo>
                    <a:pt x="49" y="67"/>
                  </a:lnTo>
                  <a:lnTo>
                    <a:pt x="50" y="61"/>
                  </a:lnTo>
                  <a:lnTo>
                    <a:pt x="46" y="56"/>
                  </a:lnTo>
                  <a:lnTo>
                    <a:pt x="47" y="50"/>
                  </a:lnTo>
                  <a:lnTo>
                    <a:pt x="53" y="47"/>
                  </a:lnTo>
                  <a:lnTo>
                    <a:pt x="60" y="38"/>
                  </a:lnTo>
                  <a:lnTo>
                    <a:pt x="62" y="33"/>
                  </a:lnTo>
                  <a:lnTo>
                    <a:pt x="66" y="21"/>
                  </a:lnTo>
                  <a:lnTo>
                    <a:pt x="72" y="11"/>
                  </a:lnTo>
                  <a:lnTo>
                    <a:pt x="77" y="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70" name="Freeform 18"/>
            <p:cNvSpPr>
              <a:spLocks/>
            </p:cNvSpPr>
            <p:nvPr/>
          </p:nvSpPr>
          <p:spPr bwMode="auto">
            <a:xfrm>
              <a:off x="2405685" y="3675829"/>
              <a:ext cx="206373" cy="232831"/>
            </a:xfrm>
            <a:custGeom>
              <a:avLst/>
              <a:gdLst>
                <a:gd name="T0" fmla="*/ 130 w 338"/>
                <a:gd name="T1" fmla="*/ 351 h 353"/>
                <a:gd name="T2" fmla="*/ 150 w 338"/>
                <a:gd name="T3" fmla="*/ 338 h 353"/>
                <a:gd name="T4" fmla="*/ 169 w 338"/>
                <a:gd name="T5" fmla="*/ 338 h 353"/>
                <a:gd name="T6" fmla="*/ 182 w 338"/>
                <a:gd name="T7" fmla="*/ 321 h 353"/>
                <a:gd name="T8" fmla="*/ 201 w 338"/>
                <a:gd name="T9" fmla="*/ 321 h 353"/>
                <a:gd name="T10" fmla="*/ 218 w 338"/>
                <a:gd name="T11" fmla="*/ 313 h 353"/>
                <a:gd name="T12" fmla="*/ 236 w 338"/>
                <a:gd name="T13" fmla="*/ 308 h 353"/>
                <a:gd name="T14" fmla="*/ 265 w 338"/>
                <a:gd name="T15" fmla="*/ 307 h 353"/>
                <a:gd name="T16" fmla="*/ 279 w 338"/>
                <a:gd name="T17" fmla="*/ 291 h 353"/>
                <a:gd name="T18" fmla="*/ 289 w 338"/>
                <a:gd name="T19" fmla="*/ 245 h 353"/>
                <a:gd name="T20" fmla="*/ 288 w 338"/>
                <a:gd name="T21" fmla="*/ 211 h 353"/>
                <a:gd name="T22" fmla="*/ 289 w 338"/>
                <a:gd name="T23" fmla="*/ 195 h 353"/>
                <a:gd name="T24" fmla="*/ 304 w 338"/>
                <a:gd name="T25" fmla="*/ 172 h 353"/>
                <a:gd name="T26" fmla="*/ 301 w 338"/>
                <a:gd name="T27" fmla="*/ 156 h 353"/>
                <a:gd name="T28" fmla="*/ 315 w 338"/>
                <a:gd name="T29" fmla="*/ 159 h 353"/>
                <a:gd name="T30" fmla="*/ 315 w 338"/>
                <a:gd name="T31" fmla="*/ 136 h 353"/>
                <a:gd name="T32" fmla="*/ 311 w 338"/>
                <a:gd name="T33" fmla="*/ 129 h 353"/>
                <a:gd name="T34" fmla="*/ 337 w 338"/>
                <a:gd name="T35" fmla="*/ 106 h 353"/>
                <a:gd name="T36" fmla="*/ 325 w 338"/>
                <a:gd name="T37" fmla="*/ 79 h 353"/>
                <a:gd name="T38" fmla="*/ 317 w 338"/>
                <a:gd name="T39" fmla="*/ 71 h 353"/>
                <a:gd name="T40" fmla="*/ 298 w 338"/>
                <a:gd name="T41" fmla="*/ 59 h 353"/>
                <a:gd name="T42" fmla="*/ 282 w 338"/>
                <a:gd name="T43" fmla="*/ 58 h 353"/>
                <a:gd name="T44" fmla="*/ 252 w 338"/>
                <a:gd name="T45" fmla="*/ 65 h 353"/>
                <a:gd name="T46" fmla="*/ 232 w 338"/>
                <a:gd name="T47" fmla="*/ 63 h 353"/>
                <a:gd name="T48" fmla="*/ 231 w 338"/>
                <a:gd name="T49" fmla="*/ 25 h 353"/>
                <a:gd name="T50" fmla="*/ 202 w 338"/>
                <a:gd name="T51" fmla="*/ 22 h 353"/>
                <a:gd name="T52" fmla="*/ 198 w 338"/>
                <a:gd name="T53" fmla="*/ 15 h 353"/>
                <a:gd name="T54" fmla="*/ 179 w 338"/>
                <a:gd name="T55" fmla="*/ 16 h 353"/>
                <a:gd name="T56" fmla="*/ 165 w 338"/>
                <a:gd name="T57" fmla="*/ 6 h 353"/>
                <a:gd name="T58" fmla="*/ 148 w 338"/>
                <a:gd name="T59" fmla="*/ 10 h 353"/>
                <a:gd name="T60" fmla="*/ 132 w 338"/>
                <a:gd name="T61" fmla="*/ 23 h 353"/>
                <a:gd name="T62" fmla="*/ 119 w 338"/>
                <a:gd name="T63" fmla="*/ 32 h 353"/>
                <a:gd name="T64" fmla="*/ 100 w 338"/>
                <a:gd name="T65" fmla="*/ 46 h 353"/>
                <a:gd name="T66" fmla="*/ 93 w 338"/>
                <a:gd name="T67" fmla="*/ 53 h 353"/>
                <a:gd name="T68" fmla="*/ 76 w 338"/>
                <a:gd name="T69" fmla="*/ 40 h 353"/>
                <a:gd name="T70" fmla="*/ 65 w 338"/>
                <a:gd name="T71" fmla="*/ 52 h 353"/>
                <a:gd name="T72" fmla="*/ 63 w 338"/>
                <a:gd name="T73" fmla="*/ 79 h 353"/>
                <a:gd name="T74" fmla="*/ 53 w 338"/>
                <a:gd name="T75" fmla="*/ 116 h 353"/>
                <a:gd name="T76" fmla="*/ 60 w 338"/>
                <a:gd name="T77" fmla="*/ 136 h 353"/>
                <a:gd name="T78" fmla="*/ 60 w 338"/>
                <a:gd name="T79" fmla="*/ 145 h 353"/>
                <a:gd name="T80" fmla="*/ 59 w 338"/>
                <a:gd name="T81" fmla="*/ 158 h 353"/>
                <a:gd name="T82" fmla="*/ 26 w 338"/>
                <a:gd name="T83" fmla="*/ 162 h 353"/>
                <a:gd name="T84" fmla="*/ 16 w 338"/>
                <a:gd name="T85" fmla="*/ 181 h 353"/>
                <a:gd name="T86" fmla="*/ 19 w 338"/>
                <a:gd name="T87" fmla="*/ 204 h 353"/>
                <a:gd name="T88" fmla="*/ 4 w 338"/>
                <a:gd name="T89" fmla="*/ 219 h 353"/>
                <a:gd name="T90" fmla="*/ 7 w 338"/>
                <a:gd name="T91" fmla="*/ 229 h 353"/>
                <a:gd name="T92" fmla="*/ 26 w 338"/>
                <a:gd name="T93" fmla="*/ 248 h 353"/>
                <a:gd name="T94" fmla="*/ 43 w 338"/>
                <a:gd name="T95" fmla="*/ 260 h 353"/>
                <a:gd name="T96" fmla="*/ 59 w 338"/>
                <a:gd name="T97" fmla="*/ 295 h 353"/>
                <a:gd name="T98" fmla="*/ 66 w 338"/>
                <a:gd name="T99" fmla="*/ 318 h 353"/>
                <a:gd name="T100" fmla="*/ 73 w 338"/>
                <a:gd name="T101" fmla="*/ 327 h 353"/>
                <a:gd name="T102" fmla="*/ 89 w 338"/>
                <a:gd name="T103" fmla="*/ 327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38" h="353">
                  <a:moveTo>
                    <a:pt x="89" y="338"/>
                  </a:moveTo>
                  <a:lnTo>
                    <a:pt x="102" y="347"/>
                  </a:lnTo>
                  <a:lnTo>
                    <a:pt x="118" y="353"/>
                  </a:lnTo>
                  <a:lnTo>
                    <a:pt x="130" y="351"/>
                  </a:lnTo>
                  <a:lnTo>
                    <a:pt x="135" y="348"/>
                  </a:lnTo>
                  <a:lnTo>
                    <a:pt x="140" y="344"/>
                  </a:lnTo>
                  <a:lnTo>
                    <a:pt x="146" y="340"/>
                  </a:lnTo>
                  <a:lnTo>
                    <a:pt x="150" y="338"/>
                  </a:lnTo>
                  <a:lnTo>
                    <a:pt x="158" y="337"/>
                  </a:lnTo>
                  <a:lnTo>
                    <a:pt x="163" y="338"/>
                  </a:lnTo>
                  <a:lnTo>
                    <a:pt x="168" y="340"/>
                  </a:lnTo>
                  <a:lnTo>
                    <a:pt x="169" y="338"/>
                  </a:lnTo>
                  <a:lnTo>
                    <a:pt x="171" y="333"/>
                  </a:lnTo>
                  <a:lnTo>
                    <a:pt x="173" y="325"/>
                  </a:lnTo>
                  <a:lnTo>
                    <a:pt x="175" y="323"/>
                  </a:lnTo>
                  <a:lnTo>
                    <a:pt x="182" y="321"/>
                  </a:lnTo>
                  <a:lnTo>
                    <a:pt x="185" y="323"/>
                  </a:lnTo>
                  <a:lnTo>
                    <a:pt x="191" y="324"/>
                  </a:lnTo>
                  <a:lnTo>
                    <a:pt x="196" y="324"/>
                  </a:lnTo>
                  <a:lnTo>
                    <a:pt x="201" y="321"/>
                  </a:lnTo>
                  <a:lnTo>
                    <a:pt x="203" y="321"/>
                  </a:lnTo>
                  <a:lnTo>
                    <a:pt x="209" y="320"/>
                  </a:lnTo>
                  <a:lnTo>
                    <a:pt x="213" y="315"/>
                  </a:lnTo>
                  <a:lnTo>
                    <a:pt x="218" y="313"/>
                  </a:lnTo>
                  <a:lnTo>
                    <a:pt x="222" y="317"/>
                  </a:lnTo>
                  <a:lnTo>
                    <a:pt x="229" y="317"/>
                  </a:lnTo>
                  <a:lnTo>
                    <a:pt x="234" y="314"/>
                  </a:lnTo>
                  <a:lnTo>
                    <a:pt x="236" y="308"/>
                  </a:lnTo>
                  <a:lnTo>
                    <a:pt x="242" y="308"/>
                  </a:lnTo>
                  <a:lnTo>
                    <a:pt x="251" y="304"/>
                  </a:lnTo>
                  <a:lnTo>
                    <a:pt x="258" y="304"/>
                  </a:lnTo>
                  <a:lnTo>
                    <a:pt x="265" y="307"/>
                  </a:lnTo>
                  <a:lnTo>
                    <a:pt x="271" y="307"/>
                  </a:lnTo>
                  <a:lnTo>
                    <a:pt x="275" y="308"/>
                  </a:lnTo>
                  <a:lnTo>
                    <a:pt x="278" y="304"/>
                  </a:lnTo>
                  <a:lnTo>
                    <a:pt x="279" y="291"/>
                  </a:lnTo>
                  <a:lnTo>
                    <a:pt x="281" y="287"/>
                  </a:lnTo>
                  <a:lnTo>
                    <a:pt x="284" y="281"/>
                  </a:lnTo>
                  <a:lnTo>
                    <a:pt x="288" y="258"/>
                  </a:lnTo>
                  <a:lnTo>
                    <a:pt x="289" y="245"/>
                  </a:lnTo>
                  <a:lnTo>
                    <a:pt x="289" y="240"/>
                  </a:lnTo>
                  <a:lnTo>
                    <a:pt x="288" y="231"/>
                  </a:lnTo>
                  <a:lnTo>
                    <a:pt x="291" y="214"/>
                  </a:lnTo>
                  <a:lnTo>
                    <a:pt x="288" y="211"/>
                  </a:lnTo>
                  <a:lnTo>
                    <a:pt x="287" y="211"/>
                  </a:lnTo>
                  <a:lnTo>
                    <a:pt x="285" y="207"/>
                  </a:lnTo>
                  <a:lnTo>
                    <a:pt x="285" y="199"/>
                  </a:lnTo>
                  <a:lnTo>
                    <a:pt x="289" y="195"/>
                  </a:lnTo>
                  <a:lnTo>
                    <a:pt x="297" y="194"/>
                  </a:lnTo>
                  <a:lnTo>
                    <a:pt x="302" y="184"/>
                  </a:lnTo>
                  <a:lnTo>
                    <a:pt x="305" y="178"/>
                  </a:lnTo>
                  <a:lnTo>
                    <a:pt x="304" y="172"/>
                  </a:lnTo>
                  <a:lnTo>
                    <a:pt x="298" y="166"/>
                  </a:lnTo>
                  <a:lnTo>
                    <a:pt x="297" y="161"/>
                  </a:lnTo>
                  <a:lnTo>
                    <a:pt x="298" y="158"/>
                  </a:lnTo>
                  <a:lnTo>
                    <a:pt x="301" y="156"/>
                  </a:lnTo>
                  <a:lnTo>
                    <a:pt x="305" y="158"/>
                  </a:lnTo>
                  <a:lnTo>
                    <a:pt x="308" y="159"/>
                  </a:lnTo>
                  <a:lnTo>
                    <a:pt x="311" y="162"/>
                  </a:lnTo>
                  <a:lnTo>
                    <a:pt x="315" y="159"/>
                  </a:lnTo>
                  <a:lnTo>
                    <a:pt x="314" y="151"/>
                  </a:lnTo>
                  <a:lnTo>
                    <a:pt x="309" y="142"/>
                  </a:lnTo>
                  <a:lnTo>
                    <a:pt x="314" y="139"/>
                  </a:lnTo>
                  <a:lnTo>
                    <a:pt x="315" y="136"/>
                  </a:lnTo>
                  <a:lnTo>
                    <a:pt x="317" y="132"/>
                  </a:lnTo>
                  <a:lnTo>
                    <a:pt x="317" y="131"/>
                  </a:lnTo>
                  <a:lnTo>
                    <a:pt x="315" y="129"/>
                  </a:lnTo>
                  <a:lnTo>
                    <a:pt x="311" y="129"/>
                  </a:lnTo>
                  <a:lnTo>
                    <a:pt x="314" y="125"/>
                  </a:lnTo>
                  <a:lnTo>
                    <a:pt x="325" y="116"/>
                  </a:lnTo>
                  <a:lnTo>
                    <a:pt x="328" y="115"/>
                  </a:lnTo>
                  <a:lnTo>
                    <a:pt x="337" y="106"/>
                  </a:lnTo>
                  <a:lnTo>
                    <a:pt x="338" y="98"/>
                  </a:lnTo>
                  <a:lnTo>
                    <a:pt x="337" y="92"/>
                  </a:lnTo>
                  <a:lnTo>
                    <a:pt x="332" y="86"/>
                  </a:lnTo>
                  <a:lnTo>
                    <a:pt x="325" y="79"/>
                  </a:lnTo>
                  <a:lnTo>
                    <a:pt x="322" y="76"/>
                  </a:lnTo>
                  <a:lnTo>
                    <a:pt x="321" y="72"/>
                  </a:lnTo>
                  <a:lnTo>
                    <a:pt x="318" y="71"/>
                  </a:lnTo>
                  <a:lnTo>
                    <a:pt x="317" y="71"/>
                  </a:lnTo>
                  <a:lnTo>
                    <a:pt x="312" y="72"/>
                  </a:lnTo>
                  <a:lnTo>
                    <a:pt x="309" y="66"/>
                  </a:lnTo>
                  <a:lnTo>
                    <a:pt x="305" y="60"/>
                  </a:lnTo>
                  <a:lnTo>
                    <a:pt x="298" y="59"/>
                  </a:lnTo>
                  <a:lnTo>
                    <a:pt x="294" y="52"/>
                  </a:lnTo>
                  <a:lnTo>
                    <a:pt x="292" y="52"/>
                  </a:lnTo>
                  <a:lnTo>
                    <a:pt x="285" y="56"/>
                  </a:lnTo>
                  <a:lnTo>
                    <a:pt x="282" y="58"/>
                  </a:lnTo>
                  <a:lnTo>
                    <a:pt x="276" y="60"/>
                  </a:lnTo>
                  <a:lnTo>
                    <a:pt x="271" y="65"/>
                  </a:lnTo>
                  <a:lnTo>
                    <a:pt x="259" y="69"/>
                  </a:lnTo>
                  <a:lnTo>
                    <a:pt x="252" y="65"/>
                  </a:lnTo>
                  <a:lnTo>
                    <a:pt x="248" y="65"/>
                  </a:lnTo>
                  <a:lnTo>
                    <a:pt x="241" y="69"/>
                  </a:lnTo>
                  <a:lnTo>
                    <a:pt x="235" y="68"/>
                  </a:lnTo>
                  <a:lnTo>
                    <a:pt x="232" y="63"/>
                  </a:lnTo>
                  <a:lnTo>
                    <a:pt x="232" y="58"/>
                  </a:lnTo>
                  <a:lnTo>
                    <a:pt x="236" y="50"/>
                  </a:lnTo>
                  <a:lnTo>
                    <a:pt x="231" y="33"/>
                  </a:lnTo>
                  <a:lnTo>
                    <a:pt x="231" y="25"/>
                  </a:lnTo>
                  <a:lnTo>
                    <a:pt x="229" y="19"/>
                  </a:lnTo>
                  <a:lnTo>
                    <a:pt x="213" y="23"/>
                  </a:lnTo>
                  <a:lnTo>
                    <a:pt x="206" y="23"/>
                  </a:lnTo>
                  <a:lnTo>
                    <a:pt x="202" y="22"/>
                  </a:lnTo>
                  <a:lnTo>
                    <a:pt x="209" y="15"/>
                  </a:lnTo>
                  <a:lnTo>
                    <a:pt x="209" y="10"/>
                  </a:lnTo>
                  <a:lnTo>
                    <a:pt x="203" y="9"/>
                  </a:lnTo>
                  <a:lnTo>
                    <a:pt x="198" y="15"/>
                  </a:lnTo>
                  <a:lnTo>
                    <a:pt x="192" y="20"/>
                  </a:lnTo>
                  <a:lnTo>
                    <a:pt x="191" y="22"/>
                  </a:lnTo>
                  <a:lnTo>
                    <a:pt x="181" y="18"/>
                  </a:lnTo>
                  <a:lnTo>
                    <a:pt x="179" y="16"/>
                  </a:lnTo>
                  <a:lnTo>
                    <a:pt x="179" y="10"/>
                  </a:lnTo>
                  <a:lnTo>
                    <a:pt x="178" y="10"/>
                  </a:lnTo>
                  <a:lnTo>
                    <a:pt x="175" y="12"/>
                  </a:lnTo>
                  <a:lnTo>
                    <a:pt x="165" y="6"/>
                  </a:lnTo>
                  <a:lnTo>
                    <a:pt x="163" y="0"/>
                  </a:lnTo>
                  <a:lnTo>
                    <a:pt x="158" y="3"/>
                  </a:lnTo>
                  <a:lnTo>
                    <a:pt x="153" y="6"/>
                  </a:lnTo>
                  <a:lnTo>
                    <a:pt x="148" y="10"/>
                  </a:lnTo>
                  <a:lnTo>
                    <a:pt x="143" y="13"/>
                  </a:lnTo>
                  <a:lnTo>
                    <a:pt x="139" y="16"/>
                  </a:lnTo>
                  <a:lnTo>
                    <a:pt x="135" y="19"/>
                  </a:lnTo>
                  <a:lnTo>
                    <a:pt x="132" y="23"/>
                  </a:lnTo>
                  <a:lnTo>
                    <a:pt x="128" y="28"/>
                  </a:lnTo>
                  <a:lnTo>
                    <a:pt x="125" y="28"/>
                  </a:lnTo>
                  <a:lnTo>
                    <a:pt x="122" y="29"/>
                  </a:lnTo>
                  <a:lnTo>
                    <a:pt x="119" y="32"/>
                  </a:lnTo>
                  <a:lnTo>
                    <a:pt x="116" y="35"/>
                  </a:lnTo>
                  <a:lnTo>
                    <a:pt x="107" y="35"/>
                  </a:lnTo>
                  <a:lnTo>
                    <a:pt x="103" y="38"/>
                  </a:lnTo>
                  <a:lnTo>
                    <a:pt x="100" y="46"/>
                  </a:lnTo>
                  <a:lnTo>
                    <a:pt x="97" y="50"/>
                  </a:lnTo>
                  <a:lnTo>
                    <a:pt x="96" y="53"/>
                  </a:lnTo>
                  <a:lnTo>
                    <a:pt x="93" y="55"/>
                  </a:lnTo>
                  <a:lnTo>
                    <a:pt x="93" y="53"/>
                  </a:lnTo>
                  <a:lnTo>
                    <a:pt x="89" y="46"/>
                  </a:lnTo>
                  <a:lnTo>
                    <a:pt x="86" y="42"/>
                  </a:lnTo>
                  <a:lnTo>
                    <a:pt x="80" y="39"/>
                  </a:lnTo>
                  <a:lnTo>
                    <a:pt x="76" y="40"/>
                  </a:lnTo>
                  <a:lnTo>
                    <a:pt x="72" y="43"/>
                  </a:lnTo>
                  <a:lnTo>
                    <a:pt x="70" y="43"/>
                  </a:lnTo>
                  <a:lnTo>
                    <a:pt x="70" y="49"/>
                  </a:lnTo>
                  <a:lnTo>
                    <a:pt x="65" y="52"/>
                  </a:lnTo>
                  <a:lnTo>
                    <a:pt x="62" y="55"/>
                  </a:lnTo>
                  <a:lnTo>
                    <a:pt x="62" y="62"/>
                  </a:lnTo>
                  <a:lnTo>
                    <a:pt x="62" y="66"/>
                  </a:lnTo>
                  <a:lnTo>
                    <a:pt x="63" y="79"/>
                  </a:lnTo>
                  <a:lnTo>
                    <a:pt x="59" y="95"/>
                  </a:lnTo>
                  <a:lnTo>
                    <a:pt x="62" y="101"/>
                  </a:lnTo>
                  <a:lnTo>
                    <a:pt x="55" y="109"/>
                  </a:lnTo>
                  <a:lnTo>
                    <a:pt x="53" y="116"/>
                  </a:lnTo>
                  <a:lnTo>
                    <a:pt x="59" y="124"/>
                  </a:lnTo>
                  <a:lnTo>
                    <a:pt x="62" y="126"/>
                  </a:lnTo>
                  <a:lnTo>
                    <a:pt x="62" y="132"/>
                  </a:lnTo>
                  <a:lnTo>
                    <a:pt x="60" y="136"/>
                  </a:lnTo>
                  <a:lnTo>
                    <a:pt x="56" y="139"/>
                  </a:lnTo>
                  <a:lnTo>
                    <a:pt x="52" y="145"/>
                  </a:lnTo>
                  <a:lnTo>
                    <a:pt x="55" y="145"/>
                  </a:lnTo>
                  <a:lnTo>
                    <a:pt x="60" y="145"/>
                  </a:lnTo>
                  <a:lnTo>
                    <a:pt x="62" y="148"/>
                  </a:lnTo>
                  <a:lnTo>
                    <a:pt x="62" y="151"/>
                  </a:lnTo>
                  <a:lnTo>
                    <a:pt x="62" y="155"/>
                  </a:lnTo>
                  <a:lnTo>
                    <a:pt x="59" y="158"/>
                  </a:lnTo>
                  <a:lnTo>
                    <a:pt x="56" y="158"/>
                  </a:lnTo>
                  <a:lnTo>
                    <a:pt x="43" y="158"/>
                  </a:lnTo>
                  <a:lnTo>
                    <a:pt x="30" y="161"/>
                  </a:lnTo>
                  <a:lnTo>
                    <a:pt x="26" y="162"/>
                  </a:lnTo>
                  <a:lnTo>
                    <a:pt x="22" y="165"/>
                  </a:lnTo>
                  <a:lnTo>
                    <a:pt x="20" y="166"/>
                  </a:lnTo>
                  <a:lnTo>
                    <a:pt x="13" y="177"/>
                  </a:lnTo>
                  <a:lnTo>
                    <a:pt x="16" y="181"/>
                  </a:lnTo>
                  <a:lnTo>
                    <a:pt x="16" y="184"/>
                  </a:lnTo>
                  <a:lnTo>
                    <a:pt x="16" y="189"/>
                  </a:lnTo>
                  <a:lnTo>
                    <a:pt x="17" y="201"/>
                  </a:lnTo>
                  <a:lnTo>
                    <a:pt x="19" y="204"/>
                  </a:lnTo>
                  <a:lnTo>
                    <a:pt x="20" y="207"/>
                  </a:lnTo>
                  <a:lnTo>
                    <a:pt x="20" y="215"/>
                  </a:lnTo>
                  <a:lnTo>
                    <a:pt x="9" y="218"/>
                  </a:lnTo>
                  <a:lnTo>
                    <a:pt x="4" y="219"/>
                  </a:lnTo>
                  <a:lnTo>
                    <a:pt x="0" y="221"/>
                  </a:lnTo>
                  <a:lnTo>
                    <a:pt x="0" y="225"/>
                  </a:lnTo>
                  <a:lnTo>
                    <a:pt x="2" y="228"/>
                  </a:lnTo>
                  <a:lnTo>
                    <a:pt x="7" y="229"/>
                  </a:lnTo>
                  <a:lnTo>
                    <a:pt x="13" y="229"/>
                  </a:lnTo>
                  <a:lnTo>
                    <a:pt x="16" y="237"/>
                  </a:lnTo>
                  <a:lnTo>
                    <a:pt x="22" y="237"/>
                  </a:lnTo>
                  <a:lnTo>
                    <a:pt x="26" y="248"/>
                  </a:lnTo>
                  <a:lnTo>
                    <a:pt x="30" y="248"/>
                  </a:lnTo>
                  <a:lnTo>
                    <a:pt x="36" y="244"/>
                  </a:lnTo>
                  <a:lnTo>
                    <a:pt x="42" y="248"/>
                  </a:lnTo>
                  <a:lnTo>
                    <a:pt x="43" y="260"/>
                  </a:lnTo>
                  <a:lnTo>
                    <a:pt x="47" y="268"/>
                  </a:lnTo>
                  <a:lnTo>
                    <a:pt x="53" y="275"/>
                  </a:lnTo>
                  <a:lnTo>
                    <a:pt x="57" y="280"/>
                  </a:lnTo>
                  <a:lnTo>
                    <a:pt x="59" y="295"/>
                  </a:lnTo>
                  <a:lnTo>
                    <a:pt x="60" y="300"/>
                  </a:lnTo>
                  <a:lnTo>
                    <a:pt x="62" y="305"/>
                  </a:lnTo>
                  <a:lnTo>
                    <a:pt x="66" y="315"/>
                  </a:lnTo>
                  <a:lnTo>
                    <a:pt x="66" y="318"/>
                  </a:lnTo>
                  <a:lnTo>
                    <a:pt x="66" y="324"/>
                  </a:lnTo>
                  <a:lnTo>
                    <a:pt x="69" y="330"/>
                  </a:lnTo>
                  <a:lnTo>
                    <a:pt x="72" y="331"/>
                  </a:lnTo>
                  <a:lnTo>
                    <a:pt x="73" y="327"/>
                  </a:lnTo>
                  <a:lnTo>
                    <a:pt x="76" y="323"/>
                  </a:lnTo>
                  <a:lnTo>
                    <a:pt x="82" y="318"/>
                  </a:lnTo>
                  <a:lnTo>
                    <a:pt x="85" y="325"/>
                  </a:lnTo>
                  <a:lnTo>
                    <a:pt x="89" y="327"/>
                  </a:lnTo>
                  <a:lnTo>
                    <a:pt x="89" y="33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71" name="Freeform 19"/>
            <p:cNvSpPr>
              <a:spLocks/>
            </p:cNvSpPr>
            <p:nvPr/>
          </p:nvSpPr>
          <p:spPr bwMode="auto">
            <a:xfrm>
              <a:off x="2541232" y="3743297"/>
              <a:ext cx="243007" cy="309560"/>
            </a:xfrm>
            <a:custGeom>
              <a:avLst/>
              <a:gdLst>
                <a:gd name="T0" fmla="*/ 6 w 398"/>
                <a:gd name="T1" fmla="*/ 218 h 469"/>
                <a:gd name="T2" fmla="*/ 22 w 398"/>
                <a:gd name="T3" fmla="*/ 234 h 469"/>
                <a:gd name="T4" fmla="*/ 60 w 398"/>
                <a:gd name="T5" fmla="*/ 281 h 469"/>
                <a:gd name="T6" fmla="*/ 75 w 398"/>
                <a:gd name="T7" fmla="*/ 314 h 469"/>
                <a:gd name="T8" fmla="*/ 102 w 398"/>
                <a:gd name="T9" fmla="*/ 323 h 469"/>
                <a:gd name="T10" fmla="*/ 126 w 398"/>
                <a:gd name="T11" fmla="*/ 331 h 469"/>
                <a:gd name="T12" fmla="*/ 126 w 398"/>
                <a:gd name="T13" fmla="*/ 357 h 469"/>
                <a:gd name="T14" fmla="*/ 138 w 398"/>
                <a:gd name="T15" fmla="*/ 371 h 469"/>
                <a:gd name="T16" fmla="*/ 149 w 398"/>
                <a:gd name="T17" fmla="*/ 377 h 469"/>
                <a:gd name="T18" fmla="*/ 192 w 398"/>
                <a:gd name="T19" fmla="*/ 409 h 469"/>
                <a:gd name="T20" fmla="*/ 198 w 398"/>
                <a:gd name="T21" fmla="*/ 433 h 469"/>
                <a:gd name="T22" fmla="*/ 215 w 398"/>
                <a:gd name="T23" fmla="*/ 423 h 469"/>
                <a:gd name="T24" fmla="*/ 234 w 398"/>
                <a:gd name="T25" fmla="*/ 427 h 469"/>
                <a:gd name="T26" fmla="*/ 252 w 398"/>
                <a:gd name="T27" fmla="*/ 427 h 469"/>
                <a:gd name="T28" fmla="*/ 264 w 398"/>
                <a:gd name="T29" fmla="*/ 430 h 469"/>
                <a:gd name="T30" fmla="*/ 287 w 398"/>
                <a:gd name="T31" fmla="*/ 440 h 469"/>
                <a:gd name="T32" fmla="*/ 281 w 398"/>
                <a:gd name="T33" fmla="*/ 459 h 469"/>
                <a:gd name="T34" fmla="*/ 294 w 398"/>
                <a:gd name="T35" fmla="*/ 460 h 469"/>
                <a:gd name="T36" fmla="*/ 317 w 398"/>
                <a:gd name="T37" fmla="*/ 460 h 469"/>
                <a:gd name="T38" fmla="*/ 331 w 398"/>
                <a:gd name="T39" fmla="*/ 442 h 469"/>
                <a:gd name="T40" fmla="*/ 352 w 398"/>
                <a:gd name="T41" fmla="*/ 423 h 469"/>
                <a:gd name="T42" fmla="*/ 378 w 398"/>
                <a:gd name="T43" fmla="*/ 387 h 469"/>
                <a:gd name="T44" fmla="*/ 372 w 398"/>
                <a:gd name="T45" fmla="*/ 357 h 469"/>
                <a:gd name="T46" fmla="*/ 372 w 398"/>
                <a:gd name="T47" fmla="*/ 334 h 469"/>
                <a:gd name="T48" fmla="*/ 382 w 398"/>
                <a:gd name="T49" fmla="*/ 310 h 469"/>
                <a:gd name="T50" fmla="*/ 398 w 398"/>
                <a:gd name="T51" fmla="*/ 273 h 469"/>
                <a:gd name="T52" fmla="*/ 378 w 398"/>
                <a:gd name="T53" fmla="*/ 250 h 469"/>
                <a:gd name="T54" fmla="*/ 361 w 398"/>
                <a:gd name="T55" fmla="*/ 235 h 469"/>
                <a:gd name="T56" fmla="*/ 337 w 398"/>
                <a:gd name="T57" fmla="*/ 221 h 469"/>
                <a:gd name="T58" fmla="*/ 341 w 398"/>
                <a:gd name="T59" fmla="*/ 202 h 469"/>
                <a:gd name="T60" fmla="*/ 311 w 398"/>
                <a:gd name="T61" fmla="*/ 178 h 469"/>
                <a:gd name="T62" fmla="*/ 289 w 398"/>
                <a:gd name="T63" fmla="*/ 165 h 469"/>
                <a:gd name="T64" fmla="*/ 265 w 398"/>
                <a:gd name="T65" fmla="*/ 190 h 469"/>
                <a:gd name="T66" fmla="*/ 242 w 398"/>
                <a:gd name="T67" fmla="*/ 168 h 469"/>
                <a:gd name="T68" fmla="*/ 235 w 398"/>
                <a:gd name="T69" fmla="*/ 124 h 469"/>
                <a:gd name="T70" fmla="*/ 239 w 398"/>
                <a:gd name="T71" fmla="*/ 96 h 469"/>
                <a:gd name="T72" fmla="*/ 229 w 398"/>
                <a:gd name="T73" fmla="*/ 76 h 469"/>
                <a:gd name="T74" fmla="*/ 213 w 398"/>
                <a:gd name="T75" fmla="*/ 58 h 469"/>
                <a:gd name="T76" fmla="*/ 192 w 398"/>
                <a:gd name="T77" fmla="*/ 74 h 469"/>
                <a:gd name="T78" fmla="*/ 173 w 398"/>
                <a:gd name="T79" fmla="*/ 65 h 469"/>
                <a:gd name="T80" fmla="*/ 152 w 398"/>
                <a:gd name="T81" fmla="*/ 29 h 469"/>
                <a:gd name="T82" fmla="*/ 138 w 398"/>
                <a:gd name="T83" fmla="*/ 38 h 469"/>
                <a:gd name="T84" fmla="*/ 143 w 398"/>
                <a:gd name="T85" fmla="*/ 8 h 469"/>
                <a:gd name="T86" fmla="*/ 122 w 398"/>
                <a:gd name="T87" fmla="*/ 0 h 469"/>
                <a:gd name="T88" fmla="*/ 92 w 398"/>
                <a:gd name="T89" fmla="*/ 22 h 469"/>
                <a:gd name="T90" fmla="*/ 93 w 398"/>
                <a:gd name="T91" fmla="*/ 33 h 469"/>
                <a:gd name="T92" fmla="*/ 89 w 398"/>
                <a:gd name="T93" fmla="*/ 59 h 469"/>
                <a:gd name="T94" fmla="*/ 75 w 398"/>
                <a:gd name="T95" fmla="*/ 58 h 469"/>
                <a:gd name="T96" fmla="*/ 75 w 398"/>
                <a:gd name="T97" fmla="*/ 91 h 469"/>
                <a:gd name="T98" fmla="*/ 66 w 398"/>
                <a:gd name="T99" fmla="*/ 108 h 469"/>
                <a:gd name="T100" fmla="*/ 66 w 398"/>
                <a:gd name="T101" fmla="*/ 155 h 469"/>
                <a:gd name="T102" fmla="*/ 53 w 398"/>
                <a:gd name="T103" fmla="*/ 205 h 469"/>
                <a:gd name="T104" fmla="*/ 20 w 398"/>
                <a:gd name="T105" fmla="*/ 205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98" h="469">
                  <a:moveTo>
                    <a:pt x="0" y="214"/>
                  </a:moveTo>
                  <a:lnTo>
                    <a:pt x="0" y="218"/>
                  </a:lnTo>
                  <a:lnTo>
                    <a:pt x="2" y="220"/>
                  </a:lnTo>
                  <a:lnTo>
                    <a:pt x="3" y="220"/>
                  </a:lnTo>
                  <a:lnTo>
                    <a:pt x="6" y="218"/>
                  </a:lnTo>
                  <a:lnTo>
                    <a:pt x="10" y="218"/>
                  </a:lnTo>
                  <a:lnTo>
                    <a:pt x="19" y="218"/>
                  </a:lnTo>
                  <a:lnTo>
                    <a:pt x="24" y="225"/>
                  </a:lnTo>
                  <a:lnTo>
                    <a:pt x="23" y="230"/>
                  </a:lnTo>
                  <a:lnTo>
                    <a:pt x="22" y="234"/>
                  </a:lnTo>
                  <a:lnTo>
                    <a:pt x="20" y="240"/>
                  </a:lnTo>
                  <a:lnTo>
                    <a:pt x="22" y="243"/>
                  </a:lnTo>
                  <a:lnTo>
                    <a:pt x="57" y="261"/>
                  </a:lnTo>
                  <a:lnTo>
                    <a:pt x="60" y="265"/>
                  </a:lnTo>
                  <a:lnTo>
                    <a:pt x="60" y="281"/>
                  </a:lnTo>
                  <a:lnTo>
                    <a:pt x="62" y="293"/>
                  </a:lnTo>
                  <a:lnTo>
                    <a:pt x="66" y="304"/>
                  </a:lnTo>
                  <a:lnTo>
                    <a:pt x="70" y="307"/>
                  </a:lnTo>
                  <a:lnTo>
                    <a:pt x="75" y="308"/>
                  </a:lnTo>
                  <a:lnTo>
                    <a:pt x="75" y="314"/>
                  </a:lnTo>
                  <a:lnTo>
                    <a:pt x="77" y="323"/>
                  </a:lnTo>
                  <a:lnTo>
                    <a:pt x="83" y="324"/>
                  </a:lnTo>
                  <a:lnTo>
                    <a:pt x="87" y="321"/>
                  </a:lnTo>
                  <a:lnTo>
                    <a:pt x="97" y="320"/>
                  </a:lnTo>
                  <a:lnTo>
                    <a:pt x="102" y="323"/>
                  </a:lnTo>
                  <a:lnTo>
                    <a:pt x="106" y="327"/>
                  </a:lnTo>
                  <a:lnTo>
                    <a:pt x="109" y="326"/>
                  </a:lnTo>
                  <a:lnTo>
                    <a:pt x="116" y="320"/>
                  </a:lnTo>
                  <a:lnTo>
                    <a:pt x="120" y="326"/>
                  </a:lnTo>
                  <a:lnTo>
                    <a:pt x="126" y="331"/>
                  </a:lnTo>
                  <a:lnTo>
                    <a:pt x="129" y="338"/>
                  </a:lnTo>
                  <a:lnTo>
                    <a:pt x="129" y="344"/>
                  </a:lnTo>
                  <a:lnTo>
                    <a:pt x="128" y="348"/>
                  </a:lnTo>
                  <a:lnTo>
                    <a:pt x="128" y="354"/>
                  </a:lnTo>
                  <a:lnTo>
                    <a:pt x="126" y="357"/>
                  </a:lnTo>
                  <a:lnTo>
                    <a:pt x="129" y="363"/>
                  </a:lnTo>
                  <a:lnTo>
                    <a:pt x="129" y="370"/>
                  </a:lnTo>
                  <a:lnTo>
                    <a:pt x="133" y="377"/>
                  </a:lnTo>
                  <a:lnTo>
                    <a:pt x="136" y="376"/>
                  </a:lnTo>
                  <a:lnTo>
                    <a:pt x="138" y="371"/>
                  </a:lnTo>
                  <a:lnTo>
                    <a:pt x="142" y="367"/>
                  </a:lnTo>
                  <a:lnTo>
                    <a:pt x="146" y="367"/>
                  </a:lnTo>
                  <a:lnTo>
                    <a:pt x="149" y="369"/>
                  </a:lnTo>
                  <a:lnTo>
                    <a:pt x="150" y="373"/>
                  </a:lnTo>
                  <a:lnTo>
                    <a:pt x="149" y="377"/>
                  </a:lnTo>
                  <a:lnTo>
                    <a:pt x="152" y="381"/>
                  </a:lnTo>
                  <a:lnTo>
                    <a:pt x="160" y="390"/>
                  </a:lnTo>
                  <a:lnTo>
                    <a:pt x="163" y="394"/>
                  </a:lnTo>
                  <a:lnTo>
                    <a:pt x="173" y="401"/>
                  </a:lnTo>
                  <a:lnTo>
                    <a:pt x="192" y="409"/>
                  </a:lnTo>
                  <a:lnTo>
                    <a:pt x="192" y="416"/>
                  </a:lnTo>
                  <a:lnTo>
                    <a:pt x="195" y="422"/>
                  </a:lnTo>
                  <a:lnTo>
                    <a:pt x="195" y="424"/>
                  </a:lnTo>
                  <a:lnTo>
                    <a:pt x="195" y="429"/>
                  </a:lnTo>
                  <a:lnTo>
                    <a:pt x="198" y="433"/>
                  </a:lnTo>
                  <a:lnTo>
                    <a:pt x="203" y="433"/>
                  </a:lnTo>
                  <a:lnTo>
                    <a:pt x="209" y="430"/>
                  </a:lnTo>
                  <a:lnTo>
                    <a:pt x="211" y="423"/>
                  </a:lnTo>
                  <a:lnTo>
                    <a:pt x="213" y="423"/>
                  </a:lnTo>
                  <a:lnTo>
                    <a:pt x="215" y="423"/>
                  </a:lnTo>
                  <a:lnTo>
                    <a:pt x="218" y="424"/>
                  </a:lnTo>
                  <a:lnTo>
                    <a:pt x="222" y="429"/>
                  </a:lnTo>
                  <a:lnTo>
                    <a:pt x="229" y="430"/>
                  </a:lnTo>
                  <a:lnTo>
                    <a:pt x="232" y="432"/>
                  </a:lnTo>
                  <a:lnTo>
                    <a:pt x="234" y="427"/>
                  </a:lnTo>
                  <a:lnTo>
                    <a:pt x="236" y="424"/>
                  </a:lnTo>
                  <a:lnTo>
                    <a:pt x="239" y="423"/>
                  </a:lnTo>
                  <a:lnTo>
                    <a:pt x="242" y="423"/>
                  </a:lnTo>
                  <a:lnTo>
                    <a:pt x="246" y="427"/>
                  </a:lnTo>
                  <a:lnTo>
                    <a:pt x="252" y="427"/>
                  </a:lnTo>
                  <a:lnTo>
                    <a:pt x="256" y="426"/>
                  </a:lnTo>
                  <a:lnTo>
                    <a:pt x="258" y="424"/>
                  </a:lnTo>
                  <a:lnTo>
                    <a:pt x="259" y="426"/>
                  </a:lnTo>
                  <a:lnTo>
                    <a:pt x="261" y="427"/>
                  </a:lnTo>
                  <a:lnTo>
                    <a:pt x="264" y="430"/>
                  </a:lnTo>
                  <a:lnTo>
                    <a:pt x="265" y="432"/>
                  </a:lnTo>
                  <a:lnTo>
                    <a:pt x="271" y="436"/>
                  </a:lnTo>
                  <a:lnTo>
                    <a:pt x="276" y="437"/>
                  </a:lnTo>
                  <a:lnTo>
                    <a:pt x="281" y="437"/>
                  </a:lnTo>
                  <a:lnTo>
                    <a:pt x="287" y="440"/>
                  </a:lnTo>
                  <a:lnTo>
                    <a:pt x="285" y="442"/>
                  </a:lnTo>
                  <a:lnTo>
                    <a:pt x="282" y="444"/>
                  </a:lnTo>
                  <a:lnTo>
                    <a:pt x="279" y="446"/>
                  </a:lnTo>
                  <a:lnTo>
                    <a:pt x="278" y="453"/>
                  </a:lnTo>
                  <a:lnTo>
                    <a:pt x="281" y="459"/>
                  </a:lnTo>
                  <a:lnTo>
                    <a:pt x="282" y="462"/>
                  </a:lnTo>
                  <a:lnTo>
                    <a:pt x="287" y="466"/>
                  </a:lnTo>
                  <a:lnTo>
                    <a:pt x="289" y="469"/>
                  </a:lnTo>
                  <a:lnTo>
                    <a:pt x="291" y="463"/>
                  </a:lnTo>
                  <a:lnTo>
                    <a:pt x="294" y="460"/>
                  </a:lnTo>
                  <a:lnTo>
                    <a:pt x="301" y="462"/>
                  </a:lnTo>
                  <a:lnTo>
                    <a:pt x="305" y="460"/>
                  </a:lnTo>
                  <a:lnTo>
                    <a:pt x="311" y="460"/>
                  </a:lnTo>
                  <a:lnTo>
                    <a:pt x="314" y="462"/>
                  </a:lnTo>
                  <a:lnTo>
                    <a:pt x="317" y="460"/>
                  </a:lnTo>
                  <a:lnTo>
                    <a:pt x="319" y="457"/>
                  </a:lnTo>
                  <a:lnTo>
                    <a:pt x="322" y="454"/>
                  </a:lnTo>
                  <a:lnTo>
                    <a:pt x="324" y="447"/>
                  </a:lnTo>
                  <a:lnTo>
                    <a:pt x="324" y="443"/>
                  </a:lnTo>
                  <a:lnTo>
                    <a:pt x="331" y="442"/>
                  </a:lnTo>
                  <a:lnTo>
                    <a:pt x="334" y="439"/>
                  </a:lnTo>
                  <a:lnTo>
                    <a:pt x="337" y="436"/>
                  </a:lnTo>
                  <a:lnTo>
                    <a:pt x="338" y="432"/>
                  </a:lnTo>
                  <a:lnTo>
                    <a:pt x="345" y="427"/>
                  </a:lnTo>
                  <a:lnTo>
                    <a:pt x="352" y="423"/>
                  </a:lnTo>
                  <a:lnTo>
                    <a:pt x="357" y="413"/>
                  </a:lnTo>
                  <a:lnTo>
                    <a:pt x="352" y="407"/>
                  </a:lnTo>
                  <a:lnTo>
                    <a:pt x="354" y="406"/>
                  </a:lnTo>
                  <a:lnTo>
                    <a:pt x="358" y="406"/>
                  </a:lnTo>
                  <a:lnTo>
                    <a:pt x="378" y="387"/>
                  </a:lnTo>
                  <a:lnTo>
                    <a:pt x="378" y="384"/>
                  </a:lnTo>
                  <a:lnTo>
                    <a:pt x="374" y="379"/>
                  </a:lnTo>
                  <a:lnTo>
                    <a:pt x="378" y="360"/>
                  </a:lnTo>
                  <a:lnTo>
                    <a:pt x="378" y="357"/>
                  </a:lnTo>
                  <a:lnTo>
                    <a:pt x="372" y="357"/>
                  </a:lnTo>
                  <a:lnTo>
                    <a:pt x="370" y="353"/>
                  </a:lnTo>
                  <a:lnTo>
                    <a:pt x="367" y="350"/>
                  </a:lnTo>
                  <a:lnTo>
                    <a:pt x="367" y="344"/>
                  </a:lnTo>
                  <a:lnTo>
                    <a:pt x="370" y="340"/>
                  </a:lnTo>
                  <a:lnTo>
                    <a:pt x="372" y="334"/>
                  </a:lnTo>
                  <a:lnTo>
                    <a:pt x="377" y="331"/>
                  </a:lnTo>
                  <a:lnTo>
                    <a:pt x="380" y="327"/>
                  </a:lnTo>
                  <a:lnTo>
                    <a:pt x="381" y="318"/>
                  </a:lnTo>
                  <a:lnTo>
                    <a:pt x="380" y="316"/>
                  </a:lnTo>
                  <a:lnTo>
                    <a:pt x="382" y="310"/>
                  </a:lnTo>
                  <a:lnTo>
                    <a:pt x="384" y="306"/>
                  </a:lnTo>
                  <a:lnTo>
                    <a:pt x="384" y="293"/>
                  </a:lnTo>
                  <a:lnTo>
                    <a:pt x="382" y="283"/>
                  </a:lnTo>
                  <a:lnTo>
                    <a:pt x="388" y="278"/>
                  </a:lnTo>
                  <a:lnTo>
                    <a:pt x="398" y="273"/>
                  </a:lnTo>
                  <a:lnTo>
                    <a:pt x="394" y="265"/>
                  </a:lnTo>
                  <a:lnTo>
                    <a:pt x="394" y="257"/>
                  </a:lnTo>
                  <a:lnTo>
                    <a:pt x="394" y="253"/>
                  </a:lnTo>
                  <a:lnTo>
                    <a:pt x="384" y="248"/>
                  </a:lnTo>
                  <a:lnTo>
                    <a:pt x="378" y="250"/>
                  </a:lnTo>
                  <a:lnTo>
                    <a:pt x="377" y="253"/>
                  </a:lnTo>
                  <a:lnTo>
                    <a:pt x="372" y="250"/>
                  </a:lnTo>
                  <a:lnTo>
                    <a:pt x="368" y="247"/>
                  </a:lnTo>
                  <a:lnTo>
                    <a:pt x="364" y="243"/>
                  </a:lnTo>
                  <a:lnTo>
                    <a:pt x="361" y="235"/>
                  </a:lnTo>
                  <a:lnTo>
                    <a:pt x="358" y="228"/>
                  </a:lnTo>
                  <a:lnTo>
                    <a:pt x="348" y="230"/>
                  </a:lnTo>
                  <a:lnTo>
                    <a:pt x="342" y="228"/>
                  </a:lnTo>
                  <a:lnTo>
                    <a:pt x="340" y="225"/>
                  </a:lnTo>
                  <a:lnTo>
                    <a:pt x="337" y="221"/>
                  </a:lnTo>
                  <a:lnTo>
                    <a:pt x="338" y="214"/>
                  </a:lnTo>
                  <a:lnTo>
                    <a:pt x="341" y="210"/>
                  </a:lnTo>
                  <a:lnTo>
                    <a:pt x="342" y="208"/>
                  </a:lnTo>
                  <a:lnTo>
                    <a:pt x="342" y="205"/>
                  </a:lnTo>
                  <a:lnTo>
                    <a:pt x="341" y="202"/>
                  </a:lnTo>
                  <a:lnTo>
                    <a:pt x="335" y="201"/>
                  </a:lnTo>
                  <a:lnTo>
                    <a:pt x="329" y="200"/>
                  </a:lnTo>
                  <a:lnTo>
                    <a:pt x="327" y="194"/>
                  </a:lnTo>
                  <a:lnTo>
                    <a:pt x="319" y="185"/>
                  </a:lnTo>
                  <a:lnTo>
                    <a:pt x="311" y="178"/>
                  </a:lnTo>
                  <a:lnTo>
                    <a:pt x="305" y="177"/>
                  </a:lnTo>
                  <a:lnTo>
                    <a:pt x="297" y="175"/>
                  </a:lnTo>
                  <a:lnTo>
                    <a:pt x="295" y="168"/>
                  </a:lnTo>
                  <a:lnTo>
                    <a:pt x="294" y="165"/>
                  </a:lnTo>
                  <a:lnTo>
                    <a:pt x="289" y="165"/>
                  </a:lnTo>
                  <a:lnTo>
                    <a:pt x="284" y="177"/>
                  </a:lnTo>
                  <a:lnTo>
                    <a:pt x="278" y="188"/>
                  </a:lnTo>
                  <a:lnTo>
                    <a:pt x="274" y="194"/>
                  </a:lnTo>
                  <a:lnTo>
                    <a:pt x="268" y="195"/>
                  </a:lnTo>
                  <a:lnTo>
                    <a:pt x="265" y="190"/>
                  </a:lnTo>
                  <a:lnTo>
                    <a:pt x="256" y="184"/>
                  </a:lnTo>
                  <a:lnTo>
                    <a:pt x="252" y="181"/>
                  </a:lnTo>
                  <a:lnTo>
                    <a:pt x="251" y="175"/>
                  </a:lnTo>
                  <a:lnTo>
                    <a:pt x="245" y="172"/>
                  </a:lnTo>
                  <a:lnTo>
                    <a:pt x="242" y="168"/>
                  </a:lnTo>
                  <a:lnTo>
                    <a:pt x="242" y="164"/>
                  </a:lnTo>
                  <a:lnTo>
                    <a:pt x="235" y="142"/>
                  </a:lnTo>
                  <a:lnTo>
                    <a:pt x="232" y="134"/>
                  </a:lnTo>
                  <a:lnTo>
                    <a:pt x="231" y="128"/>
                  </a:lnTo>
                  <a:lnTo>
                    <a:pt x="235" y="124"/>
                  </a:lnTo>
                  <a:lnTo>
                    <a:pt x="242" y="124"/>
                  </a:lnTo>
                  <a:lnTo>
                    <a:pt x="248" y="121"/>
                  </a:lnTo>
                  <a:lnTo>
                    <a:pt x="248" y="109"/>
                  </a:lnTo>
                  <a:lnTo>
                    <a:pt x="242" y="101"/>
                  </a:lnTo>
                  <a:lnTo>
                    <a:pt x="239" y="96"/>
                  </a:lnTo>
                  <a:lnTo>
                    <a:pt x="235" y="92"/>
                  </a:lnTo>
                  <a:lnTo>
                    <a:pt x="235" y="85"/>
                  </a:lnTo>
                  <a:lnTo>
                    <a:pt x="236" y="81"/>
                  </a:lnTo>
                  <a:lnTo>
                    <a:pt x="235" y="79"/>
                  </a:lnTo>
                  <a:lnTo>
                    <a:pt x="229" y="76"/>
                  </a:lnTo>
                  <a:lnTo>
                    <a:pt x="226" y="72"/>
                  </a:lnTo>
                  <a:lnTo>
                    <a:pt x="228" y="68"/>
                  </a:lnTo>
                  <a:lnTo>
                    <a:pt x="221" y="63"/>
                  </a:lnTo>
                  <a:lnTo>
                    <a:pt x="216" y="62"/>
                  </a:lnTo>
                  <a:lnTo>
                    <a:pt x="213" y="58"/>
                  </a:lnTo>
                  <a:lnTo>
                    <a:pt x="209" y="55"/>
                  </a:lnTo>
                  <a:lnTo>
                    <a:pt x="199" y="56"/>
                  </a:lnTo>
                  <a:lnTo>
                    <a:pt x="196" y="62"/>
                  </a:lnTo>
                  <a:lnTo>
                    <a:pt x="195" y="71"/>
                  </a:lnTo>
                  <a:lnTo>
                    <a:pt x="192" y="74"/>
                  </a:lnTo>
                  <a:lnTo>
                    <a:pt x="191" y="76"/>
                  </a:lnTo>
                  <a:lnTo>
                    <a:pt x="186" y="74"/>
                  </a:lnTo>
                  <a:lnTo>
                    <a:pt x="186" y="65"/>
                  </a:lnTo>
                  <a:lnTo>
                    <a:pt x="182" y="68"/>
                  </a:lnTo>
                  <a:lnTo>
                    <a:pt x="173" y="65"/>
                  </a:lnTo>
                  <a:lnTo>
                    <a:pt x="169" y="61"/>
                  </a:lnTo>
                  <a:lnTo>
                    <a:pt x="156" y="43"/>
                  </a:lnTo>
                  <a:lnTo>
                    <a:pt x="149" y="38"/>
                  </a:lnTo>
                  <a:lnTo>
                    <a:pt x="152" y="32"/>
                  </a:lnTo>
                  <a:lnTo>
                    <a:pt x="152" y="29"/>
                  </a:lnTo>
                  <a:lnTo>
                    <a:pt x="148" y="29"/>
                  </a:lnTo>
                  <a:lnTo>
                    <a:pt x="143" y="35"/>
                  </a:lnTo>
                  <a:lnTo>
                    <a:pt x="142" y="41"/>
                  </a:lnTo>
                  <a:lnTo>
                    <a:pt x="139" y="41"/>
                  </a:lnTo>
                  <a:lnTo>
                    <a:pt x="138" y="38"/>
                  </a:lnTo>
                  <a:lnTo>
                    <a:pt x="136" y="35"/>
                  </a:lnTo>
                  <a:lnTo>
                    <a:pt x="136" y="32"/>
                  </a:lnTo>
                  <a:lnTo>
                    <a:pt x="136" y="23"/>
                  </a:lnTo>
                  <a:lnTo>
                    <a:pt x="133" y="13"/>
                  </a:lnTo>
                  <a:lnTo>
                    <a:pt x="143" y="8"/>
                  </a:lnTo>
                  <a:lnTo>
                    <a:pt x="136" y="8"/>
                  </a:lnTo>
                  <a:lnTo>
                    <a:pt x="135" y="8"/>
                  </a:lnTo>
                  <a:lnTo>
                    <a:pt x="128" y="3"/>
                  </a:lnTo>
                  <a:lnTo>
                    <a:pt x="125" y="3"/>
                  </a:lnTo>
                  <a:lnTo>
                    <a:pt x="122" y="0"/>
                  </a:lnTo>
                  <a:lnTo>
                    <a:pt x="119" y="3"/>
                  </a:lnTo>
                  <a:lnTo>
                    <a:pt x="115" y="3"/>
                  </a:lnTo>
                  <a:lnTo>
                    <a:pt x="106" y="12"/>
                  </a:lnTo>
                  <a:lnTo>
                    <a:pt x="103" y="13"/>
                  </a:lnTo>
                  <a:lnTo>
                    <a:pt x="92" y="22"/>
                  </a:lnTo>
                  <a:lnTo>
                    <a:pt x="89" y="26"/>
                  </a:lnTo>
                  <a:lnTo>
                    <a:pt x="93" y="26"/>
                  </a:lnTo>
                  <a:lnTo>
                    <a:pt x="95" y="28"/>
                  </a:lnTo>
                  <a:lnTo>
                    <a:pt x="95" y="29"/>
                  </a:lnTo>
                  <a:lnTo>
                    <a:pt x="93" y="33"/>
                  </a:lnTo>
                  <a:lnTo>
                    <a:pt x="92" y="36"/>
                  </a:lnTo>
                  <a:lnTo>
                    <a:pt x="87" y="39"/>
                  </a:lnTo>
                  <a:lnTo>
                    <a:pt x="92" y="48"/>
                  </a:lnTo>
                  <a:lnTo>
                    <a:pt x="93" y="56"/>
                  </a:lnTo>
                  <a:lnTo>
                    <a:pt x="89" y="59"/>
                  </a:lnTo>
                  <a:lnTo>
                    <a:pt x="86" y="56"/>
                  </a:lnTo>
                  <a:lnTo>
                    <a:pt x="83" y="55"/>
                  </a:lnTo>
                  <a:lnTo>
                    <a:pt x="79" y="53"/>
                  </a:lnTo>
                  <a:lnTo>
                    <a:pt x="76" y="55"/>
                  </a:lnTo>
                  <a:lnTo>
                    <a:pt x="75" y="58"/>
                  </a:lnTo>
                  <a:lnTo>
                    <a:pt x="76" y="63"/>
                  </a:lnTo>
                  <a:lnTo>
                    <a:pt x="82" y="69"/>
                  </a:lnTo>
                  <a:lnTo>
                    <a:pt x="83" y="75"/>
                  </a:lnTo>
                  <a:lnTo>
                    <a:pt x="80" y="81"/>
                  </a:lnTo>
                  <a:lnTo>
                    <a:pt x="75" y="91"/>
                  </a:lnTo>
                  <a:lnTo>
                    <a:pt x="67" y="92"/>
                  </a:lnTo>
                  <a:lnTo>
                    <a:pt x="63" y="96"/>
                  </a:lnTo>
                  <a:lnTo>
                    <a:pt x="63" y="104"/>
                  </a:lnTo>
                  <a:lnTo>
                    <a:pt x="65" y="108"/>
                  </a:lnTo>
                  <a:lnTo>
                    <a:pt x="66" y="108"/>
                  </a:lnTo>
                  <a:lnTo>
                    <a:pt x="69" y="111"/>
                  </a:lnTo>
                  <a:lnTo>
                    <a:pt x="66" y="128"/>
                  </a:lnTo>
                  <a:lnTo>
                    <a:pt x="67" y="137"/>
                  </a:lnTo>
                  <a:lnTo>
                    <a:pt x="67" y="142"/>
                  </a:lnTo>
                  <a:lnTo>
                    <a:pt x="66" y="155"/>
                  </a:lnTo>
                  <a:lnTo>
                    <a:pt x="62" y="178"/>
                  </a:lnTo>
                  <a:lnTo>
                    <a:pt x="59" y="184"/>
                  </a:lnTo>
                  <a:lnTo>
                    <a:pt x="57" y="188"/>
                  </a:lnTo>
                  <a:lnTo>
                    <a:pt x="56" y="201"/>
                  </a:lnTo>
                  <a:lnTo>
                    <a:pt x="53" y="205"/>
                  </a:lnTo>
                  <a:lnTo>
                    <a:pt x="49" y="204"/>
                  </a:lnTo>
                  <a:lnTo>
                    <a:pt x="43" y="204"/>
                  </a:lnTo>
                  <a:lnTo>
                    <a:pt x="36" y="201"/>
                  </a:lnTo>
                  <a:lnTo>
                    <a:pt x="29" y="201"/>
                  </a:lnTo>
                  <a:lnTo>
                    <a:pt x="20" y="205"/>
                  </a:lnTo>
                  <a:lnTo>
                    <a:pt x="14" y="205"/>
                  </a:lnTo>
                  <a:lnTo>
                    <a:pt x="12" y="211"/>
                  </a:lnTo>
                  <a:lnTo>
                    <a:pt x="7" y="214"/>
                  </a:lnTo>
                  <a:lnTo>
                    <a:pt x="0" y="21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72" name="Freeform 20"/>
            <p:cNvSpPr>
              <a:spLocks/>
            </p:cNvSpPr>
            <p:nvPr/>
          </p:nvSpPr>
          <p:spPr bwMode="auto">
            <a:xfrm>
              <a:off x="2189543" y="3669215"/>
              <a:ext cx="277199" cy="295008"/>
            </a:xfrm>
            <a:custGeom>
              <a:avLst/>
              <a:gdLst>
                <a:gd name="T0" fmla="*/ 232 w 452"/>
                <a:gd name="T1" fmla="*/ 402 h 445"/>
                <a:gd name="T2" fmla="*/ 255 w 452"/>
                <a:gd name="T3" fmla="*/ 371 h 445"/>
                <a:gd name="T4" fmla="*/ 266 w 452"/>
                <a:gd name="T5" fmla="*/ 359 h 445"/>
                <a:gd name="T6" fmla="*/ 286 w 452"/>
                <a:gd name="T7" fmla="*/ 361 h 445"/>
                <a:gd name="T8" fmla="*/ 322 w 452"/>
                <a:gd name="T9" fmla="*/ 374 h 445"/>
                <a:gd name="T10" fmla="*/ 359 w 452"/>
                <a:gd name="T11" fmla="*/ 376 h 445"/>
                <a:gd name="T12" fmla="*/ 395 w 452"/>
                <a:gd name="T13" fmla="*/ 422 h 445"/>
                <a:gd name="T14" fmla="*/ 419 w 452"/>
                <a:gd name="T15" fmla="*/ 432 h 445"/>
                <a:gd name="T16" fmla="*/ 435 w 452"/>
                <a:gd name="T17" fmla="*/ 432 h 445"/>
                <a:gd name="T18" fmla="*/ 445 w 452"/>
                <a:gd name="T19" fmla="*/ 386 h 445"/>
                <a:gd name="T20" fmla="*/ 441 w 452"/>
                <a:gd name="T21" fmla="*/ 335 h 445"/>
                <a:gd name="T22" fmla="*/ 421 w 452"/>
                <a:gd name="T23" fmla="*/ 338 h 445"/>
                <a:gd name="T24" fmla="*/ 411 w 452"/>
                <a:gd name="T25" fmla="*/ 303 h 445"/>
                <a:gd name="T26" fmla="*/ 388 w 452"/>
                <a:gd name="T27" fmla="*/ 252 h 445"/>
                <a:gd name="T28" fmla="*/ 359 w 452"/>
                <a:gd name="T29" fmla="*/ 237 h 445"/>
                <a:gd name="T30" fmla="*/ 372 w 452"/>
                <a:gd name="T31" fmla="*/ 223 h 445"/>
                <a:gd name="T32" fmla="*/ 368 w 452"/>
                <a:gd name="T33" fmla="*/ 189 h 445"/>
                <a:gd name="T34" fmla="*/ 346 w 452"/>
                <a:gd name="T35" fmla="*/ 159 h 445"/>
                <a:gd name="T36" fmla="*/ 328 w 452"/>
                <a:gd name="T37" fmla="*/ 132 h 445"/>
                <a:gd name="T38" fmla="*/ 326 w 452"/>
                <a:gd name="T39" fmla="*/ 121 h 445"/>
                <a:gd name="T40" fmla="*/ 315 w 452"/>
                <a:gd name="T41" fmla="*/ 124 h 445"/>
                <a:gd name="T42" fmla="*/ 306 w 452"/>
                <a:gd name="T43" fmla="*/ 116 h 445"/>
                <a:gd name="T44" fmla="*/ 302 w 452"/>
                <a:gd name="T45" fmla="*/ 101 h 445"/>
                <a:gd name="T46" fmla="*/ 305 w 452"/>
                <a:gd name="T47" fmla="*/ 61 h 445"/>
                <a:gd name="T48" fmla="*/ 276 w 452"/>
                <a:gd name="T49" fmla="*/ 47 h 445"/>
                <a:gd name="T50" fmla="*/ 273 w 452"/>
                <a:gd name="T51" fmla="*/ 28 h 445"/>
                <a:gd name="T52" fmla="*/ 270 w 452"/>
                <a:gd name="T53" fmla="*/ 23 h 445"/>
                <a:gd name="T54" fmla="*/ 259 w 452"/>
                <a:gd name="T55" fmla="*/ 21 h 445"/>
                <a:gd name="T56" fmla="*/ 239 w 452"/>
                <a:gd name="T57" fmla="*/ 5 h 445"/>
                <a:gd name="T58" fmla="*/ 223 w 452"/>
                <a:gd name="T59" fmla="*/ 7 h 445"/>
                <a:gd name="T60" fmla="*/ 236 w 452"/>
                <a:gd name="T61" fmla="*/ 14 h 445"/>
                <a:gd name="T62" fmla="*/ 222 w 452"/>
                <a:gd name="T63" fmla="*/ 30 h 445"/>
                <a:gd name="T64" fmla="*/ 216 w 452"/>
                <a:gd name="T65" fmla="*/ 37 h 445"/>
                <a:gd name="T66" fmla="*/ 202 w 452"/>
                <a:gd name="T67" fmla="*/ 41 h 445"/>
                <a:gd name="T68" fmla="*/ 197 w 452"/>
                <a:gd name="T69" fmla="*/ 20 h 445"/>
                <a:gd name="T70" fmla="*/ 183 w 452"/>
                <a:gd name="T71" fmla="*/ 14 h 445"/>
                <a:gd name="T72" fmla="*/ 167 w 452"/>
                <a:gd name="T73" fmla="*/ 41 h 445"/>
                <a:gd name="T74" fmla="*/ 152 w 452"/>
                <a:gd name="T75" fmla="*/ 61 h 445"/>
                <a:gd name="T76" fmla="*/ 142 w 452"/>
                <a:gd name="T77" fmla="*/ 71 h 445"/>
                <a:gd name="T78" fmla="*/ 139 w 452"/>
                <a:gd name="T79" fmla="*/ 93 h 445"/>
                <a:gd name="T80" fmla="*/ 123 w 452"/>
                <a:gd name="T81" fmla="*/ 109 h 445"/>
                <a:gd name="T82" fmla="*/ 144 w 452"/>
                <a:gd name="T83" fmla="*/ 129 h 445"/>
                <a:gd name="T84" fmla="*/ 129 w 452"/>
                <a:gd name="T85" fmla="*/ 149 h 445"/>
                <a:gd name="T86" fmla="*/ 96 w 452"/>
                <a:gd name="T87" fmla="*/ 149 h 445"/>
                <a:gd name="T88" fmla="*/ 103 w 452"/>
                <a:gd name="T89" fmla="*/ 202 h 445"/>
                <a:gd name="T90" fmla="*/ 71 w 452"/>
                <a:gd name="T91" fmla="*/ 213 h 445"/>
                <a:gd name="T92" fmla="*/ 50 w 452"/>
                <a:gd name="T93" fmla="*/ 240 h 445"/>
                <a:gd name="T94" fmla="*/ 3 w 452"/>
                <a:gd name="T95" fmla="*/ 289 h 445"/>
                <a:gd name="T96" fmla="*/ 5 w 452"/>
                <a:gd name="T97" fmla="*/ 338 h 445"/>
                <a:gd name="T98" fmla="*/ 44 w 452"/>
                <a:gd name="T99" fmla="*/ 398 h 445"/>
                <a:gd name="T100" fmla="*/ 81 w 452"/>
                <a:gd name="T101" fmla="*/ 435 h 445"/>
                <a:gd name="T102" fmla="*/ 114 w 452"/>
                <a:gd name="T103" fmla="*/ 442 h 445"/>
                <a:gd name="T104" fmla="*/ 160 w 452"/>
                <a:gd name="T105" fmla="*/ 435 h 445"/>
                <a:gd name="T106" fmla="*/ 183 w 452"/>
                <a:gd name="T107" fmla="*/ 434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52" h="445">
                  <a:moveTo>
                    <a:pt x="197" y="424"/>
                  </a:moveTo>
                  <a:lnTo>
                    <a:pt x="215" y="425"/>
                  </a:lnTo>
                  <a:lnTo>
                    <a:pt x="227" y="422"/>
                  </a:lnTo>
                  <a:lnTo>
                    <a:pt x="232" y="412"/>
                  </a:lnTo>
                  <a:lnTo>
                    <a:pt x="233" y="411"/>
                  </a:lnTo>
                  <a:lnTo>
                    <a:pt x="232" y="402"/>
                  </a:lnTo>
                  <a:lnTo>
                    <a:pt x="240" y="402"/>
                  </a:lnTo>
                  <a:lnTo>
                    <a:pt x="249" y="401"/>
                  </a:lnTo>
                  <a:lnTo>
                    <a:pt x="256" y="396"/>
                  </a:lnTo>
                  <a:lnTo>
                    <a:pt x="256" y="391"/>
                  </a:lnTo>
                  <a:lnTo>
                    <a:pt x="252" y="385"/>
                  </a:lnTo>
                  <a:lnTo>
                    <a:pt x="255" y="371"/>
                  </a:lnTo>
                  <a:lnTo>
                    <a:pt x="253" y="362"/>
                  </a:lnTo>
                  <a:lnTo>
                    <a:pt x="253" y="359"/>
                  </a:lnTo>
                  <a:lnTo>
                    <a:pt x="252" y="352"/>
                  </a:lnTo>
                  <a:lnTo>
                    <a:pt x="253" y="349"/>
                  </a:lnTo>
                  <a:lnTo>
                    <a:pt x="263" y="355"/>
                  </a:lnTo>
                  <a:lnTo>
                    <a:pt x="266" y="359"/>
                  </a:lnTo>
                  <a:lnTo>
                    <a:pt x="269" y="361"/>
                  </a:lnTo>
                  <a:lnTo>
                    <a:pt x="273" y="365"/>
                  </a:lnTo>
                  <a:lnTo>
                    <a:pt x="276" y="369"/>
                  </a:lnTo>
                  <a:lnTo>
                    <a:pt x="278" y="368"/>
                  </a:lnTo>
                  <a:lnTo>
                    <a:pt x="279" y="361"/>
                  </a:lnTo>
                  <a:lnTo>
                    <a:pt x="286" y="361"/>
                  </a:lnTo>
                  <a:lnTo>
                    <a:pt x="290" y="359"/>
                  </a:lnTo>
                  <a:lnTo>
                    <a:pt x="296" y="359"/>
                  </a:lnTo>
                  <a:lnTo>
                    <a:pt x="303" y="366"/>
                  </a:lnTo>
                  <a:lnTo>
                    <a:pt x="309" y="372"/>
                  </a:lnTo>
                  <a:lnTo>
                    <a:pt x="313" y="374"/>
                  </a:lnTo>
                  <a:lnTo>
                    <a:pt x="322" y="374"/>
                  </a:lnTo>
                  <a:lnTo>
                    <a:pt x="329" y="368"/>
                  </a:lnTo>
                  <a:lnTo>
                    <a:pt x="341" y="364"/>
                  </a:lnTo>
                  <a:lnTo>
                    <a:pt x="348" y="362"/>
                  </a:lnTo>
                  <a:lnTo>
                    <a:pt x="356" y="366"/>
                  </a:lnTo>
                  <a:lnTo>
                    <a:pt x="358" y="371"/>
                  </a:lnTo>
                  <a:lnTo>
                    <a:pt x="359" y="376"/>
                  </a:lnTo>
                  <a:lnTo>
                    <a:pt x="361" y="382"/>
                  </a:lnTo>
                  <a:lnTo>
                    <a:pt x="364" y="391"/>
                  </a:lnTo>
                  <a:lnTo>
                    <a:pt x="369" y="398"/>
                  </a:lnTo>
                  <a:lnTo>
                    <a:pt x="375" y="405"/>
                  </a:lnTo>
                  <a:lnTo>
                    <a:pt x="388" y="415"/>
                  </a:lnTo>
                  <a:lnTo>
                    <a:pt x="395" y="422"/>
                  </a:lnTo>
                  <a:lnTo>
                    <a:pt x="401" y="425"/>
                  </a:lnTo>
                  <a:lnTo>
                    <a:pt x="409" y="424"/>
                  </a:lnTo>
                  <a:lnTo>
                    <a:pt x="414" y="425"/>
                  </a:lnTo>
                  <a:lnTo>
                    <a:pt x="417" y="428"/>
                  </a:lnTo>
                  <a:lnTo>
                    <a:pt x="418" y="431"/>
                  </a:lnTo>
                  <a:lnTo>
                    <a:pt x="419" y="432"/>
                  </a:lnTo>
                  <a:lnTo>
                    <a:pt x="424" y="438"/>
                  </a:lnTo>
                  <a:lnTo>
                    <a:pt x="427" y="439"/>
                  </a:lnTo>
                  <a:lnTo>
                    <a:pt x="429" y="442"/>
                  </a:lnTo>
                  <a:lnTo>
                    <a:pt x="434" y="439"/>
                  </a:lnTo>
                  <a:lnTo>
                    <a:pt x="432" y="435"/>
                  </a:lnTo>
                  <a:lnTo>
                    <a:pt x="435" y="432"/>
                  </a:lnTo>
                  <a:lnTo>
                    <a:pt x="441" y="428"/>
                  </a:lnTo>
                  <a:lnTo>
                    <a:pt x="449" y="414"/>
                  </a:lnTo>
                  <a:lnTo>
                    <a:pt x="452" y="404"/>
                  </a:lnTo>
                  <a:lnTo>
                    <a:pt x="451" y="399"/>
                  </a:lnTo>
                  <a:lnTo>
                    <a:pt x="448" y="394"/>
                  </a:lnTo>
                  <a:lnTo>
                    <a:pt x="445" y="386"/>
                  </a:lnTo>
                  <a:lnTo>
                    <a:pt x="445" y="382"/>
                  </a:lnTo>
                  <a:lnTo>
                    <a:pt x="448" y="376"/>
                  </a:lnTo>
                  <a:lnTo>
                    <a:pt x="452" y="371"/>
                  </a:lnTo>
                  <a:lnTo>
                    <a:pt x="444" y="356"/>
                  </a:lnTo>
                  <a:lnTo>
                    <a:pt x="441" y="346"/>
                  </a:lnTo>
                  <a:lnTo>
                    <a:pt x="441" y="335"/>
                  </a:lnTo>
                  <a:lnTo>
                    <a:pt x="437" y="333"/>
                  </a:lnTo>
                  <a:lnTo>
                    <a:pt x="434" y="326"/>
                  </a:lnTo>
                  <a:lnTo>
                    <a:pt x="428" y="331"/>
                  </a:lnTo>
                  <a:lnTo>
                    <a:pt x="425" y="335"/>
                  </a:lnTo>
                  <a:lnTo>
                    <a:pt x="424" y="339"/>
                  </a:lnTo>
                  <a:lnTo>
                    <a:pt x="421" y="338"/>
                  </a:lnTo>
                  <a:lnTo>
                    <a:pt x="418" y="332"/>
                  </a:lnTo>
                  <a:lnTo>
                    <a:pt x="418" y="326"/>
                  </a:lnTo>
                  <a:lnTo>
                    <a:pt x="418" y="323"/>
                  </a:lnTo>
                  <a:lnTo>
                    <a:pt x="414" y="313"/>
                  </a:lnTo>
                  <a:lnTo>
                    <a:pt x="412" y="308"/>
                  </a:lnTo>
                  <a:lnTo>
                    <a:pt x="411" y="303"/>
                  </a:lnTo>
                  <a:lnTo>
                    <a:pt x="409" y="288"/>
                  </a:lnTo>
                  <a:lnTo>
                    <a:pt x="405" y="283"/>
                  </a:lnTo>
                  <a:lnTo>
                    <a:pt x="399" y="276"/>
                  </a:lnTo>
                  <a:lnTo>
                    <a:pt x="395" y="268"/>
                  </a:lnTo>
                  <a:lnTo>
                    <a:pt x="394" y="256"/>
                  </a:lnTo>
                  <a:lnTo>
                    <a:pt x="388" y="252"/>
                  </a:lnTo>
                  <a:lnTo>
                    <a:pt x="382" y="256"/>
                  </a:lnTo>
                  <a:lnTo>
                    <a:pt x="378" y="256"/>
                  </a:lnTo>
                  <a:lnTo>
                    <a:pt x="374" y="245"/>
                  </a:lnTo>
                  <a:lnTo>
                    <a:pt x="368" y="245"/>
                  </a:lnTo>
                  <a:lnTo>
                    <a:pt x="365" y="237"/>
                  </a:lnTo>
                  <a:lnTo>
                    <a:pt x="359" y="237"/>
                  </a:lnTo>
                  <a:lnTo>
                    <a:pt x="354" y="236"/>
                  </a:lnTo>
                  <a:lnTo>
                    <a:pt x="352" y="233"/>
                  </a:lnTo>
                  <a:lnTo>
                    <a:pt x="352" y="229"/>
                  </a:lnTo>
                  <a:lnTo>
                    <a:pt x="356" y="227"/>
                  </a:lnTo>
                  <a:lnTo>
                    <a:pt x="361" y="226"/>
                  </a:lnTo>
                  <a:lnTo>
                    <a:pt x="372" y="223"/>
                  </a:lnTo>
                  <a:lnTo>
                    <a:pt x="372" y="215"/>
                  </a:lnTo>
                  <a:lnTo>
                    <a:pt x="371" y="212"/>
                  </a:lnTo>
                  <a:lnTo>
                    <a:pt x="369" y="209"/>
                  </a:lnTo>
                  <a:lnTo>
                    <a:pt x="368" y="197"/>
                  </a:lnTo>
                  <a:lnTo>
                    <a:pt x="368" y="192"/>
                  </a:lnTo>
                  <a:lnTo>
                    <a:pt x="368" y="189"/>
                  </a:lnTo>
                  <a:lnTo>
                    <a:pt x="365" y="185"/>
                  </a:lnTo>
                  <a:lnTo>
                    <a:pt x="362" y="182"/>
                  </a:lnTo>
                  <a:lnTo>
                    <a:pt x="358" y="177"/>
                  </a:lnTo>
                  <a:lnTo>
                    <a:pt x="356" y="173"/>
                  </a:lnTo>
                  <a:lnTo>
                    <a:pt x="351" y="166"/>
                  </a:lnTo>
                  <a:lnTo>
                    <a:pt x="346" y="159"/>
                  </a:lnTo>
                  <a:lnTo>
                    <a:pt x="339" y="149"/>
                  </a:lnTo>
                  <a:lnTo>
                    <a:pt x="332" y="139"/>
                  </a:lnTo>
                  <a:lnTo>
                    <a:pt x="332" y="139"/>
                  </a:lnTo>
                  <a:lnTo>
                    <a:pt x="332" y="136"/>
                  </a:lnTo>
                  <a:lnTo>
                    <a:pt x="332" y="134"/>
                  </a:lnTo>
                  <a:lnTo>
                    <a:pt x="328" y="132"/>
                  </a:lnTo>
                  <a:lnTo>
                    <a:pt x="328" y="132"/>
                  </a:lnTo>
                  <a:lnTo>
                    <a:pt x="326" y="129"/>
                  </a:lnTo>
                  <a:lnTo>
                    <a:pt x="326" y="127"/>
                  </a:lnTo>
                  <a:lnTo>
                    <a:pt x="326" y="124"/>
                  </a:lnTo>
                  <a:lnTo>
                    <a:pt x="326" y="121"/>
                  </a:lnTo>
                  <a:lnTo>
                    <a:pt x="326" y="121"/>
                  </a:lnTo>
                  <a:lnTo>
                    <a:pt x="323" y="121"/>
                  </a:lnTo>
                  <a:lnTo>
                    <a:pt x="321" y="123"/>
                  </a:lnTo>
                  <a:lnTo>
                    <a:pt x="319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5" y="124"/>
                  </a:lnTo>
                  <a:lnTo>
                    <a:pt x="313" y="123"/>
                  </a:lnTo>
                  <a:lnTo>
                    <a:pt x="313" y="119"/>
                  </a:lnTo>
                  <a:lnTo>
                    <a:pt x="313" y="119"/>
                  </a:lnTo>
                  <a:lnTo>
                    <a:pt x="313" y="117"/>
                  </a:lnTo>
                  <a:lnTo>
                    <a:pt x="312" y="117"/>
                  </a:lnTo>
                  <a:lnTo>
                    <a:pt x="306" y="116"/>
                  </a:lnTo>
                  <a:lnTo>
                    <a:pt x="306" y="116"/>
                  </a:lnTo>
                  <a:lnTo>
                    <a:pt x="305" y="114"/>
                  </a:lnTo>
                  <a:lnTo>
                    <a:pt x="305" y="113"/>
                  </a:lnTo>
                  <a:lnTo>
                    <a:pt x="305" y="110"/>
                  </a:lnTo>
                  <a:lnTo>
                    <a:pt x="305" y="106"/>
                  </a:lnTo>
                  <a:lnTo>
                    <a:pt x="302" y="101"/>
                  </a:lnTo>
                  <a:lnTo>
                    <a:pt x="301" y="97"/>
                  </a:lnTo>
                  <a:lnTo>
                    <a:pt x="305" y="91"/>
                  </a:lnTo>
                  <a:lnTo>
                    <a:pt x="311" y="84"/>
                  </a:lnTo>
                  <a:lnTo>
                    <a:pt x="312" y="76"/>
                  </a:lnTo>
                  <a:lnTo>
                    <a:pt x="308" y="67"/>
                  </a:lnTo>
                  <a:lnTo>
                    <a:pt x="305" y="61"/>
                  </a:lnTo>
                  <a:lnTo>
                    <a:pt x="298" y="54"/>
                  </a:lnTo>
                  <a:lnTo>
                    <a:pt x="279" y="66"/>
                  </a:lnTo>
                  <a:lnTo>
                    <a:pt x="276" y="66"/>
                  </a:lnTo>
                  <a:lnTo>
                    <a:pt x="272" y="57"/>
                  </a:lnTo>
                  <a:lnTo>
                    <a:pt x="273" y="51"/>
                  </a:lnTo>
                  <a:lnTo>
                    <a:pt x="276" y="47"/>
                  </a:lnTo>
                  <a:lnTo>
                    <a:pt x="278" y="46"/>
                  </a:lnTo>
                  <a:lnTo>
                    <a:pt x="280" y="41"/>
                  </a:lnTo>
                  <a:lnTo>
                    <a:pt x="282" y="37"/>
                  </a:lnTo>
                  <a:lnTo>
                    <a:pt x="282" y="30"/>
                  </a:lnTo>
                  <a:lnTo>
                    <a:pt x="278" y="27"/>
                  </a:lnTo>
                  <a:lnTo>
                    <a:pt x="273" y="28"/>
                  </a:lnTo>
                  <a:lnTo>
                    <a:pt x="270" y="30"/>
                  </a:lnTo>
                  <a:lnTo>
                    <a:pt x="268" y="36"/>
                  </a:lnTo>
                  <a:lnTo>
                    <a:pt x="268" y="34"/>
                  </a:lnTo>
                  <a:lnTo>
                    <a:pt x="266" y="30"/>
                  </a:lnTo>
                  <a:lnTo>
                    <a:pt x="268" y="26"/>
                  </a:lnTo>
                  <a:lnTo>
                    <a:pt x="270" y="23"/>
                  </a:lnTo>
                  <a:lnTo>
                    <a:pt x="275" y="17"/>
                  </a:lnTo>
                  <a:lnTo>
                    <a:pt x="273" y="14"/>
                  </a:lnTo>
                  <a:lnTo>
                    <a:pt x="269" y="11"/>
                  </a:lnTo>
                  <a:lnTo>
                    <a:pt x="266" y="13"/>
                  </a:lnTo>
                  <a:lnTo>
                    <a:pt x="263" y="17"/>
                  </a:lnTo>
                  <a:lnTo>
                    <a:pt x="259" y="21"/>
                  </a:lnTo>
                  <a:lnTo>
                    <a:pt x="258" y="23"/>
                  </a:lnTo>
                  <a:lnTo>
                    <a:pt x="256" y="18"/>
                  </a:lnTo>
                  <a:lnTo>
                    <a:pt x="253" y="13"/>
                  </a:lnTo>
                  <a:lnTo>
                    <a:pt x="248" y="8"/>
                  </a:lnTo>
                  <a:lnTo>
                    <a:pt x="243" y="7"/>
                  </a:lnTo>
                  <a:lnTo>
                    <a:pt x="239" y="5"/>
                  </a:lnTo>
                  <a:lnTo>
                    <a:pt x="235" y="3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2" y="4"/>
                  </a:lnTo>
                  <a:lnTo>
                    <a:pt x="220" y="5"/>
                  </a:lnTo>
                  <a:lnTo>
                    <a:pt x="223" y="7"/>
                  </a:lnTo>
                  <a:lnTo>
                    <a:pt x="226" y="8"/>
                  </a:lnTo>
                  <a:lnTo>
                    <a:pt x="230" y="7"/>
                  </a:lnTo>
                  <a:lnTo>
                    <a:pt x="233" y="7"/>
                  </a:lnTo>
                  <a:lnTo>
                    <a:pt x="235" y="10"/>
                  </a:lnTo>
                  <a:lnTo>
                    <a:pt x="236" y="11"/>
                  </a:lnTo>
                  <a:lnTo>
                    <a:pt x="236" y="14"/>
                  </a:lnTo>
                  <a:lnTo>
                    <a:pt x="233" y="16"/>
                  </a:lnTo>
                  <a:lnTo>
                    <a:pt x="230" y="17"/>
                  </a:lnTo>
                  <a:lnTo>
                    <a:pt x="227" y="18"/>
                  </a:lnTo>
                  <a:lnTo>
                    <a:pt x="225" y="23"/>
                  </a:lnTo>
                  <a:lnTo>
                    <a:pt x="225" y="28"/>
                  </a:lnTo>
                  <a:lnTo>
                    <a:pt x="222" y="30"/>
                  </a:lnTo>
                  <a:lnTo>
                    <a:pt x="216" y="28"/>
                  </a:lnTo>
                  <a:lnTo>
                    <a:pt x="215" y="28"/>
                  </a:lnTo>
                  <a:lnTo>
                    <a:pt x="213" y="30"/>
                  </a:lnTo>
                  <a:lnTo>
                    <a:pt x="212" y="33"/>
                  </a:lnTo>
                  <a:lnTo>
                    <a:pt x="213" y="34"/>
                  </a:lnTo>
                  <a:lnTo>
                    <a:pt x="216" y="37"/>
                  </a:lnTo>
                  <a:lnTo>
                    <a:pt x="219" y="38"/>
                  </a:lnTo>
                  <a:lnTo>
                    <a:pt x="220" y="41"/>
                  </a:lnTo>
                  <a:lnTo>
                    <a:pt x="217" y="43"/>
                  </a:lnTo>
                  <a:lnTo>
                    <a:pt x="215" y="43"/>
                  </a:lnTo>
                  <a:lnTo>
                    <a:pt x="205" y="43"/>
                  </a:lnTo>
                  <a:lnTo>
                    <a:pt x="202" y="41"/>
                  </a:lnTo>
                  <a:lnTo>
                    <a:pt x="202" y="40"/>
                  </a:lnTo>
                  <a:lnTo>
                    <a:pt x="200" y="33"/>
                  </a:lnTo>
                  <a:lnTo>
                    <a:pt x="199" y="28"/>
                  </a:lnTo>
                  <a:lnTo>
                    <a:pt x="200" y="23"/>
                  </a:lnTo>
                  <a:lnTo>
                    <a:pt x="199" y="21"/>
                  </a:lnTo>
                  <a:lnTo>
                    <a:pt x="197" y="20"/>
                  </a:lnTo>
                  <a:lnTo>
                    <a:pt x="195" y="21"/>
                  </a:lnTo>
                  <a:lnTo>
                    <a:pt x="190" y="24"/>
                  </a:lnTo>
                  <a:lnTo>
                    <a:pt x="187" y="24"/>
                  </a:lnTo>
                  <a:lnTo>
                    <a:pt x="185" y="26"/>
                  </a:lnTo>
                  <a:lnTo>
                    <a:pt x="183" y="23"/>
                  </a:lnTo>
                  <a:lnTo>
                    <a:pt x="183" y="14"/>
                  </a:lnTo>
                  <a:lnTo>
                    <a:pt x="177" y="20"/>
                  </a:lnTo>
                  <a:lnTo>
                    <a:pt x="176" y="27"/>
                  </a:lnTo>
                  <a:lnTo>
                    <a:pt x="174" y="31"/>
                  </a:lnTo>
                  <a:lnTo>
                    <a:pt x="173" y="37"/>
                  </a:lnTo>
                  <a:lnTo>
                    <a:pt x="172" y="38"/>
                  </a:lnTo>
                  <a:lnTo>
                    <a:pt x="167" y="41"/>
                  </a:lnTo>
                  <a:lnTo>
                    <a:pt x="164" y="43"/>
                  </a:lnTo>
                  <a:lnTo>
                    <a:pt x="162" y="44"/>
                  </a:lnTo>
                  <a:lnTo>
                    <a:pt x="160" y="51"/>
                  </a:lnTo>
                  <a:lnTo>
                    <a:pt x="154" y="53"/>
                  </a:lnTo>
                  <a:lnTo>
                    <a:pt x="153" y="57"/>
                  </a:lnTo>
                  <a:lnTo>
                    <a:pt x="152" y="61"/>
                  </a:lnTo>
                  <a:lnTo>
                    <a:pt x="149" y="63"/>
                  </a:lnTo>
                  <a:lnTo>
                    <a:pt x="146" y="64"/>
                  </a:lnTo>
                  <a:lnTo>
                    <a:pt x="142" y="63"/>
                  </a:lnTo>
                  <a:lnTo>
                    <a:pt x="139" y="58"/>
                  </a:lnTo>
                  <a:lnTo>
                    <a:pt x="139" y="66"/>
                  </a:lnTo>
                  <a:lnTo>
                    <a:pt x="142" y="71"/>
                  </a:lnTo>
                  <a:lnTo>
                    <a:pt x="146" y="74"/>
                  </a:lnTo>
                  <a:lnTo>
                    <a:pt x="147" y="79"/>
                  </a:lnTo>
                  <a:lnTo>
                    <a:pt x="152" y="87"/>
                  </a:lnTo>
                  <a:lnTo>
                    <a:pt x="149" y="89"/>
                  </a:lnTo>
                  <a:lnTo>
                    <a:pt x="140" y="89"/>
                  </a:lnTo>
                  <a:lnTo>
                    <a:pt x="139" y="93"/>
                  </a:lnTo>
                  <a:lnTo>
                    <a:pt x="133" y="90"/>
                  </a:lnTo>
                  <a:lnTo>
                    <a:pt x="127" y="86"/>
                  </a:lnTo>
                  <a:lnTo>
                    <a:pt x="120" y="91"/>
                  </a:lnTo>
                  <a:lnTo>
                    <a:pt x="117" y="97"/>
                  </a:lnTo>
                  <a:lnTo>
                    <a:pt x="120" y="104"/>
                  </a:lnTo>
                  <a:lnTo>
                    <a:pt x="123" y="109"/>
                  </a:lnTo>
                  <a:lnTo>
                    <a:pt x="123" y="120"/>
                  </a:lnTo>
                  <a:lnTo>
                    <a:pt x="130" y="119"/>
                  </a:lnTo>
                  <a:lnTo>
                    <a:pt x="137" y="120"/>
                  </a:lnTo>
                  <a:lnTo>
                    <a:pt x="143" y="121"/>
                  </a:lnTo>
                  <a:lnTo>
                    <a:pt x="144" y="124"/>
                  </a:lnTo>
                  <a:lnTo>
                    <a:pt x="144" y="129"/>
                  </a:lnTo>
                  <a:lnTo>
                    <a:pt x="140" y="129"/>
                  </a:lnTo>
                  <a:lnTo>
                    <a:pt x="139" y="132"/>
                  </a:lnTo>
                  <a:lnTo>
                    <a:pt x="139" y="139"/>
                  </a:lnTo>
                  <a:lnTo>
                    <a:pt x="133" y="142"/>
                  </a:lnTo>
                  <a:lnTo>
                    <a:pt x="129" y="142"/>
                  </a:lnTo>
                  <a:lnTo>
                    <a:pt x="129" y="149"/>
                  </a:lnTo>
                  <a:lnTo>
                    <a:pt x="124" y="149"/>
                  </a:lnTo>
                  <a:lnTo>
                    <a:pt x="119" y="144"/>
                  </a:lnTo>
                  <a:lnTo>
                    <a:pt x="122" y="140"/>
                  </a:lnTo>
                  <a:lnTo>
                    <a:pt x="114" y="137"/>
                  </a:lnTo>
                  <a:lnTo>
                    <a:pt x="104" y="144"/>
                  </a:lnTo>
                  <a:lnTo>
                    <a:pt x="96" y="149"/>
                  </a:lnTo>
                  <a:lnTo>
                    <a:pt x="94" y="160"/>
                  </a:lnTo>
                  <a:lnTo>
                    <a:pt x="100" y="179"/>
                  </a:lnTo>
                  <a:lnTo>
                    <a:pt x="101" y="186"/>
                  </a:lnTo>
                  <a:lnTo>
                    <a:pt x="97" y="187"/>
                  </a:lnTo>
                  <a:lnTo>
                    <a:pt x="101" y="197"/>
                  </a:lnTo>
                  <a:lnTo>
                    <a:pt x="103" y="202"/>
                  </a:lnTo>
                  <a:lnTo>
                    <a:pt x="101" y="205"/>
                  </a:lnTo>
                  <a:lnTo>
                    <a:pt x="87" y="213"/>
                  </a:lnTo>
                  <a:lnTo>
                    <a:pt x="86" y="216"/>
                  </a:lnTo>
                  <a:lnTo>
                    <a:pt x="81" y="213"/>
                  </a:lnTo>
                  <a:lnTo>
                    <a:pt x="73" y="212"/>
                  </a:lnTo>
                  <a:lnTo>
                    <a:pt x="71" y="213"/>
                  </a:lnTo>
                  <a:lnTo>
                    <a:pt x="66" y="216"/>
                  </a:lnTo>
                  <a:lnTo>
                    <a:pt x="67" y="227"/>
                  </a:lnTo>
                  <a:lnTo>
                    <a:pt x="60" y="227"/>
                  </a:lnTo>
                  <a:lnTo>
                    <a:pt x="54" y="226"/>
                  </a:lnTo>
                  <a:lnTo>
                    <a:pt x="54" y="233"/>
                  </a:lnTo>
                  <a:lnTo>
                    <a:pt x="50" y="240"/>
                  </a:lnTo>
                  <a:lnTo>
                    <a:pt x="38" y="249"/>
                  </a:lnTo>
                  <a:lnTo>
                    <a:pt x="41" y="258"/>
                  </a:lnTo>
                  <a:lnTo>
                    <a:pt x="41" y="263"/>
                  </a:lnTo>
                  <a:lnTo>
                    <a:pt x="34" y="266"/>
                  </a:lnTo>
                  <a:lnTo>
                    <a:pt x="11" y="278"/>
                  </a:lnTo>
                  <a:lnTo>
                    <a:pt x="3" y="289"/>
                  </a:lnTo>
                  <a:lnTo>
                    <a:pt x="0" y="299"/>
                  </a:lnTo>
                  <a:lnTo>
                    <a:pt x="3" y="306"/>
                  </a:lnTo>
                  <a:lnTo>
                    <a:pt x="13" y="316"/>
                  </a:lnTo>
                  <a:lnTo>
                    <a:pt x="16" y="322"/>
                  </a:lnTo>
                  <a:lnTo>
                    <a:pt x="16" y="328"/>
                  </a:lnTo>
                  <a:lnTo>
                    <a:pt x="5" y="338"/>
                  </a:lnTo>
                  <a:lnTo>
                    <a:pt x="10" y="354"/>
                  </a:lnTo>
                  <a:lnTo>
                    <a:pt x="17" y="368"/>
                  </a:lnTo>
                  <a:lnTo>
                    <a:pt x="36" y="381"/>
                  </a:lnTo>
                  <a:lnTo>
                    <a:pt x="41" y="388"/>
                  </a:lnTo>
                  <a:lnTo>
                    <a:pt x="44" y="392"/>
                  </a:lnTo>
                  <a:lnTo>
                    <a:pt x="44" y="398"/>
                  </a:lnTo>
                  <a:lnTo>
                    <a:pt x="47" y="404"/>
                  </a:lnTo>
                  <a:lnTo>
                    <a:pt x="51" y="419"/>
                  </a:lnTo>
                  <a:lnTo>
                    <a:pt x="60" y="425"/>
                  </a:lnTo>
                  <a:lnTo>
                    <a:pt x="70" y="429"/>
                  </a:lnTo>
                  <a:lnTo>
                    <a:pt x="77" y="428"/>
                  </a:lnTo>
                  <a:lnTo>
                    <a:pt x="81" y="435"/>
                  </a:lnTo>
                  <a:lnTo>
                    <a:pt x="89" y="435"/>
                  </a:lnTo>
                  <a:lnTo>
                    <a:pt x="93" y="441"/>
                  </a:lnTo>
                  <a:lnTo>
                    <a:pt x="94" y="444"/>
                  </a:lnTo>
                  <a:lnTo>
                    <a:pt x="99" y="442"/>
                  </a:lnTo>
                  <a:lnTo>
                    <a:pt x="106" y="445"/>
                  </a:lnTo>
                  <a:lnTo>
                    <a:pt x="114" y="442"/>
                  </a:lnTo>
                  <a:lnTo>
                    <a:pt x="124" y="437"/>
                  </a:lnTo>
                  <a:lnTo>
                    <a:pt x="139" y="429"/>
                  </a:lnTo>
                  <a:lnTo>
                    <a:pt x="143" y="429"/>
                  </a:lnTo>
                  <a:lnTo>
                    <a:pt x="147" y="429"/>
                  </a:lnTo>
                  <a:lnTo>
                    <a:pt x="153" y="429"/>
                  </a:lnTo>
                  <a:lnTo>
                    <a:pt x="160" y="435"/>
                  </a:lnTo>
                  <a:lnTo>
                    <a:pt x="164" y="438"/>
                  </a:lnTo>
                  <a:lnTo>
                    <a:pt x="170" y="437"/>
                  </a:lnTo>
                  <a:lnTo>
                    <a:pt x="174" y="435"/>
                  </a:lnTo>
                  <a:lnTo>
                    <a:pt x="177" y="437"/>
                  </a:lnTo>
                  <a:lnTo>
                    <a:pt x="182" y="438"/>
                  </a:lnTo>
                  <a:lnTo>
                    <a:pt x="183" y="434"/>
                  </a:lnTo>
                  <a:lnTo>
                    <a:pt x="186" y="431"/>
                  </a:lnTo>
                  <a:lnTo>
                    <a:pt x="187" y="427"/>
                  </a:lnTo>
                  <a:lnTo>
                    <a:pt x="192" y="422"/>
                  </a:lnTo>
                  <a:lnTo>
                    <a:pt x="197" y="42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73" name="Freeform 21"/>
            <p:cNvSpPr>
              <a:spLocks/>
            </p:cNvSpPr>
            <p:nvPr/>
          </p:nvSpPr>
          <p:spPr bwMode="auto">
            <a:xfrm>
              <a:off x="2310436" y="3576611"/>
              <a:ext cx="202710" cy="215633"/>
            </a:xfrm>
            <a:custGeom>
              <a:avLst/>
              <a:gdLst>
                <a:gd name="T0" fmla="*/ 111 w 331"/>
                <a:gd name="T1" fmla="*/ 208 h 326"/>
                <a:gd name="T2" fmla="*/ 104 w 331"/>
                <a:gd name="T3" fmla="*/ 238 h 326"/>
                <a:gd name="T4" fmla="*/ 108 w 331"/>
                <a:gd name="T5" fmla="*/ 251 h 326"/>
                <a:gd name="T6" fmla="*/ 109 w 331"/>
                <a:gd name="T7" fmla="*/ 257 h 326"/>
                <a:gd name="T8" fmla="*/ 116 w 331"/>
                <a:gd name="T9" fmla="*/ 260 h 326"/>
                <a:gd name="T10" fmla="*/ 119 w 331"/>
                <a:gd name="T11" fmla="*/ 267 h 326"/>
                <a:gd name="T12" fmla="*/ 129 w 331"/>
                <a:gd name="T13" fmla="*/ 262 h 326"/>
                <a:gd name="T14" fmla="*/ 129 w 331"/>
                <a:gd name="T15" fmla="*/ 270 h 326"/>
                <a:gd name="T16" fmla="*/ 135 w 331"/>
                <a:gd name="T17" fmla="*/ 277 h 326"/>
                <a:gd name="T18" fmla="*/ 154 w 331"/>
                <a:gd name="T19" fmla="*/ 307 h 326"/>
                <a:gd name="T20" fmla="*/ 168 w 331"/>
                <a:gd name="T21" fmla="*/ 326 h 326"/>
                <a:gd name="T22" fmla="*/ 185 w 331"/>
                <a:gd name="T23" fmla="*/ 310 h 326"/>
                <a:gd name="T24" fmla="*/ 217 w 331"/>
                <a:gd name="T25" fmla="*/ 304 h 326"/>
                <a:gd name="T26" fmla="*/ 210 w 331"/>
                <a:gd name="T27" fmla="*/ 294 h 326"/>
                <a:gd name="T28" fmla="*/ 217 w 331"/>
                <a:gd name="T29" fmla="*/ 281 h 326"/>
                <a:gd name="T30" fmla="*/ 210 w 331"/>
                <a:gd name="T31" fmla="*/ 258 h 326"/>
                <a:gd name="T32" fmla="*/ 217 w 331"/>
                <a:gd name="T33" fmla="*/ 215 h 326"/>
                <a:gd name="T34" fmla="*/ 225 w 331"/>
                <a:gd name="T35" fmla="*/ 198 h 326"/>
                <a:gd name="T36" fmla="*/ 235 w 331"/>
                <a:gd name="T37" fmla="*/ 188 h 326"/>
                <a:gd name="T38" fmla="*/ 248 w 331"/>
                <a:gd name="T39" fmla="*/ 204 h 326"/>
                <a:gd name="T40" fmla="*/ 258 w 331"/>
                <a:gd name="T41" fmla="*/ 187 h 326"/>
                <a:gd name="T42" fmla="*/ 277 w 331"/>
                <a:gd name="T43" fmla="*/ 178 h 326"/>
                <a:gd name="T44" fmla="*/ 290 w 331"/>
                <a:gd name="T45" fmla="*/ 168 h 326"/>
                <a:gd name="T46" fmla="*/ 308 w 331"/>
                <a:gd name="T47" fmla="*/ 155 h 326"/>
                <a:gd name="T48" fmla="*/ 311 w 331"/>
                <a:gd name="T49" fmla="*/ 131 h 326"/>
                <a:gd name="T50" fmla="*/ 328 w 331"/>
                <a:gd name="T51" fmla="*/ 118 h 326"/>
                <a:gd name="T52" fmla="*/ 304 w 331"/>
                <a:gd name="T53" fmla="*/ 85 h 326"/>
                <a:gd name="T54" fmla="*/ 287 w 331"/>
                <a:gd name="T55" fmla="*/ 85 h 326"/>
                <a:gd name="T56" fmla="*/ 274 w 331"/>
                <a:gd name="T57" fmla="*/ 68 h 326"/>
                <a:gd name="T58" fmla="*/ 281 w 331"/>
                <a:gd name="T59" fmla="*/ 52 h 326"/>
                <a:gd name="T60" fmla="*/ 271 w 331"/>
                <a:gd name="T61" fmla="*/ 29 h 326"/>
                <a:gd name="T62" fmla="*/ 258 w 331"/>
                <a:gd name="T63" fmla="*/ 23 h 326"/>
                <a:gd name="T64" fmla="*/ 238 w 331"/>
                <a:gd name="T65" fmla="*/ 40 h 326"/>
                <a:gd name="T66" fmla="*/ 217 w 331"/>
                <a:gd name="T67" fmla="*/ 28 h 326"/>
                <a:gd name="T68" fmla="*/ 208 w 331"/>
                <a:gd name="T69" fmla="*/ 43 h 326"/>
                <a:gd name="T70" fmla="*/ 194 w 331"/>
                <a:gd name="T71" fmla="*/ 58 h 326"/>
                <a:gd name="T72" fmla="*/ 188 w 331"/>
                <a:gd name="T73" fmla="*/ 48 h 326"/>
                <a:gd name="T74" fmla="*/ 164 w 331"/>
                <a:gd name="T75" fmla="*/ 46 h 326"/>
                <a:gd name="T76" fmla="*/ 172 w 331"/>
                <a:gd name="T77" fmla="*/ 26 h 326"/>
                <a:gd name="T78" fmla="*/ 157 w 331"/>
                <a:gd name="T79" fmla="*/ 6 h 326"/>
                <a:gd name="T80" fmla="*/ 141 w 331"/>
                <a:gd name="T81" fmla="*/ 0 h 326"/>
                <a:gd name="T82" fmla="*/ 128 w 331"/>
                <a:gd name="T83" fmla="*/ 10 h 326"/>
                <a:gd name="T84" fmla="*/ 116 w 331"/>
                <a:gd name="T85" fmla="*/ 25 h 326"/>
                <a:gd name="T86" fmla="*/ 83 w 331"/>
                <a:gd name="T87" fmla="*/ 36 h 326"/>
                <a:gd name="T88" fmla="*/ 75 w 331"/>
                <a:gd name="T89" fmla="*/ 49 h 326"/>
                <a:gd name="T90" fmla="*/ 69 w 331"/>
                <a:gd name="T91" fmla="*/ 66 h 326"/>
                <a:gd name="T92" fmla="*/ 55 w 331"/>
                <a:gd name="T93" fmla="*/ 93 h 326"/>
                <a:gd name="T94" fmla="*/ 43 w 331"/>
                <a:gd name="T95" fmla="*/ 81 h 326"/>
                <a:gd name="T96" fmla="*/ 30 w 331"/>
                <a:gd name="T97" fmla="*/ 76 h 326"/>
                <a:gd name="T98" fmla="*/ 16 w 331"/>
                <a:gd name="T99" fmla="*/ 85 h 326"/>
                <a:gd name="T100" fmla="*/ 3 w 331"/>
                <a:gd name="T101" fmla="*/ 96 h 326"/>
                <a:gd name="T102" fmla="*/ 2 w 331"/>
                <a:gd name="T103" fmla="*/ 114 h 326"/>
                <a:gd name="T104" fmla="*/ 18 w 331"/>
                <a:gd name="T105" fmla="*/ 126 h 326"/>
                <a:gd name="T106" fmla="*/ 28 w 331"/>
                <a:gd name="T107" fmla="*/ 136 h 326"/>
                <a:gd name="T108" fmla="*/ 38 w 331"/>
                <a:gd name="T109" fmla="*/ 144 h 326"/>
                <a:gd name="T110" fmla="*/ 56 w 331"/>
                <a:gd name="T111" fmla="*/ 154 h 326"/>
                <a:gd name="T112" fmla="*/ 66 w 331"/>
                <a:gd name="T113" fmla="*/ 158 h 326"/>
                <a:gd name="T114" fmla="*/ 78 w 331"/>
                <a:gd name="T115" fmla="*/ 158 h 326"/>
                <a:gd name="T116" fmla="*/ 71 w 331"/>
                <a:gd name="T117" fmla="*/ 175 h 326"/>
                <a:gd name="T118" fmla="*/ 81 w 331"/>
                <a:gd name="T119" fmla="*/ 168 h 326"/>
                <a:gd name="T120" fmla="*/ 81 w 331"/>
                <a:gd name="T121" fmla="*/ 187 h 326"/>
                <a:gd name="T122" fmla="*/ 79 w 331"/>
                <a:gd name="T123" fmla="*/ 207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1" h="326">
                  <a:moveTo>
                    <a:pt x="82" y="207"/>
                  </a:moveTo>
                  <a:lnTo>
                    <a:pt x="101" y="195"/>
                  </a:lnTo>
                  <a:lnTo>
                    <a:pt x="108" y="202"/>
                  </a:lnTo>
                  <a:lnTo>
                    <a:pt x="111" y="208"/>
                  </a:lnTo>
                  <a:lnTo>
                    <a:pt x="115" y="217"/>
                  </a:lnTo>
                  <a:lnTo>
                    <a:pt x="114" y="225"/>
                  </a:lnTo>
                  <a:lnTo>
                    <a:pt x="108" y="232"/>
                  </a:lnTo>
                  <a:lnTo>
                    <a:pt x="104" y="238"/>
                  </a:lnTo>
                  <a:lnTo>
                    <a:pt x="105" y="242"/>
                  </a:lnTo>
                  <a:lnTo>
                    <a:pt x="108" y="247"/>
                  </a:lnTo>
                  <a:lnTo>
                    <a:pt x="108" y="251"/>
                  </a:lnTo>
                  <a:lnTo>
                    <a:pt x="108" y="251"/>
                  </a:lnTo>
                  <a:lnTo>
                    <a:pt x="108" y="254"/>
                  </a:lnTo>
                  <a:lnTo>
                    <a:pt x="108" y="255"/>
                  </a:lnTo>
                  <a:lnTo>
                    <a:pt x="109" y="257"/>
                  </a:lnTo>
                  <a:lnTo>
                    <a:pt x="109" y="257"/>
                  </a:lnTo>
                  <a:lnTo>
                    <a:pt x="115" y="258"/>
                  </a:lnTo>
                  <a:lnTo>
                    <a:pt x="116" y="258"/>
                  </a:lnTo>
                  <a:lnTo>
                    <a:pt x="116" y="260"/>
                  </a:lnTo>
                  <a:lnTo>
                    <a:pt x="116" y="260"/>
                  </a:lnTo>
                  <a:lnTo>
                    <a:pt x="116" y="264"/>
                  </a:lnTo>
                  <a:lnTo>
                    <a:pt x="118" y="265"/>
                  </a:lnTo>
                  <a:lnTo>
                    <a:pt x="119" y="267"/>
                  </a:lnTo>
                  <a:lnTo>
                    <a:pt x="119" y="267"/>
                  </a:lnTo>
                  <a:lnTo>
                    <a:pt x="122" y="267"/>
                  </a:lnTo>
                  <a:lnTo>
                    <a:pt x="124" y="264"/>
                  </a:lnTo>
                  <a:lnTo>
                    <a:pt x="126" y="262"/>
                  </a:lnTo>
                  <a:lnTo>
                    <a:pt x="129" y="262"/>
                  </a:lnTo>
                  <a:lnTo>
                    <a:pt x="129" y="262"/>
                  </a:lnTo>
                  <a:lnTo>
                    <a:pt x="129" y="265"/>
                  </a:lnTo>
                  <a:lnTo>
                    <a:pt x="129" y="268"/>
                  </a:lnTo>
                  <a:lnTo>
                    <a:pt x="129" y="270"/>
                  </a:lnTo>
                  <a:lnTo>
                    <a:pt x="131" y="273"/>
                  </a:lnTo>
                  <a:lnTo>
                    <a:pt x="131" y="273"/>
                  </a:lnTo>
                  <a:lnTo>
                    <a:pt x="135" y="275"/>
                  </a:lnTo>
                  <a:lnTo>
                    <a:pt x="135" y="277"/>
                  </a:lnTo>
                  <a:lnTo>
                    <a:pt x="135" y="280"/>
                  </a:lnTo>
                  <a:lnTo>
                    <a:pt x="142" y="290"/>
                  </a:lnTo>
                  <a:lnTo>
                    <a:pt x="149" y="300"/>
                  </a:lnTo>
                  <a:lnTo>
                    <a:pt x="154" y="307"/>
                  </a:lnTo>
                  <a:lnTo>
                    <a:pt x="159" y="314"/>
                  </a:lnTo>
                  <a:lnTo>
                    <a:pt x="161" y="318"/>
                  </a:lnTo>
                  <a:lnTo>
                    <a:pt x="165" y="323"/>
                  </a:lnTo>
                  <a:lnTo>
                    <a:pt x="168" y="326"/>
                  </a:lnTo>
                  <a:lnTo>
                    <a:pt x="175" y="315"/>
                  </a:lnTo>
                  <a:lnTo>
                    <a:pt x="177" y="314"/>
                  </a:lnTo>
                  <a:lnTo>
                    <a:pt x="181" y="311"/>
                  </a:lnTo>
                  <a:lnTo>
                    <a:pt x="185" y="310"/>
                  </a:lnTo>
                  <a:lnTo>
                    <a:pt x="198" y="307"/>
                  </a:lnTo>
                  <a:lnTo>
                    <a:pt x="211" y="307"/>
                  </a:lnTo>
                  <a:lnTo>
                    <a:pt x="214" y="307"/>
                  </a:lnTo>
                  <a:lnTo>
                    <a:pt x="217" y="304"/>
                  </a:lnTo>
                  <a:lnTo>
                    <a:pt x="217" y="300"/>
                  </a:lnTo>
                  <a:lnTo>
                    <a:pt x="217" y="297"/>
                  </a:lnTo>
                  <a:lnTo>
                    <a:pt x="215" y="294"/>
                  </a:lnTo>
                  <a:lnTo>
                    <a:pt x="210" y="294"/>
                  </a:lnTo>
                  <a:lnTo>
                    <a:pt x="207" y="294"/>
                  </a:lnTo>
                  <a:lnTo>
                    <a:pt x="211" y="288"/>
                  </a:lnTo>
                  <a:lnTo>
                    <a:pt x="215" y="285"/>
                  </a:lnTo>
                  <a:lnTo>
                    <a:pt x="217" y="281"/>
                  </a:lnTo>
                  <a:lnTo>
                    <a:pt x="217" y="275"/>
                  </a:lnTo>
                  <a:lnTo>
                    <a:pt x="214" y="273"/>
                  </a:lnTo>
                  <a:lnTo>
                    <a:pt x="208" y="265"/>
                  </a:lnTo>
                  <a:lnTo>
                    <a:pt x="210" y="258"/>
                  </a:lnTo>
                  <a:lnTo>
                    <a:pt x="217" y="250"/>
                  </a:lnTo>
                  <a:lnTo>
                    <a:pt x="214" y="244"/>
                  </a:lnTo>
                  <a:lnTo>
                    <a:pt x="218" y="228"/>
                  </a:lnTo>
                  <a:lnTo>
                    <a:pt x="217" y="215"/>
                  </a:lnTo>
                  <a:lnTo>
                    <a:pt x="217" y="211"/>
                  </a:lnTo>
                  <a:lnTo>
                    <a:pt x="217" y="204"/>
                  </a:lnTo>
                  <a:lnTo>
                    <a:pt x="220" y="201"/>
                  </a:lnTo>
                  <a:lnTo>
                    <a:pt x="225" y="198"/>
                  </a:lnTo>
                  <a:lnTo>
                    <a:pt x="225" y="192"/>
                  </a:lnTo>
                  <a:lnTo>
                    <a:pt x="227" y="192"/>
                  </a:lnTo>
                  <a:lnTo>
                    <a:pt x="231" y="189"/>
                  </a:lnTo>
                  <a:lnTo>
                    <a:pt x="235" y="188"/>
                  </a:lnTo>
                  <a:lnTo>
                    <a:pt x="241" y="191"/>
                  </a:lnTo>
                  <a:lnTo>
                    <a:pt x="244" y="195"/>
                  </a:lnTo>
                  <a:lnTo>
                    <a:pt x="248" y="202"/>
                  </a:lnTo>
                  <a:lnTo>
                    <a:pt x="248" y="204"/>
                  </a:lnTo>
                  <a:lnTo>
                    <a:pt x="251" y="202"/>
                  </a:lnTo>
                  <a:lnTo>
                    <a:pt x="252" y="199"/>
                  </a:lnTo>
                  <a:lnTo>
                    <a:pt x="255" y="195"/>
                  </a:lnTo>
                  <a:lnTo>
                    <a:pt x="258" y="187"/>
                  </a:lnTo>
                  <a:lnTo>
                    <a:pt x="262" y="184"/>
                  </a:lnTo>
                  <a:lnTo>
                    <a:pt x="271" y="184"/>
                  </a:lnTo>
                  <a:lnTo>
                    <a:pt x="274" y="181"/>
                  </a:lnTo>
                  <a:lnTo>
                    <a:pt x="277" y="178"/>
                  </a:lnTo>
                  <a:lnTo>
                    <a:pt x="280" y="177"/>
                  </a:lnTo>
                  <a:lnTo>
                    <a:pt x="283" y="177"/>
                  </a:lnTo>
                  <a:lnTo>
                    <a:pt x="287" y="172"/>
                  </a:lnTo>
                  <a:lnTo>
                    <a:pt x="290" y="168"/>
                  </a:lnTo>
                  <a:lnTo>
                    <a:pt x="294" y="165"/>
                  </a:lnTo>
                  <a:lnTo>
                    <a:pt x="298" y="162"/>
                  </a:lnTo>
                  <a:lnTo>
                    <a:pt x="303" y="159"/>
                  </a:lnTo>
                  <a:lnTo>
                    <a:pt x="308" y="155"/>
                  </a:lnTo>
                  <a:lnTo>
                    <a:pt x="313" y="152"/>
                  </a:lnTo>
                  <a:lnTo>
                    <a:pt x="318" y="149"/>
                  </a:lnTo>
                  <a:lnTo>
                    <a:pt x="315" y="136"/>
                  </a:lnTo>
                  <a:lnTo>
                    <a:pt x="311" y="131"/>
                  </a:lnTo>
                  <a:lnTo>
                    <a:pt x="313" y="128"/>
                  </a:lnTo>
                  <a:lnTo>
                    <a:pt x="320" y="122"/>
                  </a:lnTo>
                  <a:lnTo>
                    <a:pt x="326" y="119"/>
                  </a:lnTo>
                  <a:lnTo>
                    <a:pt x="328" y="118"/>
                  </a:lnTo>
                  <a:lnTo>
                    <a:pt x="330" y="114"/>
                  </a:lnTo>
                  <a:lnTo>
                    <a:pt x="331" y="93"/>
                  </a:lnTo>
                  <a:lnTo>
                    <a:pt x="321" y="91"/>
                  </a:lnTo>
                  <a:lnTo>
                    <a:pt x="304" y="85"/>
                  </a:lnTo>
                  <a:lnTo>
                    <a:pt x="298" y="89"/>
                  </a:lnTo>
                  <a:lnTo>
                    <a:pt x="295" y="92"/>
                  </a:lnTo>
                  <a:lnTo>
                    <a:pt x="290" y="88"/>
                  </a:lnTo>
                  <a:lnTo>
                    <a:pt x="287" y="85"/>
                  </a:lnTo>
                  <a:lnTo>
                    <a:pt x="283" y="83"/>
                  </a:lnTo>
                  <a:lnTo>
                    <a:pt x="280" y="79"/>
                  </a:lnTo>
                  <a:lnTo>
                    <a:pt x="277" y="73"/>
                  </a:lnTo>
                  <a:lnTo>
                    <a:pt x="274" y="68"/>
                  </a:lnTo>
                  <a:lnTo>
                    <a:pt x="277" y="65"/>
                  </a:lnTo>
                  <a:lnTo>
                    <a:pt x="278" y="61"/>
                  </a:lnTo>
                  <a:lnTo>
                    <a:pt x="280" y="58"/>
                  </a:lnTo>
                  <a:lnTo>
                    <a:pt x="281" y="52"/>
                  </a:lnTo>
                  <a:lnTo>
                    <a:pt x="284" y="48"/>
                  </a:lnTo>
                  <a:lnTo>
                    <a:pt x="283" y="38"/>
                  </a:lnTo>
                  <a:lnTo>
                    <a:pt x="281" y="30"/>
                  </a:lnTo>
                  <a:lnTo>
                    <a:pt x="271" y="29"/>
                  </a:lnTo>
                  <a:lnTo>
                    <a:pt x="270" y="26"/>
                  </a:lnTo>
                  <a:lnTo>
                    <a:pt x="267" y="25"/>
                  </a:lnTo>
                  <a:lnTo>
                    <a:pt x="264" y="25"/>
                  </a:lnTo>
                  <a:lnTo>
                    <a:pt x="258" y="23"/>
                  </a:lnTo>
                  <a:lnTo>
                    <a:pt x="254" y="25"/>
                  </a:lnTo>
                  <a:lnTo>
                    <a:pt x="250" y="28"/>
                  </a:lnTo>
                  <a:lnTo>
                    <a:pt x="248" y="35"/>
                  </a:lnTo>
                  <a:lnTo>
                    <a:pt x="238" y="40"/>
                  </a:lnTo>
                  <a:lnTo>
                    <a:pt x="234" y="36"/>
                  </a:lnTo>
                  <a:lnTo>
                    <a:pt x="227" y="29"/>
                  </a:lnTo>
                  <a:lnTo>
                    <a:pt x="221" y="26"/>
                  </a:lnTo>
                  <a:lnTo>
                    <a:pt x="217" y="28"/>
                  </a:lnTo>
                  <a:lnTo>
                    <a:pt x="215" y="32"/>
                  </a:lnTo>
                  <a:lnTo>
                    <a:pt x="217" y="38"/>
                  </a:lnTo>
                  <a:lnTo>
                    <a:pt x="217" y="40"/>
                  </a:lnTo>
                  <a:lnTo>
                    <a:pt x="208" y="43"/>
                  </a:lnTo>
                  <a:lnTo>
                    <a:pt x="204" y="46"/>
                  </a:lnTo>
                  <a:lnTo>
                    <a:pt x="202" y="52"/>
                  </a:lnTo>
                  <a:lnTo>
                    <a:pt x="199" y="61"/>
                  </a:lnTo>
                  <a:lnTo>
                    <a:pt x="194" y="58"/>
                  </a:lnTo>
                  <a:lnTo>
                    <a:pt x="187" y="56"/>
                  </a:lnTo>
                  <a:lnTo>
                    <a:pt x="185" y="56"/>
                  </a:lnTo>
                  <a:lnTo>
                    <a:pt x="185" y="52"/>
                  </a:lnTo>
                  <a:lnTo>
                    <a:pt x="188" y="48"/>
                  </a:lnTo>
                  <a:lnTo>
                    <a:pt x="185" y="43"/>
                  </a:lnTo>
                  <a:lnTo>
                    <a:pt x="181" y="48"/>
                  </a:lnTo>
                  <a:lnTo>
                    <a:pt x="169" y="49"/>
                  </a:lnTo>
                  <a:lnTo>
                    <a:pt x="164" y="46"/>
                  </a:lnTo>
                  <a:lnTo>
                    <a:pt x="165" y="40"/>
                  </a:lnTo>
                  <a:lnTo>
                    <a:pt x="169" y="36"/>
                  </a:lnTo>
                  <a:lnTo>
                    <a:pt x="172" y="29"/>
                  </a:lnTo>
                  <a:lnTo>
                    <a:pt x="172" y="26"/>
                  </a:lnTo>
                  <a:lnTo>
                    <a:pt x="172" y="25"/>
                  </a:lnTo>
                  <a:lnTo>
                    <a:pt x="161" y="22"/>
                  </a:lnTo>
                  <a:lnTo>
                    <a:pt x="159" y="16"/>
                  </a:lnTo>
                  <a:lnTo>
                    <a:pt x="157" y="6"/>
                  </a:lnTo>
                  <a:lnTo>
                    <a:pt x="155" y="3"/>
                  </a:lnTo>
                  <a:lnTo>
                    <a:pt x="149" y="2"/>
                  </a:lnTo>
                  <a:lnTo>
                    <a:pt x="146" y="5"/>
                  </a:lnTo>
                  <a:lnTo>
                    <a:pt x="141" y="0"/>
                  </a:lnTo>
                  <a:lnTo>
                    <a:pt x="136" y="3"/>
                  </a:lnTo>
                  <a:lnTo>
                    <a:pt x="131" y="3"/>
                  </a:lnTo>
                  <a:lnTo>
                    <a:pt x="128" y="5"/>
                  </a:lnTo>
                  <a:lnTo>
                    <a:pt x="128" y="10"/>
                  </a:lnTo>
                  <a:lnTo>
                    <a:pt x="126" y="15"/>
                  </a:lnTo>
                  <a:lnTo>
                    <a:pt x="119" y="16"/>
                  </a:lnTo>
                  <a:lnTo>
                    <a:pt x="115" y="16"/>
                  </a:lnTo>
                  <a:lnTo>
                    <a:pt x="116" y="25"/>
                  </a:lnTo>
                  <a:lnTo>
                    <a:pt x="116" y="30"/>
                  </a:lnTo>
                  <a:lnTo>
                    <a:pt x="82" y="28"/>
                  </a:lnTo>
                  <a:lnTo>
                    <a:pt x="81" y="29"/>
                  </a:lnTo>
                  <a:lnTo>
                    <a:pt x="83" y="36"/>
                  </a:lnTo>
                  <a:lnTo>
                    <a:pt x="82" y="40"/>
                  </a:lnTo>
                  <a:lnTo>
                    <a:pt x="82" y="46"/>
                  </a:lnTo>
                  <a:lnTo>
                    <a:pt x="78" y="48"/>
                  </a:lnTo>
                  <a:lnTo>
                    <a:pt x="75" y="49"/>
                  </a:lnTo>
                  <a:lnTo>
                    <a:pt x="78" y="55"/>
                  </a:lnTo>
                  <a:lnTo>
                    <a:pt x="78" y="58"/>
                  </a:lnTo>
                  <a:lnTo>
                    <a:pt x="73" y="63"/>
                  </a:lnTo>
                  <a:lnTo>
                    <a:pt x="69" y="66"/>
                  </a:lnTo>
                  <a:lnTo>
                    <a:pt x="68" y="69"/>
                  </a:lnTo>
                  <a:lnTo>
                    <a:pt x="66" y="73"/>
                  </a:lnTo>
                  <a:lnTo>
                    <a:pt x="68" y="81"/>
                  </a:lnTo>
                  <a:lnTo>
                    <a:pt x="55" y="93"/>
                  </a:lnTo>
                  <a:lnTo>
                    <a:pt x="49" y="89"/>
                  </a:lnTo>
                  <a:lnTo>
                    <a:pt x="48" y="88"/>
                  </a:lnTo>
                  <a:lnTo>
                    <a:pt x="49" y="85"/>
                  </a:lnTo>
                  <a:lnTo>
                    <a:pt x="43" y="81"/>
                  </a:lnTo>
                  <a:lnTo>
                    <a:pt x="41" y="81"/>
                  </a:lnTo>
                  <a:lnTo>
                    <a:pt x="38" y="79"/>
                  </a:lnTo>
                  <a:lnTo>
                    <a:pt x="33" y="79"/>
                  </a:lnTo>
                  <a:lnTo>
                    <a:pt x="30" y="76"/>
                  </a:lnTo>
                  <a:lnTo>
                    <a:pt x="23" y="71"/>
                  </a:lnTo>
                  <a:lnTo>
                    <a:pt x="22" y="73"/>
                  </a:lnTo>
                  <a:lnTo>
                    <a:pt x="19" y="81"/>
                  </a:lnTo>
                  <a:lnTo>
                    <a:pt x="16" y="85"/>
                  </a:lnTo>
                  <a:lnTo>
                    <a:pt x="15" y="86"/>
                  </a:lnTo>
                  <a:lnTo>
                    <a:pt x="10" y="89"/>
                  </a:lnTo>
                  <a:lnTo>
                    <a:pt x="5" y="93"/>
                  </a:lnTo>
                  <a:lnTo>
                    <a:pt x="3" y="96"/>
                  </a:lnTo>
                  <a:lnTo>
                    <a:pt x="2" y="99"/>
                  </a:lnTo>
                  <a:lnTo>
                    <a:pt x="0" y="102"/>
                  </a:lnTo>
                  <a:lnTo>
                    <a:pt x="2" y="105"/>
                  </a:lnTo>
                  <a:lnTo>
                    <a:pt x="2" y="114"/>
                  </a:lnTo>
                  <a:lnTo>
                    <a:pt x="3" y="118"/>
                  </a:lnTo>
                  <a:lnTo>
                    <a:pt x="8" y="122"/>
                  </a:lnTo>
                  <a:lnTo>
                    <a:pt x="13" y="125"/>
                  </a:lnTo>
                  <a:lnTo>
                    <a:pt x="18" y="126"/>
                  </a:lnTo>
                  <a:lnTo>
                    <a:pt x="19" y="128"/>
                  </a:lnTo>
                  <a:lnTo>
                    <a:pt x="25" y="134"/>
                  </a:lnTo>
                  <a:lnTo>
                    <a:pt x="26" y="135"/>
                  </a:lnTo>
                  <a:lnTo>
                    <a:pt x="28" y="136"/>
                  </a:lnTo>
                  <a:lnTo>
                    <a:pt x="30" y="138"/>
                  </a:lnTo>
                  <a:lnTo>
                    <a:pt x="32" y="141"/>
                  </a:lnTo>
                  <a:lnTo>
                    <a:pt x="32" y="141"/>
                  </a:lnTo>
                  <a:lnTo>
                    <a:pt x="38" y="144"/>
                  </a:lnTo>
                  <a:lnTo>
                    <a:pt x="42" y="146"/>
                  </a:lnTo>
                  <a:lnTo>
                    <a:pt x="46" y="148"/>
                  </a:lnTo>
                  <a:lnTo>
                    <a:pt x="51" y="149"/>
                  </a:lnTo>
                  <a:lnTo>
                    <a:pt x="56" y="154"/>
                  </a:lnTo>
                  <a:lnTo>
                    <a:pt x="59" y="159"/>
                  </a:lnTo>
                  <a:lnTo>
                    <a:pt x="61" y="164"/>
                  </a:lnTo>
                  <a:lnTo>
                    <a:pt x="62" y="162"/>
                  </a:lnTo>
                  <a:lnTo>
                    <a:pt x="66" y="158"/>
                  </a:lnTo>
                  <a:lnTo>
                    <a:pt x="69" y="154"/>
                  </a:lnTo>
                  <a:lnTo>
                    <a:pt x="72" y="152"/>
                  </a:lnTo>
                  <a:lnTo>
                    <a:pt x="76" y="155"/>
                  </a:lnTo>
                  <a:lnTo>
                    <a:pt x="78" y="158"/>
                  </a:lnTo>
                  <a:lnTo>
                    <a:pt x="73" y="164"/>
                  </a:lnTo>
                  <a:lnTo>
                    <a:pt x="71" y="167"/>
                  </a:lnTo>
                  <a:lnTo>
                    <a:pt x="69" y="171"/>
                  </a:lnTo>
                  <a:lnTo>
                    <a:pt x="71" y="175"/>
                  </a:lnTo>
                  <a:lnTo>
                    <a:pt x="71" y="177"/>
                  </a:lnTo>
                  <a:lnTo>
                    <a:pt x="73" y="171"/>
                  </a:lnTo>
                  <a:lnTo>
                    <a:pt x="76" y="169"/>
                  </a:lnTo>
                  <a:lnTo>
                    <a:pt x="81" y="168"/>
                  </a:lnTo>
                  <a:lnTo>
                    <a:pt x="85" y="171"/>
                  </a:lnTo>
                  <a:lnTo>
                    <a:pt x="85" y="178"/>
                  </a:lnTo>
                  <a:lnTo>
                    <a:pt x="83" y="182"/>
                  </a:lnTo>
                  <a:lnTo>
                    <a:pt x="81" y="187"/>
                  </a:lnTo>
                  <a:lnTo>
                    <a:pt x="79" y="188"/>
                  </a:lnTo>
                  <a:lnTo>
                    <a:pt x="76" y="192"/>
                  </a:lnTo>
                  <a:lnTo>
                    <a:pt x="75" y="198"/>
                  </a:lnTo>
                  <a:lnTo>
                    <a:pt x="79" y="207"/>
                  </a:lnTo>
                  <a:lnTo>
                    <a:pt x="82" y="20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74" name="Freeform 22"/>
            <p:cNvSpPr>
              <a:spLocks/>
            </p:cNvSpPr>
            <p:nvPr/>
          </p:nvSpPr>
          <p:spPr bwMode="auto">
            <a:xfrm>
              <a:off x="2377599" y="3407280"/>
              <a:ext cx="172181" cy="209019"/>
            </a:xfrm>
            <a:custGeom>
              <a:avLst/>
              <a:gdLst>
                <a:gd name="T0" fmla="*/ 38 w 280"/>
                <a:gd name="T1" fmla="*/ 246 h 317"/>
                <a:gd name="T2" fmla="*/ 44 w 280"/>
                <a:gd name="T3" fmla="*/ 228 h 317"/>
                <a:gd name="T4" fmla="*/ 53 w 280"/>
                <a:gd name="T5" fmla="*/ 209 h 317"/>
                <a:gd name="T6" fmla="*/ 27 w 280"/>
                <a:gd name="T7" fmla="*/ 191 h 317"/>
                <a:gd name="T8" fmla="*/ 21 w 280"/>
                <a:gd name="T9" fmla="*/ 172 h 317"/>
                <a:gd name="T10" fmla="*/ 7 w 280"/>
                <a:gd name="T11" fmla="*/ 149 h 317"/>
                <a:gd name="T12" fmla="*/ 7 w 280"/>
                <a:gd name="T13" fmla="*/ 138 h 317"/>
                <a:gd name="T14" fmla="*/ 0 w 280"/>
                <a:gd name="T15" fmla="*/ 119 h 317"/>
                <a:gd name="T16" fmla="*/ 7 w 280"/>
                <a:gd name="T17" fmla="*/ 69 h 317"/>
                <a:gd name="T18" fmla="*/ 13 w 280"/>
                <a:gd name="T19" fmla="*/ 57 h 317"/>
                <a:gd name="T20" fmla="*/ 14 w 280"/>
                <a:gd name="T21" fmla="*/ 52 h 317"/>
                <a:gd name="T22" fmla="*/ 17 w 280"/>
                <a:gd name="T23" fmla="*/ 49 h 317"/>
                <a:gd name="T24" fmla="*/ 23 w 280"/>
                <a:gd name="T25" fmla="*/ 49 h 317"/>
                <a:gd name="T26" fmla="*/ 18 w 280"/>
                <a:gd name="T27" fmla="*/ 43 h 317"/>
                <a:gd name="T28" fmla="*/ 25 w 280"/>
                <a:gd name="T29" fmla="*/ 33 h 317"/>
                <a:gd name="T30" fmla="*/ 34 w 280"/>
                <a:gd name="T31" fmla="*/ 33 h 317"/>
                <a:gd name="T32" fmla="*/ 34 w 280"/>
                <a:gd name="T33" fmla="*/ 29 h 317"/>
                <a:gd name="T34" fmla="*/ 35 w 280"/>
                <a:gd name="T35" fmla="*/ 23 h 317"/>
                <a:gd name="T36" fmla="*/ 40 w 280"/>
                <a:gd name="T37" fmla="*/ 26 h 317"/>
                <a:gd name="T38" fmla="*/ 56 w 280"/>
                <a:gd name="T39" fmla="*/ 29 h 317"/>
                <a:gd name="T40" fmla="*/ 61 w 280"/>
                <a:gd name="T41" fmla="*/ 32 h 317"/>
                <a:gd name="T42" fmla="*/ 68 w 280"/>
                <a:gd name="T43" fmla="*/ 29 h 317"/>
                <a:gd name="T44" fmla="*/ 78 w 280"/>
                <a:gd name="T45" fmla="*/ 23 h 317"/>
                <a:gd name="T46" fmla="*/ 74 w 280"/>
                <a:gd name="T47" fmla="*/ 14 h 317"/>
                <a:gd name="T48" fmla="*/ 77 w 280"/>
                <a:gd name="T49" fmla="*/ 6 h 317"/>
                <a:gd name="T50" fmla="*/ 83 w 280"/>
                <a:gd name="T51" fmla="*/ 6 h 317"/>
                <a:gd name="T52" fmla="*/ 90 w 280"/>
                <a:gd name="T53" fmla="*/ 22 h 317"/>
                <a:gd name="T54" fmla="*/ 106 w 280"/>
                <a:gd name="T55" fmla="*/ 26 h 317"/>
                <a:gd name="T56" fmla="*/ 124 w 280"/>
                <a:gd name="T57" fmla="*/ 37 h 317"/>
                <a:gd name="T58" fmla="*/ 136 w 280"/>
                <a:gd name="T59" fmla="*/ 52 h 317"/>
                <a:gd name="T60" fmla="*/ 150 w 280"/>
                <a:gd name="T61" fmla="*/ 59 h 317"/>
                <a:gd name="T62" fmla="*/ 162 w 280"/>
                <a:gd name="T63" fmla="*/ 56 h 317"/>
                <a:gd name="T64" fmla="*/ 186 w 280"/>
                <a:gd name="T65" fmla="*/ 34 h 317"/>
                <a:gd name="T66" fmla="*/ 240 w 280"/>
                <a:gd name="T67" fmla="*/ 37 h 317"/>
                <a:gd name="T68" fmla="*/ 246 w 280"/>
                <a:gd name="T69" fmla="*/ 64 h 317"/>
                <a:gd name="T70" fmla="*/ 245 w 280"/>
                <a:gd name="T71" fmla="*/ 76 h 317"/>
                <a:gd name="T72" fmla="*/ 256 w 280"/>
                <a:gd name="T73" fmla="*/ 83 h 317"/>
                <a:gd name="T74" fmla="*/ 270 w 280"/>
                <a:gd name="T75" fmla="*/ 96 h 317"/>
                <a:gd name="T76" fmla="*/ 263 w 280"/>
                <a:gd name="T77" fmla="*/ 125 h 317"/>
                <a:gd name="T78" fmla="*/ 276 w 280"/>
                <a:gd name="T79" fmla="*/ 158 h 317"/>
                <a:gd name="T80" fmla="*/ 252 w 280"/>
                <a:gd name="T81" fmla="*/ 162 h 317"/>
                <a:gd name="T82" fmla="*/ 236 w 280"/>
                <a:gd name="T83" fmla="*/ 182 h 317"/>
                <a:gd name="T84" fmla="*/ 229 w 280"/>
                <a:gd name="T85" fmla="*/ 206 h 317"/>
                <a:gd name="T86" fmla="*/ 210 w 280"/>
                <a:gd name="T87" fmla="*/ 235 h 317"/>
                <a:gd name="T88" fmla="*/ 203 w 280"/>
                <a:gd name="T89" fmla="*/ 249 h 317"/>
                <a:gd name="T90" fmla="*/ 184 w 280"/>
                <a:gd name="T91" fmla="*/ 264 h 317"/>
                <a:gd name="T92" fmla="*/ 183 w 280"/>
                <a:gd name="T93" fmla="*/ 276 h 317"/>
                <a:gd name="T94" fmla="*/ 160 w 280"/>
                <a:gd name="T95" fmla="*/ 285 h 317"/>
                <a:gd name="T96" fmla="*/ 147 w 280"/>
                <a:gd name="T97" fmla="*/ 279 h 317"/>
                <a:gd name="T98" fmla="*/ 127 w 280"/>
                <a:gd name="T99" fmla="*/ 296 h 317"/>
                <a:gd name="T100" fmla="*/ 106 w 280"/>
                <a:gd name="T101" fmla="*/ 284 h 317"/>
                <a:gd name="T102" fmla="*/ 97 w 280"/>
                <a:gd name="T103" fmla="*/ 299 h 317"/>
                <a:gd name="T104" fmla="*/ 83 w 280"/>
                <a:gd name="T105" fmla="*/ 314 h 317"/>
                <a:gd name="T106" fmla="*/ 77 w 280"/>
                <a:gd name="T107" fmla="*/ 304 h 317"/>
                <a:gd name="T108" fmla="*/ 53 w 280"/>
                <a:gd name="T109" fmla="*/ 302 h 317"/>
                <a:gd name="T110" fmla="*/ 61 w 280"/>
                <a:gd name="T111" fmla="*/ 282 h 317"/>
                <a:gd name="T112" fmla="*/ 46 w 280"/>
                <a:gd name="T113" fmla="*/ 262 h 317"/>
                <a:gd name="T114" fmla="*/ 30 w 280"/>
                <a:gd name="T115" fmla="*/ 256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0" h="317">
                  <a:moveTo>
                    <a:pt x="30" y="256"/>
                  </a:moveTo>
                  <a:lnTo>
                    <a:pt x="34" y="255"/>
                  </a:lnTo>
                  <a:lnTo>
                    <a:pt x="37" y="252"/>
                  </a:lnTo>
                  <a:lnTo>
                    <a:pt x="38" y="246"/>
                  </a:lnTo>
                  <a:lnTo>
                    <a:pt x="38" y="241"/>
                  </a:lnTo>
                  <a:lnTo>
                    <a:pt x="38" y="238"/>
                  </a:lnTo>
                  <a:lnTo>
                    <a:pt x="47" y="233"/>
                  </a:lnTo>
                  <a:lnTo>
                    <a:pt x="44" y="228"/>
                  </a:lnTo>
                  <a:lnTo>
                    <a:pt x="35" y="229"/>
                  </a:lnTo>
                  <a:lnTo>
                    <a:pt x="33" y="223"/>
                  </a:lnTo>
                  <a:lnTo>
                    <a:pt x="37" y="219"/>
                  </a:lnTo>
                  <a:lnTo>
                    <a:pt x="53" y="209"/>
                  </a:lnTo>
                  <a:lnTo>
                    <a:pt x="46" y="196"/>
                  </a:lnTo>
                  <a:lnTo>
                    <a:pt x="41" y="192"/>
                  </a:lnTo>
                  <a:lnTo>
                    <a:pt x="34" y="193"/>
                  </a:lnTo>
                  <a:lnTo>
                    <a:pt x="27" y="191"/>
                  </a:lnTo>
                  <a:lnTo>
                    <a:pt x="24" y="186"/>
                  </a:lnTo>
                  <a:lnTo>
                    <a:pt x="23" y="183"/>
                  </a:lnTo>
                  <a:lnTo>
                    <a:pt x="21" y="178"/>
                  </a:lnTo>
                  <a:lnTo>
                    <a:pt x="21" y="172"/>
                  </a:lnTo>
                  <a:lnTo>
                    <a:pt x="13" y="162"/>
                  </a:lnTo>
                  <a:lnTo>
                    <a:pt x="11" y="159"/>
                  </a:lnTo>
                  <a:lnTo>
                    <a:pt x="8" y="153"/>
                  </a:lnTo>
                  <a:lnTo>
                    <a:pt x="7" y="149"/>
                  </a:lnTo>
                  <a:lnTo>
                    <a:pt x="7" y="145"/>
                  </a:lnTo>
                  <a:lnTo>
                    <a:pt x="11" y="142"/>
                  </a:lnTo>
                  <a:lnTo>
                    <a:pt x="13" y="139"/>
                  </a:lnTo>
                  <a:lnTo>
                    <a:pt x="7" y="138"/>
                  </a:lnTo>
                  <a:lnTo>
                    <a:pt x="14" y="125"/>
                  </a:lnTo>
                  <a:lnTo>
                    <a:pt x="8" y="125"/>
                  </a:lnTo>
                  <a:lnTo>
                    <a:pt x="3" y="123"/>
                  </a:lnTo>
                  <a:lnTo>
                    <a:pt x="0" y="119"/>
                  </a:lnTo>
                  <a:lnTo>
                    <a:pt x="11" y="83"/>
                  </a:lnTo>
                  <a:lnTo>
                    <a:pt x="11" y="77"/>
                  </a:lnTo>
                  <a:lnTo>
                    <a:pt x="10" y="75"/>
                  </a:lnTo>
                  <a:lnTo>
                    <a:pt x="7" y="69"/>
                  </a:lnTo>
                  <a:lnTo>
                    <a:pt x="4" y="66"/>
                  </a:lnTo>
                  <a:lnTo>
                    <a:pt x="4" y="64"/>
                  </a:lnTo>
                  <a:lnTo>
                    <a:pt x="8" y="63"/>
                  </a:lnTo>
                  <a:lnTo>
                    <a:pt x="13" y="57"/>
                  </a:lnTo>
                  <a:lnTo>
                    <a:pt x="13" y="53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4" y="52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49"/>
                  </a:lnTo>
                  <a:lnTo>
                    <a:pt x="17" y="49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0"/>
                  </a:lnTo>
                  <a:lnTo>
                    <a:pt x="23" y="49"/>
                  </a:lnTo>
                  <a:lnTo>
                    <a:pt x="23" y="47"/>
                  </a:lnTo>
                  <a:lnTo>
                    <a:pt x="21" y="46"/>
                  </a:lnTo>
                  <a:lnTo>
                    <a:pt x="21" y="46"/>
                  </a:lnTo>
                  <a:lnTo>
                    <a:pt x="18" y="43"/>
                  </a:lnTo>
                  <a:lnTo>
                    <a:pt x="17" y="42"/>
                  </a:lnTo>
                  <a:lnTo>
                    <a:pt x="20" y="39"/>
                  </a:lnTo>
                  <a:lnTo>
                    <a:pt x="25" y="34"/>
                  </a:lnTo>
                  <a:lnTo>
                    <a:pt x="25" y="33"/>
                  </a:lnTo>
                  <a:lnTo>
                    <a:pt x="28" y="33"/>
                  </a:lnTo>
                  <a:lnTo>
                    <a:pt x="30" y="33"/>
                  </a:lnTo>
                  <a:lnTo>
                    <a:pt x="33" y="33"/>
                  </a:lnTo>
                  <a:lnTo>
                    <a:pt x="34" y="33"/>
                  </a:lnTo>
                  <a:lnTo>
                    <a:pt x="35" y="32"/>
                  </a:lnTo>
                  <a:lnTo>
                    <a:pt x="37" y="32"/>
                  </a:lnTo>
                  <a:lnTo>
                    <a:pt x="37" y="30"/>
                  </a:lnTo>
                  <a:lnTo>
                    <a:pt x="34" y="29"/>
                  </a:lnTo>
                  <a:lnTo>
                    <a:pt x="33" y="26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5" y="23"/>
                  </a:lnTo>
                  <a:lnTo>
                    <a:pt x="37" y="23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40" y="26"/>
                  </a:lnTo>
                  <a:lnTo>
                    <a:pt x="43" y="27"/>
                  </a:lnTo>
                  <a:lnTo>
                    <a:pt x="46" y="26"/>
                  </a:lnTo>
                  <a:lnTo>
                    <a:pt x="51" y="27"/>
                  </a:lnTo>
                  <a:lnTo>
                    <a:pt x="56" y="29"/>
                  </a:lnTo>
                  <a:lnTo>
                    <a:pt x="57" y="33"/>
                  </a:lnTo>
                  <a:lnTo>
                    <a:pt x="60" y="37"/>
                  </a:lnTo>
                  <a:lnTo>
                    <a:pt x="61" y="37"/>
                  </a:lnTo>
                  <a:lnTo>
                    <a:pt x="61" y="32"/>
                  </a:lnTo>
                  <a:lnTo>
                    <a:pt x="61" y="27"/>
                  </a:lnTo>
                  <a:lnTo>
                    <a:pt x="63" y="24"/>
                  </a:lnTo>
                  <a:lnTo>
                    <a:pt x="66" y="26"/>
                  </a:lnTo>
                  <a:lnTo>
                    <a:pt x="68" y="29"/>
                  </a:lnTo>
                  <a:lnTo>
                    <a:pt x="73" y="32"/>
                  </a:lnTo>
                  <a:lnTo>
                    <a:pt x="78" y="32"/>
                  </a:lnTo>
                  <a:lnTo>
                    <a:pt x="80" y="29"/>
                  </a:lnTo>
                  <a:lnTo>
                    <a:pt x="78" y="23"/>
                  </a:lnTo>
                  <a:lnTo>
                    <a:pt x="74" y="19"/>
                  </a:lnTo>
                  <a:lnTo>
                    <a:pt x="70" y="16"/>
                  </a:lnTo>
                  <a:lnTo>
                    <a:pt x="71" y="11"/>
                  </a:lnTo>
                  <a:lnTo>
                    <a:pt x="74" y="14"/>
                  </a:lnTo>
                  <a:lnTo>
                    <a:pt x="78" y="17"/>
                  </a:lnTo>
                  <a:lnTo>
                    <a:pt x="78" y="14"/>
                  </a:lnTo>
                  <a:lnTo>
                    <a:pt x="78" y="11"/>
                  </a:lnTo>
                  <a:lnTo>
                    <a:pt x="77" y="6"/>
                  </a:lnTo>
                  <a:lnTo>
                    <a:pt x="78" y="1"/>
                  </a:lnTo>
                  <a:lnTo>
                    <a:pt x="80" y="0"/>
                  </a:lnTo>
                  <a:lnTo>
                    <a:pt x="81" y="3"/>
                  </a:lnTo>
                  <a:lnTo>
                    <a:pt x="83" y="6"/>
                  </a:lnTo>
                  <a:lnTo>
                    <a:pt x="84" y="10"/>
                  </a:lnTo>
                  <a:lnTo>
                    <a:pt x="87" y="14"/>
                  </a:lnTo>
                  <a:lnTo>
                    <a:pt x="88" y="19"/>
                  </a:lnTo>
                  <a:lnTo>
                    <a:pt x="90" y="22"/>
                  </a:lnTo>
                  <a:lnTo>
                    <a:pt x="93" y="23"/>
                  </a:lnTo>
                  <a:lnTo>
                    <a:pt x="99" y="24"/>
                  </a:lnTo>
                  <a:lnTo>
                    <a:pt x="104" y="24"/>
                  </a:lnTo>
                  <a:lnTo>
                    <a:pt x="106" y="26"/>
                  </a:lnTo>
                  <a:lnTo>
                    <a:pt x="111" y="29"/>
                  </a:lnTo>
                  <a:lnTo>
                    <a:pt x="117" y="32"/>
                  </a:lnTo>
                  <a:lnTo>
                    <a:pt x="123" y="34"/>
                  </a:lnTo>
                  <a:lnTo>
                    <a:pt x="124" y="37"/>
                  </a:lnTo>
                  <a:lnTo>
                    <a:pt x="129" y="40"/>
                  </a:lnTo>
                  <a:lnTo>
                    <a:pt x="133" y="43"/>
                  </a:lnTo>
                  <a:lnTo>
                    <a:pt x="134" y="46"/>
                  </a:lnTo>
                  <a:lnTo>
                    <a:pt x="136" y="52"/>
                  </a:lnTo>
                  <a:lnTo>
                    <a:pt x="139" y="54"/>
                  </a:lnTo>
                  <a:lnTo>
                    <a:pt x="144" y="57"/>
                  </a:lnTo>
                  <a:lnTo>
                    <a:pt x="147" y="59"/>
                  </a:lnTo>
                  <a:lnTo>
                    <a:pt x="150" y="59"/>
                  </a:lnTo>
                  <a:lnTo>
                    <a:pt x="154" y="60"/>
                  </a:lnTo>
                  <a:lnTo>
                    <a:pt x="159" y="57"/>
                  </a:lnTo>
                  <a:lnTo>
                    <a:pt x="160" y="57"/>
                  </a:lnTo>
                  <a:lnTo>
                    <a:pt x="162" y="56"/>
                  </a:lnTo>
                  <a:lnTo>
                    <a:pt x="166" y="52"/>
                  </a:lnTo>
                  <a:lnTo>
                    <a:pt x="172" y="44"/>
                  </a:lnTo>
                  <a:lnTo>
                    <a:pt x="182" y="37"/>
                  </a:lnTo>
                  <a:lnTo>
                    <a:pt x="186" y="34"/>
                  </a:lnTo>
                  <a:lnTo>
                    <a:pt x="190" y="39"/>
                  </a:lnTo>
                  <a:lnTo>
                    <a:pt x="190" y="50"/>
                  </a:lnTo>
                  <a:lnTo>
                    <a:pt x="194" y="54"/>
                  </a:lnTo>
                  <a:lnTo>
                    <a:pt x="240" y="37"/>
                  </a:lnTo>
                  <a:lnTo>
                    <a:pt x="243" y="40"/>
                  </a:lnTo>
                  <a:lnTo>
                    <a:pt x="247" y="46"/>
                  </a:lnTo>
                  <a:lnTo>
                    <a:pt x="249" y="56"/>
                  </a:lnTo>
                  <a:lnTo>
                    <a:pt x="246" y="64"/>
                  </a:lnTo>
                  <a:lnTo>
                    <a:pt x="242" y="69"/>
                  </a:lnTo>
                  <a:lnTo>
                    <a:pt x="240" y="73"/>
                  </a:lnTo>
                  <a:lnTo>
                    <a:pt x="243" y="75"/>
                  </a:lnTo>
                  <a:lnTo>
                    <a:pt x="245" y="76"/>
                  </a:lnTo>
                  <a:lnTo>
                    <a:pt x="246" y="79"/>
                  </a:lnTo>
                  <a:lnTo>
                    <a:pt x="249" y="83"/>
                  </a:lnTo>
                  <a:lnTo>
                    <a:pt x="255" y="85"/>
                  </a:lnTo>
                  <a:lnTo>
                    <a:pt x="256" y="83"/>
                  </a:lnTo>
                  <a:lnTo>
                    <a:pt x="259" y="82"/>
                  </a:lnTo>
                  <a:lnTo>
                    <a:pt x="266" y="77"/>
                  </a:lnTo>
                  <a:lnTo>
                    <a:pt x="276" y="92"/>
                  </a:lnTo>
                  <a:lnTo>
                    <a:pt x="270" y="96"/>
                  </a:lnTo>
                  <a:lnTo>
                    <a:pt x="266" y="113"/>
                  </a:lnTo>
                  <a:lnTo>
                    <a:pt x="265" y="116"/>
                  </a:lnTo>
                  <a:lnTo>
                    <a:pt x="262" y="120"/>
                  </a:lnTo>
                  <a:lnTo>
                    <a:pt x="263" y="125"/>
                  </a:lnTo>
                  <a:lnTo>
                    <a:pt x="272" y="140"/>
                  </a:lnTo>
                  <a:lnTo>
                    <a:pt x="280" y="148"/>
                  </a:lnTo>
                  <a:lnTo>
                    <a:pt x="280" y="153"/>
                  </a:lnTo>
                  <a:lnTo>
                    <a:pt x="276" y="158"/>
                  </a:lnTo>
                  <a:lnTo>
                    <a:pt x="269" y="158"/>
                  </a:lnTo>
                  <a:lnTo>
                    <a:pt x="260" y="156"/>
                  </a:lnTo>
                  <a:lnTo>
                    <a:pt x="255" y="158"/>
                  </a:lnTo>
                  <a:lnTo>
                    <a:pt x="252" y="162"/>
                  </a:lnTo>
                  <a:lnTo>
                    <a:pt x="250" y="166"/>
                  </a:lnTo>
                  <a:lnTo>
                    <a:pt x="243" y="175"/>
                  </a:lnTo>
                  <a:lnTo>
                    <a:pt x="239" y="179"/>
                  </a:lnTo>
                  <a:lnTo>
                    <a:pt x="236" y="182"/>
                  </a:lnTo>
                  <a:lnTo>
                    <a:pt x="237" y="186"/>
                  </a:lnTo>
                  <a:lnTo>
                    <a:pt x="240" y="191"/>
                  </a:lnTo>
                  <a:lnTo>
                    <a:pt x="235" y="196"/>
                  </a:lnTo>
                  <a:lnTo>
                    <a:pt x="229" y="206"/>
                  </a:lnTo>
                  <a:lnTo>
                    <a:pt x="225" y="218"/>
                  </a:lnTo>
                  <a:lnTo>
                    <a:pt x="223" y="223"/>
                  </a:lnTo>
                  <a:lnTo>
                    <a:pt x="216" y="232"/>
                  </a:lnTo>
                  <a:lnTo>
                    <a:pt x="210" y="235"/>
                  </a:lnTo>
                  <a:lnTo>
                    <a:pt x="209" y="241"/>
                  </a:lnTo>
                  <a:lnTo>
                    <a:pt x="213" y="246"/>
                  </a:lnTo>
                  <a:lnTo>
                    <a:pt x="212" y="252"/>
                  </a:lnTo>
                  <a:lnTo>
                    <a:pt x="203" y="249"/>
                  </a:lnTo>
                  <a:lnTo>
                    <a:pt x="200" y="249"/>
                  </a:lnTo>
                  <a:lnTo>
                    <a:pt x="200" y="252"/>
                  </a:lnTo>
                  <a:lnTo>
                    <a:pt x="186" y="259"/>
                  </a:lnTo>
                  <a:lnTo>
                    <a:pt x="184" y="264"/>
                  </a:lnTo>
                  <a:lnTo>
                    <a:pt x="187" y="266"/>
                  </a:lnTo>
                  <a:lnTo>
                    <a:pt x="192" y="271"/>
                  </a:lnTo>
                  <a:lnTo>
                    <a:pt x="186" y="275"/>
                  </a:lnTo>
                  <a:lnTo>
                    <a:pt x="183" y="276"/>
                  </a:lnTo>
                  <a:lnTo>
                    <a:pt x="176" y="279"/>
                  </a:lnTo>
                  <a:lnTo>
                    <a:pt x="176" y="285"/>
                  </a:lnTo>
                  <a:lnTo>
                    <a:pt x="170" y="286"/>
                  </a:lnTo>
                  <a:lnTo>
                    <a:pt x="160" y="285"/>
                  </a:lnTo>
                  <a:lnTo>
                    <a:pt x="159" y="282"/>
                  </a:lnTo>
                  <a:lnTo>
                    <a:pt x="156" y="281"/>
                  </a:lnTo>
                  <a:lnTo>
                    <a:pt x="153" y="281"/>
                  </a:lnTo>
                  <a:lnTo>
                    <a:pt x="147" y="279"/>
                  </a:lnTo>
                  <a:lnTo>
                    <a:pt x="143" y="281"/>
                  </a:lnTo>
                  <a:lnTo>
                    <a:pt x="139" y="284"/>
                  </a:lnTo>
                  <a:lnTo>
                    <a:pt x="137" y="291"/>
                  </a:lnTo>
                  <a:lnTo>
                    <a:pt x="127" y="296"/>
                  </a:lnTo>
                  <a:lnTo>
                    <a:pt x="123" y="292"/>
                  </a:lnTo>
                  <a:lnTo>
                    <a:pt x="116" y="285"/>
                  </a:lnTo>
                  <a:lnTo>
                    <a:pt x="110" y="282"/>
                  </a:lnTo>
                  <a:lnTo>
                    <a:pt x="106" y="284"/>
                  </a:lnTo>
                  <a:lnTo>
                    <a:pt x="104" y="288"/>
                  </a:lnTo>
                  <a:lnTo>
                    <a:pt x="106" y="294"/>
                  </a:lnTo>
                  <a:lnTo>
                    <a:pt x="106" y="296"/>
                  </a:lnTo>
                  <a:lnTo>
                    <a:pt x="97" y="299"/>
                  </a:lnTo>
                  <a:lnTo>
                    <a:pt x="93" y="302"/>
                  </a:lnTo>
                  <a:lnTo>
                    <a:pt x="91" y="308"/>
                  </a:lnTo>
                  <a:lnTo>
                    <a:pt x="88" y="317"/>
                  </a:lnTo>
                  <a:lnTo>
                    <a:pt x="83" y="314"/>
                  </a:lnTo>
                  <a:lnTo>
                    <a:pt x="76" y="312"/>
                  </a:lnTo>
                  <a:lnTo>
                    <a:pt x="74" y="312"/>
                  </a:lnTo>
                  <a:lnTo>
                    <a:pt x="74" y="308"/>
                  </a:lnTo>
                  <a:lnTo>
                    <a:pt x="77" y="304"/>
                  </a:lnTo>
                  <a:lnTo>
                    <a:pt x="74" y="299"/>
                  </a:lnTo>
                  <a:lnTo>
                    <a:pt x="70" y="304"/>
                  </a:lnTo>
                  <a:lnTo>
                    <a:pt x="58" y="305"/>
                  </a:lnTo>
                  <a:lnTo>
                    <a:pt x="53" y="302"/>
                  </a:lnTo>
                  <a:lnTo>
                    <a:pt x="54" y="296"/>
                  </a:lnTo>
                  <a:lnTo>
                    <a:pt x="58" y="292"/>
                  </a:lnTo>
                  <a:lnTo>
                    <a:pt x="61" y="285"/>
                  </a:lnTo>
                  <a:lnTo>
                    <a:pt x="61" y="282"/>
                  </a:lnTo>
                  <a:lnTo>
                    <a:pt x="61" y="281"/>
                  </a:lnTo>
                  <a:lnTo>
                    <a:pt x="50" y="278"/>
                  </a:lnTo>
                  <a:lnTo>
                    <a:pt x="48" y="272"/>
                  </a:lnTo>
                  <a:lnTo>
                    <a:pt x="46" y="262"/>
                  </a:lnTo>
                  <a:lnTo>
                    <a:pt x="44" y="259"/>
                  </a:lnTo>
                  <a:lnTo>
                    <a:pt x="38" y="258"/>
                  </a:lnTo>
                  <a:lnTo>
                    <a:pt x="35" y="261"/>
                  </a:lnTo>
                  <a:lnTo>
                    <a:pt x="30" y="25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75" name="Freeform 23"/>
            <p:cNvSpPr>
              <a:spLocks/>
            </p:cNvSpPr>
            <p:nvPr/>
          </p:nvSpPr>
          <p:spPr bwMode="auto">
            <a:xfrm>
              <a:off x="1919671" y="3925858"/>
              <a:ext cx="390765" cy="443173"/>
            </a:xfrm>
            <a:custGeom>
              <a:avLst/>
              <a:gdLst>
                <a:gd name="T0" fmla="*/ 151 w 640"/>
                <a:gd name="T1" fmla="*/ 506 h 671"/>
                <a:gd name="T2" fmla="*/ 194 w 640"/>
                <a:gd name="T3" fmla="*/ 512 h 671"/>
                <a:gd name="T4" fmla="*/ 237 w 640"/>
                <a:gd name="T5" fmla="*/ 516 h 671"/>
                <a:gd name="T6" fmla="*/ 268 w 640"/>
                <a:gd name="T7" fmla="*/ 576 h 671"/>
                <a:gd name="T8" fmla="*/ 267 w 640"/>
                <a:gd name="T9" fmla="*/ 632 h 671"/>
                <a:gd name="T10" fmla="*/ 318 w 640"/>
                <a:gd name="T11" fmla="*/ 644 h 671"/>
                <a:gd name="T12" fmla="*/ 325 w 640"/>
                <a:gd name="T13" fmla="*/ 671 h 671"/>
                <a:gd name="T14" fmla="*/ 380 w 640"/>
                <a:gd name="T15" fmla="*/ 629 h 671"/>
                <a:gd name="T16" fmla="*/ 436 w 640"/>
                <a:gd name="T17" fmla="*/ 631 h 671"/>
                <a:gd name="T18" fmla="*/ 500 w 640"/>
                <a:gd name="T19" fmla="*/ 559 h 671"/>
                <a:gd name="T20" fmla="*/ 471 w 640"/>
                <a:gd name="T21" fmla="*/ 553 h 671"/>
                <a:gd name="T22" fmla="*/ 446 w 640"/>
                <a:gd name="T23" fmla="*/ 538 h 671"/>
                <a:gd name="T24" fmla="*/ 438 w 640"/>
                <a:gd name="T25" fmla="*/ 516 h 671"/>
                <a:gd name="T26" fmla="*/ 417 w 640"/>
                <a:gd name="T27" fmla="*/ 475 h 671"/>
                <a:gd name="T28" fmla="*/ 406 w 640"/>
                <a:gd name="T29" fmla="*/ 446 h 671"/>
                <a:gd name="T30" fmla="*/ 437 w 640"/>
                <a:gd name="T31" fmla="*/ 393 h 671"/>
                <a:gd name="T32" fmla="*/ 430 w 640"/>
                <a:gd name="T33" fmla="*/ 338 h 671"/>
                <a:gd name="T34" fmla="*/ 423 w 640"/>
                <a:gd name="T35" fmla="*/ 310 h 671"/>
                <a:gd name="T36" fmla="*/ 454 w 640"/>
                <a:gd name="T37" fmla="*/ 291 h 671"/>
                <a:gd name="T38" fmla="*/ 480 w 640"/>
                <a:gd name="T39" fmla="*/ 287 h 671"/>
                <a:gd name="T40" fmla="*/ 534 w 640"/>
                <a:gd name="T41" fmla="*/ 307 h 671"/>
                <a:gd name="T42" fmla="*/ 567 w 640"/>
                <a:gd name="T43" fmla="*/ 280 h 671"/>
                <a:gd name="T44" fmla="*/ 562 w 640"/>
                <a:gd name="T45" fmla="*/ 242 h 671"/>
                <a:gd name="T46" fmla="*/ 559 w 640"/>
                <a:gd name="T47" fmla="*/ 200 h 671"/>
                <a:gd name="T48" fmla="*/ 615 w 640"/>
                <a:gd name="T49" fmla="*/ 162 h 671"/>
                <a:gd name="T50" fmla="*/ 632 w 640"/>
                <a:gd name="T51" fmla="*/ 116 h 671"/>
                <a:gd name="T52" fmla="*/ 635 w 640"/>
                <a:gd name="T53" fmla="*/ 73 h 671"/>
                <a:gd name="T54" fmla="*/ 630 w 640"/>
                <a:gd name="T55" fmla="*/ 41 h 671"/>
                <a:gd name="T56" fmla="*/ 603 w 640"/>
                <a:gd name="T57" fmla="*/ 49 h 671"/>
                <a:gd name="T58" fmla="*/ 542 w 640"/>
                <a:gd name="T59" fmla="*/ 56 h 671"/>
                <a:gd name="T60" fmla="*/ 494 w 640"/>
                <a:gd name="T61" fmla="*/ 33 h 671"/>
                <a:gd name="T62" fmla="*/ 447 w 640"/>
                <a:gd name="T63" fmla="*/ 26 h 671"/>
                <a:gd name="T64" fmla="*/ 358 w 640"/>
                <a:gd name="T65" fmla="*/ 59 h 671"/>
                <a:gd name="T66" fmla="*/ 290 w 640"/>
                <a:gd name="T67" fmla="*/ 104 h 671"/>
                <a:gd name="T68" fmla="*/ 251 w 640"/>
                <a:gd name="T69" fmla="*/ 124 h 671"/>
                <a:gd name="T70" fmla="*/ 227 w 640"/>
                <a:gd name="T71" fmla="*/ 142 h 671"/>
                <a:gd name="T72" fmla="*/ 188 w 640"/>
                <a:gd name="T73" fmla="*/ 89 h 671"/>
                <a:gd name="T74" fmla="*/ 143 w 640"/>
                <a:gd name="T75" fmla="*/ 68 h 671"/>
                <a:gd name="T76" fmla="*/ 88 w 640"/>
                <a:gd name="T77" fmla="*/ 42 h 671"/>
                <a:gd name="T78" fmla="*/ 50 w 640"/>
                <a:gd name="T79" fmla="*/ 62 h 671"/>
                <a:gd name="T80" fmla="*/ 26 w 640"/>
                <a:gd name="T81" fmla="*/ 79 h 671"/>
                <a:gd name="T82" fmla="*/ 46 w 640"/>
                <a:gd name="T83" fmla="*/ 101 h 671"/>
                <a:gd name="T84" fmla="*/ 45 w 640"/>
                <a:gd name="T85" fmla="*/ 108 h 671"/>
                <a:gd name="T86" fmla="*/ 55 w 640"/>
                <a:gd name="T87" fmla="*/ 111 h 671"/>
                <a:gd name="T88" fmla="*/ 70 w 640"/>
                <a:gd name="T89" fmla="*/ 129 h 671"/>
                <a:gd name="T90" fmla="*/ 86 w 640"/>
                <a:gd name="T91" fmla="*/ 138 h 671"/>
                <a:gd name="T92" fmla="*/ 98 w 640"/>
                <a:gd name="T93" fmla="*/ 137 h 671"/>
                <a:gd name="T94" fmla="*/ 109 w 640"/>
                <a:gd name="T95" fmla="*/ 148 h 671"/>
                <a:gd name="T96" fmla="*/ 116 w 640"/>
                <a:gd name="T97" fmla="*/ 161 h 671"/>
                <a:gd name="T98" fmla="*/ 115 w 640"/>
                <a:gd name="T99" fmla="*/ 168 h 671"/>
                <a:gd name="T100" fmla="*/ 98 w 640"/>
                <a:gd name="T101" fmla="*/ 179 h 671"/>
                <a:gd name="T102" fmla="*/ 75 w 640"/>
                <a:gd name="T103" fmla="*/ 175 h 671"/>
                <a:gd name="T104" fmla="*/ 37 w 640"/>
                <a:gd name="T105" fmla="*/ 157 h 671"/>
                <a:gd name="T106" fmla="*/ 33 w 640"/>
                <a:gd name="T107" fmla="*/ 174 h 671"/>
                <a:gd name="T108" fmla="*/ 0 w 640"/>
                <a:gd name="T109" fmla="*/ 194 h 671"/>
                <a:gd name="T110" fmla="*/ 60 w 640"/>
                <a:gd name="T111" fmla="*/ 220 h 671"/>
                <a:gd name="T112" fmla="*/ 102 w 640"/>
                <a:gd name="T113" fmla="*/ 274 h 671"/>
                <a:gd name="T114" fmla="*/ 90 w 640"/>
                <a:gd name="T115" fmla="*/ 300 h 671"/>
                <a:gd name="T116" fmla="*/ 58 w 640"/>
                <a:gd name="T117" fmla="*/ 354 h 671"/>
                <a:gd name="T118" fmla="*/ 80 w 640"/>
                <a:gd name="T119" fmla="*/ 394 h 671"/>
                <a:gd name="T120" fmla="*/ 75 w 640"/>
                <a:gd name="T121" fmla="*/ 466 h 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40" h="671">
                  <a:moveTo>
                    <a:pt x="119" y="506"/>
                  </a:moveTo>
                  <a:lnTo>
                    <a:pt x="119" y="506"/>
                  </a:lnTo>
                  <a:lnTo>
                    <a:pt x="125" y="500"/>
                  </a:lnTo>
                  <a:lnTo>
                    <a:pt x="138" y="489"/>
                  </a:lnTo>
                  <a:lnTo>
                    <a:pt x="149" y="486"/>
                  </a:lnTo>
                  <a:lnTo>
                    <a:pt x="149" y="495"/>
                  </a:lnTo>
                  <a:lnTo>
                    <a:pt x="152" y="499"/>
                  </a:lnTo>
                  <a:lnTo>
                    <a:pt x="151" y="506"/>
                  </a:lnTo>
                  <a:lnTo>
                    <a:pt x="163" y="509"/>
                  </a:lnTo>
                  <a:lnTo>
                    <a:pt x="168" y="506"/>
                  </a:lnTo>
                  <a:lnTo>
                    <a:pt x="162" y="502"/>
                  </a:lnTo>
                  <a:lnTo>
                    <a:pt x="172" y="496"/>
                  </a:lnTo>
                  <a:lnTo>
                    <a:pt x="176" y="500"/>
                  </a:lnTo>
                  <a:lnTo>
                    <a:pt x="181" y="497"/>
                  </a:lnTo>
                  <a:lnTo>
                    <a:pt x="189" y="507"/>
                  </a:lnTo>
                  <a:lnTo>
                    <a:pt x="194" y="512"/>
                  </a:lnTo>
                  <a:lnTo>
                    <a:pt x="198" y="516"/>
                  </a:lnTo>
                  <a:lnTo>
                    <a:pt x="206" y="512"/>
                  </a:lnTo>
                  <a:lnTo>
                    <a:pt x="202" y="506"/>
                  </a:lnTo>
                  <a:lnTo>
                    <a:pt x="204" y="499"/>
                  </a:lnTo>
                  <a:lnTo>
                    <a:pt x="208" y="492"/>
                  </a:lnTo>
                  <a:lnTo>
                    <a:pt x="215" y="479"/>
                  </a:lnTo>
                  <a:lnTo>
                    <a:pt x="216" y="477"/>
                  </a:lnTo>
                  <a:lnTo>
                    <a:pt x="237" y="516"/>
                  </a:lnTo>
                  <a:lnTo>
                    <a:pt x="238" y="523"/>
                  </a:lnTo>
                  <a:lnTo>
                    <a:pt x="239" y="533"/>
                  </a:lnTo>
                  <a:lnTo>
                    <a:pt x="242" y="548"/>
                  </a:lnTo>
                  <a:lnTo>
                    <a:pt x="248" y="563"/>
                  </a:lnTo>
                  <a:lnTo>
                    <a:pt x="254" y="565"/>
                  </a:lnTo>
                  <a:lnTo>
                    <a:pt x="265" y="565"/>
                  </a:lnTo>
                  <a:lnTo>
                    <a:pt x="268" y="570"/>
                  </a:lnTo>
                  <a:lnTo>
                    <a:pt x="268" y="576"/>
                  </a:lnTo>
                  <a:lnTo>
                    <a:pt x="268" y="582"/>
                  </a:lnTo>
                  <a:lnTo>
                    <a:pt x="268" y="585"/>
                  </a:lnTo>
                  <a:lnTo>
                    <a:pt x="267" y="598"/>
                  </a:lnTo>
                  <a:lnTo>
                    <a:pt x="267" y="605"/>
                  </a:lnTo>
                  <a:lnTo>
                    <a:pt x="267" y="609"/>
                  </a:lnTo>
                  <a:lnTo>
                    <a:pt x="267" y="612"/>
                  </a:lnTo>
                  <a:lnTo>
                    <a:pt x="267" y="622"/>
                  </a:lnTo>
                  <a:lnTo>
                    <a:pt x="267" y="632"/>
                  </a:lnTo>
                  <a:lnTo>
                    <a:pt x="268" y="636"/>
                  </a:lnTo>
                  <a:lnTo>
                    <a:pt x="271" y="642"/>
                  </a:lnTo>
                  <a:lnTo>
                    <a:pt x="275" y="649"/>
                  </a:lnTo>
                  <a:lnTo>
                    <a:pt x="281" y="655"/>
                  </a:lnTo>
                  <a:lnTo>
                    <a:pt x="287" y="655"/>
                  </a:lnTo>
                  <a:lnTo>
                    <a:pt x="297" y="655"/>
                  </a:lnTo>
                  <a:lnTo>
                    <a:pt x="308" y="649"/>
                  </a:lnTo>
                  <a:lnTo>
                    <a:pt x="318" y="644"/>
                  </a:lnTo>
                  <a:lnTo>
                    <a:pt x="324" y="644"/>
                  </a:lnTo>
                  <a:lnTo>
                    <a:pt x="328" y="648"/>
                  </a:lnTo>
                  <a:lnTo>
                    <a:pt x="327" y="651"/>
                  </a:lnTo>
                  <a:lnTo>
                    <a:pt x="325" y="656"/>
                  </a:lnTo>
                  <a:lnTo>
                    <a:pt x="324" y="662"/>
                  </a:lnTo>
                  <a:lnTo>
                    <a:pt x="318" y="664"/>
                  </a:lnTo>
                  <a:lnTo>
                    <a:pt x="314" y="668"/>
                  </a:lnTo>
                  <a:lnTo>
                    <a:pt x="325" y="671"/>
                  </a:lnTo>
                  <a:lnTo>
                    <a:pt x="334" y="666"/>
                  </a:lnTo>
                  <a:lnTo>
                    <a:pt x="341" y="658"/>
                  </a:lnTo>
                  <a:lnTo>
                    <a:pt x="353" y="646"/>
                  </a:lnTo>
                  <a:lnTo>
                    <a:pt x="361" y="642"/>
                  </a:lnTo>
                  <a:lnTo>
                    <a:pt x="351" y="633"/>
                  </a:lnTo>
                  <a:lnTo>
                    <a:pt x="353" y="628"/>
                  </a:lnTo>
                  <a:lnTo>
                    <a:pt x="373" y="629"/>
                  </a:lnTo>
                  <a:lnTo>
                    <a:pt x="380" y="629"/>
                  </a:lnTo>
                  <a:lnTo>
                    <a:pt x="384" y="633"/>
                  </a:lnTo>
                  <a:lnTo>
                    <a:pt x="393" y="633"/>
                  </a:lnTo>
                  <a:lnTo>
                    <a:pt x="396" y="629"/>
                  </a:lnTo>
                  <a:lnTo>
                    <a:pt x="408" y="631"/>
                  </a:lnTo>
                  <a:lnTo>
                    <a:pt x="410" y="633"/>
                  </a:lnTo>
                  <a:lnTo>
                    <a:pt x="423" y="635"/>
                  </a:lnTo>
                  <a:lnTo>
                    <a:pt x="431" y="633"/>
                  </a:lnTo>
                  <a:lnTo>
                    <a:pt x="436" y="631"/>
                  </a:lnTo>
                  <a:lnTo>
                    <a:pt x="441" y="626"/>
                  </a:lnTo>
                  <a:lnTo>
                    <a:pt x="457" y="611"/>
                  </a:lnTo>
                  <a:lnTo>
                    <a:pt x="474" y="595"/>
                  </a:lnTo>
                  <a:lnTo>
                    <a:pt x="491" y="580"/>
                  </a:lnTo>
                  <a:lnTo>
                    <a:pt x="494" y="576"/>
                  </a:lnTo>
                  <a:lnTo>
                    <a:pt x="499" y="572"/>
                  </a:lnTo>
                  <a:lnTo>
                    <a:pt x="493" y="565"/>
                  </a:lnTo>
                  <a:lnTo>
                    <a:pt x="500" y="559"/>
                  </a:lnTo>
                  <a:lnTo>
                    <a:pt x="499" y="556"/>
                  </a:lnTo>
                  <a:lnTo>
                    <a:pt x="496" y="552"/>
                  </a:lnTo>
                  <a:lnTo>
                    <a:pt x="494" y="546"/>
                  </a:lnTo>
                  <a:lnTo>
                    <a:pt x="490" y="546"/>
                  </a:lnTo>
                  <a:lnTo>
                    <a:pt x="483" y="552"/>
                  </a:lnTo>
                  <a:lnTo>
                    <a:pt x="481" y="556"/>
                  </a:lnTo>
                  <a:lnTo>
                    <a:pt x="474" y="556"/>
                  </a:lnTo>
                  <a:lnTo>
                    <a:pt x="471" y="553"/>
                  </a:lnTo>
                  <a:lnTo>
                    <a:pt x="459" y="550"/>
                  </a:lnTo>
                  <a:lnTo>
                    <a:pt x="457" y="552"/>
                  </a:lnTo>
                  <a:lnTo>
                    <a:pt x="451" y="556"/>
                  </a:lnTo>
                  <a:lnTo>
                    <a:pt x="444" y="558"/>
                  </a:lnTo>
                  <a:lnTo>
                    <a:pt x="438" y="549"/>
                  </a:lnTo>
                  <a:lnTo>
                    <a:pt x="436" y="545"/>
                  </a:lnTo>
                  <a:lnTo>
                    <a:pt x="438" y="542"/>
                  </a:lnTo>
                  <a:lnTo>
                    <a:pt x="446" y="538"/>
                  </a:lnTo>
                  <a:lnTo>
                    <a:pt x="451" y="530"/>
                  </a:lnTo>
                  <a:lnTo>
                    <a:pt x="453" y="527"/>
                  </a:lnTo>
                  <a:lnTo>
                    <a:pt x="453" y="519"/>
                  </a:lnTo>
                  <a:lnTo>
                    <a:pt x="451" y="519"/>
                  </a:lnTo>
                  <a:lnTo>
                    <a:pt x="444" y="519"/>
                  </a:lnTo>
                  <a:lnTo>
                    <a:pt x="441" y="519"/>
                  </a:lnTo>
                  <a:lnTo>
                    <a:pt x="438" y="520"/>
                  </a:lnTo>
                  <a:lnTo>
                    <a:pt x="438" y="516"/>
                  </a:lnTo>
                  <a:lnTo>
                    <a:pt x="438" y="510"/>
                  </a:lnTo>
                  <a:lnTo>
                    <a:pt x="438" y="505"/>
                  </a:lnTo>
                  <a:lnTo>
                    <a:pt x="430" y="496"/>
                  </a:lnTo>
                  <a:lnTo>
                    <a:pt x="426" y="493"/>
                  </a:lnTo>
                  <a:lnTo>
                    <a:pt x="421" y="489"/>
                  </a:lnTo>
                  <a:lnTo>
                    <a:pt x="417" y="483"/>
                  </a:lnTo>
                  <a:lnTo>
                    <a:pt x="417" y="479"/>
                  </a:lnTo>
                  <a:lnTo>
                    <a:pt x="417" y="475"/>
                  </a:lnTo>
                  <a:lnTo>
                    <a:pt x="420" y="470"/>
                  </a:lnTo>
                  <a:lnTo>
                    <a:pt x="424" y="469"/>
                  </a:lnTo>
                  <a:lnTo>
                    <a:pt x="426" y="456"/>
                  </a:lnTo>
                  <a:lnTo>
                    <a:pt x="414" y="456"/>
                  </a:lnTo>
                  <a:lnTo>
                    <a:pt x="410" y="456"/>
                  </a:lnTo>
                  <a:lnTo>
                    <a:pt x="407" y="454"/>
                  </a:lnTo>
                  <a:lnTo>
                    <a:pt x="404" y="449"/>
                  </a:lnTo>
                  <a:lnTo>
                    <a:pt x="406" y="446"/>
                  </a:lnTo>
                  <a:lnTo>
                    <a:pt x="408" y="440"/>
                  </a:lnTo>
                  <a:lnTo>
                    <a:pt x="413" y="434"/>
                  </a:lnTo>
                  <a:lnTo>
                    <a:pt x="417" y="432"/>
                  </a:lnTo>
                  <a:lnTo>
                    <a:pt x="420" y="422"/>
                  </a:lnTo>
                  <a:lnTo>
                    <a:pt x="423" y="414"/>
                  </a:lnTo>
                  <a:lnTo>
                    <a:pt x="434" y="403"/>
                  </a:lnTo>
                  <a:lnTo>
                    <a:pt x="436" y="400"/>
                  </a:lnTo>
                  <a:lnTo>
                    <a:pt x="437" y="393"/>
                  </a:lnTo>
                  <a:lnTo>
                    <a:pt x="437" y="389"/>
                  </a:lnTo>
                  <a:lnTo>
                    <a:pt x="436" y="383"/>
                  </a:lnTo>
                  <a:lnTo>
                    <a:pt x="436" y="379"/>
                  </a:lnTo>
                  <a:lnTo>
                    <a:pt x="440" y="369"/>
                  </a:lnTo>
                  <a:lnTo>
                    <a:pt x="441" y="364"/>
                  </a:lnTo>
                  <a:lnTo>
                    <a:pt x="440" y="360"/>
                  </a:lnTo>
                  <a:lnTo>
                    <a:pt x="437" y="353"/>
                  </a:lnTo>
                  <a:lnTo>
                    <a:pt x="430" y="338"/>
                  </a:lnTo>
                  <a:lnTo>
                    <a:pt x="426" y="334"/>
                  </a:lnTo>
                  <a:lnTo>
                    <a:pt x="421" y="334"/>
                  </a:lnTo>
                  <a:lnTo>
                    <a:pt x="416" y="331"/>
                  </a:lnTo>
                  <a:lnTo>
                    <a:pt x="411" y="324"/>
                  </a:lnTo>
                  <a:lnTo>
                    <a:pt x="410" y="318"/>
                  </a:lnTo>
                  <a:lnTo>
                    <a:pt x="413" y="314"/>
                  </a:lnTo>
                  <a:lnTo>
                    <a:pt x="417" y="311"/>
                  </a:lnTo>
                  <a:lnTo>
                    <a:pt x="423" y="310"/>
                  </a:lnTo>
                  <a:lnTo>
                    <a:pt x="428" y="311"/>
                  </a:lnTo>
                  <a:lnTo>
                    <a:pt x="433" y="306"/>
                  </a:lnTo>
                  <a:lnTo>
                    <a:pt x="434" y="301"/>
                  </a:lnTo>
                  <a:lnTo>
                    <a:pt x="438" y="298"/>
                  </a:lnTo>
                  <a:lnTo>
                    <a:pt x="444" y="304"/>
                  </a:lnTo>
                  <a:lnTo>
                    <a:pt x="450" y="298"/>
                  </a:lnTo>
                  <a:lnTo>
                    <a:pt x="450" y="294"/>
                  </a:lnTo>
                  <a:lnTo>
                    <a:pt x="454" y="291"/>
                  </a:lnTo>
                  <a:lnTo>
                    <a:pt x="459" y="288"/>
                  </a:lnTo>
                  <a:lnTo>
                    <a:pt x="461" y="287"/>
                  </a:lnTo>
                  <a:lnTo>
                    <a:pt x="464" y="284"/>
                  </a:lnTo>
                  <a:lnTo>
                    <a:pt x="466" y="281"/>
                  </a:lnTo>
                  <a:lnTo>
                    <a:pt x="470" y="281"/>
                  </a:lnTo>
                  <a:lnTo>
                    <a:pt x="473" y="283"/>
                  </a:lnTo>
                  <a:lnTo>
                    <a:pt x="477" y="285"/>
                  </a:lnTo>
                  <a:lnTo>
                    <a:pt x="480" y="287"/>
                  </a:lnTo>
                  <a:lnTo>
                    <a:pt x="487" y="290"/>
                  </a:lnTo>
                  <a:lnTo>
                    <a:pt x="491" y="293"/>
                  </a:lnTo>
                  <a:lnTo>
                    <a:pt x="500" y="310"/>
                  </a:lnTo>
                  <a:lnTo>
                    <a:pt x="524" y="318"/>
                  </a:lnTo>
                  <a:lnTo>
                    <a:pt x="526" y="317"/>
                  </a:lnTo>
                  <a:lnTo>
                    <a:pt x="527" y="311"/>
                  </a:lnTo>
                  <a:lnTo>
                    <a:pt x="530" y="308"/>
                  </a:lnTo>
                  <a:lnTo>
                    <a:pt x="534" y="307"/>
                  </a:lnTo>
                  <a:lnTo>
                    <a:pt x="540" y="306"/>
                  </a:lnTo>
                  <a:lnTo>
                    <a:pt x="546" y="307"/>
                  </a:lnTo>
                  <a:lnTo>
                    <a:pt x="550" y="304"/>
                  </a:lnTo>
                  <a:lnTo>
                    <a:pt x="556" y="301"/>
                  </a:lnTo>
                  <a:lnTo>
                    <a:pt x="559" y="298"/>
                  </a:lnTo>
                  <a:lnTo>
                    <a:pt x="560" y="293"/>
                  </a:lnTo>
                  <a:lnTo>
                    <a:pt x="567" y="284"/>
                  </a:lnTo>
                  <a:lnTo>
                    <a:pt x="567" y="280"/>
                  </a:lnTo>
                  <a:lnTo>
                    <a:pt x="567" y="278"/>
                  </a:lnTo>
                  <a:lnTo>
                    <a:pt x="569" y="271"/>
                  </a:lnTo>
                  <a:lnTo>
                    <a:pt x="566" y="261"/>
                  </a:lnTo>
                  <a:lnTo>
                    <a:pt x="562" y="258"/>
                  </a:lnTo>
                  <a:lnTo>
                    <a:pt x="560" y="253"/>
                  </a:lnTo>
                  <a:lnTo>
                    <a:pt x="559" y="250"/>
                  </a:lnTo>
                  <a:lnTo>
                    <a:pt x="559" y="245"/>
                  </a:lnTo>
                  <a:lnTo>
                    <a:pt x="562" y="242"/>
                  </a:lnTo>
                  <a:lnTo>
                    <a:pt x="565" y="244"/>
                  </a:lnTo>
                  <a:lnTo>
                    <a:pt x="569" y="242"/>
                  </a:lnTo>
                  <a:lnTo>
                    <a:pt x="570" y="241"/>
                  </a:lnTo>
                  <a:lnTo>
                    <a:pt x="570" y="228"/>
                  </a:lnTo>
                  <a:lnTo>
                    <a:pt x="559" y="218"/>
                  </a:lnTo>
                  <a:lnTo>
                    <a:pt x="553" y="212"/>
                  </a:lnTo>
                  <a:lnTo>
                    <a:pt x="554" y="205"/>
                  </a:lnTo>
                  <a:lnTo>
                    <a:pt x="559" y="200"/>
                  </a:lnTo>
                  <a:lnTo>
                    <a:pt x="569" y="192"/>
                  </a:lnTo>
                  <a:lnTo>
                    <a:pt x="572" y="184"/>
                  </a:lnTo>
                  <a:lnTo>
                    <a:pt x="577" y="181"/>
                  </a:lnTo>
                  <a:lnTo>
                    <a:pt x="582" y="177"/>
                  </a:lnTo>
                  <a:lnTo>
                    <a:pt x="597" y="169"/>
                  </a:lnTo>
                  <a:lnTo>
                    <a:pt x="602" y="167"/>
                  </a:lnTo>
                  <a:lnTo>
                    <a:pt x="607" y="164"/>
                  </a:lnTo>
                  <a:lnTo>
                    <a:pt x="615" y="162"/>
                  </a:lnTo>
                  <a:lnTo>
                    <a:pt x="623" y="162"/>
                  </a:lnTo>
                  <a:lnTo>
                    <a:pt x="625" y="159"/>
                  </a:lnTo>
                  <a:lnTo>
                    <a:pt x="626" y="155"/>
                  </a:lnTo>
                  <a:lnTo>
                    <a:pt x="626" y="149"/>
                  </a:lnTo>
                  <a:lnTo>
                    <a:pt x="628" y="145"/>
                  </a:lnTo>
                  <a:lnTo>
                    <a:pt x="629" y="137"/>
                  </a:lnTo>
                  <a:lnTo>
                    <a:pt x="630" y="124"/>
                  </a:lnTo>
                  <a:lnTo>
                    <a:pt x="632" y="116"/>
                  </a:lnTo>
                  <a:lnTo>
                    <a:pt x="632" y="109"/>
                  </a:lnTo>
                  <a:lnTo>
                    <a:pt x="630" y="102"/>
                  </a:lnTo>
                  <a:lnTo>
                    <a:pt x="630" y="99"/>
                  </a:lnTo>
                  <a:lnTo>
                    <a:pt x="628" y="92"/>
                  </a:lnTo>
                  <a:lnTo>
                    <a:pt x="625" y="89"/>
                  </a:lnTo>
                  <a:lnTo>
                    <a:pt x="625" y="82"/>
                  </a:lnTo>
                  <a:lnTo>
                    <a:pt x="630" y="76"/>
                  </a:lnTo>
                  <a:lnTo>
                    <a:pt x="635" y="73"/>
                  </a:lnTo>
                  <a:lnTo>
                    <a:pt x="635" y="71"/>
                  </a:lnTo>
                  <a:lnTo>
                    <a:pt x="633" y="68"/>
                  </a:lnTo>
                  <a:lnTo>
                    <a:pt x="630" y="61"/>
                  </a:lnTo>
                  <a:lnTo>
                    <a:pt x="632" y="56"/>
                  </a:lnTo>
                  <a:lnTo>
                    <a:pt x="639" y="46"/>
                  </a:lnTo>
                  <a:lnTo>
                    <a:pt x="640" y="38"/>
                  </a:lnTo>
                  <a:lnTo>
                    <a:pt x="635" y="36"/>
                  </a:lnTo>
                  <a:lnTo>
                    <a:pt x="630" y="41"/>
                  </a:lnTo>
                  <a:lnTo>
                    <a:pt x="629" y="45"/>
                  </a:lnTo>
                  <a:lnTo>
                    <a:pt x="626" y="48"/>
                  </a:lnTo>
                  <a:lnTo>
                    <a:pt x="625" y="52"/>
                  </a:lnTo>
                  <a:lnTo>
                    <a:pt x="620" y="51"/>
                  </a:lnTo>
                  <a:lnTo>
                    <a:pt x="617" y="49"/>
                  </a:lnTo>
                  <a:lnTo>
                    <a:pt x="613" y="51"/>
                  </a:lnTo>
                  <a:lnTo>
                    <a:pt x="607" y="52"/>
                  </a:lnTo>
                  <a:lnTo>
                    <a:pt x="603" y="49"/>
                  </a:lnTo>
                  <a:lnTo>
                    <a:pt x="596" y="43"/>
                  </a:lnTo>
                  <a:lnTo>
                    <a:pt x="590" y="43"/>
                  </a:lnTo>
                  <a:lnTo>
                    <a:pt x="586" y="43"/>
                  </a:lnTo>
                  <a:lnTo>
                    <a:pt x="582" y="43"/>
                  </a:lnTo>
                  <a:lnTo>
                    <a:pt x="567" y="51"/>
                  </a:lnTo>
                  <a:lnTo>
                    <a:pt x="557" y="56"/>
                  </a:lnTo>
                  <a:lnTo>
                    <a:pt x="549" y="59"/>
                  </a:lnTo>
                  <a:lnTo>
                    <a:pt x="542" y="56"/>
                  </a:lnTo>
                  <a:lnTo>
                    <a:pt x="537" y="58"/>
                  </a:lnTo>
                  <a:lnTo>
                    <a:pt x="536" y="55"/>
                  </a:lnTo>
                  <a:lnTo>
                    <a:pt x="532" y="49"/>
                  </a:lnTo>
                  <a:lnTo>
                    <a:pt x="524" y="49"/>
                  </a:lnTo>
                  <a:lnTo>
                    <a:pt x="520" y="42"/>
                  </a:lnTo>
                  <a:lnTo>
                    <a:pt x="513" y="43"/>
                  </a:lnTo>
                  <a:lnTo>
                    <a:pt x="503" y="39"/>
                  </a:lnTo>
                  <a:lnTo>
                    <a:pt x="494" y="33"/>
                  </a:lnTo>
                  <a:lnTo>
                    <a:pt x="490" y="18"/>
                  </a:lnTo>
                  <a:lnTo>
                    <a:pt x="487" y="12"/>
                  </a:lnTo>
                  <a:lnTo>
                    <a:pt x="487" y="6"/>
                  </a:lnTo>
                  <a:lnTo>
                    <a:pt x="484" y="2"/>
                  </a:lnTo>
                  <a:lnTo>
                    <a:pt x="477" y="0"/>
                  </a:lnTo>
                  <a:lnTo>
                    <a:pt x="447" y="5"/>
                  </a:lnTo>
                  <a:lnTo>
                    <a:pt x="444" y="16"/>
                  </a:lnTo>
                  <a:lnTo>
                    <a:pt x="447" y="26"/>
                  </a:lnTo>
                  <a:lnTo>
                    <a:pt x="437" y="33"/>
                  </a:lnTo>
                  <a:lnTo>
                    <a:pt x="417" y="33"/>
                  </a:lnTo>
                  <a:lnTo>
                    <a:pt x="396" y="29"/>
                  </a:lnTo>
                  <a:lnTo>
                    <a:pt x="383" y="19"/>
                  </a:lnTo>
                  <a:lnTo>
                    <a:pt x="373" y="19"/>
                  </a:lnTo>
                  <a:lnTo>
                    <a:pt x="365" y="43"/>
                  </a:lnTo>
                  <a:lnTo>
                    <a:pt x="368" y="55"/>
                  </a:lnTo>
                  <a:lnTo>
                    <a:pt x="358" y="59"/>
                  </a:lnTo>
                  <a:lnTo>
                    <a:pt x="345" y="56"/>
                  </a:lnTo>
                  <a:lnTo>
                    <a:pt x="334" y="65"/>
                  </a:lnTo>
                  <a:lnTo>
                    <a:pt x="314" y="85"/>
                  </a:lnTo>
                  <a:lnTo>
                    <a:pt x="305" y="104"/>
                  </a:lnTo>
                  <a:lnTo>
                    <a:pt x="298" y="102"/>
                  </a:lnTo>
                  <a:lnTo>
                    <a:pt x="291" y="101"/>
                  </a:lnTo>
                  <a:lnTo>
                    <a:pt x="291" y="101"/>
                  </a:lnTo>
                  <a:lnTo>
                    <a:pt x="290" y="104"/>
                  </a:lnTo>
                  <a:lnTo>
                    <a:pt x="288" y="106"/>
                  </a:lnTo>
                  <a:lnTo>
                    <a:pt x="295" y="118"/>
                  </a:lnTo>
                  <a:lnTo>
                    <a:pt x="290" y="119"/>
                  </a:lnTo>
                  <a:lnTo>
                    <a:pt x="282" y="122"/>
                  </a:lnTo>
                  <a:lnTo>
                    <a:pt x="268" y="125"/>
                  </a:lnTo>
                  <a:lnTo>
                    <a:pt x="267" y="125"/>
                  </a:lnTo>
                  <a:lnTo>
                    <a:pt x="258" y="125"/>
                  </a:lnTo>
                  <a:lnTo>
                    <a:pt x="251" y="124"/>
                  </a:lnTo>
                  <a:lnTo>
                    <a:pt x="245" y="124"/>
                  </a:lnTo>
                  <a:lnTo>
                    <a:pt x="244" y="129"/>
                  </a:lnTo>
                  <a:lnTo>
                    <a:pt x="242" y="135"/>
                  </a:lnTo>
                  <a:lnTo>
                    <a:pt x="241" y="137"/>
                  </a:lnTo>
                  <a:lnTo>
                    <a:pt x="238" y="138"/>
                  </a:lnTo>
                  <a:lnTo>
                    <a:pt x="232" y="141"/>
                  </a:lnTo>
                  <a:lnTo>
                    <a:pt x="228" y="142"/>
                  </a:lnTo>
                  <a:lnTo>
                    <a:pt x="227" y="142"/>
                  </a:lnTo>
                  <a:lnTo>
                    <a:pt x="225" y="141"/>
                  </a:lnTo>
                  <a:lnTo>
                    <a:pt x="219" y="139"/>
                  </a:lnTo>
                  <a:lnTo>
                    <a:pt x="214" y="131"/>
                  </a:lnTo>
                  <a:lnTo>
                    <a:pt x="212" y="131"/>
                  </a:lnTo>
                  <a:lnTo>
                    <a:pt x="206" y="122"/>
                  </a:lnTo>
                  <a:lnTo>
                    <a:pt x="205" y="112"/>
                  </a:lnTo>
                  <a:lnTo>
                    <a:pt x="195" y="98"/>
                  </a:lnTo>
                  <a:lnTo>
                    <a:pt x="188" y="89"/>
                  </a:lnTo>
                  <a:lnTo>
                    <a:pt x="182" y="84"/>
                  </a:lnTo>
                  <a:lnTo>
                    <a:pt x="179" y="73"/>
                  </a:lnTo>
                  <a:lnTo>
                    <a:pt x="175" y="68"/>
                  </a:lnTo>
                  <a:lnTo>
                    <a:pt x="172" y="66"/>
                  </a:lnTo>
                  <a:lnTo>
                    <a:pt x="168" y="62"/>
                  </a:lnTo>
                  <a:lnTo>
                    <a:pt x="162" y="62"/>
                  </a:lnTo>
                  <a:lnTo>
                    <a:pt x="152" y="62"/>
                  </a:lnTo>
                  <a:lnTo>
                    <a:pt x="143" y="68"/>
                  </a:lnTo>
                  <a:lnTo>
                    <a:pt x="135" y="69"/>
                  </a:lnTo>
                  <a:lnTo>
                    <a:pt x="129" y="66"/>
                  </a:lnTo>
                  <a:lnTo>
                    <a:pt x="126" y="65"/>
                  </a:lnTo>
                  <a:lnTo>
                    <a:pt x="113" y="53"/>
                  </a:lnTo>
                  <a:lnTo>
                    <a:pt x="108" y="46"/>
                  </a:lnTo>
                  <a:lnTo>
                    <a:pt x="100" y="42"/>
                  </a:lnTo>
                  <a:lnTo>
                    <a:pt x="93" y="42"/>
                  </a:lnTo>
                  <a:lnTo>
                    <a:pt x="88" y="42"/>
                  </a:lnTo>
                  <a:lnTo>
                    <a:pt x="82" y="43"/>
                  </a:lnTo>
                  <a:lnTo>
                    <a:pt x="76" y="51"/>
                  </a:lnTo>
                  <a:lnTo>
                    <a:pt x="68" y="56"/>
                  </a:lnTo>
                  <a:lnTo>
                    <a:pt x="60" y="58"/>
                  </a:lnTo>
                  <a:lnTo>
                    <a:pt x="58" y="56"/>
                  </a:lnTo>
                  <a:lnTo>
                    <a:pt x="53" y="56"/>
                  </a:lnTo>
                  <a:lnTo>
                    <a:pt x="50" y="58"/>
                  </a:lnTo>
                  <a:lnTo>
                    <a:pt x="50" y="62"/>
                  </a:lnTo>
                  <a:lnTo>
                    <a:pt x="53" y="71"/>
                  </a:lnTo>
                  <a:lnTo>
                    <a:pt x="40" y="71"/>
                  </a:lnTo>
                  <a:lnTo>
                    <a:pt x="36" y="71"/>
                  </a:lnTo>
                  <a:lnTo>
                    <a:pt x="32" y="73"/>
                  </a:lnTo>
                  <a:lnTo>
                    <a:pt x="30" y="76"/>
                  </a:lnTo>
                  <a:lnTo>
                    <a:pt x="29" y="78"/>
                  </a:lnTo>
                  <a:lnTo>
                    <a:pt x="26" y="79"/>
                  </a:lnTo>
                  <a:lnTo>
                    <a:pt x="26" y="79"/>
                  </a:lnTo>
                  <a:lnTo>
                    <a:pt x="32" y="85"/>
                  </a:lnTo>
                  <a:lnTo>
                    <a:pt x="32" y="85"/>
                  </a:lnTo>
                  <a:lnTo>
                    <a:pt x="36" y="91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3" y="99"/>
                  </a:lnTo>
                  <a:lnTo>
                    <a:pt x="46" y="101"/>
                  </a:lnTo>
                  <a:lnTo>
                    <a:pt x="46" y="101"/>
                  </a:lnTo>
                  <a:lnTo>
                    <a:pt x="46" y="101"/>
                  </a:lnTo>
                  <a:lnTo>
                    <a:pt x="45" y="102"/>
                  </a:lnTo>
                  <a:lnTo>
                    <a:pt x="43" y="102"/>
                  </a:lnTo>
                  <a:lnTo>
                    <a:pt x="43" y="104"/>
                  </a:lnTo>
                  <a:lnTo>
                    <a:pt x="43" y="104"/>
                  </a:lnTo>
                  <a:lnTo>
                    <a:pt x="43" y="105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6" y="112"/>
                  </a:lnTo>
                  <a:lnTo>
                    <a:pt x="47" y="114"/>
                  </a:lnTo>
                  <a:lnTo>
                    <a:pt x="47" y="114"/>
                  </a:lnTo>
                  <a:lnTo>
                    <a:pt x="49" y="112"/>
                  </a:lnTo>
                  <a:lnTo>
                    <a:pt x="50" y="111"/>
                  </a:lnTo>
                  <a:lnTo>
                    <a:pt x="50" y="111"/>
                  </a:lnTo>
                  <a:lnTo>
                    <a:pt x="53" y="111"/>
                  </a:lnTo>
                  <a:lnTo>
                    <a:pt x="55" y="111"/>
                  </a:lnTo>
                  <a:lnTo>
                    <a:pt x="55" y="111"/>
                  </a:lnTo>
                  <a:lnTo>
                    <a:pt x="59" y="115"/>
                  </a:lnTo>
                  <a:lnTo>
                    <a:pt x="60" y="118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6" y="122"/>
                  </a:lnTo>
                  <a:lnTo>
                    <a:pt x="66" y="122"/>
                  </a:lnTo>
                  <a:lnTo>
                    <a:pt x="70" y="129"/>
                  </a:lnTo>
                  <a:lnTo>
                    <a:pt x="73" y="131"/>
                  </a:lnTo>
                  <a:lnTo>
                    <a:pt x="78" y="134"/>
                  </a:lnTo>
                  <a:lnTo>
                    <a:pt x="78" y="134"/>
                  </a:lnTo>
                  <a:lnTo>
                    <a:pt x="80" y="137"/>
                  </a:lnTo>
                  <a:lnTo>
                    <a:pt x="83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6" y="138"/>
                  </a:lnTo>
                  <a:lnTo>
                    <a:pt x="88" y="135"/>
                  </a:lnTo>
                  <a:lnTo>
                    <a:pt x="88" y="134"/>
                  </a:lnTo>
                  <a:lnTo>
                    <a:pt x="89" y="132"/>
                  </a:lnTo>
                  <a:lnTo>
                    <a:pt x="89" y="132"/>
                  </a:lnTo>
                  <a:lnTo>
                    <a:pt x="93" y="132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8" y="137"/>
                  </a:lnTo>
                  <a:lnTo>
                    <a:pt x="98" y="138"/>
                  </a:lnTo>
                  <a:lnTo>
                    <a:pt x="98" y="138"/>
                  </a:lnTo>
                  <a:lnTo>
                    <a:pt x="105" y="142"/>
                  </a:lnTo>
                  <a:lnTo>
                    <a:pt x="105" y="142"/>
                  </a:lnTo>
                  <a:lnTo>
                    <a:pt x="105" y="144"/>
                  </a:lnTo>
                  <a:lnTo>
                    <a:pt x="106" y="147"/>
                  </a:lnTo>
                  <a:lnTo>
                    <a:pt x="106" y="147"/>
                  </a:lnTo>
                  <a:lnTo>
                    <a:pt x="109" y="148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13" y="154"/>
                  </a:lnTo>
                  <a:lnTo>
                    <a:pt x="113" y="155"/>
                  </a:lnTo>
                  <a:lnTo>
                    <a:pt x="113" y="157"/>
                  </a:lnTo>
                  <a:lnTo>
                    <a:pt x="113" y="158"/>
                  </a:lnTo>
                  <a:lnTo>
                    <a:pt x="113" y="158"/>
                  </a:lnTo>
                  <a:lnTo>
                    <a:pt x="116" y="161"/>
                  </a:lnTo>
                  <a:lnTo>
                    <a:pt x="118" y="162"/>
                  </a:lnTo>
                  <a:lnTo>
                    <a:pt x="118" y="162"/>
                  </a:lnTo>
                  <a:lnTo>
                    <a:pt x="119" y="164"/>
                  </a:lnTo>
                  <a:lnTo>
                    <a:pt x="119" y="164"/>
                  </a:lnTo>
                  <a:lnTo>
                    <a:pt x="115" y="165"/>
                  </a:lnTo>
                  <a:lnTo>
                    <a:pt x="115" y="167"/>
                  </a:lnTo>
                  <a:lnTo>
                    <a:pt x="115" y="168"/>
                  </a:lnTo>
                  <a:lnTo>
                    <a:pt x="115" y="168"/>
                  </a:lnTo>
                  <a:lnTo>
                    <a:pt x="115" y="168"/>
                  </a:lnTo>
                  <a:lnTo>
                    <a:pt x="113" y="169"/>
                  </a:lnTo>
                  <a:lnTo>
                    <a:pt x="108" y="171"/>
                  </a:lnTo>
                  <a:lnTo>
                    <a:pt x="108" y="171"/>
                  </a:lnTo>
                  <a:lnTo>
                    <a:pt x="105" y="172"/>
                  </a:lnTo>
                  <a:lnTo>
                    <a:pt x="102" y="175"/>
                  </a:lnTo>
                  <a:lnTo>
                    <a:pt x="102" y="175"/>
                  </a:lnTo>
                  <a:lnTo>
                    <a:pt x="98" y="179"/>
                  </a:lnTo>
                  <a:lnTo>
                    <a:pt x="95" y="185"/>
                  </a:lnTo>
                  <a:lnTo>
                    <a:pt x="92" y="188"/>
                  </a:lnTo>
                  <a:lnTo>
                    <a:pt x="89" y="188"/>
                  </a:lnTo>
                  <a:lnTo>
                    <a:pt x="85" y="187"/>
                  </a:lnTo>
                  <a:lnTo>
                    <a:pt x="85" y="187"/>
                  </a:lnTo>
                  <a:lnTo>
                    <a:pt x="82" y="185"/>
                  </a:lnTo>
                  <a:lnTo>
                    <a:pt x="78" y="181"/>
                  </a:lnTo>
                  <a:lnTo>
                    <a:pt x="75" y="175"/>
                  </a:lnTo>
                  <a:lnTo>
                    <a:pt x="69" y="171"/>
                  </a:lnTo>
                  <a:lnTo>
                    <a:pt x="69" y="171"/>
                  </a:lnTo>
                  <a:lnTo>
                    <a:pt x="62" y="165"/>
                  </a:lnTo>
                  <a:lnTo>
                    <a:pt x="55" y="162"/>
                  </a:lnTo>
                  <a:lnTo>
                    <a:pt x="55" y="162"/>
                  </a:lnTo>
                  <a:lnTo>
                    <a:pt x="46" y="159"/>
                  </a:lnTo>
                  <a:lnTo>
                    <a:pt x="37" y="157"/>
                  </a:lnTo>
                  <a:lnTo>
                    <a:pt x="37" y="157"/>
                  </a:lnTo>
                  <a:lnTo>
                    <a:pt x="32" y="154"/>
                  </a:lnTo>
                  <a:lnTo>
                    <a:pt x="32" y="154"/>
                  </a:lnTo>
                  <a:lnTo>
                    <a:pt x="26" y="151"/>
                  </a:lnTo>
                  <a:lnTo>
                    <a:pt x="20" y="152"/>
                  </a:lnTo>
                  <a:lnTo>
                    <a:pt x="26" y="167"/>
                  </a:lnTo>
                  <a:lnTo>
                    <a:pt x="32" y="164"/>
                  </a:lnTo>
                  <a:lnTo>
                    <a:pt x="37" y="171"/>
                  </a:lnTo>
                  <a:lnTo>
                    <a:pt x="33" y="174"/>
                  </a:lnTo>
                  <a:lnTo>
                    <a:pt x="27" y="174"/>
                  </a:lnTo>
                  <a:lnTo>
                    <a:pt x="20" y="179"/>
                  </a:lnTo>
                  <a:lnTo>
                    <a:pt x="13" y="175"/>
                  </a:lnTo>
                  <a:lnTo>
                    <a:pt x="12" y="181"/>
                  </a:lnTo>
                  <a:lnTo>
                    <a:pt x="7" y="184"/>
                  </a:lnTo>
                  <a:lnTo>
                    <a:pt x="2" y="188"/>
                  </a:lnTo>
                  <a:lnTo>
                    <a:pt x="0" y="191"/>
                  </a:lnTo>
                  <a:lnTo>
                    <a:pt x="0" y="194"/>
                  </a:lnTo>
                  <a:lnTo>
                    <a:pt x="5" y="195"/>
                  </a:lnTo>
                  <a:lnTo>
                    <a:pt x="9" y="194"/>
                  </a:lnTo>
                  <a:lnTo>
                    <a:pt x="19" y="212"/>
                  </a:lnTo>
                  <a:lnTo>
                    <a:pt x="36" y="204"/>
                  </a:lnTo>
                  <a:lnTo>
                    <a:pt x="42" y="217"/>
                  </a:lnTo>
                  <a:lnTo>
                    <a:pt x="47" y="212"/>
                  </a:lnTo>
                  <a:lnTo>
                    <a:pt x="53" y="210"/>
                  </a:lnTo>
                  <a:lnTo>
                    <a:pt x="60" y="220"/>
                  </a:lnTo>
                  <a:lnTo>
                    <a:pt x="65" y="225"/>
                  </a:lnTo>
                  <a:lnTo>
                    <a:pt x="70" y="225"/>
                  </a:lnTo>
                  <a:lnTo>
                    <a:pt x="78" y="224"/>
                  </a:lnTo>
                  <a:lnTo>
                    <a:pt x="78" y="232"/>
                  </a:lnTo>
                  <a:lnTo>
                    <a:pt x="75" y="235"/>
                  </a:lnTo>
                  <a:lnTo>
                    <a:pt x="88" y="254"/>
                  </a:lnTo>
                  <a:lnTo>
                    <a:pt x="96" y="270"/>
                  </a:lnTo>
                  <a:lnTo>
                    <a:pt x="102" y="274"/>
                  </a:lnTo>
                  <a:lnTo>
                    <a:pt x="106" y="283"/>
                  </a:lnTo>
                  <a:lnTo>
                    <a:pt x="103" y="290"/>
                  </a:lnTo>
                  <a:lnTo>
                    <a:pt x="112" y="294"/>
                  </a:lnTo>
                  <a:lnTo>
                    <a:pt x="109" y="298"/>
                  </a:lnTo>
                  <a:lnTo>
                    <a:pt x="103" y="297"/>
                  </a:lnTo>
                  <a:lnTo>
                    <a:pt x="102" y="297"/>
                  </a:lnTo>
                  <a:lnTo>
                    <a:pt x="96" y="300"/>
                  </a:lnTo>
                  <a:lnTo>
                    <a:pt x="90" y="300"/>
                  </a:lnTo>
                  <a:lnTo>
                    <a:pt x="86" y="300"/>
                  </a:lnTo>
                  <a:lnTo>
                    <a:pt x="73" y="311"/>
                  </a:lnTo>
                  <a:lnTo>
                    <a:pt x="78" y="323"/>
                  </a:lnTo>
                  <a:lnTo>
                    <a:pt x="72" y="336"/>
                  </a:lnTo>
                  <a:lnTo>
                    <a:pt x="65" y="337"/>
                  </a:lnTo>
                  <a:lnTo>
                    <a:pt x="62" y="337"/>
                  </a:lnTo>
                  <a:lnTo>
                    <a:pt x="60" y="341"/>
                  </a:lnTo>
                  <a:lnTo>
                    <a:pt x="58" y="354"/>
                  </a:lnTo>
                  <a:lnTo>
                    <a:pt x="56" y="358"/>
                  </a:lnTo>
                  <a:lnTo>
                    <a:pt x="60" y="364"/>
                  </a:lnTo>
                  <a:lnTo>
                    <a:pt x="63" y="369"/>
                  </a:lnTo>
                  <a:lnTo>
                    <a:pt x="69" y="371"/>
                  </a:lnTo>
                  <a:lnTo>
                    <a:pt x="75" y="371"/>
                  </a:lnTo>
                  <a:lnTo>
                    <a:pt x="85" y="381"/>
                  </a:lnTo>
                  <a:lnTo>
                    <a:pt x="83" y="390"/>
                  </a:lnTo>
                  <a:lnTo>
                    <a:pt x="80" y="394"/>
                  </a:lnTo>
                  <a:lnTo>
                    <a:pt x="85" y="399"/>
                  </a:lnTo>
                  <a:lnTo>
                    <a:pt x="90" y="407"/>
                  </a:lnTo>
                  <a:lnTo>
                    <a:pt x="85" y="430"/>
                  </a:lnTo>
                  <a:lnTo>
                    <a:pt x="89" y="439"/>
                  </a:lnTo>
                  <a:lnTo>
                    <a:pt x="82" y="450"/>
                  </a:lnTo>
                  <a:lnTo>
                    <a:pt x="76" y="456"/>
                  </a:lnTo>
                  <a:lnTo>
                    <a:pt x="76" y="459"/>
                  </a:lnTo>
                  <a:lnTo>
                    <a:pt x="75" y="466"/>
                  </a:lnTo>
                  <a:lnTo>
                    <a:pt x="76" y="469"/>
                  </a:lnTo>
                  <a:lnTo>
                    <a:pt x="90" y="486"/>
                  </a:lnTo>
                  <a:lnTo>
                    <a:pt x="105" y="482"/>
                  </a:lnTo>
                  <a:lnTo>
                    <a:pt x="112" y="495"/>
                  </a:lnTo>
                  <a:lnTo>
                    <a:pt x="119" y="50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76" name="Freeform 24"/>
            <p:cNvSpPr>
              <a:spLocks/>
            </p:cNvSpPr>
            <p:nvPr/>
          </p:nvSpPr>
          <p:spPr bwMode="auto">
            <a:xfrm>
              <a:off x="2166342" y="3899400"/>
              <a:ext cx="416409" cy="437881"/>
            </a:xfrm>
            <a:custGeom>
              <a:avLst/>
              <a:gdLst>
                <a:gd name="T0" fmla="*/ 65 w 682"/>
                <a:gd name="T1" fmla="*/ 318 h 660"/>
                <a:gd name="T2" fmla="*/ 44 w 682"/>
                <a:gd name="T3" fmla="*/ 335 h 660"/>
                <a:gd name="T4" fmla="*/ 13 w 682"/>
                <a:gd name="T5" fmla="*/ 349 h 660"/>
                <a:gd name="T6" fmla="*/ 24 w 682"/>
                <a:gd name="T7" fmla="*/ 376 h 660"/>
                <a:gd name="T8" fmla="*/ 32 w 682"/>
                <a:gd name="T9" fmla="*/ 427 h 660"/>
                <a:gd name="T10" fmla="*/ 9 w 682"/>
                <a:gd name="T11" fmla="*/ 472 h 660"/>
                <a:gd name="T12" fmla="*/ 20 w 682"/>
                <a:gd name="T13" fmla="*/ 494 h 660"/>
                <a:gd name="T14" fmla="*/ 22 w 682"/>
                <a:gd name="T15" fmla="*/ 530 h 660"/>
                <a:gd name="T16" fmla="*/ 40 w 682"/>
                <a:gd name="T17" fmla="*/ 555 h 660"/>
                <a:gd name="T18" fmla="*/ 70 w 682"/>
                <a:gd name="T19" fmla="*/ 533 h 660"/>
                <a:gd name="T20" fmla="*/ 115 w 682"/>
                <a:gd name="T21" fmla="*/ 545 h 660"/>
                <a:gd name="T22" fmla="*/ 142 w 682"/>
                <a:gd name="T23" fmla="*/ 563 h 660"/>
                <a:gd name="T24" fmla="*/ 176 w 682"/>
                <a:gd name="T25" fmla="*/ 558 h 660"/>
                <a:gd name="T26" fmla="*/ 192 w 682"/>
                <a:gd name="T27" fmla="*/ 565 h 660"/>
                <a:gd name="T28" fmla="*/ 232 w 682"/>
                <a:gd name="T29" fmla="*/ 574 h 660"/>
                <a:gd name="T30" fmla="*/ 294 w 682"/>
                <a:gd name="T31" fmla="*/ 581 h 660"/>
                <a:gd name="T32" fmla="*/ 308 w 682"/>
                <a:gd name="T33" fmla="*/ 570 h 660"/>
                <a:gd name="T34" fmla="*/ 375 w 682"/>
                <a:gd name="T35" fmla="*/ 594 h 660"/>
                <a:gd name="T36" fmla="*/ 404 w 682"/>
                <a:gd name="T37" fmla="*/ 608 h 660"/>
                <a:gd name="T38" fmla="*/ 415 w 682"/>
                <a:gd name="T39" fmla="*/ 660 h 660"/>
                <a:gd name="T40" fmla="*/ 557 w 682"/>
                <a:gd name="T41" fmla="*/ 570 h 660"/>
                <a:gd name="T42" fmla="*/ 646 w 682"/>
                <a:gd name="T43" fmla="*/ 543 h 660"/>
                <a:gd name="T44" fmla="*/ 653 w 682"/>
                <a:gd name="T45" fmla="*/ 478 h 660"/>
                <a:gd name="T46" fmla="*/ 655 w 682"/>
                <a:gd name="T47" fmla="*/ 434 h 660"/>
                <a:gd name="T48" fmla="*/ 629 w 682"/>
                <a:gd name="T49" fmla="*/ 429 h 660"/>
                <a:gd name="T50" fmla="*/ 612 w 682"/>
                <a:gd name="T51" fmla="*/ 419 h 660"/>
                <a:gd name="T52" fmla="*/ 609 w 682"/>
                <a:gd name="T53" fmla="*/ 399 h 660"/>
                <a:gd name="T54" fmla="*/ 610 w 682"/>
                <a:gd name="T55" fmla="*/ 368 h 660"/>
                <a:gd name="T56" fmla="*/ 583 w 682"/>
                <a:gd name="T57" fmla="*/ 369 h 660"/>
                <a:gd name="T58" fmla="*/ 559 w 682"/>
                <a:gd name="T59" fmla="*/ 358 h 660"/>
                <a:gd name="T60" fmla="*/ 540 w 682"/>
                <a:gd name="T61" fmla="*/ 341 h 660"/>
                <a:gd name="T62" fmla="*/ 583 w 682"/>
                <a:gd name="T63" fmla="*/ 319 h 660"/>
                <a:gd name="T64" fmla="*/ 594 w 682"/>
                <a:gd name="T65" fmla="*/ 291 h 660"/>
                <a:gd name="T66" fmla="*/ 596 w 682"/>
                <a:gd name="T67" fmla="*/ 256 h 660"/>
                <a:gd name="T68" fmla="*/ 583 w 682"/>
                <a:gd name="T69" fmla="*/ 240 h 660"/>
                <a:gd name="T70" fmla="*/ 563 w 682"/>
                <a:gd name="T71" fmla="*/ 226 h 660"/>
                <a:gd name="T72" fmla="*/ 559 w 682"/>
                <a:gd name="T73" fmla="*/ 217 h 660"/>
                <a:gd name="T74" fmla="*/ 533 w 682"/>
                <a:gd name="T75" fmla="*/ 210 h 660"/>
                <a:gd name="T76" fmla="*/ 529 w 682"/>
                <a:gd name="T77" fmla="*/ 182 h 660"/>
                <a:gd name="T78" fmla="*/ 497 w 682"/>
                <a:gd name="T79" fmla="*/ 170 h 660"/>
                <a:gd name="T80" fmla="*/ 471 w 682"/>
                <a:gd name="T81" fmla="*/ 160 h 660"/>
                <a:gd name="T82" fmla="*/ 466 w 682"/>
                <a:gd name="T83" fmla="*/ 137 h 660"/>
                <a:gd name="T84" fmla="*/ 463 w 682"/>
                <a:gd name="T85" fmla="*/ 93 h 660"/>
                <a:gd name="T86" fmla="*/ 440 w 682"/>
                <a:gd name="T87" fmla="*/ 76 h 660"/>
                <a:gd name="T88" fmla="*/ 397 w 682"/>
                <a:gd name="T89" fmla="*/ 27 h 660"/>
                <a:gd name="T90" fmla="*/ 352 w 682"/>
                <a:gd name="T91" fmla="*/ 26 h 660"/>
                <a:gd name="T92" fmla="*/ 317 w 682"/>
                <a:gd name="T93" fmla="*/ 20 h 660"/>
                <a:gd name="T94" fmla="*/ 291 w 682"/>
                <a:gd name="T95" fmla="*/ 3 h 660"/>
                <a:gd name="T96" fmla="*/ 288 w 682"/>
                <a:gd name="T97" fmla="*/ 53 h 660"/>
                <a:gd name="T98" fmla="*/ 236 w 682"/>
                <a:gd name="T99" fmla="*/ 76 h 660"/>
                <a:gd name="T100" fmla="*/ 225 w 682"/>
                <a:gd name="T101" fmla="*/ 114 h 660"/>
                <a:gd name="T102" fmla="*/ 226 w 682"/>
                <a:gd name="T103" fmla="*/ 154 h 660"/>
                <a:gd name="T104" fmla="*/ 218 w 682"/>
                <a:gd name="T105" fmla="*/ 200 h 660"/>
                <a:gd name="T106" fmla="*/ 168 w 682"/>
                <a:gd name="T107" fmla="*/ 222 h 660"/>
                <a:gd name="T108" fmla="*/ 165 w 682"/>
                <a:gd name="T109" fmla="*/ 278 h 660"/>
                <a:gd name="T110" fmla="*/ 158 w 682"/>
                <a:gd name="T111" fmla="*/ 295 h 660"/>
                <a:gd name="T112" fmla="*/ 153 w 682"/>
                <a:gd name="T113" fmla="*/ 335 h 660"/>
                <a:gd name="T114" fmla="*/ 123 w 682"/>
                <a:gd name="T115" fmla="*/ 348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82" h="660">
                  <a:moveTo>
                    <a:pt x="119" y="355"/>
                  </a:moveTo>
                  <a:lnTo>
                    <a:pt x="86" y="331"/>
                  </a:lnTo>
                  <a:lnTo>
                    <a:pt x="83" y="328"/>
                  </a:lnTo>
                  <a:lnTo>
                    <a:pt x="75" y="323"/>
                  </a:lnTo>
                  <a:lnTo>
                    <a:pt x="72" y="322"/>
                  </a:lnTo>
                  <a:lnTo>
                    <a:pt x="67" y="319"/>
                  </a:lnTo>
                  <a:lnTo>
                    <a:pt x="65" y="318"/>
                  </a:lnTo>
                  <a:lnTo>
                    <a:pt x="60" y="318"/>
                  </a:lnTo>
                  <a:lnTo>
                    <a:pt x="59" y="321"/>
                  </a:lnTo>
                  <a:lnTo>
                    <a:pt x="57" y="325"/>
                  </a:lnTo>
                  <a:lnTo>
                    <a:pt x="55" y="326"/>
                  </a:lnTo>
                  <a:lnTo>
                    <a:pt x="49" y="329"/>
                  </a:lnTo>
                  <a:lnTo>
                    <a:pt x="46" y="332"/>
                  </a:lnTo>
                  <a:lnTo>
                    <a:pt x="44" y="335"/>
                  </a:lnTo>
                  <a:lnTo>
                    <a:pt x="40" y="341"/>
                  </a:lnTo>
                  <a:lnTo>
                    <a:pt x="33" y="335"/>
                  </a:lnTo>
                  <a:lnTo>
                    <a:pt x="30" y="338"/>
                  </a:lnTo>
                  <a:lnTo>
                    <a:pt x="27" y="344"/>
                  </a:lnTo>
                  <a:lnTo>
                    <a:pt x="24" y="348"/>
                  </a:lnTo>
                  <a:lnTo>
                    <a:pt x="19" y="348"/>
                  </a:lnTo>
                  <a:lnTo>
                    <a:pt x="13" y="349"/>
                  </a:lnTo>
                  <a:lnTo>
                    <a:pt x="9" y="351"/>
                  </a:lnTo>
                  <a:lnTo>
                    <a:pt x="4" y="356"/>
                  </a:lnTo>
                  <a:lnTo>
                    <a:pt x="7" y="361"/>
                  </a:lnTo>
                  <a:lnTo>
                    <a:pt x="12" y="368"/>
                  </a:lnTo>
                  <a:lnTo>
                    <a:pt x="16" y="371"/>
                  </a:lnTo>
                  <a:lnTo>
                    <a:pt x="22" y="372"/>
                  </a:lnTo>
                  <a:lnTo>
                    <a:pt x="24" y="376"/>
                  </a:lnTo>
                  <a:lnTo>
                    <a:pt x="32" y="389"/>
                  </a:lnTo>
                  <a:lnTo>
                    <a:pt x="34" y="396"/>
                  </a:lnTo>
                  <a:lnTo>
                    <a:pt x="36" y="401"/>
                  </a:lnTo>
                  <a:lnTo>
                    <a:pt x="36" y="405"/>
                  </a:lnTo>
                  <a:lnTo>
                    <a:pt x="32" y="415"/>
                  </a:lnTo>
                  <a:lnTo>
                    <a:pt x="30" y="421"/>
                  </a:lnTo>
                  <a:lnTo>
                    <a:pt x="32" y="427"/>
                  </a:lnTo>
                  <a:lnTo>
                    <a:pt x="33" y="431"/>
                  </a:lnTo>
                  <a:lnTo>
                    <a:pt x="32" y="437"/>
                  </a:lnTo>
                  <a:lnTo>
                    <a:pt x="29" y="441"/>
                  </a:lnTo>
                  <a:lnTo>
                    <a:pt x="19" y="451"/>
                  </a:lnTo>
                  <a:lnTo>
                    <a:pt x="16" y="458"/>
                  </a:lnTo>
                  <a:lnTo>
                    <a:pt x="12" y="468"/>
                  </a:lnTo>
                  <a:lnTo>
                    <a:pt x="9" y="472"/>
                  </a:lnTo>
                  <a:lnTo>
                    <a:pt x="4" y="477"/>
                  </a:lnTo>
                  <a:lnTo>
                    <a:pt x="2" y="482"/>
                  </a:lnTo>
                  <a:lnTo>
                    <a:pt x="0" y="487"/>
                  </a:lnTo>
                  <a:lnTo>
                    <a:pt x="2" y="491"/>
                  </a:lnTo>
                  <a:lnTo>
                    <a:pt x="6" y="492"/>
                  </a:lnTo>
                  <a:lnTo>
                    <a:pt x="9" y="494"/>
                  </a:lnTo>
                  <a:lnTo>
                    <a:pt x="20" y="494"/>
                  </a:lnTo>
                  <a:lnTo>
                    <a:pt x="19" y="507"/>
                  </a:lnTo>
                  <a:lnTo>
                    <a:pt x="16" y="508"/>
                  </a:lnTo>
                  <a:lnTo>
                    <a:pt x="13" y="511"/>
                  </a:lnTo>
                  <a:lnTo>
                    <a:pt x="12" y="515"/>
                  </a:lnTo>
                  <a:lnTo>
                    <a:pt x="13" y="520"/>
                  </a:lnTo>
                  <a:lnTo>
                    <a:pt x="17" y="525"/>
                  </a:lnTo>
                  <a:lnTo>
                    <a:pt x="22" y="530"/>
                  </a:lnTo>
                  <a:lnTo>
                    <a:pt x="24" y="533"/>
                  </a:lnTo>
                  <a:lnTo>
                    <a:pt x="34" y="543"/>
                  </a:lnTo>
                  <a:lnTo>
                    <a:pt x="34" y="548"/>
                  </a:lnTo>
                  <a:lnTo>
                    <a:pt x="33" y="553"/>
                  </a:lnTo>
                  <a:lnTo>
                    <a:pt x="34" y="557"/>
                  </a:lnTo>
                  <a:lnTo>
                    <a:pt x="36" y="557"/>
                  </a:lnTo>
                  <a:lnTo>
                    <a:pt x="40" y="555"/>
                  </a:lnTo>
                  <a:lnTo>
                    <a:pt x="46" y="555"/>
                  </a:lnTo>
                  <a:lnTo>
                    <a:pt x="49" y="557"/>
                  </a:lnTo>
                  <a:lnTo>
                    <a:pt x="50" y="553"/>
                  </a:lnTo>
                  <a:lnTo>
                    <a:pt x="49" y="547"/>
                  </a:lnTo>
                  <a:lnTo>
                    <a:pt x="53" y="541"/>
                  </a:lnTo>
                  <a:lnTo>
                    <a:pt x="66" y="535"/>
                  </a:lnTo>
                  <a:lnTo>
                    <a:pt x="70" y="533"/>
                  </a:lnTo>
                  <a:lnTo>
                    <a:pt x="75" y="531"/>
                  </a:lnTo>
                  <a:lnTo>
                    <a:pt x="80" y="531"/>
                  </a:lnTo>
                  <a:lnTo>
                    <a:pt x="92" y="535"/>
                  </a:lnTo>
                  <a:lnTo>
                    <a:pt x="96" y="543"/>
                  </a:lnTo>
                  <a:lnTo>
                    <a:pt x="99" y="547"/>
                  </a:lnTo>
                  <a:lnTo>
                    <a:pt x="105" y="545"/>
                  </a:lnTo>
                  <a:lnTo>
                    <a:pt x="115" y="545"/>
                  </a:lnTo>
                  <a:lnTo>
                    <a:pt x="116" y="541"/>
                  </a:lnTo>
                  <a:lnTo>
                    <a:pt x="122" y="537"/>
                  </a:lnTo>
                  <a:lnTo>
                    <a:pt x="126" y="538"/>
                  </a:lnTo>
                  <a:lnTo>
                    <a:pt x="130" y="543"/>
                  </a:lnTo>
                  <a:lnTo>
                    <a:pt x="136" y="554"/>
                  </a:lnTo>
                  <a:lnTo>
                    <a:pt x="138" y="560"/>
                  </a:lnTo>
                  <a:lnTo>
                    <a:pt x="142" y="563"/>
                  </a:lnTo>
                  <a:lnTo>
                    <a:pt x="145" y="567"/>
                  </a:lnTo>
                  <a:lnTo>
                    <a:pt x="150" y="573"/>
                  </a:lnTo>
                  <a:lnTo>
                    <a:pt x="153" y="574"/>
                  </a:lnTo>
                  <a:lnTo>
                    <a:pt x="159" y="571"/>
                  </a:lnTo>
                  <a:lnTo>
                    <a:pt x="162" y="568"/>
                  </a:lnTo>
                  <a:lnTo>
                    <a:pt x="175" y="561"/>
                  </a:lnTo>
                  <a:lnTo>
                    <a:pt x="176" y="558"/>
                  </a:lnTo>
                  <a:lnTo>
                    <a:pt x="176" y="557"/>
                  </a:lnTo>
                  <a:lnTo>
                    <a:pt x="166" y="545"/>
                  </a:lnTo>
                  <a:lnTo>
                    <a:pt x="173" y="540"/>
                  </a:lnTo>
                  <a:lnTo>
                    <a:pt x="189" y="524"/>
                  </a:lnTo>
                  <a:lnTo>
                    <a:pt x="205" y="544"/>
                  </a:lnTo>
                  <a:lnTo>
                    <a:pt x="188" y="558"/>
                  </a:lnTo>
                  <a:lnTo>
                    <a:pt x="192" y="565"/>
                  </a:lnTo>
                  <a:lnTo>
                    <a:pt x="201" y="565"/>
                  </a:lnTo>
                  <a:lnTo>
                    <a:pt x="201" y="586"/>
                  </a:lnTo>
                  <a:lnTo>
                    <a:pt x="209" y="587"/>
                  </a:lnTo>
                  <a:lnTo>
                    <a:pt x="213" y="588"/>
                  </a:lnTo>
                  <a:lnTo>
                    <a:pt x="221" y="584"/>
                  </a:lnTo>
                  <a:lnTo>
                    <a:pt x="224" y="580"/>
                  </a:lnTo>
                  <a:lnTo>
                    <a:pt x="232" y="574"/>
                  </a:lnTo>
                  <a:lnTo>
                    <a:pt x="236" y="574"/>
                  </a:lnTo>
                  <a:lnTo>
                    <a:pt x="246" y="576"/>
                  </a:lnTo>
                  <a:lnTo>
                    <a:pt x="271" y="558"/>
                  </a:lnTo>
                  <a:lnTo>
                    <a:pt x="285" y="568"/>
                  </a:lnTo>
                  <a:lnTo>
                    <a:pt x="291" y="571"/>
                  </a:lnTo>
                  <a:lnTo>
                    <a:pt x="291" y="577"/>
                  </a:lnTo>
                  <a:lnTo>
                    <a:pt x="294" y="581"/>
                  </a:lnTo>
                  <a:lnTo>
                    <a:pt x="297" y="581"/>
                  </a:lnTo>
                  <a:lnTo>
                    <a:pt x="295" y="576"/>
                  </a:lnTo>
                  <a:lnTo>
                    <a:pt x="294" y="570"/>
                  </a:lnTo>
                  <a:lnTo>
                    <a:pt x="294" y="561"/>
                  </a:lnTo>
                  <a:lnTo>
                    <a:pt x="298" y="561"/>
                  </a:lnTo>
                  <a:lnTo>
                    <a:pt x="305" y="561"/>
                  </a:lnTo>
                  <a:lnTo>
                    <a:pt x="308" y="570"/>
                  </a:lnTo>
                  <a:lnTo>
                    <a:pt x="321" y="580"/>
                  </a:lnTo>
                  <a:lnTo>
                    <a:pt x="332" y="588"/>
                  </a:lnTo>
                  <a:lnTo>
                    <a:pt x="341" y="594"/>
                  </a:lnTo>
                  <a:lnTo>
                    <a:pt x="355" y="596"/>
                  </a:lnTo>
                  <a:lnTo>
                    <a:pt x="365" y="594"/>
                  </a:lnTo>
                  <a:lnTo>
                    <a:pt x="371" y="594"/>
                  </a:lnTo>
                  <a:lnTo>
                    <a:pt x="375" y="594"/>
                  </a:lnTo>
                  <a:lnTo>
                    <a:pt x="378" y="594"/>
                  </a:lnTo>
                  <a:lnTo>
                    <a:pt x="382" y="594"/>
                  </a:lnTo>
                  <a:lnTo>
                    <a:pt x="387" y="596"/>
                  </a:lnTo>
                  <a:lnTo>
                    <a:pt x="395" y="600"/>
                  </a:lnTo>
                  <a:lnTo>
                    <a:pt x="400" y="603"/>
                  </a:lnTo>
                  <a:lnTo>
                    <a:pt x="403" y="606"/>
                  </a:lnTo>
                  <a:lnTo>
                    <a:pt x="404" y="608"/>
                  </a:lnTo>
                  <a:lnTo>
                    <a:pt x="407" y="614"/>
                  </a:lnTo>
                  <a:lnTo>
                    <a:pt x="405" y="629"/>
                  </a:lnTo>
                  <a:lnTo>
                    <a:pt x="407" y="636"/>
                  </a:lnTo>
                  <a:lnTo>
                    <a:pt x="407" y="641"/>
                  </a:lnTo>
                  <a:lnTo>
                    <a:pt x="410" y="647"/>
                  </a:lnTo>
                  <a:lnTo>
                    <a:pt x="411" y="651"/>
                  </a:lnTo>
                  <a:lnTo>
                    <a:pt x="415" y="660"/>
                  </a:lnTo>
                  <a:lnTo>
                    <a:pt x="457" y="641"/>
                  </a:lnTo>
                  <a:lnTo>
                    <a:pt x="488" y="649"/>
                  </a:lnTo>
                  <a:lnTo>
                    <a:pt x="503" y="643"/>
                  </a:lnTo>
                  <a:lnTo>
                    <a:pt x="511" y="636"/>
                  </a:lnTo>
                  <a:lnTo>
                    <a:pt x="511" y="596"/>
                  </a:lnTo>
                  <a:lnTo>
                    <a:pt x="524" y="583"/>
                  </a:lnTo>
                  <a:lnTo>
                    <a:pt x="557" y="570"/>
                  </a:lnTo>
                  <a:lnTo>
                    <a:pt x="579" y="551"/>
                  </a:lnTo>
                  <a:lnTo>
                    <a:pt x="589" y="553"/>
                  </a:lnTo>
                  <a:lnTo>
                    <a:pt x="597" y="558"/>
                  </a:lnTo>
                  <a:lnTo>
                    <a:pt x="612" y="563"/>
                  </a:lnTo>
                  <a:lnTo>
                    <a:pt x="632" y="558"/>
                  </a:lnTo>
                  <a:lnTo>
                    <a:pt x="645" y="551"/>
                  </a:lnTo>
                  <a:lnTo>
                    <a:pt x="646" y="543"/>
                  </a:lnTo>
                  <a:lnTo>
                    <a:pt x="666" y="533"/>
                  </a:lnTo>
                  <a:lnTo>
                    <a:pt x="682" y="530"/>
                  </a:lnTo>
                  <a:lnTo>
                    <a:pt x="666" y="511"/>
                  </a:lnTo>
                  <a:lnTo>
                    <a:pt x="679" y="501"/>
                  </a:lnTo>
                  <a:lnTo>
                    <a:pt x="666" y="485"/>
                  </a:lnTo>
                  <a:lnTo>
                    <a:pt x="662" y="488"/>
                  </a:lnTo>
                  <a:lnTo>
                    <a:pt x="653" y="478"/>
                  </a:lnTo>
                  <a:lnTo>
                    <a:pt x="653" y="464"/>
                  </a:lnTo>
                  <a:lnTo>
                    <a:pt x="663" y="460"/>
                  </a:lnTo>
                  <a:lnTo>
                    <a:pt x="656" y="452"/>
                  </a:lnTo>
                  <a:lnTo>
                    <a:pt x="665" y="444"/>
                  </a:lnTo>
                  <a:lnTo>
                    <a:pt x="659" y="439"/>
                  </a:lnTo>
                  <a:lnTo>
                    <a:pt x="655" y="437"/>
                  </a:lnTo>
                  <a:lnTo>
                    <a:pt x="655" y="434"/>
                  </a:lnTo>
                  <a:lnTo>
                    <a:pt x="653" y="429"/>
                  </a:lnTo>
                  <a:lnTo>
                    <a:pt x="650" y="431"/>
                  </a:lnTo>
                  <a:lnTo>
                    <a:pt x="647" y="432"/>
                  </a:lnTo>
                  <a:lnTo>
                    <a:pt x="645" y="434"/>
                  </a:lnTo>
                  <a:lnTo>
                    <a:pt x="640" y="439"/>
                  </a:lnTo>
                  <a:lnTo>
                    <a:pt x="630" y="437"/>
                  </a:lnTo>
                  <a:lnTo>
                    <a:pt x="629" y="429"/>
                  </a:lnTo>
                  <a:lnTo>
                    <a:pt x="625" y="422"/>
                  </a:lnTo>
                  <a:lnTo>
                    <a:pt x="623" y="422"/>
                  </a:lnTo>
                  <a:lnTo>
                    <a:pt x="622" y="421"/>
                  </a:lnTo>
                  <a:lnTo>
                    <a:pt x="619" y="421"/>
                  </a:lnTo>
                  <a:lnTo>
                    <a:pt x="616" y="422"/>
                  </a:lnTo>
                  <a:lnTo>
                    <a:pt x="613" y="422"/>
                  </a:lnTo>
                  <a:lnTo>
                    <a:pt x="612" y="419"/>
                  </a:lnTo>
                  <a:lnTo>
                    <a:pt x="610" y="418"/>
                  </a:lnTo>
                  <a:lnTo>
                    <a:pt x="606" y="412"/>
                  </a:lnTo>
                  <a:lnTo>
                    <a:pt x="603" y="409"/>
                  </a:lnTo>
                  <a:lnTo>
                    <a:pt x="600" y="404"/>
                  </a:lnTo>
                  <a:lnTo>
                    <a:pt x="602" y="402"/>
                  </a:lnTo>
                  <a:lnTo>
                    <a:pt x="604" y="401"/>
                  </a:lnTo>
                  <a:lnTo>
                    <a:pt x="609" y="399"/>
                  </a:lnTo>
                  <a:lnTo>
                    <a:pt x="615" y="399"/>
                  </a:lnTo>
                  <a:lnTo>
                    <a:pt x="616" y="398"/>
                  </a:lnTo>
                  <a:lnTo>
                    <a:pt x="617" y="396"/>
                  </a:lnTo>
                  <a:lnTo>
                    <a:pt x="617" y="392"/>
                  </a:lnTo>
                  <a:lnTo>
                    <a:pt x="612" y="385"/>
                  </a:lnTo>
                  <a:lnTo>
                    <a:pt x="612" y="375"/>
                  </a:lnTo>
                  <a:lnTo>
                    <a:pt x="610" y="368"/>
                  </a:lnTo>
                  <a:lnTo>
                    <a:pt x="609" y="366"/>
                  </a:lnTo>
                  <a:lnTo>
                    <a:pt x="606" y="365"/>
                  </a:lnTo>
                  <a:lnTo>
                    <a:pt x="600" y="364"/>
                  </a:lnTo>
                  <a:lnTo>
                    <a:pt x="596" y="362"/>
                  </a:lnTo>
                  <a:lnTo>
                    <a:pt x="590" y="364"/>
                  </a:lnTo>
                  <a:lnTo>
                    <a:pt x="584" y="366"/>
                  </a:lnTo>
                  <a:lnTo>
                    <a:pt x="583" y="369"/>
                  </a:lnTo>
                  <a:lnTo>
                    <a:pt x="582" y="371"/>
                  </a:lnTo>
                  <a:lnTo>
                    <a:pt x="579" y="371"/>
                  </a:lnTo>
                  <a:lnTo>
                    <a:pt x="573" y="366"/>
                  </a:lnTo>
                  <a:lnTo>
                    <a:pt x="570" y="365"/>
                  </a:lnTo>
                  <a:lnTo>
                    <a:pt x="563" y="366"/>
                  </a:lnTo>
                  <a:lnTo>
                    <a:pt x="562" y="364"/>
                  </a:lnTo>
                  <a:lnTo>
                    <a:pt x="559" y="358"/>
                  </a:lnTo>
                  <a:lnTo>
                    <a:pt x="556" y="354"/>
                  </a:lnTo>
                  <a:lnTo>
                    <a:pt x="551" y="354"/>
                  </a:lnTo>
                  <a:lnTo>
                    <a:pt x="543" y="352"/>
                  </a:lnTo>
                  <a:lnTo>
                    <a:pt x="539" y="351"/>
                  </a:lnTo>
                  <a:lnTo>
                    <a:pt x="534" y="348"/>
                  </a:lnTo>
                  <a:lnTo>
                    <a:pt x="534" y="342"/>
                  </a:lnTo>
                  <a:lnTo>
                    <a:pt x="540" y="341"/>
                  </a:lnTo>
                  <a:lnTo>
                    <a:pt x="541" y="338"/>
                  </a:lnTo>
                  <a:lnTo>
                    <a:pt x="549" y="336"/>
                  </a:lnTo>
                  <a:lnTo>
                    <a:pt x="553" y="332"/>
                  </a:lnTo>
                  <a:lnTo>
                    <a:pt x="559" y="328"/>
                  </a:lnTo>
                  <a:lnTo>
                    <a:pt x="572" y="325"/>
                  </a:lnTo>
                  <a:lnTo>
                    <a:pt x="579" y="322"/>
                  </a:lnTo>
                  <a:lnTo>
                    <a:pt x="583" y="319"/>
                  </a:lnTo>
                  <a:lnTo>
                    <a:pt x="584" y="313"/>
                  </a:lnTo>
                  <a:lnTo>
                    <a:pt x="586" y="311"/>
                  </a:lnTo>
                  <a:lnTo>
                    <a:pt x="584" y="306"/>
                  </a:lnTo>
                  <a:lnTo>
                    <a:pt x="586" y="301"/>
                  </a:lnTo>
                  <a:lnTo>
                    <a:pt x="590" y="296"/>
                  </a:lnTo>
                  <a:lnTo>
                    <a:pt x="593" y="295"/>
                  </a:lnTo>
                  <a:lnTo>
                    <a:pt x="594" y="291"/>
                  </a:lnTo>
                  <a:lnTo>
                    <a:pt x="596" y="286"/>
                  </a:lnTo>
                  <a:lnTo>
                    <a:pt x="596" y="283"/>
                  </a:lnTo>
                  <a:lnTo>
                    <a:pt x="593" y="278"/>
                  </a:lnTo>
                  <a:lnTo>
                    <a:pt x="593" y="275"/>
                  </a:lnTo>
                  <a:lnTo>
                    <a:pt x="596" y="270"/>
                  </a:lnTo>
                  <a:lnTo>
                    <a:pt x="597" y="263"/>
                  </a:lnTo>
                  <a:lnTo>
                    <a:pt x="596" y="256"/>
                  </a:lnTo>
                  <a:lnTo>
                    <a:pt x="594" y="253"/>
                  </a:lnTo>
                  <a:lnTo>
                    <a:pt x="592" y="250"/>
                  </a:lnTo>
                  <a:lnTo>
                    <a:pt x="590" y="249"/>
                  </a:lnTo>
                  <a:lnTo>
                    <a:pt x="589" y="248"/>
                  </a:lnTo>
                  <a:lnTo>
                    <a:pt x="589" y="245"/>
                  </a:lnTo>
                  <a:lnTo>
                    <a:pt x="586" y="245"/>
                  </a:lnTo>
                  <a:lnTo>
                    <a:pt x="583" y="240"/>
                  </a:lnTo>
                  <a:lnTo>
                    <a:pt x="582" y="236"/>
                  </a:lnTo>
                  <a:lnTo>
                    <a:pt x="582" y="230"/>
                  </a:lnTo>
                  <a:lnTo>
                    <a:pt x="579" y="229"/>
                  </a:lnTo>
                  <a:lnTo>
                    <a:pt x="576" y="229"/>
                  </a:lnTo>
                  <a:lnTo>
                    <a:pt x="574" y="232"/>
                  </a:lnTo>
                  <a:lnTo>
                    <a:pt x="569" y="232"/>
                  </a:lnTo>
                  <a:lnTo>
                    <a:pt x="563" y="226"/>
                  </a:lnTo>
                  <a:lnTo>
                    <a:pt x="566" y="220"/>
                  </a:lnTo>
                  <a:lnTo>
                    <a:pt x="567" y="216"/>
                  </a:lnTo>
                  <a:lnTo>
                    <a:pt x="564" y="212"/>
                  </a:lnTo>
                  <a:lnTo>
                    <a:pt x="562" y="215"/>
                  </a:lnTo>
                  <a:lnTo>
                    <a:pt x="562" y="217"/>
                  </a:lnTo>
                  <a:lnTo>
                    <a:pt x="560" y="219"/>
                  </a:lnTo>
                  <a:lnTo>
                    <a:pt x="559" y="217"/>
                  </a:lnTo>
                  <a:lnTo>
                    <a:pt x="554" y="215"/>
                  </a:lnTo>
                  <a:lnTo>
                    <a:pt x="551" y="210"/>
                  </a:lnTo>
                  <a:lnTo>
                    <a:pt x="546" y="203"/>
                  </a:lnTo>
                  <a:lnTo>
                    <a:pt x="543" y="206"/>
                  </a:lnTo>
                  <a:lnTo>
                    <a:pt x="539" y="209"/>
                  </a:lnTo>
                  <a:lnTo>
                    <a:pt x="534" y="210"/>
                  </a:lnTo>
                  <a:lnTo>
                    <a:pt x="533" y="210"/>
                  </a:lnTo>
                  <a:lnTo>
                    <a:pt x="526" y="202"/>
                  </a:lnTo>
                  <a:lnTo>
                    <a:pt x="523" y="197"/>
                  </a:lnTo>
                  <a:lnTo>
                    <a:pt x="524" y="192"/>
                  </a:lnTo>
                  <a:lnTo>
                    <a:pt x="529" y="189"/>
                  </a:lnTo>
                  <a:lnTo>
                    <a:pt x="530" y="187"/>
                  </a:lnTo>
                  <a:lnTo>
                    <a:pt x="530" y="185"/>
                  </a:lnTo>
                  <a:lnTo>
                    <a:pt x="529" y="182"/>
                  </a:lnTo>
                  <a:lnTo>
                    <a:pt x="526" y="179"/>
                  </a:lnTo>
                  <a:lnTo>
                    <a:pt x="521" y="179"/>
                  </a:lnTo>
                  <a:lnTo>
                    <a:pt x="517" y="179"/>
                  </a:lnTo>
                  <a:lnTo>
                    <a:pt x="511" y="176"/>
                  </a:lnTo>
                  <a:lnTo>
                    <a:pt x="509" y="166"/>
                  </a:lnTo>
                  <a:lnTo>
                    <a:pt x="504" y="166"/>
                  </a:lnTo>
                  <a:lnTo>
                    <a:pt x="497" y="170"/>
                  </a:lnTo>
                  <a:lnTo>
                    <a:pt x="493" y="169"/>
                  </a:lnTo>
                  <a:lnTo>
                    <a:pt x="488" y="166"/>
                  </a:lnTo>
                  <a:lnTo>
                    <a:pt x="484" y="164"/>
                  </a:lnTo>
                  <a:lnTo>
                    <a:pt x="481" y="164"/>
                  </a:lnTo>
                  <a:lnTo>
                    <a:pt x="477" y="163"/>
                  </a:lnTo>
                  <a:lnTo>
                    <a:pt x="473" y="160"/>
                  </a:lnTo>
                  <a:lnTo>
                    <a:pt x="471" y="160"/>
                  </a:lnTo>
                  <a:lnTo>
                    <a:pt x="467" y="159"/>
                  </a:lnTo>
                  <a:lnTo>
                    <a:pt x="467" y="157"/>
                  </a:lnTo>
                  <a:lnTo>
                    <a:pt x="466" y="156"/>
                  </a:lnTo>
                  <a:lnTo>
                    <a:pt x="466" y="153"/>
                  </a:lnTo>
                  <a:lnTo>
                    <a:pt x="464" y="149"/>
                  </a:lnTo>
                  <a:lnTo>
                    <a:pt x="466" y="143"/>
                  </a:lnTo>
                  <a:lnTo>
                    <a:pt x="466" y="137"/>
                  </a:lnTo>
                  <a:lnTo>
                    <a:pt x="467" y="129"/>
                  </a:lnTo>
                  <a:lnTo>
                    <a:pt x="464" y="124"/>
                  </a:lnTo>
                  <a:lnTo>
                    <a:pt x="466" y="120"/>
                  </a:lnTo>
                  <a:lnTo>
                    <a:pt x="464" y="110"/>
                  </a:lnTo>
                  <a:lnTo>
                    <a:pt x="463" y="107"/>
                  </a:lnTo>
                  <a:lnTo>
                    <a:pt x="463" y="100"/>
                  </a:lnTo>
                  <a:lnTo>
                    <a:pt x="463" y="93"/>
                  </a:lnTo>
                  <a:lnTo>
                    <a:pt x="463" y="90"/>
                  </a:lnTo>
                  <a:lnTo>
                    <a:pt x="458" y="84"/>
                  </a:lnTo>
                  <a:lnTo>
                    <a:pt x="456" y="81"/>
                  </a:lnTo>
                  <a:lnTo>
                    <a:pt x="454" y="79"/>
                  </a:lnTo>
                  <a:lnTo>
                    <a:pt x="451" y="76"/>
                  </a:lnTo>
                  <a:lnTo>
                    <a:pt x="448" y="74"/>
                  </a:lnTo>
                  <a:lnTo>
                    <a:pt x="440" y="76"/>
                  </a:lnTo>
                  <a:lnTo>
                    <a:pt x="434" y="74"/>
                  </a:lnTo>
                  <a:lnTo>
                    <a:pt x="427" y="67"/>
                  </a:lnTo>
                  <a:lnTo>
                    <a:pt x="414" y="56"/>
                  </a:lnTo>
                  <a:lnTo>
                    <a:pt x="407" y="50"/>
                  </a:lnTo>
                  <a:lnTo>
                    <a:pt x="401" y="41"/>
                  </a:lnTo>
                  <a:lnTo>
                    <a:pt x="398" y="34"/>
                  </a:lnTo>
                  <a:lnTo>
                    <a:pt x="397" y="27"/>
                  </a:lnTo>
                  <a:lnTo>
                    <a:pt x="397" y="23"/>
                  </a:lnTo>
                  <a:lnTo>
                    <a:pt x="394" y="17"/>
                  </a:lnTo>
                  <a:lnTo>
                    <a:pt x="385" y="13"/>
                  </a:lnTo>
                  <a:lnTo>
                    <a:pt x="378" y="16"/>
                  </a:lnTo>
                  <a:lnTo>
                    <a:pt x="368" y="18"/>
                  </a:lnTo>
                  <a:lnTo>
                    <a:pt x="360" y="26"/>
                  </a:lnTo>
                  <a:lnTo>
                    <a:pt x="352" y="26"/>
                  </a:lnTo>
                  <a:lnTo>
                    <a:pt x="348" y="23"/>
                  </a:lnTo>
                  <a:lnTo>
                    <a:pt x="342" y="18"/>
                  </a:lnTo>
                  <a:lnTo>
                    <a:pt x="334" y="11"/>
                  </a:lnTo>
                  <a:lnTo>
                    <a:pt x="329" y="11"/>
                  </a:lnTo>
                  <a:lnTo>
                    <a:pt x="325" y="11"/>
                  </a:lnTo>
                  <a:lnTo>
                    <a:pt x="317" y="11"/>
                  </a:lnTo>
                  <a:lnTo>
                    <a:pt x="317" y="20"/>
                  </a:lnTo>
                  <a:lnTo>
                    <a:pt x="314" y="21"/>
                  </a:lnTo>
                  <a:lnTo>
                    <a:pt x="312" y="17"/>
                  </a:lnTo>
                  <a:lnTo>
                    <a:pt x="308" y="13"/>
                  </a:lnTo>
                  <a:lnTo>
                    <a:pt x="305" y="10"/>
                  </a:lnTo>
                  <a:lnTo>
                    <a:pt x="301" y="6"/>
                  </a:lnTo>
                  <a:lnTo>
                    <a:pt x="291" y="0"/>
                  </a:lnTo>
                  <a:lnTo>
                    <a:pt x="291" y="3"/>
                  </a:lnTo>
                  <a:lnTo>
                    <a:pt x="292" y="10"/>
                  </a:lnTo>
                  <a:lnTo>
                    <a:pt x="292" y="14"/>
                  </a:lnTo>
                  <a:lnTo>
                    <a:pt x="292" y="21"/>
                  </a:lnTo>
                  <a:lnTo>
                    <a:pt x="291" y="37"/>
                  </a:lnTo>
                  <a:lnTo>
                    <a:pt x="294" y="43"/>
                  </a:lnTo>
                  <a:lnTo>
                    <a:pt x="294" y="48"/>
                  </a:lnTo>
                  <a:lnTo>
                    <a:pt x="288" y="53"/>
                  </a:lnTo>
                  <a:lnTo>
                    <a:pt x="278" y="53"/>
                  </a:lnTo>
                  <a:lnTo>
                    <a:pt x="271" y="53"/>
                  </a:lnTo>
                  <a:lnTo>
                    <a:pt x="271" y="61"/>
                  </a:lnTo>
                  <a:lnTo>
                    <a:pt x="271" y="64"/>
                  </a:lnTo>
                  <a:lnTo>
                    <a:pt x="265" y="73"/>
                  </a:lnTo>
                  <a:lnTo>
                    <a:pt x="252" y="77"/>
                  </a:lnTo>
                  <a:lnTo>
                    <a:pt x="236" y="76"/>
                  </a:lnTo>
                  <a:lnTo>
                    <a:pt x="235" y="84"/>
                  </a:lnTo>
                  <a:lnTo>
                    <a:pt x="228" y="94"/>
                  </a:lnTo>
                  <a:lnTo>
                    <a:pt x="226" y="97"/>
                  </a:lnTo>
                  <a:lnTo>
                    <a:pt x="229" y="104"/>
                  </a:lnTo>
                  <a:lnTo>
                    <a:pt x="231" y="107"/>
                  </a:lnTo>
                  <a:lnTo>
                    <a:pt x="229" y="111"/>
                  </a:lnTo>
                  <a:lnTo>
                    <a:pt x="225" y="114"/>
                  </a:lnTo>
                  <a:lnTo>
                    <a:pt x="221" y="120"/>
                  </a:lnTo>
                  <a:lnTo>
                    <a:pt x="219" y="127"/>
                  </a:lnTo>
                  <a:lnTo>
                    <a:pt x="224" y="130"/>
                  </a:lnTo>
                  <a:lnTo>
                    <a:pt x="225" y="136"/>
                  </a:lnTo>
                  <a:lnTo>
                    <a:pt x="225" y="140"/>
                  </a:lnTo>
                  <a:lnTo>
                    <a:pt x="226" y="147"/>
                  </a:lnTo>
                  <a:lnTo>
                    <a:pt x="226" y="154"/>
                  </a:lnTo>
                  <a:lnTo>
                    <a:pt x="226" y="162"/>
                  </a:lnTo>
                  <a:lnTo>
                    <a:pt x="224" y="175"/>
                  </a:lnTo>
                  <a:lnTo>
                    <a:pt x="222" y="182"/>
                  </a:lnTo>
                  <a:lnTo>
                    <a:pt x="222" y="187"/>
                  </a:lnTo>
                  <a:lnTo>
                    <a:pt x="221" y="193"/>
                  </a:lnTo>
                  <a:lnTo>
                    <a:pt x="221" y="196"/>
                  </a:lnTo>
                  <a:lnTo>
                    <a:pt x="218" y="200"/>
                  </a:lnTo>
                  <a:lnTo>
                    <a:pt x="211" y="200"/>
                  </a:lnTo>
                  <a:lnTo>
                    <a:pt x="203" y="200"/>
                  </a:lnTo>
                  <a:lnTo>
                    <a:pt x="198" y="203"/>
                  </a:lnTo>
                  <a:lnTo>
                    <a:pt x="193" y="206"/>
                  </a:lnTo>
                  <a:lnTo>
                    <a:pt x="178" y="213"/>
                  </a:lnTo>
                  <a:lnTo>
                    <a:pt x="172" y="217"/>
                  </a:lnTo>
                  <a:lnTo>
                    <a:pt x="168" y="222"/>
                  </a:lnTo>
                  <a:lnTo>
                    <a:pt x="163" y="230"/>
                  </a:lnTo>
                  <a:lnTo>
                    <a:pt x="155" y="236"/>
                  </a:lnTo>
                  <a:lnTo>
                    <a:pt x="149" y="242"/>
                  </a:lnTo>
                  <a:lnTo>
                    <a:pt x="149" y="249"/>
                  </a:lnTo>
                  <a:lnTo>
                    <a:pt x="155" y="256"/>
                  </a:lnTo>
                  <a:lnTo>
                    <a:pt x="166" y="265"/>
                  </a:lnTo>
                  <a:lnTo>
                    <a:pt x="165" y="278"/>
                  </a:lnTo>
                  <a:lnTo>
                    <a:pt x="163" y="280"/>
                  </a:lnTo>
                  <a:lnTo>
                    <a:pt x="161" y="280"/>
                  </a:lnTo>
                  <a:lnTo>
                    <a:pt x="158" y="280"/>
                  </a:lnTo>
                  <a:lnTo>
                    <a:pt x="155" y="282"/>
                  </a:lnTo>
                  <a:lnTo>
                    <a:pt x="153" y="288"/>
                  </a:lnTo>
                  <a:lnTo>
                    <a:pt x="155" y="291"/>
                  </a:lnTo>
                  <a:lnTo>
                    <a:pt x="158" y="295"/>
                  </a:lnTo>
                  <a:lnTo>
                    <a:pt x="161" y="299"/>
                  </a:lnTo>
                  <a:lnTo>
                    <a:pt x="163" y="309"/>
                  </a:lnTo>
                  <a:lnTo>
                    <a:pt x="163" y="315"/>
                  </a:lnTo>
                  <a:lnTo>
                    <a:pt x="163" y="318"/>
                  </a:lnTo>
                  <a:lnTo>
                    <a:pt x="162" y="322"/>
                  </a:lnTo>
                  <a:lnTo>
                    <a:pt x="156" y="331"/>
                  </a:lnTo>
                  <a:lnTo>
                    <a:pt x="153" y="335"/>
                  </a:lnTo>
                  <a:lnTo>
                    <a:pt x="150" y="339"/>
                  </a:lnTo>
                  <a:lnTo>
                    <a:pt x="145" y="342"/>
                  </a:lnTo>
                  <a:lnTo>
                    <a:pt x="140" y="344"/>
                  </a:lnTo>
                  <a:lnTo>
                    <a:pt x="136" y="344"/>
                  </a:lnTo>
                  <a:lnTo>
                    <a:pt x="130" y="344"/>
                  </a:lnTo>
                  <a:lnTo>
                    <a:pt x="125" y="345"/>
                  </a:lnTo>
                  <a:lnTo>
                    <a:pt x="123" y="348"/>
                  </a:lnTo>
                  <a:lnTo>
                    <a:pt x="122" y="355"/>
                  </a:lnTo>
                  <a:lnTo>
                    <a:pt x="119" y="35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77" name="Freeform 25"/>
            <p:cNvSpPr>
              <a:spLocks/>
            </p:cNvSpPr>
            <p:nvPr/>
          </p:nvSpPr>
          <p:spPr bwMode="auto">
            <a:xfrm>
              <a:off x="2448425" y="3882202"/>
              <a:ext cx="388323" cy="470954"/>
            </a:xfrm>
            <a:custGeom>
              <a:avLst/>
              <a:gdLst>
                <a:gd name="T0" fmla="*/ 192 w 634"/>
                <a:gd name="T1" fmla="*/ 465 h 711"/>
                <a:gd name="T2" fmla="*/ 204 w 634"/>
                <a:gd name="T3" fmla="*/ 514 h 711"/>
                <a:gd name="T4" fmla="*/ 219 w 634"/>
                <a:gd name="T5" fmla="*/ 614 h 711"/>
                <a:gd name="T6" fmla="*/ 206 w 634"/>
                <a:gd name="T7" fmla="*/ 664 h 711"/>
                <a:gd name="T8" fmla="*/ 237 w 634"/>
                <a:gd name="T9" fmla="*/ 701 h 711"/>
                <a:gd name="T10" fmla="*/ 276 w 634"/>
                <a:gd name="T11" fmla="*/ 711 h 711"/>
                <a:gd name="T12" fmla="*/ 316 w 634"/>
                <a:gd name="T13" fmla="*/ 641 h 711"/>
                <a:gd name="T14" fmla="*/ 352 w 634"/>
                <a:gd name="T15" fmla="*/ 637 h 711"/>
                <a:gd name="T16" fmla="*/ 409 w 634"/>
                <a:gd name="T17" fmla="*/ 645 h 711"/>
                <a:gd name="T18" fmla="*/ 454 w 634"/>
                <a:gd name="T19" fmla="*/ 620 h 711"/>
                <a:gd name="T20" fmla="*/ 511 w 634"/>
                <a:gd name="T21" fmla="*/ 645 h 711"/>
                <a:gd name="T22" fmla="*/ 563 w 634"/>
                <a:gd name="T23" fmla="*/ 653 h 711"/>
                <a:gd name="T24" fmla="*/ 598 w 634"/>
                <a:gd name="T25" fmla="*/ 654 h 711"/>
                <a:gd name="T26" fmla="*/ 621 w 634"/>
                <a:gd name="T27" fmla="*/ 618 h 711"/>
                <a:gd name="T28" fmla="*/ 627 w 634"/>
                <a:gd name="T29" fmla="*/ 601 h 711"/>
                <a:gd name="T30" fmla="*/ 617 w 634"/>
                <a:gd name="T31" fmla="*/ 582 h 711"/>
                <a:gd name="T32" fmla="*/ 613 w 634"/>
                <a:gd name="T33" fmla="*/ 567 h 711"/>
                <a:gd name="T34" fmla="*/ 617 w 634"/>
                <a:gd name="T35" fmla="*/ 551 h 711"/>
                <a:gd name="T36" fmla="*/ 617 w 634"/>
                <a:gd name="T37" fmla="*/ 532 h 711"/>
                <a:gd name="T38" fmla="*/ 598 w 634"/>
                <a:gd name="T39" fmla="*/ 508 h 711"/>
                <a:gd name="T40" fmla="*/ 595 w 634"/>
                <a:gd name="T41" fmla="*/ 495 h 711"/>
                <a:gd name="T42" fmla="*/ 603 w 634"/>
                <a:gd name="T43" fmla="*/ 476 h 711"/>
                <a:gd name="T44" fmla="*/ 590 w 634"/>
                <a:gd name="T45" fmla="*/ 472 h 711"/>
                <a:gd name="T46" fmla="*/ 591 w 634"/>
                <a:gd name="T47" fmla="*/ 461 h 711"/>
                <a:gd name="T48" fmla="*/ 575 w 634"/>
                <a:gd name="T49" fmla="*/ 426 h 711"/>
                <a:gd name="T50" fmla="*/ 558 w 634"/>
                <a:gd name="T51" fmla="*/ 378 h 711"/>
                <a:gd name="T52" fmla="*/ 534 w 634"/>
                <a:gd name="T53" fmla="*/ 329 h 711"/>
                <a:gd name="T54" fmla="*/ 518 w 634"/>
                <a:gd name="T55" fmla="*/ 316 h 711"/>
                <a:gd name="T56" fmla="*/ 481 w 634"/>
                <a:gd name="T57" fmla="*/ 306 h 711"/>
                <a:gd name="T58" fmla="*/ 455 w 634"/>
                <a:gd name="T59" fmla="*/ 282 h 711"/>
                <a:gd name="T60" fmla="*/ 429 w 634"/>
                <a:gd name="T61" fmla="*/ 236 h 711"/>
                <a:gd name="T62" fmla="*/ 414 w 634"/>
                <a:gd name="T63" fmla="*/ 220 h 711"/>
                <a:gd name="T64" fmla="*/ 389 w 634"/>
                <a:gd name="T65" fmla="*/ 213 h 711"/>
                <a:gd name="T66" fmla="*/ 363 w 634"/>
                <a:gd name="T67" fmla="*/ 213 h 711"/>
                <a:gd name="T68" fmla="*/ 342 w 634"/>
                <a:gd name="T69" fmla="*/ 206 h 711"/>
                <a:gd name="T70" fmla="*/ 299 w 634"/>
                <a:gd name="T71" fmla="*/ 159 h 711"/>
                <a:gd name="T72" fmla="*/ 276 w 634"/>
                <a:gd name="T73" fmla="*/ 147 h 711"/>
                <a:gd name="T74" fmla="*/ 259 w 634"/>
                <a:gd name="T75" fmla="*/ 116 h 711"/>
                <a:gd name="T76" fmla="*/ 225 w 634"/>
                <a:gd name="T77" fmla="*/ 98 h 711"/>
                <a:gd name="T78" fmla="*/ 170 w 634"/>
                <a:gd name="T79" fmla="*/ 30 h 711"/>
                <a:gd name="T80" fmla="*/ 152 w 634"/>
                <a:gd name="T81" fmla="*/ 10 h 711"/>
                <a:gd name="T82" fmla="*/ 124 w 634"/>
                <a:gd name="T83" fmla="*/ 11 h 711"/>
                <a:gd name="T84" fmla="*/ 96 w 634"/>
                <a:gd name="T85" fmla="*/ 27 h 711"/>
                <a:gd name="T86" fmla="*/ 46 w 634"/>
                <a:gd name="T87" fmla="*/ 40 h 711"/>
                <a:gd name="T88" fmla="*/ 24 w 634"/>
                <a:gd name="T89" fmla="*/ 73 h 711"/>
                <a:gd name="T90" fmla="*/ 5 w 634"/>
                <a:gd name="T91" fmla="*/ 121 h 711"/>
                <a:gd name="T92" fmla="*/ 1 w 634"/>
                <a:gd name="T93" fmla="*/ 153 h 711"/>
                <a:gd name="T94" fmla="*/ 5 w 634"/>
                <a:gd name="T95" fmla="*/ 187 h 711"/>
                <a:gd name="T96" fmla="*/ 34 w 634"/>
                <a:gd name="T97" fmla="*/ 197 h 711"/>
                <a:gd name="T98" fmla="*/ 68 w 634"/>
                <a:gd name="T99" fmla="*/ 213 h 711"/>
                <a:gd name="T100" fmla="*/ 76 w 634"/>
                <a:gd name="T101" fmla="*/ 236 h 711"/>
                <a:gd name="T102" fmla="*/ 100 w 634"/>
                <a:gd name="T103" fmla="*/ 243 h 711"/>
                <a:gd name="T104" fmla="*/ 116 w 634"/>
                <a:gd name="T105" fmla="*/ 257 h 711"/>
                <a:gd name="T106" fmla="*/ 129 w 634"/>
                <a:gd name="T107" fmla="*/ 279 h 711"/>
                <a:gd name="T108" fmla="*/ 133 w 634"/>
                <a:gd name="T109" fmla="*/ 313 h 711"/>
                <a:gd name="T110" fmla="*/ 121 w 634"/>
                <a:gd name="T111" fmla="*/ 346 h 711"/>
                <a:gd name="T112" fmla="*/ 73 w 634"/>
                <a:gd name="T113" fmla="*/ 369 h 711"/>
                <a:gd name="T114" fmla="*/ 100 w 634"/>
                <a:gd name="T115" fmla="*/ 393 h 711"/>
                <a:gd name="T116" fmla="*/ 133 w 634"/>
                <a:gd name="T117" fmla="*/ 391 h 711"/>
                <a:gd name="T118" fmla="*/ 154 w 634"/>
                <a:gd name="T119" fmla="*/ 423 h 711"/>
                <a:gd name="T120" fmla="*/ 143 w 634"/>
                <a:gd name="T121" fmla="*/ 441 h 711"/>
                <a:gd name="T122" fmla="*/ 163 w 634"/>
                <a:gd name="T123" fmla="*/ 45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4" h="711">
                  <a:moveTo>
                    <a:pt x="169" y="464"/>
                  </a:moveTo>
                  <a:lnTo>
                    <a:pt x="179" y="466"/>
                  </a:lnTo>
                  <a:lnTo>
                    <a:pt x="183" y="462"/>
                  </a:lnTo>
                  <a:lnTo>
                    <a:pt x="184" y="459"/>
                  </a:lnTo>
                  <a:lnTo>
                    <a:pt x="187" y="458"/>
                  </a:lnTo>
                  <a:lnTo>
                    <a:pt x="190" y="458"/>
                  </a:lnTo>
                  <a:lnTo>
                    <a:pt x="192" y="462"/>
                  </a:lnTo>
                  <a:lnTo>
                    <a:pt x="192" y="465"/>
                  </a:lnTo>
                  <a:lnTo>
                    <a:pt x="197" y="466"/>
                  </a:lnTo>
                  <a:lnTo>
                    <a:pt x="203" y="471"/>
                  </a:lnTo>
                  <a:lnTo>
                    <a:pt x="193" y="479"/>
                  </a:lnTo>
                  <a:lnTo>
                    <a:pt x="200" y="488"/>
                  </a:lnTo>
                  <a:lnTo>
                    <a:pt x="192" y="492"/>
                  </a:lnTo>
                  <a:lnTo>
                    <a:pt x="190" y="505"/>
                  </a:lnTo>
                  <a:lnTo>
                    <a:pt x="200" y="515"/>
                  </a:lnTo>
                  <a:lnTo>
                    <a:pt x="204" y="514"/>
                  </a:lnTo>
                  <a:lnTo>
                    <a:pt x="216" y="529"/>
                  </a:lnTo>
                  <a:lnTo>
                    <a:pt x="204" y="538"/>
                  </a:lnTo>
                  <a:lnTo>
                    <a:pt x="219" y="557"/>
                  </a:lnTo>
                  <a:lnTo>
                    <a:pt x="219" y="557"/>
                  </a:lnTo>
                  <a:lnTo>
                    <a:pt x="220" y="578"/>
                  </a:lnTo>
                  <a:lnTo>
                    <a:pt x="220" y="597"/>
                  </a:lnTo>
                  <a:lnTo>
                    <a:pt x="220" y="605"/>
                  </a:lnTo>
                  <a:lnTo>
                    <a:pt x="219" y="614"/>
                  </a:lnTo>
                  <a:lnTo>
                    <a:pt x="215" y="623"/>
                  </a:lnTo>
                  <a:lnTo>
                    <a:pt x="210" y="630"/>
                  </a:lnTo>
                  <a:lnTo>
                    <a:pt x="210" y="630"/>
                  </a:lnTo>
                  <a:lnTo>
                    <a:pt x="207" y="645"/>
                  </a:lnTo>
                  <a:lnTo>
                    <a:pt x="206" y="657"/>
                  </a:lnTo>
                  <a:lnTo>
                    <a:pt x="206" y="661"/>
                  </a:lnTo>
                  <a:lnTo>
                    <a:pt x="206" y="664"/>
                  </a:lnTo>
                  <a:lnTo>
                    <a:pt x="206" y="664"/>
                  </a:lnTo>
                  <a:lnTo>
                    <a:pt x="212" y="671"/>
                  </a:lnTo>
                  <a:lnTo>
                    <a:pt x="216" y="676"/>
                  </a:lnTo>
                  <a:lnTo>
                    <a:pt x="219" y="680"/>
                  </a:lnTo>
                  <a:lnTo>
                    <a:pt x="222" y="687"/>
                  </a:lnTo>
                  <a:lnTo>
                    <a:pt x="227" y="694"/>
                  </a:lnTo>
                  <a:lnTo>
                    <a:pt x="227" y="694"/>
                  </a:lnTo>
                  <a:lnTo>
                    <a:pt x="233" y="698"/>
                  </a:lnTo>
                  <a:lnTo>
                    <a:pt x="237" y="701"/>
                  </a:lnTo>
                  <a:lnTo>
                    <a:pt x="243" y="703"/>
                  </a:lnTo>
                  <a:lnTo>
                    <a:pt x="249" y="704"/>
                  </a:lnTo>
                  <a:lnTo>
                    <a:pt x="249" y="704"/>
                  </a:lnTo>
                  <a:lnTo>
                    <a:pt x="255" y="707"/>
                  </a:lnTo>
                  <a:lnTo>
                    <a:pt x="260" y="709"/>
                  </a:lnTo>
                  <a:lnTo>
                    <a:pt x="268" y="710"/>
                  </a:lnTo>
                  <a:lnTo>
                    <a:pt x="276" y="711"/>
                  </a:lnTo>
                  <a:lnTo>
                    <a:pt x="276" y="711"/>
                  </a:lnTo>
                  <a:lnTo>
                    <a:pt x="282" y="710"/>
                  </a:lnTo>
                  <a:lnTo>
                    <a:pt x="286" y="709"/>
                  </a:lnTo>
                  <a:lnTo>
                    <a:pt x="286" y="691"/>
                  </a:lnTo>
                  <a:lnTo>
                    <a:pt x="286" y="691"/>
                  </a:lnTo>
                  <a:lnTo>
                    <a:pt x="288" y="686"/>
                  </a:lnTo>
                  <a:lnTo>
                    <a:pt x="292" y="677"/>
                  </a:lnTo>
                  <a:lnTo>
                    <a:pt x="303" y="658"/>
                  </a:lnTo>
                  <a:lnTo>
                    <a:pt x="316" y="641"/>
                  </a:lnTo>
                  <a:lnTo>
                    <a:pt x="326" y="628"/>
                  </a:lnTo>
                  <a:lnTo>
                    <a:pt x="332" y="611"/>
                  </a:lnTo>
                  <a:lnTo>
                    <a:pt x="335" y="611"/>
                  </a:lnTo>
                  <a:lnTo>
                    <a:pt x="335" y="611"/>
                  </a:lnTo>
                  <a:lnTo>
                    <a:pt x="342" y="625"/>
                  </a:lnTo>
                  <a:lnTo>
                    <a:pt x="346" y="631"/>
                  </a:lnTo>
                  <a:lnTo>
                    <a:pt x="352" y="637"/>
                  </a:lnTo>
                  <a:lnTo>
                    <a:pt x="352" y="637"/>
                  </a:lnTo>
                  <a:lnTo>
                    <a:pt x="361" y="638"/>
                  </a:lnTo>
                  <a:lnTo>
                    <a:pt x="366" y="640"/>
                  </a:lnTo>
                  <a:lnTo>
                    <a:pt x="373" y="638"/>
                  </a:lnTo>
                  <a:lnTo>
                    <a:pt x="381" y="637"/>
                  </a:lnTo>
                  <a:lnTo>
                    <a:pt x="381" y="637"/>
                  </a:lnTo>
                  <a:lnTo>
                    <a:pt x="391" y="638"/>
                  </a:lnTo>
                  <a:lnTo>
                    <a:pt x="399" y="641"/>
                  </a:lnTo>
                  <a:lnTo>
                    <a:pt x="409" y="645"/>
                  </a:lnTo>
                  <a:lnTo>
                    <a:pt x="419" y="647"/>
                  </a:lnTo>
                  <a:lnTo>
                    <a:pt x="426" y="634"/>
                  </a:lnTo>
                  <a:lnTo>
                    <a:pt x="426" y="634"/>
                  </a:lnTo>
                  <a:lnTo>
                    <a:pt x="431" y="628"/>
                  </a:lnTo>
                  <a:lnTo>
                    <a:pt x="435" y="624"/>
                  </a:lnTo>
                  <a:lnTo>
                    <a:pt x="441" y="620"/>
                  </a:lnTo>
                  <a:lnTo>
                    <a:pt x="448" y="620"/>
                  </a:lnTo>
                  <a:lnTo>
                    <a:pt x="454" y="620"/>
                  </a:lnTo>
                  <a:lnTo>
                    <a:pt x="459" y="630"/>
                  </a:lnTo>
                  <a:lnTo>
                    <a:pt x="459" y="630"/>
                  </a:lnTo>
                  <a:lnTo>
                    <a:pt x="468" y="638"/>
                  </a:lnTo>
                  <a:lnTo>
                    <a:pt x="477" y="641"/>
                  </a:lnTo>
                  <a:lnTo>
                    <a:pt x="487" y="643"/>
                  </a:lnTo>
                  <a:lnTo>
                    <a:pt x="498" y="643"/>
                  </a:lnTo>
                  <a:lnTo>
                    <a:pt x="498" y="643"/>
                  </a:lnTo>
                  <a:lnTo>
                    <a:pt x="511" y="645"/>
                  </a:lnTo>
                  <a:lnTo>
                    <a:pt x="524" y="651"/>
                  </a:lnTo>
                  <a:lnTo>
                    <a:pt x="524" y="651"/>
                  </a:lnTo>
                  <a:lnTo>
                    <a:pt x="541" y="658"/>
                  </a:lnTo>
                  <a:lnTo>
                    <a:pt x="541" y="658"/>
                  </a:lnTo>
                  <a:lnTo>
                    <a:pt x="547" y="654"/>
                  </a:lnTo>
                  <a:lnTo>
                    <a:pt x="551" y="651"/>
                  </a:lnTo>
                  <a:lnTo>
                    <a:pt x="557" y="650"/>
                  </a:lnTo>
                  <a:lnTo>
                    <a:pt x="563" y="653"/>
                  </a:lnTo>
                  <a:lnTo>
                    <a:pt x="577" y="650"/>
                  </a:lnTo>
                  <a:lnTo>
                    <a:pt x="577" y="650"/>
                  </a:lnTo>
                  <a:lnTo>
                    <a:pt x="581" y="644"/>
                  </a:lnTo>
                  <a:lnTo>
                    <a:pt x="585" y="641"/>
                  </a:lnTo>
                  <a:lnTo>
                    <a:pt x="587" y="640"/>
                  </a:lnTo>
                  <a:lnTo>
                    <a:pt x="590" y="640"/>
                  </a:lnTo>
                  <a:lnTo>
                    <a:pt x="595" y="644"/>
                  </a:lnTo>
                  <a:lnTo>
                    <a:pt x="598" y="654"/>
                  </a:lnTo>
                  <a:lnTo>
                    <a:pt x="604" y="656"/>
                  </a:lnTo>
                  <a:lnTo>
                    <a:pt x="604" y="656"/>
                  </a:lnTo>
                  <a:lnTo>
                    <a:pt x="613" y="645"/>
                  </a:lnTo>
                  <a:lnTo>
                    <a:pt x="618" y="635"/>
                  </a:lnTo>
                  <a:lnTo>
                    <a:pt x="618" y="630"/>
                  </a:lnTo>
                  <a:lnTo>
                    <a:pt x="618" y="625"/>
                  </a:lnTo>
                  <a:lnTo>
                    <a:pt x="620" y="623"/>
                  </a:lnTo>
                  <a:lnTo>
                    <a:pt x="621" y="618"/>
                  </a:lnTo>
                  <a:lnTo>
                    <a:pt x="626" y="614"/>
                  </a:lnTo>
                  <a:lnTo>
                    <a:pt x="631" y="611"/>
                  </a:lnTo>
                  <a:lnTo>
                    <a:pt x="634" y="611"/>
                  </a:lnTo>
                  <a:lnTo>
                    <a:pt x="634" y="610"/>
                  </a:lnTo>
                  <a:lnTo>
                    <a:pt x="634" y="608"/>
                  </a:lnTo>
                  <a:lnTo>
                    <a:pt x="633" y="607"/>
                  </a:lnTo>
                  <a:lnTo>
                    <a:pt x="628" y="604"/>
                  </a:lnTo>
                  <a:lnTo>
                    <a:pt x="627" y="601"/>
                  </a:lnTo>
                  <a:lnTo>
                    <a:pt x="623" y="597"/>
                  </a:lnTo>
                  <a:lnTo>
                    <a:pt x="621" y="595"/>
                  </a:lnTo>
                  <a:lnTo>
                    <a:pt x="621" y="592"/>
                  </a:lnTo>
                  <a:lnTo>
                    <a:pt x="626" y="591"/>
                  </a:lnTo>
                  <a:lnTo>
                    <a:pt x="627" y="590"/>
                  </a:lnTo>
                  <a:lnTo>
                    <a:pt x="626" y="587"/>
                  </a:lnTo>
                  <a:lnTo>
                    <a:pt x="617" y="584"/>
                  </a:lnTo>
                  <a:lnTo>
                    <a:pt x="617" y="582"/>
                  </a:lnTo>
                  <a:lnTo>
                    <a:pt x="623" y="578"/>
                  </a:lnTo>
                  <a:lnTo>
                    <a:pt x="624" y="575"/>
                  </a:lnTo>
                  <a:lnTo>
                    <a:pt x="624" y="572"/>
                  </a:lnTo>
                  <a:lnTo>
                    <a:pt x="623" y="570"/>
                  </a:lnTo>
                  <a:lnTo>
                    <a:pt x="621" y="568"/>
                  </a:lnTo>
                  <a:lnTo>
                    <a:pt x="617" y="570"/>
                  </a:lnTo>
                  <a:lnTo>
                    <a:pt x="614" y="571"/>
                  </a:lnTo>
                  <a:lnTo>
                    <a:pt x="613" y="567"/>
                  </a:lnTo>
                  <a:lnTo>
                    <a:pt x="608" y="562"/>
                  </a:lnTo>
                  <a:lnTo>
                    <a:pt x="607" y="561"/>
                  </a:lnTo>
                  <a:lnTo>
                    <a:pt x="606" y="561"/>
                  </a:lnTo>
                  <a:lnTo>
                    <a:pt x="600" y="564"/>
                  </a:lnTo>
                  <a:lnTo>
                    <a:pt x="597" y="561"/>
                  </a:lnTo>
                  <a:lnTo>
                    <a:pt x="607" y="551"/>
                  </a:lnTo>
                  <a:lnTo>
                    <a:pt x="613" y="548"/>
                  </a:lnTo>
                  <a:lnTo>
                    <a:pt x="617" y="551"/>
                  </a:lnTo>
                  <a:lnTo>
                    <a:pt x="620" y="555"/>
                  </a:lnTo>
                  <a:lnTo>
                    <a:pt x="624" y="555"/>
                  </a:lnTo>
                  <a:lnTo>
                    <a:pt x="627" y="554"/>
                  </a:lnTo>
                  <a:lnTo>
                    <a:pt x="628" y="551"/>
                  </a:lnTo>
                  <a:lnTo>
                    <a:pt x="627" y="547"/>
                  </a:lnTo>
                  <a:lnTo>
                    <a:pt x="620" y="542"/>
                  </a:lnTo>
                  <a:lnTo>
                    <a:pt x="617" y="537"/>
                  </a:lnTo>
                  <a:lnTo>
                    <a:pt x="617" y="532"/>
                  </a:lnTo>
                  <a:lnTo>
                    <a:pt x="611" y="532"/>
                  </a:lnTo>
                  <a:lnTo>
                    <a:pt x="607" y="531"/>
                  </a:lnTo>
                  <a:lnTo>
                    <a:pt x="603" y="527"/>
                  </a:lnTo>
                  <a:lnTo>
                    <a:pt x="598" y="524"/>
                  </a:lnTo>
                  <a:lnTo>
                    <a:pt x="595" y="518"/>
                  </a:lnTo>
                  <a:lnTo>
                    <a:pt x="597" y="512"/>
                  </a:lnTo>
                  <a:lnTo>
                    <a:pt x="598" y="508"/>
                  </a:lnTo>
                  <a:lnTo>
                    <a:pt x="598" y="508"/>
                  </a:lnTo>
                  <a:lnTo>
                    <a:pt x="600" y="505"/>
                  </a:lnTo>
                  <a:lnTo>
                    <a:pt x="600" y="504"/>
                  </a:lnTo>
                  <a:lnTo>
                    <a:pt x="598" y="501"/>
                  </a:lnTo>
                  <a:lnTo>
                    <a:pt x="598" y="501"/>
                  </a:lnTo>
                  <a:lnTo>
                    <a:pt x="594" y="498"/>
                  </a:lnTo>
                  <a:lnTo>
                    <a:pt x="594" y="497"/>
                  </a:lnTo>
                  <a:lnTo>
                    <a:pt x="595" y="495"/>
                  </a:lnTo>
                  <a:lnTo>
                    <a:pt x="595" y="495"/>
                  </a:lnTo>
                  <a:lnTo>
                    <a:pt x="598" y="494"/>
                  </a:lnTo>
                  <a:lnTo>
                    <a:pt x="600" y="494"/>
                  </a:lnTo>
                  <a:lnTo>
                    <a:pt x="600" y="491"/>
                  </a:lnTo>
                  <a:lnTo>
                    <a:pt x="600" y="491"/>
                  </a:lnTo>
                  <a:lnTo>
                    <a:pt x="600" y="489"/>
                  </a:lnTo>
                  <a:lnTo>
                    <a:pt x="601" y="488"/>
                  </a:lnTo>
                  <a:lnTo>
                    <a:pt x="606" y="487"/>
                  </a:lnTo>
                  <a:lnTo>
                    <a:pt x="603" y="476"/>
                  </a:lnTo>
                  <a:lnTo>
                    <a:pt x="585" y="479"/>
                  </a:lnTo>
                  <a:lnTo>
                    <a:pt x="585" y="479"/>
                  </a:lnTo>
                  <a:lnTo>
                    <a:pt x="584" y="478"/>
                  </a:lnTo>
                  <a:lnTo>
                    <a:pt x="583" y="478"/>
                  </a:lnTo>
                  <a:lnTo>
                    <a:pt x="583" y="476"/>
                  </a:lnTo>
                  <a:lnTo>
                    <a:pt x="583" y="476"/>
                  </a:lnTo>
                  <a:lnTo>
                    <a:pt x="584" y="474"/>
                  </a:lnTo>
                  <a:lnTo>
                    <a:pt x="590" y="472"/>
                  </a:lnTo>
                  <a:lnTo>
                    <a:pt x="598" y="471"/>
                  </a:lnTo>
                  <a:lnTo>
                    <a:pt x="598" y="471"/>
                  </a:lnTo>
                  <a:lnTo>
                    <a:pt x="594" y="469"/>
                  </a:lnTo>
                  <a:lnTo>
                    <a:pt x="590" y="468"/>
                  </a:lnTo>
                  <a:lnTo>
                    <a:pt x="588" y="466"/>
                  </a:lnTo>
                  <a:lnTo>
                    <a:pt x="590" y="464"/>
                  </a:lnTo>
                  <a:lnTo>
                    <a:pt x="590" y="464"/>
                  </a:lnTo>
                  <a:lnTo>
                    <a:pt x="591" y="461"/>
                  </a:lnTo>
                  <a:lnTo>
                    <a:pt x="594" y="459"/>
                  </a:lnTo>
                  <a:lnTo>
                    <a:pt x="598" y="459"/>
                  </a:lnTo>
                  <a:lnTo>
                    <a:pt x="595" y="448"/>
                  </a:lnTo>
                  <a:lnTo>
                    <a:pt x="581" y="438"/>
                  </a:lnTo>
                  <a:lnTo>
                    <a:pt x="581" y="438"/>
                  </a:lnTo>
                  <a:lnTo>
                    <a:pt x="578" y="432"/>
                  </a:lnTo>
                  <a:lnTo>
                    <a:pt x="575" y="426"/>
                  </a:lnTo>
                  <a:lnTo>
                    <a:pt x="575" y="426"/>
                  </a:lnTo>
                  <a:lnTo>
                    <a:pt x="573" y="426"/>
                  </a:lnTo>
                  <a:lnTo>
                    <a:pt x="567" y="429"/>
                  </a:lnTo>
                  <a:lnTo>
                    <a:pt x="561" y="434"/>
                  </a:lnTo>
                  <a:lnTo>
                    <a:pt x="558" y="428"/>
                  </a:lnTo>
                  <a:lnTo>
                    <a:pt x="571" y="409"/>
                  </a:lnTo>
                  <a:lnTo>
                    <a:pt x="565" y="402"/>
                  </a:lnTo>
                  <a:lnTo>
                    <a:pt x="571" y="391"/>
                  </a:lnTo>
                  <a:lnTo>
                    <a:pt x="558" y="378"/>
                  </a:lnTo>
                  <a:lnTo>
                    <a:pt x="564" y="369"/>
                  </a:lnTo>
                  <a:lnTo>
                    <a:pt x="553" y="359"/>
                  </a:lnTo>
                  <a:lnTo>
                    <a:pt x="558" y="352"/>
                  </a:lnTo>
                  <a:lnTo>
                    <a:pt x="558" y="352"/>
                  </a:lnTo>
                  <a:lnTo>
                    <a:pt x="561" y="329"/>
                  </a:lnTo>
                  <a:lnTo>
                    <a:pt x="551" y="326"/>
                  </a:lnTo>
                  <a:lnTo>
                    <a:pt x="541" y="323"/>
                  </a:lnTo>
                  <a:lnTo>
                    <a:pt x="534" y="329"/>
                  </a:lnTo>
                  <a:lnTo>
                    <a:pt x="525" y="338"/>
                  </a:lnTo>
                  <a:lnTo>
                    <a:pt x="517" y="335"/>
                  </a:lnTo>
                  <a:lnTo>
                    <a:pt x="521" y="329"/>
                  </a:lnTo>
                  <a:lnTo>
                    <a:pt x="525" y="322"/>
                  </a:lnTo>
                  <a:lnTo>
                    <a:pt x="527" y="319"/>
                  </a:lnTo>
                  <a:lnTo>
                    <a:pt x="527" y="316"/>
                  </a:lnTo>
                  <a:lnTo>
                    <a:pt x="524" y="313"/>
                  </a:lnTo>
                  <a:lnTo>
                    <a:pt x="518" y="316"/>
                  </a:lnTo>
                  <a:lnTo>
                    <a:pt x="514" y="320"/>
                  </a:lnTo>
                  <a:lnTo>
                    <a:pt x="510" y="322"/>
                  </a:lnTo>
                  <a:lnTo>
                    <a:pt x="504" y="322"/>
                  </a:lnTo>
                  <a:lnTo>
                    <a:pt x="501" y="326"/>
                  </a:lnTo>
                  <a:lnTo>
                    <a:pt x="498" y="329"/>
                  </a:lnTo>
                  <a:lnTo>
                    <a:pt x="491" y="328"/>
                  </a:lnTo>
                  <a:lnTo>
                    <a:pt x="485" y="305"/>
                  </a:lnTo>
                  <a:lnTo>
                    <a:pt x="481" y="306"/>
                  </a:lnTo>
                  <a:lnTo>
                    <a:pt x="481" y="312"/>
                  </a:lnTo>
                  <a:lnTo>
                    <a:pt x="478" y="313"/>
                  </a:lnTo>
                  <a:lnTo>
                    <a:pt x="475" y="310"/>
                  </a:lnTo>
                  <a:lnTo>
                    <a:pt x="465" y="300"/>
                  </a:lnTo>
                  <a:lnTo>
                    <a:pt x="465" y="299"/>
                  </a:lnTo>
                  <a:lnTo>
                    <a:pt x="459" y="287"/>
                  </a:lnTo>
                  <a:lnTo>
                    <a:pt x="458" y="285"/>
                  </a:lnTo>
                  <a:lnTo>
                    <a:pt x="455" y="282"/>
                  </a:lnTo>
                  <a:lnTo>
                    <a:pt x="449" y="269"/>
                  </a:lnTo>
                  <a:lnTo>
                    <a:pt x="445" y="265"/>
                  </a:lnTo>
                  <a:lnTo>
                    <a:pt x="439" y="259"/>
                  </a:lnTo>
                  <a:lnTo>
                    <a:pt x="437" y="256"/>
                  </a:lnTo>
                  <a:lnTo>
                    <a:pt x="432" y="252"/>
                  </a:lnTo>
                  <a:lnTo>
                    <a:pt x="431" y="249"/>
                  </a:lnTo>
                  <a:lnTo>
                    <a:pt x="428" y="243"/>
                  </a:lnTo>
                  <a:lnTo>
                    <a:pt x="429" y="236"/>
                  </a:lnTo>
                  <a:lnTo>
                    <a:pt x="432" y="234"/>
                  </a:lnTo>
                  <a:lnTo>
                    <a:pt x="435" y="232"/>
                  </a:lnTo>
                  <a:lnTo>
                    <a:pt x="437" y="230"/>
                  </a:lnTo>
                  <a:lnTo>
                    <a:pt x="431" y="227"/>
                  </a:lnTo>
                  <a:lnTo>
                    <a:pt x="426" y="227"/>
                  </a:lnTo>
                  <a:lnTo>
                    <a:pt x="421" y="226"/>
                  </a:lnTo>
                  <a:lnTo>
                    <a:pt x="415" y="222"/>
                  </a:lnTo>
                  <a:lnTo>
                    <a:pt x="414" y="220"/>
                  </a:lnTo>
                  <a:lnTo>
                    <a:pt x="411" y="217"/>
                  </a:lnTo>
                  <a:lnTo>
                    <a:pt x="409" y="216"/>
                  </a:lnTo>
                  <a:lnTo>
                    <a:pt x="408" y="214"/>
                  </a:lnTo>
                  <a:lnTo>
                    <a:pt x="406" y="216"/>
                  </a:lnTo>
                  <a:lnTo>
                    <a:pt x="402" y="217"/>
                  </a:lnTo>
                  <a:lnTo>
                    <a:pt x="396" y="217"/>
                  </a:lnTo>
                  <a:lnTo>
                    <a:pt x="392" y="213"/>
                  </a:lnTo>
                  <a:lnTo>
                    <a:pt x="389" y="213"/>
                  </a:lnTo>
                  <a:lnTo>
                    <a:pt x="386" y="214"/>
                  </a:lnTo>
                  <a:lnTo>
                    <a:pt x="384" y="217"/>
                  </a:lnTo>
                  <a:lnTo>
                    <a:pt x="382" y="222"/>
                  </a:lnTo>
                  <a:lnTo>
                    <a:pt x="379" y="220"/>
                  </a:lnTo>
                  <a:lnTo>
                    <a:pt x="372" y="219"/>
                  </a:lnTo>
                  <a:lnTo>
                    <a:pt x="368" y="214"/>
                  </a:lnTo>
                  <a:lnTo>
                    <a:pt x="365" y="213"/>
                  </a:lnTo>
                  <a:lnTo>
                    <a:pt x="363" y="213"/>
                  </a:lnTo>
                  <a:lnTo>
                    <a:pt x="361" y="213"/>
                  </a:lnTo>
                  <a:lnTo>
                    <a:pt x="359" y="220"/>
                  </a:lnTo>
                  <a:lnTo>
                    <a:pt x="353" y="223"/>
                  </a:lnTo>
                  <a:lnTo>
                    <a:pt x="348" y="223"/>
                  </a:lnTo>
                  <a:lnTo>
                    <a:pt x="345" y="219"/>
                  </a:lnTo>
                  <a:lnTo>
                    <a:pt x="345" y="214"/>
                  </a:lnTo>
                  <a:lnTo>
                    <a:pt x="345" y="212"/>
                  </a:lnTo>
                  <a:lnTo>
                    <a:pt x="342" y="206"/>
                  </a:lnTo>
                  <a:lnTo>
                    <a:pt x="342" y="199"/>
                  </a:lnTo>
                  <a:lnTo>
                    <a:pt x="323" y="191"/>
                  </a:lnTo>
                  <a:lnTo>
                    <a:pt x="313" y="184"/>
                  </a:lnTo>
                  <a:lnTo>
                    <a:pt x="310" y="180"/>
                  </a:lnTo>
                  <a:lnTo>
                    <a:pt x="302" y="171"/>
                  </a:lnTo>
                  <a:lnTo>
                    <a:pt x="299" y="167"/>
                  </a:lnTo>
                  <a:lnTo>
                    <a:pt x="300" y="163"/>
                  </a:lnTo>
                  <a:lnTo>
                    <a:pt x="299" y="159"/>
                  </a:lnTo>
                  <a:lnTo>
                    <a:pt x="296" y="157"/>
                  </a:lnTo>
                  <a:lnTo>
                    <a:pt x="292" y="157"/>
                  </a:lnTo>
                  <a:lnTo>
                    <a:pt x="288" y="161"/>
                  </a:lnTo>
                  <a:lnTo>
                    <a:pt x="286" y="166"/>
                  </a:lnTo>
                  <a:lnTo>
                    <a:pt x="283" y="167"/>
                  </a:lnTo>
                  <a:lnTo>
                    <a:pt x="279" y="160"/>
                  </a:lnTo>
                  <a:lnTo>
                    <a:pt x="279" y="153"/>
                  </a:lnTo>
                  <a:lnTo>
                    <a:pt x="276" y="147"/>
                  </a:lnTo>
                  <a:lnTo>
                    <a:pt x="278" y="144"/>
                  </a:lnTo>
                  <a:lnTo>
                    <a:pt x="278" y="138"/>
                  </a:lnTo>
                  <a:lnTo>
                    <a:pt x="279" y="134"/>
                  </a:lnTo>
                  <a:lnTo>
                    <a:pt x="279" y="128"/>
                  </a:lnTo>
                  <a:lnTo>
                    <a:pt x="276" y="121"/>
                  </a:lnTo>
                  <a:lnTo>
                    <a:pt x="270" y="116"/>
                  </a:lnTo>
                  <a:lnTo>
                    <a:pt x="266" y="110"/>
                  </a:lnTo>
                  <a:lnTo>
                    <a:pt x="259" y="116"/>
                  </a:lnTo>
                  <a:lnTo>
                    <a:pt x="256" y="117"/>
                  </a:lnTo>
                  <a:lnTo>
                    <a:pt x="252" y="113"/>
                  </a:lnTo>
                  <a:lnTo>
                    <a:pt x="247" y="110"/>
                  </a:lnTo>
                  <a:lnTo>
                    <a:pt x="237" y="111"/>
                  </a:lnTo>
                  <a:lnTo>
                    <a:pt x="233" y="114"/>
                  </a:lnTo>
                  <a:lnTo>
                    <a:pt x="227" y="113"/>
                  </a:lnTo>
                  <a:lnTo>
                    <a:pt x="225" y="104"/>
                  </a:lnTo>
                  <a:lnTo>
                    <a:pt x="225" y="98"/>
                  </a:lnTo>
                  <a:lnTo>
                    <a:pt x="220" y="97"/>
                  </a:lnTo>
                  <a:lnTo>
                    <a:pt x="216" y="94"/>
                  </a:lnTo>
                  <a:lnTo>
                    <a:pt x="212" y="83"/>
                  </a:lnTo>
                  <a:lnTo>
                    <a:pt x="210" y="71"/>
                  </a:lnTo>
                  <a:lnTo>
                    <a:pt x="210" y="55"/>
                  </a:lnTo>
                  <a:lnTo>
                    <a:pt x="207" y="51"/>
                  </a:lnTo>
                  <a:lnTo>
                    <a:pt x="172" y="33"/>
                  </a:lnTo>
                  <a:lnTo>
                    <a:pt x="170" y="30"/>
                  </a:lnTo>
                  <a:lnTo>
                    <a:pt x="172" y="24"/>
                  </a:lnTo>
                  <a:lnTo>
                    <a:pt x="173" y="20"/>
                  </a:lnTo>
                  <a:lnTo>
                    <a:pt x="174" y="15"/>
                  </a:lnTo>
                  <a:lnTo>
                    <a:pt x="169" y="8"/>
                  </a:lnTo>
                  <a:lnTo>
                    <a:pt x="160" y="8"/>
                  </a:lnTo>
                  <a:lnTo>
                    <a:pt x="156" y="8"/>
                  </a:lnTo>
                  <a:lnTo>
                    <a:pt x="153" y="10"/>
                  </a:lnTo>
                  <a:lnTo>
                    <a:pt x="152" y="10"/>
                  </a:lnTo>
                  <a:lnTo>
                    <a:pt x="150" y="8"/>
                  </a:lnTo>
                  <a:lnTo>
                    <a:pt x="150" y="4"/>
                  </a:lnTo>
                  <a:lnTo>
                    <a:pt x="146" y="0"/>
                  </a:lnTo>
                  <a:lnTo>
                    <a:pt x="141" y="2"/>
                  </a:lnTo>
                  <a:lnTo>
                    <a:pt x="137" y="7"/>
                  </a:lnTo>
                  <a:lnTo>
                    <a:pt x="131" y="8"/>
                  </a:lnTo>
                  <a:lnTo>
                    <a:pt x="129" y="8"/>
                  </a:lnTo>
                  <a:lnTo>
                    <a:pt x="124" y="11"/>
                  </a:lnTo>
                  <a:lnTo>
                    <a:pt x="119" y="11"/>
                  </a:lnTo>
                  <a:lnTo>
                    <a:pt x="113" y="10"/>
                  </a:lnTo>
                  <a:lnTo>
                    <a:pt x="110" y="8"/>
                  </a:lnTo>
                  <a:lnTo>
                    <a:pt x="103" y="10"/>
                  </a:lnTo>
                  <a:lnTo>
                    <a:pt x="101" y="12"/>
                  </a:lnTo>
                  <a:lnTo>
                    <a:pt x="99" y="20"/>
                  </a:lnTo>
                  <a:lnTo>
                    <a:pt x="97" y="25"/>
                  </a:lnTo>
                  <a:lnTo>
                    <a:pt x="96" y="27"/>
                  </a:lnTo>
                  <a:lnTo>
                    <a:pt x="91" y="25"/>
                  </a:lnTo>
                  <a:lnTo>
                    <a:pt x="86" y="24"/>
                  </a:lnTo>
                  <a:lnTo>
                    <a:pt x="78" y="25"/>
                  </a:lnTo>
                  <a:lnTo>
                    <a:pt x="74" y="27"/>
                  </a:lnTo>
                  <a:lnTo>
                    <a:pt x="68" y="31"/>
                  </a:lnTo>
                  <a:lnTo>
                    <a:pt x="63" y="35"/>
                  </a:lnTo>
                  <a:lnTo>
                    <a:pt x="58" y="38"/>
                  </a:lnTo>
                  <a:lnTo>
                    <a:pt x="46" y="40"/>
                  </a:lnTo>
                  <a:lnTo>
                    <a:pt x="30" y="34"/>
                  </a:lnTo>
                  <a:lnTo>
                    <a:pt x="17" y="27"/>
                  </a:lnTo>
                  <a:lnTo>
                    <a:pt x="20" y="35"/>
                  </a:lnTo>
                  <a:lnTo>
                    <a:pt x="28" y="50"/>
                  </a:lnTo>
                  <a:lnTo>
                    <a:pt x="24" y="55"/>
                  </a:lnTo>
                  <a:lnTo>
                    <a:pt x="21" y="61"/>
                  </a:lnTo>
                  <a:lnTo>
                    <a:pt x="21" y="65"/>
                  </a:lnTo>
                  <a:lnTo>
                    <a:pt x="24" y="73"/>
                  </a:lnTo>
                  <a:lnTo>
                    <a:pt x="27" y="78"/>
                  </a:lnTo>
                  <a:lnTo>
                    <a:pt x="28" y="83"/>
                  </a:lnTo>
                  <a:lnTo>
                    <a:pt x="25" y="93"/>
                  </a:lnTo>
                  <a:lnTo>
                    <a:pt x="17" y="107"/>
                  </a:lnTo>
                  <a:lnTo>
                    <a:pt x="11" y="111"/>
                  </a:lnTo>
                  <a:lnTo>
                    <a:pt x="8" y="114"/>
                  </a:lnTo>
                  <a:lnTo>
                    <a:pt x="10" y="118"/>
                  </a:lnTo>
                  <a:lnTo>
                    <a:pt x="5" y="121"/>
                  </a:lnTo>
                  <a:lnTo>
                    <a:pt x="3" y="118"/>
                  </a:lnTo>
                  <a:lnTo>
                    <a:pt x="0" y="117"/>
                  </a:lnTo>
                  <a:lnTo>
                    <a:pt x="1" y="121"/>
                  </a:lnTo>
                  <a:lnTo>
                    <a:pt x="1" y="127"/>
                  </a:lnTo>
                  <a:lnTo>
                    <a:pt x="0" y="134"/>
                  </a:lnTo>
                  <a:lnTo>
                    <a:pt x="1" y="138"/>
                  </a:lnTo>
                  <a:lnTo>
                    <a:pt x="3" y="149"/>
                  </a:lnTo>
                  <a:lnTo>
                    <a:pt x="1" y="153"/>
                  </a:lnTo>
                  <a:lnTo>
                    <a:pt x="4" y="157"/>
                  </a:lnTo>
                  <a:lnTo>
                    <a:pt x="4" y="166"/>
                  </a:lnTo>
                  <a:lnTo>
                    <a:pt x="4" y="171"/>
                  </a:lnTo>
                  <a:lnTo>
                    <a:pt x="3" y="176"/>
                  </a:lnTo>
                  <a:lnTo>
                    <a:pt x="3" y="180"/>
                  </a:lnTo>
                  <a:lnTo>
                    <a:pt x="4" y="183"/>
                  </a:lnTo>
                  <a:lnTo>
                    <a:pt x="4" y="186"/>
                  </a:lnTo>
                  <a:lnTo>
                    <a:pt x="5" y="187"/>
                  </a:lnTo>
                  <a:lnTo>
                    <a:pt x="8" y="189"/>
                  </a:lnTo>
                  <a:lnTo>
                    <a:pt x="10" y="189"/>
                  </a:lnTo>
                  <a:lnTo>
                    <a:pt x="15" y="191"/>
                  </a:lnTo>
                  <a:lnTo>
                    <a:pt x="18" y="191"/>
                  </a:lnTo>
                  <a:lnTo>
                    <a:pt x="21" y="191"/>
                  </a:lnTo>
                  <a:lnTo>
                    <a:pt x="25" y="193"/>
                  </a:lnTo>
                  <a:lnTo>
                    <a:pt x="31" y="196"/>
                  </a:lnTo>
                  <a:lnTo>
                    <a:pt x="34" y="197"/>
                  </a:lnTo>
                  <a:lnTo>
                    <a:pt x="41" y="193"/>
                  </a:lnTo>
                  <a:lnTo>
                    <a:pt x="47" y="193"/>
                  </a:lnTo>
                  <a:lnTo>
                    <a:pt x="50" y="204"/>
                  </a:lnTo>
                  <a:lnTo>
                    <a:pt x="54" y="207"/>
                  </a:lnTo>
                  <a:lnTo>
                    <a:pt x="58" y="206"/>
                  </a:lnTo>
                  <a:lnTo>
                    <a:pt x="63" y="206"/>
                  </a:lnTo>
                  <a:lnTo>
                    <a:pt x="67" y="209"/>
                  </a:lnTo>
                  <a:lnTo>
                    <a:pt x="68" y="213"/>
                  </a:lnTo>
                  <a:lnTo>
                    <a:pt x="67" y="214"/>
                  </a:lnTo>
                  <a:lnTo>
                    <a:pt x="67" y="217"/>
                  </a:lnTo>
                  <a:lnTo>
                    <a:pt x="63" y="220"/>
                  </a:lnTo>
                  <a:lnTo>
                    <a:pt x="61" y="224"/>
                  </a:lnTo>
                  <a:lnTo>
                    <a:pt x="64" y="229"/>
                  </a:lnTo>
                  <a:lnTo>
                    <a:pt x="70" y="239"/>
                  </a:lnTo>
                  <a:lnTo>
                    <a:pt x="71" y="237"/>
                  </a:lnTo>
                  <a:lnTo>
                    <a:pt x="76" y="236"/>
                  </a:lnTo>
                  <a:lnTo>
                    <a:pt x="81" y="233"/>
                  </a:lnTo>
                  <a:lnTo>
                    <a:pt x="84" y="232"/>
                  </a:lnTo>
                  <a:lnTo>
                    <a:pt x="88" y="237"/>
                  </a:lnTo>
                  <a:lnTo>
                    <a:pt x="93" y="242"/>
                  </a:lnTo>
                  <a:lnTo>
                    <a:pt x="96" y="246"/>
                  </a:lnTo>
                  <a:lnTo>
                    <a:pt x="97" y="247"/>
                  </a:lnTo>
                  <a:lnTo>
                    <a:pt x="99" y="244"/>
                  </a:lnTo>
                  <a:lnTo>
                    <a:pt x="100" y="243"/>
                  </a:lnTo>
                  <a:lnTo>
                    <a:pt x="103" y="240"/>
                  </a:lnTo>
                  <a:lnTo>
                    <a:pt x="106" y="244"/>
                  </a:lnTo>
                  <a:lnTo>
                    <a:pt x="103" y="249"/>
                  </a:lnTo>
                  <a:lnTo>
                    <a:pt x="101" y="254"/>
                  </a:lnTo>
                  <a:lnTo>
                    <a:pt x="107" y="260"/>
                  </a:lnTo>
                  <a:lnTo>
                    <a:pt x="111" y="259"/>
                  </a:lnTo>
                  <a:lnTo>
                    <a:pt x="114" y="256"/>
                  </a:lnTo>
                  <a:lnTo>
                    <a:pt x="116" y="257"/>
                  </a:lnTo>
                  <a:lnTo>
                    <a:pt x="119" y="259"/>
                  </a:lnTo>
                  <a:lnTo>
                    <a:pt x="120" y="265"/>
                  </a:lnTo>
                  <a:lnTo>
                    <a:pt x="120" y="267"/>
                  </a:lnTo>
                  <a:lnTo>
                    <a:pt x="124" y="272"/>
                  </a:lnTo>
                  <a:lnTo>
                    <a:pt x="126" y="273"/>
                  </a:lnTo>
                  <a:lnTo>
                    <a:pt x="127" y="275"/>
                  </a:lnTo>
                  <a:lnTo>
                    <a:pt x="127" y="276"/>
                  </a:lnTo>
                  <a:lnTo>
                    <a:pt x="129" y="279"/>
                  </a:lnTo>
                  <a:lnTo>
                    <a:pt x="133" y="282"/>
                  </a:lnTo>
                  <a:lnTo>
                    <a:pt x="134" y="285"/>
                  </a:lnTo>
                  <a:lnTo>
                    <a:pt x="134" y="290"/>
                  </a:lnTo>
                  <a:lnTo>
                    <a:pt x="134" y="297"/>
                  </a:lnTo>
                  <a:lnTo>
                    <a:pt x="131" y="302"/>
                  </a:lnTo>
                  <a:lnTo>
                    <a:pt x="130" y="305"/>
                  </a:lnTo>
                  <a:lnTo>
                    <a:pt x="133" y="310"/>
                  </a:lnTo>
                  <a:lnTo>
                    <a:pt x="133" y="313"/>
                  </a:lnTo>
                  <a:lnTo>
                    <a:pt x="133" y="319"/>
                  </a:lnTo>
                  <a:lnTo>
                    <a:pt x="130" y="322"/>
                  </a:lnTo>
                  <a:lnTo>
                    <a:pt x="129" y="325"/>
                  </a:lnTo>
                  <a:lnTo>
                    <a:pt x="124" y="328"/>
                  </a:lnTo>
                  <a:lnTo>
                    <a:pt x="121" y="335"/>
                  </a:lnTo>
                  <a:lnTo>
                    <a:pt x="124" y="338"/>
                  </a:lnTo>
                  <a:lnTo>
                    <a:pt x="123" y="342"/>
                  </a:lnTo>
                  <a:lnTo>
                    <a:pt x="121" y="346"/>
                  </a:lnTo>
                  <a:lnTo>
                    <a:pt x="116" y="350"/>
                  </a:lnTo>
                  <a:lnTo>
                    <a:pt x="109" y="352"/>
                  </a:lnTo>
                  <a:lnTo>
                    <a:pt x="97" y="356"/>
                  </a:lnTo>
                  <a:lnTo>
                    <a:pt x="90" y="360"/>
                  </a:lnTo>
                  <a:lnTo>
                    <a:pt x="86" y="365"/>
                  </a:lnTo>
                  <a:lnTo>
                    <a:pt x="78" y="365"/>
                  </a:lnTo>
                  <a:lnTo>
                    <a:pt x="77" y="368"/>
                  </a:lnTo>
                  <a:lnTo>
                    <a:pt x="73" y="369"/>
                  </a:lnTo>
                  <a:lnTo>
                    <a:pt x="71" y="375"/>
                  </a:lnTo>
                  <a:lnTo>
                    <a:pt x="77" y="379"/>
                  </a:lnTo>
                  <a:lnTo>
                    <a:pt x="80" y="379"/>
                  </a:lnTo>
                  <a:lnTo>
                    <a:pt x="88" y="381"/>
                  </a:lnTo>
                  <a:lnTo>
                    <a:pt x="94" y="381"/>
                  </a:lnTo>
                  <a:lnTo>
                    <a:pt x="96" y="386"/>
                  </a:lnTo>
                  <a:lnTo>
                    <a:pt x="100" y="391"/>
                  </a:lnTo>
                  <a:lnTo>
                    <a:pt x="100" y="393"/>
                  </a:lnTo>
                  <a:lnTo>
                    <a:pt x="107" y="393"/>
                  </a:lnTo>
                  <a:lnTo>
                    <a:pt x="111" y="395"/>
                  </a:lnTo>
                  <a:lnTo>
                    <a:pt x="116" y="398"/>
                  </a:lnTo>
                  <a:lnTo>
                    <a:pt x="120" y="398"/>
                  </a:lnTo>
                  <a:lnTo>
                    <a:pt x="121" y="396"/>
                  </a:lnTo>
                  <a:lnTo>
                    <a:pt x="123" y="393"/>
                  </a:lnTo>
                  <a:lnTo>
                    <a:pt x="129" y="391"/>
                  </a:lnTo>
                  <a:lnTo>
                    <a:pt x="133" y="391"/>
                  </a:lnTo>
                  <a:lnTo>
                    <a:pt x="139" y="391"/>
                  </a:lnTo>
                  <a:lnTo>
                    <a:pt x="144" y="392"/>
                  </a:lnTo>
                  <a:lnTo>
                    <a:pt x="147" y="393"/>
                  </a:lnTo>
                  <a:lnTo>
                    <a:pt x="149" y="395"/>
                  </a:lnTo>
                  <a:lnTo>
                    <a:pt x="149" y="403"/>
                  </a:lnTo>
                  <a:lnTo>
                    <a:pt x="150" y="412"/>
                  </a:lnTo>
                  <a:lnTo>
                    <a:pt x="154" y="421"/>
                  </a:lnTo>
                  <a:lnTo>
                    <a:pt x="154" y="423"/>
                  </a:lnTo>
                  <a:lnTo>
                    <a:pt x="154" y="425"/>
                  </a:lnTo>
                  <a:lnTo>
                    <a:pt x="152" y="426"/>
                  </a:lnTo>
                  <a:lnTo>
                    <a:pt x="147" y="428"/>
                  </a:lnTo>
                  <a:lnTo>
                    <a:pt x="141" y="428"/>
                  </a:lnTo>
                  <a:lnTo>
                    <a:pt x="140" y="429"/>
                  </a:lnTo>
                  <a:lnTo>
                    <a:pt x="137" y="432"/>
                  </a:lnTo>
                  <a:lnTo>
                    <a:pt x="141" y="438"/>
                  </a:lnTo>
                  <a:lnTo>
                    <a:pt x="143" y="441"/>
                  </a:lnTo>
                  <a:lnTo>
                    <a:pt x="147" y="446"/>
                  </a:lnTo>
                  <a:lnTo>
                    <a:pt x="150" y="448"/>
                  </a:lnTo>
                  <a:lnTo>
                    <a:pt x="152" y="449"/>
                  </a:lnTo>
                  <a:lnTo>
                    <a:pt x="154" y="449"/>
                  </a:lnTo>
                  <a:lnTo>
                    <a:pt x="156" y="448"/>
                  </a:lnTo>
                  <a:lnTo>
                    <a:pt x="159" y="448"/>
                  </a:lnTo>
                  <a:lnTo>
                    <a:pt x="160" y="449"/>
                  </a:lnTo>
                  <a:lnTo>
                    <a:pt x="163" y="451"/>
                  </a:lnTo>
                  <a:lnTo>
                    <a:pt x="166" y="456"/>
                  </a:lnTo>
                  <a:lnTo>
                    <a:pt x="169" y="46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78" name="Freeform 26"/>
            <p:cNvSpPr>
              <a:spLocks/>
            </p:cNvSpPr>
            <p:nvPr/>
          </p:nvSpPr>
          <p:spPr bwMode="auto">
            <a:xfrm>
              <a:off x="2786682" y="4043596"/>
              <a:ext cx="280863" cy="263258"/>
            </a:xfrm>
            <a:custGeom>
              <a:avLst/>
              <a:gdLst>
                <a:gd name="T0" fmla="*/ 446 w 461"/>
                <a:gd name="T1" fmla="*/ 159 h 399"/>
                <a:gd name="T2" fmla="*/ 451 w 461"/>
                <a:gd name="T3" fmla="*/ 137 h 399"/>
                <a:gd name="T4" fmla="*/ 438 w 461"/>
                <a:gd name="T5" fmla="*/ 101 h 399"/>
                <a:gd name="T6" fmla="*/ 432 w 461"/>
                <a:gd name="T7" fmla="*/ 86 h 399"/>
                <a:gd name="T8" fmla="*/ 419 w 461"/>
                <a:gd name="T9" fmla="*/ 82 h 399"/>
                <a:gd name="T10" fmla="*/ 409 w 461"/>
                <a:gd name="T11" fmla="*/ 74 h 399"/>
                <a:gd name="T12" fmla="*/ 378 w 461"/>
                <a:gd name="T13" fmla="*/ 89 h 399"/>
                <a:gd name="T14" fmla="*/ 358 w 461"/>
                <a:gd name="T15" fmla="*/ 75 h 399"/>
                <a:gd name="T16" fmla="*/ 327 w 461"/>
                <a:gd name="T17" fmla="*/ 68 h 399"/>
                <a:gd name="T18" fmla="*/ 330 w 461"/>
                <a:gd name="T19" fmla="*/ 33 h 399"/>
                <a:gd name="T20" fmla="*/ 315 w 461"/>
                <a:gd name="T21" fmla="*/ 35 h 399"/>
                <a:gd name="T22" fmla="*/ 310 w 461"/>
                <a:gd name="T23" fmla="*/ 56 h 399"/>
                <a:gd name="T24" fmla="*/ 283 w 461"/>
                <a:gd name="T25" fmla="*/ 78 h 399"/>
                <a:gd name="T26" fmla="*/ 254 w 461"/>
                <a:gd name="T27" fmla="*/ 76 h 399"/>
                <a:gd name="T28" fmla="*/ 224 w 461"/>
                <a:gd name="T29" fmla="*/ 71 h 399"/>
                <a:gd name="T30" fmla="*/ 193 w 461"/>
                <a:gd name="T31" fmla="*/ 36 h 399"/>
                <a:gd name="T32" fmla="*/ 156 w 461"/>
                <a:gd name="T33" fmla="*/ 35 h 399"/>
                <a:gd name="T34" fmla="*/ 136 w 461"/>
                <a:gd name="T35" fmla="*/ 9 h 399"/>
                <a:gd name="T36" fmla="*/ 126 w 461"/>
                <a:gd name="T37" fmla="*/ 3 h 399"/>
                <a:gd name="T38" fmla="*/ 124 w 461"/>
                <a:gd name="T39" fmla="*/ 16 h 399"/>
                <a:gd name="T40" fmla="*/ 111 w 461"/>
                <a:gd name="T41" fmla="*/ 16 h 399"/>
                <a:gd name="T42" fmla="*/ 108 w 461"/>
                <a:gd name="T43" fmla="*/ 8 h 399"/>
                <a:gd name="T44" fmla="*/ 98 w 461"/>
                <a:gd name="T45" fmla="*/ 23 h 399"/>
                <a:gd name="T46" fmla="*/ 75 w 461"/>
                <a:gd name="T47" fmla="*/ 5 h 399"/>
                <a:gd name="T48" fmla="*/ 44 w 461"/>
                <a:gd name="T49" fmla="*/ 19 h 399"/>
                <a:gd name="T50" fmla="*/ 21 w 461"/>
                <a:gd name="T51" fmla="*/ 71 h 399"/>
                <a:gd name="T52" fmla="*/ 27 w 461"/>
                <a:gd name="T53" fmla="*/ 79 h 399"/>
                <a:gd name="T54" fmla="*/ 48 w 461"/>
                <a:gd name="T55" fmla="*/ 84 h 399"/>
                <a:gd name="T56" fmla="*/ 22 w 461"/>
                <a:gd name="T57" fmla="*/ 105 h 399"/>
                <a:gd name="T58" fmla="*/ 5 w 461"/>
                <a:gd name="T59" fmla="*/ 134 h 399"/>
                <a:gd name="T60" fmla="*/ 8 w 461"/>
                <a:gd name="T61" fmla="*/ 190 h 399"/>
                <a:gd name="T62" fmla="*/ 28 w 461"/>
                <a:gd name="T63" fmla="*/ 194 h 399"/>
                <a:gd name="T64" fmla="*/ 37 w 461"/>
                <a:gd name="T65" fmla="*/ 220 h 399"/>
                <a:gd name="T66" fmla="*/ 45 w 461"/>
                <a:gd name="T67" fmla="*/ 227 h 399"/>
                <a:gd name="T68" fmla="*/ 31 w 461"/>
                <a:gd name="T69" fmla="*/ 234 h 399"/>
                <a:gd name="T70" fmla="*/ 47 w 461"/>
                <a:gd name="T71" fmla="*/ 245 h 399"/>
                <a:gd name="T72" fmla="*/ 42 w 461"/>
                <a:gd name="T73" fmla="*/ 251 h 399"/>
                <a:gd name="T74" fmla="*/ 47 w 461"/>
                <a:gd name="T75" fmla="*/ 261 h 399"/>
                <a:gd name="T76" fmla="*/ 54 w 461"/>
                <a:gd name="T77" fmla="*/ 287 h 399"/>
                <a:gd name="T78" fmla="*/ 75 w 461"/>
                <a:gd name="T79" fmla="*/ 307 h 399"/>
                <a:gd name="T80" fmla="*/ 54 w 461"/>
                <a:gd name="T81" fmla="*/ 307 h 399"/>
                <a:gd name="T82" fmla="*/ 60 w 461"/>
                <a:gd name="T83" fmla="*/ 323 h 399"/>
                <a:gd name="T84" fmla="*/ 71 w 461"/>
                <a:gd name="T85" fmla="*/ 331 h 399"/>
                <a:gd name="T86" fmla="*/ 73 w 461"/>
                <a:gd name="T87" fmla="*/ 347 h 399"/>
                <a:gd name="T88" fmla="*/ 80 w 461"/>
                <a:gd name="T89" fmla="*/ 363 h 399"/>
                <a:gd name="T90" fmla="*/ 68 w 461"/>
                <a:gd name="T91" fmla="*/ 374 h 399"/>
                <a:gd name="T92" fmla="*/ 78 w 461"/>
                <a:gd name="T93" fmla="*/ 389 h 399"/>
                <a:gd name="T94" fmla="*/ 116 w 461"/>
                <a:gd name="T95" fmla="*/ 391 h 399"/>
                <a:gd name="T96" fmla="*/ 146 w 461"/>
                <a:gd name="T97" fmla="*/ 399 h 399"/>
                <a:gd name="T98" fmla="*/ 170 w 461"/>
                <a:gd name="T99" fmla="*/ 370 h 399"/>
                <a:gd name="T100" fmla="*/ 197 w 461"/>
                <a:gd name="T101" fmla="*/ 351 h 399"/>
                <a:gd name="T102" fmla="*/ 210 w 461"/>
                <a:gd name="T103" fmla="*/ 353 h 399"/>
                <a:gd name="T104" fmla="*/ 219 w 461"/>
                <a:gd name="T105" fmla="*/ 337 h 399"/>
                <a:gd name="T106" fmla="*/ 237 w 461"/>
                <a:gd name="T107" fmla="*/ 350 h 399"/>
                <a:gd name="T108" fmla="*/ 254 w 461"/>
                <a:gd name="T109" fmla="*/ 331 h 399"/>
                <a:gd name="T110" fmla="*/ 286 w 461"/>
                <a:gd name="T111" fmla="*/ 326 h 399"/>
                <a:gd name="T112" fmla="*/ 320 w 461"/>
                <a:gd name="T113" fmla="*/ 314 h 399"/>
                <a:gd name="T114" fmla="*/ 340 w 461"/>
                <a:gd name="T115" fmla="*/ 298 h 399"/>
                <a:gd name="T116" fmla="*/ 352 w 461"/>
                <a:gd name="T117" fmla="*/ 277 h 399"/>
                <a:gd name="T118" fmla="*/ 416 w 461"/>
                <a:gd name="T119" fmla="*/ 241 h 399"/>
                <a:gd name="T120" fmla="*/ 442 w 461"/>
                <a:gd name="T121" fmla="*/ 227 h 399"/>
                <a:gd name="T122" fmla="*/ 445 w 461"/>
                <a:gd name="T123" fmla="*/ 194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1" h="399">
                  <a:moveTo>
                    <a:pt x="461" y="185"/>
                  </a:moveTo>
                  <a:lnTo>
                    <a:pt x="456" y="179"/>
                  </a:lnTo>
                  <a:lnTo>
                    <a:pt x="449" y="169"/>
                  </a:lnTo>
                  <a:lnTo>
                    <a:pt x="445" y="162"/>
                  </a:lnTo>
                  <a:lnTo>
                    <a:pt x="446" y="159"/>
                  </a:lnTo>
                  <a:lnTo>
                    <a:pt x="446" y="159"/>
                  </a:lnTo>
                  <a:lnTo>
                    <a:pt x="449" y="158"/>
                  </a:lnTo>
                  <a:lnTo>
                    <a:pt x="448" y="154"/>
                  </a:lnTo>
                  <a:lnTo>
                    <a:pt x="445" y="149"/>
                  </a:lnTo>
                  <a:lnTo>
                    <a:pt x="444" y="148"/>
                  </a:lnTo>
                  <a:lnTo>
                    <a:pt x="445" y="145"/>
                  </a:lnTo>
                  <a:lnTo>
                    <a:pt x="451" y="137"/>
                  </a:lnTo>
                  <a:lnTo>
                    <a:pt x="446" y="128"/>
                  </a:lnTo>
                  <a:lnTo>
                    <a:pt x="436" y="112"/>
                  </a:lnTo>
                  <a:lnTo>
                    <a:pt x="436" y="112"/>
                  </a:lnTo>
                  <a:lnTo>
                    <a:pt x="436" y="105"/>
                  </a:lnTo>
                  <a:lnTo>
                    <a:pt x="436" y="105"/>
                  </a:lnTo>
                  <a:lnTo>
                    <a:pt x="438" y="101"/>
                  </a:lnTo>
                  <a:lnTo>
                    <a:pt x="438" y="101"/>
                  </a:lnTo>
                  <a:lnTo>
                    <a:pt x="439" y="98"/>
                  </a:lnTo>
                  <a:lnTo>
                    <a:pt x="436" y="95"/>
                  </a:lnTo>
                  <a:lnTo>
                    <a:pt x="433" y="88"/>
                  </a:lnTo>
                  <a:lnTo>
                    <a:pt x="433" y="88"/>
                  </a:lnTo>
                  <a:lnTo>
                    <a:pt x="432" y="86"/>
                  </a:lnTo>
                  <a:lnTo>
                    <a:pt x="429" y="86"/>
                  </a:lnTo>
                  <a:lnTo>
                    <a:pt x="422" y="86"/>
                  </a:lnTo>
                  <a:lnTo>
                    <a:pt x="422" y="86"/>
                  </a:lnTo>
                  <a:lnTo>
                    <a:pt x="421" y="85"/>
                  </a:lnTo>
                  <a:lnTo>
                    <a:pt x="419" y="84"/>
                  </a:lnTo>
                  <a:lnTo>
                    <a:pt x="419" y="82"/>
                  </a:lnTo>
                  <a:lnTo>
                    <a:pt x="418" y="81"/>
                  </a:lnTo>
                  <a:lnTo>
                    <a:pt x="418" y="81"/>
                  </a:lnTo>
                  <a:lnTo>
                    <a:pt x="419" y="74"/>
                  </a:lnTo>
                  <a:lnTo>
                    <a:pt x="418" y="71"/>
                  </a:lnTo>
                  <a:lnTo>
                    <a:pt x="415" y="72"/>
                  </a:lnTo>
                  <a:lnTo>
                    <a:pt x="409" y="74"/>
                  </a:lnTo>
                  <a:lnTo>
                    <a:pt x="405" y="74"/>
                  </a:lnTo>
                  <a:lnTo>
                    <a:pt x="399" y="74"/>
                  </a:lnTo>
                  <a:lnTo>
                    <a:pt x="393" y="74"/>
                  </a:lnTo>
                  <a:lnTo>
                    <a:pt x="388" y="75"/>
                  </a:lnTo>
                  <a:lnTo>
                    <a:pt x="385" y="82"/>
                  </a:lnTo>
                  <a:lnTo>
                    <a:pt x="378" y="89"/>
                  </a:lnTo>
                  <a:lnTo>
                    <a:pt x="370" y="96"/>
                  </a:lnTo>
                  <a:lnTo>
                    <a:pt x="366" y="96"/>
                  </a:lnTo>
                  <a:lnTo>
                    <a:pt x="363" y="92"/>
                  </a:lnTo>
                  <a:lnTo>
                    <a:pt x="359" y="86"/>
                  </a:lnTo>
                  <a:lnTo>
                    <a:pt x="356" y="81"/>
                  </a:lnTo>
                  <a:lnTo>
                    <a:pt x="358" y="75"/>
                  </a:lnTo>
                  <a:lnTo>
                    <a:pt x="359" y="68"/>
                  </a:lnTo>
                  <a:lnTo>
                    <a:pt x="355" y="65"/>
                  </a:lnTo>
                  <a:lnTo>
                    <a:pt x="353" y="66"/>
                  </a:lnTo>
                  <a:lnTo>
                    <a:pt x="348" y="66"/>
                  </a:lnTo>
                  <a:lnTo>
                    <a:pt x="335" y="68"/>
                  </a:lnTo>
                  <a:lnTo>
                    <a:pt x="327" y="68"/>
                  </a:lnTo>
                  <a:lnTo>
                    <a:pt x="333" y="63"/>
                  </a:lnTo>
                  <a:lnTo>
                    <a:pt x="339" y="56"/>
                  </a:lnTo>
                  <a:lnTo>
                    <a:pt x="340" y="46"/>
                  </a:lnTo>
                  <a:lnTo>
                    <a:pt x="340" y="42"/>
                  </a:lnTo>
                  <a:lnTo>
                    <a:pt x="335" y="42"/>
                  </a:lnTo>
                  <a:lnTo>
                    <a:pt x="330" y="33"/>
                  </a:lnTo>
                  <a:lnTo>
                    <a:pt x="329" y="25"/>
                  </a:lnTo>
                  <a:lnTo>
                    <a:pt x="327" y="22"/>
                  </a:lnTo>
                  <a:lnTo>
                    <a:pt x="325" y="23"/>
                  </a:lnTo>
                  <a:lnTo>
                    <a:pt x="316" y="25"/>
                  </a:lnTo>
                  <a:lnTo>
                    <a:pt x="315" y="31"/>
                  </a:lnTo>
                  <a:lnTo>
                    <a:pt x="315" y="35"/>
                  </a:lnTo>
                  <a:lnTo>
                    <a:pt x="316" y="36"/>
                  </a:lnTo>
                  <a:lnTo>
                    <a:pt x="319" y="41"/>
                  </a:lnTo>
                  <a:lnTo>
                    <a:pt x="317" y="45"/>
                  </a:lnTo>
                  <a:lnTo>
                    <a:pt x="316" y="49"/>
                  </a:lnTo>
                  <a:lnTo>
                    <a:pt x="313" y="53"/>
                  </a:lnTo>
                  <a:lnTo>
                    <a:pt x="310" y="56"/>
                  </a:lnTo>
                  <a:lnTo>
                    <a:pt x="305" y="59"/>
                  </a:lnTo>
                  <a:lnTo>
                    <a:pt x="300" y="62"/>
                  </a:lnTo>
                  <a:lnTo>
                    <a:pt x="295" y="65"/>
                  </a:lnTo>
                  <a:lnTo>
                    <a:pt x="293" y="66"/>
                  </a:lnTo>
                  <a:lnTo>
                    <a:pt x="287" y="74"/>
                  </a:lnTo>
                  <a:lnTo>
                    <a:pt x="283" y="78"/>
                  </a:lnTo>
                  <a:lnTo>
                    <a:pt x="280" y="78"/>
                  </a:lnTo>
                  <a:lnTo>
                    <a:pt x="275" y="76"/>
                  </a:lnTo>
                  <a:lnTo>
                    <a:pt x="269" y="76"/>
                  </a:lnTo>
                  <a:lnTo>
                    <a:pt x="266" y="79"/>
                  </a:lnTo>
                  <a:lnTo>
                    <a:pt x="260" y="79"/>
                  </a:lnTo>
                  <a:lnTo>
                    <a:pt x="254" y="76"/>
                  </a:lnTo>
                  <a:lnTo>
                    <a:pt x="254" y="76"/>
                  </a:lnTo>
                  <a:lnTo>
                    <a:pt x="253" y="75"/>
                  </a:lnTo>
                  <a:lnTo>
                    <a:pt x="249" y="76"/>
                  </a:lnTo>
                  <a:lnTo>
                    <a:pt x="249" y="76"/>
                  </a:lnTo>
                  <a:lnTo>
                    <a:pt x="244" y="78"/>
                  </a:lnTo>
                  <a:lnTo>
                    <a:pt x="224" y="71"/>
                  </a:lnTo>
                  <a:lnTo>
                    <a:pt x="220" y="65"/>
                  </a:lnTo>
                  <a:lnTo>
                    <a:pt x="213" y="69"/>
                  </a:lnTo>
                  <a:lnTo>
                    <a:pt x="206" y="49"/>
                  </a:lnTo>
                  <a:lnTo>
                    <a:pt x="199" y="49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90" y="35"/>
                  </a:lnTo>
                  <a:lnTo>
                    <a:pt x="183" y="31"/>
                  </a:lnTo>
                  <a:lnTo>
                    <a:pt x="183" y="31"/>
                  </a:lnTo>
                  <a:lnTo>
                    <a:pt x="176" y="26"/>
                  </a:lnTo>
                  <a:lnTo>
                    <a:pt x="173" y="25"/>
                  </a:lnTo>
                  <a:lnTo>
                    <a:pt x="156" y="35"/>
                  </a:lnTo>
                  <a:lnTo>
                    <a:pt x="153" y="29"/>
                  </a:lnTo>
                  <a:lnTo>
                    <a:pt x="147" y="22"/>
                  </a:lnTo>
                  <a:lnTo>
                    <a:pt x="144" y="19"/>
                  </a:lnTo>
                  <a:lnTo>
                    <a:pt x="141" y="18"/>
                  </a:lnTo>
                  <a:lnTo>
                    <a:pt x="138" y="15"/>
                  </a:lnTo>
                  <a:lnTo>
                    <a:pt x="136" y="9"/>
                  </a:lnTo>
                  <a:lnTo>
                    <a:pt x="134" y="6"/>
                  </a:lnTo>
                  <a:lnTo>
                    <a:pt x="133" y="3"/>
                  </a:lnTo>
                  <a:lnTo>
                    <a:pt x="133" y="3"/>
                  </a:lnTo>
                  <a:lnTo>
                    <a:pt x="130" y="2"/>
                  </a:lnTo>
                  <a:lnTo>
                    <a:pt x="127" y="0"/>
                  </a:lnTo>
                  <a:lnTo>
                    <a:pt x="126" y="3"/>
                  </a:lnTo>
                  <a:lnTo>
                    <a:pt x="123" y="8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4" y="16"/>
                  </a:lnTo>
                  <a:lnTo>
                    <a:pt x="118" y="13"/>
                  </a:lnTo>
                  <a:lnTo>
                    <a:pt x="118" y="13"/>
                  </a:lnTo>
                  <a:lnTo>
                    <a:pt x="114" y="16"/>
                  </a:lnTo>
                  <a:lnTo>
                    <a:pt x="111" y="16"/>
                  </a:lnTo>
                  <a:lnTo>
                    <a:pt x="111" y="16"/>
                  </a:lnTo>
                  <a:lnTo>
                    <a:pt x="111" y="16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1" y="6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08" y="8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4" y="12"/>
                  </a:lnTo>
                  <a:lnTo>
                    <a:pt x="103" y="15"/>
                  </a:lnTo>
                  <a:lnTo>
                    <a:pt x="101" y="16"/>
                  </a:lnTo>
                  <a:lnTo>
                    <a:pt x="98" y="23"/>
                  </a:lnTo>
                  <a:lnTo>
                    <a:pt x="95" y="25"/>
                  </a:lnTo>
                  <a:lnTo>
                    <a:pt x="90" y="23"/>
                  </a:lnTo>
                  <a:lnTo>
                    <a:pt x="84" y="21"/>
                  </a:lnTo>
                  <a:lnTo>
                    <a:pt x="81" y="16"/>
                  </a:lnTo>
                  <a:lnTo>
                    <a:pt x="80" y="9"/>
                  </a:lnTo>
                  <a:lnTo>
                    <a:pt x="75" y="5"/>
                  </a:lnTo>
                  <a:lnTo>
                    <a:pt x="71" y="3"/>
                  </a:lnTo>
                  <a:lnTo>
                    <a:pt x="64" y="6"/>
                  </a:lnTo>
                  <a:lnTo>
                    <a:pt x="61" y="9"/>
                  </a:lnTo>
                  <a:lnTo>
                    <a:pt x="51" y="9"/>
                  </a:lnTo>
                  <a:lnTo>
                    <a:pt x="47" y="10"/>
                  </a:lnTo>
                  <a:lnTo>
                    <a:pt x="44" y="19"/>
                  </a:lnTo>
                  <a:lnTo>
                    <a:pt x="44" y="23"/>
                  </a:lnTo>
                  <a:lnTo>
                    <a:pt x="44" y="28"/>
                  </a:lnTo>
                  <a:lnTo>
                    <a:pt x="41" y="32"/>
                  </a:lnTo>
                  <a:lnTo>
                    <a:pt x="38" y="38"/>
                  </a:lnTo>
                  <a:lnTo>
                    <a:pt x="20" y="62"/>
                  </a:lnTo>
                  <a:lnTo>
                    <a:pt x="21" y="71"/>
                  </a:lnTo>
                  <a:lnTo>
                    <a:pt x="32" y="65"/>
                  </a:lnTo>
                  <a:lnTo>
                    <a:pt x="34" y="69"/>
                  </a:lnTo>
                  <a:lnTo>
                    <a:pt x="34" y="69"/>
                  </a:lnTo>
                  <a:lnTo>
                    <a:pt x="27" y="75"/>
                  </a:lnTo>
                  <a:lnTo>
                    <a:pt x="25" y="78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30" y="79"/>
                  </a:lnTo>
                  <a:lnTo>
                    <a:pt x="35" y="81"/>
                  </a:lnTo>
                  <a:lnTo>
                    <a:pt x="47" y="82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5" y="89"/>
                  </a:lnTo>
                  <a:lnTo>
                    <a:pt x="42" y="94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32" y="101"/>
                  </a:lnTo>
                  <a:lnTo>
                    <a:pt x="22" y="105"/>
                  </a:lnTo>
                  <a:lnTo>
                    <a:pt x="12" y="108"/>
                  </a:lnTo>
                  <a:lnTo>
                    <a:pt x="5" y="108"/>
                  </a:lnTo>
                  <a:lnTo>
                    <a:pt x="5" y="108"/>
                  </a:lnTo>
                  <a:lnTo>
                    <a:pt x="0" y="115"/>
                  </a:lnTo>
                  <a:lnTo>
                    <a:pt x="11" y="125"/>
                  </a:lnTo>
                  <a:lnTo>
                    <a:pt x="5" y="134"/>
                  </a:lnTo>
                  <a:lnTo>
                    <a:pt x="18" y="147"/>
                  </a:lnTo>
                  <a:lnTo>
                    <a:pt x="12" y="158"/>
                  </a:lnTo>
                  <a:lnTo>
                    <a:pt x="18" y="165"/>
                  </a:lnTo>
                  <a:lnTo>
                    <a:pt x="5" y="184"/>
                  </a:lnTo>
                  <a:lnTo>
                    <a:pt x="8" y="190"/>
                  </a:lnTo>
                  <a:lnTo>
                    <a:pt x="8" y="190"/>
                  </a:lnTo>
                  <a:lnTo>
                    <a:pt x="14" y="185"/>
                  </a:lnTo>
                  <a:lnTo>
                    <a:pt x="20" y="182"/>
                  </a:lnTo>
                  <a:lnTo>
                    <a:pt x="22" y="182"/>
                  </a:lnTo>
                  <a:lnTo>
                    <a:pt x="22" y="182"/>
                  </a:lnTo>
                  <a:lnTo>
                    <a:pt x="25" y="188"/>
                  </a:lnTo>
                  <a:lnTo>
                    <a:pt x="28" y="194"/>
                  </a:lnTo>
                  <a:lnTo>
                    <a:pt x="42" y="204"/>
                  </a:lnTo>
                  <a:lnTo>
                    <a:pt x="45" y="215"/>
                  </a:lnTo>
                  <a:lnTo>
                    <a:pt x="45" y="215"/>
                  </a:lnTo>
                  <a:lnTo>
                    <a:pt x="41" y="215"/>
                  </a:lnTo>
                  <a:lnTo>
                    <a:pt x="38" y="217"/>
                  </a:lnTo>
                  <a:lnTo>
                    <a:pt x="37" y="220"/>
                  </a:lnTo>
                  <a:lnTo>
                    <a:pt x="37" y="220"/>
                  </a:lnTo>
                  <a:lnTo>
                    <a:pt x="35" y="222"/>
                  </a:lnTo>
                  <a:lnTo>
                    <a:pt x="37" y="224"/>
                  </a:lnTo>
                  <a:lnTo>
                    <a:pt x="41" y="225"/>
                  </a:lnTo>
                  <a:lnTo>
                    <a:pt x="45" y="227"/>
                  </a:lnTo>
                  <a:lnTo>
                    <a:pt x="45" y="227"/>
                  </a:lnTo>
                  <a:lnTo>
                    <a:pt x="37" y="228"/>
                  </a:lnTo>
                  <a:lnTo>
                    <a:pt x="31" y="230"/>
                  </a:lnTo>
                  <a:lnTo>
                    <a:pt x="30" y="232"/>
                  </a:lnTo>
                  <a:lnTo>
                    <a:pt x="30" y="232"/>
                  </a:lnTo>
                  <a:lnTo>
                    <a:pt x="30" y="234"/>
                  </a:lnTo>
                  <a:lnTo>
                    <a:pt x="31" y="234"/>
                  </a:lnTo>
                  <a:lnTo>
                    <a:pt x="32" y="235"/>
                  </a:lnTo>
                  <a:lnTo>
                    <a:pt x="50" y="232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48" y="244"/>
                  </a:lnTo>
                  <a:lnTo>
                    <a:pt x="47" y="245"/>
                  </a:lnTo>
                  <a:lnTo>
                    <a:pt x="47" y="247"/>
                  </a:lnTo>
                  <a:lnTo>
                    <a:pt x="47" y="247"/>
                  </a:lnTo>
                  <a:lnTo>
                    <a:pt x="47" y="250"/>
                  </a:lnTo>
                  <a:lnTo>
                    <a:pt x="45" y="250"/>
                  </a:lnTo>
                  <a:lnTo>
                    <a:pt x="42" y="251"/>
                  </a:lnTo>
                  <a:lnTo>
                    <a:pt x="42" y="251"/>
                  </a:lnTo>
                  <a:lnTo>
                    <a:pt x="41" y="253"/>
                  </a:lnTo>
                  <a:lnTo>
                    <a:pt x="41" y="254"/>
                  </a:lnTo>
                  <a:lnTo>
                    <a:pt x="45" y="257"/>
                  </a:lnTo>
                  <a:lnTo>
                    <a:pt x="45" y="257"/>
                  </a:lnTo>
                  <a:lnTo>
                    <a:pt x="47" y="260"/>
                  </a:lnTo>
                  <a:lnTo>
                    <a:pt x="47" y="261"/>
                  </a:lnTo>
                  <a:lnTo>
                    <a:pt x="45" y="264"/>
                  </a:lnTo>
                  <a:lnTo>
                    <a:pt x="44" y="268"/>
                  </a:lnTo>
                  <a:lnTo>
                    <a:pt x="42" y="274"/>
                  </a:lnTo>
                  <a:lnTo>
                    <a:pt x="45" y="280"/>
                  </a:lnTo>
                  <a:lnTo>
                    <a:pt x="50" y="283"/>
                  </a:lnTo>
                  <a:lnTo>
                    <a:pt x="54" y="287"/>
                  </a:lnTo>
                  <a:lnTo>
                    <a:pt x="58" y="288"/>
                  </a:lnTo>
                  <a:lnTo>
                    <a:pt x="64" y="288"/>
                  </a:lnTo>
                  <a:lnTo>
                    <a:pt x="64" y="293"/>
                  </a:lnTo>
                  <a:lnTo>
                    <a:pt x="67" y="298"/>
                  </a:lnTo>
                  <a:lnTo>
                    <a:pt x="74" y="303"/>
                  </a:lnTo>
                  <a:lnTo>
                    <a:pt x="75" y="307"/>
                  </a:lnTo>
                  <a:lnTo>
                    <a:pt x="74" y="310"/>
                  </a:lnTo>
                  <a:lnTo>
                    <a:pt x="71" y="311"/>
                  </a:lnTo>
                  <a:lnTo>
                    <a:pt x="67" y="311"/>
                  </a:lnTo>
                  <a:lnTo>
                    <a:pt x="64" y="307"/>
                  </a:lnTo>
                  <a:lnTo>
                    <a:pt x="60" y="304"/>
                  </a:lnTo>
                  <a:lnTo>
                    <a:pt x="54" y="307"/>
                  </a:lnTo>
                  <a:lnTo>
                    <a:pt x="44" y="317"/>
                  </a:lnTo>
                  <a:lnTo>
                    <a:pt x="47" y="320"/>
                  </a:lnTo>
                  <a:lnTo>
                    <a:pt x="53" y="317"/>
                  </a:lnTo>
                  <a:lnTo>
                    <a:pt x="54" y="317"/>
                  </a:lnTo>
                  <a:lnTo>
                    <a:pt x="55" y="318"/>
                  </a:lnTo>
                  <a:lnTo>
                    <a:pt x="60" y="323"/>
                  </a:lnTo>
                  <a:lnTo>
                    <a:pt x="61" y="327"/>
                  </a:lnTo>
                  <a:lnTo>
                    <a:pt x="64" y="326"/>
                  </a:lnTo>
                  <a:lnTo>
                    <a:pt x="68" y="324"/>
                  </a:lnTo>
                  <a:lnTo>
                    <a:pt x="70" y="326"/>
                  </a:lnTo>
                  <a:lnTo>
                    <a:pt x="71" y="328"/>
                  </a:lnTo>
                  <a:lnTo>
                    <a:pt x="71" y="331"/>
                  </a:lnTo>
                  <a:lnTo>
                    <a:pt x="70" y="334"/>
                  </a:lnTo>
                  <a:lnTo>
                    <a:pt x="64" y="338"/>
                  </a:lnTo>
                  <a:lnTo>
                    <a:pt x="64" y="340"/>
                  </a:lnTo>
                  <a:lnTo>
                    <a:pt x="73" y="343"/>
                  </a:lnTo>
                  <a:lnTo>
                    <a:pt x="74" y="346"/>
                  </a:lnTo>
                  <a:lnTo>
                    <a:pt x="73" y="347"/>
                  </a:lnTo>
                  <a:lnTo>
                    <a:pt x="68" y="348"/>
                  </a:lnTo>
                  <a:lnTo>
                    <a:pt x="68" y="351"/>
                  </a:lnTo>
                  <a:lnTo>
                    <a:pt x="70" y="353"/>
                  </a:lnTo>
                  <a:lnTo>
                    <a:pt x="74" y="357"/>
                  </a:lnTo>
                  <a:lnTo>
                    <a:pt x="75" y="360"/>
                  </a:lnTo>
                  <a:lnTo>
                    <a:pt x="80" y="363"/>
                  </a:lnTo>
                  <a:lnTo>
                    <a:pt x="81" y="364"/>
                  </a:lnTo>
                  <a:lnTo>
                    <a:pt x="81" y="366"/>
                  </a:lnTo>
                  <a:lnTo>
                    <a:pt x="81" y="367"/>
                  </a:lnTo>
                  <a:lnTo>
                    <a:pt x="78" y="367"/>
                  </a:lnTo>
                  <a:lnTo>
                    <a:pt x="73" y="370"/>
                  </a:lnTo>
                  <a:lnTo>
                    <a:pt x="68" y="374"/>
                  </a:lnTo>
                  <a:lnTo>
                    <a:pt x="67" y="379"/>
                  </a:lnTo>
                  <a:lnTo>
                    <a:pt x="65" y="381"/>
                  </a:lnTo>
                  <a:lnTo>
                    <a:pt x="65" y="386"/>
                  </a:lnTo>
                  <a:lnTo>
                    <a:pt x="65" y="391"/>
                  </a:lnTo>
                  <a:lnTo>
                    <a:pt x="74" y="389"/>
                  </a:lnTo>
                  <a:lnTo>
                    <a:pt x="78" y="389"/>
                  </a:lnTo>
                  <a:lnTo>
                    <a:pt x="84" y="389"/>
                  </a:lnTo>
                  <a:lnTo>
                    <a:pt x="88" y="390"/>
                  </a:lnTo>
                  <a:lnTo>
                    <a:pt x="93" y="389"/>
                  </a:lnTo>
                  <a:lnTo>
                    <a:pt x="95" y="389"/>
                  </a:lnTo>
                  <a:lnTo>
                    <a:pt x="108" y="394"/>
                  </a:lnTo>
                  <a:lnTo>
                    <a:pt x="116" y="391"/>
                  </a:lnTo>
                  <a:lnTo>
                    <a:pt x="121" y="393"/>
                  </a:lnTo>
                  <a:lnTo>
                    <a:pt x="124" y="394"/>
                  </a:lnTo>
                  <a:lnTo>
                    <a:pt x="131" y="396"/>
                  </a:lnTo>
                  <a:lnTo>
                    <a:pt x="137" y="394"/>
                  </a:lnTo>
                  <a:lnTo>
                    <a:pt x="141" y="399"/>
                  </a:lnTo>
                  <a:lnTo>
                    <a:pt x="146" y="399"/>
                  </a:lnTo>
                  <a:lnTo>
                    <a:pt x="150" y="397"/>
                  </a:lnTo>
                  <a:lnTo>
                    <a:pt x="154" y="396"/>
                  </a:lnTo>
                  <a:lnTo>
                    <a:pt x="161" y="389"/>
                  </a:lnTo>
                  <a:lnTo>
                    <a:pt x="164" y="381"/>
                  </a:lnTo>
                  <a:lnTo>
                    <a:pt x="167" y="374"/>
                  </a:lnTo>
                  <a:lnTo>
                    <a:pt x="170" y="370"/>
                  </a:lnTo>
                  <a:lnTo>
                    <a:pt x="173" y="369"/>
                  </a:lnTo>
                  <a:lnTo>
                    <a:pt x="191" y="370"/>
                  </a:lnTo>
                  <a:lnTo>
                    <a:pt x="203" y="361"/>
                  </a:lnTo>
                  <a:lnTo>
                    <a:pt x="203" y="359"/>
                  </a:lnTo>
                  <a:lnTo>
                    <a:pt x="200" y="356"/>
                  </a:lnTo>
                  <a:lnTo>
                    <a:pt x="197" y="351"/>
                  </a:lnTo>
                  <a:lnTo>
                    <a:pt x="204" y="344"/>
                  </a:lnTo>
                  <a:lnTo>
                    <a:pt x="204" y="344"/>
                  </a:lnTo>
                  <a:lnTo>
                    <a:pt x="206" y="346"/>
                  </a:lnTo>
                  <a:lnTo>
                    <a:pt x="207" y="348"/>
                  </a:lnTo>
                  <a:lnTo>
                    <a:pt x="210" y="353"/>
                  </a:lnTo>
                  <a:lnTo>
                    <a:pt x="210" y="353"/>
                  </a:lnTo>
                  <a:lnTo>
                    <a:pt x="211" y="351"/>
                  </a:lnTo>
                  <a:lnTo>
                    <a:pt x="211" y="347"/>
                  </a:lnTo>
                  <a:lnTo>
                    <a:pt x="211" y="343"/>
                  </a:lnTo>
                  <a:lnTo>
                    <a:pt x="211" y="343"/>
                  </a:lnTo>
                  <a:lnTo>
                    <a:pt x="214" y="340"/>
                  </a:lnTo>
                  <a:lnTo>
                    <a:pt x="219" y="337"/>
                  </a:lnTo>
                  <a:lnTo>
                    <a:pt x="222" y="333"/>
                  </a:lnTo>
                  <a:lnTo>
                    <a:pt x="227" y="338"/>
                  </a:lnTo>
                  <a:lnTo>
                    <a:pt x="223" y="343"/>
                  </a:lnTo>
                  <a:lnTo>
                    <a:pt x="229" y="348"/>
                  </a:lnTo>
                  <a:lnTo>
                    <a:pt x="233" y="350"/>
                  </a:lnTo>
                  <a:lnTo>
                    <a:pt x="237" y="350"/>
                  </a:lnTo>
                  <a:lnTo>
                    <a:pt x="242" y="348"/>
                  </a:lnTo>
                  <a:lnTo>
                    <a:pt x="246" y="344"/>
                  </a:lnTo>
                  <a:lnTo>
                    <a:pt x="249" y="343"/>
                  </a:lnTo>
                  <a:lnTo>
                    <a:pt x="253" y="340"/>
                  </a:lnTo>
                  <a:lnTo>
                    <a:pt x="254" y="337"/>
                  </a:lnTo>
                  <a:lnTo>
                    <a:pt x="254" y="331"/>
                  </a:lnTo>
                  <a:lnTo>
                    <a:pt x="253" y="328"/>
                  </a:lnTo>
                  <a:lnTo>
                    <a:pt x="259" y="326"/>
                  </a:lnTo>
                  <a:lnTo>
                    <a:pt x="264" y="330"/>
                  </a:lnTo>
                  <a:lnTo>
                    <a:pt x="272" y="330"/>
                  </a:lnTo>
                  <a:lnTo>
                    <a:pt x="280" y="326"/>
                  </a:lnTo>
                  <a:lnTo>
                    <a:pt x="286" y="326"/>
                  </a:lnTo>
                  <a:lnTo>
                    <a:pt x="296" y="328"/>
                  </a:lnTo>
                  <a:lnTo>
                    <a:pt x="303" y="324"/>
                  </a:lnTo>
                  <a:lnTo>
                    <a:pt x="306" y="327"/>
                  </a:lnTo>
                  <a:lnTo>
                    <a:pt x="312" y="323"/>
                  </a:lnTo>
                  <a:lnTo>
                    <a:pt x="316" y="321"/>
                  </a:lnTo>
                  <a:lnTo>
                    <a:pt x="320" y="314"/>
                  </a:lnTo>
                  <a:lnTo>
                    <a:pt x="323" y="311"/>
                  </a:lnTo>
                  <a:lnTo>
                    <a:pt x="329" y="308"/>
                  </a:lnTo>
                  <a:lnTo>
                    <a:pt x="336" y="310"/>
                  </a:lnTo>
                  <a:lnTo>
                    <a:pt x="338" y="307"/>
                  </a:lnTo>
                  <a:lnTo>
                    <a:pt x="338" y="301"/>
                  </a:lnTo>
                  <a:lnTo>
                    <a:pt x="340" y="298"/>
                  </a:lnTo>
                  <a:lnTo>
                    <a:pt x="346" y="294"/>
                  </a:lnTo>
                  <a:lnTo>
                    <a:pt x="349" y="293"/>
                  </a:lnTo>
                  <a:lnTo>
                    <a:pt x="348" y="288"/>
                  </a:lnTo>
                  <a:lnTo>
                    <a:pt x="349" y="285"/>
                  </a:lnTo>
                  <a:lnTo>
                    <a:pt x="352" y="283"/>
                  </a:lnTo>
                  <a:lnTo>
                    <a:pt x="352" y="277"/>
                  </a:lnTo>
                  <a:lnTo>
                    <a:pt x="353" y="271"/>
                  </a:lnTo>
                  <a:lnTo>
                    <a:pt x="358" y="265"/>
                  </a:lnTo>
                  <a:lnTo>
                    <a:pt x="365" y="268"/>
                  </a:lnTo>
                  <a:lnTo>
                    <a:pt x="399" y="250"/>
                  </a:lnTo>
                  <a:lnTo>
                    <a:pt x="411" y="243"/>
                  </a:lnTo>
                  <a:lnTo>
                    <a:pt x="416" y="241"/>
                  </a:lnTo>
                  <a:lnTo>
                    <a:pt x="422" y="243"/>
                  </a:lnTo>
                  <a:lnTo>
                    <a:pt x="423" y="240"/>
                  </a:lnTo>
                  <a:lnTo>
                    <a:pt x="428" y="235"/>
                  </a:lnTo>
                  <a:lnTo>
                    <a:pt x="432" y="230"/>
                  </a:lnTo>
                  <a:lnTo>
                    <a:pt x="438" y="228"/>
                  </a:lnTo>
                  <a:lnTo>
                    <a:pt x="442" y="227"/>
                  </a:lnTo>
                  <a:lnTo>
                    <a:pt x="436" y="218"/>
                  </a:lnTo>
                  <a:lnTo>
                    <a:pt x="441" y="208"/>
                  </a:lnTo>
                  <a:lnTo>
                    <a:pt x="435" y="202"/>
                  </a:lnTo>
                  <a:lnTo>
                    <a:pt x="435" y="201"/>
                  </a:lnTo>
                  <a:lnTo>
                    <a:pt x="441" y="197"/>
                  </a:lnTo>
                  <a:lnTo>
                    <a:pt x="445" y="194"/>
                  </a:lnTo>
                  <a:lnTo>
                    <a:pt x="449" y="192"/>
                  </a:lnTo>
                  <a:lnTo>
                    <a:pt x="461" y="18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79" name="Freeform 27"/>
            <p:cNvSpPr>
              <a:spLocks noEditPoints="1"/>
            </p:cNvSpPr>
            <p:nvPr/>
          </p:nvSpPr>
          <p:spPr bwMode="auto">
            <a:xfrm>
              <a:off x="1992939" y="4240709"/>
              <a:ext cx="356573" cy="420683"/>
            </a:xfrm>
            <a:custGeom>
              <a:avLst/>
              <a:gdLst>
                <a:gd name="T0" fmla="*/ 165 w 586"/>
                <a:gd name="T1" fmla="*/ 234 h 636"/>
                <a:gd name="T2" fmla="*/ 146 w 586"/>
                <a:gd name="T3" fmla="*/ 311 h 636"/>
                <a:gd name="T4" fmla="*/ 158 w 586"/>
                <a:gd name="T5" fmla="*/ 346 h 636"/>
                <a:gd name="T6" fmla="*/ 165 w 586"/>
                <a:gd name="T7" fmla="*/ 357 h 636"/>
                <a:gd name="T8" fmla="*/ 175 w 586"/>
                <a:gd name="T9" fmla="*/ 380 h 636"/>
                <a:gd name="T10" fmla="*/ 188 w 586"/>
                <a:gd name="T11" fmla="*/ 444 h 636"/>
                <a:gd name="T12" fmla="*/ 186 w 586"/>
                <a:gd name="T13" fmla="*/ 497 h 636"/>
                <a:gd name="T14" fmla="*/ 209 w 586"/>
                <a:gd name="T15" fmla="*/ 512 h 636"/>
                <a:gd name="T16" fmla="*/ 231 w 586"/>
                <a:gd name="T17" fmla="*/ 542 h 636"/>
                <a:gd name="T18" fmla="*/ 251 w 586"/>
                <a:gd name="T19" fmla="*/ 589 h 636"/>
                <a:gd name="T20" fmla="*/ 256 w 586"/>
                <a:gd name="T21" fmla="*/ 626 h 636"/>
                <a:gd name="T22" fmla="*/ 292 w 586"/>
                <a:gd name="T23" fmla="*/ 635 h 636"/>
                <a:gd name="T24" fmla="*/ 329 w 586"/>
                <a:gd name="T25" fmla="*/ 616 h 636"/>
                <a:gd name="T26" fmla="*/ 385 w 586"/>
                <a:gd name="T27" fmla="*/ 596 h 636"/>
                <a:gd name="T28" fmla="*/ 381 w 586"/>
                <a:gd name="T29" fmla="*/ 553 h 636"/>
                <a:gd name="T30" fmla="*/ 427 w 586"/>
                <a:gd name="T31" fmla="*/ 474 h 636"/>
                <a:gd name="T32" fmla="*/ 427 w 586"/>
                <a:gd name="T33" fmla="*/ 450 h 636"/>
                <a:gd name="T34" fmla="*/ 456 w 586"/>
                <a:gd name="T35" fmla="*/ 434 h 636"/>
                <a:gd name="T36" fmla="*/ 490 w 586"/>
                <a:gd name="T37" fmla="*/ 421 h 636"/>
                <a:gd name="T38" fmla="*/ 519 w 586"/>
                <a:gd name="T39" fmla="*/ 409 h 636"/>
                <a:gd name="T40" fmla="*/ 521 w 586"/>
                <a:gd name="T41" fmla="*/ 370 h 636"/>
                <a:gd name="T42" fmla="*/ 527 w 586"/>
                <a:gd name="T43" fmla="*/ 324 h 636"/>
                <a:gd name="T44" fmla="*/ 557 w 586"/>
                <a:gd name="T45" fmla="*/ 288 h 636"/>
                <a:gd name="T46" fmla="*/ 570 w 586"/>
                <a:gd name="T47" fmla="*/ 275 h 636"/>
                <a:gd name="T48" fmla="*/ 523 w 586"/>
                <a:gd name="T49" fmla="*/ 268 h 636"/>
                <a:gd name="T50" fmla="*/ 524 w 586"/>
                <a:gd name="T51" fmla="*/ 208 h 636"/>
                <a:gd name="T52" fmla="*/ 531 w 586"/>
                <a:gd name="T53" fmla="*/ 171 h 636"/>
                <a:gd name="T54" fmla="*/ 557 w 586"/>
                <a:gd name="T55" fmla="*/ 146 h 636"/>
                <a:gd name="T56" fmla="*/ 536 w 586"/>
                <a:gd name="T57" fmla="*/ 119 h 636"/>
                <a:gd name="T58" fmla="*/ 531 w 586"/>
                <a:gd name="T59" fmla="*/ 62 h 636"/>
                <a:gd name="T60" fmla="*/ 487 w 586"/>
                <a:gd name="T61" fmla="*/ 71 h 636"/>
                <a:gd name="T62" fmla="*/ 453 w 586"/>
                <a:gd name="T63" fmla="*/ 30 h 636"/>
                <a:gd name="T64" fmla="*/ 435 w 586"/>
                <a:gd name="T65" fmla="*/ 59 h 636"/>
                <a:gd name="T66" fmla="*/ 407 w 586"/>
                <a:gd name="T67" fmla="*/ 23 h 636"/>
                <a:gd name="T68" fmla="*/ 365 w 586"/>
                <a:gd name="T69" fmla="*/ 16 h 636"/>
                <a:gd name="T70" fmla="*/ 334 w 586"/>
                <a:gd name="T71" fmla="*/ 42 h 636"/>
                <a:gd name="T72" fmla="*/ 325 w 586"/>
                <a:gd name="T73" fmla="*/ 81 h 636"/>
                <a:gd name="T74" fmla="*/ 364 w 586"/>
                <a:gd name="T75" fmla="*/ 75 h 636"/>
                <a:gd name="T76" fmla="*/ 380 w 586"/>
                <a:gd name="T77" fmla="*/ 95 h 636"/>
                <a:gd name="T78" fmla="*/ 312 w 586"/>
                <a:gd name="T79" fmla="*/ 156 h 636"/>
                <a:gd name="T80" fmla="*/ 261 w 586"/>
                <a:gd name="T81" fmla="*/ 152 h 636"/>
                <a:gd name="T82" fmla="*/ 215 w 586"/>
                <a:gd name="T83" fmla="*/ 189 h 636"/>
                <a:gd name="T84" fmla="*/ 209 w 586"/>
                <a:gd name="T85" fmla="*/ 171 h 636"/>
                <a:gd name="T86" fmla="*/ 156 w 586"/>
                <a:gd name="T87" fmla="*/ 172 h 636"/>
                <a:gd name="T88" fmla="*/ 148 w 586"/>
                <a:gd name="T89" fmla="*/ 135 h 636"/>
                <a:gd name="T90" fmla="*/ 149 w 586"/>
                <a:gd name="T91" fmla="*/ 93 h 636"/>
                <a:gd name="T92" fmla="*/ 118 w 586"/>
                <a:gd name="T93" fmla="*/ 39 h 636"/>
                <a:gd name="T94" fmla="*/ 112 w 586"/>
                <a:gd name="T95" fmla="*/ 13 h 636"/>
                <a:gd name="T96" fmla="*/ 89 w 586"/>
                <a:gd name="T97" fmla="*/ 15 h 636"/>
                <a:gd name="T98" fmla="*/ 62 w 586"/>
                <a:gd name="T99" fmla="*/ 20 h 636"/>
                <a:gd name="T100" fmla="*/ 33 w 586"/>
                <a:gd name="T101" fmla="*/ 22 h 636"/>
                <a:gd name="T102" fmla="*/ 12 w 586"/>
                <a:gd name="T103" fmla="*/ 46 h 636"/>
                <a:gd name="T104" fmla="*/ 44 w 586"/>
                <a:gd name="T105" fmla="*/ 66 h 636"/>
                <a:gd name="T106" fmla="*/ 44 w 586"/>
                <a:gd name="T107" fmla="*/ 88 h 636"/>
                <a:gd name="T108" fmla="*/ 72 w 586"/>
                <a:gd name="T109" fmla="*/ 105 h 636"/>
                <a:gd name="T110" fmla="*/ 87 w 586"/>
                <a:gd name="T111" fmla="*/ 108 h 636"/>
                <a:gd name="T112" fmla="*/ 106 w 586"/>
                <a:gd name="T113" fmla="*/ 115 h 636"/>
                <a:gd name="T114" fmla="*/ 128 w 586"/>
                <a:gd name="T115" fmla="*/ 114 h 636"/>
                <a:gd name="T116" fmla="*/ 165 w 586"/>
                <a:gd name="T117" fmla="*/ 234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86" h="636">
                  <a:moveTo>
                    <a:pt x="129" y="152"/>
                  </a:moveTo>
                  <a:lnTo>
                    <a:pt x="130" y="152"/>
                  </a:lnTo>
                  <a:lnTo>
                    <a:pt x="130" y="154"/>
                  </a:lnTo>
                  <a:lnTo>
                    <a:pt x="130" y="159"/>
                  </a:lnTo>
                  <a:lnTo>
                    <a:pt x="135" y="184"/>
                  </a:lnTo>
                  <a:lnTo>
                    <a:pt x="138" y="192"/>
                  </a:lnTo>
                  <a:lnTo>
                    <a:pt x="165" y="234"/>
                  </a:lnTo>
                  <a:lnTo>
                    <a:pt x="162" y="255"/>
                  </a:lnTo>
                  <a:lnTo>
                    <a:pt x="146" y="278"/>
                  </a:lnTo>
                  <a:lnTo>
                    <a:pt x="146" y="278"/>
                  </a:lnTo>
                  <a:lnTo>
                    <a:pt x="145" y="288"/>
                  </a:lnTo>
                  <a:lnTo>
                    <a:pt x="145" y="288"/>
                  </a:lnTo>
                  <a:lnTo>
                    <a:pt x="145" y="298"/>
                  </a:lnTo>
                  <a:lnTo>
                    <a:pt x="146" y="311"/>
                  </a:lnTo>
                  <a:lnTo>
                    <a:pt x="146" y="311"/>
                  </a:lnTo>
                  <a:lnTo>
                    <a:pt x="148" y="321"/>
                  </a:lnTo>
                  <a:lnTo>
                    <a:pt x="150" y="331"/>
                  </a:lnTo>
                  <a:lnTo>
                    <a:pt x="150" y="331"/>
                  </a:lnTo>
                  <a:lnTo>
                    <a:pt x="155" y="341"/>
                  </a:lnTo>
                  <a:lnTo>
                    <a:pt x="158" y="346"/>
                  </a:lnTo>
                  <a:lnTo>
                    <a:pt x="158" y="346"/>
                  </a:lnTo>
                  <a:lnTo>
                    <a:pt x="158" y="347"/>
                  </a:lnTo>
                  <a:lnTo>
                    <a:pt x="158" y="348"/>
                  </a:lnTo>
                  <a:lnTo>
                    <a:pt x="160" y="351"/>
                  </a:lnTo>
                  <a:lnTo>
                    <a:pt x="160" y="351"/>
                  </a:lnTo>
                  <a:lnTo>
                    <a:pt x="162" y="354"/>
                  </a:lnTo>
                  <a:lnTo>
                    <a:pt x="162" y="354"/>
                  </a:lnTo>
                  <a:lnTo>
                    <a:pt x="165" y="357"/>
                  </a:lnTo>
                  <a:lnTo>
                    <a:pt x="165" y="357"/>
                  </a:lnTo>
                  <a:lnTo>
                    <a:pt x="169" y="360"/>
                  </a:lnTo>
                  <a:lnTo>
                    <a:pt x="169" y="360"/>
                  </a:lnTo>
                  <a:lnTo>
                    <a:pt x="172" y="366"/>
                  </a:lnTo>
                  <a:lnTo>
                    <a:pt x="175" y="371"/>
                  </a:lnTo>
                  <a:lnTo>
                    <a:pt x="175" y="377"/>
                  </a:lnTo>
                  <a:lnTo>
                    <a:pt x="175" y="380"/>
                  </a:lnTo>
                  <a:lnTo>
                    <a:pt x="171" y="381"/>
                  </a:lnTo>
                  <a:lnTo>
                    <a:pt x="171" y="386"/>
                  </a:lnTo>
                  <a:lnTo>
                    <a:pt x="179" y="409"/>
                  </a:lnTo>
                  <a:lnTo>
                    <a:pt x="182" y="429"/>
                  </a:lnTo>
                  <a:lnTo>
                    <a:pt x="185" y="436"/>
                  </a:lnTo>
                  <a:lnTo>
                    <a:pt x="186" y="441"/>
                  </a:lnTo>
                  <a:lnTo>
                    <a:pt x="188" y="444"/>
                  </a:lnTo>
                  <a:lnTo>
                    <a:pt x="191" y="457"/>
                  </a:lnTo>
                  <a:lnTo>
                    <a:pt x="192" y="464"/>
                  </a:lnTo>
                  <a:lnTo>
                    <a:pt x="189" y="470"/>
                  </a:lnTo>
                  <a:lnTo>
                    <a:pt x="188" y="474"/>
                  </a:lnTo>
                  <a:lnTo>
                    <a:pt x="188" y="483"/>
                  </a:lnTo>
                  <a:lnTo>
                    <a:pt x="188" y="490"/>
                  </a:lnTo>
                  <a:lnTo>
                    <a:pt x="186" y="497"/>
                  </a:lnTo>
                  <a:lnTo>
                    <a:pt x="188" y="502"/>
                  </a:lnTo>
                  <a:lnTo>
                    <a:pt x="192" y="503"/>
                  </a:lnTo>
                  <a:lnTo>
                    <a:pt x="192" y="503"/>
                  </a:lnTo>
                  <a:lnTo>
                    <a:pt x="198" y="502"/>
                  </a:lnTo>
                  <a:lnTo>
                    <a:pt x="201" y="502"/>
                  </a:lnTo>
                  <a:lnTo>
                    <a:pt x="205" y="506"/>
                  </a:lnTo>
                  <a:lnTo>
                    <a:pt x="209" y="512"/>
                  </a:lnTo>
                  <a:lnTo>
                    <a:pt x="215" y="523"/>
                  </a:lnTo>
                  <a:lnTo>
                    <a:pt x="218" y="530"/>
                  </a:lnTo>
                  <a:lnTo>
                    <a:pt x="218" y="530"/>
                  </a:lnTo>
                  <a:lnTo>
                    <a:pt x="225" y="536"/>
                  </a:lnTo>
                  <a:lnTo>
                    <a:pt x="228" y="539"/>
                  </a:lnTo>
                  <a:lnTo>
                    <a:pt x="231" y="542"/>
                  </a:lnTo>
                  <a:lnTo>
                    <a:pt x="231" y="542"/>
                  </a:lnTo>
                  <a:lnTo>
                    <a:pt x="239" y="549"/>
                  </a:lnTo>
                  <a:lnTo>
                    <a:pt x="242" y="556"/>
                  </a:lnTo>
                  <a:lnTo>
                    <a:pt x="244" y="563"/>
                  </a:lnTo>
                  <a:lnTo>
                    <a:pt x="246" y="573"/>
                  </a:lnTo>
                  <a:lnTo>
                    <a:pt x="246" y="573"/>
                  </a:lnTo>
                  <a:lnTo>
                    <a:pt x="249" y="580"/>
                  </a:lnTo>
                  <a:lnTo>
                    <a:pt x="251" y="589"/>
                  </a:lnTo>
                  <a:lnTo>
                    <a:pt x="252" y="606"/>
                  </a:lnTo>
                  <a:lnTo>
                    <a:pt x="252" y="606"/>
                  </a:lnTo>
                  <a:lnTo>
                    <a:pt x="254" y="613"/>
                  </a:lnTo>
                  <a:lnTo>
                    <a:pt x="256" y="616"/>
                  </a:lnTo>
                  <a:lnTo>
                    <a:pt x="258" y="621"/>
                  </a:lnTo>
                  <a:lnTo>
                    <a:pt x="256" y="626"/>
                  </a:lnTo>
                  <a:lnTo>
                    <a:pt x="256" y="626"/>
                  </a:lnTo>
                  <a:lnTo>
                    <a:pt x="259" y="629"/>
                  </a:lnTo>
                  <a:lnTo>
                    <a:pt x="266" y="632"/>
                  </a:lnTo>
                  <a:lnTo>
                    <a:pt x="275" y="635"/>
                  </a:lnTo>
                  <a:lnTo>
                    <a:pt x="281" y="636"/>
                  </a:lnTo>
                  <a:lnTo>
                    <a:pt x="281" y="636"/>
                  </a:lnTo>
                  <a:lnTo>
                    <a:pt x="287" y="635"/>
                  </a:lnTo>
                  <a:lnTo>
                    <a:pt x="292" y="635"/>
                  </a:lnTo>
                  <a:lnTo>
                    <a:pt x="299" y="631"/>
                  </a:lnTo>
                  <a:lnTo>
                    <a:pt x="308" y="626"/>
                  </a:lnTo>
                  <a:lnTo>
                    <a:pt x="312" y="626"/>
                  </a:lnTo>
                  <a:lnTo>
                    <a:pt x="318" y="625"/>
                  </a:lnTo>
                  <a:lnTo>
                    <a:pt x="318" y="625"/>
                  </a:lnTo>
                  <a:lnTo>
                    <a:pt x="324" y="622"/>
                  </a:lnTo>
                  <a:lnTo>
                    <a:pt x="329" y="616"/>
                  </a:lnTo>
                  <a:lnTo>
                    <a:pt x="335" y="612"/>
                  </a:lnTo>
                  <a:lnTo>
                    <a:pt x="341" y="610"/>
                  </a:lnTo>
                  <a:lnTo>
                    <a:pt x="341" y="610"/>
                  </a:lnTo>
                  <a:lnTo>
                    <a:pt x="360" y="606"/>
                  </a:lnTo>
                  <a:lnTo>
                    <a:pt x="375" y="599"/>
                  </a:lnTo>
                  <a:lnTo>
                    <a:pt x="375" y="599"/>
                  </a:lnTo>
                  <a:lnTo>
                    <a:pt x="385" y="596"/>
                  </a:lnTo>
                  <a:lnTo>
                    <a:pt x="391" y="595"/>
                  </a:lnTo>
                  <a:lnTo>
                    <a:pt x="395" y="595"/>
                  </a:lnTo>
                  <a:lnTo>
                    <a:pt x="403" y="550"/>
                  </a:lnTo>
                  <a:lnTo>
                    <a:pt x="391" y="545"/>
                  </a:lnTo>
                  <a:lnTo>
                    <a:pt x="388" y="552"/>
                  </a:lnTo>
                  <a:lnTo>
                    <a:pt x="385" y="552"/>
                  </a:lnTo>
                  <a:lnTo>
                    <a:pt x="381" y="553"/>
                  </a:lnTo>
                  <a:lnTo>
                    <a:pt x="378" y="547"/>
                  </a:lnTo>
                  <a:lnTo>
                    <a:pt x="374" y="543"/>
                  </a:lnTo>
                  <a:lnTo>
                    <a:pt x="368" y="536"/>
                  </a:lnTo>
                  <a:lnTo>
                    <a:pt x="348" y="526"/>
                  </a:lnTo>
                  <a:lnTo>
                    <a:pt x="434" y="482"/>
                  </a:lnTo>
                  <a:lnTo>
                    <a:pt x="433" y="479"/>
                  </a:lnTo>
                  <a:lnTo>
                    <a:pt x="427" y="474"/>
                  </a:lnTo>
                  <a:lnTo>
                    <a:pt x="420" y="472"/>
                  </a:lnTo>
                  <a:lnTo>
                    <a:pt x="415" y="469"/>
                  </a:lnTo>
                  <a:lnTo>
                    <a:pt x="414" y="466"/>
                  </a:lnTo>
                  <a:lnTo>
                    <a:pt x="415" y="462"/>
                  </a:lnTo>
                  <a:lnTo>
                    <a:pt x="418" y="460"/>
                  </a:lnTo>
                  <a:lnTo>
                    <a:pt x="423" y="456"/>
                  </a:lnTo>
                  <a:lnTo>
                    <a:pt x="427" y="450"/>
                  </a:lnTo>
                  <a:lnTo>
                    <a:pt x="415" y="411"/>
                  </a:lnTo>
                  <a:lnTo>
                    <a:pt x="423" y="413"/>
                  </a:lnTo>
                  <a:lnTo>
                    <a:pt x="435" y="414"/>
                  </a:lnTo>
                  <a:lnTo>
                    <a:pt x="441" y="416"/>
                  </a:lnTo>
                  <a:lnTo>
                    <a:pt x="446" y="417"/>
                  </a:lnTo>
                  <a:lnTo>
                    <a:pt x="448" y="429"/>
                  </a:lnTo>
                  <a:lnTo>
                    <a:pt x="456" y="434"/>
                  </a:lnTo>
                  <a:lnTo>
                    <a:pt x="460" y="437"/>
                  </a:lnTo>
                  <a:lnTo>
                    <a:pt x="464" y="433"/>
                  </a:lnTo>
                  <a:lnTo>
                    <a:pt x="466" y="429"/>
                  </a:lnTo>
                  <a:lnTo>
                    <a:pt x="471" y="423"/>
                  </a:lnTo>
                  <a:lnTo>
                    <a:pt x="480" y="420"/>
                  </a:lnTo>
                  <a:lnTo>
                    <a:pt x="484" y="420"/>
                  </a:lnTo>
                  <a:lnTo>
                    <a:pt x="490" y="421"/>
                  </a:lnTo>
                  <a:lnTo>
                    <a:pt x="496" y="427"/>
                  </a:lnTo>
                  <a:lnTo>
                    <a:pt x="500" y="430"/>
                  </a:lnTo>
                  <a:lnTo>
                    <a:pt x="506" y="430"/>
                  </a:lnTo>
                  <a:lnTo>
                    <a:pt x="510" y="426"/>
                  </a:lnTo>
                  <a:lnTo>
                    <a:pt x="516" y="426"/>
                  </a:lnTo>
                  <a:lnTo>
                    <a:pt x="517" y="420"/>
                  </a:lnTo>
                  <a:lnTo>
                    <a:pt x="519" y="409"/>
                  </a:lnTo>
                  <a:lnTo>
                    <a:pt x="521" y="399"/>
                  </a:lnTo>
                  <a:lnTo>
                    <a:pt x="524" y="396"/>
                  </a:lnTo>
                  <a:lnTo>
                    <a:pt x="523" y="391"/>
                  </a:lnTo>
                  <a:lnTo>
                    <a:pt x="516" y="387"/>
                  </a:lnTo>
                  <a:lnTo>
                    <a:pt x="513" y="383"/>
                  </a:lnTo>
                  <a:lnTo>
                    <a:pt x="521" y="373"/>
                  </a:lnTo>
                  <a:lnTo>
                    <a:pt x="521" y="370"/>
                  </a:lnTo>
                  <a:lnTo>
                    <a:pt x="519" y="364"/>
                  </a:lnTo>
                  <a:lnTo>
                    <a:pt x="517" y="358"/>
                  </a:lnTo>
                  <a:lnTo>
                    <a:pt x="514" y="356"/>
                  </a:lnTo>
                  <a:lnTo>
                    <a:pt x="519" y="350"/>
                  </a:lnTo>
                  <a:lnTo>
                    <a:pt x="523" y="336"/>
                  </a:lnTo>
                  <a:lnTo>
                    <a:pt x="526" y="330"/>
                  </a:lnTo>
                  <a:lnTo>
                    <a:pt x="527" y="324"/>
                  </a:lnTo>
                  <a:lnTo>
                    <a:pt x="530" y="313"/>
                  </a:lnTo>
                  <a:lnTo>
                    <a:pt x="531" y="307"/>
                  </a:lnTo>
                  <a:lnTo>
                    <a:pt x="534" y="303"/>
                  </a:lnTo>
                  <a:lnTo>
                    <a:pt x="536" y="297"/>
                  </a:lnTo>
                  <a:lnTo>
                    <a:pt x="540" y="285"/>
                  </a:lnTo>
                  <a:lnTo>
                    <a:pt x="553" y="288"/>
                  </a:lnTo>
                  <a:lnTo>
                    <a:pt x="557" y="288"/>
                  </a:lnTo>
                  <a:lnTo>
                    <a:pt x="570" y="290"/>
                  </a:lnTo>
                  <a:lnTo>
                    <a:pt x="580" y="290"/>
                  </a:lnTo>
                  <a:lnTo>
                    <a:pt x="584" y="288"/>
                  </a:lnTo>
                  <a:lnTo>
                    <a:pt x="586" y="283"/>
                  </a:lnTo>
                  <a:lnTo>
                    <a:pt x="583" y="278"/>
                  </a:lnTo>
                  <a:lnTo>
                    <a:pt x="582" y="277"/>
                  </a:lnTo>
                  <a:lnTo>
                    <a:pt x="570" y="275"/>
                  </a:lnTo>
                  <a:lnTo>
                    <a:pt x="564" y="274"/>
                  </a:lnTo>
                  <a:lnTo>
                    <a:pt x="556" y="274"/>
                  </a:lnTo>
                  <a:lnTo>
                    <a:pt x="549" y="275"/>
                  </a:lnTo>
                  <a:lnTo>
                    <a:pt x="544" y="275"/>
                  </a:lnTo>
                  <a:lnTo>
                    <a:pt x="537" y="277"/>
                  </a:lnTo>
                  <a:lnTo>
                    <a:pt x="531" y="277"/>
                  </a:lnTo>
                  <a:lnTo>
                    <a:pt x="523" y="268"/>
                  </a:lnTo>
                  <a:lnTo>
                    <a:pt x="519" y="264"/>
                  </a:lnTo>
                  <a:lnTo>
                    <a:pt x="519" y="258"/>
                  </a:lnTo>
                  <a:lnTo>
                    <a:pt x="520" y="250"/>
                  </a:lnTo>
                  <a:lnTo>
                    <a:pt x="519" y="241"/>
                  </a:lnTo>
                  <a:lnTo>
                    <a:pt x="520" y="224"/>
                  </a:lnTo>
                  <a:lnTo>
                    <a:pt x="519" y="219"/>
                  </a:lnTo>
                  <a:lnTo>
                    <a:pt x="524" y="208"/>
                  </a:lnTo>
                  <a:lnTo>
                    <a:pt x="526" y="204"/>
                  </a:lnTo>
                  <a:lnTo>
                    <a:pt x="524" y="201"/>
                  </a:lnTo>
                  <a:lnTo>
                    <a:pt x="524" y="197"/>
                  </a:lnTo>
                  <a:lnTo>
                    <a:pt x="526" y="191"/>
                  </a:lnTo>
                  <a:lnTo>
                    <a:pt x="526" y="184"/>
                  </a:lnTo>
                  <a:lnTo>
                    <a:pt x="529" y="177"/>
                  </a:lnTo>
                  <a:lnTo>
                    <a:pt x="531" y="171"/>
                  </a:lnTo>
                  <a:lnTo>
                    <a:pt x="534" y="168"/>
                  </a:lnTo>
                  <a:lnTo>
                    <a:pt x="537" y="165"/>
                  </a:lnTo>
                  <a:lnTo>
                    <a:pt x="541" y="162"/>
                  </a:lnTo>
                  <a:lnTo>
                    <a:pt x="546" y="159"/>
                  </a:lnTo>
                  <a:lnTo>
                    <a:pt x="551" y="158"/>
                  </a:lnTo>
                  <a:lnTo>
                    <a:pt x="554" y="154"/>
                  </a:lnTo>
                  <a:lnTo>
                    <a:pt x="557" y="146"/>
                  </a:lnTo>
                  <a:lnTo>
                    <a:pt x="549" y="144"/>
                  </a:lnTo>
                  <a:lnTo>
                    <a:pt x="543" y="145"/>
                  </a:lnTo>
                  <a:lnTo>
                    <a:pt x="540" y="144"/>
                  </a:lnTo>
                  <a:lnTo>
                    <a:pt x="534" y="144"/>
                  </a:lnTo>
                  <a:lnTo>
                    <a:pt x="534" y="139"/>
                  </a:lnTo>
                  <a:lnTo>
                    <a:pt x="536" y="125"/>
                  </a:lnTo>
                  <a:lnTo>
                    <a:pt x="536" y="119"/>
                  </a:lnTo>
                  <a:lnTo>
                    <a:pt x="536" y="116"/>
                  </a:lnTo>
                  <a:lnTo>
                    <a:pt x="536" y="109"/>
                  </a:lnTo>
                  <a:lnTo>
                    <a:pt x="534" y="103"/>
                  </a:lnTo>
                  <a:lnTo>
                    <a:pt x="533" y="88"/>
                  </a:lnTo>
                  <a:lnTo>
                    <a:pt x="533" y="79"/>
                  </a:lnTo>
                  <a:lnTo>
                    <a:pt x="531" y="71"/>
                  </a:lnTo>
                  <a:lnTo>
                    <a:pt x="531" y="62"/>
                  </a:lnTo>
                  <a:lnTo>
                    <a:pt x="523" y="59"/>
                  </a:lnTo>
                  <a:lnTo>
                    <a:pt x="517" y="59"/>
                  </a:lnTo>
                  <a:lnTo>
                    <a:pt x="510" y="66"/>
                  </a:lnTo>
                  <a:lnTo>
                    <a:pt x="506" y="71"/>
                  </a:lnTo>
                  <a:lnTo>
                    <a:pt x="500" y="75"/>
                  </a:lnTo>
                  <a:lnTo>
                    <a:pt x="494" y="72"/>
                  </a:lnTo>
                  <a:lnTo>
                    <a:pt x="487" y="71"/>
                  </a:lnTo>
                  <a:lnTo>
                    <a:pt x="486" y="50"/>
                  </a:lnTo>
                  <a:lnTo>
                    <a:pt x="478" y="52"/>
                  </a:lnTo>
                  <a:lnTo>
                    <a:pt x="473" y="45"/>
                  </a:lnTo>
                  <a:lnTo>
                    <a:pt x="490" y="29"/>
                  </a:lnTo>
                  <a:lnTo>
                    <a:pt x="476" y="10"/>
                  </a:lnTo>
                  <a:lnTo>
                    <a:pt x="460" y="26"/>
                  </a:lnTo>
                  <a:lnTo>
                    <a:pt x="453" y="30"/>
                  </a:lnTo>
                  <a:lnTo>
                    <a:pt x="463" y="43"/>
                  </a:lnTo>
                  <a:lnTo>
                    <a:pt x="463" y="45"/>
                  </a:lnTo>
                  <a:lnTo>
                    <a:pt x="460" y="46"/>
                  </a:lnTo>
                  <a:lnTo>
                    <a:pt x="448" y="53"/>
                  </a:lnTo>
                  <a:lnTo>
                    <a:pt x="444" y="58"/>
                  </a:lnTo>
                  <a:lnTo>
                    <a:pt x="440" y="61"/>
                  </a:lnTo>
                  <a:lnTo>
                    <a:pt x="435" y="59"/>
                  </a:lnTo>
                  <a:lnTo>
                    <a:pt x="430" y="53"/>
                  </a:lnTo>
                  <a:lnTo>
                    <a:pt x="427" y="48"/>
                  </a:lnTo>
                  <a:lnTo>
                    <a:pt x="424" y="45"/>
                  </a:lnTo>
                  <a:lnTo>
                    <a:pt x="421" y="40"/>
                  </a:lnTo>
                  <a:lnTo>
                    <a:pt x="417" y="29"/>
                  </a:lnTo>
                  <a:lnTo>
                    <a:pt x="413" y="25"/>
                  </a:lnTo>
                  <a:lnTo>
                    <a:pt x="407" y="23"/>
                  </a:lnTo>
                  <a:lnTo>
                    <a:pt x="403" y="26"/>
                  </a:lnTo>
                  <a:lnTo>
                    <a:pt x="401" y="30"/>
                  </a:lnTo>
                  <a:lnTo>
                    <a:pt x="391" y="30"/>
                  </a:lnTo>
                  <a:lnTo>
                    <a:pt x="384" y="32"/>
                  </a:lnTo>
                  <a:lnTo>
                    <a:pt x="382" y="28"/>
                  </a:lnTo>
                  <a:lnTo>
                    <a:pt x="378" y="22"/>
                  </a:lnTo>
                  <a:lnTo>
                    <a:pt x="365" y="16"/>
                  </a:lnTo>
                  <a:lnTo>
                    <a:pt x="360" y="18"/>
                  </a:lnTo>
                  <a:lnTo>
                    <a:pt x="357" y="19"/>
                  </a:lnTo>
                  <a:lnTo>
                    <a:pt x="352" y="22"/>
                  </a:lnTo>
                  <a:lnTo>
                    <a:pt x="338" y="26"/>
                  </a:lnTo>
                  <a:lnTo>
                    <a:pt x="334" y="32"/>
                  </a:lnTo>
                  <a:lnTo>
                    <a:pt x="335" y="38"/>
                  </a:lnTo>
                  <a:lnTo>
                    <a:pt x="334" y="42"/>
                  </a:lnTo>
                  <a:lnTo>
                    <a:pt x="334" y="50"/>
                  </a:lnTo>
                  <a:lnTo>
                    <a:pt x="332" y="53"/>
                  </a:lnTo>
                  <a:lnTo>
                    <a:pt x="327" y="61"/>
                  </a:lnTo>
                  <a:lnTo>
                    <a:pt x="319" y="65"/>
                  </a:lnTo>
                  <a:lnTo>
                    <a:pt x="317" y="68"/>
                  </a:lnTo>
                  <a:lnTo>
                    <a:pt x="319" y="72"/>
                  </a:lnTo>
                  <a:lnTo>
                    <a:pt x="325" y="81"/>
                  </a:lnTo>
                  <a:lnTo>
                    <a:pt x="332" y="79"/>
                  </a:lnTo>
                  <a:lnTo>
                    <a:pt x="338" y="75"/>
                  </a:lnTo>
                  <a:lnTo>
                    <a:pt x="340" y="73"/>
                  </a:lnTo>
                  <a:lnTo>
                    <a:pt x="352" y="76"/>
                  </a:lnTo>
                  <a:lnTo>
                    <a:pt x="355" y="79"/>
                  </a:lnTo>
                  <a:lnTo>
                    <a:pt x="362" y="79"/>
                  </a:lnTo>
                  <a:lnTo>
                    <a:pt x="364" y="75"/>
                  </a:lnTo>
                  <a:lnTo>
                    <a:pt x="371" y="69"/>
                  </a:lnTo>
                  <a:lnTo>
                    <a:pt x="375" y="69"/>
                  </a:lnTo>
                  <a:lnTo>
                    <a:pt x="377" y="75"/>
                  </a:lnTo>
                  <a:lnTo>
                    <a:pt x="380" y="79"/>
                  </a:lnTo>
                  <a:lnTo>
                    <a:pt x="381" y="82"/>
                  </a:lnTo>
                  <a:lnTo>
                    <a:pt x="374" y="88"/>
                  </a:lnTo>
                  <a:lnTo>
                    <a:pt x="380" y="95"/>
                  </a:lnTo>
                  <a:lnTo>
                    <a:pt x="375" y="99"/>
                  </a:lnTo>
                  <a:lnTo>
                    <a:pt x="372" y="103"/>
                  </a:lnTo>
                  <a:lnTo>
                    <a:pt x="355" y="118"/>
                  </a:lnTo>
                  <a:lnTo>
                    <a:pt x="338" y="134"/>
                  </a:lnTo>
                  <a:lnTo>
                    <a:pt x="322" y="149"/>
                  </a:lnTo>
                  <a:lnTo>
                    <a:pt x="317" y="154"/>
                  </a:lnTo>
                  <a:lnTo>
                    <a:pt x="312" y="156"/>
                  </a:lnTo>
                  <a:lnTo>
                    <a:pt x="304" y="158"/>
                  </a:lnTo>
                  <a:lnTo>
                    <a:pt x="291" y="156"/>
                  </a:lnTo>
                  <a:lnTo>
                    <a:pt x="289" y="154"/>
                  </a:lnTo>
                  <a:lnTo>
                    <a:pt x="277" y="152"/>
                  </a:lnTo>
                  <a:lnTo>
                    <a:pt x="274" y="156"/>
                  </a:lnTo>
                  <a:lnTo>
                    <a:pt x="265" y="156"/>
                  </a:lnTo>
                  <a:lnTo>
                    <a:pt x="261" y="152"/>
                  </a:lnTo>
                  <a:lnTo>
                    <a:pt x="254" y="152"/>
                  </a:lnTo>
                  <a:lnTo>
                    <a:pt x="234" y="151"/>
                  </a:lnTo>
                  <a:lnTo>
                    <a:pt x="232" y="156"/>
                  </a:lnTo>
                  <a:lnTo>
                    <a:pt x="242" y="165"/>
                  </a:lnTo>
                  <a:lnTo>
                    <a:pt x="234" y="169"/>
                  </a:lnTo>
                  <a:lnTo>
                    <a:pt x="222" y="181"/>
                  </a:lnTo>
                  <a:lnTo>
                    <a:pt x="215" y="189"/>
                  </a:lnTo>
                  <a:lnTo>
                    <a:pt x="206" y="194"/>
                  </a:lnTo>
                  <a:lnTo>
                    <a:pt x="195" y="191"/>
                  </a:lnTo>
                  <a:lnTo>
                    <a:pt x="199" y="187"/>
                  </a:lnTo>
                  <a:lnTo>
                    <a:pt x="205" y="185"/>
                  </a:lnTo>
                  <a:lnTo>
                    <a:pt x="206" y="179"/>
                  </a:lnTo>
                  <a:lnTo>
                    <a:pt x="208" y="174"/>
                  </a:lnTo>
                  <a:lnTo>
                    <a:pt x="209" y="171"/>
                  </a:lnTo>
                  <a:lnTo>
                    <a:pt x="205" y="167"/>
                  </a:lnTo>
                  <a:lnTo>
                    <a:pt x="199" y="167"/>
                  </a:lnTo>
                  <a:lnTo>
                    <a:pt x="189" y="172"/>
                  </a:lnTo>
                  <a:lnTo>
                    <a:pt x="178" y="178"/>
                  </a:lnTo>
                  <a:lnTo>
                    <a:pt x="168" y="178"/>
                  </a:lnTo>
                  <a:lnTo>
                    <a:pt x="162" y="178"/>
                  </a:lnTo>
                  <a:lnTo>
                    <a:pt x="156" y="172"/>
                  </a:lnTo>
                  <a:lnTo>
                    <a:pt x="152" y="165"/>
                  </a:lnTo>
                  <a:lnTo>
                    <a:pt x="149" y="159"/>
                  </a:lnTo>
                  <a:lnTo>
                    <a:pt x="148" y="151"/>
                  </a:lnTo>
                  <a:lnTo>
                    <a:pt x="146" y="149"/>
                  </a:lnTo>
                  <a:lnTo>
                    <a:pt x="146" y="149"/>
                  </a:lnTo>
                  <a:lnTo>
                    <a:pt x="148" y="145"/>
                  </a:lnTo>
                  <a:lnTo>
                    <a:pt x="148" y="135"/>
                  </a:lnTo>
                  <a:lnTo>
                    <a:pt x="148" y="132"/>
                  </a:lnTo>
                  <a:lnTo>
                    <a:pt x="148" y="128"/>
                  </a:lnTo>
                  <a:lnTo>
                    <a:pt x="148" y="121"/>
                  </a:lnTo>
                  <a:lnTo>
                    <a:pt x="149" y="108"/>
                  </a:lnTo>
                  <a:lnTo>
                    <a:pt x="149" y="105"/>
                  </a:lnTo>
                  <a:lnTo>
                    <a:pt x="149" y="99"/>
                  </a:lnTo>
                  <a:lnTo>
                    <a:pt x="149" y="93"/>
                  </a:lnTo>
                  <a:lnTo>
                    <a:pt x="146" y="88"/>
                  </a:lnTo>
                  <a:lnTo>
                    <a:pt x="135" y="88"/>
                  </a:lnTo>
                  <a:lnTo>
                    <a:pt x="129" y="86"/>
                  </a:lnTo>
                  <a:lnTo>
                    <a:pt x="123" y="71"/>
                  </a:lnTo>
                  <a:lnTo>
                    <a:pt x="120" y="56"/>
                  </a:lnTo>
                  <a:lnTo>
                    <a:pt x="119" y="46"/>
                  </a:lnTo>
                  <a:lnTo>
                    <a:pt x="118" y="39"/>
                  </a:lnTo>
                  <a:lnTo>
                    <a:pt x="118" y="39"/>
                  </a:lnTo>
                  <a:lnTo>
                    <a:pt x="116" y="33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3"/>
                  </a:lnTo>
                  <a:lnTo>
                    <a:pt x="115" y="20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08" y="8"/>
                  </a:lnTo>
                  <a:lnTo>
                    <a:pt x="105" y="6"/>
                  </a:lnTo>
                  <a:lnTo>
                    <a:pt x="102" y="5"/>
                  </a:lnTo>
                  <a:lnTo>
                    <a:pt x="97" y="0"/>
                  </a:lnTo>
                  <a:lnTo>
                    <a:pt x="96" y="2"/>
                  </a:lnTo>
                  <a:lnTo>
                    <a:pt x="89" y="15"/>
                  </a:lnTo>
                  <a:lnTo>
                    <a:pt x="85" y="22"/>
                  </a:lnTo>
                  <a:lnTo>
                    <a:pt x="83" y="29"/>
                  </a:lnTo>
                  <a:lnTo>
                    <a:pt x="87" y="35"/>
                  </a:lnTo>
                  <a:lnTo>
                    <a:pt x="79" y="39"/>
                  </a:lnTo>
                  <a:lnTo>
                    <a:pt x="75" y="35"/>
                  </a:lnTo>
                  <a:lnTo>
                    <a:pt x="70" y="30"/>
                  </a:lnTo>
                  <a:lnTo>
                    <a:pt x="62" y="20"/>
                  </a:lnTo>
                  <a:lnTo>
                    <a:pt x="57" y="23"/>
                  </a:lnTo>
                  <a:lnTo>
                    <a:pt x="53" y="19"/>
                  </a:lnTo>
                  <a:lnTo>
                    <a:pt x="43" y="25"/>
                  </a:lnTo>
                  <a:lnTo>
                    <a:pt x="49" y="29"/>
                  </a:lnTo>
                  <a:lnTo>
                    <a:pt x="44" y="32"/>
                  </a:lnTo>
                  <a:lnTo>
                    <a:pt x="32" y="29"/>
                  </a:lnTo>
                  <a:lnTo>
                    <a:pt x="33" y="22"/>
                  </a:lnTo>
                  <a:lnTo>
                    <a:pt x="30" y="18"/>
                  </a:lnTo>
                  <a:lnTo>
                    <a:pt x="30" y="9"/>
                  </a:lnTo>
                  <a:lnTo>
                    <a:pt x="19" y="12"/>
                  </a:lnTo>
                  <a:lnTo>
                    <a:pt x="6" y="23"/>
                  </a:lnTo>
                  <a:lnTo>
                    <a:pt x="0" y="29"/>
                  </a:lnTo>
                  <a:lnTo>
                    <a:pt x="4" y="38"/>
                  </a:lnTo>
                  <a:lnTo>
                    <a:pt x="12" y="46"/>
                  </a:lnTo>
                  <a:lnTo>
                    <a:pt x="20" y="58"/>
                  </a:lnTo>
                  <a:lnTo>
                    <a:pt x="26" y="66"/>
                  </a:lnTo>
                  <a:lnTo>
                    <a:pt x="19" y="72"/>
                  </a:lnTo>
                  <a:lnTo>
                    <a:pt x="23" y="78"/>
                  </a:lnTo>
                  <a:lnTo>
                    <a:pt x="29" y="76"/>
                  </a:lnTo>
                  <a:lnTo>
                    <a:pt x="36" y="72"/>
                  </a:lnTo>
                  <a:lnTo>
                    <a:pt x="44" y="66"/>
                  </a:lnTo>
                  <a:lnTo>
                    <a:pt x="52" y="61"/>
                  </a:lnTo>
                  <a:lnTo>
                    <a:pt x="59" y="65"/>
                  </a:lnTo>
                  <a:lnTo>
                    <a:pt x="65" y="71"/>
                  </a:lnTo>
                  <a:lnTo>
                    <a:pt x="59" y="76"/>
                  </a:lnTo>
                  <a:lnTo>
                    <a:pt x="57" y="78"/>
                  </a:lnTo>
                  <a:lnTo>
                    <a:pt x="44" y="86"/>
                  </a:lnTo>
                  <a:lnTo>
                    <a:pt x="44" y="88"/>
                  </a:lnTo>
                  <a:lnTo>
                    <a:pt x="47" y="93"/>
                  </a:lnTo>
                  <a:lnTo>
                    <a:pt x="52" y="98"/>
                  </a:lnTo>
                  <a:lnTo>
                    <a:pt x="56" y="101"/>
                  </a:lnTo>
                  <a:lnTo>
                    <a:pt x="62" y="103"/>
                  </a:lnTo>
                  <a:lnTo>
                    <a:pt x="66" y="105"/>
                  </a:lnTo>
                  <a:lnTo>
                    <a:pt x="69" y="105"/>
                  </a:lnTo>
                  <a:lnTo>
                    <a:pt x="72" y="105"/>
                  </a:lnTo>
                  <a:lnTo>
                    <a:pt x="75" y="105"/>
                  </a:lnTo>
                  <a:lnTo>
                    <a:pt x="77" y="103"/>
                  </a:lnTo>
                  <a:lnTo>
                    <a:pt x="79" y="103"/>
                  </a:lnTo>
                  <a:lnTo>
                    <a:pt x="82" y="102"/>
                  </a:lnTo>
                  <a:lnTo>
                    <a:pt x="85" y="105"/>
                  </a:lnTo>
                  <a:lnTo>
                    <a:pt x="87" y="105"/>
                  </a:lnTo>
                  <a:lnTo>
                    <a:pt x="87" y="108"/>
                  </a:lnTo>
                  <a:lnTo>
                    <a:pt x="89" y="111"/>
                  </a:lnTo>
                  <a:lnTo>
                    <a:pt x="90" y="112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3" y="118"/>
                  </a:lnTo>
                  <a:lnTo>
                    <a:pt x="105" y="118"/>
                  </a:lnTo>
                  <a:lnTo>
                    <a:pt x="106" y="115"/>
                  </a:lnTo>
                  <a:lnTo>
                    <a:pt x="108" y="112"/>
                  </a:lnTo>
                  <a:lnTo>
                    <a:pt x="109" y="111"/>
                  </a:lnTo>
                  <a:lnTo>
                    <a:pt x="112" y="111"/>
                  </a:lnTo>
                  <a:lnTo>
                    <a:pt x="116" y="111"/>
                  </a:lnTo>
                  <a:lnTo>
                    <a:pt x="120" y="111"/>
                  </a:lnTo>
                  <a:lnTo>
                    <a:pt x="128" y="111"/>
                  </a:lnTo>
                  <a:lnTo>
                    <a:pt x="128" y="114"/>
                  </a:lnTo>
                  <a:lnTo>
                    <a:pt x="125" y="119"/>
                  </a:lnTo>
                  <a:lnTo>
                    <a:pt x="120" y="132"/>
                  </a:lnTo>
                  <a:lnTo>
                    <a:pt x="125" y="142"/>
                  </a:lnTo>
                  <a:lnTo>
                    <a:pt x="129" y="152"/>
                  </a:lnTo>
                  <a:lnTo>
                    <a:pt x="129" y="152"/>
                  </a:lnTo>
                  <a:close/>
                  <a:moveTo>
                    <a:pt x="165" y="234"/>
                  </a:moveTo>
                  <a:lnTo>
                    <a:pt x="165" y="234"/>
                  </a:lnTo>
                  <a:lnTo>
                    <a:pt x="163" y="242"/>
                  </a:lnTo>
                  <a:lnTo>
                    <a:pt x="162" y="255"/>
                  </a:lnTo>
                  <a:lnTo>
                    <a:pt x="165" y="23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80" name="Freeform 28"/>
            <p:cNvSpPr>
              <a:spLocks noEditPoints="1"/>
            </p:cNvSpPr>
            <p:nvPr/>
          </p:nvSpPr>
          <p:spPr bwMode="auto">
            <a:xfrm>
              <a:off x="1992939" y="4240709"/>
              <a:ext cx="356573" cy="420683"/>
            </a:xfrm>
            <a:custGeom>
              <a:avLst/>
              <a:gdLst>
                <a:gd name="T0" fmla="*/ 165 w 586"/>
                <a:gd name="T1" fmla="*/ 234 h 636"/>
                <a:gd name="T2" fmla="*/ 146 w 586"/>
                <a:gd name="T3" fmla="*/ 311 h 636"/>
                <a:gd name="T4" fmla="*/ 158 w 586"/>
                <a:gd name="T5" fmla="*/ 346 h 636"/>
                <a:gd name="T6" fmla="*/ 165 w 586"/>
                <a:gd name="T7" fmla="*/ 357 h 636"/>
                <a:gd name="T8" fmla="*/ 175 w 586"/>
                <a:gd name="T9" fmla="*/ 380 h 636"/>
                <a:gd name="T10" fmla="*/ 188 w 586"/>
                <a:gd name="T11" fmla="*/ 444 h 636"/>
                <a:gd name="T12" fmla="*/ 186 w 586"/>
                <a:gd name="T13" fmla="*/ 497 h 636"/>
                <a:gd name="T14" fmla="*/ 209 w 586"/>
                <a:gd name="T15" fmla="*/ 512 h 636"/>
                <a:gd name="T16" fmla="*/ 231 w 586"/>
                <a:gd name="T17" fmla="*/ 542 h 636"/>
                <a:gd name="T18" fmla="*/ 251 w 586"/>
                <a:gd name="T19" fmla="*/ 589 h 636"/>
                <a:gd name="T20" fmla="*/ 256 w 586"/>
                <a:gd name="T21" fmla="*/ 626 h 636"/>
                <a:gd name="T22" fmla="*/ 292 w 586"/>
                <a:gd name="T23" fmla="*/ 635 h 636"/>
                <a:gd name="T24" fmla="*/ 329 w 586"/>
                <a:gd name="T25" fmla="*/ 616 h 636"/>
                <a:gd name="T26" fmla="*/ 385 w 586"/>
                <a:gd name="T27" fmla="*/ 596 h 636"/>
                <a:gd name="T28" fmla="*/ 381 w 586"/>
                <a:gd name="T29" fmla="*/ 553 h 636"/>
                <a:gd name="T30" fmla="*/ 427 w 586"/>
                <a:gd name="T31" fmla="*/ 474 h 636"/>
                <a:gd name="T32" fmla="*/ 427 w 586"/>
                <a:gd name="T33" fmla="*/ 450 h 636"/>
                <a:gd name="T34" fmla="*/ 456 w 586"/>
                <a:gd name="T35" fmla="*/ 434 h 636"/>
                <a:gd name="T36" fmla="*/ 490 w 586"/>
                <a:gd name="T37" fmla="*/ 421 h 636"/>
                <a:gd name="T38" fmla="*/ 519 w 586"/>
                <a:gd name="T39" fmla="*/ 409 h 636"/>
                <a:gd name="T40" fmla="*/ 521 w 586"/>
                <a:gd name="T41" fmla="*/ 370 h 636"/>
                <a:gd name="T42" fmla="*/ 527 w 586"/>
                <a:gd name="T43" fmla="*/ 324 h 636"/>
                <a:gd name="T44" fmla="*/ 557 w 586"/>
                <a:gd name="T45" fmla="*/ 288 h 636"/>
                <a:gd name="T46" fmla="*/ 570 w 586"/>
                <a:gd name="T47" fmla="*/ 275 h 636"/>
                <a:gd name="T48" fmla="*/ 523 w 586"/>
                <a:gd name="T49" fmla="*/ 268 h 636"/>
                <a:gd name="T50" fmla="*/ 524 w 586"/>
                <a:gd name="T51" fmla="*/ 208 h 636"/>
                <a:gd name="T52" fmla="*/ 531 w 586"/>
                <a:gd name="T53" fmla="*/ 171 h 636"/>
                <a:gd name="T54" fmla="*/ 557 w 586"/>
                <a:gd name="T55" fmla="*/ 146 h 636"/>
                <a:gd name="T56" fmla="*/ 536 w 586"/>
                <a:gd name="T57" fmla="*/ 119 h 636"/>
                <a:gd name="T58" fmla="*/ 531 w 586"/>
                <a:gd name="T59" fmla="*/ 62 h 636"/>
                <a:gd name="T60" fmla="*/ 487 w 586"/>
                <a:gd name="T61" fmla="*/ 71 h 636"/>
                <a:gd name="T62" fmla="*/ 453 w 586"/>
                <a:gd name="T63" fmla="*/ 30 h 636"/>
                <a:gd name="T64" fmla="*/ 435 w 586"/>
                <a:gd name="T65" fmla="*/ 59 h 636"/>
                <a:gd name="T66" fmla="*/ 407 w 586"/>
                <a:gd name="T67" fmla="*/ 23 h 636"/>
                <a:gd name="T68" fmla="*/ 365 w 586"/>
                <a:gd name="T69" fmla="*/ 16 h 636"/>
                <a:gd name="T70" fmla="*/ 334 w 586"/>
                <a:gd name="T71" fmla="*/ 42 h 636"/>
                <a:gd name="T72" fmla="*/ 325 w 586"/>
                <a:gd name="T73" fmla="*/ 81 h 636"/>
                <a:gd name="T74" fmla="*/ 364 w 586"/>
                <a:gd name="T75" fmla="*/ 75 h 636"/>
                <a:gd name="T76" fmla="*/ 380 w 586"/>
                <a:gd name="T77" fmla="*/ 95 h 636"/>
                <a:gd name="T78" fmla="*/ 312 w 586"/>
                <a:gd name="T79" fmla="*/ 156 h 636"/>
                <a:gd name="T80" fmla="*/ 261 w 586"/>
                <a:gd name="T81" fmla="*/ 152 h 636"/>
                <a:gd name="T82" fmla="*/ 215 w 586"/>
                <a:gd name="T83" fmla="*/ 189 h 636"/>
                <a:gd name="T84" fmla="*/ 209 w 586"/>
                <a:gd name="T85" fmla="*/ 171 h 636"/>
                <a:gd name="T86" fmla="*/ 156 w 586"/>
                <a:gd name="T87" fmla="*/ 172 h 636"/>
                <a:gd name="T88" fmla="*/ 148 w 586"/>
                <a:gd name="T89" fmla="*/ 135 h 636"/>
                <a:gd name="T90" fmla="*/ 149 w 586"/>
                <a:gd name="T91" fmla="*/ 93 h 636"/>
                <a:gd name="T92" fmla="*/ 118 w 586"/>
                <a:gd name="T93" fmla="*/ 39 h 636"/>
                <a:gd name="T94" fmla="*/ 112 w 586"/>
                <a:gd name="T95" fmla="*/ 13 h 636"/>
                <a:gd name="T96" fmla="*/ 89 w 586"/>
                <a:gd name="T97" fmla="*/ 15 h 636"/>
                <a:gd name="T98" fmla="*/ 62 w 586"/>
                <a:gd name="T99" fmla="*/ 20 h 636"/>
                <a:gd name="T100" fmla="*/ 33 w 586"/>
                <a:gd name="T101" fmla="*/ 22 h 636"/>
                <a:gd name="T102" fmla="*/ 12 w 586"/>
                <a:gd name="T103" fmla="*/ 46 h 636"/>
                <a:gd name="T104" fmla="*/ 44 w 586"/>
                <a:gd name="T105" fmla="*/ 66 h 636"/>
                <a:gd name="T106" fmla="*/ 44 w 586"/>
                <a:gd name="T107" fmla="*/ 88 h 636"/>
                <a:gd name="T108" fmla="*/ 72 w 586"/>
                <a:gd name="T109" fmla="*/ 105 h 636"/>
                <a:gd name="T110" fmla="*/ 87 w 586"/>
                <a:gd name="T111" fmla="*/ 108 h 636"/>
                <a:gd name="T112" fmla="*/ 106 w 586"/>
                <a:gd name="T113" fmla="*/ 115 h 636"/>
                <a:gd name="T114" fmla="*/ 128 w 586"/>
                <a:gd name="T115" fmla="*/ 114 h 636"/>
                <a:gd name="T116" fmla="*/ 165 w 586"/>
                <a:gd name="T117" fmla="*/ 234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86" h="636">
                  <a:moveTo>
                    <a:pt x="129" y="152"/>
                  </a:moveTo>
                  <a:lnTo>
                    <a:pt x="130" y="152"/>
                  </a:lnTo>
                  <a:lnTo>
                    <a:pt x="130" y="154"/>
                  </a:lnTo>
                  <a:lnTo>
                    <a:pt x="130" y="159"/>
                  </a:lnTo>
                  <a:lnTo>
                    <a:pt x="135" y="184"/>
                  </a:lnTo>
                  <a:lnTo>
                    <a:pt x="138" y="192"/>
                  </a:lnTo>
                  <a:lnTo>
                    <a:pt x="165" y="234"/>
                  </a:lnTo>
                  <a:lnTo>
                    <a:pt x="162" y="255"/>
                  </a:lnTo>
                  <a:lnTo>
                    <a:pt x="146" y="278"/>
                  </a:lnTo>
                  <a:lnTo>
                    <a:pt x="146" y="278"/>
                  </a:lnTo>
                  <a:lnTo>
                    <a:pt x="145" y="288"/>
                  </a:lnTo>
                  <a:lnTo>
                    <a:pt x="145" y="288"/>
                  </a:lnTo>
                  <a:lnTo>
                    <a:pt x="145" y="298"/>
                  </a:lnTo>
                  <a:lnTo>
                    <a:pt x="146" y="311"/>
                  </a:lnTo>
                  <a:lnTo>
                    <a:pt x="146" y="311"/>
                  </a:lnTo>
                  <a:lnTo>
                    <a:pt x="148" y="321"/>
                  </a:lnTo>
                  <a:lnTo>
                    <a:pt x="150" y="331"/>
                  </a:lnTo>
                  <a:lnTo>
                    <a:pt x="150" y="331"/>
                  </a:lnTo>
                  <a:lnTo>
                    <a:pt x="155" y="341"/>
                  </a:lnTo>
                  <a:lnTo>
                    <a:pt x="158" y="346"/>
                  </a:lnTo>
                  <a:lnTo>
                    <a:pt x="158" y="346"/>
                  </a:lnTo>
                  <a:lnTo>
                    <a:pt x="158" y="347"/>
                  </a:lnTo>
                  <a:lnTo>
                    <a:pt x="158" y="348"/>
                  </a:lnTo>
                  <a:lnTo>
                    <a:pt x="160" y="351"/>
                  </a:lnTo>
                  <a:lnTo>
                    <a:pt x="160" y="351"/>
                  </a:lnTo>
                  <a:lnTo>
                    <a:pt x="162" y="354"/>
                  </a:lnTo>
                  <a:lnTo>
                    <a:pt x="162" y="354"/>
                  </a:lnTo>
                  <a:lnTo>
                    <a:pt x="165" y="357"/>
                  </a:lnTo>
                  <a:lnTo>
                    <a:pt x="165" y="357"/>
                  </a:lnTo>
                  <a:lnTo>
                    <a:pt x="169" y="360"/>
                  </a:lnTo>
                  <a:lnTo>
                    <a:pt x="169" y="360"/>
                  </a:lnTo>
                  <a:lnTo>
                    <a:pt x="172" y="366"/>
                  </a:lnTo>
                  <a:lnTo>
                    <a:pt x="175" y="371"/>
                  </a:lnTo>
                  <a:lnTo>
                    <a:pt x="175" y="377"/>
                  </a:lnTo>
                  <a:lnTo>
                    <a:pt x="175" y="380"/>
                  </a:lnTo>
                  <a:lnTo>
                    <a:pt x="171" y="381"/>
                  </a:lnTo>
                  <a:lnTo>
                    <a:pt x="171" y="386"/>
                  </a:lnTo>
                  <a:lnTo>
                    <a:pt x="179" y="409"/>
                  </a:lnTo>
                  <a:lnTo>
                    <a:pt x="182" y="429"/>
                  </a:lnTo>
                  <a:lnTo>
                    <a:pt x="185" y="436"/>
                  </a:lnTo>
                  <a:lnTo>
                    <a:pt x="186" y="441"/>
                  </a:lnTo>
                  <a:lnTo>
                    <a:pt x="188" y="444"/>
                  </a:lnTo>
                  <a:lnTo>
                    <a:pt x="191" y="457"/>
                  </a:lnTo>
                  <a:lnTo>
                    <a:pt x="192" y="464"/>
                  </a:lnTo>
                  <a:lnTo>
                    <a:pt x="189" y="470"/>
                  </a:lnTo>
                  <a:lnTo>
                    <a:pt x="188" y="474"/>
                  </a:lnTo>
                  <a:lnTo>
                    <a:pt x="188" y="483"/>
                  </a:lnTo>
                  <a:lnTo>
                    <a:pt x="188" y="490"/>
                  </a:lnTo>
                  <a:lnTo>
                    <a:pt x="186" y="497"/>
                  </a:lnTo>
                  <a:lnTo>
                    <a:pt x="188" y="502"/>
                  </a:lnTo>
                  <a:lnTo>
                    <a:pt x="192" y="503"/>
                  </a:lnTo>
                  <a:lnTo>
                    <a:pt x="192" y="503"/>
                  </a:lnTo>
                  <a:lnTo>
                    <a:pt x="198" y="502"/>
                  </a:lnTo>
                  <a:lnTo>
                    <a:pt x="201" y="502"/>
                  </a:lnTo>
                  <a:lnTo>
                    <a:pt x="205" y="506"/>
                  </a:lnTo>
                  <a:lnTo>
                    <a:pt x="209" y="512"/>
                  </a:lnTo>
                  <a:lnTo>
                    <a:pt x="215" y="523"/>
                  </a:lnTo>
                  <a:lnTo>
                    <a:pt x="218" y="530"/>
                  </a:lnTo>
                  <a:lnTo>
                    <a:pt x="218" y="530"/>
                  </a:lnTo>
                  <a:lnTo>
                    <a:pt x="225" y="536"/>
                  </a:lnTo>
                  <a:lnTo>
                    <a:pt x="228" y="539"/>
                  </a:lnTo>
                  <a:lnTo>
                    <a:pt x="231" y="542"/>
                  </a:lnTo>
                  <a:lnTo>
                    <a:pt x="231" y="542"/>
                  </a:lnTo>
                  <a:lnTo>
                    <a:pt x="239" y="549"/>
                  </a:lnTo>
                  <a:lnTo>
                    <a:pt x="242" y="556"/>
                  </a:lnTo>
                  <a:lnTo>
                    <a:pt x="244" y="563"/>
                  </a:lnTo>
                  <a:lnTo>
                    <a:pt x="246" y="573"/>
                  </a:lnTo>
                  <a:lnTo>
                    <a:pt x="246" y="573"/>
                  </a:lnTo>
                  <a:lnTo>
                    <a:pt x="249" y="580"/>
                  </a:lnTo>
                  <a:lnTo>
                    <a:pt x="251" y="589"/>
                  </a:lnTo>
                  <a:lnTo>
                    <a:pt x="252" y="606"/>
                  </a:lnTo>
                  <a:lnTo>
                    <a:pt x="252" y="606"/>
                  </a:lnTo>
                  <a:lnTo>
                    <a:pt x="254" y="613"/>
                  </a:lnTo>
                  <a:lnTo>
                    <a:pt x="256" y="616"/>
                  </a:lnTo>
                  <a:lnTo>
                    <a:pt x="258" y="621"/>
                  </a:lnTo>
                  <a:lnTo>
                    <a:pt x="256" y="626"/>
                  </a:lnTo>
                  <a:lnTo>
                    <a:pt x="256" y="626"/>
                  </a:lnTo>
                  <a:lnTo>
                    <a:pt x="259" y="629"/>
                  </a:lnTo>
                  <a:lnTo>
                    <a:pt x="266" y="632"/>
                  </a:lnTo>
                  <a:lnTo>
                    <a:pt x="275" y="635"/>
                  </a:lnTo>
                  <a:lnTo>
                    <a:pt x="281" y="636"/>
                  </a:lnTo>
                  <a:lnTo>
                    <a:pt x="281" y="636"/>
                  </a:lnTo>
                  <a:lnTo>
                    <a:pt x="287" y="635"/>
                  </a:lnTo>
                  <a:lnTo>
                    <a:pt x="292" y="635"/>
                  </a:lnTo>
                  <a:lnTo>
                    <a:pt x="299" y="631"/>
                  </a:lnTo>
                  <a:lnTo>
                    <a:pt x="308" y="626"/>
                  </a:lnTo>
                  <a:lnTo>
                    <a:pt x="312" y="626"/>
                  </a:lnTo>
                  <a:lnTo>
                    <a:pt x="318" y="625"/>
                  </a:lnTo>
                  <a:lnTo>
                    <a:pt x="318" y="625"/>
                  </a:lnTo>
                  <a:lnTo>
                    <a:pt x="324" y="622"/>
                  </a:lnTo>
                  <a:lnTo>
                    <a:pt x="329" y="616"/>
                  </a:lnTo>
                  <a:lnTo>
                    <a:pt x="335" y="612"/>
                  </a:lnTo>
                  <a:lnTo>
                    <a:pt x="341" y="610"/>
                  </a:lnTo>
                  <a:lnTo>
                    <a:pt x="341" y="610"/>
                  </a:lnTo>
                  <a:lnTo>
                    <a:pt x="360" y="606"/>
                  </a:lnTo>
                  <a:lnTo>
                    <a:pt x="375" y="599"/>
                  </a:lnTo>
                  <a:lnTo>
                    <a:pt x="375" y="599"/>
                  </a:lnTo>
                  <a:lnTo>
                    <a:pt x="385" y="596"/>
                  </a:lnTo>
                  <a:lnTo>
                    <a:pt x="391" y="595"/>
                  </a:lnTo>
                  <a:lnTo>
                    <a:pt x="395" y="595"/>
                  </a:lnTo>
                  <a:lnTo>
                    <a:pt x="403" y="550"/>
                  </a:lnTo>
                  <a:lnTo>
                    <a:pt x="391" y="545"/>
                  </a:lnTo>
                  <a:lnTo>
                    <a:pt x="388" y="552"/>
                  </a:lnTo>
                  <a:lnTo>
                    <a:pt x="385" y="552"/>
                  </a:lnTo>
                  <a:lnTo>
                    <a:pt x="381" y="553"/>
                  </a:lnTo>
                  <a:lnTo>
                    <a:pt x="378" y="547"/>
                  </a:lnTo>
                  <a:lnTo>
                    <a:pt x="374" y="543"/>
                  </a:lnTo>
                  <a:lnTo>
                    <a:pt x="368" y="536"/>
                  </a:lnTo>
                  <a:lnTo>
                    <a:pt x="348" y="526"/>
                  </a:lnTo>
                  <a:lnTo>
                    <a:pt x="434" y="482"/>
                  </a:lnTo>
                  <a:lnTo>
                    <a:pt x="433" y="479"/>
                  </a:lnTo>
                  <a:lnTo>
                    <a:pt x="427" y="474"/>
                  </a:lnTo>
                  <a:lnTo>
                    <a:pt x="420" y="472"/>
                  </a:lnTo>
                  <a:lnTo>
                    <a:pt x="415" y="469"/>
                  </a:lnTo>
                  <a:lnTo>
                    <a:pt x="414" y="466"/>
                  </a:lnTo>
                  <a:lnTo>
                    <a:pt x="415" y="462"/>
                  </a:lnTo>
                  <a:lnTo>
                    <a:pt x="418" y="460"/>
                  </a:lnTo>
                  <a:lnTo>
                    <a:pt x="423" y="456"/>
                  </a:lnTo>
                  <a:lnTo>
                    <a:pt x="427" y="450"/>
                  </a:lnTo>
                  <a:lnTo>
                    <a:pt x="415" y="411"/>
                  </a:lnTo>
                  <a:lnTo>
                    <a:pt x="423" y="413"/>
                  </a:lnTo>
                  <a:lnTo>
                    <a:pt x="435" y="414"/>
                  </a:lnTo>
                  <a:lnTo>
                    <a:pt x="441" y="416"/>
                  </a:lnTo>
                  <a:lnTo>
                    <a:pt x="446" y="417"/>
                  </a:lnTo>
                  <a:lnTo>
                    <a:pt x="448" y="429"/>
                  </a:lnTo>
                  <a:lnTo>
                    <a:pt x="456" y="434"/>
                  </a:lnTo>
                  <a:lnTo>
                    <a:pt x="460" y="437"/>
                  </a:lnTo>
                  <a:lnTo>
                    <a:pt x="464" y="433"/>
                  </a:lnTo>
                  <a:lnTo>
                    <a:pt x="466" y="429"/>
                  </a:lnTo>
                  <a:lnTo>
                    <a:pt x="471" y="423"/>
                  </a:lnTo>
                  <a:lnTo>
                    <a:pt x="480" y="420"/>
                  </a:lnTo>
                  <a:lnTo>
                    <a:pt x="484" y="420"/>
                  </a:lnTo>
                  <a:lnTo>
                    <a:pt x="490" y="421"/>
                  </a:lnTo>
                  <a:lnTo>
                    <a:pt x="496" y="427"/>
                  </a:lnTo>
                  <a:lnTo>
                    <a:pt x="500" y="430"/>
                  </a:lnTo>
                  <a:lnTo>
                    <a:pt x="506" y="430"/>
                  </a:lnTo>
                  <a:lnTo>
                    <a:pt x="510" y="426"/>
                  </a:lnTo>
                  <a:lnTo>
                    <a:pt x="516" y="426"/>
                  </a:lnTo>
                  <a:lnTo>
                    <a:pt x="517" y="420"/>
                  </a:lnTo>
                  <a:lnTo>
                    <a:pt x="519" y="409"/>
                  </a:lnTo>
                  <a:lnTo>
                    <a:pt x="521" y="399"/>
                  </a:lnTo>
                  <a:lnTo>
                    <a:pt x="524" y="396"/>
                  </a:lnTo>
                  <a:lnTo>
                    <a:pt x="523" y="391"/>
                  </a:lnTo>
                  <a:lnTo>
                    <a:pt x="516" y="387"/>
                  </a:lnTo>
                  <a:lnTo>
                    <a:pt x="513" y="383"/>
                  </a:lnTo>
                  <a:lnTo>
                    <a:pt x="521" y="373"/>
                  </a:lnTo>
                  <a:lnTo>
                    <a:pt x="521" y="370"/>
                  </a:lnTo>
                  <a:lnTo>
                    <a:pt x="519" y="364"/>
                  </a:lnTo>
                  <a:lnTo>
                    <a:pt x="517" y="358"/>
                  </a:lnTo>
                  <a:lnTo>
                    <a:pt x="514" y="356"/>
                  </a:lnTo>
                  <a:lnTo>
                    <a:pt x="519" y="350"/>
                  </a:lnTo>
                  <a:lnTo>
                    <a:pt x="523" y="336"/>
                  </a:lnTo>
                  <a:lnTo>
                    <a:pt x="526" y="330"/>
                  </a:lnTo>
                  <a:lnTo>
                    <a:pt x="527" y="324"/>
                  </a:lnTo>
                  <a:lnTo>
                    <a:pt x="530" y="313"/>
                  </a:lnTo>
                  <a:lnTo>
                    <a:pt x="531" y="307"/>
                  </a:lnTo>
                  <a:lnTo>
                    <a:pt x="534" y="303"/>
                  </a:lnTo>
                  <a:lnTo>
                    <a:pt x="536" y="297"/>
                  </a:lnTo>
                  <a:lnTo>
                    <a:pt x="540" y="285"/>
                  </a:lnTo>
                  <a:lnTo>
                    <a:pt x="553" y="288"/>
                  </a:lnTo>
                  <a:lnTo>
                    <a:pt x="557" y="288"/>
                  </a:lnTo>
                  <a:lnTo>
                    <a:pt x="570" y="290"/>
                  </a:lnTo>
                  <a:lnTo>
                    <a:pt x="580" y="290"/>
                  </a:lnTo>
                  <a:lnTo>
                    <a:pt x="584" y="288"/>
                  </a:lnTo>
                  <a:lnTo>
                    <a:pt x="586" y="283"/>
                  </a:lnTo>
                  <a:lnTo>
                    <a:pt x="583" y="278"/>
                  </a:lnTo>
                  <a:lnTo>
                    <a:pt x="582" y="277"/>
                  </a:lnTo>
                  <a:lnTo>
                    <a:pt x="570" y="275"/>
                  </a:lnTo>
                  <a:lnTo>
                    <a:pt x="564" y="274"/>
                  </a:lnTo>
                  <a:lnTo>
                    <a:pt x="556" y="274"/>
                  </a:lnTo>
                  <a:lnTo>
                    <a:pt x="549" y="275"/>
                  </a:lnTo>
                  <a:lnTo>
                    <a:pt x="544" y="275"/>
                  </a:lnTo>
                  <a:lnTo>
                    <a:pt x="537" y="277"/>
                  </a:lnTo>
                  <a:lnTo>
                    <a:pt x="531" y="277"/>
                  </a:lnTo>
                  <a:lnTo>
                    <a:pt x="523" y="268"/>
                  </a:lnTo>
                  <a:lnTo>
                    <a:pt x="519" y="264"/>
                  </a:lnTo>
                  <a:lnTo>
                    <a:pt x="519" y="258"/>
                  </a:lnTo>
                  <a:lnTo>
                    <a:pt x="520" y="250"/>
                  </a:lnTo>
                  <a:lnTo>
                    <a:pt x="519" y="241"/>
                  </a:lnTo>
                  <a:lnTo>
                    <a:pt x="520" y="224"/>
                  </a:lnTo>
                  <a:lnTo>
                    <a:pt x="519" y="219"/>
                  </a:lnTo>
                  <a:lnTo>
                    <a:pt x="524" y="208"/>
                  </a:lnTo>
                  <a:lnTo>
                    <a:pt x="526" y="204"/>
                  </a:lnTo>
                  <a:lnTo>
                    <a:pt x="524" y="201"/>
                  </a:lnTo>
                  <a:lnTo>
                    <a:pt x="524" y="197"/>
                  </a:lnTo>
                  <a:lnTo>
                    <a:pt x="526" y="191"/>
                  </a:lnTo>
                  <a:lnTo>
                    <a:pt x="526" y="184"/>
                  </a:lnTo>
                  <a:lnTo>
                    <a:pt x="529" y="177"/>
                  </a:lnTo>
                  <a:lnTo>
                    <a:pt x="531" y="171"/>
                  </a:lnTo>
                  <a:lnTo>
                    <a:pt x="534" y="168"/>
                  </a:lnTo>
                  <a:lnTo>
                    <a:pt x="537" y="165"/>
                  </a:lnTo>
                  <a:lnTo>
                    <a:pt x="541" y="162"/>
                  </a:lnTo>
                  <a:lnTo>
                    <a:pt x="546" y="159"/>
                  </a:lnTo>
                  <a:lnTo>
                    <a:pt x="551" y="158"/>
                  </a:lnTo>
                  <a:lnTo>
                    <a:pt x="554" y="154"/>
                  </a:lnTo>
                  <a:lnTo>
                    <a:pt x="557" y="146"/>
                  </a:lnTo>
                  <a:lnTo>
                    <a:pt x="549" y="144"/>
                  </a:lnTo>
                  <a:lnTo>
                    <a:pt x="543" y="145"/>
                  </a:lnTo>
                  <a:lnTo>
                    <a:pt x="540" y="144"/>
                  </a:lnTo>
                  <a:lnTo>
                    <a:pt x="534" y="144"/>
                  </a:lnTo>
                  <a:lnTo>
                    <a:pt x="534" y="139"/>
                  </a:lnTo>
                  <a:lnTo>
                    <a:pt x="536" y="125"/>
                  </a:lnTo>
                  <a:lnTo>
                    <a:pt x="536" y="119"/>
                  </a:lnTo>
                  <a:lnTo>
                    <a:pt x="536" y="116"/>
                  </a:lnTo>
                  <a:lnTo>
                    <a:pt x="536" y="109"/>
                  </a:lnTo>
                  <a:lnTo>
                    <a:pt x="534" y="103"/>
                  </a:lnTo>
                  <a:lnTo>
                    <a:pt x="533" y="88"/>
                  </a:lnTo>
                  <a:lnTo>
                    <a:pt x="533" y="79"/>
                  </a:lnTo>
                  <a:lnTo>
                    <a:pt x="531" y="71"/>
                  </a:lnTo>
                  <a:lnTo>
                    <a:pt x="531" y="62"/>
                  </a:lnTo>
                  <a:lnTo>
                    <a:pt x="523" y="59"/>
                  </a:lnTo>
                  <a:lnTo>
                    <a:pt x="517" y="59"/>
                  </a:lnTo>
                  <a:lnTo>
                    <a:pt x="510" y="66"/>
                  </a:lnTo>
                  <a:lnTo>
                    <a:pt x="506" y="71"/>
                  </a:lnTo>
                  <a:lnTo>
                    <a:pt x="500" y="75"/>
                  </a:lnTo>
                  <a:lnTo>
                    <a:pt x="494" y="72"/>
                  </a:lnTo>
                  <a:lnTo>
                    <a:pt x="487" y="71"/>
                  </a:lnTo>
                  <a:lnTo>
                    <a:pt x="486" y="50"/>
                  </a:lnTo>
                  <a:lnTo>
                    <a:pt x="478" y="52"/>
                  </a:lnTo>
                  <a:lnTo>
                    <a:pt x="473" y="45"/>
                  </a:lnTo>
                  <a:lnTo>
                    <a:pt x="490" y="29"/>
                  </a:lnTo>
                  <a:lnTo>
                    <a:pt x="476" y="10"/>
                  </a:lnTo>
                  <a:lnTo>
                    <a:pt x="460" y="26"/>
                  </a:lnTo>
                  <a:lnTo>
                    <a:pt x="453" y="30"/>
                  </a:lnTo>
                  <a:lnTo>
                    <a:pt x="463" y="43"/>
                  </a:lnTo>
                  <a:lnTo>
                    <a:pt x="463" y="45"/>
                  </a:lnTo>
                  <a:lnTo>
                    <a:pt x="460" y="46"/>
                  </a:lnTo>
                  <a:lnTo>
                    <a:pt x="448" y="53"/>
                  </a:lnTo>
                  <a:lnTo>
                    <a:pt x="444" y="58"/>
                  </a:lnTo>
                  <a:lnTo>
                    <a:pt x="440" y="61"/>
                  </a:lnTo>
                  <a:lnTo>
                    <a:pt x="435" y="59"/>
                  </a:lnTo>
                  <a:lnTo>
                    <a:pt x="430" y="53"/>
                  </a:lnTo>
                  <a:lnTo>
                    <a:pt x="427" y="48"/>
                  </a:lnTo>
                  <a:lnTo>
                    <a:pt x="424" y="45"/>
                  </a:lnTo>
                  <a:lnTo>
                    <a:pt x="421" y="40"/>
                  </a:lnTo>
                  <a:lnTo>
                    <a:pt x="417" y="29"/>
                  </a:lnTo>
                  <a:lnTo>
                    <a:pt x="413" y="25"/>
                  </a:lnTo>
                  <a:lnTo>
                    <a:pt x="407" y="23"/>
                  </a:lnTo>
                  <a:lnTo>
                    <a:pt x="403" y="26"/>
                  </a:lnTo>
                  <a:lnTo>
                    <a:pt x="401" y="30"/>
                  </a:lnTo>
                  <a:lnTo>
                    <a:pt x="391" y="30"/>
                  </a:lnTo>
                  <a:lnTo>
                    <a:pt x="384" y="32"/>
                  </a:lnTo>
                  <a:lnTo>
                    <a:pt x="382" y="28"/>
                  </a:lnTo>
                  <a:lnTo>
                    <a:pt x="378" y="22"/>
                  </a:lnTo>
                  <a:lnTo>
                    <a:pt x="365" y="16"/>
                  </a:lnTo>
                  <a:lnTo>
                    <a:pt x="360" y="18"/>
                  </a:lnTo>
                  <a:lnTo>
                    <a:pt x="357" y="19"/>
                  </a:lnTo>
                  <a:lnTo>
                    <a:pt x="352" y="22"/>
                  </a:lnTo>
                  <a:lnTo>
                    <a:pt x="338" y="26"/>
                  </a:lnTo>
                  <a:lnTo>
                    <a:pt x="334" y="32"/>
                  </a:lnTo>
                  <a:lnTo>
                    <a:pt x="335" y="38"/>
                  </a:lnTo>
                  <a:lnTo>
                    <a:pt x="334" y="42"/>
                  </a:lnTo>
                  <a:lnTo>
                    <a:pt x="334" y="50"/>
                  </a:lnTo>
                  <a:lnTo>
                    <a:pt x="332" y="53"/>
                  </a:lnTo>
                  <a:lnTo>
                    <a:pt x="327" y="61"/>
                  </a:lnTo>
                  <a:lnTo>
                    <a:pt x="319" y="65"/>
                  </a:lnTo>
                  <a:lnTo>
                    <a:pt x="317" y="68"/>
                  </a:lnTo>
                  <a:lnTo>
                    <a:pt x="319" y="72"/>
                  </a:lnTo>
                  <a:lnTo>
                    <a:pt x="325" y="81"/>
                  </a:lnTo>
                  <a:lnTo>
                    <a:pt x="332" y="79"/>
                  </a:lnTo>
                  <a:lnTo>
                    <a:pt x="338" y="75"/>
                  </a:lnTo>
                  <a:lnTo>
                    <a:pt x="340" y="73"/>
                  </a:lnTo>
                  <a:lnTo>
                    <a:pt x="352" y="76"/>
                  </a:lnTo>
                  <a:lnTo>
                    <a:pt x="355" y="79"/>
                  </a:lnTo>
                  <a:lnTo>
                    <a:pt x="362" y="79"/>
                  </a:lnTo>
                  <a:lnTo>
                    <a:pt x="364" y="75"/>
                  </a:lnTo>
                  <a:lnTo>
                    <a:pt x="371" y="69"/>
                  </a:lnTo>
                  <a:lnTo>
                    <a:pt x="375" y="69"/>
                  </a:lnTo>
                  <a:lnTo>
                    <a:pt x="377" y="75"/>
                  </a:lnTo>
                  <a:lnTo>
                    <a:pt x="380" y="79"/>
                  </a:lnTo>
                  <a:lnTo>
                    <a:pt x="381" y="82"/>
                  </a:lnTo>
                  <a:lnTo>
                    <a:pt x="374" y="88"/>
                  </a:lnTo>
                  <a:lnTo>
                    <a:pt x="380" y="95"/>
                  </a:lnTo>
                  <a:lnTo>
                    <a:pt x="375" y="99"/>
                  </a:lnTo>
                  <a:lnTo>
                    <a:pt x="372" y="103"/>
                  </a:lnTo>
                  <a:lnTo>
                    <a:pt x="355" y="118"/>
                  </a:lnTo>
                  <a:lnTo>
                    <a:pt x="338" y="134"/>
                  </a:lnTo>
                  <a:lnTo>
                    <a:pt x="322" y="149"/>
                  </a:lnTo>
                  <a:lnTo>
                    <a:pt x="317" y="154"/>
                  </a:lnTo>
                  <a:lnTo>
                    <a:pt x="312" y="156"/>
                  </a:lnTo>
                  <a:lnTo>
                    <a:pt x="304" y="158"/>
                  </a:lnTo>
                  <a:lnTo>
                    <a:pt x="291" y="156"/>
                  </a:lnTo>
                  <a:lnTo>
                    <a:pt x="289" y="154"/>
                  </a:lnTo>
                  <a:lnTo>
                    <a:pt x="277" y="152"/>
                  </a:lnTo>
                  <a:lnTo>
                    <a:pt x="274" y="156"/>
                  </a:lnTo>
                  <a:lnTo>
                    <a:pt x="265" y="156"/>
                  </a:lnTo>
                  <a:lnTo>
                    <a:pt x="261" y="152"/>
                  </a:lnTo>
                  <a:lnTo>
                    <a:pt x="254" y="152"/>
                  </a:lnTo>
                  <a:lnTo>
                    <a:pt x="234" y="151"/>
                  </a:lnTo>
                  <a:lnTo>
                    <a:pt x="232" y="156"/>
                  </a:lnTo>
                  <a:lnTo>
                    <a:pt x="242" y="165"/>
                  </a:lnTo>
                  <a:lnTo>
                    <a:pt x="234" y="169"/>
                  </a:lnTo>
                  <a:lnTo>
                    <a:pt x="222" y="181"/>
                  </a:lnTo>
                  <a:lnTo>
                    <a:pt x="215" y="189"/>
                  </a:lnTo>
                  <a:lnTo>
                    <a:pt x="206" y="194"/>
                  </a:lnTo>
                  <a:lnTo>
                    <a:pt x="195" y="191"/>
                  </a:lnTo>
                  <a:lnTo>
                    <a:pt x="199" y="187"/>
                  </a:lnTo>
                  <a:lnTo>
                    <a:pt x="205" y="185"/>
                  </a:lnTo>
                  <a:lnTo>
                    <a:pt x="206" y="179"/>
                  </a:lnTo>
                  <a:lnTo>
                    <a:pt x="208" y="174"/>
                  </a:lnTo>
                  <a:lnTo>
                    <a:pt x="209" y="171"/>
                  </a:lnTo>
                  <a:lnTo>
                    <a:pt x="205" y="167"/>
                  </a:lnTo>
                  <a:lnTo>
                    <a:pt x="199" y="167"/>
                  </a:lnTo>
                  <a:lnTo>
                    <a:pt x="189" y="172"/>
                  </a:lnTo>
                  <a:lnTo>
                    <a:pt x="178" y="178"/>
                  </a:lnTo>
                  <a:lnTo>
                    <a:pt x="168" y="178"/>
                  </a:lnTo>
                  <a:lnTo>
                    <a:pt x="162" y="178"/>
                  </a:lnTo>
                  <a:lnTo>
                    <a:pt x="156" y="172"/>
                  </a:lnTo>
                  <a:lnTo>
                    <a:pt x="152" y="165"/>
                  </a:lnTo>
                  <a:lnTo>
                    <a:pt x="149" y="159"/>
                  </a:lnTo>
                  <a:lnTo>
                    <a:pt x="148" y="151"/>
                  </a:lnTo>
                  <a:lnTo>
                    <a:pt x="146" y="149"/>
                  </a:lnTo>
                  <a:lnTo>
                    <a:pt x="146" y="149"/>
                  </a:lnTo>
                  <a:lnTo>
                    <a:pt x="148" y="145"/>
                  </a:lnTo>
                  <a:lnTo>
                    <a:pt x="148" y="135"/>
                  </a:lnTo>
                  <a:lnTo>
                    <a:pt x="148" y="132"/>
                  </a:lnTo>
                  <a:lnTo>
                    <a:pt x="148" y="128"/>
                  </a:lnTo>
                  <a:lnTo>
                    <a:pt x="148" y="121"/>
                  </a:lnTo>
                  <a:lnTo>
                    <a:pt x="149" y="108"/>
                  </a:lnTo>
                  <a:lnTo>
                    <a:pt x="149" y="105"/>
                  </a:lnTo>
                  <a:lnTo>
                    <a:pt x="149" y="99"/>
                  </a:lnTo>
                  <a:lnTo>
                    <a:pt x="149" y="93"/>
                  </a:lnTo>
                  <a:lnTo>
                    <a:pt x="146" y="88"/>
                  </a:lnTo>
                  <a:lnTo>
                    <a:pt x="135" y="88"/>
                  </a:lnTo>
                  <a:lnTo>
                    <a:pt x="129" y="86"/>
                  </a:lnTo>
                  <a:lnTo>
                    <a:pt x="123" y="71"/>
                  </a:lnTo>
                  <a:lnTo>
                    <a:pt x="120" y="56"/>
                  </a:lnTo>
                  <a:lnTo>
                    <a:pt x="119" y="46"/>
                  </a:lnTo>
                  <a:lnTo>
                    <a:pt x="118" y="39"/>
                  </a:lnTo>
                  <a:lnTo>
                    <a:pt x="118" y="39"/>
                  </a:lnTo>
                  <a:lnTo>
                    <a:pt x="116" y="33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3"/>
                  </a:lnTo>
                  <a:lnTo>
                    <a:pt x="115" y="20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08" y="8"/>
                  </a:lnTo>
                  <a:lnTo>
                    <a:pt x="105" y="6"/>
                  </a:lnTo>
                  <a:lnTo>
                    <a:pt x="102" y="5"/>
                  </a:lnTo>
                  <a:lnTo>
                    <a:pt x="97" y="0"/>
                  </a:lnTo>
                  <a:lnTo>
                    <a:pt x="96" y="2"/>
                  </a:lnTo>
                  <a:lnTo>
                    <a:pt x="89" y="15"/>
                  </a:lnTo>
                  <a:lnTo>
                    <a:pt x="85" y="22"/>
                  </a:lnTo>
                  <a:lnTo>
                    <a:pt x="83" y="29"/>
                  </a:lnTo>
                  <a:lnTo>
                    <a:pt x="87" y="35"/>
                  </a:lnTo>
                  <a:lnTo>
                    <a:pt x="79" y="39"/>
                  </a:lnTo>
                  <a:lnTo>
                    <a:pt x="75" y="35"/>
                  </a:lnTo>
                  <a:lnTo>
                    <a:pt x="70" y="30"/>
                  </a:lnTo>
                  <a:lnTo>
                    <a:pt x="62" y="20"/>
                  </a:lnTo>
                  <a:lnTo>
                    <a:pt x="57" y="23"/>
                  </a:lnTo>
                  <a:lnTo>
                    <a:pt x="53" y="19"/>
                  </a:lnTo>
                  <a:lnTo>
                    <a:pt x="43" y="25"/>
                  </a:lnTo>
                  <a:lnTo>
                    <a:pt x="49" y="29"/>
                  </a:lnTo>
                  <a:lnTo>
                    <a:pt x="44" y="32"/>
                  </a:lnTo>
                  <a:lnTo>
                    <a:pt x="32" y="29"/>
                  </a:lnTo>
                  <a:lnTo>
                    <a:pt x="33" y="22"/>
                  </a:lnTo>
                  <a:lnTo>
                    <a:pt x="30" y="18"/>
                  </a:lnTo>
                  <a:lnTo>
                    <a:pt x="30" y="9"/>
                  </a:lnTo>
                  <a:lnTo>
                    <a:pt x="19" y="12"/>
                  </a:lnTo>
                  <a:lnTo>
                    <a:pt x="6" y="23"/>
                  </a:lnTo>
                  <a:lnTo>
                    <a:pt x="0" y="29"/>
                  </a:lnTo>
                  <a:lnTo>
                    <a:pt x="4" y="38"/>
                  </a:lnTo>
                  <a:lnTo>
                    <a:pt x="12" y="46"/>
                  </a:lnTo>
                  <a:lnTo>
                    <a:pt x="20" y="58"/>
                  </a:lnTo>
                  <a:lnTo>
                    <a:pt x="26" y="66"/>
                  </a:lnTo>
                  <a:lnTo>
                    <a:pt x="19" y="72"/>
                  </a:lnTo>
                  <a:lnTo>
                    <a:pt x="23" y="78"/>
                  </a:lnTo>
                  <a:lnTo>
                    <a:pt x="29" y="76"/>
                  </a:lnTo>
                  <a:lnTo>
                    <a:pt x="36" y="72"/>
                  </a:lnTo>
                  <a:lnTo>
                    <a:pt x="44" y="66"/>
                  </a:lnTo>
                  <a:lnTo>
                    <a:pt x="52" y="61"/>
                  </a:lnTo>
                  <a:lnTo>
                    <a:pt x="59" y="65"/>
                  </a:lnTo>
                  <a:lnTo>
                    <a:pt x="65" y="71"/>
                  </a:lnTo>
                  <a:lnTo>
                    <a:pt x="59" y="76"/>
                  </a:lnTo>
                  <a:lnTo>
                    <a:pt x="57" y="78"/>
                  </a:lnTo>
                  <a:lnTo>
                    <a:pt x="44" y="86"/>
                  </a:lnTo>
                  <a:lnTo>
                    <a:pt x="44" y="88"/>
                  </a:lnTo>
                  <a:lnTo>
                    <a:pt x="47" y="93"/>
                  </a:lnTo>
                  <a:lnTo>
                    <a:pt x="52" y="98"/>
                  </a:lnTo>
                  <a:lnTo>
                    <a:pt x="56" y="101"/>
                  </a:lnTo>
                  <a:lnTo>
                    <a:pt x="62" y="103"/>
                  </a:lnTo>
                  <a:lnTo>
                    <a:pt x="66" y="105"/>
                  </a:lnTo>
                  <a:lnTo>
                    <a:pt x="69" y="105"/>
                  </a:lnTo>
                  <a:lnTo>
                    <a:pt x="72" y="105"/>
                  </a:lnTo>
                  <a:lnTo>
                    <a:pt x="75" y="105"/>
                  </a:lnTo>
                  <a:lnTo>
                    <a:pt x="77" y="103"/>
                  </a:lnTo>
                  <a:lnTo>
                    <a:pt x="79" y="103"/>
                  </a:lnTo>
                  <a:lnTo>
                    <a:pt x="82" y="102"/>
                  </a:lnTo>
                  <a:lnTo>
                    <a:pt x="85" y="105"/>
                  </a:lnTo>
                  <a:lnTo>
                    <a:pt x="87" y="105"/>
                  </a:lnTo>
                  <a:lnTo>
                    <a:pt x="87" y="108"/>
                  </a:lnTo>
                  <a:lnTo>
                    <a:pt x="89" y="111"/>
                  </a:lnTo>
                  <a:lnTo>
                    <a:pt x="90" y="112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3" y="118"/>
                  </a:lnTo>
                  <a:lnTo>
                    <a:pt x="105" y="118"/>
                  </a:lnTo>
                  <a:lnTo>
                    <a:pt x="106" y="115"/>
                  </a:lnTo>
                  <a:lnTo>
                    <a:pt x="108" y="112"/>
                  </a:lnTo>
                  <a:lnTo>
                    <a:pt x="109" y="111"/>
                  </a:lnTo>
                  <a:lnTo>
                    <a:pt x="112" y="111"/>
                  </a:lnTo>
                  <a:lnTo>
                    <a:pt x="116" y="111"/>
                  </a:lnTo>
                  <a:lnTo>
                    <a:pt x="120" y="111"/>
                  </a:lnTo>
                  <a:lnTo>
                    <a:pt x="128" y="111"/>
                  </a:lnTo>
                  <a:lnTo>
                    <a:pt x="128" y="114"/>
                  </a:lnTo>
                  <a:lnTo>
                    <a:pt x="125" y="119"/>
                  </a:lnTo>
                  <a:lnTo>
                    <a:pt x="120" y="132"/>
                  </a:lnTo>
                  <a:lnTo>
                    <a:pt x="125" y="142"/>
                  </a:lnTo>
                  <a:lnTo>
                    <a:pt x="129" y="152"/>
                  </a:lnTo>
                  <a:lnTo>
                    <a:pt x="129" y="152"/>
                  </a:lnTo>
                  <a:close/>
                  <a:moveTo>
                    <a:pt x="165" y="234"/>
                  </a:moveTo>
                  <a:lnTo>
                    <a:pt x="165" y="234"/>
                  </a:lnTo>
                  <a:lnTo>
                    <a:pt x="163" y="242"/>
                  </a:lnTo>
                  <a:lnTo>
                    <a:pt x="162" y="255"/>
                  </a:lnTo>
                  <a:lnTo>
                    <a:pt x="165" y="234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81" name="Freeform 29"/>
            <p:cNvSpPr>
              <a:spLocks/>
            </p:cNvSpPr>
            <p:nvPr/>
          </p:nvSpPr>
          <p:spPr bwMode="auto">
            <a:xfrm>
              <a:off x="1992939" y="4240709"/>
              <a:ext cx="356573" cy="420683"/>
            </a:xfrm>
            <a:custGeom>
              <a:avLst/>
              <a:gdLst>
                <a:gd name="T0" fmla="*/ 165 w 586"/>
                <a:gd name="T1" fmla="*/ 234 h 636"/>
                <a:gd name="T2" fmla="*/ 146 w 586"/>
                <a:gd name="T3" fmla="*/ 311 h 636"/>
                <a:gd name="T4" fmla="*/ 158 w 586"/>
                <a:gd name="T5" fmla="*/ 346 h 636"/>
                <a:gd name="T6" fmla="*/ 165 w 586"/>
                <a:gd name="T7" fmla="*/ 357 h 636"/>
                <a:gd name="T8" fmla="*/ 175 w 586"/>
                <a:gd name="T9" fmla="*/ 380 h 636"/>
                <a:gd name="T10" fmla="*/ 188 w 586"/>
                <a:gd name="T11" fmla="*/ 444 h 636"/>
                <a:gd name="T12" fmla="*/ 186 w 586"/>
                <a:gd name="T13" fmla="*/ 497 h 636"/>
                <a:gd name="T14" fmla="*/ 209 w 586"/>
                <a:gd name="T15" fmla="*/ 512 h 636"/>
                <a:gd name="T16" fmla="*/ 231 w 586"/>
                <a:gd name="T17" fmla="*/ 542 h 636"/>
                <a:gd name="T18" fmla="*/ 251 w 586"/>
                <a:gd name="T19" fmla="*/ 589 h 636"/>
                <a:gd name="T20" fmla="*/ 256 w 586"/>
                <a:gd name="T21" fmla="*/ 626 h 636"/>
                <a:gd name="T22" fmla="*/ 292 w 586"/>
                <a:gd name="T23" fmla="*/ 635 h 636"/>
                <a:gd name="T24" fmla="*/ 329 w 586"/>
                <a:gd name="T25" fmla="*/ 616 h 636"/>
                <a:gd name="T26" fmla="*/ 385 w 586"/>
                <a:gd name="T27" fmla="*/ 596 h 636"/>
                <a:gd name="T28" fmla="*/ 381 w 586"/>
                <a:gd name="T29" fmla="*/ 553 h 636"/>
                <a:gd name="T30" fmla="*/ 427 w 586"/>
                <a:gd name="T31" fmla="*/ 474 h 636"/>
                <a:gd name="T32" fmla="*/ 427 w 586"/>
                <a:gd name="T33" fmla="*/ 450 h 636"/>
                <a:gd name="T34" fmla="*/ 456 w 586"/>
                <a:gd name="T35" fmla="*/ 434 h 636"/>
                <a:gd name="T36" fmla="*/ 490 w 586"/>
                <a:gd name="T37" fmla="*/ 421 h 636"/>
                <a:gd name="T38" fmla="*/ 519 w 586"/>
                <a:gd name="T39" fmla="*/ 409 h 636"/>
                <a:gd name="T40" fmla="*/ 521 w 586"/>
                <a:gd name="T41" fmla="*/ 370 h 636"/>
                <a:gd name="T42" fmla="*/ 527 w 586"/>
                <a:gd name="T43" fmla="*/ 324 h 636"/>
                <a:gd name="T44" fmla="*/ 557 w 586"/>
                <a:gd name="T45" fmla="*/ 288 h 636"/>
                <a:gd name="T46" fmla="*/ 570 w 586"/>
                <a:gd name="T47" fmla="*/ 275 h 636"/>
                <a:gd name="T48" fmla="*/ 523 w 586"/>
                <a:gd name="T49" fmla="*/ 268 h 636"/>
                <a:gd name="T50" fmla="*/ 524 w 586"/>
                <a:gd name="T51" fmla="*/ 208 h 636"/>
                <a:gd name="T52" fmla="*/ 531 w 586"/>
                <a:gd name="T53" fmla="*/ 171 h 636"/>
                <a:gd name="T54" fmla="*/ 557 w 586"/>
                <a:gd name="T55" fmla="*/ 146 h 636"/>
                <a:gd name="T56" fmla="*/ 536 w 586"/>
                <a:gd name="T57" fmla="*/ 119 h 636"/>
                <a:gd name="T58" fmla="*/ 531 w 586"/>
                <a:gd name="T59" fmla="*/ 62 h 636"/>
                <a:gd name="T60" fmla="*/ 487 w 586"/>
                <a:gd name="T61" fmla="*/ 71 h 636"/>
                <a:gd name="T62" fmla="*/ 453 w 586"/>
                <a:gd name="T63" fmla="*/ 30 h 636"/>
                <a:gd name="T64" fmla="*/ 435 w 586"/>
                <a:gd name="T65" fmla="*/ 59 h 636"/>
                <a:gd name="T66" fmla="*/ 407 w 586"/>
                <a:gd name="T67" fmla="*/ 23 h 636"/>
                <a:gd name="T68" fmla="*/ 365 w 586"/>
                <a:gd name="T69" fmla="*/ 16 h 636"/>
                <a:gd name="T70" fmla="*/ 334 w 586"/>
                <a:gd name="T71" fmla="*/ 42 h 636"/>
                <a:gd name="T72" fmla="*/ 325 w 586"/>
                <a:gd name="T73" fmla="*/ 81 h 636"/>
                <a:gd name="T74" fmla="*/ 364 w 586"/>
                <a:gd name="T75" fmla="*/ 75 h 636"/>
                <a:gd name="T76" fmla="*/ 380 w 586"/>
                <a:gd name="T77" fmla="*/ 95 h 636"/>
                <a:gd name="T78" fmla="*/ 312 w 586"/>
                <a:gd name="T79" fmla="*/ 156 h 636"/>
                <a:gd name="T80" fmla="*/ 261 w 586"/>
                <a:gd name="T81" fmla="*/ 152 h 636"/>
                <a:gd name="T82" fmla="*/ 215 w 586"/>
                <a:gd name="T83" fmla="*/ 189 h 636"/>
                <a:gd name="T84" fmla="*/ 209 w 586"/>
                <a:gd name="T85" fmla="*/ 171 h 636"/>
                <a:gd name="T86" fmla="*/ 156 w 586"/>
                <a:gd name="T87" fmla="*/ 172 h 636"/>
                <a:gd name="T88" fmla="*/ 148 w 586"/>
                <a:gd name="T89" fmla="*/ 135 h 636"/>
                <a:gd name="T90" fmla="*/ 149 w 586"/>
                <a:gd name="T91" fmla="*/ 93 h 636"/>
                <a:gd name="T92" fmla="*/ 118 w 586"/>
                <a:gd name="T93" fmla="*/ 39 h 636"/>
                <a:gd name="T94" fmla="*/ 112 w 586"/>
                <a:gd name="T95" fmla="*/ 13 h 636"/>
                <a:gd name="T96" fmla="*/ 89 w 586"/>
                <a:gd name="T97" fmla="*/ 15 h 636"/>
                <a:gd name="T98" fmla="*/ 62 w 586"/>
                <a:gd name="T99" fmla="*/ 20 h 636"/>
                <a:gd name="T100" fmla="*/ 33 w 586"/>
                <a:gd name="T101" fmla="*/ 22 h 636"/>
                <a:gd name="T102" fmla="*/ 12 w 586"/>
                <a:gd name="T103" fmla="*/ 46 h 636"/>
                <a:gd name="T104" fmla="*/ 44 w 586"/>
                <a:gd name="T105" fmla="*/ 66 h 636"/>
                <a:gd name="T106" fmla="*/ 44 w 586"/>
                <a:gd name="T107" fmla="*/ 88 h 636"/>
                <a:gd name="T108" fmla="*/ 72 w 586"/>
                <a:gd name="T109" fmla="*/ 105 h 636"/>
                <a:gd name="T110" fmla="*/ 87 w 586"/>
                <a:gd name="T111" fmla="*/ 108 h 636"/>
                <a:gd name="T112" fmla="*/ 106 w 586"/>
                <a:gd name="T113" fmla="*/ 115 h 636"/>
                <a:gd name="T114" fmla="*/ 128 w 586"/>
                <a:gd name="T115" fmla="*/ 114 h 6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86" h="636">
                  <a:moveTo>
                    <a:pt x="129" y="152"/>
                  </a:moveTo>
                  <a:lnTo>
                    <a:pt x="130" y="152"/>
                  </a:lnTo>
                  <a:lnTo>
                    <a:pt x="130" y="154"/>
                  </a:lnTo>
                  <a:lnTo>
                    <a:pt x="130" y="159"/>
                  </a:lnTo>
                  <a:lnTo>
                    <a:pt x="135" y="184"/>
                  </a:lnTo>
                  <a:lnTo>
                    <a:pt x="138" y="192"/>
                  </a:lnTo>
                  <a:lnTo>
                    <a:pt x="165" y="234"/>
                  </a:lnTo>
                  <a:lnTo>
                    <a:pt x="162" y="255"/>
                  </a:lnTo>
                  <a:lnTo>
                    <a:pt x="146" y="278"/>
                  </a:lnTo>
                  <a:lnTo>
                    <a:pt x="146" y="278"/>
                  </a:lnTo>
                  <a:lnTo>
                    <a:pt x="145" y="288"/>
                  </a:lnTo>
                  <a:lnTo>
                    <a:pt x="145" y="288"/>
                  </a:lnTo>
                  <a:lnTo>
                    <a:pt x="145" y="298"/>
                  </a:lnTo>
                  <a:lnTo>
                    <a:pt x="146" y="311"/>
                  </a:lnTo>
                  <a:lnTo>
                    <a:pt x="146" y="311"/>
                  </a:lnTo>
                  <a:lnTo>
                    <a:pt x="148" y="321"/>
                  </a:lnTo>
                  <a:lnTo>
                    <a:pt x="150" y="331"/>
                  </a:lnTo>
                  <a:lnTo>
                    <a:pt x="150" y="331"/>
                  </a:lnTo>
                  <a:lnTo>
                    <a:pt x="155" y="341"/>
                  </a:lnTo>
                  <a:lnTo>
                    <a:pt x="158" y="346"/>
                  </a:lnTo>
                  <a:lnTo>
                    <a:pt x="158" y="346"/>
                  </a:lnTo>
                  <a:lnTo>
                    <a:pt x="158" y="347"/>
                  </a:lnTo>
                  <a:lnTo>
                    <a:pt x="158" y="348"/>
                  </a:lnTo>
                  <a:lnTo>
                    <a:pt x="160" y="351"/>
                  </a:lnTo>
                  <a:lnTo>
                    <a:pt x="160" y="351"/>
                  </a:lnTo>
                  <a:lnTo>
                    <a:pt x="162" y="354"/>
                  </a:lnTo>
                  <a:lnTo>
                    <a:pt x="162" y="354"/>
                  </a:lnTo>
                  <a:lnTo>
                    <a:pt x="165" y="357"/>
                  </a:lnTo>
                  <a:lnTo>
                    <a:pt x="165" y="357"/>
                  </a:lnTo>
                  <a:lnTo>
                    <a:pt x="169" y="360"/>
                  </a:lnTo>
                  <a:lnTo>
                    <a:pt x="169" y="360"/>
                  </a:lnTo>
                  <a:lnTo>
                    <a:pt x="172" y="366"/>
                  </a:lnTo>
                  <a:lnTo>
                    <a:pt x="175" y="371"/>
                  </a:lnTo>
                  <a:lnTo>
                    <a:pt x="175" y="377"/>
                  </a:lnTo>
                  <a:lnTo>
                    <a:pt x="175" y="380"/>
                  </a:lnTo>
                  <a:lnTo>
                    <a:pt x="171" y="381"/>
                  </a:lnTo>
                  <a:lnTo>
                    <a:pt x="171" y="386"/>
                  </a:lnTo>
                  <a:lnTo>
                    <a:pt x="179" y="409"/>
                  </a:lnTo>
                  <a:lnTo>
                    <a:pt x="182" y="429"/>
                  </a:lnTo>
                  <a:lnTo>
                    <a:pt x="185" y="436"/>
                  </a:lnTo>
                  <a:lnTo>
                    <a:pt x="186" y="441"/>
                  </a:lnTo>
                  <a:lnTo>
                    <a:pt x="188" y="444"/>
                  </a:lnTo>
                  <a:lnTo>
                    <a:pt x="191" y="457"/>
                  </a:lnTo>
                  <a:lnTo>
                    <a:pt x="192" y="464"/>
                  </a:lnTo>
                  <a:lnTo>
                    <a:pt x="189" y="470"/>
                  </a:lnTo>
                  <a:lnTo>
                    <a:pt x="188" y="474"/>
                  </a:lnTo>
                  <a:lnTo>
                    <a:pt x="188" y="483"/>
                  </a:lnTo>
                  <a:lnTo>
                    <a:pt x="188" y="490"/>
                  </a:lnTo>
                  <a:lnTo>
                    <a:pt x="186" y="497"/>
                  </a:lnTo>
                  <a:lnTo>
                    <a:pt x="188" y="502"/>
                  </a:lnTo>
                  <a:lnTo>
                    <a:pt x="192" y="503"/>
                  </a:lnTo>
                  <a:lnTo>
                    <a:pt x="192" y="503"/>
                  </a:lnTo>
                  <a:lnTo>
                    <a:pt x="198" y="502"/>
                  </a:lnTo>
                  <a:lnTo>
                    <a:pt x="201" y="502"/>
                  </a:lnTo>
                  <a:lnTo>
                    <a:pt x="205" y="506"/>
                  </a:lnTo>
                  <a:lnTo>
                    <a:pt x="209" y="512"/>
                  </a:lnTo>
                  <a:lnTo>
                    <a:pt x="215" y="523"/>
                  </a:lnTo>
                  <a:lnTo>
                    <a:pt x="218" y="530"/>
                  </a:lnTo>
                  <a:lnTo>
                    <a:pt x="218" y="530"/>
                  </a:lnTo>
                  <a:lnTo>
                    <a:pt x="225" y="536"/>
                  </a:lnTo>
                  <a:lnTo>
                    <a:pt x="228" y="539"/>
                  </a:lnTo>
                  <a:lnTo>
                    <a:pt x="231" y="542"/>
                  </a:lnTo>
                  <a:lnTo>
                    <a:pt x="231" y="542"/>
                  </a:lnTo>
                  <a:lnTo>
                    <a:pt x="239" y="549"/>
                  </a:lnTo>
                  <a:lnTo>
                    <a:pt x="242" y="556"/>
                  </a:lnTo>
                  <a:lnTo>
                    <a:pt x="244" y="563"/>
                  </a:lnTo>
                  <a:lnTo>
                    <a:pt x="246" y="573"/>
                  </a:lnTo>
                  <a:lnTo>
                    <a:pt x="246" y="573"/>
                  </a:lnTo>
                  <a:lnTo>
                    <a:pt x="249" y="580"/>
                  </a:lnTo>
                  <a:lnTo>
                    <a:pt x="251" y="589"/>
                  </a:lnTo>
                  <a:lnTo>
                    <a:pt x="252" y="606"/>
                  </a:lnTo>
                  <a:lnTo>
                    <a:pt x="252" y="606"/>
                  </a:lnTo>
                  <a:lnTo>
                    <a:pt x="254" y="613"/>
                  </a:lnTo>
                  <a:lnTo>
                    <a:pt x="256" y="616"/>
                  </a:lnTo>
                  <a:lnTo>
                    <a:pt x="258" y="621"/>
                  </a:lnTo>
                  <a:lnTo>
                    <a:pt x="256" y="626"/>
                  </a:lnTo>
                  <a:lnTo>
                    <a:pt x="256" y="626"/>
                  </a:lnTo>
                  <a:lnTo>
                    <a:pt x="259" y="629"/>
                  </a:lnTo>
                  <a:lnTo>
                    <a:pt x="266" y="632"/>
                  </a:lnTo>
                  <a:lnTo>
                    <a:pt x="275" y="635"/>
                  </a:lnTo>
                  <a:lnTo>
                    <a:pt x="281" y="636"/>
                  </a:lnTo>
                  <a:lnTo>
                    <a:pt x="281" y="636"/>
                  </a:lnTo>
                  <a:lnTo>
                    <a:pt x="287" y="635"/>
                  </a:lnTo>
                  <a:lnTo>
                    <a:pt x="292" y="635"/>
                  </a:lnTo>
                  <a:lnTo>
                    <a:pt x="299" y="631"/>
                  </a:lnTo>
                  <a:lnTo>
                    <a:pt x="308" y="626"/>
                  </a:lnTo>
                  <a:lnTo>
                    <a:pt x="312" y="626"/>
                  </a:lnTo>
                  <a:lnTo>
                    <a:pt x="318" y="625"/>
                  </a:lnTo>
                  <a:lnTo>
                    <a:pt x="318" y="625"/>
                  </a:lnTo>
                  <a:lnTo>
                    <a:pt x="324" y="622"/>
                  </a:lnTo>
                  <a:lnTo>
                    <a:pt x="329" y="616"/>
                  </a:lnTo>
                  <a:lnTo>
                    <a:pt x="335" y="612"/>
                  </a:lnTo>
                  <a:lnTo>
                    <a:pt x="341" y="610"/>
                  </a:lnTo>
                  <a:lnTo>
                    <a:pt x="341" y="610"/>
                  </a:lnTo>
                  <a:lnTo>
                    <a:pt x="360" y="606"/>
                  </a:lnTo>
                  <a:lnTo>
                    <a:pt x="375" y="599"/>
                  </a:lnTo>
                  <a:lnTo>
                    <a:pt x="375" y="599"/>
                  </a:lnTo>
                  <a:lnTo>
                    <a:pt x="385" y="596"/>
                  </a:lnTo>
                  <a:lnTo>
                    <a:pt x="391" y="595"/>
                  </a:lnTo>
                  <a:lnTo>
                    <a:pt x="395" y="595"/>
                  </a:lnTo>
                  <a:lnTo>
                    <a:pt x="403" y="550"/>
                  </a:lnTo>
                  <a:lnTo>
                    <a:pt x="391" y="545"/>
                  </a:lnTo>
                  <a:lnTo>
                    <a:pt x="388" y="552"/>
                  </a:lnTo>
                  <a:lnTo>
                    <a:pt x="385" y="552"/>
                  </a:lnTo>
                  <a:lnTo>
                    <a:pt x="381" y="553"/>
                  </a:lnTo>
                  <a:lnTo>
                    <a:pt x="378" y="547"/>
                  </a:lnTo>
                  <a:lnTo>
                    <a:pt x="374" y="543"/>
                  </a:lnTo>
                  <a:lnTo>
                    <a:pt x="368" y="536"/>
                  </a:lnTo>
                  <a:lnTo>
                    <a:pt x="348" y="526"/>
                  </a:lnTo>
                  <a:lnTo>
                    <a:pt x="434" y="482"/>
                  </a:lnTo>
                  <a:lnTo>
                    <a:pt x="433" y="479"/>
                  </a:lnTo>
                  <a:lnTo>
                    <a:pt x="427" y="474"/>
                  </a:lnTo>
                  <a:lnTo>
                    <a:pt x="420" y="472"/>
                  </a:lnTo>
                  <a:lnTo>
                    <a:pt x="415" y="469"/>
                  </a:lnTo>
                  <a:lnTo>
                    <a:pt x="414" y="466"/>
                  </a:lnTo>
                  <a:lnTo>
                    <a:pt x="415" y="462"/>
                  </a:lnTo>
                  <a:lnTo>
                    <a:pt x="418" y="460"/>
                  </a:lnTo>
                  <a:lnTo>
                    <a:pt x="423" y="456"/>
                  </a:lnTo>
                  <a:lnTo>
                    <a:pt x="427" y="450"/>
                  </a:lnTo>
                  <a:lnTo>
                    <a:pt x="415" y="411"/>
                  </a:lnTo>
                  <a:lnTo>
                    <a:pt x="423" y="413"/>
                  </a:lnTo>
                  <a:lnTo>
                    <a:pt x="435" y="414"/>
                  </a:lnTo>
                  <a:lnTo>
                    <a:pt x="441" y="416"/>
                  </a:lnTo>
                  <a:lnTo>
                    <a:pt x="446" y="417"/>
                  </a:lnTo>
                  <a:lnTo>
                    <a:pt x="448" y="429"/>
                  </a:lnTo>
                  <a:lnTo>
                    <a:pt x="456" y="434"/>
                  </a:lnTo>
                  <a:lnTo>
                    <a:pt x="460" y="437"/>
                  </a:lnTo>
                  <a:lnTo>
                    <a:pt x="464" y="433"/>
                  </a:lnTo>
                  <a:lnTo>
                    <a:pt x="466" y="429"/>
                  </a:lnTo>
                  <a:lnTo>
                    <a:pt x="471" y="423"/>
                  </a:lnTo>
                  <a:lnTo>
                    <a:pt x="480" y="420"/>
                  </a:lnTo>
                  <a:lnTo>
                    <a:pt x="484" y="420"/>
                  </a:lnTo>
                  <a:lnTo>
                    <a:pt x="490" y="421"/>
                  </a:lnTo>
                  <a:lnTo>
                    <a:pt x="496" y="427"/>
                  </a:lnTo>
                  <a:lnTo>
                    <a:pt x="500" y="430"/>
                  </a:lnTo>
                  <a:lnTo>
                    <a:pt x="506" y="430"/>
                  </a:lnTo>
                  <a:lnTo>
                    <a:pt x="510" y="426"/>
                  </a:lnTo>
                  <a:lnTo>
                    <a:pt x="516" y="426"/>
                  </a:lnTo>
                  <a:lnTo>
                    <a:pt x="517" y="420"/>
                  </a:lnTo>
                  <a:lnTo>
                    <a:pt x="519" y="409"/>
                  </a:lnTo>
                  <a:lnTo>
                    <a:pt x="521" y="399"/>
                  </a:lnTo>
                  <a:lnTo>
                    <a:pt x="524" y="396"/>
                  </a:lnTo>
                  <a:lnTo>
                    <a:pt x="523" y="391"/>
                  </a:lnTo>
                  <a:lnTo>
                    <a:pt x="516" y="387"/>
                  </a:lnTo>
                  <a:lnTo>
                    <a:pt x="513" y="383"/>
                  </a:lnTo>
                  <a:lnTo>
                    <a:pt x="521" y="373"/>
                  </a:lnTo>
                  <a:lnTo>
                    <a:pt x="521" y="370"/>
                  </a:lnTo>
                  <a:lnTo>
                    <a:pt x="519" y="364"/>
                  </a:lnTo>
                  <a:lnTo>
                    <a:pt x="517" y="358"/>
                  </a:lnTo>
                  <a:lnTo>
                    <a:pt x="514" y="356"/>
                  </a:lnTo>
                  <a:lnTo>
                    <a:pt x="519" y="350"/>
                  </a:lnTo>
                  <a:lnTo>
                    <a:pt x="523" y="336"/>
                  </a:lnTo>
                  <a:lnTo>
                    <a:pt x="526" y="330"/>
                  </a:lnTo>
                  <a:lnTo>
                    <a:pt x="527" y="324"/>
                  </a:lnTo>
                  <a:lnTo>
                    <a:pt x="530" y="313"/>
                  </a:lnTo>
                  <a:lnTo>
                    <a:pt x="531" y="307"/>
                  </a:lnTo>
                  <a:lnTo>
                    <a:pt x="534" y="303"/>
                  </a:lnTo>
                  <a:lnTo>
                    <a:pt x="536" y="297"/>
                  </a:lnTo>
                  <a:lnTo>
                    <a:pt x="540" y="285"/>
                  </a:lnTo>
                  <a:lnTo>
                    <a:pt x="553" y="288"/>
                  </a:lnTo>
                  <a:lnTo>
                    <a:pt x="557" y="288"/>
                  </a:lnTo>
                  <a:lnTo>
                    <a:pt x="570" y="290"/>
                  </a:lnTo>
                  <a:lnTo>
                    <a:pt x="580" y="290"/>
                  </a:lnTo>
                  <a:lnTo>
                    <a:pt x="584" y="288"/>
                  </a:lnTo>
                  <a:lnTo>
                    <a:pt x="586" y="283"/>
                  </a:lnTo>
                  <a:lnTo>
                    <a:pt x="583" y="278"/>
                  </a:lnTo>
                  <a:lnTo>
                    <a:pt x="582" y="277"/>
                  </a:lnTo>
                  <a:lnTo>
                    <a:pt x="570" y="275"/>
                  </a:lnTo>
                  <a:lnTo>
                    <a:pt x="564" y="274"/>
                  </a:lnTo>
                  <a:lnTo>
                    <a:pt x="556" y="274"/>
                  </a:lnTo>
                  <a:lnTo>
                    <a:pt x="549" y="275"/>
                  </a:lnTo>
                  <a:lnTo>
                    <a:pt x="544" y="275"/>
                  </a:lnTo>
                  <a:lnTo>
                    <a:pt x="537" y="277"/>
                  </a:lnTo>
                  <a:lnTo>
                    <a:pt x="531" y="277"/>
                  </a:lnTo>
                  <a:lnTo>
                    <a:pt x="523" y="268"/>
                  </a:lnTo>
                  <a:lnTo>
                    <a:pt x="519" y="264"/>
                  </a:lnTo>
                  <a:lnTo>
                    <a:pt x="519" y="258"/>
                  </a:lnTo>
                  <a:lnTo>
                    <a:pt x="520" y="250"/>
                  </a:lnTo>
                  <a:lnTo>
                    <a:pt x="519" y="241"/>
                  </a:lnTo>
                  <a:lnTo>
                    <a:pt x="520" y="224"/>
                  </a:lnTo>
                  <a:lnTo>
                    <a:pt x="519" y="219"/>
                  </a:lnTo>
                  <a:lnTo>
                    <a:pt x="524" y="208"/>
                  </a:lnTo>
                  <a:lnTo>
                    <a:pt x="526" y="204"/>
                  </a:lnTo>
                  <a:lnTo>
                    <a:pt x="524" y="201"/>
                  </a:lnTo>
                  <a:lnTo>
                    <a:pt x="524" y="197"/>
                  </a:lnTo>
                  <a:lnTo>
                    <a:pt x="526" y="191"/>
                  </a:lnTo>
                  <a:lnTo>
                    <a:pt x="526" y="184"/>
                  </a:lnTo>
                  <a:lnTo>
                    <a:pt x="529" y="177"/>
                  </a:lnTo>
                  <a:lnTo>
                    <a:pt x="531" y="171"/>
                  </a:lnTo>
                  <a:lnTo>
                    <a:pt x="534" y="168"/>
                  </a:lnTo>
                  <a:lnTo>
                    <a:pt x="537" y="165"/>
                  </a:lnTo>
                  <a:lnTo>
                    <a:pt x="541" y="162"/>
                  </a:lnTo>
                  <a:lnTo>
                    <a:pt x="546" y="159"/>
                  </a:lnTo>
                  <a:lnTo>
                    <a:pt x="551" y="158"/>
                  </a:lnTo>
                  <a:lnTo>
                    <a:pt x="554" y="154"/>
                  </a:lnTo>
                  <a:lnTo>
                    <a:pt x="557" y="146"/>
                  </a:lnTo>
                  <a:lnTo>
                    <a:pt x="549" y="144"/>
                  </a:lnTo>
                  <a:lnTo>
                    <a:pt x="543" y="145"/>
                  </a:lnTo>
                  <a:lnTo>
                    <a:pt x="540" y="144"/>
                  </a:lnTo>
                  <a:lnTo>
                    <a:pt x="534" y="144"/>
                  </a:lnTo>
                  <a:lnTo>
                    <a:pt x="534" y="139"/>
                  </a:lnTo>
                  <a:lnTo>
                    <a:pt x="536" y="125"/>
                  </a:lnTo>
                  <a:lnTo>
                    <a:pt x="536" y="119"/>
                  </a:lnTo>
                  <a:lnTo>
                    <a:pt x="536" y="116"/>
                  </a:lnTo>
                  <a:lnTo>
                    <a:pt x="536" y="109"/>
                  </a:lnTo>
                  <a:lnTo>
                    <a:pt x="534" y="103"/>
                  </a:lnTo>
                  <a:lnTo>
                    <a:pt x="533" y="88"/>
                  </a:lnTo>
                  <a:lnTo>
                    <a:pt x="533" y="79"/>
                  </a:lnTo>
                  <a:lnTo>
                    <a:pt x="531" y="71"/>
                  </a:lnTo>
                  <a:lnTo>
                    <a:pt x="531" y="62"/>
                  </a:lnTo>
                  <a:lnTo>
                    <a:pt x="523" y="59"/>
                  </a:lnTo>
                  <a:lnTo>
                    <a:pt x="517" y="59"/>
                  </a:lnTo>
                  <a:lnTo>
                    <a:pt x="510" y="66"/>
                  </a:lnTo>
                  <a:lnTo>
                    <a:pt x="506" y="71"/>
                  </a:lnTo>
                  <a:lnTo>
                    <a:pt x="500" y="75"/>
                  </a:lnTo>
                  <a:lnTo>
                    <a:pt x="494" y="72"/>
                  </a:lnTo>
                  <a:lnTo>
                    <a:pt x="487" y="71"/>
                  </a:lnTo>
                  <a:lnTo>
                    <a:pt x="486" y="50"/>
                  </a:lnTo>
                  <a:lnTo>
                    <a:pt x="478" y="52"/>
                  </a:lnTo>
                  <a:lnTo>
                    <a:pt x="473" y="45"/>
                  </a:lnTo>
                  <a:lnTo>
                    <a:pt x="490" y="29"/>
                  </a:lnTo>
                  <a:lnTo>
                    <a:pt x="476" y="10"/>
                  </a:lnTo>
                  <a:lnTo>
                    <a:pt x="460" y="26"/>
                  </a:lnTo>
                  <a:lnTo>
                    <a:pt x="453" y="30"/>
                  </a:lnTo>
                  <a:lnTo>
                    <a:pt x="463" y="43"/>
                  </a:lnTo>
                  <a:lnTo>
                    <a:pt x="463" y="45"/>
                  </a:lnTo>
                  <a:lnTo>
                    <a:pt x="460" y="46"/>
                  </a:lnTo>
                  <a:lnTo>
                    <a:pt x="448" y="53"/>
                  </a:lnTo>
                  <a:lnTo>
                    <a:pt x="444" y="58"/>
                  </a:lnTo>
                  <a:lnTo>
                    <a:pt x="440" y="61"/>
                  </a:lnTo>
                  <a:lnTo>
                    <a:pt x="435" y="59"/>
                  </a:lnTo>
                  <a:lnTo>
                    <a:pt x="430" y="53"/>
                  </a:lnTo>
                  <a:lnTo>
                    <a:pt x="427" y="48"/>
                  </a:lnTo>
                  <a:lnTo>
                    <a:pt x="424" y="45"/>
                  </a:lnTo>
                  <a:lnTo>
                    <a:pt x="421" y="40"/>
                  </a:lnTo>
                  <a:lnTo>
                    <a:pt x="417" y="29"/>
                  </a:lnTo>
                  <a:lnTo>
                    <a:pt x="413" y="25"/>
                  </a:lnTo>
                  <a:lnTo>
                    <a:pt x="407" y="23"/>
                  </a:lnTo>
                  <a:lnTo>
                    <a:pt x="403" y="26"/>
                  </a:lnTo>
                  <a:lnTo>
                    <a:pt x="401" y="30"/>
                  </a:lnTo>
                  <a:lnTo>
                    <a:pt x="391" y="30"/>
                  </a:lnTo>
                  <a:lnTo>
                    <a:pt x="384" y="32"/>
                  </a:lnTo>
                  <a:lnTo>
                    <a:pt x="382" y="28"/>
                  </a:lnTo>
                  <a:lnTo>
                    <a:pt x="378" y="22"/>
                  </a:lnTo>
                  <a:lnTo>
                    <a:pt x="365" y="16"/>
                  </a:lnTo>
                  <a:lnTo>
                    <a:pt x="360" y="18"/>
                  </a:lnTo>
                  <a:lnTo>
                    <a:pt x="357" y="19"/>
                  </a:lnTo>
                  <a:lnTo>
                    <a:pt x="352" y="22"/>
                  </a:lnTo>
                  <a:lnTo>
                    <a:pt x="338" y="26"/>
                  </a:lnTo>
                  <a:lnTo>
                    <a:pt x="334" y="32"/>
                  </a:lnTo>
                  <a:lnTo>
                    <a:pt x="335" y="38"/>
                  </a:lnTo>
                  <a:lnTo>
                    <a:pt x="334" y="42"/>
                  </a:lnTo>
                  <a:lnTo>
                    <a:pt x="334" y="50"/>
                  </a:lnTo>
                  <a:lnTo>
                    <a:pt x="332" y="53"/>
                  </a:lnTo>
                  <a:lnTo>
                    <a:pt x="327" y="61"/>
                  </a:lnTo>
                  <a:lnTo>
                    <a:pt x="319" y="65"/>
                  </a:lnTo>
                  <a:lnTo>
                    <a:pt x="317" y="68"/>
                  </a:lnTo>
                  <a:lnTo>
                    <a:pt x="319" y="72"/>
                  </a:lnTo>
                  <a:lnTo>
                    <a:pt x="325" y="81"/>
                  </a:lnTo>
                  <a:lnTo>
                    <a:pt x="332" y="79"/>
                  </a:lnTo>
                  <a:lnTo>
                    <a:pt x="338" y="75"/>
                  </a:lnTo>
                  <a:lnTo>
                    <a:pt x="340" y="73"/>
                  </a:lnTo>
                  <a:lnTo>
                    <a:pt x="352" y="76"/>
                  </a:lnTo>
                  <a:lnTo>
                    <a:pt x="355" y="79"/>
                  </a:lnTo>
                  <a:lnTo>
                    <a:pt x="362" y="79"/>
                  </a:lnTo>
                  <a:lnTo>
                    <a:pt x="364" y="75"/>
                  </a:lnTo>
                  <a:lnTo>
                    <a:pt x="371" y="69"/>
                  </a:lnTo>
                  <a:lnTo>
                    <a:pt x="375" y="69"/>
                  </a:lnTo>
                  <a:lnTo>
                    <a:pt x="377" y="75"/>
                  </a:lnTo>
                  <a:lnTo>
                    <a:pt x="380" y="79"/>
                  </a:lnTo>
                  <a:lnTo>
                    <a:pt x="381" y="82"/>
                  </a:lnTo>
                  <a:lnTo>
                    <a:pt x="374" y="88"/>
                  </a:lnTo>
                  <a:lnTo>
                    <a:pt x="380" y="95"/>
                  </a:lnTo>
                  <a:lnTo>
                    <a:pt x="375" y="99"/>
                  </a:lnTo>
                  <a:lnTo>
                    <a:pt x="372" y="103"/>
                  </a:lnTo>
                  <a:lnTo>
                    <a:pt x="355" y="118"/>
                  </a:lnTo>
                  <a:lnTo>
                    <a:pt x="338" y="134"/>
                  </a:lnTo>
                  <a:lnTo>
                    <a:pt x="322" y="149"/>
                  </a:lnTo>
                  <a:lnTo>
                    <a:pt x="317" y="154"/>
                  </a:lnTo>
                  <a:lnTo>
                    <a:pt x="312" y="156"/>
                  </a:lnTo>
                  <a:lnTo>
                    <a:pt x="304" y="158"/>
                  </a:lnTo>
                  <a:lnTo>
                    <a:pt x="291" y="156"/>
                  </a:lnTo>
                  <a:lnTo>
                    <a:pt x="289" y="154"/>
                  </a:lnTo>
                  <a:lnTo>
                    <a:pt x="277" y="152"/>
                  </a:lnTo>
                  <a:lnTo>
                    <a:pt x="274" y="156"/>
                  </a:lnTo>
                  <a:lnTo>
                    <a:pt x="265" y="156"/>
                  </a:lnTo>
                  <a:lnTo>
                    <a:pt x="261" y="152"/>
                  </a:lnTo>
                  <a:lnTo>
                    <a:pt x="254" y="152"/>
                  </a:lnTo>
                  <a:lnTo>
                    <a:pt x="234" y="151"/>
                  </a:lnTo>
                  <a:lnTo>
                    <a:pt x="232" y="156"/>
                  </a:lnTo>
                  <a:lnTo>
                    <a:pt x="242" y="165"/>
                  </a:lnTo>
                  <a:lnTo>
                    <a:pt x="234" y="169"/>
                  </a:lnTo>
                  <a:lnTo>
                    <a:pt x="222" y="181"/>
                  </a:lnTo>
                  <a:lnTo>
                    <a:pt x="215" y="189"/>
                  </a:lnTo>
                  <a:lnTo>
                    <a:pt x="206" y="194"/>
                  </a:lnTo>
                  <a:lnTo>
                    <a:pt x="195" y="191"/>
                  </a:lnTo>
                  <a:lnTo>
                    <a:pt x="199" y="187"/>
                  </a:lnTo>
                  <a:lnTo>
                    <a:pt x="205" y="185"/>
                  </a:lnTo>
                  <a:lnTo>
                    <a:pt x="206" y="179"/>
                  </a:lnTo>
                  <a:lnTo>
                    <a:pt x="208" y="174"/>
                  </a:lnTo>
                  <a:lnTo>
                    <a:pt x="209" y="171"/>
                  </a:lnTo>
                  <a:lnTo>
                    <a:pt x="205" y="167"/>
                  </a:lnTo>
                  <a:lnTo>
                    <a:pt x="199" y="167"/>
                  </a:lnTo>
                  <a:lnTo>
                    <a:pt x="189" y="172"/>
                  </a:lnTo>
                  <a:lnTo>
                    <a:pt x="178" y="178"/>
                  </a:lnTo>
                  <a:lnTo>
                    <a:pt x="168" y="178"/>
                  </a:lnTo>
                  <a:lnTo>
                    <a:pt x="162" y="178"/>
                  </a:lnTo>
                  <a:lnTo>
                    <a:pt x="156" y="172"/>
                  </a:lnTo>
                  <a:lnTo>
                    <a:pt x="152" y="165"/>
                  </a:lnTo>
                  <a:lnTo>
                    <a:pt x="149" y="159"/>
                  </a:lnTo>
                  <a:lnTo>
                    <a:pt x="148" y="151"/>
                  </a:lnTo>
                  <a:lnTo>
                    <a:pt x="146" y="149"/>
                  </a:lnTo>
                  <a:lnTo>
                    <a:pt x="146" y="149"/>
                  </a:lnTo>
                  <a:lnTo>
                    <a:pt x="148" y="145"/>
                  </a:lnTo>
                  <a:lnTo>
                    <a:pt x="148" y="135"/>
                  </a:lnTo>
                  <a:lnTo>
                    <a:pt x="148" y="132"/>
                  </a:lnTo>
                  <a:lnTo>
                    <a:pt x="148" y="128"/>
                  </a:lnTo>
                  <a:lnTo>
                    <a:pt x="148" y="121"/>
                  </a:lnTo>
                  <a:lnTo>
                    <a:pt x="149" y="108"/>
                  </a:lnTo>
                  <a:lnTo>
                    <a:pt x="149" y="105"/>
                  </a:lnTo>
                  <a:lnTo>
                    <a:pt x="149" y="99"/>
                  </a:lnTo>
                  <a:lnTo>
                    <a:pt x="149" y="93"/>
                  </a:lnTo>
                  <a:lnTo>
                    <a:pt x="146" y="88"/>
                  </a:lnTo>
                  <a:lnTo>
                    <a:pt x="135" y="88"/>
                  </a:lnTo>
                  <a:lnTo>
                    <a:pt x="129" y="86"/>
                  </a:lnTo>
                  <a:lnTo>
                    <a:pt x="123" y="71"/>
                  </a:lnTo>
                  <a:lnTo>
                    <a:pt x="120" y="56"/>
                  </a:lnTo>
                  <a:lnTo>
                    <a:pt x="119" y="46"/>
                  </a:lnTo>
                  <a:lnTo>
                    <a:pt x="118" y="39"/>
                  </a:lnTo>
                  <a:lnTo>
                    <a:pt x="118" y="39"/>
                  </a:lnTo>
                  <a:lnTo>
                    <a:pt x="116" y="33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3"/>
                  </a:lnTo>
                  <a:lnTo>
                    <a:pt x="115" y="20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08" y="8"/>
                  </a:lnTo>
                  <a:lnTo>
                    <a:pt x="105" y="6"/>
                  </a:lnTo>
                  <a:lnTo>
                    <a:pt x="102" y="5"/>
                  </a:lnTo>
                  <a:lnTo>
                    <a:pt x="97" y="0"/>
                  </a:lnTo>
                  <a:lnTo>
                    <a:pt x="96" y="2"/>
                  </a:lnTo>
                  <a:lnTo>
                    <a:pt x="89" y="15"/>
                  </a:lnTo>
                  <a:lnTo>
                    <a:pt x="85" y="22"/>
                  </a:lnTo>
                  <a:lnTo>
                    <a:pt x="83" y="29"/>
                  </a:lnTo>
                  <a:lnTo>
                    <a:pt x="87" y="35"/>
                  </a:lnTo>
                  <a:lnTo>
                    <a:pt x="79" y="39"/>
                  </a:lnTo>
                  <a:lnTo>
                    <a:pt x="75" y="35"/>
                  </a:lnTo>
                  <a:lnTo>
                    <a:pt x="70" y="30"/>
                  </a:lnTo>
                  <a:lnTo>
                    <a:pt x="62" y="20"/>
                  </a:lnTo>
                  <a:lnTo>
                    <a:pt x="57" y="23"/>
                  </a:lnTo>
                  <a:lnTo>
                    <a:pt x="53" y="19"/>
                  </a:lnTo>
                  <a:lnTo>
                    <a:pt x="43" y="25"/>
                  </a:lnTo>
                  <a:lnTo>
                    <a:pt x="49" y="29"/>
                  </a:lnTo>
                  <a:lnTo>
                    <a:pt x="44" y="32"/>
                  </a:lnTo>
                  <a:lnTo>
                    <a:pt x="32" y="29"/>
                  </a:lnTo>
                  <a:lnTo>
                    <a:pt x="33" y="22"/>
                  </a:lnTo>
                  <a:lnTo>
                    <a:pt x="30" y="18"/>
                  </a:lnTo>
                  <a:lnTo>
                    <a:pt x="30" y="9"/>
                  </a:lnTo>
                  <a:lnTo>
                    <a:pt x="19" y="12"/>
                  </a:lnTo>
                  <a:lnTo>
                    <a:pt x="6" y="23"/>
                  </a:lnTo>
                  <a:lnTo>
                    <a:pt x="0" y="29"/>
                  </a:lnTo>
                  <a:lnTo>
                    <a:pt x="4" y="38"/>
                  </a:lnTo>
                  <a:lnTo>
                    <a:pt x="12" y="46"/>
                  </a:lnTo>
                  <a:lnTo>
                    <a:pt x="20" y="58"/>
                  </a:lnTo>
                  <a:lnTo>
                    <a:pt x="26" y="66"/>
                  </a:lnTo>
                  <a:lnTo>
                    <a:pt x="19" y="72"/>
                  </a:lnTo>
                  <a:lnTo>
                    <a:pt x="23" y="78"/>
                  </a:lnTo>
                  <a:lnTo>
                    <a:pt x="29" y="76"/>
                  </a:lnTo>
                  <a:lnTo>
                    <a:pt x="36" y="72"/>
                  </a:lnTo>
                  <a:lnTo>
                    <a:pt x="44" y="66"/>
                  </a:lnTo>
                  <a:lnTo>
                    <a:pt x="52" y="61"/>
                  </a:lnTo>
                  <a:lnTo>
                    <a:pt x="59" y="65"/>
                  </a:lnTo>
                  <a:lnTo>
                    <a:pt x="65" y="71"/>
                  </a:lnTo>
                  <a:lnTo>
                    <a:pt x="59" y="76"/>
                  </a:lnTo>
                  <a:lnTo>
                    <a:pt x="57" y="78"/>
                  </a:lnTo>
                  <a:lnTo>
                    <a:pt x="44" y="86"/>
                  </a:lnTo>
                  <a:lnTo>
                    <a:pt x="44" y="88"/>
                  </a:lnTo>
                  <a:lnTo>
                    <a:pt x="47" y="93"/>
                  </a:lnTo>
                  <a:lnTo>
                    <a:pt x="52" y="98"/>
                  </a:lnTo>
                  <a:lnTo>
                    <a:pt x="56" y="101"/>
                  </a:lnTo>
                  <a:lnTo>
                    <a:pt x="62" y="103"/>
                  </a:lnTo>
                  <a:lnTo>
                    <a:pt x="66" y="105"/>
                  </a:lnTo>
                  <a:lnTo>
                    <a:pt x="69" y="105"/>
                  </a:lnTo>
                  <a:lnTo>
                    <a:pt x="72" y="105"/>
                  </a:lnTo>
                  <a:lnTo>
                    <a:pt x="75" y="105"/>
                  </a:lnTo>
                  <a:lnTo>
                    <a:pt x="77" y="103"/>
                  </a:lnTo>
                  <a:lnTo>
                    <a:pt x="79" y="103"/>
                  </a:lnTo>
                  <a:lnTo>
                    <a:pt x="82" y="102"/>
                  </a:lnTo>
                  <a:lnTo>
                    <a:pt x="85" y="105"/>
                  </a:lnTo>
                  <a:lnTo>
                    <a:pt x="87" y="105"/>
                  </a:lnTo>
                  <a:lnTo>
                    <a:pt x="87" y="108"/>
                  </a:lnTo>
                  <a:lnTo>
                    <a:pt x="89" y="111"/>
                  </a:lnTo>
                  <a:lnTo>
                    <a:pt x="90" y="112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3" y="118"/>
                  </a:lnTo>
                  <a:lnTo>
                    <a:pt x="105" y="118"/>
                  </a:lnTo>
                  <a:lnTo>
                    <a:pt x="106" y="115"/>
                  </a:lnTo>
                  <a:lnTo>
                    <a:pt x="108" y="112"/>
                  </a:lnTo>
                  <a:lnTo>
                    <a:pt x="109" y="111"/>
                  </a:lnTo>
                  <a:lnTo>
                    <a:pt x="112" y="111"/>
                  </a:lnTo>
                  <a:lnTo>
                    <a:pt x="116" y="111"/>
                  </a:lnTo>
                  <a:lnTo>
                    <a:pt x="120" y="111"/>
                  </a:lnTo>
                  <a:lnTo>
                    <a:pt x="128" y="111"/>
                  </a:lnTo>
                  <a:lnTo>
                    <a:pt x="128" y="114"/>
                  </a:lnTo>
                  <a:lnTo>
                    <a:pt x="125" y="119"/>
                  </a:lnTo>
                  <a:lnTo>
                    <a:pt x="120" y="132"/>
                  </a:lnTo>
                  <a:lnTo>
                    <a:pt x="125" y="142"/>
                  </a:lnTo>
                  <a:lnTo>
                    <a:pt x="129" y="152"/>
                  </a:lnTo>
                  <a:lnTo>
                    <a:pt x="129" y="152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82" name="Freeform 30"/>
            <p:cNvSpPr>
              <a:spLocks/>
            </p:cNvSpPr>
            <p:nvPr/>
          </p:nvSpPr>
          <p:spPr bwMode="auto">
            <a:xfrm>
              <a:off x="2090631" y="4395489"/>
              <a:ext cx="2442" cy="14552"/>
            </a:xfrm>
            <a:custGeom>
              <a:avLst/>
              <a:gdLst>
                <a:gd name="T0" fmla="*/ 3 w 3"/>
                <a:gd name="T1" fmla="*/ 0 h 21"/>
                <a:gd name="T2" fmla="*/ 3 w 3"/>
                <a:gd name="T3" fmla="*/ 0 h 21"/>
                <a:gd name="T4" fmla="*/ 1 w 3"/>
                <a:gd name="T5" fmla="*/ 8 h 21"/>
                <a:gd name="T6" fmla="*/ 0 w 3"/>
                <a:gd name="T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1">
                  <a:moveTo>
                    <a:pt x="3" y="0"/>
                  </a:moveTo>
                  <a:lnTo>
                    <a:pt x="3" y="0"/>
                  </a:lnTo>
                  <a:lnTo>
                    <a:pt x="1" y="8"/>
                  </a:lnTo>
                  <a:lnTo>
                    <a:pt x="0" y="2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83" name="Freeform 31"/>
            <p:cNvSpPr>
              <a:spLocks/>
            </p:cNvSpPr>
            <p:nvPr/>
          </p:nvSpPr>
          <p:spPr bwMode="auto">
            <a:xfrm>
              <a:off x="1869604" y="4230126"/>
              <a:ext cx="240565" cy="403486"/>
            </a:xfrm>
            <a:custGeom>
              <a:avLst/>
              <a:gdLst>
                <a:gd name="T0" fmla="*/ 12 w 394"/>
                <a:gd name="T1" fmla="*/ 348 h 612"/>
                <a:gd name="T2" fmla="*/ 23 w 394"/>
                <a:gd name="T3" fmla="*/ 338 h 612"/>
                <a:gd name="T4" fmla="*/ 0 w 394"/>
                <a:gd name="T5" fmla="*/ 325 h 612"/>
                <a:gd name="T6" fmla="*/ 16 w 394"/>
                <a:gd name="T7" fmla="*/ 304 h 612"/>
                <a:gd name="T8" fmla="*/ 59 w 394"/>
                <a:gd name="T9" fmla="*/ 312 h 612"/>
                <a:gd name="T10" fmla="*/ 35 w 394"/>
                <a:gd name="T11" fmla="*/ 264 h 612"/>
                <a:gd name="T12" fmla="*/ 22 w 394"/>
                <a:gd name="T13" fmla="*/ 247 h 612"/>
                <a:gd name="T14" fmla="*/ 32 w 394"/>
                <a:gd name="T15" fmla="*/ 232 h 612"/>
                <a:gd name="T16" fmla="*/ 26 w 394"/>
                <a:gd name="T17" fmla="*/ 218 h 612"/>
                <a:gd name="T18" fmla="*/ 9 w 394"/>
                <a:gd name="T19" fmla="*/ 192 h 612"/>
                <a:gd name="T20" fmla="*/ 19 w 394"/>
                <a:gd name="T21" fmla="*/ 163 h 612"/>
                <a:gd name="T22" fmla="*/ 65 w 394"/>
                <a:gd name="T23" fmla="*/ 159 h 612"/>
                <a:gd name="T24" fmla="*/ 65 w 394"/>
                <a:gd name="T25" fmla="*/ 136 h 612"/>
                <a:gd name="T26" fmla="*/ 77 w 394"/>
                <a:gd name="T27" fmla="*/ 105 h 612"/>
                <a:gd name="T28" fmla="*/ 75 w 394"/>
                <a:gd name="T29" fmla="*/ 85 h 612"/>
                <a:gd name="T30" fmla="*/ 53 w 394"/>
                <a:gd name="T31" fmla="*/ 72 h 612"/>
                <a:gd name="T32" fmla="*/ 69 w 394"/>
                <a:gd name="T33" fmla="*/ 53 h 612"/>
                <a:gd name="T34" fmla="*/ 73 w 394"/>
                <a:gd name="T35" fmla="*/ 35 h 612"/>
                <a:gd name="T36" fmla="*/ 118 w 394"/>
                <a:gd name="T37" fmla="*/ 26 h 612"/>
                <a:gd name="T38" fmla="*/ 142 w 394"/>
                <a:gd name="T39" fmla="*/ 35 h 612"/>
                <a:gd name="T40" fmla="*/ 152 w 394"/>
                <a:gd name="T41" fmla="*/ 15 h 612"/>
                <a:gd name="T42" fmla="*/ 202 w 394"/>
                <a:gd name="T43" fmla="*/ 46 h 612"/>
                <a:gd name="T44" fmla="*/ 228 w 394"/>
                <a:gd name="T45" fmla="*/ 83 h 612"/>
                <a:gd name="T46" fmla="*/ 246 w 394"/>
                <a:gd name="T47" fmla="*/ 83 h 612"/>
                <a:gd name="T48" fmla="*/ 259 w 394"/>
                <a:gd name="T49" fmla="*/ 95 h 612"/>
                <a:gd name="T50" fmla="*/ 258 w 394"/>
                <a:gd name="T51" fmla="*/ 118 h 612"/>
                <a:gd name="T52" fmla="*/ 277 w 394"/>
                <a:gd name="T53" fmla="*/ 122 h 612"/>
                <a:gd name="T54" fmla="*/ 289 w 394"/>
                <a:gd name="T55" fmla="*/ 122 h 612"/>
                <a:gd name="T56" fmla="*/ 302 w 394"/>
                <a:gd name="T57" fmla="*/ 133 h 612"/>
                <a:gd name="T58" fmla="*/ 311 w 394"/>
                <a:gd name="T59" fmla="*/ 128 h 612"/>
                <a:gd name="T60" fmla="*/ 330 w 394"/>
                <a:gd name="T61" fmla="*/ 131 h 612"/>
                <a:gd name="T62" fmla="*/ 334 w 394"/>
                <a:gd name="T63" fmla="*/ 178 h 612"/>
                <a:gd name="T64" fmla="*/ 367 w 394"/>
                <a:gd name="T65" fmla="*/ 251 h 612"/>
                <a:gd name="T66" fmla="*/ 348 w 394"/>
                <a:gd name="T67" fmla="*/ 295 h 612"/>
                <a:gd name="T68" fmla="*/ 348 w 394"/>
                <a:gd name="T69" fmla="*/ 328 h 612"/>
                <a:gd name="T70" fmla="*/ 360 w 394"/>
                <a:gd name="T71" fmla="*/ 363 h 612"/>
                <a:gd name="T72" fmla="*/ 373 w 394"/>
                <a:gd name="T73" fmla="*/ 403 h 612"/>
                <a:gd name="T74" fmla="*/ 390 w 394"/>
                <a:gd name="T75" fmla="*/ 461 h 612"/>
                <a:gd name="T76" fmla="*/ 390 w 394"/>
                <a:gd name="T77" fmla="*/ 500 h 612"/>
                <a:gd name="T78" fmla="*/ 370 w 394"/>
                <a:gd name="T79" fmla="*/ 510 h 612"/>
                <a:gd name="T80" fmla="*/ 350 w 394"/>
                <a:gd name="T81" fmla="*/ 527 h 612"/>
                <a:gd name="T82" fmla="*/ 301 w 394"/>
                <a:gd name="T83" fmla="*/ 516 h 612"/>
                <a:gd name="T84" fmla="*/ 301 w 394"/>
                <a:gd name="T85" fmla="*/ 539 h 612"/>
                <a:gd name="T86" fmla="*/ 282 w 394"/>
                <a:gd name="T87" fmla="*/ 564 h 612"/>
                <a:gd name="T88" fmla="*/ 257 w 394"/>
                <a:gd name="T89" fmla="*/ 543 h 612"/>
                <a:gd name="T90" fmla="*/ 267 w 394"/>
                <a:gd name="T91" fmla="*/ 572 h 612"/>
                <a:gd name="T92" fmla="*/ 252 w 394"/>
                <a:gd name="T93" fmla="*/ 596 h 612"/>
                <a:gd name="T94" fmla="*/ 212 w 394"/>
                <a:gd name="T95" fmla="*/ 589 h 612"/>
                <a:gd name="T96" fmla="*/ 168 w 394"/>
                <a:gd name="T97" fmla="*/ 590 h 612"/>
                <a:gd name="T98" fmla="*/ 165 w 394"/>
                <a:gd name="T99" fmla="*/ 574 h 612"/>
                <a:gd name="T100" fmla="*/ 176 w 394"/>
                <a:gd name="T101" fmla="*/ 559 h 612"/>
                <a:gd name="T102" fmla="*/ 162 w 394"/>
                <a:gd name="T103" fmla="*/ 543 h 612"/>
                <a:gd name="T104" fmla="*/ 141 w 394"/>
                <a:gd name="T105" fmla="*/ 527 h 612"/>
                <a:gd name="T106" fmla="*/ 125 w 394"/>
                <a:gd name="T107" fmla="*/ 532 h 612"/>
                <a:gd name="T108" fmla="*/ 138 w 394"/>
                <a:gd name="T109" fmla="*/ 506 h 612"/>
                <a:gd name="T110" fmla="*/ 158 w 394"/>
                <a:gd name="T111" fmla="*/ 513 h 612"/>
                <a:gd name="T112" fmla="*/ 141 w 394"/>
                <a:gd name="T113" fmla="*/ 497 h 612"/>
                <a:gd name="T114" fmla="*/ 126 w 394"/>
                <a:gd name="T115" fmla="*/ 473 h 612"/>
                <a:gd name="T116" fmla="*/ 102 w 394"/>
                <a:gd name="T117" fmla="*/ 458 h 612"/>
                <a:gd name="T118" fmla="*/ 70 w 394"/>
                <a:gd name="T119" fmla="*/ 407 h 612"/>
                <a:gd name="T120" fmla="*/ 50 w 394"/>
                <a:gd name="T121" fmla="*/ 391 h 612"/>
                <a:gd name="T122" fmla="*/ 7 w 394"/>
                <a:gd name="T123" fmla="*/ 38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94" h="612">
                  <a:moveTo>
                    <a:pt x="0" y="370"/>
                  </a:moveTo>
                  <a:lnTo>
                    <a:pt x="0" y="370"/>
                  </a:lnTo>
                  <a:lnTo>
                    <a:pt x="6" y="363"/>
                  </a:lnTo>
                  <a:lnTo>
                    <a:pt x="10" y="348"/>
                  </a:lnTo>
                  <a:lnTo>
                    <a:pt x="12" y="348"/>
                  </a:lnTo>
                  <a:lnTo>
                    <a:pt x="14" y="353"/>
                  </a:lnTo>
                  <a:lnTo>
                    <a:pt x="20" y="347"/>
                  </a:lnTo>
                  <a:lnTo>
                    <a:pt x="16" y="342"/>
                  </a:lnTo>
                  <a:lnTo>
                    <a:pt x="19" y="338"/>
                  </a:lnTo>
                  <a:lnTo>
                    <a:pt x="23" y="338"/>
                  </a:lnTo>
                  <a:lnTo>
                    <a:pt x="23" y="332"/>
                  </a:lnTo>
                  <a:lnTo>
                    <a:pt x="14" y="332"/>
                  </a:lnTo>
                  <a:lnTo>
                    <a:pt x="9" y="337"/>
                  </a:lnTo>
                  <a:lnTo>
                    <a:pt x="4" y="331"/>
                  </a:lnTo>
                  <a:lnTo>
                    <a:pt x="0" y="325"/>
                  </a:lnTo>
                  <a:lnTo>
                    <a:pt x="10" y="317"/>
                  </a:lnTo>
                  <a:lnTo>
                    <a:pt x="0" y="310"/>
                  </a:lnTo>
                  <a:lnTo>
                    <a:pt x="3" y="307"/>
                  </a:lnTo>
                  <a:lnTo>
                    <a:pt x="9" y="304"/>
                  </a:lnTo>
                  <a:lnTo>
                    <a:pt x="16" y="304"/>
                  </a:lnTo>
                  <a:lnTo>
                    <a:pt x="26" y="302"/>
                  </a:lnTo>
                  <a:lnTo>
                    <a:pt x="35" y="307"/>
                  </a:lnTo>
                  <a:lnTo>
                    <a:pt x="39" y="310"/>
                  </a:lnTo>
                  <a:lnTo>
                    <a:pt x="49" y="312"/>
                  </a:lnTo>
                  <a:lnTo>
                    <a:pt x="59" y="312"/>
                  </a:lnTo>
                  <a:lnTo>
                    <a:pt x="65" y="312"/>
                  </a:lnTo>
                  <a:lnTo>
                    <a:pt x="66" y="294"/>
                  </a:lnTo>
                  <a:lnTo>
                    <a:pt x="37" y="292"/>
                  </a:lnTo>
                  <a:lnTo>
                    <a:pt x="39" y="269"/>
                  </a:lnTo>
                  <a:lnTo>
                    <a:pt x="35" y="264"/>
                  </a:lnTo>
                  <a:lnTo>
                    <a:pt x="29" y="261"/>
                  </a:lnTo>
                  <a:lnTo>
                    <a:pt x="22" y="255"/>
                  </a:lnTo>
                  <a:lnTo>
                    <a:pt x="22" y="252"/>
                  </a:lnTo>
                  <a:lnTo>
                    <a:pt x="22" y="252"/>
                  </a:lnTo>
                  <a:lnTo>
                    <a:pt x="22" y="247"/>
                  </a:lnTo>
                  <a:lnTo>
                    <a:pt x="23" y="239"/>
                  </a:lnTo>
                  <a:lnTo>
                    <a:pt x="27" y="235"/>
                  </a:lnTo>
                  <a:lnTo>
                    <a:pt x="29" y="232"/>
                  </a:lnTo>
                  <a:lnTo>
                    <a:pt x="32" y="232"/>
                  </a:lnTo>
                  <a:lnTo>
                    <a:pt x="32" y="232"/>
                  </a:lnTo>
                  <a:lnTo>
                    <a:pt x="37" y="231"/>
                  </a:lnTo>
                  <a:lnTo>
                    <a:pt x="39" y="229"/>
                  </a:lnTo>
                  <a:lnTo>
                    <a:pt x="39" y="226"/>
                  </a:lnTo>
                  <a:lnTo>
                    <a:pt x="32" y="225"/>
                  </a:lnTo>
                  <a:lnTo>
                    <a:pt x="26" y="218"/>
                  </a:lnTo>
                  <a:lnTo>
                    <a:pt x="22" y="216"/>
                  </a:lnTo>
                  <a:lnTo>
                    <a:pt x="16" y="215"/>
                  </a:lnTo>
                  <a:lnTo>
                    <a:pt x="13" y="204"/>
                  </a:lnTo>
                  <a:lnTo>
                    <a:pt x="10" y="201"/>
                  </a:lnTo>
                  <a:lnTo>
                    <a:pt x="9" y="192"/>
                  </a:lnTo>
                  <a:lnTo>
                    <a:pt x="17" y="184"/>
                  </a:lnTo>
                  <a:lnTo>
                    <a:pt x="13" y="181"/>
                  </a:lnTo>
                  <a:lnTo>
                    <a:pt x="10" y="176"/>
                  </a:lnTo>
                  <a:lnTo>
                    <a:pt x="16" y="172"/>
                  </a:lnTo>
                  <a:lnTo>
                    <a:pt x="19" y="163"/>
                  </a:lnTo>
                  <a:lnTo>
                    <a:pt x="22" y="159"/>
                  </a:lnTo>
                  <a:lnTo>
                    <a:pt x="27" y="161"/>
                  </a:lnTo>
                  <a:lnTo>
                    <a:pt x="40" y="162"/>
                  </a:lnTo>
                  <a:lnTo>
                    <a:pt x="60" y="161"/>
                  </a:lnTo>
                  <a:lnTo>
                    <a:pt x="65" y="159"/>
                  </a:lnTo>
                  <a:lnTo>
                    <a:pt x="69" y="156"/>
                  </a:lnTo>
                  <a:lnTo>
                    <a:pt x="70" y="152"/>
                  </a:lnTo>
                  <a:lnTo>
                    <a:pt x="69" y="148"/>
                  </a:lnTo>
                  <a:lnTo>
                    <a:pt x="65" y="142"/>
                  </a:lnTo>
                  <a:lnTo>
                    <a:pt x="65" y="136"/>
                  </a:lnTo>
                  <a:lnTo>
                    <a:pt x="63" y="128"/>
                  </a:lnTo>
                  <a:lnTo>
                    <a:pt x="66" y="113"/>
                  </a:lnTo>
                  <a:lnTo>
                    <a:pt x="70" y="110"/>
                  </a:lnTo>
                  <a:lnTo>
                    <a:pt x="72" y="108"/>
                  </a:lnTo>
                  <a:lnTo>
                    <a:pt x="77" y="105"/>
                  </a:lnTo>
                  <a:lnTo>
                    <a:pt x="80" y="99"/>
                  </a:lnTo>
                  <a:lnTo>
                    <a:pt x="80" y="93"/>
                  </a:lnTo>
                  <a:lnTo>
                    <a:pt x="82" y="85"/>
                  </a:lnTo>
                  <a:lnTo>
                    <a:pt x="79" y="83"/>
                  </a:lnTo>
                  <a:lnTo>
                    <a:pt x="75" y="85"/>
                  </a:lnTo>
                  <a:lnTo>
                    <a:pt x="72" y="88"/>
                  </a:lnTo>
                  <a:lnTo>
                    <a:pt x="69" y="86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3" y="72"/>
                  </a:lnTo>
                  <a:lnTo>
                    <a:pt x="55" y="70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65" y="60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72" y="46"/>
                  </a:lnTo>
                  <a:lnTo>
                    <a:pt x="73" y="43"/>
                  </a:lnTo>
                  <a:lnTo>
                    <a:pt x="73" y="39"/>
                  </a:lnTo>
                  <a:lnTo>
                    <a:pt x="73" y="35"/>
                  </a:lnTo>
                  <a:lnTo>
                    <a:pt x="89" y="20"/>
                  </a:lnTo>
                  <a:lnTo>
                    <a:pt x="85" y="16"/>
                  </a:lnTo>
                  <a:lnTo>
                    <a:pt x="103" y="0"/>
                  </a:lnTo>
                  <a:lnTo>
                    <a:pt x="122" y="16"/>
                  </a:lnTo>
                  <a:lnTo>
                    <a:pt x="118" y="26"/>
                  </a:lnTo>
                  <a:lnTo>
                    <a:pt x="123" y="33"/>
                  </a:lnTo>
                  <a:lnTo>
                    <a:pt x="128" y="32"/>
                  </a:lnTo>
                  <a:lnTo>
                    <a:pt x="135" y="27"/>
                  </a:lnTo>
                  <a:lnTo>
                    <a:pt x="139" y="30"/>
                  </a:lnTo>
                  <a:lnTo>
                    <a:pt x="142" y="35"/>
                  </a:lnTo>
                  <a:lnTo>
                    <a:pt x="146" y="36"/>
                  </a:lnTo>
                  <a:lnTo>
                    <a:pt x="152" y="30"/>
                  </a:lnTo>
                  <a:lnTo>
                    <a:pt x="156" y="26"/>
                  </a:lnTo>
                  <a:lnTo>
                    <a:pt x="155" y="19"/>
                  </a:lnTo>
                  <a:lnTo>
                    <a:pt x="152" y="15"/>
                  </a:lnTo>
                  <a:lnTo>
                    <a:pt x="159" y="9"/>
                  </a:lnTo>
                  <a:lnTo>
                    <a:pt x="173" y="26"/>
                  </a:lnTo>
                  <a:lnTo>
                    <a:pt x="188" y="22"/>
                  </a:lnTo>
                  <a:lnTo>
                    <a:pt x="195" y="35"/>
                  </a:lnTo>
                  <a:lnTo>
                    <a:pt x="202" y="46"/>
                  </a:lnTo>
                  <a:lnTo>
                    <a:pt x="202" y="46"/>
                  </a:lnTo>
                  <a:lnTo>
                    <a:pt x="206" y="55"/>
                  </a:lnTo>
                  <a:lnTo>
                    <a:pt x="214" y="63"/>
                  </a:lnTo>
                  <a:lnTo>
                    <a:pt x="222" y="75"/>
                  </a:lnTo>
                  <a:lnTo>
                    <a:pt x="228" y="83"/>
                  </a:lnTo>
                  <a:lnTo>
                    <a:pt x="221" y="89"/>
                  </a:lnTo>
                  <a:lnTo>
                    <a:pt x="225" y="95"/>
                  </a:lnTo>
                  <a:lnTo>
                    <a:pt x="231" y="93"/>
                  </a:lnTo>
                  <a:lnTo>
                    <a:pt x="238" y="89"/>
                  </a:lnTo>
                  <a:lnTo>
                    <a:pt x="246" y="83"/>
                  </a:lnTo>
                  <a:lnTo>
                    <a:pt x="254" y="78"/>
                  </a:lnTo>
                  <a:lnTo>
                    <a:pt x="261" y="82"/>
                  </a:lnTo>
                  <a:lnTo>
                    <a:pt x="267" y="88"/>
                  </a:lnTo>
                  <a:lnTo>
                    <a:pt x="261" y="93"/>
                  </a:lnTo>
                  <a:lnTo>
                    <a:pt x="259" y="95"/>
                  </a:lnTo>
                  <a:lnTo>
                    <a:pt x="246" y="103"/>
                  </a:lnTo>
                  <a:lnTo>
                    <a:pt x="246" y="105"/>
                  </a:lnTo>
                  <a:lnTo>
                    <a:pt x="249" y="110"/>
                  </a:lnTo>
                  <a:lnTo>
                    <a:pt x="254" y="115"/>
                  </a:lnTo>
                  <a:lnTo>
                    <a:pt x="258" y="118"/>
                  </a:lnTo>
                  <a:lnTo>
                    <a:pt x="264" y="120"/>
                  </a:lnTo>
                  <a:lnTo>
                    <a:pt x="268" y="122"/>
                  </a:lnTo>
                  <a:lnTo>
                    <a:pt x="271" y="122"/>
                  </a:lnTo>
                  <a:lnTo>
                    <a:pt x="274" y="122"/>
                  </a:lnTo>
                  <a:lnTo>
                    <a:pt x="277" y="122"/>
                  </a:lnTo>
                  <a:lnTo>
                    <a:pt x="279" y="120"/>
                  </a:lnTo>
                  <a:lnTo>
                    <a:pt x="281" y="120"/>
                  </a:lnTo>
                  <a:lnTo>
                    <a:pt x="284" y="119"/>
                  </a:lnTo>
                  <a:lnTo>
                    <a:pt x="287" y="122"/>
                  </a:lnTo>
                  <a:lnTo>
                    <a:pt x="289" y="122"/>
                  </a:lnTo>
                  <a:lnTo>
                    <a:pt x="289" y="125"/>
                  </a:lnTo>
                  <a:lnTo>
                    <a:pt x="291" y="128"/>
                  </a:lnTo>
                  <a:lnTo>
                    <a:pt x="292" y="129"/>
                  </a:lnTo>
                  <a:lnTo>
                    <a:pt x="298" y="133"/>
                  </a:lnTo>
                  <a:lnTo>
                    <a:pt x="302" y="133"/>
                  </a:lnTo>
                  <a:lnTo>
                    <a:pt x="305" y="135"/>
                  </a:lnTo>
                  <a:lnTo>
                    <a:pt x="307" y="135"/>
                  </a:lnTo>
                  <a:lnTo>
                    <a:pt x="308" y="132"/>
                  </a:lnTo>
                  <a:lnTo>
                    <a:pt x="310" y="129"/>
                  </a:lnTo>
                  <a:lnTo>
                    <a:pt x="311" y="128"/>
                  </a:lnTo>
                  <a:lnTo>
                    <a:pt x="314" y="128"/>
                  </a:lnTo>
                  <a:lnTo>
                    <a:pt x="318" y="128"/>
                  </a:lnTo>
                  <a:lnTo>
                    <a:pt x="322" y="128"/>
                  </a:lnTo>
                  <a:lnTo>
                    <a:pt x="330" y="128"/>
                  </a:lnTo>
                  <a:lnTo>
                    <a:pt x="330" y="131"/>
                  </a:lnTo>
                  <a:lnTo>
                    <a:pt x="327" y="136"/>
                  </a:lnTo>
                  <a:lnTo>
                    <a:pt x="322" y="149"/>
                  </a:lnTo>
                  <a:lnTo>
                    <a:pt x="327" y="159"/>
                  </a:lnTo>
                  <a:lnTo>
                    <a:pt x="331" y="169"/>
                  </a:lnTo>
                  <a:lnTo>
                    <a:pt x="334" y="178"/>
                  </a:lnTo>
                  <a:lnTo>
                    <a:pt x="334" y="189"/>
                  </a:lnTo>
                  <a:lnTo>
                    <a:pt x="337" y="202"/>
                  </a:lnTo>
                  <a:lnTo>
                    <a:pt x="341" y="214"/>
                  </a:lnTo>
                  <a:lnTo>
                    <a:pt x="345" y="219"/>
                  </a:lnTo>
                  <a:lnTo>
                    <a:pt x="367" y="251"/>
                  </a:lnTo>
                  <a:lnTo>
                    <a:pt x="367" y="251"/>
                  </a:lnTo>
                  <a:lnTo>
                    <a:pt x="365" y="259"/>
                  </a:lnTo>
                  <a:lnTo>
                    <a:pt x="364" y="272"/>
                  </a:lnTo>
                  <a:lnTo>
                    <a:pt x="348" y="295"/>
                  </a:lnTo>
                  <a:lnTo>
                    <a:pt x="348" y="295"/>
                  </a:lnTo>
                  <a:lnTo>
                    <a:pt x="347" y="305"/>
                  </a:lnTo>
                  <a:lnTo>
                    <a:pt x="347" y="305"/>
                  </a:lnTo>
                  <a:lnTo>
                    <a:pt x="347" y="315"/>
                  </a:lnTo>
                  <a:lnTo>
                    <a:pt x="348" y="328"/>
                  </a:lnTo>
                  <a:lnTo>
                    <a:pt x="348" y="328"/>
                  </a:lnTo>
                  <a:lnTo>
                    <a:pt x="350" y="338"/>
                  </a:lnTo>
                  <a:lnTo>
                    <a:pt x="352" y="348"/>
                  </a:lnTo>
                  <a:lnTo>
                    <a:pt x="352" y="348"/>
                  </a:lnTo>
                  <a:lnTo>
                    <a:pt x="357" y="358"/>
                  </a:lnTo>
                  <a:lnTo>
                    <a:pt x="360" y="363"/>
                  </a:lnTo>
                  <a:lnTo>
                    <a:pt x="377" y="388"/>
                  </a:lnTo>
                  <a:lnTo>
                    <a:pt x="377" y="394"/>
                  </a:lnTo>
                  <a:lnTo>
                    <a:pt x="377" y="397"/>
                  </a:lnTo>
                  <a:lnTo>
                    <a:pt x="373" y="398"/>
                  </a:lnTo>
                  <a:lnTo>
                    <a:pt x="373" y="403"/>
                  </a:lnTo>
                  <a:lnTo>
                    <a:pt x="381" y="426"/>
                  </a:lnTo>
                  <a:lnTo>
                    <a:pt x="384" y="446"/>
                  </a:lnTo>
                  <a:lnTo>
                    <a:pt x="387" y="453"/>
                  </a:lnTo>
                  <a:lnTo>
                    <a:pt x="388" y="458"/>
                  </a:lnTo>
                  <a:lnTo>
                    <a:pt x="390" y="461"/>
                  </a:lnTo>
                  <a:lnTo>
                    <a:pt x="393" y="474"/>
                  </a:lnTo>
                  <a:lnTo>
                    <a:pt x="394" y="481"/>
                  </a:lnTo>
                  <a:lnTo>
                    <a:pt x="391" y="487"/>
                  </a:lnTo>
                  <a:lnTo>
                    <a:pt x="390" y="491"/>
                  </a:lnTo>
                  <a:lnTo>
                    <a:pt x="390" y="500"/>
                  </a:lnTo>
                  <a:lnTo>
                    <a:pt x="390" y="507"/>
                  </a:lnTo>
                  <a:lnTo>
                    <a:pt x="390" y="507"/>
                  </a:lnTo>
                  <a:lnTo>
                    <a:pt x="385" y="507"/>
                  </a:lnTo>
                  <a:lnTo>
                    <a:pt x="374" y="509"/>
                  </a:lnTo>
                  <a:lnTo>
                    <a:pt x="370" y="510"/>
                  </a:lnTo>
                  <a:lnTo>
                    <a:pt x="368" y="517"/>
                  </a:lnTo>
                  <a:lnTo>
                    <a:pt x="364" y="527"/>
                  </a:lnTo>
                  <a:lnTo>
                    <a:pt x="360" y="529"/>
                  </a:lnTo>
                  <a:lnTo>
                    <a:pt x="355" y="529"/>
                  </a:lnTo>
                  <a:lnTo>
                    <a:pt x="350" y="527"/>
                  </a:lnTo>
                  <a:lnTo>
                    <a:pt x="328" y="530"/>
                  </a:lnTo>
                  <a:lnTo>
                    <a:pt x="317" y="530"/>
                  </a:lnTo>
                  <a:lnTo>
                    <a:pt x="320" y="520"/>
                  </a:lnTo>
                  <a:lnTo>
                    <a:pt x="314" y="517"/>
                  </a:lnTo>
                  <a:lnTo>
                    <a:pt x="301" y="516"/>
                  </a:lnTo>
                  <a:lnTo>
                    <a:pt x="298" y="519"/>
                  </a:lnTo>
                  <a:lnTo>
                    <a:pt x="292" y="523"/>
                  </a:lnTo>
                  <a:lnTo>
                    <a:pt x="291" y="529"/>
                  </a:lnTo>
                  <a:lnTo>
                    <a:pt x="298" y="534"/>
                  </a:lnTo>
                  <a:lnTo>
                    <a:pt x="301" y="539"/>
                  </a:lnTo>
                  <a:lnTo>
                    <a:pt x="302" y="543"/>
                  </a:lnTo>
                  <a:lnTo>
                    <a:pt x="301" y="552"/>
                  </a:lnTo>
                  <a:lnTo>
                    <a:pt x="298" y="557"/>
                  </a:lnTo>
                  <a:lnTo>
                    <a:pt x="295" y="559"/>
                  </a:lnTo>
                  <a:lnTo>
                    <a:pt x="282" y="564"/>
                  </a:lnTo>
                  <a:lnTo>
                    <a:pt x="279" y="563"/>
                  </a:lnTo>
                  <a:lnTo>
                    <a:pt x="275" y="559"/>
                  </a:lnTo>
                  <a:lnTo>
                    <a:pt x="271" y="556"/>
                  </a:lnTo>
                  <a:lnTo>
                    <a:pt x="267" y="549"/>
                  </a:lnTo>
                  <a:lnTo>
                    <a:pt x="257" y="543"/>
                  </a:lnTo>
                  <a:lnTo>
                    <a:pt x="254" y="544"/>
                  </a:lnTo>
                  <a:lnTo>
                    <a:pt x="248" y="549"/>
                  </a:lnTo>
                  <a:lnTo>
                    <a:pt x="254" y="556"/>
                  </a:lnTo>
                  <a:lnTo>
                    <a:pt x="257" y="562"/>
                  </a:lnTo>
                  <a:lnTo>
                    <a:pt x="267" y="572"/>
                  </a:lnTo>
                  <a:lnTo>
                    <a:pt x="274" y="580"/>
                  </a:lnTo>
                  <a:lnTo>
                    <a:pt x="271" y="585"/>
                  </a:lnTo>
                  <a:lnTo>
                    <a:pt x="265" y="589"/>
                  </a:lnTo>
                  <a:lnTo>
                    <a:pt x="255" y="597"/>
                  </a:lnTo>
                  <a:lnTo>
                    <a:pt x="252" y="596"/>
                  </a:lnTo>
                  <a:lnTo>
                    <a:pt x="246" y="600"/>
                  </a:lnTo>
                  <a:lnTo>
                    <a:pt x="244" y="602"/>
                  </a:lnTo>
                  <a:lnTo>
                    <a:pt x="241" y="605"/>
                  </a:lnTo>
                  <a:lnTo>
                    <a:pt x="234" y="612"/>
                  </a:lnTo>
                  <a:lnTo>
                    <a:pt x="212" y="589"/>
                  </a:lnTo>
                  <a:lnTo>
                    <a:pt x="221" y="580"/>
                  </a:lnTo>
                  <a:lnTo>
                    <a:pt x="208" y="567"/>
                  </a:lnTo>
                  <a:lnTo>
                    <a:pt x="176" y="597"/>
                  </a:lnTo>
                  <a:lnTo>
                    <a:pt x="176" y="597"/>
                  </a:lnTo>
                  <a:lnTo>
                    <a:pt x="168" y="590"/>
                  </a:lnTo>
                  <a:lnTo>
                    <a:pt x="163" y="582"/>
                  </a:lnTo>
                  <a:lnTo>
                    <a:pt x="163" y="582"/>
                  </a:lnTo>
                  <a:lnTo>
                    <a:pt x="162" y="580"/>
                  </a:lnTo>
                  <a:lnTo>
                    <a:pt x="162" y="577"/>
                  </a:lnTo>
                  <a:lnTo>
                    <a:pt x="165" y="574"/>
                  </a:lnTo>
                  <a:lnTo>
                    <a:pt x="169" y="573"/>
                  </a:lnTo>
                  <a:lnTo>
                    <a:pt x="172" y="572"/>
                  </a:lnTo>
                  <a:lnTo>
                    <a:pt x="172" y="572"/>
                  </a:lnTo>
                  <a:lnTo>
                    <a:pt x="175" y="566"/>
                  </a:lnTo>
                  <a:lnTo>
                    <a:pt x="176" y="559"/>
                  </a:lnTo>
                  <a:lnTo>
                    <a:pt x="175" y="553"/>
                  </a:lnTo>
                  <a:lnTo>
                    <a:pt x="173" y="550"/>
                  </a:lnTo>
                  <a:lnTo>
                    <a:pt x="171" y="547"/>
                  </a:lnTo>
                  <a:lnTo>
                    <a:pt x="171" y="547"/>
                  </a:lnTo>
                  <a:lnTo>
                    <a:pt x="162" y="543"/>
                  </a:lnTo>
                  <a:lnTo>
                    <a:pt x="156" y="540"/>
                  </a:lnTo>
                  <a:lnTo>
                    <a:pt x="149" y="536"/>
                  </a:lnTo>
                  <a:lnTo>
                    <a:pt x="143" y="530"/>
                  </a:lnTo>
                  <a:lnTo>
                    <a:pt x="143" y="530"/>
                  </a:lnTo>
                  <a:lnTo>
                    <a:pt x="141" y="527"/>
                  </a:lnTo>
                  <a:lnTo>
                    <a:pt x="136" y="527"/>
                  </a:lnTo>
                  <a:lnTo>
                    <a:pt x="133" y="529"/>
                  </a:lnTo>
                  <a:lnTo>
                    <a:pt x="129" y="530"/>
                  </a:lnTo>
                  <a:lnTo>
                    <a:pt x="126" y="532"/>
                  </a:lnTo>
                  <a:lnTo>
                    <a:pt x="125" y="532"/>
                  </a:lnTo>
                  <a:lnTo>
                    <a:pt x="123" y="530"/>
                  </a:lnTo>
                  <a:lnTo>
                    <a:pt x="122" y="524"/>
                  </a:lnTo>
                  <a:lnTo>
                    <a:pt x="118" y="519"/>
                  </a:lnTo>
                  <a:lnTo>
                    <a:pt x="129" y="510"/>
                  </a:lnTo>
                  <a:lnTo>
                    <a:pt x="138" y="506"/>
                  </a:lnTo>
                  <a:lnTo>
                    <a:pt x="141" y="503"/>
                  </a:lnTo>
                  <a:lnTo>
                    <a:pt x="148" y="513"/>
                  </a:lnTo>
                  <a:lnTo>
                    <a:pt x="151" y="511"/>
                  </a:lnTo>
                  <a:lnTo>
                    <a:pt x="155" y="516"/>
                  </a:lnTo>
                  <a:lnTo>
                    <a:pt x="158" y="513"/>
                  </a:lnTo>
                  <a:lnTo>
                    <a:pt x="161" y="510"/>
                  </a:lnTo>
                  <a:lnTo>
                    <a:pt x="149" y="496"/>
                  </a:lnTo>
                  <a:lnTo>
                    <a:pt x="146" y="499"/>
                  </a:lnTo>
                  <a:lnTo>
                    <a:pt x="143" y="494"/>
                  </a:lnTo>
                  <a:lnTo>
                    <a:pt x="141" y="497"/>
                  </a:lnTo>
                  <a:lnTo>
                    <a:pt x="133" y="489"/>
                  </a:lnTo>
                  <a:lnTo>
                    <a:pt x="135" y="487"/>
                  </a:lnTo>
                  <a:lnTo>
                    <a:pt x="138" y="484"/>
                  </a:lnTo>
                  <a:lnTo>
                    <a:pt x="130" y="476"/>
                  </a:lnTo>
                  <a:lnTo>
                    <a:pt x="126" y="473"/>
                  </a:lnTo>
                  <a:lnTo>
                    <a:pt x="122" y="469"/>
                  </a:lnTo>
                  <a:lnTo>
                    <a:pt x="120" y="463"/>
                  </a:lnTo>
                  <a:lnTo>
                    <a:pt x="113" y="458"/>
                  </a:lnTo>
                  <a:lnTo>
                    <a:pt x="109" y="458"/>
                  </a:lnTo>
                  <a:lnTo>
                    <a:pt x="102" y="458"/>
                  </a:lnTo>
                  <a:lnTo>
                    <a:pt x="95" y="458"/>
                  </a:lnTo>
                  <a:lnTo>
                    <a:pt x="85" y="460"/>
                  </a:lnTo>
                  <a:lnTo>
                    <a:pt x="73" y="437"/>
                  </a:lnTo>
                  <a:lnTo>
                    <a:pt x="47" y="427"/>
                  </a:lnTo>
                  <a:lnTo>
                    <a:pt x="70" y="407"/>
                  </a:lnTo>
                  <a:lnTo>
                    <a:pt x="65" y="400"/>
                  </a:lnTo>
                  <a:lnTo>
                    <a:pt x="59" y="400"/>
                  </a:lnTo>
                  <a:lnTo>
                    <a:pt x="56" y="397"/>
                  </a:lnTo>
                  <a:lnTo>
                    <a:pt x="53" y="395"/>
                  </a:lnTo>
                  <a:lnTo>
                    <a:pt x="50" y="391"/>
                  </a:lnTo>
                  <a:lnTo>
                    <a:pt x="49" y="388"/>
                  </a:lnTo>
                  <a:lnTo>
                    <a:pt x="43" y="385"/>
                  </a:lnTo>
                  <a:lnTo>
                    <a:pt x="29" y="384"/>
                  </a:lnTo>
                  <a:lnTo>
                    <a:pt x="12" y="383"/>
                  </a:lnTo>
                  <a:lnTo>
                    <a:pt x="7" y="380"/>
                  </a:lnTo>
                  <a:lnTo>
                    <a:pt x="3" y="377"/>
                  </a:lnTo>
                  <a:lnTo>
                    <a:pt x="0" y="37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84" name="Freeform 32"/>
            <p:cNvSpPr>
              <a:spLocks/>
            </p:cNvSpPr>
            <p:nvPr/>
          </p:nvSpPr>
          <p:spPr bwMode="auto">
            <a:xfrm>
              <a:off x="1754817" y="4346542"/>
              <a:ext cx="155085" cy="150811"/>
            </a:xfrm>
            <a:custGeom>
              <a:avLst/>
              <a:gdLst>
                <a:gd name="T0" fmla="*/ 225 w 252"/>
                <a:gd name="T1" fmla="*/ 50 h 229"/>
                <a:gd name="T2" fmla="*/ 219 w 252"/>
                <a:gd name="T3" fmla="*/ 56 h 229"/>
                <a:gd name="T4" fmla="*/ 212 w 252"/>
                <a:gd name="T5" fmla="*/ 59 h 229"/>
                <a:gd name="T6" fmla="*/ 208 w 252"/>
                <a:gd name="T7" fmla="*/ 68 h 229"/>
                <a:gd name="T8" fmla="*/ 208 w 252"/>
                <a:gd name="T9" fmla="*/ 79 h 229"/>
                <a:gd name="T10" fmla="*/ 225 w 252"/>
                <a:gd name="T11" fmla="*/ 93 h 229"/>
                <a:gd name="T12" fmla="*/ 251 w 252"/>
                <a:gd name="T13" fmla="*/ 136 h 229"/>
                <a:gd name="T14" fmla="*/ 225 w 252"/>
                <a:gd name="T15" fmla="*/ 134 h 229"/>
                <a:gd name="T16" fmla="*/ 202 w 252"/>
                <a:gd name="T17" fmla="*/ 128 h 229"/>
                <a:gd name="T18" fmla="*/ 186 w 252"/>
                <a:gd name="T19" fmla="*/ 134 h 229"/>
                <a:gd name="T20" fmla="*/ 190 w 252"/>
                <a:gd name="T21" fmla="*/ 155 h 229"/>
                <a:gd name="T22" fmla="*/ 209 w 252"/>
                <a:gd name="T23" fmla="*/ 156 h 229"/>
                <a:gd name="T24" fmla="*/ 202 w 252"/>
                <a:gd name="T25" fmla="*/ 166 h 229"/>
                <a:gd name="T26" fmla="*/ 198 w 252"/>
                <a:gd name="T27" fmla="*/ 172 h 229"/>
                <a:gd name="T28" fmla="*/ 186 w 252"/>
                <a:gd name="T29" fmla="*/ 194 h 229"/>
                <a:gd name="T30" fmla="*/ 165 w 252"/>
                <a:gd name="T31" fmla="*/ 204 h 229"/>
                <a:gd name="T32" fmla="*/ 147 w 252"/>
                <a:gd name="T33" fmla="*/ 198 h 229"/>
                <a:gd name="T34" fmla="*/ 125 w 252"/>
                <a:gd name="T35" fmla="*/ 214 h 229"/>
                <a:gd name="T36" fmla="*/ 93 w 252"/>
                <a:gd name="T37" fmla="*/ 228 h 229"/>
                <a:gd name="T38" fmla="*/ 74 w 252"/>
                <a:gd name="T39" fmla="*/ 207 h 229"/>
                <a:gd name="T40" fmla="*/ 54 w 252"/>
                <a:gd name="T41" fmla="*/ 192 h 229"/>
                <a:gd name="T42" fmla="*/ 41 w 252"/>
                <a:gd name="T43" fmla="*/ 172 h 229"/>
                <a:gd name="T44" fmla="*/ 29 w 252"/>
                <a:gd name="T45" fmla="*/ 145 h 229"/>
                <a:gd name="T46" fmla="*/ 20 w 252"/>
                <a:gd name="T47" fmla="*/ 113 h 229"/>
                <a:gd name="T48" fmla="*/ 9 w 252"/>
                <a:gd name="T49" fmla="*/ 85 h 229"/>
                <a:gd name="T50" fmla="*/ 4 w 252"/>
                <a:gd name="T51" fmla="*/ 62 h 229"/>
                <a:gd name="T52" fmla="*/ 0 w 252"/>
                <a:gd name="T53" fmla="*/ 39 h 229"/>
                <a:gd name="T54" fmla="*/ 17 w 252"/>
                <a:gd name="T55" fmla="*/ 29 h 229"/>
                <a:gd name="T56" fmla="*/ 33 w 252"/>
                <a:gd name="T57" fmla="*/ 18 h 229"/>
                <a:gd name="T58" fmla="*/ 50 w 252"/>
                <a:gd name="T59" fmla="*/ 10 h 229"/>
                <a:gd name="T60" fmla="*/ 70 w 252"/>
                <a:gd name="T61" fmla="*/ 13 h 229"/>
                <a:gd name="T62" fmla="*/ 86 w 252"/>
                <a:gd name="T63" fmla="*/ 6 h 229"/>
                <a:gd name="T64" fmla="*/ 109 w 252"/>
                <a:gd name="T65" fmla="*/ 3 h 229"/>
                <a:gd name="T66" fmla="*/ 100 w 252"/>
                <a:gd name="T67" fmla="*/ 12 h 229"/>
                <a:gd name="T68" fmla="*/ 112 w 252"/>
                <a:gd name="T69" fmla="*/ 25 h 229"/>
                <a:gd name="T70" fmla="*/ 103 w 252"/>
                <a:gd name="T71" fmla="*/ 33 h 229"/>
                <a:gd name="T72" fmla="*/ 109 w 252"/>
                <a:gd name="T73" fmla="*/ 46 h 229"/>
                <a:gd name="T74" fmla="*/ 110 w 252"/>
                <a:gd name="T75" fmla="*/ 58 h 229"/>
                <a:gd name="T76" fmla="*/ 127 w 252"/>
                <a:gd name="T77" fmla="*/ 58 h 229"/>
                <a:gd name="T78" fmla="*/ 147 w 252"/>
                <a:gd name="T79" fmla="*/ 59 h 229"/>
                <a:gd name="T80" fmla="*/ 168 w 252"/>
                <a:gd name="T81" fmla="*/ 56 h 229"/>
                <a:gd name="T82" fmla="*/ 178 w 252"/>
                <a:gd name="T83" fmla="*/ 45 h 229"/>
                <a:gd name="T84" fmla="*/ 182 w 252"/>
                <a:gd name="T85" fmla="*/ 35 h 229"/>
                <a:gd name="T86" fmla="*/ 192 w 252"/>
                <a:gd name="T87" fmla="*/ 38 h 229"/>
                <a:gd name="T88" fmla="*/ 202 w 252"/>
                <a:gd name="T89" fmla="*/ 39 h 229"/>
                <a:gd name="T90" fmla="*/ 206 w 252"/>
                <a:gd name="T91" fmla="*/ 39 h 229"/>
                <a:gd name="T92" fmla="*/ 212 w 252"/>
                <a:gd name="T93" fmla="*/ 42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2" h="229">
                  <a:moveTo>
                    <a:pt x="225" y="50"/>
                  </a:moveTo>
                  <a:lnTo>
                    <a:pt x="225" y="50"/>
                  </a:lnTo>
                  <a:lnTo>
                    <a:pt x="225" y="50"/>
                  </a:lnTo>
                  <a:lnTo>
                    <a:pt x="223" y="53"/>
                  </a:lnTo>
                  <a:lnTo>
                    <a:pt x="223" y="53"/>
                  </a:lnTo>
                  <a:lnTo>
                    <a:pt x="219" y="56"/>
                  </a:lnTo>
                  <a:lnTo>
                    <a:pt x="213" y="56"/>
                  </a:lnTo>
                  <a:lnTo>
                    <a:pt x="213" y="56"/>
                  </a:lnTo>
                  <a:lnTo>
                    <a:pt x="212" y="59"/>
                  </a:lnTo>
                  <a:lnTo>
                    <a:pt x="212" y="60"/>
                  </a:lnTo>
                  <a:lnTo>
                    <a:pt x="212" y="60"/>
                  </a:lnTo>
                  <a:lnTo>
                    <a:pt x="208" y="68"/>
                  </a:lnTo>
                  <a:lnTo>
                    <a:pt x="208" y="68"/>
                  </a:lnTo>
                  <a:lnTo>
                    <a:pt x="208" y="73"/>
                  </a:lnTo>
                  <a:lnTo>
                    <a:pt x="208" y="79"/>
                  </a:lnTo>
                  <a:lnTo>
                    <a:pt x="215" y="85"/>
                  </a:lnTo>
                  <a:lnTo>
                    <a:pt x="221" y="88"/>
                  </a:lnTo>
                  <a:lnTo>
                    <a:pt x="225" y="93"/>
                  </a:lnTo>
                  <a:lnTo>
                    <a:pt x="223" y="116"/>
                  </a:lnTo>
                  <a:lnTo>
                    <a:pt x="252" y="118"/>
                  </a:lnTo>
                  <a:lnTo>
                    <a:pt x="251" y="136"/>
                  </a:lnTo>
                  <a:lnTo>
                    <a:pt x="245" y="136"/>
                  </a:lnTo>
                  <a:lnTo>
                    <a:pt x="235" y="136"/>
                  </a:lnTo>
                  <a:lnTo>
                    <a:pt x="225" y="134"/>
                  </a:lnTo>
                  <a:lnTo>
                    <a:pt x="221" y="131"/>
                  </a:lnTo>
                  <a:lnTo>
                    <a:pt x="212" y="126"/>
                  </a:lnTo>
                  <a:lnTo>
                    <a:pt x="202" y="128"/>
                  </a:lnTo>
                  <a:lnTo>
                    <a:pt x="195" y="128"/>
                  </a:lnTo>
                  <a:lnTo>
                    <a:pt x="189" y="131"/>
                  </a:lnTo>
                  <a:lnTo>
                    <a:pt x="186" y="134"/>
                  </a:lnTo>
                  <a:lnTo>
                    <a:pt x="196" y="141"/>
                  </a:lnTo>
                  <a:lnTo>
                    <a:pt x="186" y="149"/>
                  </a:lnTo>
                  <a:lnTo>
                    <a:pt x="190" y="155"/>
                  </a:lnTo>
                  <a:lnTo>
                    <a:pt x="195" y="161"/>
                  </a:lnTo>
                  <a:lnTo>
                    <a:pt x="200" y="156"/>
                  </a:lnTo>
                  <a:lnTo>
                    <a:pt x="209" y="156"/>
                  </a:lnTo>
                  <a:lnTo>
                    <a:pt x="209" y="162"/>
                  </a:lnTo>
                  <a:lnTo>
                    <a:pt x="205" y="162"/>
                  </a:lnTo>
                  <a:lnTo>
                    <a:pt x="202" y="166"/>
                  </a:lnTo>
                  <a:lnTo>
                    <a:pt x="206" y="171"/>
                  </a:lnTo>
                  <a:lnTo>
                    <a:pt x="200" y="177"/>
                  </a:lnTo>
                  <a:lnTo>
                    <a:pt x="198" y="172"/>
                  </a:lnTo>
                  <a:lnTo>
                    <a:pt x="196" y="172"/>
                  </a:lnTo>
                  <a:lnTo>
                    <a:pt x="192" y="187"/>
                  </a:lnTo>
                  <a:lnTo>
                    <a:pt x="186" y="194"/>
                  </a:lnTo>
                  <a:lnTo>
                    <a:pt x="179" y="205"/>
                  </a:lnTo>
                  <a:lnTo>
                    <a:pt x="172" y="207"/>
                  </a:lnTo>
                  <a:lnTo>
                    <a:pt x="165" y="204"/>
                  </a:lnTo>
                  <a:lnTo>
                    <a:pt x="159" y="201"/>
                  </a:lnTo>
                  <a:lnTo>
                    <a:pt x="153" y="198"/>
                  </a:lnTo>
                  <a:lnTo>
                    <a:pt x="147" y="198"/>
                  </a:lnTo>
                  <a:lnTo>
                    <a:pt x="143" y="199"/>
                  </a:lnTo>
                  <a:lnTo>
                    <a:pt x="136" y="207"/>
                  </a:lnTo>
                  <a:lnTo>
                    <a:pt x="125" y="214"/>
                  </a:lnTo>
                  <a:lnTo>
                    <a:pt x="115" y="219"/>
                  </a:lnTo>
                  <a:lnTo>
                    <a:pt x="97" y="229"/>
                  </a:lnTo>
                  <a:lnTo>
                    <a:pt x="93" y="228"/>
                  </a:lnTo>
                  <a:lnTo>
                    <a:pt x="89" y="224"/>
                  </a:lnTo>
                  <a:lnTo>
                    <a:pt x="82" y="214"/>
                  </a:lnTo>
                  <a:lnTo>
                    <a:pt x="74" y="207"/>
                  </a:lnTo>
                  <a:lnTo>
                    <a:pt x="67" y="204"/>
                  </a:lnTo>
                  <a:lnTo>
                    <a:pt x="62" y="199"/>
                  </a:lnTo>
                  <a:lnTo>
                    <a:pt x="54" y="192"/>
                  </a:lnTo>
                  <a:lnTo>
                    <a:pt x="49" y="182"/>
                  </a:lnTo>
                  <a:lnTo>
                    <a:pt x="47" y="179"/>
                  </a:lnTo>
                  <a:lnTo>
                    <a:pt x="41" y="172"/>
                  </a:lnTo>
                  <a:lnTo>
                    <a:pt x="37" y="168"/>
                  </a:lnTo>
                  <a:lnTo>
                    <a:pt x="29" y="151"/>
                  </a:lnTo>
                  <a:lnTo>
                    <a:pt x="29" y="145"/>
                  </a:lnTo>
                  <a:lnTo>
                    <a:pt x="27" y="138"/>
                  </a:lnTo>
                  <a:lnTo>
                    <a:pt x="23" y="122"/>
                  </a:lnTo>
                  <a:lnTo>
                    <a:pt x="20" y="113"/>
                  </a:lnTo>
                  <a:lnTo>
                    <a:pt x="19" y="108"/>
                  </a:lnTo>
                  <a:lnTo>
                    <a:pt x="11" y="91"/>
                  </a:lnTo>
                  <a:lnTo>
                    <a:pt x="9" y="85"/>
                  </a:lnTo>
                  <a:lnTo>
                    <a:pt x="9" y="79"/>
                  </a:lnTo>
                  <a:lnTo>
                    <a:pt x="6" y="73"/>
                  </a:lnTo>
                  <a:lnTo>
                    <a:pt x="4" y="62"/>
                  </a:lnTo>
                  <a:lnTo>
                    <a:pt x="6" y="55"/>
                  </a:lnTo>
                  <a:lnTo>
                    <a:pt x="4" y="49"/>
                  </a:lnTo>
                  <a:lnTo>
                    <a:pt x="0" y="39"/>
                  </a:lnTo>
                  <a:lnTo>
                    <a:pt x="3" y="36"/>
                  </a:lnTo>
                  <a:lnTo>
                    <a:pt x="10" y="35"/>
                  </a:lnTo>
                  <a:lnTo>
                    <a:pt x="17" y="29"/>
                  </a:lnTo>
                  <a:lnTo>
                    <a:pt x="23" y="23"/>
                  </a:lnTo>
                  <a:lnTo>
                    <a:pt x="26" y="20"/>
                  </a:lnTo>
                  <a:lnTo>
                    <a:pt x="33" y="18"/>
                  </a:lnTo>
                  <a:lnTo>
                    <a:pt x="36" y="18"/>
                  </a:lnTo>
                  <a:lnTo>
                    <a:pt x="44" y="12"/>
                  </a:lnTo>
                  <a:lnTo>
                    <a:pt x="50" y="10"/>
                  </a:lnTo>
                  <a:lnTo>
                    <a:pt x="53" y="9"/>
                  </a:lnTo>
                  <a:lnTo>
                    <a:pt x="60" y="9"/>
                  </a:lnTo>
                  <a:lnTo>
                    <a:pt x="70" y="13"/>
                  </a:lnTo>
                  <a:lnTo>
                    <a:pt x="76" y="12"/>
                  </a:lnTo>
                  <a:lnTo>
                    <a:pt x="82" y="8"/>
                  </a:lnTo>
                  <a:lnTo>
                    <a:pt x="86" y="6"/>
                  </a:lnTo>
                  <a:lnTo>
                    <a:pt x="92" y="0"/>
                  </a:lnTo>
                  <a:lnTo>
                    <a:pt x="102" y="2"/>
                  </a:lnTo>
                  <a:lnTo>
                    <a:pt x="109" y="3"/>
                  </a:lnTo>
                  <a:lnTo>
                    <a:pt x="110" y="6"/>
                  </a:lnTo>
                  <a:lnTo>
                    <a:pt x="110" y="9"/>
                  </a:lnTo>
                  <a:lnTo>
                    <a:pt x="100" y="12"/>
                  </a:lnTo>
                  <a:lnTo>
                    <a:pt x="99" y="18"/>
                  </a:lnTo>
                  <a:lnTo>
                    <a:pt x="107" y="25"/>
                  </a:lnTo>
                  <a:lnTo>
                    <a:pt x="112" y="25"/>
                  </a:lnTo>
                  <a:lnTo>
                    <a:pt x="116" y="28"/>
                  </a:lnTo>
                  <a:lnTo>
                    <a:pt x="116" y="35"/>
                  </a:lnTo>
                  <a:lnTo>
                    <a:pt x="103" y="33"/>
                  </a:lnTo>
                  <a:lnTo>
                    <a:pt x="105" y="39"/>
                  </a:lnTo>
                  <a:lnTo>
                    <a:pt x="109" y="42"/>
                  </a:lnTo>
                  <a:lnTo>
                    <a:pt x="109" y="46"/>
                  </a:lnTo>
                  <a:lnTo>
                    <a:pt x="105" y="48"/>
                  </a:lnTo>
                  <a:lnTo>
                    <a:pt x="106" y="52"/>
                  </a:lnTo>
                  <a:lnTo>
                    <a:pt x="110" y="58"/>
                  </a:lnTo>
                  <a:lnTo>
                    <a:pt x="116" y="60"/>
                  </a:lnTo>
                  <a:lnTo>
                    <a:pt x="122" y="59"/>
                  </a:lnTo>
                  <a:lnTo>
                    <a:pt x="127" y="58"/>
                  </a:lnTo>
                  <a:lnTo>
                    <a:pt x="135" y="60"/>
                  </a:lnTo>
                  <a:lnTo>
                    <a:pt x="140" y="60"/>
                  </a:lnTo>
                  <a:lnTo>
                    <a:pt x="147" y="59"/>
                  </a:lnTo>
                  <a:lnTo>
                    <a:pt x="159" y="58"/>
                  </a:lnTo>
                  <a:lnTo>
                    <a:pt x="163" y="58"/>
                  </a:lnTo>
                  <a:lnTo>
                    <a:pt x="168" y="56"/>
                  </a:lnTo>
                  <a:lnTo>
                    <a:pt x="173" y="56"/>
                  </a:lnTo>
                  <a:lnTo>
                    <a:pt x="176" y="52"/>
                  </a:lnTo>
                  <a:lnTo>
                    <a:pt x="178" y="45"/>
                  </a:lnTo>
                  <a:lnTo>
                    <a:pt x="176" y="39"/>
                  </a:lnTo>
                  <a:lnTo>
                    <a:pt x="178" y="33"/>
                  </a:lnTo>
                  <a:lnTo>
                    <a:pt x="182" y="35"/>
                  </a:lnTo>
                  <a:lnTo>
                    <a:pt x="186" y="38"/>
                  </a:lnTo>
                  <a:lnTo>
                    <a:pt x="189" y="39"/>
                  </a:lnTo>
                  <a:lnTo>
                    <a:pt x="192" y="38"/>
                  </a:lnTo>
                  <a:lnTo>
                    <a:pt x="193" y="35"/>
                  </a:lnTo>
                  <a:lnTo>
                    <a:pt x="199" y="38"/>
                  </a:lnTo>
                  <a:lnTo>
                    <a:pt x="202" y="39"/>
                  </a:lnTo>
                  <a:lnTo>
                    <a:pt x="202" y="39"/>
                  </a:lnTo>
                  <a:lnTo>
                    <a:pt x="206" y="39"/>
                  </a:lnTo>
                  <a:lnTo>
                    <a:pt x="206" y="39"/>
                  </a:lnTo>
                  <a:lnTo>
                    <a:pt x="209" y="40"/>
                  </a:lnTo>
                  <a:lnTo>
                    <a:pt x="210" y="40"/>
                  </a:lnTo>
                  <a:lnTo>
                    <a:pt x="212" y="42"/>
                  </a:lnTo>
                  <a:lnTo>
                    <a:pt x="218" y="49"/>
                  </a:lnTo>
                  <a:lnTo>
                    <a:pt x="225" y="5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85" name="Freeform 33"/>
            <p:cNvSpPr>
              <a:spLocks/>
            </p:cNvSpPr>
            <p:nvPr/>
          </p:nvSpPr>
          <p:spPr bwMode="auto">
            <a:xfrm>
              <a:off x="1814653" y="4473540"/>
              <a:ext cx="152643" cy="133613"/>
            </a:xfrm>
            <a:custGeom>
              <a:avLst/>
              <a:gdLst>
                <a:gd name="T0" fmla="*/ 39 w 250"/>
                <a:gd name="T1" fmla="*/ 157 h 200"/>
                <a:gd name="T2" fmla="*/ 61 w 250"/>
                <a:gd name="T3" fmla="*/ 174 h 200"/>
                <a:gd name="T4" fmla="*/ 82 w 250"/>
                <a:gd name="T5" fmla="*/ 166 h 200"/>
                <a:gd name="T6" fmla="*/ 106 w 250"/>
                <a:gd name="T7" fmla="*/ 159 h 200"/>
                <a:gd name="T8" fmla="*/ 121 w 250"/>
                <a:gd name="T9" fmla="*/ 159 h 200"/>
                <a:gd name="T10" fmla="*/ 124 w 250"/>
                <a:gd name="T11" fmla="*/ 189 h 200"/>
                <a:gd name="T12" fmla="*/ 142 w 250"/>
                <a:gd name="T13" fmla="*/ 179 h 200"/>
                <a:gd name="T14" fmla="*/ 144 w 250"/>
                <a:gd name="T15" fmla="*/ 177 h 200"/>
                <a:gd name="T16" fmla="*/ 146 w 250"/>
                <a:gd name="T17" fmla="*/ 177 h 200"/>
                <a:gd name="T18" fmla="*/ 149 w 250"/>
                <a:gd name="T19" fmla="*/ 179 h 200"/>
                <a:gd name="T20" fmla="*/ 149 w 250"/>
                <a:gd name="T21" fmla="*/ 180 h 200"/>
                <a:gd name="T22" fmla="*/ 155 w 250"/>
                <a:gd name="T23" fmla="*/ 183 h 200"/>
                <a:gd name="T24" fmla="*/ 174 w 250"/>
                <a:gd name="T25" fmla="*/ 194 h 200"/>
                <a:gd name="T26" fmla="*/ 182 w 250"/>
                <a:gd name="T27" fmla="*/ 197 h 200"/>
                <a:gd name="T28" fmla="*/ 215 w 250"/>
                <a:gd name="T29" fmla="*/ 177 h 200"/>
                <a:gd name="T30" fmla="*/ 217 w 250"/>
                <a:gd name="T31" fmla="*/ 174 h 200"/>
                <a:gd name="T32" fmla="*/ 214 w 250"/>
                <a:gd name="T33" fmla="*/ 162 h 200"/>
                <a:gd name="T34" fmla="*/ 207 w 250"/>
                <a:gd name="T35" fmla="*/ 149 h 200"/>
                <a:gd name="T36" fmla="*/ 222 w 250"/>
                <a:gd name="T37" fmla="*/ 139 h 200"/>
                <a:gd name="T38" fmla="*/ 237 w 250"/>
                <a:gd name="T39" fmla="*/ 143 h 200"/>
                <a:gd name="T40" fmla="*/ 244 w 250"/>
                <a:gd name="T41" fmla="*/ 146 h 200"/>
                <a:gd name="T42" fmla="*/ 250 w 250"/>
                <a:gd name="T43" fmla="*/ 140 h 200"/>
                <a:gd name="T44" fmla="*/ 232 w 250"/>
                <a:gd name="T45" fmla="*/ 124 h 200"/>
                <a:gd name="T46" fmla="*/ 224 w 250"/>
                <a:gd name="T47" fmla="*/ 117 h 200"/>
                <a:gd name="T48" fmla="*/ 219 w 250"/>
                <a:gd name="T49" fmla="*/ 106 h 200"/>
                <a:gd name="T50" fmla="*/ 211 w 250"/>
                <a:gd name="T51" fmla="*/ 99 h 200"/>
                <a:gd name="T52" fmla="*/ 202 w 250"/>
                <a:gd name="T53" fmla="*/ 88 h 200"/>
                <a:gd name="T54" fmla="*/ 191 w 250"/>
                <a:gd name="T55" fmla="*/ 88 h 200"/>
                <a:gd name="T56" fmla="*/ 174 w 250"/>
                <a:gd name="T57" fmla="*/ 91 h 200"/>
                <a:gd name="T58" fmla="*/ 172 w 250"/>
                <a:gd name="T59" fmla="*/ 88 h 200"/>
                <a:gd name="T60" fmla="*/ 171 w 250"/>
                <a:gd name="T61" fmla="*/ 80 h 200"/>
                <a:gd name="T62" fmla="*/ 168 w 250"/>
                <a:gd name="T63" fmla="*/ 71 h 200"/>
                <a:gd name="T64" fmla="*/ 166 w 250"/>
                <a:gd name="T65" fmla="*/ 70 h 200"/>
                <a:gd name="T66" fmla="*/ 159 w 250"/>
                <a:gd name="T67" fmla="*/ 64 h 200"/>
                <a:gd name="T68" fmla="*/ 155 w 250"/>
                <a:gd name="T69" fmla="*/ 63 h 200"/>
                <a:gd name="T70" fmla="*/ 136 w 250"/>
                <a:gd name="T71" fmla="*/ 58 h 200"/>
                <a:gd name="T72" fmla="*/ 154 w 250"/>
                <a:gd name="T73" fmla="*/ 30 h 200"/>
                <a:gd name="T74" fmla="*/ 145 w 250"/>
                <a:gd name="T75" fmla="*/ 27 h 200"/>
                <a:gd name="T76" fmla="*/ 139 w 250"/>
                <a:gd name="T77" fmla="*/ 21 h 200"/>
                <a:gd name="T78" fmla="*/ 132 w 250"/>
                <a:gd name="T79" fmla="*/ 15 h 200"/>
                <a:gd name="T80" fmla="*/ 101 w 250"/>
                <a:gd name="T81" fmla="*/ 13 h 200"/>
                <a:gd name="T82" fmla="*/ 92 w 250"/>
                <a:gd name="T83" fmla="*/ 7 h 200"/>
                <a:gd name="T84" fmla="*/ 89 w 250"/>
                <a:gd name="T85" fmla="*/ 0 h 200"/>
                <a:gd name="T86" fmla="*/ 75 w 250"/>
                <a:gd name="T87" fmla="*/ 13 h 200"/>
                <a:gd name="T88" fmla="*/ 62 w 250"/>
                <a:gd name="T89" fmla="*/ 7 h 200"/>
                <a:gd name="T90" fmla="*/ 50 w 250"/>
                <a:gd name="T91" fmla="*/ 4 h 200"/>
                <a:gd name="T92" fmla="*/ 39 w 250"/>
                <a:gd name="T93" fmla="*/ 13 h 200"/>
                <a:gd name="T94" fmla="*/ 18 w 250"/>
                <a:gd name="T95" fmla="*/ 25 h 200"/>
                <a:gd name="T96" fmla="*/ 3 w 250"/>
                <a:gd name="T97" fmla="*/ 40 h 200"/>
                <a:gd name="T98" fmla="*/ 0 w 250"/>
                <a:gd name="T99" fmla="*/ 48 h 200"/>
                <a:gd name="T100" fmla="*/ 6 w 250"/>
                <a:gd name="T101" fmla="*/ 60 h 200"/>
                <a:gd name="T102" fmla="*/ 22 w 250"/>
                <a:gd name="T103" fmla="*/ 80 h 200"/>
                <a:gd name="T104" fmla="*/ 25 w 250"/>
                <a:gd name="T105" fmla="*/ 107 h 200"/>
                <a:gd name="T106" fmla="*/ 20 w 250"/>
                <a:gd name="T107" fmla="*/ 120 h 200"/>
                <a:gd name="T108" fmla="*/ 25 w 250"/>
                <a:gd name="T109" fmla="*/ 144 h 200"/>
                <a:gd name="T110" fmla="*/ 30 w 250"/>
                <a:gd name="T111" fmla="*/ 16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0" h="200">
                  <a:moveTo>
                    <a:pt x="30" y="160"/>
                  </a:moveTo>
                  <a:lnTo>
                    <a:pt x="39" y="157"/>
                  </a:lnTo>
                  <a:lnTo>
                    <a:pt x="49" y="177"/>
                  </a:lnTo>
                  <a:lnTo>
                    <a:pt x="61" y="174"/>
                  </a:lnTo>
                  <a:lnTo>
                    <a:pt x="62" y="170"/>
                  </a:lnTo>
                  <a:lnTo>
                    <a:pt x="82" y="166"/>
                  </a:lnTo>
                  <a:lnTo>
                    <a:pt x="89" y="172"/>
                  </a:lnTo>
                  <a:lnTo>
                    <a:pt x="106" y="159"/>
                  </a:lnTo>
                  <a:lnTo>
                    <a:pt x="116" y="154"/>
                  </a:lnTo>
                  <a:lnTo>
                    <a:pt x="121" y="159"/>
                  </a:lnTo>
                  <a:lnTo>
                    <a:pt x="116" y="166"/>
                  </a:lnTo>
                  <a:lnTo>
                    <a:pt x="124" y="189"/>
                  </a:lnTo>
                  <a:lnTo>
                    <a:pt x="135" y="192"/>
                  </a:lnTo>
                  <a:lnTo>
                    <a:pt x="142" y="179"/>
                  </a:lnTo>
                  <a:lnTo>
                    <a:pt x="142" y="179"/>
                  </a:lnTo>
                  <a:lnTo>
                    <a:pt x="144" y="177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9" y="179"/>
                  </a:lnTo>
                  <a:lnTo>
                    <a:pt x="149" y="179"/>
                  </a:lnTo>
                  <a:lnTo>
                    <a:pt x="149" y="180"/>
                  </a:lnTo>
                  <a:lnTo>
                    <a:pt x="149" y="180"/>
                  </a:lnTo>
                  <a:lnTo>
                    <a:pt x="152" y="182"/>
                  </a:lnTo>
                  <a:lnTo>
                    <a:pt x="155" y="183"/>
                  </a:lnTo>
                  <a:lnTo>
                    <a:pt x="174" y="189"/>
                  </a:lnTo>
                  <a:lnTo>
                    <a:pt x="174" y="194"/>
                  </a:lnTo>
                  <a:lnTo>
                    <a:pt x="174" y="200"/>
                  </a:lnTo>
                  <a:lnTo>
                    <a:pt x="182" y="197"/>
                  </a:lnTo>
                  <a:lnTo>
                    <a:pt x="191" y="190"/>
                  </a:lnTo>
                  <a:lnTo>
                    <a:pt x="215" y="177"/>
                  </a:lnTo>
                  <a:lnTo>
                    <a:pt x="217" y="177"/>
                  </a:lnTo>
                  <a:lnTo>
                    <a:pt x="217" y="174"/>
                  </a:lnTo>
                  <a:lnTo>
                    <a:pt x="215" y="170"/>
                  </a:lnTo>
                  <a:lnTo>
                    <a:pt x="214" y="162"/>
                  </a:lnTo>
                  <a:lnTo>
                    <a:pt x="211" y="154"/>
                  </a:lnTo>
                  <a:lnTo>
                    <a:pt x="207" y="149"/>
                  </a:lnTo>
                  <a:lnTo>
                    <a:pt x="218" y="140"/>
                  </a:lnTo>
                  <a:lnTo>
                    <a:pt x="222" y="139"/>
                  </a:lnTo>
                  <a:lnTo>
                    <a:pt x="228" y="137"/>
                  </a:lnTo>
                  <a:lnTo>
                    <a:pt x="237" y="143"/>
                  </a:lnTo>
                  <a:lnTo>
                    <a:pt x="240" y="141"/>
                  </a:lnTo>
                  <a:lnTo>
                    <a:pt x="244" y="146"/>
                  </a:lnTo>
                  <a:lnTo>
                    <a:pt x="247" y="143"/>
                  </a:lnTo>
                  <a:lnTo>
                    <a:pt x="250" y="140"/>
                  </a:lnTo>
                  <a:lnTo>
                    <a:pt x="238" y="126"/>
                  </a:lnTo>
                  <a:lnTo>
                    <a:pt x="232" y="124"/>
                  </a:lnTo>
                  <a:lnTo>
                    <a:pt x="222" y="119"/>
                  </a:lnTo>
                  <a:lnTo>
                    <a:pt x="224" y="117"/>
                  </a:lnTo>
                  <a:lnTo>
                    <a:pt x="227" y="114"/>
                  </a:lnTo>
                  <a:lnTo>
                    <a:pt x="219" y="106"/>
                  </a:lnTo>
                  <a:lnTo>
                    <a:pt x="215" y="103"/>
                  </a:lnTo>
                  <a:lnTo>
                    <a:pt x="211" y="99"/>
                  </a:lnTo>
                  <a:lnTo>
                    <a:pt x="209" y="93"/>
                  </a:lnTo>
                  <a:lnTo>
                    <a:pt x="202" y="88"/>
                  </a:lnTo>
                  <a:lnTo>
                    <a:pt x="198" y="88"/>
                  </a:lnTo>
                  <a:lnTo>
                    <a:pt x="191" y="88"/>
                  </a:lnTo>
                  <a:lnTo>
                    <a:pt x="184" y="88"/>
                  </a:lnTo>
                  <a:lnTo>
                    <a:pt x="174" y="91"/>
                  </a:lnTo>
                  <a:lnTo>
                    <a:pt x="174" y="91"/>
                  </a:lnTo>
                  <a:lnTo>
                    <a:pt x="172" y="88"/>
                  </a:lnTo>
                  <a:lnTo>
                    <a:pt x="171" y="86"/>
                  </a:lnTo>
                  <a:lnTo>
                    <a:pt x="171" y="80"/>
                  </a:lnTo>
                  <a:lnTo>
                    <a:pt x="169" y="74"/>
                  </a:lnTo>
                  <a:lnTo>
                    <a:pt x="168" y="71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1" y="66"/>
                  </a:lnTo>
                  <a:lnTo>
                    <a:pt x="159" y="64"/>
                  </a:lnTo>
                  <a:lnTo>
                    <a:pt x="155" y="63"/>
                  </a:lnTo>
                  <a:lnTo>
                    <a:pt x="155" y="63"/>
                  </a:lnTo>
                  <a:lnTo>
                    <a:pt x="142" y="61"/>
                  </a:lnTo>
                  <a:lnTo>
                    <a:pt x="136" y="58"/>
                  </a:lnTo>
                  <a:lnTo>
                    <a:pt x="159" y="37"/>
                  </a:lnTo>
                  <a:lnTo>
                    <a:pt x="154" y="30"/>
                  </a:lnTo>
                  <a:lnTo>
                    <a:pt x="148" y="30"/>
                  </a:lnTo>
                  <a:lnTo>
                    <a:pt x="145" y="27"/>
                  </a:lnTo>
                  <a:lnTo>
                    <a:pt x="142" y="25"/>
                  </a:lnTo>
                  <a:lnTo>
                    <a:pt x="139" y="21"/>
                  </a:lnTo>
                  <a:lnTo>
                    <a:pt x="138" y="18"/>
                  </a:lnTo>
                  <a:lnTo>
                    <a:pt x="132" y="15"/>
                  </a:lnTo>
                  <a:lnTo>
                    <a:pt x="118" y="14"/>
                  </a:lnTo>
                  <a:lnTo>
                    <a:pt x="101" y="13"/>
                  </a:lnTo>
                  <a:lnTo>
                    <a:pt x="96" y="10"/>
                  </a:lnTo>
                  <a:lnTo>
                    <a:pt x="92" y="7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2" y="11"/>
                  </a:lnTo>
                  <a:lnTo>
                    <a:pt x="75" y="13"/>
                  </a:lnTo>
                  <a:lnTo>
                    <a:pt x="68" y="10"/>
                  </a:lnTo>
                  <a:lnTo>
                    <a:pt x="62" y="7"/>
                  </a:lnTo>
                  <a:lnTo>
                    <a:pt x="56" y="4"/>
                  </a:lnTo>
                  <a:lnTo>
                    <a:pt x="50" y="4"/>
                  </a:lnTo>
                  <a:lnTo>
                    <a:pt x="46" y="5"/>
                  </a:lnTo>
                  <a:lnTo>
                    <a:pt x="39" y="13"/>
                  </a:lnTo>
                  <a:lnTo>
                    <a:pt x="28" y="20"/>
                  </a:lnTo>
                  <a:lnTo>
                    <a:pt x="18" y="25"/>
                  </a:lnTo>
                  <a:lnTo>
                    <a:pt x="0" y="35"/>
                  </a:lnTo>
                  <a:lnTo>
                    <a:pt x="3" y="40"/>
                  </a:lnTo>
                  <a:lnTo>
                    <a:pt x="2" y="44"/>
                  </a:lnTo>
                  <a:lnTo>
                    <a:pt x="0" y="48"/>
                  </a:lnTo>
                  <a:lnTo>
                    <a:pt x="3" y="53"/>
                  </a:lnTo>
                  <a:lnTo>
                    <a:pt x="6" y="60"/>
                  </a:lnTo>
                  <a:lnTo>
                    <a:pt x="18" y="74"/>
                  </a:lnTo>
                  <a:lnTo>
                    <a:pt x="22" y="80"/>
                  </a:lnTo>
                  <a:lnTo>
                    <a:pt x="23" y="88"/>
                  </a:lnTo>
                  <a:lnTo>
                    <a:pt x="25" y="107"/>
                  </a:lnTo>
                  <a:lnTo>
                    <a:pt x="23" y="113"/>
                  </a:lnTo>
                  <a:lnTo>
                    <a:pt x="20" y="120"/>
                  </a:lnTo>
                  <a:lnTo>
                    <a:pt x="23" y="137"/>
                  </a:lnTo>
                  <a:lnTo>
                    <a:pt x="25" y="144"/>
                  </a:lnTo>
                  <a:lnTo>
                    <a:pt x="28" y="152"/>
                  </a:lnTo>
                  <a:lnTo>
                    <a:pt x="30" y="16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86" name="Freeform 34"/>
            <p:cNvSpPr>
              <a:spLocks/>
            </p:cNvSpPr>
            <p:nvPr/>
          </p:nvSpPr>
          <p:spPr bwMode="auto">
            <a:xfrm>
              <a:off x="1830527" y="4576727"/>
              <a:ext cx="146537" cy="101864"/>
            </a:xfrm>
            <a:custGeom>
              <a:avLst/>
              <a:gdLst>
                <a:gd name="T0" fmla="*/ 7 w 241"/>
                <a:gd name="T1" fmla="*/ 15 h 155"/>
                <a:gd name="T2" fmla="*/ 14 w 241"/>
                <a:gd name="T3" fmla="*/ 42 h 155"/>
                <a:gd name="T4" fmla="*/ 14 w 241"/>
                <a:gd name="T5" fmla="*/ 56 h 155"/>
                <a:gd name="T6" fmla="*/ 13 w 241"/>
                <a:gd name="T7" fmla="*/ 65 h 155"/>
                <a:gd name="T8" fmla="*/ 3 w 241"/>
                <a:gd name="T9" fmla="*/ 73 h 155"/>
                <a:gd name="T10" fmla="*/ 4 w 241"/>
                <a:gd name="T11" fmla="*/ 86 h 155"/>
                <a:gd name="T12" fmla="*/ 10 w 241"/>
                <a:gd name="T13" fmla="*/ 98 h 155"/>
                <a:gd name="T14" fmla="*/ 24 w 241"/>
                <a:gd name="T15" fmla="*/ 106 h 155"/>
                <a:gd name="T16" fmla="*/ 42 w 241"/>
                <a:gd name="T17" fmla="*/ 114 h 155"/>
                <a:gd name="T18" fmla="*/ 59 w 241"/>
                <a:gd name="T19" fmla="*/ 115 h 155"/>
                <a:gd name="T20" fmla="*/ 79 w 241"/>
                <a:gd name="T21" fmla="*/ 129 h 155"/>
                <a:gd name="T22" fmla="*/ 96 w 241"/>
                <a:gd name="T23" fmla="*/ 142 h 155"/>
                <a:gd name="T24" fmla="*/ 118 w 241"/>
                <a:gd name="T25" fmla="*/ 145 h 155"/>
                <a:gd name="T26" fmla="*/ 133 w 241"/>
                <a:gd name="T27" fmla="*/ 149 h 155"/>
                <a:gd name="T28" fmla="*/ 148 w 241"/>
                <a:gd name="T29" fmla="*/ 139 h 155"/>
                <a:gd name="T30" fmla="*/ 163 w 241"/>
                <a:gd name="T31" fmla="*/ 88 h 155"/>
                <a:gd name="T32" fmla="*/ 149 w 241"/>
                <a:gd name="T33" fmla="*/ 92 h 155"/>
                <a:gd name="T34" fmla="*/ 148 w 241"/>
                <a:gd name="T35" fmla="*/ 81 h 155"/>
                <a:gd name="T36" fmla="*/ 162 w 241"/>
                <a:gd name="T37" fmla="*/ 52 h 155"/>
                <a:gd name="T38" fmla="*/ 182 w 241"/>
                <a:gd name="T39" fmla="*/ 35 h 155"/>
                <a:gd name="T40" fmla="*/ 182 w 241"/>
                <a:gd name="T41" fmla="*/ 49 h 155"/>
                <a:gd name="T42" fmla="*/ 196 w 241"/>
                <a:gd name="T43" fmla="*/ 49 h 155"/>
                <a:gd name="T44" fmla="*/ 205 w 241"/>
                <a:gd name="T45" fmla="*/ 66 h 155"/>
                <a:gd name="T46" fmla="*/ 222 w 241"/>
                <a:gd name="T47" fmla="*/ 59 h 155"/>
                <a:gd name="T48" fmla="*/ 232 w 241"/>
                <a:gd name="T49" fmla="*/ 49 h 155"/>
                <a:gd name="T50" fmla="*/ 239 w 241"/>
                <a:gd name="T51" fmla="*/ 42 h 155"/>
                <a:gd name="T52" fmla="*/ 239 w 241"/>
                <a:gd name="T53" fmla="*/ 35 h 155"/>
                <a:gd name="T54" fmla="*/ 241 w 241"/>
                <a:gd name="T55" fmla="*/ 32 h 155"/>
                <a:gd name="T56" fmla="*/ 236 w 241"/>
                <a:gd name="T57" fmla="*/ 26 h 155"/>
                <a:gd name="T58" fmla="*/ 218 w 241"/>
                <a:gd name="T59" fmla="*/ 16 h 155"/>
                <a:gd name="T60" fmla="*/ 211 w 241"/>
                <a:gd name="T61" fmla="*/ 10 h 155"/>
                <a:gd name="T62" fmla="*/ 206 w 241"/>
                <a:gd name="T63" fmla="*/ 5 h 155"/>
                <a:gd name="T64" fmla="*/ 202 w 241"/>
                <a:gd name="T65" fmla="*/ 3 h 155"/>
                <a:gd name="T66" fmla="*/ 188 w 241"/>
                <a:gd name="T67" fmla="*/ 8 h 155"/>
                <a:gd name="T68" fmla="*/ 189 w 241"/>
                <a:gd name="T69" fmla="*/ 10 h 155"/>
                <a:gd name="T70" fmla="*/ 189 w 241"/>
                <a:gd name="T71" fmla="*/ 18 h 155"/>
                <a:gd name="T72" fmla="*/ 165 w 241"/>
                <a:gd name="T73" fmla="*/ 36 h 155"/>
                <a:gd name="T74" fmla="*/ 148 w 241"/>
                <a:gd name="T75" fmla="*/ 46 h 155"/>
                <a:gd name="T76" fmla="*/ 148 w 241"/>
                <a:gd name="T77" fmla="*/ 35 h 155"/>
                <a:gd name="T78" fmla="*/ 125 w 241"/>
                <a:gd name="T79" fmla="*/ 26 h 155"/>
                <a:gd name="T80" fmla="*/ 116 w 241"/>
                <a:gd name="T81" fmla="*/ 25 h 155"/>
                <a:gd name="T82" fmla="*/ 109 w 241"/>
                <a:gd name="T83" fmla="*/ 38 h 155"/>
                <a:gd name="T84" fmla="*/ 99 w 241"/>
                <a:gd name="T85" fmla="*/ 28 h 155"/>
                <a:gd name="T86" fmla="*/ 90 w 241"/>
                <a:gd name="T87" fmla="*/ 12 h 155"/>
                <a:gd name="T88" fmla="*/ 90 w 241"/>
                <a:gd name="T89" fmla="*/ 0 h 155"/>
                <a:gd name="T90" fmla="*/ 63 w 241"/>
                <a:gd name="T91" fmla="*/ 18 h 155"/>
                <a:gd name="T92" fmla="*/ 36 w 241"/>
                <a:gd name="T93" fmla="*/ 16 h 155"/>
                <a:gd name="T94" fmla="*/ 23 w 241"/>
                <a:gd name="T95" fmla="*/ 23 h 155"/>
                <a:gd name="T96" fmla="*/ 4 w 241"/>
                <a:gd name="T97" fmla="*/ 6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41" h="155">
                  <a:moveTo>
                    <a:pt x="4" y="6"/>
                  </a:moveTo>
                  <a:lnTo>
                    <a:pt x="7" y="15"/>
                  </a:lnTo>
                  <a:lnTo>
                    <a:pt x="12" y="29"/>
                  </a:lnTo>
                  <a:lnTo>
                    <a:pt x="14" y="42"/>
                  </a:lnTo>
                  <a:lnTo>
                    <a:pt x="14" y="48"/>
                  </a:lnTo>
                  <a:lnTo>
                    <a:pt x="14" y="56"/>
                  </a:lnTo>
                  <a:lnTo>
                    <a:pt x="14" y="63"/>
                  </a:lnTo>
                  <a:lnTo>
                    <a:pt x="13" y="65"/>
                  </a:lnTo>
                  <a:lnTo>
                    <a:pt x="12" y="69"/>
                  </a:lnTo>
                  <a:lnTo>
                    <a:pt x="3" y="73"/>
                  </a:lnTo>
                  <a:lnTo>
                    <a:pt x="0" y="79"/>
                  </a:lnTo>
                  <a:lnTo>
                    <a:pt x="4" y="86"/>
                  </a:lnTo>
                  <a:lnTo>
                    <a:pt x="7" y="92"/>
                  </a:lnTo>
                  <a:lnTo>
                    <a:pt x="10" y="98"/>
                  </a:lnTo>
                  <a:lnTo>
                    <a:pt x="19" y="103"/>
                  </a:lnTo>
                  <a:lnTo>
                    <a:pt x="24" y="106"/>
                  </a:lnTo>
                  <a:lnTo>
                    <a:pt x="30" y="111"/>
                  </a:lnTo>
                  <a:lnTo>
                    <a:pt x="42" y="114"/>
                  </a:lnTo>
                  <a:lnTo>
                    <a:pt x="49" y="114"/>
                  </a:lnTo>
                  <a:lnTo>
                    <a:pt x="59" y="115"/>
                  </a:lnTo>
                  <a:lnTo>
                    <a:pt x="70" y="132"/>
                  </a:lnTo>
                  <a:lnTo>
                    <a:pt x="79" y="129"/>
                  </a:lnTo>
                  <a:lnTo>
                    <a:pt x="86" y="132"/>
                  </a:lnTo>
                  <a:lnTo>
                    <a:pt x="96" y="142"/>
                  </a:lnTo>
                  <a:lnTo>
                    <a:pt x="119" y="128"/>
                  </a:lnTo>
                  <a:lnTo>
                    <a:pt x="118" y="145"/>
                  </a:lnTo>
                  <a:lnTo>
                    <a:pt x="125" y="155"/>
                  </a:lnTo>
                  <a:lnTo>
                    <a:pt x="133" y="149"/>
                  </a:lnTo>
                  <a:lnTo>
                    <a:pt x="140" y="152"/>
                  </a:lnTo>
                  <a:lnTo>
                    <a:pt x="148" y="139"/>
                  </a:lnTo>
                  <a:lnTo>
                    <a:pt x="142" y="111"/>
                  </a:lnTo>
                  <a:lnTo>
                    <a:pt x="163" y="88"/>
                  </a:lnTo>
                  <a:lnTo>
                    <a:pt x="158" y="82"/>
                  </a:lnTo>
                  <a:lnTo>
                    <a:pt x="149" y="92"/>
                  </a:lnTo>
                  <a:lnTo>
                    <a:pt x="146" y="89"/>
                  </a:lnTo>
                  <a:lnTo>
                    <a:pt x="148" y="81"/>
                  </a:lnTo>
                  <a:lnTo>
                    <a:pt x="163" y="61"/>
                  </a:lnTo>
                  <a:lnTo>
                    <a:pt x="162" y="52"/>
                  </a:lnTo>
                  <a:lnTo>
                    <a:pt x="172" y="42"/>
                  </a:lnTo>
                  <a:lnTo>
                    <a:pt x="182" y="35"/>
                  </a:lnTo>
                  <a:lnTo>
                    <a:pt x="189" y="42"/>
                  </a:lnTo>
                  <a:lnTo>
                    <a:pt x="182" y="49"/>
                  </a:lnTo>
                  <a:lnTo>
                    <a:pt x="191" y="55"/>
                  </a:lnTo>
                  <a:lnTo>
                    <a:pt x="196" y="49"/>
                  </a:lnTo>
                  <a:lnTo>
                    <a:pt x="209" y="62"/>
                  </a:lnTo>
                  <a:lnTo>
                    <a:pt x="205" y="66"/>
                  </a:lnTo>
                  <a:lnTo>
                    <a:pt x="209" y="71"/>
                  </a:lnTo>
                  <a:lnTo>
                    <a:pt x="222" y="59"/>
                  </a:lnTo>
                  <a:lnTo>
                    <a:pt x="222" y="59"/>
                  </a:lnTo>
                  <a:lnTo>
                    <a:pt x="232" y="49"/>
                  </a:lnTo>
                  <a:lnTo>
                    <a:pt x="239" y="42"/>
                  </a:lnTo>
                  <a:lnTo>
                    <a:pt x="239" y="42"/>
                  </a:lnTo>
                  <a:lnTo>
                    <a:pt x="239" y="39"/>
                  </a:lnTo>
                  <a:lnTo>
                    <a:pt x="239" y="35"/>
                  </a:lnTo>
                  <a:lnTo>
                    <a:pt x="239" y="35"/>
                  </a:lnTo>
                  <a:lnTo>
                    <a:pt x="241" y="32"/>
                  </a:lnTo>
                  <a:lnTo>
                    <a:pt x="239" y="29"/>
                  </a:lnTo>
                  <a:lnTo>
                    <a:pt x="236" y="26"/>
                  </a:lnTo>
                  <a:lnTo>
                    <a:pt x="232" y="23"/>
                  </a:lnTo>
                  <a:lnTo>
                    <a:pt x="218" y="16"/>
                  </a:lnTo>
                  <a:lnTo>
                    <a:pt x="218" y="16"/>
                  </a:lnTo>
                  <a:lnTo>
                    <a:pt x="211" y="10"/>
                  </a:lnTo>
                  <a:lnTo>
                    <a:pt x="206" y="5"/>
                  </a:lnTo>
                  <a:lnTo>
                    <a:pt x="206" y="5"/>
                  </a:lnTo>
                  <a:lnTo>
                    <a:pt x="204" y="3"/>
                  </a:lnTo>
                  <a:lnTo>
                    <a:pt x="202" y="3"/>
                  </a:lnTo>
                  <a:lnTo>
                    <a:pt x="198" y="3"/>
                  </a:lnTo>
                  <a:lnTo>
                    <a:pt x="188" y="8"/>
                  </a:lnTo>
                  <a:lnTo>
                    <a:pt x="188" y="8"/>
                  </a:lnTo>
                  <a:lnTo>
                    <a:pt x="189" y="10"/>
                  </a:lnTo>
                  <a:lnTo>
                    <a:pt x="189" y="10"/>
                  </a:lnTo>
                  <a:lnTo>
                    <a:pt x="189" y="18"/>
                  </a:lnTo>
                  <a:lnTo>
                    <a:pt x="189" y="23"/>
                  </a:lnTo>
                  <a:lnTo>
                    <a:pt x="165" y="36"/>
                  </a:lnTo>
                  <a:lnTo>
                    <a:pt x="156" y="43"/>
                  </a:lnTo>
                  <a:lnTo>
                    <a:pt x="148" y="46"/>
                  </a:lnTo>
                  <a:lnTo>
                    <a:pt x="148" y="40"/>
                  </a:lnTo>
                  <a:lnTo>
                    <a:pt x="148" y="35"/>
                  </a:lnTo>
                  <a:lnTo>
                    <a:pt x="129" y="29"/>
                  </a:lnTo>
                  <a:lnTo>
                    <a:pt x="125" y="26"/>
                  </a:lnTo>
                  <a:lnTo>
                    <a:pt x="120" y="23"/>
                  </a:lnTo>
                  <a:lnTo>
                    <a:pt x="116" y="25"/>
                  </a:lnTo>
                  <a:lnTo>
                    <a:pt x="110" y="35"/>
                  </a:lnTo>
                  <a:lnTo>
                    <a:pt x="109" y="38"/>
                  </a:lnTo>
                  <a:lnTo>
                    <a:pt x="98" y="35"/>
                  </a:lnTo>
                  <a:lnTo>
                    <a:pt x="99" y="28"/>
                  </a:lnTo>
                  <a:lnTo>
                    <a:pt x="95" y="19"/>
                  </a:lnTo>
                  <a:lnTo>
                    <a:pt x="90" y="12"/>
                  </a:lnTo>
                  <a:lnTo>
                    <a:pt x="95" y="5"/>
                  </a:lnTo>
                  <a:lnTo>
                    <a:pt x="90" y="0"/>
                  </a:lnTo>
                  <a:lnTo>
                    <a:pt x="80" y="5"/>
                  </a:lnTo>
                  <a:lnTo>
                    <a:pt x="63" y="18"/>
                  </a:lnTo>
                  <a:lnTo>
                    <a:pt x="56" y="12"/>
                  </a:lnTo>
                  <a:lnTo>
                    <a:pt x="36" y="16"/>
                  </a:lnTo>
                  <a:lnTo>
                    <a:pt x="35" y="20"/>
                  </a:lnTo>
                  <a:lnTo>
                    <a:pt x="23" y="23"/>
                  </a:lnTo>
                  <a:lnTo>
                    <a:pt x="13" y="3"/>
                  </a:lnTo>
                  <a:lnTo>
                    <a:pt x="4" y="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87" name="Freeform 35"/>
            <p:cNvSpPr>
              <a:spLocks noEditPoints="1"/>
            </p:cNvSpPr>
            <p:nvPr/>
          </p:nvSpPr>
          <p:spPr bwMode="auto">
            <a:xfrm>
              <a:off x="1892806" y="4564821"/>
              <a:ext cx="269872" cy="418038"/>
            </a:xfrm>
            <a:custGeom>
              <a:avLst/>
              <a:gdLst>
                <a:gd name="T0" fmla="*/ 302 w 442"/>
                <a:gd name="T1" fmla="*/ 355 h 632"/>
                <a:gd name="T2" fmla="*/ 303 w 442"/>
                <a:gd name="T3" fmla="*/ 344 h 632"/>
                <a:gd name="T4" fmla="*/ 378 w 442"/>
                <a:gd name="T5" fmla="*/ 307 h 632"/>
                <a:gd name="T6" fmla="*/ 372 w 442"/>
                <a:gd name="T7" fmla="*/ 292 h 632"/>
                <a:gd name="T8" fmla="*/ 338 w 442"/>
                <a:gd name="T9" fmla="*/ 311 h 632"/>
                <a:gd name="T10" fmla="*/ 325 w 442"/>
                <a:gd name="T11" fmla="*/ 314 h 632"/>
                <a:gd name="T12" fmla="*/ 338 w 442"/>
                <a:gd name="T13" fmla="*/ 305 h 632"/>
                <a:gd name="T14" fmla="*/ 358 w 442"/>
                <a:gd name="T15" fmla="*/ 292 h 632"/>
                <a:gd name="T16" fmla="*/ 362 w 442"/>
                <a:gd name="T17" fmla="*/ 274 h 632"/>
                <a:gd name="T18" fmla="*/ 382 w 442"/>
                <a:gd name="T19" fmla="*/ 226 h 632"/>
                <a:gd name="T20" fmla="*/ 374 w 442"/>
                <a:gd name="T21" fmla="*/ 209 h 632"/>
                <a:gd name="T22" fmla="*/ 381 w 442"/>
                <a:gd name="T23" fmla="*/ 181 h 632"/>
                <a:gd name="T24" fmla="*/ 379 w 442"/>
                <a:gd name="T25" fmla="*/ 168 h 632"/>
                <a:gd name="T26" fmla="*/ 385 w 442"/>
                <a:gd name="T27" fmla="*/ 158 h 632"/>
                <a:gd name="T28" fmla="*/ 401 w 442"/>
                <a:gd name="T29" fmla="*/ 139 h 632"/>
                <a:gd name="T30" fmla="*/ 419 w 442"/>
                <a:gd name="T31" fmla="*/ 128 h 632"/>
                <a:gd name="T32" fmla="*/ 404 w 442"/>
                <a:gd name="T33" fmla="*/ 62 h 632"/>
                <a:gd name="T34" fmla="*/ 372 w 442"/>
                <a:gd name="T35" fmla="*/ 20 h 632"/>
                <a:gd name="T36" fmla="*/ 351 w 442"/>
                <a:gd name="T37" fmla="*/ 0 h 632"/>
                <a:gd name="T38" fmla="*/ 311 w 442"/>
                <a:gd name="T39" fmla="*/ 20 h 632"/>
                <a:gd name="T40" fmla="*/ 252 w 442"/>
                <a:gd name="T41" fmla="*/ 22 h 632"/>
                <a:gd name="T42" fmla="*/ 240 w 442"/>
                <a:gd name="T43" fmla="*/ 56 h 632"/>
                <a:gd name="T44" fmla="*/ 218 w 442"/>
                <a:gd name="T45" fmla="*/ 55 h 632"/>
                <a:gd name="T46" fmla="*/ 218 w 442"/>
                <a:gd name="T47" fmla="*/ 103 h 632"/>
                <a:gd name="T48" fmla="*/ 252 w 442"/>
                <a:gd name="T49" fmla="*/ 155 h 632"/>
                <a:gd name="T50" fmla="*/ 253 w 442"/>
                <a:gd name="T51" fmla="*/ 171 h 632"/>
                <a:gd name="T52" fmla="*/ 286 w 442"/>
                <a:gd name="T53" fmla="*/ 184 h 632"/>
                <a:gd name="T54" fmla="*/ 281 w 442"/>
                <a:gd name="T55" fmla="*/ 204 h 632"/>
                <a:gd name="T56" fmla="*/ 249 w 442"/>
                <a:gd name="T57" fmla="*/ 224 h 632"/>
                <a:gd name="T58" fmla="*/ 220 w 442"/>
                <a:gd name="T59" fmla="*/ 234 h 632"/>
                <a:gd name="T60" fmla="*/ 186 w 442"/>
                <a:gd name="T61" fmla="*/ 287 h 632"/>
                <a:gd name="T62" fmla="*/ 152 w 442"/>
                <a:gd name="T63" fmla="*/ 302 h 632"/>
                <a:gd name="T64" fmla="*/ 133 w 442"/>
                <a:gd name="T65" fmla="*/ 287 h 632"/>
                <a:gd name="T66" fmla="*/ 117 w 442"/>
                <a:gd name="T67" fmla="*/ 295 h 632"/>
                <a:gd name="T68" fmla="*/ 100 w 442"/>
                <a:gd name="T69" fmla="*/ 297 h 632"/>
                <a:gd name="T70" fmla="*/ 74 w 442"/>
                <a:gd name="T71" fmla="*/ 297 h 632"/>
                <a:gd name="T72" fmla="*/ 43 w 442"/>
                <a:gd name="T73" fmla="*/ 292 h 632"/>
                <a:gd name="T74" fmla="*/ 20 w 442"/>
                <a:gd name="T75" fmla="*/ 302 h 632"/>
                <a:gd name="T76" fmla="*/ 0 w 442"/>
                <a:gd name="T77" fmla="*/ 314 h 632"/>
                <a:gd name="T78" fmla="*/ 33 w 442"/>
                <a:gd name="T79" fmla="*/ 393 h 632"/>
                <a:gd name="T80" fmla="*/ 40 w 442"/>
                <a:gd name="T81" fmla="*/ 440 h 632"/>
                <a:gd name="T82" fmla="*/ 53 w 442"/>
                <a:gd name="T83" fmla="*/ 489 h 632"/>
                <a:gd name="T84" fmla="*/ 54 w 442"/>
                <a:gd name="T85" fmla="*/ 526 h 632"/>
                <a:gd name="T86" fmla="*/ 41 w 442"/>
                <a:gd name="T87" fmla="*/ 579 h 632"/>
                <a:gd name="T88" fmla="*/ 64 w 442"/>
                <a:gd name="T89" fmla="*/ 620 h 632"/>
                <a:gd name="T90" fmla="*/ 110 w 442"/>
                <a:gd name="T91" fmla="*/ 622 h 632"/>
                <a:gd name="T92" fmla="*/ 179 w 442"/>
                <a:gd name="T93" fmla="*/ 629 h 632"/>
                <a:gd name="T94" fmla="*/ 218 w 442"/>
                <a:gd name="T95" fmla="*/ 622 h 632"/>
                <a:gd name="T96" fmla="*/ 212 w 442"/>
                <a:gd name="T97" fmla="*/ 595 h 632"/>
                <a:gd name="T98" fmla="*/ 230 w 442"/>
                <a:gd name="T99" fmla="*/ 533 h 632"/>
                <a:gd name="T100" fmla="*/ 242 w 442"/>
                <a:gd name="T101" fmla="*/ 470 h 632"/>
                <a:gd name="T102" fmla="*/ 258 w 442"/>
                <a:gd name="T103" fmla="*/ 428 h 632"/>
                <a:gd name="T104" fmla="*/ 258 w 442"/>
                <a:gd name="T105" fmla="*/ 387 h 632"/>
                <a:gd name="T106" fmla="*/ 402 w 442"/>
                <a:gd name="T107" fmla="*/ 289 h 632"/>
                <a:gd name="T108" fmla="*/ 387 w 442"/>
                <a:gd name="T109" fmla="*/ 302 h 632"/>
                <a:gd name="T110" fmla="*/ 389 w 442"/>
                <a:gd name="T111" fmla="*/ 297 h 632"/>
                <a:gd name="T112" fmla="*/ 391 w 442"/>
                <a:gd name="T113" fmla="*/ 284 h 632"/>
                <a:gd name="T114" fmla="*/ 437 w 442"/>
                <a:gd name="T115" fmla="*/ 222 h 632"/>
                <a:gd name="T116" fmla="*/ 441 w 442"/>
                <a:gd name="T117" fmla="*/ 219 h 632"/>
                <a:gd name="T118" fmla="*/ 441 w 442"/>
                <a:gd name="T119" fmla="*/ 212 h 632"/>
                <a:gd name="T120" fmla="*/ 432 w 442"/>
                <a:gd name="T121" fmla="*/ 214 h 632"/>
                <a:gd name="T122" fmla="*/ 432 w 442"/>
                <a:gd name="T123" fmla="*/ 222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42" h="632">
                  <a:moveTo>
                    <a:pt x="285" y="367"/>
                  </a:moveTo>
                  <a:lnTo>
                    <a:pt x="295" y="365"/>
                  </a:lnTo>
                  <a:lnTo>
                    <a:pt x="301" y="363"/>
                  </a:lnTo>
                  <a:lnTo>
                    <a:pt x="303" y="357"/>
                  </a:lnTo>
                  <a:lnTo>
                    <a:pt x="303" y="355"/>
                  </a:lnTo>
                  <a:lnTo>
                    <a:pt x="303" y="355"/>
                  </a:lnTo>
                  <a:lnTo>
                    <a:pt x="303" y="355"/>
                  </a:lnTo>
                  <a:lnTo>
                    <a:pt x="302" y="355"/>
                  </a:lnTo>
                  <a:lnTo>
                    <a:pt x="301" y="355"/>
                  </a:lnTo>
                  <a:lnTo>
                    <a:pt x="301" y="355"/>
                  </a:lnTo>
                  <a:lnTo>
                    <a:pt x="298" y="355"/>
                  </a:lnTo>
                  <a:lnTo>
                    <a:pt x="296" y="355"/>
                  </a:lnTo>
                  <a:lnTo>
                    <a:pt x="295" y="353"/>
                  </a:lnTo>
                  <a:lnTo>
                    <a:pt x="296" y="350"/>
                  </a:lnTo>
                  <a:lnTo>
                    <a:pt x="299" y="348"/>
                  </a:lnTo>
                  <a:lnTo>
                    <a:pt x="303" y="344"/>
                  </a:lnTo>
                  <a:lnTo>
                    <a:pt x="308" y="341"/>
                  </a:lnTo>
                  <a:lnTo>
                    <a:pt x="312" y="338"/>
                  </a:lnTo>
                  <a:lnTo>
                    <a:pt x="322" y="332"/>
                  </a:lnTo>
                  <a:lnTo>
                    <a:pt x="335" y="322"/>
                  </a:lnTo>
                  <a:lnTo>
                    <a:pt x="338" y="321"/>
                  </a:lnTo>
                  <a:lnTo>
                    <a:pt x="349" y="315"/>
                  </a:lnTo>
                  <a:lnTo>
                    <a:pt x="371" y="308"/>
                  </a:lnTo>
                  <a:lnTo>
                    <a:pt x="378" y="307"/>
                  </a:lnTo>
                  <a:lnTo>
                    <a:pt x="379" y="304"/>
                  </a:lnTo>
                  <a:lnTo>
                    <a:pt x="381" y="302"/>
                  </a:lnTo>
                  <a:lnTo>
                    <a:pt x="382" y="300"/>
                  </a:lnTo>
                  <a:lnTo>
                    <a:pt x="381" y="297"/>
                  </a:lnTo>
                  <a:lnTo>
                    <a:pt x="379" y="294"/>
                  </a:lnTo>
                  <a:lnTo>
                    <a:pt x="376" y="294"/>
                  </a:lnTo>
                  <a:lnTo>
                    <a:pt x="375" y="292"/>
                  </a:lnTo>
                  <a:lnTo>
                    <a:pt x="372" y="292"/>
                  </a:lnTo>
                  <a:lnTo>
                    <a:pt x="372" y="294"/>
                  </a:lnTo>
                  <a:lnTo>
                    <a:pt x="371" y="294"/>
                  </a:lnTo>
                  <a:lnTo>
                    <a:pt x="369" y="294"/>
                  </a:lnTo>
                  <a:lnTo>
                    <a:pt x="369" y="295"/>
                  </a:lnTo>
                  <a:lnTo>
                    <a:pt x="366" y="295"/>
                  </a:lnTo>
                  <a:lnTo>
                    <a:pt x="359" y="298"/>
                  </a:lnTo>
                  <a:lnTo>
                    <a:pt x="349" y="304"/>
                  </a:lnTo>
                  <a:lnTo>
                    <a:pt x="338" y="311"/>
                  </a:lnTo>
                  <a:lnTo>
                    <a:pt x="326" y="318"/>
                  </a:lnTo>
                  <a:lnTo>
                    <a:pt x="318" y="324"/>
                  </a:lnTo>
                  <a:lnTo>
                    <a:pt x="315" y="324"/>
                  </a:lnTo>
                  <a:lnTo>
                    <a:pt x="315" y="321"/>
                  </a:lnTo>
                  <a:lnTo>
                    <a:pt x="318" y="320"/>
                  </a:lnTo>
                  <a:lnTo>
                    <a:pt x="321" y="317"/>
                  </a:lnTo>
                  <a:lnTo>
                    <a:pt x="322" y="317"/>
                  </a:lnTo>
                  <a:lnTo>
                    <a:pt x="325" y="314"/>
                  </a:lnTo>
                  <a:lnTo>
                    <a:pt x="329" y="312"/>
                  </a:lnTo>
                  <a:lnTo>
                    <a:pt x="331" y="310"/>
                  </a:lnTo>
                  <a:lnTo>
                    <a:pt x="331" y="308"/>
                  </a:lnTo>
                  <a:lnTo>
                    <a:pt x="332" y="307"/>
                  </a:lnTo>
                  <a:lnTo>
                    <a:pt x="334" y="307"/>
                  </a:lnTo>
                  <a:lnTo>
                    <a:pt x="335" y="307"/>
                  </a:lnTo>
                  <a:lnTo>
                    <a:pt x="336" y="305"/>
                  </a:lnTo>
                  <a:lnTo>
                    <a:pt x="338" y="305"/>
                  </a:lnTo>
                  <a:lnTo>
                    <a:pt x="339" y="304"/>
                  </a:lnTo>
                  <a:lnTo>
                    <a:pt x="341" y="301"/>
                  </a:lnTo>
                  <a:lnTo>
                    <a:pt x="344" y="300"/>
                  </a:lnTo>
                  <a:lnTo>
                    <a:pt x="346" y="298"/>
                  </a:lnTo>
                  <a:lnTo>
                    <a:pt x="352" y="298"/>
                  </a:lnTo>
                  <a:lnTo>
                    <a:pt x="358" y="297"/>
                  </a:lnTo>
                  <a:lnTo>
                    <a:pt x="358" y="295"/>
                  </a:lnTo>
                  <a:lnTo>
                    <a:pt x="358" y="292"/>
                  </a:lnTo>
                  <a:lnTo>
                    <a:pt x="358" y="288"/>
                  </a:lnTo>
                  <a:lnTo>
                    <a:pt x="358" y="287"/>
                  </a:lnTo>
                  <a:lnTo>
                    <a:pt x="359" y="285"/>
                  </a:lnTo>
                  <a:lnTo>
                    <a:pt x="359" y="285"/>
                  </a:lnTo>
                  <a:lnTo>
                    <a:pt x="359" y="281"/>
                  </a:lnTo>
                  <a:lnTo>
                    <a:pt x="359" y="279"/>
                  </a:lnTo>
                  <a:lnTo>
                    <a:pt x="361" y="277"/>
                  </a:lnTo>
                  <a:lnTo>
                    <a:pt x="362" y="274"/>
                  </a:lnTo>
                  <a:lnTo>
                    <a:pt x="364" y="269"/>
                  </a:lnTo>
                  <a:lnTo>
                    <a:pt x="365" y="268"/>
                  </a:lnTo>
                  <a:lnTo>
                    <a:pt x="366" y="262"/>
                  </a:lnTo>
                  <a:lnTo>
                    <a:pt x="366" y="258"/>
                  </a:lnTo>
                  <a:lnTo>
                    <a:pt x="371" y="251"/>
                  </a:lnTo>
                  <a:lnTo>
                    <a:pt x="374" y="241"/>
                  </a:lnTo>
                  <a:lnTo>
                    <a:pt x="379" y="231"/>
                  </a:lnTo>
                  <a:lnTo>
                    <a:pt x="382" y="226"/>
                  </a:lnTo>
                  <a:lnTo>
                    <a:pt x="382" y="224"/>
                  </a:lnTo>
                  <a:lnTo>
                    <a:pt x="382" y="221"/>
                  </a:lnTo>
                  <a:lnTo>
                    <a:pt x="381" y="218"/>
                  </a:lnTo>
                  <a:lnTo>
                    <a:pt x="379" y="216"/>
                  </a:lnTo>
                  <a:lnTo>
                    <a:pt x="378" y="216"/>
                  </a:lnTo>
                  <a:lnTo>
                    <a:pt x="375" y="214"/>
                  </a:lnTo>
                  <a:lnTo>
                    <a:pt x="374" y="214"/>
                  </a:lnTo>
                  <a:lnTo>
                    <a:pt x="374" y="209"/>
                  </a:lnTo>
                  <a:lnTo>
                    <a:pt x="374" y="204"/>
                  </a:lnTo>
                  <a:lnTo>
                    <a:pt x="378" y="199"/>
                  </a:lnTo>
                  <a:lnTo>
                    <a:pt x="381" y="196"/>
                  </a:lnTo>
                  <a:lnTo>
                    <a:pt x="384" y="192"/>
                  </a:lnTo>
                  <a:lnTo>
                    <a:pt x="384" y="191"/>
                  </a:lnTo>
                  <a:lnTo>
                    <a:pt x="384" y="188"/>
                  </a:lnTo>
                  <a:lnTo>
                    <a:pt x="382" y="185"/>
                  </a:lnTo>
                  <a:lnTo>
                    <a:pt x="381" y="181"/>
                  </a:lnTo>
                  <a:lnTo>
                    <a:pt x="382" y="176"/>
                  </a:lnTo>
                  <a:lnTo>
                    <a:pt x="382" y="175"/>
                  </a:lnTo>
                  <a:lnTo>
                    <a:pt x="382" y="173"/>
                  </a:lnTo>
                  <a:lnTo>
                    <a:pt x="382" y="172"/>
                  </a:lnTo>
                  <a:lnTo>
                    <a:pt x="381" y="172"/>
                  </a:lnTo>
                  <a:lnTo>
                    <a:pt x="381" y="171"/>
                  </a:lnTo>
                  <a:lnTo>
                    <a:pt x="378" y="168"/>
                  </a:lnTo>
                  <a:lnTo>
                    <a:pt x="379" y="168"/>
                  </a:lnTo>
                  <a:lnTo>
                    <a:pt x="378" y="166"/>
                  </a:lnTo>
                  <a:lnTo>
                    <a:pt x="376" y="165"/>
                  </a:lnTo>
                  <a:lnTo>
                    <a:pt x="378" y="162"/>
                  </a:lnTo>
                  <a:lnTo>
                    <a:pt x="379" y="162"/>
                  </a:lnTo>
                  <a:lnTo>
                    <a:pt x="381" y="162"/>
                  </a:lnTo>
                  <a:lnTo>
                    <a:pt x="384" y="161"/>
                  </a:lnTo>
                  <a:lnTo>
                    <a:pt x="385" y="159"/>
                  </a:lnTo>
                  <a:lnTo>
                    <a:pt x="385" y="158"/>
                  </a:lnTo>
                  <a:lnTo>
                    <a:pt x="387" y="155"/>
                  </a:lnTo>
                  <a:lnTo>
                    <a:pt x="387" y="152"/>
                  </a:lnTo>
                  <a:lnTo>
                    <a:pt x="387" y="151"/>
                  </a:lnTo>
                  <a:lnTo>
                    <a:pt x="388" y="148"/>
                  </a:lnTo>
                  <a:lnTo>
                    <a:pt x="391" y="145"/>
                  </a:lnTo>
                  <a:lnTo>
                    <a:pt x="392" y="142"/>
                  </a:lnTo>
                  <a:lnTo>
                    <a:pt x="397" y="141"/>
                  </a:lnTo>
                  <a:lnTo>
                    <a:pt x="401" y="139"/>
                  </a:lnTo>
                  <a:lnTo>
                    <a:pt x="407" y="139"/>
                  </a:lnTo>
                  <a:lnTo>
                    <a:pt x="409" y="139"/>
                  </a:lnTo>
                  <a:lnTo>
                    <a:pt x="415" y="139"/>
                  </a:lnTo>
                  <a:lnTo>
                    <a:pt x="419" y="139"/>
                  </a:lnTo>
                  <a:lnTo>
                    <a:pt x="422" y="139"/>
                  </a:lnTo>
                  <a:lnTo>
                    <a:pt x="419" y="136"/>
                  </a:lnTo>
                  <a:lnTo>
                    <a:pt x="421" y="132"/>
                  </a:lnTo>
                  <a:lnTo>
                    <a:pt x="419" y="128"/>
                  </a:lnTo>
                  <a:lnTo>
                    <a:pt x="417" y="122"/>
                  </a:lnTo>
                  <a:lnTo>
                    <a:pt x="415" y="115"/>
                  </a:lnTo>
                  <a:lnTo>
                    <a:pt x="412" y="96"/>
                  </a:lnTo>
                  <a:lnTo>
                    <a:pt x="411" y="88"/>
                  </a:lnTo>
                  <a:lnTo>
                    <a:pt x="408" y="80"/>
                  </a:lnTo>
                  <a:lnTo>
                    <a:pt x="407" y="73"/>
                  </a:lnTo>
                  <a:lnTo>
                    <a:pt x="405" y="67"/>
                  </a:lnTo>
                  <a:lnTo>
                    <a:pt x="404" y="62"/>
                  </a:lnTo>
                  <a:lnTo>
                    <a:pt x="398" y="56"/>
                  </a:lnTo>
                  <a:lnTo>
                    <a:pt x="394" y="52"/>
                  </a:lnTo>
                  <a:lnTo>
                    <a:pt x="392" y="49"/>
                  </a:lnTo>
                  <a:lnTo>
                    <a:pt x="385" y="45"/>
                  </a:lnTo>
                  <a:lnTo>
                    <a:pt x="381" y="40"/>
                  </a:lnTo>
                  <a:lnTo>
                    <a:pt x="379" y="36"/>
                  </a:lnTo>
                  <a:lnTo>
                    <a:pt x="376" y="30"/>
                  </a:lnTo>
                  <a:lnTo>
                    <a:pt x="372" y="20"/>
                  </a:lnTo>
                  <a:lnTo>
                    <a:pt x="366" y="13"/>
                  </a:lnTo>
                  <a:lnTo>
                    <a:pt x="362" y="12"/>
                  </a:lnTo>
                  <a:lnTo>
                    <a:pt x="359" y="12"/>
                  </a:lnTo>
                  <a:lnTo>
                    <a:pt x="355" y="13"/>
                  </a:lnTo>
                  <a:lnTo>
                    <a:pt x="351" y="12"/>
                  </a:lnTo>
                  <a:lnTo>
                    <a:pt x="349" y="7"/>
                  </a:lnTo>
                  <a:lnTo>
                    <a:pt x="351" y="0"/>
                  </a:lnTo>
                  <a:lnTo>
                    <a:pt x="351" y="0"/>
                  </a:lnTo>
                  <a:lnTo>
                    <a:pt x="346" y="0"/>
                  </a:lnTo>
                  <a:lnTo>
                    <a:pt x="335" y="2"/>
                  </a:lnTo>
                  <a:lnTo>
                    <a:pt x="331" y="3"/>
                  </a:lnTo>
                  <a:lnTo>
                    <a:pt x="329" y="10"/>
                  </a:lnTo>
                  <a:lnTo>
                    <a:pt x="325" y="20"/>
                  </a:lnTo>
                  <a:lnTo>
                    <a:pt x="321" y="22"/>
                  </a:lnTo>
                  <a:lnTo>
                    <a:pt x="316" y="22"/>
                  </a:lnTo>
                  <a:lnTo>
                    <a:pt x="311" y="20"/>
                  </a:lnTo>
                  <a:lnTo>
                    <a:pt x="289" y="23"/>
                  </a:lnTo>
                  <a:lnTo>
                    <a:pt x="278" y="23"/>
                  </a:lnTo>
                  <a:lnTo>
                    <a:pt x="281" y="13"/>
                  </a:lnTo>
                  <a:lnTo>
                    <a:pt x="275" y="10"/>
                  </a:lnTo>
                  <a:lnTo>
                    <a:pt x="262" y="9"/>
                  </a:lnTo>
                  <a:lnTo>
                    <a:pt x="259" y="12"/>
                  </a:lnTo>
                  <a:lnTo>
                    <a:pt x="253" y="16"/>
                  </a:lnTo>
                  <a:lnTo>
                    <a:pt x="252" y="22"/>
                  </a:lnTo>
                  <a:lnTo>
                    <a:pt x="259" y="27"/>
                  </a:lnTo>
                  <a:lnTo>
                    <a:pt x="262" y="32"/>
                  </a:lnTo>
                  <a:lnTo>
                    <a:pt x="263" y="36"/>
                  </a:lnTo>
                  <a:lnTo>
                    <a:pt x="262" y="45"/>
                  </a:lnTo>
                  <a:lnTo>
                    <a:pt x="259" y="50"/>
                  </a:lnTo>
                  <a:lnTo>
                    <a:pt x="256" y="52"/>
                  </a:lnTo>
                  <a:lnTo>
                    <a:pt x="243" y="57"/>
                  </a:lnTo>
                  <a:lnTo>
                    <a:pt x="240" y="56"/>
                  </a:lnTo>
                  <a:lnTo>
                    <a:pt x="236" y="52"/>
                  </a:lnTo>
                  <a:lnTo>
                    <a:pt x="232" y="49"/>
                  </a:lnTo>
                  <a:lnTo>
                    <a:pt x="228" y="42"/>
                  </a:lnTo>
                  <a:lnTo>
                    <a:pt x="218" y="36"/>
                  </a:lnTo>
                  <a:lnTo>
                    <a:pt x="215" y="37"/>
                  </a:lnTo>
                  <a:lnTo>
                    <a:pt x="209" y="42"/>
                  </a:lnTo>
                  <a:lnTo>
                    <a:pt x="215" y="49"/>
                  </a:lnTo>
                  <a:lnTo>
                    <a:pt x="218" y="55"/>
                  </a:lnTo>
                  <a:lnTo>
                    <a:pt x="228" y="65"/>
                  </a:lnTo>
                  <a:lnTo>
                    <a:pt x="235" y="73"/>
                  </a:lnTo>
                  <a:lnTo>
                    <a:pt x="232" y="78"/>
                  </a:lnTo>
                  <a:lnTo>
                    <a:pt x="226" y="82"/>
                  </a:lnTo>
                  <a:lnTo>
                    <a:pt x="216" y="90"/>
                  </a:lnTo>
                  <a:lnTo>
                    <a:pt x="213" y="89"/>
                  </a:lnTo>
                  <a:lnTo>
                    <a:pt x="207" y="93"/>
                  </a:lnTo>
                  <a:lnTo>
                    <a:pt x="218" y="103"/>
                  </a:lnTo>
                  <a:lnTo>
                    <a:pt x="216" y="108"/>
                  </a:lnTo>
                  <a:lnTo>
                    <a:pt x="219" y="112"/>
                  </a:lnTo>
                  <a:lnTo>
                    <a:pt x="229" y="123"/>
                  </a:lnTo>
                  <a:lnTo>
                    <a:pt x="235" y="131"/>
                  </a:lnTo>
                  <a:lnTo>
                    <a:pt x="238" y="133"/>
                  </a:lnTo>
                  <a:lnTo>
                    <a:pt x="240" y="138"/>
                  </a:lnTo>
                  <a:lnTo>
                    <a:pt x="252" y="148"/>
                  </a:lnTo>
                  <a:lnTo>
                    <a:pt x="252" y="155"/>
                  </a:lnTo>
                  <a:lnTo>
                    <a:pt x="245" y="155"/>
                  </a:lnTo>
                  <a:lnTo>
                    <a:pt x="239" y="153"/>
                  </a:lnTo>
                  <a:lnTo>
                    <a:pt x="238" y="155"/>
                  </a:lnTo>
                  <a:lnTo>
                    <a:pt x="236" y="161"/>
                  </a:lnTo>
                  <a:lnTo>
                    <a:pt x="238" y="169"/>
                  </a:lnTo>
                  <a:lnTo>
                    <a:pt x="240" y="171"/>
                  </a:lnTo>
                  <a:lnTo>
                    <a:pt x="246" y="169"/>
                  </a:lnTo>
                  <a:lnTo>
                    <a:pt x="253" y="171"/>
                  </a:lnTo>
                  <a:lnTo>
                    <a:pt x="258" y="175"/>
                  </a:lnTo>
                  <a:lnTo>
                    <a:pt x="259" y="176"/>
                  </a:lnTo>
                  <a:lnTo>
                    <a:pt x="262" y="173"/>
                  </a:lnTo>
                  <a:lnTo>
                    <a:pt x="268" y="171"/>
                  </a:lnTo>
                  <a:lnTo>
                    <a:pt x="273" y="176"/>
                  </a:lnTo>
                  <a:lnTo>
                    <a:pt x="279" y="171"/>
                  </a:lnTo>
                  <a:lnTo>
                    <a:pt x="289" y="179"/>
                  </a:lnTo>
                  <a:lnTo>
                    <a:pt x="286" y="184"/>
                  </a:lnTo>
                  <a:lnTo>
                    <a:pt x="283" y="185"/>
                  </a:lnTo>
                  <a:lnTo>
                    <a:pt x="281" y="189"/>
                  </a:lnTo>
                  <a:lnTo>
                    <a:pt x="276" y="192"/>
                  </a:lnTo>
                  <a:lnTo>
                    <a:pt x="275" y="195"/>
                  </a:lnTo>
                  <a:lnTo>
                    <a:pt x="275" y="196"/>
                  </a:lnTo>
                  <a:lnTo>
                    <a:pt x="275" y="199"/>
                  </a:lnTo>
                  <a:lnTo>
                    <a:pt x="275" y="199"/>
                  </a:lnTo>
                  <a:lnTo>
                    <a:pt x="281" y="204"/>
                  </a:lnTo>
                  <a:lnTo>
                    <a:pt x="283" y="205"/>
                  </a:lnTo>
                  <a:lnTo>
                    <a:pt x="285" y="212"/>
                  </a:lnTo>
                  <a:lnTo>
                    <a:pt x="285" y="218"/>
                  </a:lnTo>
                  <a:lnTo>
                    <a:pt x="285" y="224"/>
                  </a:lnTo>
                  <a:lnTo>
                    <a:pt x="272" y="222"/>
                  </a:lnTo>
                  <a:lnTo>
                    <a:pt x="272" y="222"/>
                  </a:lnTo>
                  <a:lnTo>
                    <a:pt x="262" y="224"/>
                  </a:lnTo>
                  <a:lnTo>
                    <a:pt x="249" y="224"/>
                  </a:lnTo>
                  <a:lnTo>
                    <a:pt x="249" y="224"/>
                  </a:lnTo>
                  <a:lnTo>
                    <a:pt x="245" y="225"/>
                  </a:lnTo>
                  <a:lnTo>
                    <a:pt x="240" y="228"/>
                  </a:lnTo>
                  <a:lnTo>
                    <a:pt x="232" y="234"/>
                  </a:lnTo>
                  <a:lnTo>
                    <a:pt x="232" y="234"/>
                  </a:lnTo>
                  <a:lnTo>
                    <a:pt x="229" y="234"/>
                  </a:lnTo>
                  <a:lnTo>
                    <a:pt x="225" y="234"/>
                  </a:lnTo>
                  <a:lnTo>
                    <a:pt x="220" y="234"/>
                  </a:lnTo>
                  <a:lnTo>
                    <a:pt x="216" y="235"/>
                  </a:lnTo>
                  <a:lnTo>
                    <a:pt x="212" y="244"/>
                  </a:lnTo>
                  <a:lnTo>
                    <a:pt x="206" y="251"/>
                  </a:lnTo>
                  <a:lnTo>
                    <a:pt x="196" y="265"/>
                  </a:lnTo>
                  <a:lnTo>
                    <a:pt x="183" y="272"/>
                  </a:lnTo>
                  <a:lnTo>
                    <a:pt x="176" y="278"/>
                  </a:lnTo>
                  <a:lnTo>
                    <a:pt x="179" y="282"/>
                  </a:lnTo>
                  <a:lnTo>
                    <a:pt x="186" y="287"/>
                  </a:lnTo>
                  <a:lnTo>
                    <a:pt x="182" y="295"/>
                  </a:lnTo>
                  <a:lnTo>
                    <a:pt x="175" y="292"/>
                  </a:lnTo>
                  <a:lnTo>
                    <a:pt x="173" y="294"/>
                  </a:lnTo>
                  <a:lnTo>
                    <a:pt x="166" y="314"/>
                  </a:lnTo>
                  <a:lnTo>
                    <a:pt x="162" y="312"/>
                  </a:lnTo>
                  <a:lnTo>
                    <a:pt x="154" y="310"/>
                  </a:lnTo>
                  <a:lnTo>
                    <a:pt x="152" y="307"/>
                  </a:lnTo>
                  <a:lnTo>
                    <a:pt x="152" y="302"/>
                  </a:lnTo>
                  <a:lnTo>
                    <a:pt x="153" y="297"/>
                  </a:lnTo>
                  <a:lnTo>
                    <a:pt x="149" y="297"/>
                  </a:lnTo>
                  <a:lnTo>
                    <a:pt x="144" y="295"/>
                  </a:lnTo>
                  <a:lnTo>
                    <a:pt x="142" y="295"/>
                  </a:lnTo>
                  <a:lnTo>
                    <a:pt x="139" y="292"/>
                  </a:lnTo>
                  <a:lnTo>
                    <a:pt x="137" y="291"/>
                  </a:lnTo>
                  <a:lnTo>
                    <a:pt x="137" y="288"/>
                  </a:lnTo>
                  <a:lnTo>
                    <a:pt x="133" y="287"/>
                  </a:lnTo>
                  <a:lnTo>
                    <a:pt x="132" y="287"/>
                  </a:lnTo>
                  <a:lnTo>
                    <a:pt x="129" y="287"/>
                  </a:lnTo>
                  <a:lnTo>
                    <a:pt x="127" y="287"/>
                  </a:lnTo>
                  <a:lnTo>
                    <a:pt x="124" y="288"/>
                  </a:lnTo>
                  <a:lnTo>
                    <a:pt x="123" y="288"/>
                  </a:lnTo>
                  <a:lnTo>
                    <a:pt x="120" y="289"/>
                  </a:lnTo>
                  <a:lnTo>
                    <a:pt x="117" y="294"/>
                  </a:lnTo>
                  <a:lnTo>
                    <a:pt x="117" y="295"/>
                  </a:lnTo>
                  <a:lnTo>
                    <a:pt x="117" y="304"/>
                  </a:lnTo>
                  <a:lnTo>
                    <a:pt x="117" y="304"/>
                  </a:lnTo>
                  <a:lnTo>
                    <a:pt x="114" y="304"/>
                  </a:lnTo>
                  <a:lnTo>
                    <a:pt x="113" y="304"/>
                  </a:lnTo>
                  <a:lnTo>
                    <a:pt x="109" y="301"/>
                  </a:lnTo>
                  <a:lnTo>
                    <a:pt x="107" y="300"/>
                  </a:lnTo>
                  <a:lnTo>
                    <a:pt x="103" y="298"/>
                  </a:lnTo>
                  <a:lnTo>
                    <a:pt x="100" y="297"/>
                  </a:lnTo>
                  <a:lnTo>
                    <a:pt x="96" y="297"/>
                  </a:lnTo>
                  <a:lnTo>
                    <a:pt x="94" y="297"/>
                  </a:lnTo>
                  <a:lnTo>
                    <a:pt x="91" y="300"/>
                  </a:lnTo>
                  <a:lnTo>
                    <a:pt x="87" y="301"/>
                  </a:lnTo>
                  <a:lnTo>
                    <a:pt x="86" y="302"/>
                  </a:lnTo>
                  <a:lnTo>
                    <a:pt x="83" y="301"/>
                  </a:lnTo>
                  <a:lnTo>
                    <a:pt x="79" y="300"/>
                  </a:lnTo>
                  <a:lnTo>
                    <a:pt x="74" y="297"/>
                  </a:lnTo>
                  <a:lnTo>
                    <a:pt x="70" y="297"/>
                  </a:lnTo>
                  <a:lnTo>
                    <a:pt x="61" y="295"/>
                  </a:lnTo>
                  <a:lnTo>
                    <a:pt x="59" y="294"/>
                  </a:lnTo>
                  <a:lnTo>
                    <a:pt x="57" y="294"/>
                  </a:lnTo>
                  <a:lnTo>
                    <a:pt x="54" y="294"/>
                  </a:lnTo>
                  <a:lnTo>
                    <a:pt x="47" y="292"/>
                  </a:lnTo>
                  <a:lnTo>
                    <a:pt x="43" y="292"/>
                  </a:lnTo>
                  <a:lnTo>
                    <a:pt x="43" y="292"/>
                  </a:lnTo>
                  <a:lnTo>
                    <a:pt x="40" y="294"/>
                  </a:lnTo>
                  <a:lnTo>
                    <a:pt x="37" y="295"/>
                  </a:lnTo>
                  <a:lnTo>
                    <a:pt x="31" y="301"/>
                  </a:lnTo>
                  <a:lnTo>
                    <a:pt x="28" y="302"/>
                  </a:lnTo>
                  <a:lnTo>
                    <a:pt x="26" y="304"/>
                  </a:lnTo>
                  <a:lnTo>
                    <a:pt x="23" y="304"/>
                  </a:lnTo>
                  <a:lnTo>
                    <a:pt x="20" y="302"/>
                  </a:lnTo>
                  <a:lnTo>
                    <a:pt x="20" y="302"/>
                  </a:lnTo>
                  <a:lnTo>
                    <a:pt x="16" y="298"/>
                  </a:lnTo>
                  <a:lnTo>
                    <a:pt x="11" y="297"/>
                  </a:lnTo>
                  <a:lnTo>
                    <a:pt x="7" y="297"/>
                  </a:lnTo>
                  <a:lnTo>
                    <a:pt x="4" y="298"/>
                  </a:lnTo>
                  <a:lnTo>
                    <a:pt x="3" y="300"/>
                  </a:lnTo>
                  <a:lnTo>
                    <a:pt x="0" y="304"/>
                  </a:lnTo>
                  <a:lnTo>
                    <a:pt x="0" y="308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3" y="327"/>
                  </a:lnTo>
                  <a:lnTo>
                    <a:pt x="6" y="341"/>
                  </a:lnTo>
                  <a:lnTo>
                    <a:pt x="14" y="365"/>
                  </a:lnTo>
                  <a:lnTo>
                    <a:pt x="14" y="365"/>
                  </a:lnTo>
                  <a:lnTo>
                    <a:pt x="18" y="374"/>
                  </a:lnTo>
                  <a:lnTo>
                    <a:pt x="26" y="384"/>
                  </a:lnTo>
                  <a:lnTo>
                    <a:pt x="33" y="393"/>
                  </a:lnTo>
                  <a:lnTo>
                    <a:pt x="34" y="397"/>
                  </a:lnTo>
                  <a:lnTo>
                    <a:pt x="34" y="401"/>
                  </a:lnTo>
                  <a:lnTo>
                    <a:pt x="34" y="401"/>
                  </a:lnTo>
                  <a:lnTo>
                    <a:pt x="34" y="413"/>
                  </a:lnTo>
                  <a:lnTo>
                    <a:pt x="34" y="418"/>
                  </a:lnTo>
                  <a:lnTo>
                    <a:pt x="36" y="424"/>
                  </a:lnTo>
                  <a:lnTo>
                    <a:pt x="38" y="431"/>
                  </a:lnTo>
                  <a:lnTo>
                    <a:pt x="40" y="440"/>
                  </a:lnTo>
                  <a:lnTo>
                    <a:pt x="41" y="447"/>
                  </a:lnTo>
                  <a:lnTo>
                    <a:pt x="50" y="454"/>
                  </a:lnTo>
                  <a:lnTo>
                    <a:pt x="56" y="457"/>
                  </a:lnTo>
                  <a:lnTo>
                    <a:pt x="56" y="460"/>
                  </a:lnTo>
                  <a:lnTo>
                    <a:pt x="54" y="470"/>
                  </a:lnTo>
                  <a:lnTo>
                    <a:pt x="53" y="477"/>
                  </a:lnTo>
                  <a:lnTo>
                    <a:pt x="53" y="483"/>
                  </a:lnTo>
                  <a:lnTo>
                    <a:pt x="53" y="489"/>
                  </a:lnTo>
                  <a:lnTo>
                    <a:pt x="50" y="493"/>
                  </a:lnTo>
                  <a:lnTo>
                    <a:pt x="50" y="497"/>
                  </a:lnTo>
                  <a:lnTo>
                    <a:pt x="50" y="506"/>
                  </a:lnTo>
                  <a:lnTo>
                    <a:pt x="46" y="514"/>
                  </a:lnTo>
                  <a:lnTo>
                    <a:pt x="49" y="517"/>
                  </a:lnTo>
                  <a:lnTo>
                    <a:pt x="53" y="519"/>
                  </a:lnTo>
                  <a:lnTo>
                    <a:pt x="54" y="522"/>
                  </a:lnTo>
                  <a:lnTo>
                    <a:pt x="54" y="526"/>
                  </a:lnTo>
                  <a:lnTo>
                    <a:pt x="53" y="527"/>
                  </a:lnTo>
                  <a:lnTo>
                    <a:pt x="50" y="534"/>
                  </a:lnTo>
                  <a:lnTo>
                    <a:pt x="49" y="544"/>
                  </a:lnTo>
                  <a:lnTo>
                    <a:pt x="43" y="553"/>
                  </a:lnTo>
                  <a:lnTo>
                    <a:pt x="40" y="560"/>
                  </a:lnTo>
                  <a:lnTo>
                    <a:pt x="40" y="563"/>
                  </a:lnTo>
                  <a:lnTo>
                    <a:pt x="40" y="572"/>
                  </a:lnTo>
                  <a:lnTo>
                    <a:pt x="41" y="579"/>
                  </a:lnTo>
                  <a:lnTo>
                    <a:pt x="46" y="585"/>
                  </a:lnTo>
                  <a:lnTo>
                    <a:pt x="47" y="590"/>
                  </a:lnTo>
                  <a:lnTo>
                    <a:pt x="49" y="596"/>
                  </a:lnTo>
                  <a:lnTo>
                    <a:pt x="50" y="602"/>
                  </a:lnTo>
                  <a:lnTo>
                    <a:pt x="57" y="607"/>
                  </a:lnTo>
                  <a:lnTo>
                    <a:pt x="63" y="613"/>
                  </a:lnTo>
                  <a:lnTo>
                    <a:pt x="64" y="617"/>
                  </a:lnTo>
                  <a:lnTo>
                    <a:pt x="64" y="620"/>
                  </a:lnTo>
                  <a:lnTo>
                    <a:pt x="67" y="626"/>
                  </a:lnTo>
                  <a:lnTo>
                    <a:pt x="74" y="632"/>
                  </a:lnTo>
                  <a:lnTo>
                    <a:pt x="79" y="632"/>
                  </a:lnTo>
                  <a:lnTo>
                    <a:pt x="86" y="627"/>
                  </a:lnTo>
                  <a:lnTo>
                    <a:pt x="90" y="626"/>
                  </a:lnTo>
                  <a:lnTo>
                    <a:pt x="97" y="623"/>
                  </a:lnTo>
                  <a:lnTo>
                    <a:pt x="104" y="622"/>
                  </a:lnTo>
                  <a:lnTo>
                    <a:pt x="110" y="622"/>
                  </a:lnTo>
                  <a:lnTo>
                    <a:pt x="116" y="622"/>
                  </a:lnTo>
                  <a:lnTo>
                    <a:pt x="123" y="622"/>
                  </a:lnTo>
                  <a:lnTo>
                    <a:pt x="139" y="625"/>
                  </a:lnTo>
                  <a:lnTo>
                    <a:pt x="139" y="625"/>
                  </a:lnTo>
                  <a:lnTo>
                    <a:pt x="150" y="625"/>
                  </a:lnTo>
                  <a:lnTo>
                    <a:pt x="160" y="626"/>
                  </a:lnTo>
                  <a:lnTo>
                    <a:pt x="170" y="627"/>
                  </a:lnTo>
                  <a:lnTo>
                    <a:pt x="179" y="629"/>
                  </a:lnTo>
                  <a:lnTo>
                    <a:pt x="179" y="629"/>
                  </a:lnTo>
                  <a:lnTo>
                    <a:pt x="185" y="627"/>
                  </a:lnTo>
                  <a:lnTo>
                    <a:pt x="189" y="626"/>
                  </a:lnTo>
                  <a:lnTo>
                    <a:pt x="199" y="623"/>
                  </a:lnTo>
                  <a:lnTo>
                    <a:pt x="199" y="623"/>
                  </a:lnTo>
                  <a:lnTo>
                    <a:pt x="203" y="622"/>
                  </a:lnTo>
                  <a:lnTo>
                    <a:pt x="207" y="622"/>
                  </a:lnTo>
                  <a:lnTo>
                    <a:pt x="218" y="622"/>
                  </a:lnTo>
                  <a:lnTo>
                    <a:pt x="220" y="620"/>
                  </a:lnTo>
                  <a:lnTo>
                    <a:pt x="220" y="613"/>
                  </a:lnTo>
                  <a:lnTo>
                    <a:pt x="219" y="612"/>
                  </a:lnTo>
                  <a:lnTo>
                    <a:pt x="218" y="609"/>
                  </a:lnTo>
                  <a:lnTo>
                    <a:pt x="216" y="606"/>
                  </a:lnTo>
                  <a:lnTo>
                    <a:pt x="216" y="606"/>
                  </a:lnTo>
                  <a:lnTo>
                    <a:pt x="215" y="602"/>
                  </a:lnTo>
                  <a:lnTo>
                    <a:pt x="212" y="595"/>
                  </a:lnTo>
                  <a:lnTo>
                    <a:pt x="213" y="589"/>
                  </a:lnTo>
                  <a:lnTo>
                    <a:pt x="216" y="582"/>
                  </a:lnTo>
                  <a:lnTo>
                    <a:pt x="220" y="573"/>
                  </a:lnTo>
                  <a:lnTo>
                    <a:pt x="222" y="564"/>
                  </a:lnTo>
                  <a:lnTo>
                    <a:pt x="223" y="556"/>
                  </a:lnTo>
                  <a:lnTo>
                    <a:pt x="225" y="547"/>
                  </a:lnTo>
                  <a:lnTo>
                    <a:pt x="228" y="542"/>
                  </a:lnTo>
                  <a:lnTo>
                    <a:pt x="230" y="533"/>
                  </a:lnTo>
                  <a:lnTo>
                    <a:pt x="230" y="530"/>
                  </a:lnTo>
                  <a:lnTo>
                    <a:pt x="232" y="527"/>
                  </a:lnTo>
                  <a:lnTo>
                    <a:pt x="233" y="511"/>
                  </a:lnTo>
                  <a:lnTo>
                    <a:pt x="235" y="503"/>
                  </a:lnTo>
                  <a:lnTo>
                    <a:pt x="236" y="494"/>
                  </a:lnTo>
                  <a:lnTo>
                    <a:pt x="239" y="486"/>
                  </a:lnTo>
                  <a:lnTo>
                    <a:pt x="243" y="477"/>
                  </a:lnTo>
                  <a:lnTo>
                    <a:pt x="242" y="470"/>
                  </a:lnTo>
                  <a:lnTo>
                    <a:pt x="242" y="469"/>
                  </a:lnTo>
                  <a:lnTo>
                    <a:pt x="240" y="464"/>
                  </a:lnTo>
                  <a:lnTo>
                    <a:pt x="239" y="457"/>
                  </a:lnTo>
                  <a:lnTo>
                    <a:pt x="240" y="448"/>
                  </a:lnTo>
                  <a:lnTo>
                    <a:pt x="243" y="443"/>
                  </a:lnTo>
                  <a:lnTo>
                    <a:pt x="248" y="437"/>
                  </a:lnTo>
                  <a:lnTo>
                    <a:pt x="255" y="433"/>
                  </a:lnTo>
                  <a:lnTo>
                    <a:pt x="258" y="428"/>
                  </a:lnTo>
                  <a:lnTo>
                    <a:pt x="258" y="427"/>
                  </a:lnTo>
                  <a:lnTo>
                    <a:pt x="258" y="426"/>
                  </a:lnTo>
                  <a:lnTo>
                    <a:pt x="259" y="420"/>
                  </a:lnTo>
                  <a:lnTo>
                    <a:pt x="258" y="411"/>
                  </a:lnTo>
                  <a:lnTo>
                    <a:pt x="259" y="403"/>
                  </a:lnTo>
                  <a:lnTo>
                    <a:pt x="259" y="398"/>
                  </a:lnTo>
                  <a:lnTo>
                    <a:pt x="256" y="394"/>
                  </a:lnTo>
                  <a:lnTo>
                    <a:pt x="258" y="387"/>
                  </a:lnTo>
                  <a:lnTo>
                    <a:pt x="260" y="383"/>
                  </a:lnTo>
                  <a:lnTo>
                    <a:pt x="266" y="377"/>
                  </a:lnTo>
                  <a:lnTo>
                    <a:pt x="273" y="373"/>
                  </a:lnTo>
                  <a:lnTo>
                    <a:pt x="285" y="367"/>
                  </a:lnTo>
                  <a:lnTo>
                    <a:pt x="285" y="367"/>
                  </a:lnTo>
                  <a:lnTo>
                    <a:pt x="285" y="367"/>
                  </a:lnTo>
                  <a:close/>
                  <a:moveTo>
                    <a:pt x="399" y="287"/>
                  </a:moveTo>
                  <a:lnTo>
                    <a:pt x="402" y="289"/>
                  </a:lnTo>
                  <a:lnTo>
                    <a:pt x="404" y="292"/>
                  </a:lnTo>
                  <a:lnTo>
                    <a:pt x="404" y="297"/>
                  </a:lnTo>
                  <a:lnTo>
                    <a:pt x="402" y="301"/>
                  </a:lnTo>
                  <a:lnTo>
                    <a:pt x="398" y="300"/>
                  </a:lnTo>
                  <a:lnTo>
                    <a:pt x="391" y="300"/>
                  </a:lnTo>
                  <a:lnTo>
                    <a:pt x="391" y="302"/>
                  </a:lnTo>
                  <a:lnTo>
                    <a:pt x="392" y="304"/>
                  </a:lnTo>
                  <a:lnTo>
                    <a:pt x="387" y="302"/>
                  </a:lnTo>
                  <a:lnTo>
                    <a:pt x="385" y="301"/>
                  </a:lnTo>
                  <a:lnTo>
                    <a:pt x="382" y="297"/>
                  </a:lnTo>
                  <a:lnTo>
                    <a:pt x="382" y="294"/>
                  </a:lnTo>
                  <a:lnTo>
                    <a:pt x="387" y="297"/>
                  </a:lnTo>
                  <a:lnTo>
                    <a:pt x="388" y="300"/>
                  </a:lnTo>
                  <a:lnTo>
                    <a:pt x="389" y="300"/>
                  </a:lnTo>
                  <a:lnTo>
                    <a:pt x="389" y="297"/>
                  </a:lnTo>
                  <a:lnTo>
                    <a:pt x="389" y="297"/>
                  </a:lnTo>
                  <a:lnTo>
                    <a:pt x="389" y="295"/>
                  </a:lnTo>
                  <a:lnTo>
                    <a:pt x="391" y="294"/>
                  </a:lnTo>
                  <a:lnTo>
                    <a:pt x="392" y="291"/>
                  </a:lnTo>
                  <a:lnTo>
                    <a:pt x="389" y="291"/>
                  </a:lnTo>
                  <a:lnTo>
                    <a:pt x="384" y="289"/>
                  </a:lnTo>
                  <a:lnTo>
                    <a:pt x="384" y="288"/>
                  </a:lnTo>
                  <a:lnTo>
                    <a:pt x="387" y="285"/>
                  </a:lnTo>
                  <a:lnTo>
                    <a:pt x="391" y="284"/>
                  </a:lnTo>
                  <a:lnTo>
                    <a:pt x="397" y="284"/>
                  </a:lnTo>
                  <a:lnTo>
                    <a:pt x="399" y="287"/>
                  </a:lnTo>
                  <a:lnTo>
                    <a:pt x="399" y="287"/>
                  </a:lnTo>
                  <a:lnTo>
                    <a:pt x="399" y="287"/>
                  </a:lnTo>
                  <a:close/>
                  <a:moveTo>
                    <a:pt x="432" y="225"/>
                  </a:moveTo>
                  <a:lnTo>
                    <a:pt x="435" y="224"/>
                  </a:lnTo>
                  <a:lnTo>
                    <a:pt x="435" y="222"/>
                  </a:lnTo>
                  <a:lnTo>
                    <a:pt x="437" y="222"/>
                  </a:lnTo>
                  <a:lnTo>
                    <a:pt x="437" y="221"/>
                  </a:lnTo>
                  <a:lnTo>
                    <a:pt x="437" y="221"/>
                  </a:lnTo>
                  <a:lnTo>
                    <a:pt x="438" y="221"/>
                  </a:lnTo>
                  <a:lnTo>
                    <a:pt x="438" y="221"/>
                  </a:lnTo>
                  <a:lnTo>
                    <a:pt x="438" y="221"/>
                  </a:lnTo>
                  <a:lnTo>
                    <a:pt x="440" y="219"/>
                  </a:lnTo>
                  <a:lnTo>
                    <a:pt x="440" y="219"/>
                  </a:lnTo>
                  <a:lnTo>
                    <a:pt x="441" y="219"/>
                  </a:lnTo>
                  <a:lnTo>
                    <a:pt x="441" y="218"/>
                  </a:lnTo>
                  <a:lnTo>
                    <a:pt x="441" y="216"/>
                  </a:lnTo>
                  <a:lnTo>
                    <a:pt x="441" y="216"/>
                  </a:lnTo>
                  <a:lnTo>
                    <a:pt x="441" y="215"/>
                  </a:lnTo>
                  <a:lnTo>
                    <a:pt x="442" y="214"/>
                  </a:lnTo>
                  <a:lnTo>
                    <a:pt x="442" y="212"/>
                  </a:lnTo>
                  <a:lnTo>
                    <a:pt x="441" y="212"/>
                  </a:lnTo>
                  <a:lnTo>
                    <a:pt x="441" y="212"/>
                  </a:lnTo>
                  <a:lnTo>
                    <a:pt x="441" y="211"/>
                  </a:lnTo>
                  <a:lnTo>
                    <a:pt x="441" y="211"/>
                  </a:lnTo>
                  <a:lnTo>
                    <a:pt x="440" y="211"/>
                  </a:lnTo>
                  <a:lnTo>
                    <a:pt x="437" y="211"/>
                  </a:lnTo>
                  <a:lnTo>
                    <a:pt x="435" y="211"/>
                  </a:lnTo>
                  <a:lnTo>
                    <a:pt x="434" y="212"/>
                  </a:lnTo>
                  <a:lnTo>
                    <a:pt x="434" y="212"/>
                  </a:lnTo>
                  <a:lnTo>
                    <a:pt x="432" y="214"/>
                  </a:lnTo>
                  <a:lnTo>
                    <a:pt x="432" y="214"/>
                  </a:lnTo>
                  <a:lnTo>
                    <a:pt x="432" y="214"/>
                  </a:lnTo>
                  <a:lnTo>
                    <a:pt x="432" y="215"/>
                  </a:lnTo>
                  <a:lnTo>
                    <a:pt x="432" y="215"/>
                  </a:lnTo>
                  <a:lnTo>
                    <a:pt x="432" y="215"/>
                  </a:lnTo>
                  <a:lnTo>
                    <a:pt x="432" y="216"/>
                  </a:lnTo>
                  <a:lnTo>
                    <a:pt x="432" y="219"/>
                  </a:lnTo>
                  <a:lnTo>
                    <a:pt x="432" y="222"/>
                  </a:lnTo>
                  <a:lnTo>
                    <a:pt x="432" y="225"/>
                  </a:lnTo>
                  <a:close/>
                </a:path>
              </a:pathLst>
            </a:custGeom>
            <a:solidFill>
              <a:srgbClr val="DCDD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88" name="Freeform 36"/>
            <p:cNvSpPr>
              <a:spLocks noEditPoints="1"/>
            </p:cNvSpPr>
            <p:nvPr/>
          </p:nvSpPr>
          <p:spPr bwMode="auto">
            <a:xfrm>
              <a:off x="1892806" y="4564821"/>
              <a:ext cx="269872" cy="418038"/>
            </a:xfrm>
            <a:custGeom>
              <a:avLst/>
              <a:gdLst>
                <a:gd name="T0" fmla="*/ 302 w 442"/>
                <a:gd name="T1" fmla="*/ 355 h 632"/>
                <a:gd name="T2" fmla="*/ 303 w 442"/>
                <a:gd name="T3" fmla="*/ 344 h 632"/>
                <a:gd name="T4" fmla="*/ 378 w 442"/>
                <a:gd name="T5" fmla="*/ 307 h 632"/>
                <a:gd name="T6" fmla="*/ 372 w 442"/>
                <a:gd name="T7" fmla="*/ 292 h 632"/>
                <a:gd name="T8" fmla="*/ 338 w 442"/>
                <a:gd name="T9" fmla="*/ 311 h 632"/>
                <a:gd name="T10" fmla="*/ 325 w 442"/>
                <a:gd name="T11" fmla="*/ 314 h 632"/>
                <a:gd name="T12" fmla="*/ 338 w 442"/>
                <a:gd name="T13" fmla="*/ 305 h 632"/>
                <a:gd name="T14" fmla="*/ 358 w 442"/>
                <a:gd name="T15" fmla="*/ 292 h 632"/>
                <a:gd name="T16" fmla="*/ 362 w 442"/>
                <a:gd name="T17" fmla="*/ 274 h 632"/>
                <a:gd name="T18" fmla="*/ 382 w 442"/>
                <a:gd name="T19" fmla="*/ 226 h 632"/>
                <a:gd name="T20" fmla="*/ 374 w 442"/>
                <a:gd name="T21" fmla="*/ 209 h 632"/>
                <a:gd name="T22" fmla="*/ 381 w 442"/>
                <a:gd name="T23" fmla="*/ 181 h 632"/>
                <a:gd name="T24" fmla="*/ 379 w 442"/>
                <a:gd name="T25" fmla="*/ 168 h 632"/>
                <a:gd name="T26" fmla="*/ 385 w 442"/>
                <a:gd name="T27" fmla="*/ 158 h 632"/>
                <a:gd name="T28" fmla="*/ 401 w 442"/>
                <a:gd name="T29" fmla="*/ 139 h 632"/>
                <a:gd name="T30" fmla="*/ 419 w 442"/>
                <a:gd name="T31" fmla="*/ 128 h 632"/>
                <a:gd name="T32" fmla="*/ 404 w 442"/>
                <a:gd name="T33" fmla="*/ 62 h 632"/>
                <a:gd name="T34" fmla="*/ 372 w 442"/>
                <a:gd name="T35" fmla="*/ 20 h 632"/>
                <a:gd name="T36" fmla="*/ 351 w 442"/>
                <a:gd name="T37" fmla="*/ 0 h 632"/>
                <a:gd name="T38" fmla="*/ 311 w 442"/>
                <a:gd name="T39" fmla="*/ 20 h 632"/>
                <a:gd name="T40" fmla="*/ 252 w 442"/>
                <a:gd name="T41" fmla="*/ 22 h 632"/>
                <a:gd name="T42" fmla="*/ 240 w 442"/>
                <a:gd name="T43" fmla="*/ 56 h 632"/>
                <a:gd name="T44" fmla="*/ 218 w 442"/>
                <a:gd name="T45" fmla="*/ 55 h 632"/>
                <a:gd name="T46" fmla="*/ 218 w 442"/>
                <a:gd name="T47" fmla="*/ 103 h 632"/>
                <a:gd name="T48" fmla="*/ 252 w 442"/>
                <a:gd name="T49" fmla="*/ 155 h 632"/>
                <a:gd name="T50" fmla="*/ 253 w 442"/>
                <a:gd name="T51" fmla="*/ 171 h 632"/>
                <a:gd name="T52" fmla="*/ 286 w 442"/>
                <a:gd name="T53" fmla="*/ 184 h 632"/>
                <a:gd name="T54" fmla="*/ 281 w 442"/>
                <a:gd name="T55" fmla="*/ 204 h 632"/>
                <a:gd name="T56" fmla="*/ 249 w 442"/>
                <a:gd name="T57" fmla="*/ 224 h 632"/>
                <a:gd name="T58" fmla="*/ 220 w 442"/>
                <a:gd name="T59" fmla="*/ 234 h 632"/>
                <a:gd name="T60" fmla="*/ 186 w 442"/>
                <a:gd name="T61" fmla="*/ 287 h 632"/>
                <a:gd name="T62" fmla="*/ 152 w 442"/>
                <a:gd name="T63" fmla="*/ 302 h 632"/>
                <a:gd name="T64" fmla="*/ 133 w 442"/>
                <a:gd name="T65" fmla="*/ 287 h 632"/>
                <a:gd name="T66" fmla="*/ 117 w 442"/>
                <a:gd name="T67" fmla="*/ 295 h 632"/>
                <a:gd name="T68" fmla="*/ 100 w 442"/>
                <a:gd name="T69" fmla="*/ 297 h 632"/>
                <a:gd name="T70" fmla="*/ 74 w 442"/>
                <a:gd name="T71" fmla="*/ 297 h 632"/>
                <a:gd name="T72" fmla="*/ 43 w 442"/>
                <a:gd name="T73" fmla="*/ 292 h 632"/>
                <a:gd name="T74" fmla="*/ 20 w 442"/>
                <a:gd name="T75" fmla="*/ 302 h 632"/>
                <a:gd name="T76" fmla="*/ 0 w 442"/>
                <a:gd name="T77" fmla="*/ 314 h 632"/>
                <a:gd name="T78" fmla="*/ 33 w 442"/>
                <a:gd name="T79" fmla="*/ 393 h 632"/>
                <a:gd name="T80" fmla="*/ 40 w 442"/>
                <a:gd name="T81" fmla="*/ 440 h 632"/>
                <a:gd name="T82" fmla="*/ 53 w 442"/>
                <a:gd name="T83" fmla="*/ 489 h 632"/>
                <a:gd name="T84" fmla="*/ 54 w 442"/>
                <a:gd name="T85" fmla="*/ 526 h 632"/>
                <a:gd name="T86" fmla="*/ 41 w 442"/>
                <a:gd name="T87" fmla="*/ 579 h 632"/>
                <a:gd name="T88" fmla="*/ 64 w 442"/>
                <a:gd name="T89" fmla="*/ 620 h 632"/>
                <a:gd name="T90" fmla="*/ 110 w 442"/>
                <a:gd name="T91" fmla="*/ 622 h 632"/>
                <a:gd name="T92" fmla="*/ 179 w 442"/>
                <a:gd name="T93" fmla="*/ 629 h 632"/>
                <a:gd name="T94" fmla="*/ 218 w 442"/>
                <a:gd name="T95" fmla="*/ 622 h 632"/>
                <a:gd name="T96" fmla="*/ 212 w 442"/>
                <a:gd name="T97" fmla="*/ 595 h 632"/>
                <a:gd name="T98" fmla="*/ 230 w 442"/>
                <a:gd name="T99" fmla="*/ 533 h 632"/>
                <a:gd name="T100" fmla="*/ 242 w 442"/>
                <a:gd name="T101" fmla="*/ 470 h 632"/>
                <a:gd name="T102" fmla="*/ 258 w 442"/>
                <a:gd name="T103" fmla="*/ 428 h 632"/>
                <a:gd name="T104" fmla="*/ 258 w 442"/>
                <a:gd name="T105" fmla="*/ 387 h 632"/>
                <a:gd name="T106" fmla="*/ 391 w 442"/>
                <a:gd name="T107" fmla="*/ 284 h 632"/>
                <a:gd name="T108" fmla="*/ 389 w 442"/>
                <a:gd name="T109" fmla="*/ 297 h 632"/>
                <a:gd name="T110" fmla="*/ 387 w 442"/>
                <a:gd name="T111" fmla="*/ 302 h 632"/>
                <a:gd name="T112" fmla="*/ 402 w 442"/>
                <a:gd name="T113" fmla="*/ 289 h 632"/>
                <a:gd name="T114" fmla="*/ 437 w 442"/>
                <a:gd name="T115" fmla="*/ 221 h 632"/>
                <a:gd name="T116" fmla="*/ 441 w 442"/>
                <a:gd name="T117" fmla="*/ 216 h 632"/>
                <a:gd name="T118" fmla="*/ 441 w 442"/>
                <a:gd name="T119" fmla="*/ 211 h 632"/>
                <a:gd name="T120" fmla="*/ 432 w 442"/>
                <a:gd name="T121" fmla="*/ 214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2" h="632">
                  <a:moveTo>
                    <a:pt x="285" y="367"/>
                  </a:moveTo>
                  <a:lnTo>
                    <a:pt x="295" y="365"/>
                  </a:lnTo>
                  <a:lnTo>
                    <a:pt x="301" y="363"/>
                  </a:lnTo>
                  <a:lnTo>
                    <a:pt x="303" y="357"/>
                  </a:lnTo>
                  <a:lnTo>
                    <a:pt x="303" y="355"/>
                  </a:lnTo>
                  <a:lnTo>
                    <a:pt x="303" y="355"/>
                  </a:lnTo>
                  <a:lnTo>
                    <a:pt x="303" y="355"/>
                  </a:lnTo>
                  <a:lnTo>
                    <a:pt x="302" y="355"/>
                  </a:lnTo>
                  <a:lnTo>
                    <a:pt x="301" y="355"/>
                  </a:lnTo>
                  <a:lnTo>
                    <a:pt x="301" y="355"/>
                  </a:lnTo>
                  <a:lnTo>
                    <a:pt x="298" y="355"/>
                  </a:lnTo>
                  <a:lnTo>
                    <a:pt x="296" y="355"/>
                  </a:lnTo>
                  <a:lnTo>
                    <a:pt x="295" y="353"/>
                  </a:lnTo>
                  <a:lnTo>
                    <a:pt x="296" y="350"/>
                  </a:lnTo>
                  <a:lnTo>
                    <a:pt x="299" y="348"/>
                  </a:lnTo>
                  <a:lnTo>
                    <a:pt x="303" y="344"/>
                  </a:lnTo>
                  <a:lnTo>
                    <a:pt x="308" y="341"/>
                  </a:lnTo>
                  <a:lnTo>
                    <a:pt x="312" y="338"/>
                  </a:lnTo>
                  <a:lnTo>
                    <a:pt x="322" y="332"/>
                  </a:lnTo>
                  <a:lnTo>
                    <a:pt x="335" y="322"/>
                  </a:lnTo>
                  <a:lnTo>
                    <a:pt x="338" y="321"/>
                  </a:lnTo>
                  <a:lnTo>
                    <a:pt x="349" y="315"/>
                  </a:lnTo>
                  <a:lnTo>
                    <a:pt x="371" y="308"/>
                  </a:lnTo>
                  <a:lnTo>
                    <a:pt x="378" y="307"/>
                  </a:lnTo>
                  <a:lnTo>
                    <a:pt x="379" y="304"/>
                  </a:lnTo>
                  <a:lnTo>
                    <a:pt x="381" y="302"/>
                  </a:lnTo>
                  <a:lnTo>
                    <a:pt x="382" y="300"/>
                  </a:lnTo>
                  <a:lnTo>
                    <a:pt x="381" y="297"/>
                  </a:lnTo>
                  <a:lnTo>
                    <a:pt x="379" y="294"/>
                  </a:lnTo>
                  <a:lnTo>
                    <a:pt x="376" y="294"/>
                  </a:lnTo>
                  <a:lnTo>
                    <a:pt x="375" y="292"/>
                  </a:lnTo>
                  <a:lnTo>
                    <a:pt x="372" y="292"/>
                  </a:lnTo>
                  <a:lnTo>
                    <a:pt x="372" y="294"/>
                  </a:lnTo>
                  <a:lnTo>
                    <a:pt x="371" y="294"/>
                  </a:lnTo>
                  <a:lnTo>
                    <a:pt x="369" y="294"/>
                  </a:lnTo>
                  <a:lnTo>
                    <a:pt x="369" y="295"/>
                  </a:lnTo>
                  <a:lnTo>
                    <a:pt x="366" y="295"/>
                  </a:lnTo>
                  <a:lnTo>
                    <a:pt x="359" y="298"/>
                  </a:lnTo>
                  <a:lnTo>
                    <a:pt x="349" y="304"/>
                  </a:lnTo>
                  <a:lnTo>
                    <a:pt x="338" y="311"/>
                  </a:lnTo>
                  <a:lnTo>
                    <a:pt x="326" y="318"/>
                  </a:lnTo>
                  <a:lnTo>
                    <a:pt x="318" y="324"/>
                  </a:lnTo>
                  <a:lnTo>
                    <a:pt x="315" y="324"/>
                  </a:lnTo>
                  <a:lnTo>
                    <a:pt x="315" y="321"/>
                  </a:lnTo>
                  <a:lnTo>
                    <a:pt x="318" y="320"/>
                  </a:lnTo>
                  <a:lnTo>
                    <a:pt x="321" y="317"/>
                  </a:lnTo>
                  <a:lnTo>
                    <a:pt x="322" y="317"/>
                  </a:lnTo>
                  <a:lnTo>
                    <a:pt x="325" y="314"/>
                  </a:lnTo>
                  <a:lnTo>
                    <a:pt x="329" y="312"/>
                  </a:lnTo>
                  <a:lnTo>
                    <a:pt x="331" y="310"/>
                  </a:lnTo>
                  <a:lnTo>
                    <a:pt x="331" y="308"/>
                  </a:lnTo>
                  <a:lnTo>
                    <a:pt x="332" y="307"/>
                  </a:lnTo>
                  <a:lnTo>
                    <a:pt x="334" y="307"/>
                  </a:lnTo>
                  <a:lnTo>
                    <a:pt x="335" y="307"/>
                  </a:lnTo>
                  <a:lnTo>
                    <a:pt x="336" y="305"/>
                  </a:lnTo>
                  <a:lnTo>
                    <a:pt x="338" y="305"/>
                  </a:lnTo>
                  <a:lnTo>
                    <a:pt x="339" y="304"/>
                  </a:lnTo>
                  <a:lnTo>
                    <a:pt x="341" y="301"/>
                  </a:lnTo>
                  <a:lnTo>
                    <a:pt x="344" y="300"/>
                  </a:lnTo>
                  <a:lnTo>
                    <a:pt x="346" y="298"/>
                  </a:lnTo>
                  <a:lnTo>
                    <a:pt x="352" y="298"/>
                  </a:lnTo>
                  <a:lnTo>
                    <a:pt x="358" y="297"/>
                  </a:lnTo>
                  <a:lnTo>
                    <a:pt x="358" y="295"/>
                  </a:lnTo>
                  <a:lnTo>
                    <a:pt x="358" y="292"/>
                  </a:lnTo>
                  <a:lnTo>
                    <a:pt x="358" y="288"/>
                  </a:lnTo>
                  <a:lnTo>
                    <a:pt x="358" y="287"/>
                  </a:lnTo>
                  <a:lnTo>
                    <a:pt x="359" y="285"/>
                  </a:lnTo>
                  <a:lnTo>
                    <a:pt x="359" y="285"/>
                  </a:lnTo>
                  <a:lnTo>
                    <a:pt x="359" y="281"/>
                  </a:lnTo>
                  <a:lnTo>
                    <a:pt x="359" y="279"/>
                  </a:lnTo>
                  <a:lnTo>
                    <a:pt x="361" y="277"/>
                  </a:lnTo>
                  <a:lnTo>
                    <a:pt x="362" y="274"/>
                  </a:lnTo>
                  <a:lnTo>
                    <a:pt x="364" y="269"/>
                  </a:lnTo>
                  <a:lnTo>
                    <a:pt x="365" y="268"/>
                  </a:lnTo>
                  <a:lnTo>
                    <a:pt x="366" y="262"/>
                  </a:lnTo>
                  <a:lnTo>
                    <a:pt x="366" y="258"/>
                  </a:lnTo>
                  <a:lnTo>
                    <a:pt x="371" y="251"/>
                  </a:lnTo>
                  <a:lnTo>
                    <a:pt x="374" y="241"/>
                  </a:lnTo>
                  <a:lnTo>
                    <a:pt x="379" y="231"/>
                  </a:lnTo>
                  <a:lnTo>
                    <a:pt x="382" y="226"/>
                  </a:lnTo>
                  <a:lnTo>
                    <a:pt x="382" y="224"/>
                  </a:lnTo>
                  <a:lnTo>
                    <a:pt x="382" y="221"/>
                  </a:lnTo>
                  <a:lnTo>
                    <a:pt x="381" y="218"/>
                  </a:lnTo>
                  <a:lnTo>
                    <a:pt x="379" y="216"/>
                  </a:lnTo>
                  <a:lnTo>
                    <a:pt x="378" y="216"/>
                  </a:lnTo>
                  <a:lnTo>
                    <a:pt x="375" y="214"/>
                  </a:lnTo>
                  <a:lnTo>
                    <a:pt x="374" y="214"/>
                  </a:lnTo>
                  <a:lnTo>
                    <a:pt x="374" y="209"/>
                  </a:lnTo>
                  <a:lnTo>
                    <a:pt x="374" y="204"/>
                  </a:lnTo>
                  <a:lnTo>
                    <a:pt x="378" y="199"/>
                  </a:lnTo>
                  <a:lnTo>
                    <a:pt x="381" y="196"/>
                  </a:lnTo>
                  <a:lnTo>
                    <a:pt x="384" y="192"/>
                  </a:lnTo>
                  <a:lnTo>
                    <a:pt x="384" y="191"/>
                  </a:lnTo>
                  <a:lnTo>
                    <a:pt x="384" y="188"/>
                  </a:lnTo>
                  <a:lnTo>
                    <a:pt x="382" y="185"/>
                  </a:lnTo>
                  <a:lnTo>
                    <a:pt x="381" y="181"/>
                  </a:lnTo>
                  <a:lnTo>
                    <a:pt x="382" y="176"/>
                  </a:lnTo>
                  <a:lnTo>
                    <a:pt x="382" y="175"/>
                  </a:lnTo>
                  <a:lnTo>
                    <a:pt x="382" y="173"/>
                  </a:lnTo>
                  <a:lnTo>
                    <a:pt x="382" y="172"/>
                  </a:lnTo>
                  <a:lnTo>
                    <a:pt x="381" y="172"/>
                  </a:lnTo>
                  <a:lnTo>
                    <a:pt x="381" y="171"/>
                  </a:lnTo>
                  <a:lnTo>
                    <a:pt x="378" y="168"/>
                  </a:lnTo>
                  <a:lnTo>
                    <a:pt x="379" y="168"/>
                  </a:lnTo>
                  <a:lnTo>
                    <a:pt x="378" y="166"/>
                  </a:lnTo>
                  <a:lnTo>
                    <a:pt x="376" y="165"/>
                  </a:lnTo>
                  <a:lnTo>
                    <a:pt x="378" y="162"/>
                  </a:lnTo>
                  <a:lnTo>
                    <a:pt x="379" y="162"/>
                  </a:lnTo>
                  <a:lnTo>
                    <a:pt x="381" y="162"/>
                  </a:lnTo>
                  <a:lnTo>
                    <a:pt x="384" y="161"/>
                  </a:lnTo>
                  <a:lnTo>
                    <a:pt x="385" y="159"/>
                  </a:lnTo>
                  <a:lnTo>
                    <a:pt x="385" y="158"/>
                  </a:lnTo>
                  <a:lnTo>
                    <a:pt x="387" y="155"/>
                  </a:lnTo>
                  <a:lnTo>
                    <a:pt x="387" y="152"/>
                  </a:lnTo>
                  <a:lnTo>
                    <a:pt x="387" y="151"/>
                  </a:lnTo>
                  <a:lnTo>
                    <a:pt x="388" y="148"/>
                  </a:lnTo>
                  <a:lnTo>
                    <a:pt x="391" y="145"/>
                  </a:lnTo>
                  <a:lnTo>
                    <a:pt x="392" y="142"/>
                  </a:lnTo>
                  <a:lnTo>
                    <a:pt x="397" y="141"/>
                  </a:lnTo>
                  <a:lnTo>
                    <a:pt x="401" y="139"/>
                  </a:lnTo>
                  <a:lnTo>
                    <a:pt x="407" y="139"/>
                  </a:lnTo>
                  <a:lnTo>
                    <a:pt x="409" y="139"/>
                  </a:lnTo>
                  <a:lnTo>
                    <a:pt x="415" y="139"/>
                  </a:lnTo>
                  <a:lnTo>
                    <a:pt x="419" y="139"/>
                  </a:lnTo>
                  <a:lnTo>
                    <a:pt x="422" y="139"/>
                  </a:lnTo>
                  <a:lnTo>
                    <a:pt x="419" y="136"/>
                  </a:lnTo>
                  <a:lnTo>
                    <a:pt x="421" y="132"/>
                  </a:lnTo>
                  <a:lnTo>
                    <a:pt x="419" y="128"/>
                  </a:lnTo>
                  <a:lnTo>
                    <a:pt x="417" y="122"/>
                  </a:lnTo>
                  <a:lnTo>
                    <a:pt x="415" y="115"/>
                  </a:lnTo>
                  <a:lnTo>
                    <a:pt x="412" y="96"/>
                  </a:lnTo>
                  <a:lnTo>
                    <a:pt x="411" y="88"/>
                  </a:lnTo>
                  <a:lnTo>
                    <a:pt x="408" y="80"/>
                  </a:lnTo>
                  <a:lnTo>
                    <a:pt x="407" y="73"/>
                  </a:lnTo>
                  <a:lnTo>
                    <a:pt x="405" y="67"/>
                  </a:lnTo>
                  <a:lnTo>
                    <a:pt x="404" y="62"/>
                  </a:lnTo>
                  <a:lnTo>
                    <a:pt x="398" y="56"/>
                  </a:lnTo>
                  <a:lnTo>
                    <a:pt x="394" y="52"/>
                  </a:lnTo>
                  <a:lnTo>
                    <a:pt x="392" y="49"/>
                  </a:lnTo>
                  <a:lnTo>
                    <a:pt x="385" y="45"/>
                  </a:lnTo>
                  <a:lnTo>
                    <a:pt x="381" y="40"/>
                  </a:lnTo>
                  <a:lnTo>
                    <a:pt x="379" y="36"/>
                  </a:lnTo>
                  <a:lnTo>
                    <a:pt x="376" y="30"/>
                  </a:lnTo>
                  <a:lnTo>
                    <a:pt x="372" y="20"/>
                  </a:lnTo>
                  <a:lnTo>
                    <a:pt x="366" y="13"/>
                  </a:lnTo>
                  <a:lnTo>
                    <a:pt x="362" y="12"/>
                  </a:lnTo>
                  <a:lnTo>
                    <a:pt x="359" y="12"/>
                  </a:lnTo>
                  <a:lnTo>
                    <a:pt x="355" y="13"/>
                  </a:lnTo>
                  <a:lnTo>
                    <a:pt x="351" y="12"/>
                  </a:lnTo>
                  <a:lnTo>
                    <a:pt x="349" y="7"/>
                  </a:lnTo>
                  <a:lnTo>
                    <a:pt x="351" y="0"/>
                  </a:lnTo>
                  <a:lnTo>
                    <a:pt x="351" y="0"/>
                  </a:lnTo>
                  <a:lnTo>
                    <a:pt x="346" y="0"/>
                  </a:lnTo>
                  <a:lnTo>
                    <a:pt x="335" y="2"/>
                  </a:lnTo>
                  <a:lnTo>
                    <a:pt x="331" y="3"/>
                  </a:lnTo>
                  <a:lnTo>
                    <a:pt x="329" y="10"/>
                  </a:lnTo>
                  <a:lnTo>
                    <a:pt x="325" y="20"/>
                  </a:lnTo>
                  <a:lnTo>
                    <a:pt x="321" y="22"/>
                  </a:lnTo>
                  <a:lnTo>
                    <a:pt x="316" y="22"/>
                  </a:lnTo>
                  <a:lnTo>
                    <a:pt x="311" y="20"/>
                  </a:lnTo>
                  <a:lnTo>
                    <a:pt x="289" y="23"/>
                  </a:lnTo>
                  <a:lnTo>
                    <a:pt x="278" y="23"/>
                  </a:lnTo>
                  <a:lnTo>
                    <a:pt x="281" y="13"/>
                  </a:lnTo>
                  <a:lnTo>
                    <a:pt x="275" y="10"/>
                  </a:lnTo>
                  <a:lnTo>
                    <a:pt x="262" y="9"/>
                  </a:lnTo>
                  <a:lnTo>
                    <a:pt x="259" y="12"/>
                  </a:lnTo>
                  <a:lnTo>
                    <a:pt x="253" y="16"/>
                  </a:lnTo>
                  <a:lnTo>
                    <a:pt x="252" y="22"/>
                  </a:lnTo>
                  <a:lnTo>
                    <a:pt x="259" y="27"/>
                  </a:lnTo>
                  <a:lnTo>
                    <a:pt x="262" y="32"/>
                  </a:lnTo>
                  <a:lnTo>
                    <a:pt x="263" y="36"/>
                  </a:lnTo>
                  <a:lnTo>
                    <a:pt x="262" y="45"/>
                  </a:lnTo>
                  <a:lnTo>
                    <a:pt x="259" y="50"/>
                  </a:lnTo>
                  <a:lnTo>
                    <a:pt x="256" y="52"/>
                  </a:lnTo>
                  <a:lnTo>
                    <a:pt x="243" y="57"/>
                  </a:lnTo>
                  <a:lnTo>
                    <a:pt x="240" y="56"/>
                  </a:lnTo>
                  <a:lnTo>
                    <a:pt x="236" y="52"/>
                  </a:lnTo>
                  <a:lnTo>
                    <a:pt x="232" y="49"/>
                  </a:lnTo>
                  <a:lnTo>
                    <a:pt x="228" y="42"/>
                  </a:lnTo>
                  <a:lnTo>
                    <a:pt x="218" y="36"/>
                  </a:lnTo>
                  <a:lnTo>
                    <a:pt x="215" y="37"/>
                  </a:lnTo>
                  <a:lnTo>
                    <a:pt x="209" y="42"/>
                  </a:lnTo>
                  <a:lnTo>
                    <a:pt x="215" y="49"/>
                  </a:lnTo>
                  <a:lnTo>
                    <a:pt x="218" y="55"/>
                  </a:lnTo>
                  <a:lnTo>
                    <a:pt x="228" y="65"/>
                  </a:lnTo>
                  <a:lnTo>
                    <a:pt x="235" y="73"/>
                  </a:lnTo>
                  <a:lnTo>
                    <a:pt x="232" y="78"/>
                  </a:lnTo>
                  <a:lnTo>
                    <a:pt x="226" y="82"/>
                  </a:lnTo>
                  <a:lnTo>
                    <a:pt x="216" y="90"/>
                  </a:lnTo>
                  <a:lnTo>
                    <a:pt x="213" y="89"/>
                  </a:lnTo>
                  <a:lnTo>
                    <a:pt x="207" y="93"/>
                  </a:lnTo>
                  <a:lnTo>
                    <a:pt x="218" y="103"/>
                  </a:lnTo>
                  <a:lnTo>
                    <a:pt x="216" y="108"/>
                  </a:lnTo>
                  <a:lnTo>
                    <a:pt x="219" y="112"/>
                  </a:lnTo>
                  <a:lnTo>
                    <a:pt x="229" y="123"/>
                  </a:lnTo>
                  <a:lnTo>
                    <a:pt x="235" y="131"/>
                  </a:lnTo>
                  <a:lnTo>
                    <a:pt x="238" y="133"/>
                  </a:lnTo>
                  <a:lnTo>
                    <a:pt x="240" y="138"/>
                  </a:lnTo>
                  <a:lnTo>
                    <a:pt x="252" y="148"/>
                  </a:lnTo>
                  <a:lnTo>
                    <a:pt x="252" y="155"/>
                  </a:lnTo>
                  <a:lnTo>
                    <a:pt x="245" y="155"/>
                  </a:lnTo>
                  <a:lnTo>
                    <a:pt x="239" y="153"/>
                  </a:lnTo>
                  <a:lnTo>
                    <a:pt x="238" y="155"/>
                  </a:lnTo>
                  <a:lnTo>
                    <a:pt x="236" y="161"/>
                  </a:lnTo>
                  <a:lnTo>
                    <a:pt x="238" y="169"/>
                  </a:lnTo>
                  <a:lnTo>
                    <a:pt x="240" y="171"/>
                  </a:lnTo>
                  <a:lnTo>
                    <a:pt x="246" y="169"/>
                  </a:lnTo>
                  <a:lnTo>
                    <a:pt x="253" y="171"/>
                  </a:lnTo>
                  <a:lnTo>
                    <a:pt x="258" y="175"/>
                  </a:lnTo>
                  <a:lnTo>
                    <a:pt x="259" y="176"/>
                  </a:lnTo>
                  <a:lnTo>
                    <a:pt x="262" y="173"/>
                  </a:lnTo>
                  <a:lnTo>
                    <a:pt x="268" y="171"/>
                  </a:lnTo>
                  <a:lnTo>
                    <a:pt x="273" y="176"/>
                  </a:lnTo>
                  <a:lnTo>
                    <a:pt x="279" y="171"/>
                  </a:lnTo>
                  <a:lnTo>
                    <a:pt x="289" y="179"/>
                  </a:lnTo>
                  <a:lnTo>
                    <a:pt x="286" y="184"/>
                  </a:lnTo>
                  <a:lnTo>
                    <a:pt x="283" y="185"/>
                  </a:lnTo>
                  <a:lnTo>
                    <a:pt x="281" y="189"/>
                  </a:lnTo>
                  <a:lnTo>
                    <a:pt x="276" y="192"/>
                  </a:lnTo>
                  <a:lnTo>
                    <a:pt x="275" y="195"/>
                  </a:lnTo>
                  <a:lnTo>
                    <a:pt x="275" y="196"/>
                  </a:lnTo>
                  <a:lnTo>
                    <a:pt x="275" y="199"/>
                  </a:lnTo>
                  <a:lnTo>
                    <a:pt x="275" y="199"/>
                  </a:lnTo>
                  <a:lnTo>
                    <a:pt x="281" y="204"/>
                  </a:lnTo>
                  <a:lnTo>
                    <a:pt x="283" y="205"/>
                  </a:lnTo>
                  <a:lnTo>
                    <a:pt x="285" y="212"/>
                  </a:lnTo>
                  <a:lnTo>
                    <a:pt x="285" y="218"/>
                  </a:lnTo>
                  <a:lnTo>
                    <a:pt x="285" y="224"/>
                  </a:lnTo>
                  <a:lnTo>
                    <a:pt x="272" y="222"/>
                  </a:lnTo>
                  <a:lnTo>
                    <a:pt x="272" y="222"/>
                  </a:lnTo>
                  <a:lnTo>
                    <a:pt x="262" y="224"/>
                  </a:lnTo>
                  <a:lnTo>
                    <a:pt x="249" y="224"/>
                  </a:lnTo>
                  <a:lnTo>
                    <a:pt x="249" y="224"/>
                  </a:lnTo>
                  <a:lnTo>
                    <a:pt x="245" y="225"/>
                  </a:lnTo>
                  <a:lnTo>
                    <a:pt x="240" y="228"/>
                  </a:lnTo>
                  <a:lnTo>
                    <a:pt x="232" y="234"/>
                  </a:lnTo>
                  <a:lnTo>
                    <a:pt x="232" y="234"/>
                  </a:lnTo>
                  <a:lnTo>
                    <a:pt x="229" y="234"/>
                  </a:lnTo>
                  <a:lnTo>
                    <a:pt x="225" y="234"/>
                  </a:lnTo>
                  <a:lnTo>
                    <a:pt x="220" y="234"/>
                  </a:lnTo>
                  <a:lnTo>
                    <a:pt x="216" y="235"/>
                  </a:lnTo>
                  <a:lnTo>
                    <a:pt x="212" y="244"/>
                  </a:lnTo>
                  <a:lnTo>
                    <a:pt x="206" y="251"/>
                  </a:lnTo>
                  <a:lnTo>
                    <a:pt x="196" y="265"/>
                  </a:lnTo>
                  <a:lnTo>
                    <a:pt x="183" y="272"/>
                  </a:lnTo>
                  <a:lnTo>
                    <a:pt x="176" y="278"/>
                  </a:lnTo>
                  <a:lnTo>
                    <a:pt x="179" y="282"/>
                  </a:lnTo>
                  <a:lnTo>
                    <a:pt x="186" y="287"/>
                  </a:lnTo>
                  <a:lnTo>
                    <a:pt x="182" y="295"/>
                  </a:lnTo>
                  <a:lnTo>
                    <a:pt x="175" y="292"/>
                  </a:lnTo>
                  <a:lnTo>
                    <a:pt x="173" y="294"/>
                  </a:lnTo>
                  <a:lnTo>
                    <a:pt x="166" y="314"/>
                  </a:lnTo>
                  <a:lnTo>
                    <a:pt x="162" y="312"/>
                  </a:lnTo>
                  <a:lnTo>
                    <a:pt x="154" y="310"/>
                  </a:lnTo>
                  <a:lnTo>
                    <a:pt x="152" y="307"/>
                  </a:lnTo>
                  <a:lnTo>
                    <a:pt x="152" y="302"/>
                  </a:lnTo>
                  <a:lnTo>
                    <a:pt x="153" y="297"/>
                  </a:lnTo>
                  <a:lnTo>
                    <a:pt x="149" y="297"/>
                  </a:lnTo>
                  <a:lnTo>
                    <a:pt x="144" y="295"/>
                  </a:lnTo>
                  <a:lnTo>
                    <a:pt x="142" y="295"/>
                  </a:lnTo>
                  <a:lnTo>
                    <a:pt x="139" y="292"/>
                  </a:lnTo>
                  <a:lnTo>
                    <a:pt x="137" y="291"/>
                  </a:lnTo>
                  <a:lnTo>
                    <a:pt x="137" y="288"/>
                  </a:lnTo>
                  <a:lnTo>
                    <a:pt x="133" y="287"/>
                  </a:lnTo>
                  <a:lnTo>
                    <a:pt x="132" y="287"/>
                  </a:lnTo>
                  <a:lnTo>
                    <a:pt x="129" y="287"/>
                  </a:lnTo>
                  <a:lnTo>
                    <a:pt x="127" y="287"/>
                  </a:lnTo>
                  <a:lnTo>
                    <a:pt x="124" y="288"/>
                  </a:lnTo>
                  <a:lnTo>
                    <a:pt x="123" y="288"/>
                  </a:lnTo>
                  <a:lnTo>
                    <a:pt x="120" y="289"/>
                  </a:lnTo>
                  <a:lnTo>
                    <a:pt x="117" y="294"/>
                  </a:lnTo>
                  <a:lnTo>
                    <a:pt x="117" y="295"/>
                  </a:lnTo>
                  <a:lnTo>
                    <a:pt x="117" y="304"/>
                  </a:lnTo>
                  <a:lnTo>
                    <a:pt x="117" y="304"/>
                  </a:lnTo>
                  <a:lnTo>
                    <a:pt x="114" y="304"/>
                  </a:lnTo>
                  <a:lnTo>
                    <a:pt x="113" y="304"/>
                  </a:lnTo>
                  <a:lnTo>
                    <a:pt x="109" y="301"/>
                  </a:lnTo>
                  <a:lnTo>
                    <a:pt x="107" y="300"/>
                  </a:lnTo>
                  <a:lnTo>
                    <a:pt x="103" y="298"/>
                  </a:lnTo>
                  <a:lnTo>
                    <a:pt x="100" y="297"/>
                  </a:lnTo>
                  <a:lnTo>
                    <a:pt x="96" y="297"/>
                  </a:lnTo>
                  <a:lnTo>
                    <a:pt x="94" y="297"/>
                  </a:lnTo>
                  <a:lnTo>
                    <a:pt x="91" y="300"/>
                  </a:lnTo>
                  <a:lnTo>
                    <a:pt x="87" y="301"/>
                  </a:lnTo>
                  <a:lnTo>
                    <a:pt x="86" y="302"/>
                  </a:lnTo>
                  <a:lnTo>
                    <a:pt x="83" y="301"/>
                  </a:lnTo>
                  <a:lnTo>
                    <a:pt x="79" y="300"/>
                  </a:lnTo>
                  <a:lnTo>
                    <a:pt x="74" y="297"/>
                  </a:lnTo>
                  <a:lnTo>
                    <a:pt x="70" y="297"/>
                  </a:lnTo>
                  <a:lnTo>
                    <a:pt x="61" y="295"/>
                  </a:lnTo>
                  <a:lnTo>
                    <a:pt x="59" y="294"/>
                  </a:lnTo>
                  <a:lnTo>
                    <a:pt x="57" y="294"/>
                  </a:lnTo>
                  <a:lnTo>
                    <a:pt x="54" y="294"/>
                  </a:lnTo>
                  <a:lnTo>
                    <a:pt x="47" y="292"/>
                  </a:lnTo>
                  <a:lnTo>
                    <a:pt x="43" y="292"/>
                  </a:lnTo>
                  <a:lnTo>
                    <a:pt x="43" y="292"/>
                  </a:lnTo>
                  <a:lnTo>
                    <a:pt x="40" y="294"/>
                  </a:lnTo>
                  <a:lnTo>
                    <a:pt x="37" y="295"/>
                  </a:lnTo>
                  <a:lnTo>
                    <a:pt x="31" y="301"/>
                  </a:lnTo>
                  <a:lnTo>
                    <a:pt x="28" y="302"/>
                  </a:lnTo>
                  <a:lnTo>
                    <a:pt x="26" y="304"/>
                  </a:lnTo>
                  <a:lnTo>
                    <a:pt x="23" y="304"/>
                  </a:lnTo>
                  <a:lnTo>
                    <a:pt x="20" y="302"/>
                  </a:lnTo>
                  <a:lnTo>
                    <a:pt x="20" y="302"/>
                  </a:lnTo>
                  <a:lnTo>
                    <a:pt x="16" y="298"/>
                  </a:lnTo>
                  <a:lnTo>
                    <a:pt x="11" y="297"/>
                  </a:lnTo>
                  <a:lnTo>
                    <a:pt x="7" y="297"/>
                  </a:lnTo>
                  <a:lnTo>
                    <a:pt x="4" y="298"/>
                  </a:lnTo>
                  <a:lnTo>
                    <a:pt x="3" y="300"/>
                  </a:lnTo>
                  <a:lnTo>
                    <a:pt x="0" y="304"/>
                  </a:lnTo>
                  <a:lnTo>
                    <a:pt x="0" y="308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3" y="327"/>
                  </a:lnTo>
                  <a:lnTo>
                    <a:pt x="6" y="341"/>
                  </a:lnTo>
                  <a:lnTo>
                    <a:pt x="14" y="365"/>
                  </a:lnTo>
                  <a:lnTo>
                    <a:pt x="14" y="365"/>
                  </a:lnTo>
                  <a:lnTo>
                    <a:pt x="18" y="374"/>
                  </a:lnTo>
                  <a:lnTo>
                    <a:pt x="26" y="384"/>
                  </a:lnTo>
                  <a:lnTo>
                    <a:pt x="33" y="393"/>
                  </a:lnTo>
                  <a:lnTo>
                    <a:pt x="34" y="397"/>
                  </a:lnTo>
                  <a:lnTo>
                    <a:pt x="34" y="401"/>
                  </a:lnTo>
                  <a:lnTo>
                    <a:pt x="34" y="401"/>
                  </a:lnTo>
                  <a:lnTo>
                    <a:pt x="34" y="413"/>
                  </a:lnTo>
                  <a:lnTo>
                    <a:pt x="34" y="418"/>
                  </a:lnTo>
                  <a:lnTo>
                    <a:pt x="36" y="424"/>
                  </a:lnTo>
                  <a:lnTo>
                    <a:pt x="38" y="431"/>
                  </a:lnTo>
                  <a:lnTo>
                    <a:pt x="40" y="440"/>
                  </a:lnTo>
                  <a:lnTo>
                    <a:pt x="41" y="447"/>
                  </a:lnTo>
                  <a:lnTo>
                    <a:pt x="50" y="454"/>
                  </a:lnTo>
                  <a:lnTo>
                    <a:pt x="56" y="457"/>
                  </a:lnTo>
                  <a:lnTo>
                    <a:pt x="56" y="460"/>
                  </a:lnTo>
                  <a:lnTo>
                    <a:pt x="54" y="470"/>
                  </a:lnTo>
                  <a:lnTo>
                    <a:pt x="53" y="477"/>
                  </a:lnTo>
                  <a:lnTo>
                    <a:pt x="53" y="483"/>
                  </a:lnTo>
                  <a:lnTo>
                    <a:pt x="53" y="489"/>
                  </a:lnTo>
                  <a:lnTo>
                    <a:pt x="50" y="493"/>
                  </a:lnTo>
                  <a:lnTo>
                    <a:pt x="50" y="497"/>
                  </a:lnTo>
                  <a:lnTo>
                    <a:pt x="50" y="506"/>
                  </a:lnTo>
                  <a:lnTo>
                    <a:pt x="46" y="514"/>
                  </a:lnTo>
                  <a:lnTo>
                    <a:pt x="49" y="517"/>
                  </a:lnTo>
                  <a:lnTo>
                    <a:pt x="53" y="519"/>
                  </a:lnTo>
                  <a:lnTo>
                    <a:pt x="54" y="522"/>
                  </a:lnTo>
                  <a:lnTo>
                    <a:pt x="54" y="526"/>
                  </a:lnTo>
                  <a:lnTo>
                    <a:pt x="53" y="527"/>
                  </a:lnTo>
                  <a:lnTo>
                    <a:pt x="50" y="534"/>
                  </a:lnTo>
                  <a:lnTo>
                    <a:pt x="49" y="544"/>
                  </a:lnTo>
                  <a:lnTo>
                    <a:pt x="43" y="553"/>
                  </a:lnTo>
                  <a:lnTo>
                    <a:pt x="40" y="560"/>
                  </a:lnTo>
                  <a:lnTo>
                    <a:pt x="40" y="563"/>
                  </a:lnTo>
                  <a:lnTo>
                    <a:pt x="40" y="572"/>
                  </a:lnTo>
                  <a:lnTo>
                    <a:pt x="41" y="579"/>
                  </a:lnTo>
                  <a:lnTo>
                    <a:pt x="46" y="585"/>
                  </a:lnTo>
                  <a:lnTo>
                    <a:pt x="47" y="590"/>
                  </a:lnTo>
                  <a:lnTo>
                    <a:pt x="49" y="596"/>
                  </a:lnTo>
                  <a:lnTo>
                    <a:pt x="50" y="602"/>
                  </a:lnTo>
                  <a:lnTo>
                    <a:pt x="57" y="607"/>
                  </a:lnTo>
                  <a:lnTo>
                    <a:pt x="63" y="613"/>
                  </a:lnTo>
                  <a:lnTo>
                    <a:pt x="64" y="617"/>
                  </a:lnTo>
                  <a:lnTo>
                    <a:pt x="64" y="620"/>
                  </a:lnTo>
                  <a:lnTo>
                    <a:pt x="67" y="626"/>
                  </a:lnTo>
                  <a:lnTo>
                    <a:pt x="74" y="632"/>
                  </a:lnTo>
                  <a:lnTo>
                    <a:pt x="79" y="632"/>
                  </a:lnTo>
                  <a:lnTo>
                    <a:pt x="86" y="627"/>
                  </a:lnTo>
                  <a:lnTo>
                    <a:pt x="90" y="626"/>
                  </a:lnTo>
                  <a:lnTo>
                    <a:pt x="97" y="623"/>
                  </a:lnTo>
                  <a:lnTo>
                    <a:pt x="104" y="622"/>
                  </a:lnTo>
                  <a:lnTo>
                    <a:pt x="110" y="622"/>
                  </a:lnTo>
                  <a:lnTo>
                    <a:pt x="116" y="622"/>
                  </a:lnTo>
                  <a:lnTo>
                    <a:pt x="123" y="622"/>
                  </a:lnTo>
                  <a:lnTo>
                    <a:pt x="139" y="625"/>
                  </a:lnTo>
                  <a:lnTo>
                    <a:pt x="139" y="625"/>
                  </a:lnTo>
                  <a:lnTo>
                    <a:pt x="150" y="625"/>
                  </a:lnTo>
                  <a:lnTo>
                    <a:pt x="160" y="626"/>
                  </a:lnTo>
                  <a:lnTo>
                    <a:pt x="170" y="627"/>
                  </a:lnTo>
                  <a:lnTo>
                    <a:pt x="179" y="629"/>
                  </a:lnTo>
                  <a:lnTo>
                    <a:pt x="179" y="629"/>
                  </a:lnTo>
                  <a:lnTo>
                    <a:pt x="185" y="627"/>
                  </a:lnTo>
                  <a:lnTo>
                    <a:pt x="189" y="626"/>
                  </a:lnTo>
                  <a:lnTo>
                    <a:pt x="199" y="623"/>
                  </a:lnTo>
                  <a:lnTo>
                    <a:pt x="199" y="623"/>
                  </a:lnTo>
                  <a:lnTo>
                    <a:pt x="203" y="622"/>
                  </a:lnTo>
                  <a:lnTo>
                    <a:pt x="207" y="622"/>
                  </a:lnTo>
                  <a:lnTo>
                    <a:pt x="218" y="622"/>
                  </a:lnTo>
                  <a:lnTo>
                    <a:pt x="220" y="620"/>
                  </a:lnTo>
                  <a:lnTo>
                    <a:pt x="220" y="613"/>
                  </a:lnTo>
                  <a:lnTo>
                    <a:pt x="219" y="612"/>
                  </a:lnTo>
                  <a:lnTo>
                    <a:pt x="218" y="609"/>
                  </a:lnTo>
                  <a:lnTo>
                    <a:pt x="216" y="606"/>
                  </a:lnTo>
                  <a:lnTo>
                    <a:pt x="216" y="606"/>
                  </a:lnTo>
                  <a:lnTo>
                    <a:pt x="215" y="602"/>
                  </a:lnTo>
                  <a:lnTo>
                    <a:pt x="212" y="595"/>
                  </a:lnTo>
                  <a:lnTo>
                    <a:pt x="213" y="589"/>
                  </a:lnTo>
                  <a:lnTo>
                    <a:pt x="216" y="582"/>
                  </a:lnTo>
                  <a:lnTo>
                    <a:pt x="220" y="573"/>
                  </a:lnTo>
                  <a:lnTo>
                    <a:pt x="222" y="564"/>
                  </a:lnTo>
                  <a:lnTo>
                    <a:pt x="223" y="556"/>
                  </a:lnTo>
                  <a:lnTo>
                    <a:pt x="225" y="547"/>
                  </a:lnTo>
                  <a:lnTo>
                    <a:pt x="228" y="542"/>
                  </a:lnTo>
                  <a:lnTo>
                    <a:pt x="230" y="533"/>
                  </a:lnTo>
                  <a:lnTo>
                    <a:pt x="230" y="530"/>
                  </a:lnTo>
                  <a:lnTo>
                    <a:pt x="232" y="527"/>
                  </a:lnTo>
                  <a:lnTo>
                    <a:pt x="233" y="511"/>
                  </a:lnTo>
                  <a:lnTo>
                    <a:pt x="235" y="503"/>
                  </a:lnTo>
                  <a:lnTo>
                    <a:pt x="236" y="494"/>
                  </a:lnTo>
                  <a:lnTo>
                    <a:pt x="239" y="486"/>
                  </a:lnTo>
                  <a:lnTo>
                    <a:pt x="243" y="477"/>
                  </a:lnTo>
                  <a:lnTo>
                    <a:pt x="242" y="470"/>
                  </a:lnTo>
                  <a:lnTo>
                    <a:pt x="242" y="469"/>
                  </a:lnTo>
                  <a:lnTo>
                    <a:pt x="240" y="464"/>
                  </a:lnTo>
                  <a:lnTo>
                    <a:pt x="239" y="457"/>
                  </a:lnTo>
                  <a:lnTo>
                    <a:pt x="240" y="448"/>
                  </a:lnTo>
                  <a:lnTo>
                    <a:pt x="243" y="443"/>
                  </a:lnTo>
                  <a:lnTo>
                    <a:pt x="248" y="437"/>
                  </a:lnTo>
                  <a:lnTo>
                    <a:pt x="255" y="433"/>
                  </a:lnTo>
                  <a:lnTo>
                    <a:pt x="258" y="428"/>
                  </a:lnTo>
                  <a:lnTo>
                    <a:pt x="258" y="427"/>
                  </a:lnTo>
                  <a:lnTo>
                    <a:pt x="258" y="426"/>
                  </a:lnTo>
                  <a:lnTo>
                    <a:pt x="259" y="420"/>
                  </a:lnTo>
                  <a:lnTo>
                    <a:pt x="258" y="411"/>
                  </a:lnTo>
                  <a:lnTo>
                    <a:pt x="259" y="403"/>
                  </a:lnTo>
                  <a:lnTo>
                    <a:pt x="259" y="398"/>
                  </a:lnTo>
                  <a:lnTo>
                    <a:pt x="256" y="394"/>
                  </a:lnTo>
                  <a:lnTo>
                    <a:pt x="258" y="387"/>
                  </a:lnTo>
                  <a:lnTo>
                    <a:pt x="260" y="383"/>
                  </a:lnTo>
                  <a:lnTo>
                    <a:pt x="266" y="377"/>
                  </a:lnTo>
                  <a:lnTo>
                    <a:pt x="273" y="373"/>
                  </a:lnTo>
                  <a:lnTo>
                    <a:pt x="285" y="367"/>
                  </a:lnTo>
                  <a:close/>
                  <a:moveTo>
                    <a:pt x="399" y="287"/>
                  </a:moveTo>
                  <a:lnTo>
                    <a:pt x="399" y="287"/>
                  </a:lnTo>
                  <a:lnTo>
                    <a:pt x="397" y="284"/>
                  </a:lnTo>
                  <a:lnTo>
                    <a:pt x="391" y="284"/>
                  </a:lnTo>
                  <a:lnTo>
                    <a:pt x="387" y="285"/>
                  </a:lnTo>
                  <a:lnTo>
                    <a:pt x="384" y="288"/>
                  </a:lnTo>
                  <a:lnTo>
                    <a:pt x="384" y="289"/>
                  </a:lnTo>
                  <a:lnTo>
                    <a:pt x="389" y="291"/>
                  </a:lnTo>
                  <a:lnTo>
                    <a:pt x="392" y="291"/>
                  </a:lnTo>
                  <a:lnTo>
                    <a:pt x="391" y="294"/>
                  </a:lnTo>
                  <a:lnTo>
                    <a:pt x="389" y="295"/>
                  </a:lnTo>
                  <a:lnTo>
                    <a:pt x="389" y="297"/>
                  </a:lnTo>
                  <a:lnTo>
                    <a:pt x="389" y="297"/>
                  </a:lnTo>
                  <a:lnTo>
                    <a:pt x="389" y="300"/>
                  </a:lnTo>
                  <a:lnTo>
                    <a:pt x="388" y="300"/>
                  </a:lnTo>
                  <a:lnTo>
                    <a:pt x="387" y="297"/>
                  </a:lnTo>
                  <a:lnTo>
                    <a:pt x="382" y="294"/>
                  </a:lnTo>
                  <a:lnTo>
                    <a:pt x="382" y="297"/>
                  </a:lnTo>
                  <a:lnTo>
                    <a:pt x="385" y="301"/>
                  </a:lnTo>
                  <a:lnTo>
                    <a:pt x="387" y="302"/>
                  </a:lnTo>
                  <a:lnTo>
                    <a:pt x="392" y="304"/>
                  </a:lnTo>
                  <a:lnTo>
                    <a:pt x="391" y="302"/>
                  </a:lnTo>
                  <a:lnTo>
                    <a:pt x="391" y="300"/>
                  </a:lnTo>
                  <a:lnTo>
                    <a:pt x="398" y="300"/>
                  </a:lnTo>
                  <a:lnTo>
                    <a:pt x="402" y="301"/>
                  </a:lnTo>
                  <a:lnTo>
                    <a:pt x="404" y="297"/>
                  </a:lnTo>
                  <a:lnTo>
                    <a:pt x="404" y="292"/>
                  </a:lnTo>
                  <a:lnTo>
                    <a:pt x="402" y="289"/>
                  </a:lnTo>
                  <a:lnTo>
                    <a:pt x="399" y="287"/>
                  </a:lnTo>
                  <a:lnTo>
                    <a:pt x="399" y="287"/>
                  </a:lnTo>
                  <a:close/>
                  <a:moveTo>
                    <a:pt x="432" y="225"/>
                  </a:moveTo>
                  <a:lnTo>
                    <a:pt x="435" y="224"/>
                  </a:lnTo>
                  <a:lnTo>
                    <a:pt x="435" y="222"/>
                  </a:lnTo>
                  <a:lnTo>
                    <a:pt x="437" y="222"/>
                  </a:lnTo>
                  <a:lnTo>
                    <a:pt x="437" y="221"/>
                  </a:lnTo>
                  <a:lnTo>
                    <a:pt x="437" y="221"/>
                  </a:lnTo>
                  <a:lnTo>
                    <a:pt x="438" y="221"/>
                  </a:lnTo>
                  <a:lnTo>
                    <a:pt x="438" y="221"/>
                  </a:lnTo>
                  <a:lnTo>
                    <a:pt x="438" y="221"/>
                  </a:lnTo>
                  <a:lnTo>
                    <a:pt x="440" y="219"/>
                  </a:lnTo>
                  <a:lnTo>
                    <a:pt x="440" y="219"/>
                  </a:lnTo>
                  <a:lnTo>
                    <a:pt x="441" y="219"/>
                  </a:lnTo>
                  <a:lnTo>
                    <a:pt x="441" y="218"/>
                  </a:lnTo>
                  <a:lnTo>
                    <a:pt x="441" y="216"/>
                  </a:lnTo>
                  <a:lnTo>
                    <a:pt x="441" y="216"/>
                  </a:lnTo>
                  <a:lnTo>
                    <a:pt x="441" y="215"/>
                  </a:lnTo>
                  <a:lnTo>
                    <a:pt x="442" y="214"/>
                  </a:lnTo>
                  <a:lnTo>
                    <a:pt x="442" y="212"/>
                  </a:lnTo>
                  <a:lnTo>
                    <a:pt x="441" y="212"/>
                  </a:lnTo>
                  <a:lnTo>
                    <a:pt x="441" y="212"/>
                  </a:lnTo>
                  <a:lnTo>
                    <a:pt x="441" y="211"/>
                  </a:lnTo>
                  <a:lnTo>
                    <a:pt x="441" y="211"/>
                  </a:lnTo>
                  <a:lnTo>
                    <a:pt x="440" y="211"/>
                  </a:lnTo>
                  <a:lnTo>
                    <a:pt x="437" y="211"/>
                  </a:lnTo>
                  <a:lnTo>
                    <a:pt x="435" y="211"/>
                  </a:lnTo>
                  <a:lnTo>
                    <a:pt x="434" y="212"/>
                  </a:lnTo>
                  <a:lnTo>
                    <a:pt x="434" y="212"/>
                  </a:lnTo>
                  <a:lnTo>
                    <a:pt x="432" y="214"/>
                  </a:lnTo>
                  <a:lnTo>
                    <a:pt x="432" y="214"/>
                  </a:lnTo>
                  <a:lnTo>
                    <a:pt x="432" y="214"/>
                  </a:lnTo>
                  <a:lnTo>
                    <a:pt x="432" y="215"/>
                  </a:lnTo>
                  <a:lnTo>
                    <a:pt x="432" y="215"/>
                  </a:lnTo>
                  <a:lnTo>
                    <a:pt x="432" y="215"/>
                  </a:lnTo>
                  <a:lnTo>
                    <a:pt x="432" y="216"/>
                  </a:lnTo>
                  <a:lnTo>
                    <a:pt x="432" y="219"/>
                  </a:lnTo>
                  <a:lnTo>
                    <a:pt x="432" y="222"/>
                  </a:lnTo>
                  <a:lnTo>
                    <a:pt x="432" y="225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89" name="Freeform 37"/>
            <p:cNvSpPr>
              <a:spLocks/>
            </p:cNvSpPr>
            <p:nvPr/>
          </p:nvSpPr>
          <p:spPr bwMode="auto">
            <a:xfrm>
              <a:off x="1892806" y="4564821"/>
              <a:ext cx="257661" cy="418038"/>
            </a:xfrm>
            <a:custGeom>
              <a:avLst/>
              <a:gdLst>
                <a:gd name="T0" fmla="*/ 303 w 422"/>
                <a:gd name="T1" fmla="*/ 355 h 632"/>
                <a:gd name="T2" fmla="*/ 296 w 422"/>
                <a:gd name="T3" fmla="*/ 350 h 632"/>
                <a:gd name="T4" fmla="*/ 338 w 422"/>
                <a:gd name="T5" fmla="*/ 321 h 632"/>
                <a:gd name="T6" fmla="*/ 381 w 422"/>
                <a:gd name="T7" fmla="*/ 297 h 632"/>
                <a:gd name="T8" fmla="*/ 369 w 422"/>
                <a:gd name="T9" fmla="*/ 294 h 632"/>
                <a:gd name="T10" fmla="*/ 318 w 422"/>
                <a:gd name="T11" fmla="*/ 324 h 632"/>
                <a:gd name="T12" fmla="*/ 329 w 422"/>
                <a:gd name="T13" fmla="*/ 312 h 632"/>
                <a:gd name="T14" fmla="*/ 338 w 422"/>
                <a:gd name="T15" fmla="*/ 305 h 632"/>
                <a:gd name="T16" fmla="*/ 358 w 422"/>
                <a:gd name="T17" fmla="*/ 295 h 632"/>
                <a:gd name="T18" fmla="*/ 359 w 422"/>
                <a:gd name="T19" fmla="*/ 279 h 632"/>
                <a:gd name="T20" fmla="*/ 371 w 422"/>
                <a:gd name="T21" fmla="*/ 251 h 632"/>
                <a:gd name="T22" fmla="*/ 379 w 422"/>
                <a:gd name="T23" fmla="*/ 216 h 632"/>
                <a:gd name="T24" fmla="*/ 381 w 422"/>
                <a:gd name="T25" fmla="*/ 196 h 632"/>
                <a:gd name="T26" fmla="*/ 382 w 422"/>
                <a:gd name="T27" fmla="*/ 175 h 632"/>
                <a:gd name="T28" fmla="*/ 378 w 422"/>
                <a:gd name="T29" fmla="*/ 166 h 632"/>
                <a:gd name="T30" fmla="*/ 385 w 422"/>
                <a:gd name="T31" fmla="*/ 158 h 632"/>
                <a:gd name="T32" fmla="*/ 397 w 422"/>
                <a:gd name="T33" fmla="*/ 141 h 632"/>
                <a:gd name="T34" fmla="*/ 419 w 422"/>
                <a:gd name="T35" fmla="*/ 136 h 632"/>
                <a:gd name="T36" fmla="*/ 408 w 422"/>
                <a:gd name="T37" fmla="*/ 80 h 632"/>
                <a:gd name="T38" fmla="*/ 385 w 422"/>
                <a:gd name="T39" fmla="*/ 45 h 632"/>
                <a:gd name="T40" fmla="*/ 359 w 422"/>
                <a:gd name="T41" fmla="*/ 12 h 632"/>
                <a:gd name="T42" fmla="*/ 335 w 422"/>
                <a:gd name="T43" fmla="*/ 2 h 632"/>
                <a:gd name="T44" fmla="*/ 289 w 422"/>
                <a:gd name="T45" fmla="*/ 23 h 632"/>
                <a:gd name="T46" fmla="*/ 252 w 422"/>
                <a:gd name="T47" fmla="*/ 22 h 632"/>
                <a:gd name="T48" fmla="*/ 243 w 422"/>
                <a:gd name="T49" fmla="*/ 57 h 632"/>
                <a:gd name="T50" fmla="*/ 209 w 422"/>
                <a:gd name="T51" fmla="*/ 42 h 632"/>
                <a:gd name="T52" fmla="*/ 216 w 422"/>
                <a:gd name="T53" fmla="*/ 90 h 632"/>
                <a:gd name="T54" fmla="*/ 235 w 422"/>
                <a:gd name="T55" fmla="*/ 131 h 632"/>
                <a:gd name="T56" fmla="*/ 238 w 422"/>
                <a:gd name="T57" fmla="*/ 155 h 632"/>
                <a:gd name="T58" fmla="*/ 259 w 422"/>
                <a:gd name="T59" fmla="*/ 176 h 632"/>
                <a:gd name="T60" fmla="*/ 283 w 422"/>
                <a:gd name="T61" fmla="*/ 185 h 632"/>
                <a:gd name="T62" fmla="*/ 281 w 422"/>
                <a:gd name="T63" fmla="*/ 204 h 632"/>
                <a:gd name="T64" fmla="*/ 262 w 422"/>
                <a:gd name="T65" fmla="*/ 224 h 632"/>
                <a:gd name="T66" fmla="*/ 229 w 422"/>
                <a:gd name="T67" fmla="*/ 234 h 632"/>
                <a:gd name="T68" fmla="*/ 183 w 422"/>
                <a:gd name="T69" fmla="*/ 272 h 632"/>
                <a:gd name="T70" fmla="*/ 166 w 422"/>
                <a:gd name="T71" fmla="*/ 314 h 632"/>
                <a:gd name="T72" fmla="*/ 144 w 422"/>
                <a:gd name="T73" fmla="*/ 295 h 632"/>
                <a:gd name="T74" fmla="*/ 129 w 422"/>
                <a:gd name="T75" fmla="*/ 287 h 632"/>
                <a:gd name="T76" fmla="*/ 117 w 422"/>
                <a:gd name="T77" fmla="*/ 304 h 632"/>
                <a:gd name="T78" fmla="*/ 100 w 422"/>
                <a:gd name="T79" fmla="*/ 297 h 632"/>
                <a:gd name="T80" fmla="*/ 79 w 422"/>
                <a:gd name="T81" fmla="*/ 300 h 632"/>
                <a:gd name="T82" fmla="*/ 47 w 422"/>
                <a:gd name="T83" fmla="*/ 292 h 632"/>
                <a:gd name="T84" fmla="*/ 26 w 422"/>
                <a:gd name="T85" fmla="*/ 304 h 632"/>
                <a:gd name="T86" fmla="*/ 4 w 422"/>
                <a:gd name="T87" fmla="*/ 298 h 632"/>
                <a:gd name="T88" fmla="*/ 6 w 422"/>
                <a:gd name="T89" fmla="*/ 341 h 632"/>
                <a:gd name="T90" fmla="*/ 34 w 422"/>
                <a:gd name="T91" fmla="*/ 401 h 632"/>
                <a:gd name="T92" fmla="*/ 41 w 422"/>
                <a:gd name="T93" fmla="*/ 447 h 632"/>
                <a:gd name="T94" fmla="*/ 53 w 422"/>
                <a:gd name="T95" fmla="*/ 489 h 632"/>
                <a:gd name="T96" fmla="*/ 54 w 422"/>
                <a:gd name="T97" fmla="*/ 522 h 632"/>
                <a:gd name="T98" fmla="*/ 40 w 422"/>
                <a:gd name="T99" fmla="*/ 563 h 632"/>
                <a:gd name="T100" fmla="*/ 57 w 422"/>
                <a:gd name="T101" fmla="*/ 607 h 632"/>
                <a:gd name="T102" fmla="*/ 86 w 422"/>
                <a:gd name="T103" fmla="*/ 627 h 632"/>
                <a:gd name="T104" fmla="*/ 139 w 422"/>
                <a:gd name="T105" fmla="*/ 625 h 632"/>
                <a:gd name="T106" fmla="*/ 185 w 422"/>
                <a:gd name="T107" fmla="*/ 627 h 632"/>
                <a:gd name="T108" fmla="*/ 220 w 422"/>
                <a:gd name="T109" fmla="*/ 620 h 632"/>
                <a:gd name="T110" fmla="*/ 212 w 422"/>
                <a:gd name="T111" fmla="*/ 595 h 632"/>
                <a:gd name="T112" fmla="*/ 228 w 422"/>
                <a:gd name="T113" fmla="*/ 542 h 632"/>
                <a:gd name="T114" fmla="*/ 239 w 422"/>
                <a:gd name="T115" fmla="*/ 486 h 632"/>
                <a:gd name="T116" fmla="*/ 243 w 422"/>
                <a:gd name="T117" fmla="*/ 443 h 632"/>
                <a:gd name="T118" fmla="*/ 258 w 422"/>
                <a:gd name="T119" fmla="*/ 411 h 632"/>
                <a:gd name="T120" fmla="*/ 273 w 422"/>
                <a:gd name="T121" fmla="*/ 373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2" h="632">
                  <a:moveTo>
                    <a:pt x="285" y="367"/>
                  </a:moveTo>
                  <a:lnTo>
                    <a:pt x="295" y="365"/>
                  </a:lnTo>
                  <a:lnTo>
                    <a:pt x="301" y="363"/>
                  </a:lnTo>
                  <a:lnTo>
                    <a:pt x="303" y="357"/>
                  </a:lnTo>
                  <a:lnTo>
                    <a:pt x="303" y="355"/>
                  </a:lnTo>
                  <a:lnTo>
                    <a:pt x="303" y="355"/>
                  </a:lnTo>
                  <a:lnTo>
                    <a:pt x="303" y="355"/>
                  </a:lnTo>
                  <a:lnTo>
                    <a:pt x="302" y="355"/>
                  </a:lnTo>
                  <a:lnTo>
                    <a:pt x="301" y="355"/>
                  </a:lnTo>
                  <a:lnTo>
                    <a:pt x="301" y="355"/>
                  </a:lnTo>
                  <a:lnTo>
                    <a:pt x="298" y="355"/>
                  </a:lnTo>
                  <a:lnTo>
                    <a:pt x="296" y="355"/>
                  </a:lnTo>
                  <a:lnTo>
                    <a:pt x="295" y="353"/>
                  </a:lnTo>
                  <a:lnTo>
                    <a:pt x="296" y="350"/>
                  </a:lnTo>
                  <a:lnTo>
                    <a:pt x="299" y="348"/>
                  </a:lnTo>
                  <a:lnTo>
                    <a:pt x="303" y="344"/>
                  </a:lnTo>
                  <a:lnTo>
                    <a:pt x="308" y="341"/>
                  </a:lnTo>
                  <a:lnTo>
                    <a:pt x="312" y="338"/>
                  </a:lnTo>
                  <a:lnTo>
                    <a:pt x="322" y="332"/>
                  </a:lnTo>
                  <a:lnTo>
                    <a:pt x="335" y="322"/>
                  </a:lnTo>
                  <a:lnTo>
                    <a:pt x="338" y="321"/>
                  </a:lnTo>
                  <a:lnTo>
                    <a:pt x="349" y="315"/>
                  </a:lnTo>
                  <a:lnTo>
                    <a:pt x="371" y="308"/>
                  </a:lnTo>
                  <a:lnTo>
                    <a:pt x="378" y="307"/>
                  </a:lnTo>
                  <a:lnTo>
                    <a:pt x="379" y="304"/>
                  </a:lnTo>
                  <a:lnTo>
                    <a:pt x="381" y="302"/>
                  </a:lnTo>
                  <a:lnTo>
                    <a:pt x="382" y="300"/>
                  </a:lnTo>
                  <a:lnTo>
                    <a:pt x="381" y="297"/>
                  </a:lnTo>
                  <a:lnTo>
                    <a:pt x="379" y="294"/>
                  </a:lnTo>
                  <a:lnTo>
                    <a:pt x="376" y="294"/>
                  </a:lnTo>
                  <a:lnTo>
                    <a:pt x="375" y="292"/>
                  </a:lnTo>
                  <a:lnTo>
                    <a:pt x="372" y="292"/>
                  </a:lnTo>
                  <a:lnTo>
                    <a:pt x="372" y="294"/>
                  </a:lnTo>
                  <a:lnTo>
                    <a:pt x="371" y="294"/>
                  </a:lnTo>
                  <a:lnTo>
                    <a:pt x="369" y="294"/>
                  </a:lnTo>
                  <a:lnTo>
                    <a:pt x="369" y="295"/>
                  </a:lnTo>
                  <a:lnTo>
                    <a:pt x="366" y="295"/>
                  </a:lnTo>
                  <a:lnTo>
                    <a:pt x="359" y="298"/>
                  </a:lnTo>
                  <a:lnTo>
                    <a:pt x="349" y="304"/>
                  </a:lnTo>
                  <a:lnTo>
                    <a:pt x="338" y="311"/>
                  </a:lnTo>
                  <a:lnTo>
                    <a:pt x="326" y="318"/>
                  </a:lnTo>
                  <a:lnTo>
                    <a:pt x="318" y="324"/>
                  </a:lnTo>
                  <a:lnTo>
                    <a:pt x="315" y="324"/>
                  </a:lnTo>
                  <a:lnTo>
                    <a:pt x="315" y="321"/>
                  </a:lnTo>
                  <a:lnTo>
                    <a:pt x="318" y="320"/>
                  </a:lnTo>
                  <a:lnTo>
                    <a:pt x="321" y="317"/>
                  </a:lnTo>
                  <a:lnTo>
                    <a:pt x="322" y="317"/>
                  </a:lnTo>
                  <a:lnTo>
                    <a:pt x="325" y="314"/>
                  </a:lnTo>
                  <a:lnTo>
                    <a:pt x="329" y="312"/>
                  </a:lnTo>
                  <a:lnTo>
                    <a:pt x="331" y="310"/>
                  </a:lnTo>
                  <a:lnTo>
                    <a:pt x="331" y="308"/>
                  </a:lnTo>
                  <a:lnTo>
                    <a:pt x="332" y="307"/>
                  </a:lnTo>
                  <a:lnTo>
                    <a:pt x="334" y="307"/>
                  </a:lnTo>
                  <a:lnTo>
                    <a:pt x="335" y="307"/>
                  </a:lnTo>
                  <a:lnTo>
                    <a:pt x="336" y="305"/>
                  </a:lnTo>
                  <a:lnTo>
                    <a:pt x="338" y="305"/>
                  </a:lnTo>
                  <a:lnTo>
                    <a:pt x="339" y="304"/>
                  </a:lnTo>
                  <a:lnTo>
                    <a:pt x="341" y="301"/>
                  </a:lnTo>
                  <a:lnTo>
                    <a:pt x="344" y="300"/>
                  </a:lnTo>
                  <a:lnTo>
                    <a:pt x="346" y="298"/>
                  </a:lnTo>
                  <a:lnTo>
                    <a:pt x="352" y="298"/>
                  </a:lnTo>
                  <a:lnTo>
                    <a:pt x="358" y="297"/>
                  </a:lnTo>
                  <a:lnTo>
                    <a:pt x="358" y="295"/>
                  </a:lnTo>
                  <a:lnTo>
                    <a:pt x="358" y="292"/>
                  </a:lnTo>
                  <a:lnTo>
                    <a:pt x="358" y="288"/>
                  </a:lnTo>
                  <a:lnTo>
                    <a:pt x="358" y="287"/>
                  </a:lnTo>
                  <a:lnTo>
                    <a:pt x="359" y="285"/>
                  </a:lnTo>
                  <a:lnTo>
                    <a:pt x="359" y="285"/>
                  </a:lnTo>
                  <a:lnTo>
                    <a:pt x="359" y="281"/>
                  </a:lnTo>
                  <a:lnTo>
                    <a:pt x="359" y="279"/>
                  </a:lnTo>
                  <a:lnTo>
                    <a:pt x="361" y="277"/>
                  </a:lnTo>
                  <a:lnTo>
                    <a:pt x="362" y="274"/>
                  </a:lnTo>
                  <a:lnTo>
                    <a:pt x="364" y="269"/>
                  </a:lnTo>
                  <a:lnTo>
                    <a:pt x="365" y="268"/>
                  </a:lnTo>
                  <a:lnTo>
                    <a:pt x="366" y="262"/>
                  </a:lnTo>
                  <a:lnTo>
                    <a:pt x="366" y="258"/>
                  </a:lnTo>
                  <a:lnTo>
                    <a:pt x="371" y="251"/>
                  </a:lnTo>
                  <a:lnTo>
                    <a:pt x="374" y="241"/>
                  </a:lnTo>
                  <a:lnTo>
                    <a:pt x="379" y="231"/>
                  </a:lnTo>
                  <a:lnTo>
                    <a:pt x="382" y="226"/>
                  </a:lnTo>
                  <a:lnTo>
                    <a:pt x="382" y="224"/>
                  </a:lnTo>
                  <a:lnTo>
                    <a:pt x="382" y="221"/>
                  </a:lnTo>
                  <a:lnTo>
                    <a:pt x="381" y="218"/>
                  </a:lnTo>
                  <a:lnTo>
                    <a:pt x="379" y="216"/>
                  </a:lnTo>
                  <a:lnTo>
                    <a:pt x="378" y="216"/>
                  </a:lnTo>
                  <a:lnTo>
                    <a:pt x="375" y="214"/>
                  </a:lnTo>
                  <a:lnTo>
                    <a:pt x="374" y="214"/>
                  </a:lnTo>
                  <a:lnTo>
                    <a:pt x="374" y="209"/>
                  </a:lnTo>
                  <a:lnTo>
                    <a:pt x="374" y="204"/>
                  </a:lnTo>
                  <a:lnTo>
                    <a:pt x="378" y="199"/>
                  </a:lnTo>
                  <a:lnTo>
                    <a:pt x="381" y="196"/>
                  </a:lnTo>
                  <a:lnTo>
                    <a:pt x="384" y="192"/>
                  </a:lnTo>
                  <a:lnTo>
                    <a:pt x="384" y="191"/>
                  </a:lnTo>
                  <a:lnTo>
                    <a:pt x="384" y="188"/>
                  </a:lnTo>
                  <a:lnTo>
                    <a:pt x="382" y="185"/>
                  </a:lnTo>
                  <a:lnTo>
                    <a:pt x="381" y="181"/>
                  </a:lnTo>
                  <a:lnTo>
                    <a:pt x="382" y="176"/>
                  </a:lnTo>
                  <a:lnTo>
                    <a:pt x="382" y="175"/>
                  </a:lnTo>
                  <a:lnTo>
                    <a:pt x="382" y="173"/>
                  </a:lnTo>
                  <a:lnTo>
                    <a:pt x="382" y="172"/>
                  </a:lnTo>
                  <a:lnTo>
                    <a:pt x="381" y="172"/>
                  </a:lnTo>
                  <a:lnTo>
                    <a:pt x="381" y="171"/>
                  </a:lnTo>
                  <a:lnTo>
                    <a:pt x="378" y="168"/>
                  </a:lnTo>
                  <a:lnTo>
                    <a:pt x="379" y="168"/>
                  </a:lnTo>
                  <a:lnTo>
                    <a:pt x="378" y="166"/>
                  </a:lnTo>
                  <a:lnTo>
                    <a:pt x="376" y="165"/>
                  </a:lnTo>
                  <a:lnTo>
                    <a:pt x="378" y="162"/>
                  </a:lnTo>
                  <a:lnTo>
                    <a:pt x="379" y="162"/>
                  </a:lnTo>
                  <a:lnTo>
                    <a:pt x="381" y="162"/>
                  </a:lnTo>
                  <a:lnTo>
                    <a:pt x="384" y="161"/>
                  </a:lnTo>
                  <a:lnTo>
                    <a:pt x="385" y="159"/>
                  </a:lnTo>
                  <a:lnTo>
                    <a:pt x="385" y="158"/>
                  </a:lnTo>
                  <a:lnTo>
                    <a:pt x="387" y="155"/>
                  </a:lnTo>
                  <a:lnTo>
                    <a:pt x="387" y="152"/>
                  </a:lnTo>
                  <a:lnTo>
                    <a:pt x="387" y="151"/>
                  </a:lnTo>
                  <a:lnTo>
                    <a:pt x="388" y="148"/>
                  </a:lnTo>
                  <a:lnTo>
                    <a:pt x="391" y="145"/>
                  </a:lnTo>
                  <a:lnTo>
                    <a:pt x="392" y="142"/>
                  </a:lnTo>
                  <a:lnTo>
                    <a:pt x="397" y="141"/>
                  </a:lnTo>
                  <a:lnTo>
                    <a:pt x="401" y="139"/>
                  </a:lnTo>
                  <a:lnTo>
                    <a:pt x="407" y="139"/>
                  </a:lnTo>
                  <a:lnTo>
                    <a:pt x="409" y="139"/>
                  </a:lnTo>
                  <a:lnTo>
                    <a:pt x="415" y="139"/>
                  </a:lnTo>
                  <a:lnTo>
                    <a:pt x="419" y="139"/>
                  </a:lnTo>
                  <a:lnTo>
                    <a:pt x="422" y="139"/>
                  </a:lnTo>
                  <a:lnTo>
                    <a:pt x="419" y="136"/>
                  </a:lnTo>
                  <a:lnTo>
                    <a:pt x="421" y="132"/>
                  </a:lnTo>
                  <a:lnTo>
                    <a:pt x="419" y="128"/>
                  </a:lnTo>
                  <a:lnTo>
                    <a:pt x="417" y="122"/>
                  </a:lnTo>
                  <a:lnTo>
                    <a:pt x="415" y="115"/>
                  </a:lnTo>
                  <a:lnTo>
                    <a:pt x="412" y="96"/>
                  </a:lnTo>
                  <a:lnTo>
                    <a:pt x="411" y="88"/>
                  </a:lnTo>
                  <a:lnTo>
                    <a:pt x="408" y="80"/>
                  </a:lnTo>
                  <a:lnTo>
                    <a:pt x="407" y="73"/>
                  </a:lnTo>
                  <a:lnTo>
                    <a:pt x="405" y="67"/>
                  </a:lnTo>
                  <a:lnTo>
                    <a:pt x="404" y="62"/>
                  </a:lnTo>
                  <a:lnTo>
                    <a:pt x="398" y="56"/>
                  </a:lnTo>
                  <a:lnTo>
                    <a:pt x="394" y="52"/>
                  </a:lnTo>
                  <a:lnTo>
                    <a:pt x="392" y="49"/>
                  </a:lnTo>
                  <a:lnTo>
                    <a:pt x="385" y="45"/>
                  </a:lnTo>
                  <a:lnTo>
                    <a:pt x="381" y="40"/>
                  </a:lnTo>
                  <a:lnTo>
                    <a:pt x="379" y="36"/>
                  </a:lnTo>
                  <a:lnTo>
                    <a:pt x="376" y="30"/>
                  </a:lnTo>
                  <a:lnTo>
                    <a:pt x="372" y="20"/>
                  </a:lnTo>
                  <a:lnTo>
                    <a:pt x="366" y="13"/>
                  </a:lnTo>
                  <a:lnTo>
                    <a:pt x="362" y="12"/>
                  </a:lnTo>
                  <a:lnTo>
                    <a:pt x="359" y="12"/>
                  </a:lnTo>
                  <a:lnTo>
                    <a:pt x="355" y="13"/>
                  </a:lnTo>
                  <a:lnTo>
                    <a:pt x="351" y="12"/>
                  </a:lnTo>
                  <a:lnTo>
                    <a:pt x="349" y="7"/>
                  </a:lnTo>
                  <a:lnTo>
                    <a:pt x="351" y="0"/>
                  </a:lnTo>
                  <a:lnTo>
                    <a:pt x="351" y="0"/>
                  </a:lnTo>
                  <a:lnTo>
                    <a:pt x="346" y="0"/>
                  </a:lnTo>
                  <a:lnTo>
                    <a:pt x="335" y="2"/>
                  </a:lnTo>
                  <a:lnTo>
                    <a:pt x="331" y="3"/>
                  </a:lnTo>
                  <a:lnTo>
                    <a:pt x="329" y="10"/>
                  </a:lnTo>
                  <a:lnTo>
                    <a:pt x="325" y="20"/>
                  </a:lnTo>
                  <a:lnTo>
                    <a:pt x="321" y="22"/>
                  </a:lnTo>
                  <a:lnTo>
                    <a:pt x="316" y="22"/>
                  </a:lnTo>
                  <a:lnTo>
                    <a:pt x="311" y="20"/>
                  </a:lnTo>
                  <a:lnTo>
                    <a:pt x="289" y="23"/>
                  </a:lnTo>
                  <a:lnTo>
                    <a:pt x="278" y="23"/>
                  </a:lnTo>
                  <a:lnTo>
                    <a:pt x="281" y="13"/>
                  </a:lnTo>
                  <a:lnTo>
                    <a:pt x="275" y="10"/>
                  </a:lnTo>
                  <a:lnTo>
                    <a:pt x="262" y="9"/>
                  </a:lnTo>
                  <a:lnTo>
                    <a:pt x="259" y="12"/>
                  </a:lnTo>
                  <a:lnTo>
                    <a:pt x="253" y="16"/>
                  </a:lnTo>
                  <a:lnTo>
                    <a:pt x="252" y="22"/>
                  </a:lnTo>
                  <a:lnTo>
                    <a:pt x="259" y="27"/>
                  </a:lnTo>
                  <a:lnTo>
                    <a:pt x="262" y="32"/>
                  </a:lnTo>
                  <a:lnTo>
                    <a:pt x="263" y="36"/>
                  </a:lnTo>
                  <a:lnTo>
                    <a:pt x="262" y="45"/>
                  </a:lnTo>
                  <a:lnTo>
                    <a:pt x="259" y="50"/>
                  </a:lnTo>
                  <a:lnTo>
                    <a:pt x="256" y="52"/>
                  </a:lnTo>
                  <a:lnTo>
                    <a:pt x="243" y="57"/>
                  </a:lnTo>
                  <a:lnTo>
                    <a:pt x="240" y="56"/>
                  </a:lnTo>
                  <a:lnTo>
                    <a:pt x="236" y="52"/>
                  </a:lnTo>
                  <a:lnTo>
                    <a:pt x="232" y="49"/>
                  </a:lnTo>
                  <a:lnTo>
                    <a:pt x="228" y="42"/>
                  </a:lnTo>
                  <a:lnTo>
                    <a:pt x="218" y="36"/>
                  </a:lnTo>
                  <a:lnTo>
                    <a:pt x="215" y="37"/>
                  </a:lnTo>
                  <a:lnTo>
                    <a:pt x="209" y="42"/>
                  </a:lnTo>
                  <a:lnTo>
                    <a:pt x="215" y="49"/>
                  </a:lnTo>
                  <a:lnTo>
                    <a:pt x="218" y="55"/>
                  </a:lnTo>
                  <a:lnTo>
                    <a:pt x="228" y="65"/>
                  </a:lnTo>
                  <a:lnTo>
                    <a:pt x="235" y="73"/>
                  </a:lnTo>
                  <a:lnTo>
                    <a:pt x="232" y="78"/>
                  </a:lnTo>
                  <a:lnTo>
                    <a:pt x="226" y="82"/>
                  </a:lnTo>
                  <a:lnTo>
                    <a:pt x="216" y="90"/>
                  </a:lnTo>
                  <a:lnTo>
                    <a:pt x="213" y="89"/>
                  </a:lnTo>
                  <a:lnTo>
                    <a:pt x="207" y="93"/>
                  </a:lnTo>
                  <a:lnTo>
                    <a:pt x="218" y="103"/>
                  </a:lnTo>
                  <a:lnTo>
                    <a:pt x="216" y="108"/>
                  </a:lnTo>
                  <a:lnTo>
                    <a:pt x="219" y="112"/>
                  </a:lnTo>
                  <a:lnTo>
                    <a:pt x="229" y="123"/>
                  </a:lnTo>
                  <a:lnTo>
                    <a:pt x="235" y="131"/>
                  </a:lnTo>
                  <a:lnTo>
                    <a:pt x="238" y="133"/>
                  </a:lnTo>
                  <a:lnTo>
                    <a:pt x="240" y="138"/>
                  </a:lnTo>
                  <a:lnTo>
                    <a:pt x="252" y="148"/>
                  </a:lnTo>
                  <a:lnTo>
                    <a:pt x="252" y="155"/>
                  </a:lnTo>
                  <a:lnTo>
                    <a:pt x="245" y="155"/>
                  </a:lnTo>
                  <a:lnTo>
                    <a:pt x="239" y="153"/>
                  </a:lnTo>
                  <a:lnTo>
                    <a:pt x="238" y="155"/>
                  </a:lnTo>
                  <a:lnTo>
                    <a:pt x="236" y="161"/>
                  </a:lnTo>
                  <a:lnTo>
                    <a:pt x="238" y="169"/>
                  </a:lnTo>
                  <a:lnTo>
                    <a:pt x="240" y="171"/>
                  </a:lnTo>
                  <a:lnTo>
                    <a:pt x="246" y="169"/>
                  </a:lnTo>
                  <a:lnTo>
                    <a:pt x="253" y="171"/>
                  </a:lnTo>
                  <a:lnTo>
                    <a:pt x="258" y="175"/>
                  </a:lnTo>
                  <a:lnTo>
                    <a:pt x="259" y="176"/>
                  </a:lnTo>
                  <a:lnTo>
                    <a:pt x="262" y="173"/>
                  </a:lnTo>
                  <a:lnTo>
                    <a:pt x="268" y="171"/>
                  </a:lnTo>
                  <a:lnTo>
                    <a:pt x="273" y="176"/>
                  </a:lnTo>
                  <a:lnTo>
                    <a:pt x="279" y="171"/>
                  </a:lnTo>
                  <a:lnTo>
                    <a:pt x="289" y="179"/>
                  </a:lnTo>
                  <a:lnTo>
                    <a:pt x="286" y="184"/>
                  </a:lnTo>
                  <a:lnTo>
                    <a:pt x="283" y="185"/>
                  </a:lnTo>
                  <a:lnTo>
                    <a:pt x="281" y="189"/>
                  </a:lnTo>
                  <a:lnTo>
                    <a:pt x="276" y="192"/>
                  </a:lnTo>
                  <a:lnTo>
                    <a:pt x="275" y="195"/>
                  </a:lnTo>
                  <a:lnTo>
                    <a:pt x="275" y="196"/>
                  </a:lnTo>
                  <a:lnTo>
                    <a:pt x="275" y="199"/>
                  </a:lnTo>
                  <a:lnTo>
                    <a:pt x="275" y="199"/>
                  </a:lnTo>
                  <a:lnTo>
                    <a:pt x="281" y="204"/>
                  </a:lnTo>
                  <a:lnTo>
                    <a:pt x="283" y="205"/>
                  </a:lnTo>
                  <a:lnTo>
                    <a:pt x="285" y="212"/>
                  </a:lnTo>
                  <a:lnTo>
                    <a:pt x="285" y="218"/>
                  </a:lnTo>
                  <a:lnTo>
                    <a:pt x="285" y="224"/>
                  </a:lnTo>
                  <a:lnTo>
                    <a:pt x="272" y="222"/>
                  </a:lnTo>
                  <a:lnTo>
                    <a:pt x="272" y="222"/>
                  </a:lnTo>
                  <a:lnTo>
                    <a:pt x="262" y="224"/>
                  </a:lnTo>
                  <a:lnTo>
                    <a:pt x="249" y="224"/>
                  </a:lnTo>
                  <a:lnTo>
                    <a:pt x="249" y="224"/>
                  </a:lnTo>
                  <a:lnTo>
                    <a:pt x="245" y="225"/>
                  </a:lnTo>
                  <a:lnTo>
                    <a:pt x="240" y="228"/>
                  </a:lnTo>
                  <a:lnTo>
                    <a:pt x="232" y="234"/>
                  </a:lnTo>
                  <a:lnTo>
                    <a:pt x="232" y="234"/>
                  </a:lnTo>
                  <a:lnTo>
                    <a:pt x="229" y="234"/>
                  </a:lnTo>
                  <a:lnTo>
                    <a:pt x="225" y="234"/>
                  </a:lnTo>
                  <a:lnTo>
                    <a:pt x="220" y="234"/>
                  </a:lnTo>
                  <a:lnTo>
                    <a:pt x="216" y="235"/>
                  </a:lnTo>
                  <a:lnTo>
                    <a:pt x="212" y="244"/>
                  </a:lnTo>
                  <a:lnTo>
                    <a:pt x="206" y="251"/>
                  </a:lnTo>
                  <a:lnTo>
                    <a:pt x="196" y="265"/>
                  </a:lnTo>
                  <a:lnTo>
                    <a:pt x="183" y="272"/>
                  </a:lnTo>
                  <a:lnTo>
                    <a:pt x="176" y="278"/>
                  </a:lnTo>
                  <a:lnTo>
                    <a:pt x="179" y="282"/>
                  </a:lnTo>
                  <a:lnTo>
                    <a:pt x="186" y="287"/>
                  </a:lnTo>
                  <a:lnTo>
                    <a:pt x="182" y="295"/>
                  </a:lnTo>
                  <a:lnTo>
                    <a:pt x="175" y="292"/>
                  </a:lnTo>
                  <a:lnTo>
                    <a:pt x="173" y="294"/>
                  </a:lnTo>
                  <a:lnTo>
                    <a:pt x="166" y="314"/>
                  </a:lnTo>
                  <a:lnTo>
                    <a:pt x="162" y="312"/>
                  </a:lnTo>
                  <a:lnTo>
                    <a:pt x="154" y="310"/>
                  </a:lnTo>
                  <a:lnTo>
                    <a:pt x="152" y="307"/>
                  </a:lnTo>
                  <a:lnTo>
                    <a:pt x="152" y="302"/>
                  </a:lnTo>
                  <a:lnTo>
                    <a:pt x="153" y="297"/>
                  </a:lnTo>
                  <a:lnTo>
                    <a:pt x="149" y="297"/>
                  </a:lnTo>
                  <a:lnTo>
                    <a:pt x="144" y="295"/>
                  </a:lnTo>
                  <a:lnTo>
                    <a:pt x="142" y="295"/>
                  </a:lnTo>
                  <a:lnTo>
                    <a:pt x="139" y="292"/>
                  </a:lnTo>
                  <a:lnTo>
                    <a:pt x="137" y="291"/>
                  </a:lnTo>
                  <a:lnTo>
                    <a:pt x="137" y="288"/>
                  </a:lnTo>
                  <a:lnTo>
                    <a:pt x="133" y="287"/>
                  </a:lnTo>
                  <a:lnTo>
                    <a:pt x="132" y="287"/>
                  </a:lnTo>
                  <a:lnTo>
                    <a:pt x="129" y="287"/>
                  </a:lnTo>
                  <a:lnTo>
                    <a:pt x="127" y="287"/>
                  </a:lnTo>
                  <a:lnTo>
                    <a:pt x="124" y="288"/>
                  </a:lnTo>
                  <a:lnTo>
                    <a:pt x="123" y="288"/>
                  </a:lnTo>
                  <a:lnTo>
                    <a:pt x="120" y="289"/>
                  </a:lnTo>
                  <a:lnTo>
                    <a:pt x="117" y="294"/>
                  </a:lnTo>
                  <a:lnTo>
                    <a:pt x="117" y="295"/>
                  </a:lnTo>
                  <a:lnTo>
                    <a:pt x="117" y="304"/>
                  </a:lnTo>
                  <a:lnTo>
                    <a:pt x="117" y="304"/>
                  </a:lnTo>
                  <a:lnTo>
                    <a:pt x="114" y="304"/>
                  </a:lnTo>
                  <a:lnTo>
                    <a:pt x="113" y="304"/>
                  </a:lnTo>
                  <a:lnTo>
                    <a:pt x="109" y="301"/>
                  </a:lnTo>
                  <a:lnTo>
                    <a:pt x="107" y="300"/>
                  </a:lnTo>
                  <a:lnTo>
                    <a:pt x="103" y="298"/>
                  </a:lnTo>
                  <a:lnTo>
                    <a:pt x="100" y="297"/>
                  </a:lnTo>
                  <a:lnTo>
                    <a:pt x="96" y="297"/>
                  </a:lnTo>
                  <a:lnTo>
                    <a:pt x="94" y="297"/>
                  </a:lnTo>
                  <a:lnTo>
                    <a:pt x="91" y="300"/>
                  </a:lnTo>
                  <a:lnTo>
                    <a:pt x="87" y="301"/>
                  </a:lnTo>
                  <a:lnTo>
                    <a:pt x="86" y="302"/>
                  </a:lnTo>
                  <a:lnTo>
                    <a:pt x="83" y="301"/>
                  </a:lnTo>
                  <a:lnTo>
                    <a:pt x="79" y="300"/>
                  </a:lnTo>
                  <a:lnTo>
                    <a:pt x="74" y="297"/>
                  </a:lnTo>
                  <a:lnTo>
                    <a:pt x="70" y="297"/>
                  </a:lnTo>
                  <a:lnTo>
                    <a:pt x="61" y="295"/>
                  </a:lnTo>
                  <a:lnTo>
                    <a:pt x="59" y="294"/>
                  </a:lnTo>
                  <a:lnTo>
                    <a:pt x="57" y="294"/>
                  </a:lnTo>
                  <a:lnTo>
                    <a:pt x="54" y="294"/>
                  </a:lnTo>
                  <a:lnTo>
                    <a:pt x="47" y="292"/>
                  </a:lnTo>
                  <a:lnTo>
                    <a:pt x="43" y="292"/>
                  </a:lnTo>
                  <a:lnTo>
                    <a:pt x="43" y="292"/>
                  </a:lnTo>
                  <a:lnTo>
                    <a:pt x="40" y="294"/>
                  </a:lnTo>
                  <a:lnTo>
                    <a:pt x="37" y="295"/>
                  </a:lnTo>
                  <a:lnTo>
                    <a:pt x="31" y="301"/>
                  </a:lnTo>
                  <a:lnTo>
                    <a:pt x="28" y="302"/>
                  </a:lnTo>
                  <a:lnTo>
                    <a:pt x="26" y="304"/>
                  </a:lnTo>
                  <a:lnTo>
                    <a:pt x="23" y="304"/>
                  </a:lnTo>
                  <a:lnTo>
                    <a:pt x="20" y="302"/>
                  </a:lnTo>
                  <a:lnTo>
                    <a:pt x="20" y="302"/>
                  </a:lnTo>
                  <a:lnTo>
                    <a:pt x="16" y="298"/>
                  </a:lnTo>
                  <a:lnTo>
                    <a:pt x="11" y="297"/>
                  </a:lnTo>
                  <a:lnTo>
                    <a:pt x="7" y="297"/>
                  </a:lnTo>
                  <a:lnTo>
                    <a:pt x="4" y="298"/>
                  </a:lnTo>
                  <a:lnTo>
                    <a:pt x="3" y="300"/>
                  </a:lnTo>
                  <a:lnTo>
                    <a:pt x="0" y="304"/>
                  </a:lnTo>
                  <a:lnTo>
                    <a:pt x="0" y="308"/>
                  </a:lnTo>
                  <a:lnTo>
                    <a:pt x="0" y="314"/>
                  </a:lnTo>
                  <a:lnTo>
                    <a:pt x="0" y="314"/>
                  </a:lnTo>
                  <a:lnTo>
                    <a:pt x="3" y="327"/>
                  </a:lnTo>
                  <a:lnTo>
                    <a:pt x="6" y="341"/>
                  </a:lnTo>
                  <a:lnTo>
                    <a:pt x="14" y="365"/>
                  </a:lnTo>
                  <a:lnTo>
                    <a:pt x="14" y="365"/>
                  </a:lnTo>
                  <a:lnTo>
                    <a:pt x="18" y="374"/>
                  </a:lnTo>
                  <a:lnTo>
                    <a:pt x="26" y="384"/>
                  </a:lnTo>
                  <a:lnTo>
                    <a:pt x="33" y="393"/>
                  </a:lnTo>
                  <a:lnTo>
                    <a:pt x="34" y="397"/>
                  </a:lnTo>
                  <a:lnTo>
                    <a:pt x="34" y="401"/>
                  </a:lnTo>
                  <a:lnTo>
                    <a:pt x="34" y="401"/>
                  </a:lnTo>
                  <a:lnTo>
                    <a:pt x="34" y="413"/>
                  </a:lnTo>
                  <a:lnTo>
                    <a:pt x="34" y="418"/>
                  </a:lnTo>
                  <a:lnTo>
                    <a:pt x="36" y="424"/>
                  </a:lnTo>
                  <a:lnTo>
                    <a:pt x="38" y="431"/>
                  </a:lnTo>
                  <a:lnTo>
                    <a:pt x="40" y="440"/>
                  </a:lnTo>
                  <a:lnTo>
                    <a:pt x="41" y="447"/>
                  </a:lnTo>
                  <a:lnTo>
                    <a:pt x="50" y="454"/>
                  </a:lnTo>
                  <a:lnTo>
                    <a:pt x="56" y="457"/>
                  </a:lnTo>
                  <a:lnTo>
                    <a:pt x="56" y="460"/>
                  </a:lnTo>
                  <a:lnTo>
                    <a:pt x="54" y="470"/>
                  </a:lnTo>
                  <a:lnTo>
                    <a:pt x="53" y="477"/>
                  </a:lnTo>
                  <a:lnTo>
                    <a:pt x="53" y="483"/>
                  </a:lnTo>
                  <a:lnTo>
                    <a:pt x="53" y="489"/>
                  </a:lnTo>
                  <a:lnTo>
                    <a:pt x="50" y="493"/>
                  </a:lnTo>
                  <a:lnTo>
                    <a:pt x="50" y="497"/>
                  </a:lnTo>
                  <a:lnTo>
                    <a:pt x="50" y="506"/>
                  </a:lnTo>
                  <a:lnTo>
                    <a:pt x="46" y="514"/>
                  </a:lnTo>
                  <a:lnTo>
                    <a:pt x="49" y="517"/>
                  </a:lnTo>
                  <a:lnTo>
                    <a:pt x="53" y="519"/>
                  </a:lnTo>
                  <a:lnTo>
                    <a:pt x="54" y="522"/>
                  </a:lnTo>
                  <a:lnTo>
                    <a:pt x="54" y="526"/>
                  </a:lnTo>
                  <a:lnTo>
                    <a:pt x="53" y="527"/>
                  </a:lnTo>
                  <a:lnTo>
                    <a:pt x="50" y="534"/>
                  </a:lnTo>
                  <a:lnTo>
                    <a:pt x="49" y="544"/>
                  </a:lnTo>
                  <a:lnTo>
                    <a:pt x="43" y="553"/>
                  </a:lnTo>
                  <a:lnTo>
                    <a:pt x="40" y="560"/>
                  </a:lnTo>
                  <a:lnTo>
                    <a:pt x="40" y="563"/>
                  </a:lnTo>
                  <a:lnTo>
                    <a:pt x="40" y="572"/>
                  </a:lnTo>
                  <a:lnTo>
                    <a:pt x="41" y="579"/>
                  </a:lnTo>
                  <a:lnTo>
                    <a:pt x="46" y="585"/>
                  </a:lnTo>
                  <a:lnTo>
                    <a:pt x="47" y="590"/>
                  </a:lnTo>
                  <a:lnTo>
                    <a:pt x="49" y="596"/>
                  </a:lnTo>
                  <a:lnTo>
                    <a:pt x="50" y="602"/>
                  </a:lnTo>
                  <a:lnTo>
                    <a:pt x="57" y="607"/>
                  </a:lnTo>
                  <a:lnTo>
                    <a:pt x="63" y="613"/>
                  </a:lnTo>
                  <a:lnTo>
                    <a:pt x="64" y="617"/>
                  </a:lnTo>
                  <a:lnTo>
                    <a:pt x="64" y="620"/>
                  </a:lnTo>
                  <a:lnTo>
                    <a:pt x="67" y="626"/>
                  </a:lnTo>
                  <a:lnTo>
                    <a:pt x="74" y="632"/>
                  </a:lnTo>
                  <a:lnTo>
                    <a:pt x="79" y="632"/>
                  </a:lnTo>
                  <a:lnTo>
                    <a:pt x="86" y="627"/>
                  </a:lnTo>
                  <a:lnTo>
                    <a:pt x="90" y="626"/>
                  </a:lnTo>
                  <a:lnTo>
                    <a:pt x="97" y="623"/>
                  </a:lnTo>
                  <a:lnTo>
                    <a:pt x="104" y="622"/>
                  </a:lnTo>
                  <a:lnTo>
                    <a:pt x="110" y="622"/>
                  </a:lnTo>
                  <a:lnTo>
                    <a:pt x="116" y="622"/>
                  </a:lnTo>
                  <a:lnTo>
                    <a:pt x="123" y="622"/>
                  </a:lnTo>
                  <a:lnTo>
                    <a:pt x="139" y="625"/>
                  </a:lnTo>
                  <a:lnTo>
                    <a:pt x="139" y="625"/>
                  </a:lnTo>
                  <a:lnTo>
                    <a:pt x="150" y="625"/>
                  </a:lnTo>
                  <a:lnTo>
                    <a:pt x="160" y="626"/>
                  </a:lnTo>
                  <a:lnTo>
                    <a:pt x="170" y="627"/>
                  </a:lnTo>
                  <a:lnTo>
                    <a:pt x="179" y="629"/>
                  </a:lnTo>
                  <a:lnTo>
                    <a:pt x="179" y="629"/>
                  </a:lnTo>
                  <a:lnTo>
                    <a:pt x="185" y="627"/>
                  </a:lnTo>
                  <a:lnTo>
                    <a:pt x="189" y="626"/>
                  </a:lnTo>
                  <a:lnTo>
                    <a:pt x="199" y="623"/>
                  </a:lnTo>
                  <a:lnTo>
                    <a:pt x="199" y="623"/>
                  </a:lnTo>
                  <a:lnTo>
                    <a:pt x="203" y="622"/>
                  </a:lnTo>
                  <a:lnTo>
                    <a:pt x="207" y="622"/>
                  </a:lnTo>
                  <a:lnTo>
                    <a:pt x="218" y="622"/>
                  </a:lnTo>
                  <a:lnTo>
                    <a:pt x="220" y="620"/>
                  </a:lnTo>
                  <a:lnTo>
                    <a:pt x="220" y="613"/>
                  </a:lnTo>
                  <a:lnTo>
                    <a:pt x="219" y="612"/>
                  </a:lnTo>
                  <a:lnTo>
                    <a:pt x="218" y="609"/>
                  </a:lnTo>
                  <a:lnTo>
                    <a:pt x="216" y="606"/>
                  </a:lnTo>
                  <a:lnTo>
                    <a:pt x="216" y="606"/>
                  </a:lnTo>
                  <a:lnTo>
                    <a:pt x="215" y="602"/>
                  </a:lnTo>
                  <a:lnTo>
                    <a:pt x="212" y="595"/>
                  </a:lnTo>
                  <a:lnTo>
                    <a:pt x="213" y="589"/>
                  </a:lnTo>
                  <a:lnTo>
                    <a:pt x="216" y="582"/>
                  </a:lnTo>
                  <a:lnTo>
                    <a:pt x="220" y="573"/>
                  </a:lnTo>
                  <a:lnTo>
                    <a:pt x="222" y="564"/>
                  </a:lnTo>
                  <a:lnTo>
                    <a:pt x="223" y="556"/>
                  </a:lnTo>
                  <a:lnTo>
                    <a:pt x="225" y="547"/>
                  </a:lnTo>
                  <a:lnTo>
                    <a:pt x="228" y="542"/>
                  </a:lnTo>
                  <a:lnTo>
                    <a:pt x="230" y="533"/>
                  </a:lnTo>
                  <a:lnTo>
                    <a:pt x="230" y="530"/>
                  </a:lnTo>
                  <a:lnTo>
                    <a:pt x="232" y="527"/>
                  </a:lnTo>
                  <a:lnTo>
                    <a:pt x="233" y="511"/>
                  </a:lnTo>
                  <a:lnTo>
                    <a:pt x="235" y="503"/>
                  </a:lnTo>
                  <a:lnTo>
                    <a:pt x="236" y="494"/>
                  </a:lnTo>
                  <a:lnTo>
                    <a:pt x="239" y="486"/>
                  </a:lnTo>
                  <a:lnTo>
                    <a:pt x="243" y="477"/>
                  </a:lnTo>
                  <a:lnTo>
                    <a:pt x="242" y="470"/>
                  </a:lnTo>
                  <a:lnTo>
                    <a:pt x="242" y="469"/>
                  </a:lnTo>
                  <a:lnTo>
                    <a:pt x="240" y="464"/>
                  </a:lnTo>
                  <a:lnTo>
                    <a:pt x="239" y="457"/>
                  </a:lnTo>
                  <a:lnTo>
                    <a:pt x="240" y="448"/>
                  </a:lnTo>
                  <a:lnTo>
                    <a:pt x="243" y="443"/>
                  </a:lnTo>
                  <a:lnTo>
                    <a:pt x="248" y="437"/>
                  </a:lnTo>
                  <a:lnTo>
                    <a:pt x="255" y="433"/>
                  </a:lnTo>
                  <a:lnTo>
                    <a:pt x="258" y="428"/>
                  </a:lnTo>
                  <a:lnTo>
                    <a:pt x="258" y="427"/>
                  </a:lnTo>
                  <a:lnTo>
                    <a:pt x="258" y="426"/>
                  </a:lnTo>
                  <a:lnTo>
                    <a:pt x="259" y="420"/>
                  </a:lnTo>
                  <a:lnTo>
                    <a:pt x="258" y="411"/>
                  </a:lnTo>
                  <a:lnTo>
                    <a:pt x="259" y="403"/>
                  </a:lnTo>
                  <a:lnTo>
                    <a:pt x="259" y="398"/>
                  </a:lnTo>
                  <a:lnTo>
                    <a:pt x="256" y="394"/>
                  </a:lnTo>
                  <a:lnTo>
                    <a:pt x="258" y="387"/>
                  </a:lnTo>
                  <a:lnTo>
                    <a:pt x="260" y="383"/>
                  </a:lnTo>
                  <a:lnTo>
                    <a:pt x="266" y="377"/>
                  </a:lnTo>
                  <a:lnTo>
                    <a:pt x="273" y="373"/>
                  </a:lnTo>
                  <a:lnTo>
                    <a:pt x="285" y="367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90" name="Freeform 38"/>
            <p:cNvSpPr>
              <a:spLocks/>
            </p:cNvSpPr>
            <p:nvPr/>
          </p:nvSpPr>
          <p:spPr bwMode="auto">
            <a:xfrm>
              <a:off x="2126044" y="4752673"/>
              <a:ext cx="13433" cy="13229"/>
            </a:xfrm>
            <a:custGeom>
              <a:avLst/>
              <a:gdLst>
                <a:gd name="T0" fmla="*/ 17 w 22"/>
                <a:gd name="T1" fmla="*/ 3 h 20"/>
                <a:gd name="T2" fmla="*/ 17 w 22"/>
                <a:gd name="T3" fmla="*/ 3 h 20"/>
                <a:gd name="T4" fmla="*/ 15 w 22"/>
                <a:gd name="T5" fmla="*/ 0 h 20"/>
                <a:gd name="T6" fmla="*/ 9 w 22"/>
                <a:gd name="T7" fmla="*/ 0 h 20"/>
                <a:gd name="T8" fmla="*/ 5 w 22"/>
                <a:gd name="T9" fmla="*/ 1 h 20"/>
                <a:gd name="T10" fmla="*/ 2 w 22"/>
                <a:gd name="T11" fmla="*/ 4 h 20"/>
                <a:gd name="T12" fmla="*/ 2 w 22"/>
                <a:gd name="T13" fmla="*/ 5 h 20"/>
                <a:gd name="T14" fmla="*/ 7 w 22"/>
                <a:gd name="T15" fmla="*/ 7 h 20"/>
                <a:gd name="T16" fmla="*/ 10 w 22"/>
                <a:gd name="T17" fmla="*/ 7 h 20"/>
                <a:gd name="T18" fmla="*/ 9 w 22"/>
                <a:gd name="T19" fmla="*/ 10 h 20"/>
                <a:gd name="T20" fmla="*/ 7 w 22"/>
                <a:gd name="T21" fmla="*/ 11 h 20"/>
                <a:gd name="T22" fmla="*/ 7 w 22"/>
                <a:gd name="T23" fmla="*/ 13 h 20"/>
                <a:gd name="T24" fmla="*/ 7 w 22"/>
                <a:gd name="T25" fmla="*/ 13 h 20"/>
                <a:gd name="T26" fmla="*/ 7 w 22"/>
                <a:gd name="T27" fmla="*/ 16 h 20"/>
                <a:gd name="T28" fmla="*/ 6 w 22"/>
                <a:gd name="T29" fmla="*/ 16 h 20"/>
                <a:gd name="T30" fmla="*/ 5 w 22"/>
                <a:gd name="T31" fmla="*/ 13 h 20"/>
                <a:gd name="T32" fmla="*/ 0 w 22"/>
                <a:gd name="T33" fmla="*/ 10 h 20"/>
                <a:gd name="T34" fmla="*/ 0 w 22"/>
                <a:gd name="T35" fmla="*/ 13 h 20"/>
                <a:gd name="T36" fmla="*/ 3 w 22"/>
                <a:gd name="T37" fmla="*/ 17 h 20"/>
                <a:gd name="T38" fmla="*/ 5 w 22"/>
                <a:gd name="T39" fmla="*/ 18 h 20"/>
                <a:gd name="T40" fmla="*/ 10 w 22"/>
                <a:gd name="T41" fmla="*/ 20 h 20"/>
                <a:gd name="T42" fmla="*/ 9 w 22"/>
                <a:gd name="T43" fmla="*/ 18 h 20"/>
                <a:gd name="T44" fmla="*/ 9 w 22"/>
                <a:gd name="T45" fmla="*/ 16 h 20"/>
                <a:gd name="T46" fmla="*/ 16 w 22"/>
                <a:gd name="T47" fmla="*/ 16 h 20"/>
                <a:gd name="T48" fmla="*/ 20 w 22"/>
                <a:gd name="T49" fmla="*/ 17 h 20"/>
                <a:gd name="T50" fmla="*/ 22 w 22"/>
                <a:gd name="T51" fmla="*/ 13 h 20"/>
                <a:gd name="T52" fmla="*/ 22 w 22"/>
                <a:gd name="T53" fmla="*/ 8 h 20"/>
                <a:gd name="T54" fmla="*/ 20 w 22"/>
                <a:gd name="T55" fmla="*/ 5 h 20"/>
                <a:gd name="T56" fmla="*/ 17 w 22"/>
                <a:gd name="T57" fmla="*/ 3 h 20"/>
                <a:gd name="T58" fmla="*/ 17 w 22"/>
                <a:gd name="T59" fmla="*/ 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2" h="20">
                  <a:moveTo>
                    <a:pt x="17" y="3"/>
                  </a:moveTo>
                  <a:lnTo>
                    <a:pt x="17" y="3"/>
                  </a:lnTo>
                  <a:lnTo>
                    <a:pt x="15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4"/>
                  </a:lnTo>
                  <a:lnTo>
                    <a:pt x="2" y="5"/>
                  </a:lnTo>
                  <a:lnTo>
                    <a:pt x="7" y="7"/>
                  </a:lnTo>
                  <a:lnTo>
                    <a:pt x="10" y="7"/>
                  </a:lnTo>
                  <a:lnTo>
                    <a:pt x="9" y="10"/>
                  </a:lnTo>
                  <a:lnTo>
                    <a:pt x="7" y="11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5" y="13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7"/>
                  </a:lnTo>
                  <a:lnTo>
                    <a:pt x="5" y="18"/>
                  </a:lnTo>
                  <a:lnTo>
                    <a:pt x="10" y="20"/>
                  </a:lnTo>
                  <a:lnTo>
                    <a:pt x="9" y="18"/>
                  </a:lnTo>
                  <a:lnTo>
                    <a:pt x="9" y="16"/>
                  </a:lnTo>
                  <a:lnTo>
                    <a:pt x="16" y="16"/>
                  </a:lnTo>
                  <a:lnTo>
                    <a:pt x="20" y="17"/>
                  </a:lnTo>
                  <a:lnTo>
                    <a:pt x="22" y="13"/>
                  </a:lnTo>
                  <a:lnTo>
                    <a:pt x="22" y="8"/>
                  </a:lnTo>
                  <a:lnTo>
                    <a:pt x="20" y="5"/>
                  </a:lnTo>
                  <a:lnTo>
                    <a:pt x="17" y="3"/>
                  </a:lnTo>
                  <a:lnTo>
                    <a:pt x="17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91" name="Freeform 39"/>
            <p:cNvSpPr>
              <a:spLocks/>
            </p:cNvSpPr>
            <p:nvPr/>
          </p:nvSpPr>
          <p:spPr bwMode="auto">
            <a:xfrm>
              <a:off x="2156572" y="4703726"/>
              <a:ext cx="6106" cy="10583"/>
            </a:xfrm>
            <a:custGeom>
              <a:avLst/>
              <a:gdLst>
                <a:gd name="T0" fmla="*/ 0 w 10"/>
                <a:gd name="T1" fmla="*/ 14 h 14"/>
                <a:gd name="T2" fmla="*/ 3 w 10"/>
                <a:gd name="T3" fmla="*/ 13 h 14"/>
                <a:gd name="T4" fmla="*/ 3 w 10"/>
                <a:gd name="T5" fmla="*/ 11 h 14"/>
                <a:gd name="T6" fmla="*/ 5 w 10"/>
                <a:gd name="T7" fmla="*/ 11 h 14"/>
                <a:gd name="T8" fmla="*/ 5 w 10"/>
                <a:gd name="T9" fmla="*/ 10 h 14"/>
                <a:gd name="T10" fmla="*/ 5 w 10"/>
                <a:gd name="T11" fmla="*/ 10 h 14"/>
                <a:gd name="T12" fmla="*/ 6 w 10"/>
                <a:gd name="T13" fmla="*/ 10 h 14"/>
                <a:gd name="T14" fmla="*/ 6 w 10"/>
                <a:gd name="T15" fmla="*/ 10 h 14"/>
                <a:gd name="T16" fmla="*/ 6 w 10"/>
                <a:gd name="T17" fmla="*/ 10 h 14"/>
                <a:gd name="T18" fmla="*/ 8 w 10"/>
                <a:gd name="T19" fmla="*/ 8 h 14"/>
                <a:gd name="T20" fmla="*/ 8 w 10"/>
                <a:gd name="T21" fmla="*/ 8 h 14"/>
                <a:gd name="T22" fmla="*/ 9 w 10"/>
                <a:gd name="T23" fmla="*/ 8 h 14"/>
                <a:gd name="T24" fmla="*/ 9 w 10"/>
                <a:gd name="T25" fmla="*/ 7 h 14"/>
                <a:gd name="T26" fmla="*/ 9 w 10"/>
                <a:gd name="T27" fmla="*/ 5 h 14"/>
                <a:gd name="T28" fmla="*/ 9 w 10"/>
                <a:gd name="T29" fmla="*/ 5 h 14"/>
                <a:gd name="T30" fmla="*/ 9 w 10"/>
                <a:gd name="T31" fmla="*/ 4 h 14"/>
                <a:gd name="T32" fmla="*/ 10 w 10"/>
                <a:gd name="T33" fmla="*/ 3 h 14"/>
                <a:gd name="T34" fmla="*/ 10 w 10"/>
                <a:gd name="T35" fmla="*/ 1 h 14"/>
                <a:gd name="T36" fmla="*/ 9 w 10"/>
                <a:gd name="T37" fmla="*/ 1 h 14"/>
                <a:gd name="T38" fmla="*/ 9 w 10"/>
                <a:gd name="T39" fmla="*/ 1 h 14"/>
                <a:gd name="T40" fmla="*/ 9 w 10"/>
                <a:gd name="T41" fmla="*/ 0 h 14"/>
                <a:gd name="T42" fmla="*/ 9 w 10"/>
                <a:gd name="T43" fmla="*/ 0 h 14"/>
                <a:gd name="T44" fmla="*/ 8 w 10"/>
                <a:gd name="T45" fmla="*/ 0 h 14"/>
                <a:gd name="T46" fmla="*/ 5 w 10"/>
                <a:gd name="T47" fmla="*/ 0 h 14"/>
                <a:gd name="T48" fmla="*/ 3 w 10"/>
                <a:gd name="T49" fmla="*/ 0 h 14"/>
                <a:gd name="T50" fmla="*/ 2 w 10"/>
                <a:gd name="T51" fmla="*/ 1 h 14"/>
                <a:gd name="T52" fmla="*/ 2 w 10"/>
                <a:gd name="T53" fmla="*/ 1 h 14"/>
                <a:gd name="T54" fmla="*/ 0 w 10"/>
                <a:gd name="T55" fmla="*/ 3 h 14"/>
                <a:gd name="T56" fmla="*/ 0 w 10"/>
                <a:gd name="T57" fmla="*/ 3 h 14"/>
                <a:gd name="T58" fmla="*/ 0 w 10"/>
                <a:gd name="T59" fmla="*/ 3 h 14"/>
                <a:gd name="T60" fmla="*/ 0 w 10"/>
                <a:gd name="T61" fmla="*/ 4 h 14"/>
                <a:gd name="T62" fmla="*/ 0 w 10"/>
                <a:gd name="T63" fmla="*/ 4 h 14"/>
                <a:gd name="T64" fmla="*/ 0 w 10"/>
                <a:gd name="T65" fmla="*/ 4 h 14"/>
                <a:gd name="T66" fmla="*/ 0 w 10"/>
                <a:gd name="T67" fmla="*/ 5 h 14"/>
                <a:gd name="T68" fmla="*/ 0 w 10"/>
                <a:gd name="T69" fmla="*/ 8 h 14"/>
                <a:gd name="T70" fmla="*/ 0 w 10"/>
                <a:gd name="T71" fmla="*/ 11 h 14"/>
                <a:gd name="T72" fmla="*/ 0 w 10"/>
                <a:gd name="T7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" h="14">
                  <a:moveTo>
                    <a:pt x="0" y="14"/>
                  </a:moveTo>
                  <a:lnTo>
                    <a:pt x="3" y="13"/>
                  </a:lnTo>
                  <a:lnTo>
                    <a:pt x="3" y="11"/>
                  </a:lnTo>
                  <a:lnTo>
                    <a:pt x="5" y="11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9" y="8"/>
                  </a:lnTo>
                  <a:lnTo>
                    <a:pt x="9" y="7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4"/>
                  </a:lnTo>
                  <a:lnTo>
                    <a:pt x="10" y="3"/>
                  </a:lnTo>
                  <a:lnTo>
                    <a:pt x="10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0"/>
                  </a:lnTo>
                  <a:lnTo>
                    <a:pt x="9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4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92" name="Freeform 40"/>
            <p:cNvSpPr>
              <a:spLocks noEditPoints="1"/>
            </p:cNvSpPr>
            <p:nvPr/>
          </p:nvSpPr>
          <p:spPr bwMode="auto">
            <a:xfrm>
              <a:off x="1705971" y="3969514"/>
              <a:ext cx="282084" cy="416715"/>
            </a:xfrm>
            <a:custGeom>
              <a:avLst/>
              <a:gdLst>
                <a:gd name="T0" fmla="*/ 361 w 463"/>
                <a:gd name="T1" fmla="*/ 66 h 628"/>
                <a:gd name="T2" fmla="*/ 347 w 463"/>
                <a:gd name="T3" fmla="*/ 60 h 628"/>
                <a:gd name="T4" fmla="*/ 335 w 463"/>
                <a:gd name="T5" fmla="*/ 63 h 628"/>
                <a:gd name="T6" fmla="*/ 337 w 463"/>
                <a:gd name="T7" fmla="*/ 66 h 628"/>
                <a:gd name="T8" fmla="*/ 343 w 463"/>
                <a:gd name="T9" fmla="*/ 77 h 628"/>
                <a:gd name="T10" fmla="*/ 325 w 463"/>
                <a:gd name="T11" fmla="*/ 77 h 628"/>
                <a:gd name="T12" fmla="*/ 327 w 463"/>
                <a:gd name="T13" fmla="*/ 58 h 628"/>
                <a:gd name="T14" fmla="*/ 321 w 463"/>
                <a:gd name="T15" fmla="*/ 51 h 628"/>
                <a:gd name="T16" fmla="*/ 303 w 463"/>
                <a:gd name="T17" fmla="*/ 43 h 628"/>
                <a:gd name="T18" fmla="*/ 288 w 463"/>
                <a:gd name="T19" fmla="*/ 31 h 628"/>
                <a:gd name="T20" fmla="*/ 284 w 463"/>
                <a:gd name="T21" fmla="*/ 0 h 628"/>
                <a:gd name="T22" fmla="*/ 257 w 463"/>
                <a:gd name="T23" fmla="*/ 51 h 628"/>
                <a:gd name="T24" fmla="*/ 265 w 463"/>
                <a:gd name="T25" fmla="*/ 69 h 628"/>
                <a:gd name="T26" fmla="*/ 255 w 463"/>
                <a:gd name="T27" fmla="*/ 147 h 628"/>
                <a:gd name="T28" fmla="*/ 248 w 463"/>
                <a:gd name="T29" fmla="*/ 132 h 628"/>
                <a:gd name="T30" fmla="*/ 248 w 463"/>
                <a:gd name="T31" fmla="*/ 119 h 628"/>
                <a:gd name="T32" fmla="*/ 240 w 463"/>
                <a:gd name="T33" fmla="*/ 107 h 628"/>
                <a:gd name="T34" fmla="*/ 219 w 463"/>
                <a:gd name="T35" fmla="*/ 113 h 628"/>
                <a:gd name="T36" fmla="*/ 214 w 463"/>
                <a:gd name="T37" fmla="*/ 109 h 628"/>
                <a:gd name="T38" fmla="*/ 227 w 463"/>
                <a:gd name="T39" fmla="*/ 104 h 628"/>
                <a:gd name="T40" fmla="*/ 214 w 463"/>
                <a:gd name="T41" fmla="*/ 97 h 628"/>
                <a:gd name="T42" fmla="*/ 198 w 463"/>
                <a:gd name="T43" fmla="*/ 100 h 628"/>
                <a:gd name="T44" fmla="*/ 123 w 463"/>
                <a:gd name="T45" fmla="*/ 107 h 628"/>
                <a:gd name="T46" fmla="*/ 66 w 463"/>
                <a:gd name="T47" fmla="*/ 86 h 628"/>
                <a:gd name="T48" fmla="*/ 46 w 463"/>
                <a:gd name="T49" fmla="*/ 37 h 628"/>
                <a:gd name="T50" fmla="*/ 25 w 463"/>
                <a:gd name="T51" fmla="*/ 38 h 628"/>
                <a:gd name="T52" fmla="*/ 46 w 463"/>
                <a:gd name="T53" fmla="*/ 46 h 628"/>
                <a:gd name="T54" fmla="*/ 38 w 463"/>
                <a:gd name="T55" fmla="*/ 47 h 628"/>
                <a:gd name="T56" fmla="*/ 46 w 463"/>
                <a:gd name="T57" fmla="*/ 69 h 628"/>
                <a:gd name="T58" fmla="*/ 33 w 463"/>
                <a:gd name="T59" fmla="*/ 66 h 628"/>
                <a:gd name="T60" fmla="*/ 18 w 463"/>
                <a:gd name="T61" fmla="*/ 51 h 628"/>
                <a:gd name="T62" fmla="*/ 2 w 463"/>
                <a:gd name="T63" fmla="*/ 58 h 628"/>
                <a:gd name="T64" fmla="*/ 18 w 463"/>
                <a:gd name="T65" fmla="*/ 140 h 628"/>
                <a:gd name="T66" fmla="*/ 3 w 463"/>
                <a:gd name="T67" fmla="*/ 163 h 628"/>
                <a:gd name="T68" fmla="*/ 9 w 463"/>
                <a:gd name="T69" fmla="*/ 205 h 628"/>
                <a:gd name="T70" fmla="*/ 26 w 463"/>
                <a:gd name="T71" fmla="*/ 210 h 628"/>
                <a:gd name="T72" fmla="*/ 28 w 463"/>
                <a:gd name="T73" fmla="*/ 225 h 628"/>
                <a:gd name="T74" fmla="*/ 19 w 463"/>
                <a:gd name="T75" fmla="*/ 245 h 628"/>
                <a:gd name="T76" fmla="*/ 15 w 463"/>
                <a:gd name="T77" fmla="*/ 275 h 628"/>
                <a:gd name="T78" fmla="*/ 32 w 463"/>
                <a:gd name="T79" fmla="*/ 318 h 628"/>
                <a:gd name="T80" fmla="*/ 38 w 463"/>
                <a:gd name="T81" fmla="*/ 381 h 628"/>
                <a:gd name="T82" fmla="*/ 23 w 463"/>
                <a:gd name="T83" fmla="*/ 458 h 628"/>
                <a:gd name="T84" fmla="*/ 7 w 463"/>
                <a:gd name="T85" fmla="*/ 550 h 628"/>
                <a:gd name="T86" fmla="*/ 35 w 463"/>
                <a:gd name="T87" fmla="*/ 548 h 628"/>
                <a:gd name="T88" fmla="*/ 99 w 463"/>
                <a:gd name="T89" fmla="*/ 597 h 628"/>
                <a:gd name="T90" fmla="*/ 164 w 463"/>
                <a:gd name="T91" fmla="*/ 576 h 628"/>
                <a:gd name="T92" fmla="*/ 198 w 463"/>
                <a:gd name="T93" fmla="*/ 596 h 628"/>
                <a:gd name="T94" fmla="*/ 209 w 463"/>
                <a:gd name="T95" fmla="*/ 626 h 628"/>
                <a:gd name="T96" fmla="*/ 260 w 463"/>
                <a:gd name="T97" fmla="*/ 601 h 628"/>
                <a:gd name="T98" fmla="*/ 285 w 463"/>
                <a:gd name="T99" fmla="*/ 576 h 628"/>
                <a:gd name="T100" fmla="*/ 338 w 463"/>
                <a:gd name="T101" fmla="*/ 544 h 628"/>
                <a:gd name="T102" fmla="*/ 350 w 463"/>
                <a:gd name="T103" fmla="*/ 477 h 628"/>
                <a:gd name="T104" fmla="*/ 390 w 463"/>
                <a:gd name="T105" fmla="*/ 408 h 628"/>
                <a:gd name="T106" fmla="*/ 420 w 463"/>
                <a:gd name="T107" fmla="*/ 407 h 628"/>
                <a:gd name="T108" fmla="*/ 434 w 463"/>
                <a:gd name="T109" fmla="*/ 322 h 628"/>
                <a:gd name="T110" fmla="*/ 423 w 463"/>
                <a:gd name="T111" fmla="*/ 268 h 628"/>
                <a:gd name="T112" fmla="*/ 457 w 463"/>
                <a:gd name="T113" fmla="*/ 215 h 628"/>
                <a:gd name="T114" fmla="*/ 398 w 463"/>
                <a:gd name="T115" fmla="*/ 144 h 628"/>
                <a:gd name="T116" fmla="*/ 364 w 463"/>
                <a:gd name="T117" fmla="*/ 139 h 628"/>
                <a:gd name="T118" fmla="*/ 351 w 463"/>
                <a:gd name="T119" fmla="*/ 123 h 628"/>
                <a:gd name="T120" fmla="*/ 371 w 463"/>
                <a:gd name="T121" fmla="*/ 84 h 628"/>
                <a:gd name="T122" fmla="*/ 12 w 463"/>
                <a:gd name="T123" fmla="*/ 33 h 628"/>
                <a:gd name="T124" fmla="*/ 13 w 463"/>
                <a:gd name="T125" fmla="*/ 37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3" h="628">
                  <a:moveTo>
                    <a:pt x="377" y="83"/>
                  </a:moveTo>
                  <a:lnTo>
                    <a:pt x="374" y="80"/>
                  </a:lnTo>
                  <a:lnTo>
                    <a:pt x="373" y="79"/>
                  </a:lnTo>
                  <a:lnTo>
                    <a:pt x="371" y="76"/>
                  </a:lnTo>
                  <a:lnTo>
                    <a:pt x="371" y="76"/>
                  </a:lnTo>
                  <a:lnTo>
                    <a:pt x="370" y="74"/>
                  </a:lnTo>
                  <a:lnTo>
                    <a:pt x="370" y="74"/>
                  </a:lnTo>
                  <a:lnTo>
                    <a:pt x="368" y="73"/>
                  </a:lnTo>
                  <a:lnTo>
                    <a:pt x="366" y="73"/>
                  </a:lnTo>
                  <a:lnTo>
                    <a:pt x="363" y="70"/>
                  </a:lnTo>
                  <a:lnTo>
                    <a:pt x="361" y="66"/>
                  </a:lnTo>
                  <a:lnTo>
                    <a:pt x="361" y="64"/>
                  </a:lnTo>
                  <a:lnTo>
                    <a:pt x="361" y="63"/>
                  </a:lnTo>
                  <a:lnTo>
                    <a:pt x="361" y="61"/>
                  </a:lnTo>
                  <a:lnTo>
                    <a:pt x="361" y="61"/>
                  </a:lnTo>
                  <a:lnTo>
                    <a:pt x="361" y="60"/>
                  </a:lnTo>
                  <a:lnTo>
                    <a:pt x="360" y="60"/>
                  </a:lnTo>
                  <a:lnTo>
                    <a:pt x="360" y="58"/>
                  </a:lnTo>
                  <a:lnTo>
                    <a:pt x="356" y="58"/>
                  </a:lnTo>
                  <a:lnTo>
                    <a:pt x="351" y="58"/>
                  </a:lnTo>
                  <a:lnTo>
                    <a:pt x="348" y="60"/>
                  </a:lnTo>
                  <a:lnTo>
                    <a:pt x="347" y="60"/>
                  </a:lnTo>
                  <a:lnTo>
                    <a:pt x="345" y="60"/>
                  </a:lnTo>
                  <a:lnTo>
                    <a:pt x="344" y="61"/>
                  </a:lnTo>
                  <a:lnTo>
                    <a:pt x="343" y="61"/>
                  </a:lnTo>
                  <a:lnTo>
                    <a:pt x="343" y="61"/>
                  </a:lnTo>
                  <a:lnTo>
                    <a:pt x="343" y="63"/>
                  </a:lnTo>
                  <a:lnTo>
                    <a:pt x="341" y="63"/>
                  </a:lnTo>
                  <a:lnTo>
                    <a:pt x="340" y="64"/>
                  </a:lnTo>
                  <a:lnTo>
                    <a:pt x="340" y="64"/>
                  </a:lnTo>
                  <a:lnTo>
                    <a:pt x="338" y="63"/>
                  </a:lnTo>
                  <a:lnTo>
                    <a:pt x="337" y="63"/>
                  </a:lnTo>
                  <a:lnTo>
                    <a:pt x="335" y="63"/>
                  </a:lnTo>
                  <a:lnTo>
                    <a:pt x="334" y="63"/>
                  </a:lnTo>
                  <a:lnTo>
                    <a:pt x="334" y="64"/>
                  </a:lnTo>
                  <a:lnTo>
                    <a:pt x="334" y="64"/>
                  </a:lnTo>
                  <a:lnTo>
                    <a:pt x="333" y="66"/>
                  </a:lnTo>
                  <a:lnTo>
                    <a:pt x="333" y="67"/>
                  </a:lnTo>
                  <a:lnTo>
                    <a:pt x="333" y="69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4" y="69"/>
                  </a:lnTo>
                  <a:lnTo>
                    <a:pt x="337" y="67"/>
                  </a:lnTo>
                  <a:lnTo>
                    <a:pt x="337" y="66"/>
                  </a:lnTo>
                  <a:lnTo>
                    <a:pt x="338" y="67"/>
                  </a:lnTo>
                  <a:lnTo>
                    <a:pt x="338" y="67"/>
                  </a:lnTo>
                  <a:lnTo>
                    <a:pt x="340" y="67"/>
                  </a:lnTo>
                  <a:lnTo>
                    <a:pt x="340" y="67"/>
                  </a:lnTo>
                  <a:lnTo>
                    <a:pt x="340" y="69"/>
                  </a:lnTo>
                  <a:lnTo>
                    <a:pt x="343" y="70"/>
                  </a:lnTo>
                  <a:lnTo>
                    <a:pt x="343" y="71"/>
                  </a:lnTo>
                  <a:lnTo>
                    <a:pt x="343" y="73"/>
                  </a:lnTo>
                  <a:lnTo>
                    <a:pt x="343" y="74"/>
                  </a:lnTo>
                  <a:lnTo>
                    <a:pt x="343" y="76"/>
                  </a:lnTo>
                  <a:lnTo>
                    <a:pt x="343" y="77"/>
                  </a:lnTo>
                  <a:lnTo>
                    <a:pt x="343" y="79"/>
                  </a:lnTo>
                  <a:lnTo>
                    <a:pt x="343" y="79"/>
                  </a:lnTo>
                  <a:lnTo>
                    <a:pt x="343" y="84"/>
                  </a:lnTo>
                  <a:lnTo>
                    <a:pt x="341" y="86"/>
                  </a:lnTo>
                  <a:lnTo>
                    <a:pt x="340" y="86"/>
                  </a:lnTo>
                  <a:lnTo>
                    <a:pt x="338" y="86"/>
                  </a:lnTo>
                  <a:lnTo>
                    <a:pt x="335" y="86"/>
                  </a:lnTo>
                  <a:lnTo>
                    <a:pt x="334" y="84"/>
                  </a:lnTo>
                  <a:lnTo>
                    <a:pt x="331" y="83"/>
                  </a:lnTo>
                  <a:lnTo>
                    <a:pt x="328" y="80"/>
                  </a:lnTo>
                  <a:lnTo>
                    <a:pt x="325" y="77"/>
                  </a:lnTo>
                  <a:lnTo>
                    <a:pt x="323" y="73"/>
                  </a:lnTo>
                  <a:lnTo>
                    <a:pt x="323" y="71"/>
                  </a:lnTo>
                  <a:lnTo>
                    <a:pt x="323" y="70"/>
                  </a:lnTo>
                  <a:lnTo>
                    <a:pt x="323" y="66"/>
                  </a:lnTo>
                  <a:lnTo>
                    <a:pt x="323" y="64"/>
                  </a:lnTo>
                  <a:lnTo>
                    <a:pt x="324" y="63"/>
                  </a:lnTo>
                  <a:lnTo>
                    <a:pt x="324" y="60"/>
                  </a:lnTo>
                  <a:lnTo>
                    <a:pt x="325" y="60"/>
                  </a:lnTo>
                  <a:lnTo>
                    <a:pt x="325" y="60"/>
                  </a:lnTo>
                  <a:lnTo>
                    <a:pt x="327" y="60"/>
                  </a:lnTo>
                  <a:lnTo>
                    <a:pt x="327" y="58"/>
                  </a:lnTo>
                  <a:lnTo>
                    <a:pt x="327" y="58"/>
                  </a:lnTo>
                  <a:lnTo>
                    <a:pt x="328" y="58"/>
                  </a:lnTo>
                  <a:lnTo>
                    <a:pt x="328" y="57"/>
                  </a:lnTo>
                  <a:lnTo>
                    <a:pt x="328" y="57"/>
                  </a:lnTo>
                  <a:lnTo>
                    <a:pt x="328" y="57"/>
                  </a:lnTo>
                  <a:lnTo>
                    <a:pt x="328" y="56"/>
                  </a:lnTo>
                  <a:lnTo>
                    <a:pt x="327" y="54"/>
                  </a:lnTo>
                  <a:lnTo>
                    <a:pt x="327" y="53"/>
                  </a:lnTo>
                  <a:lnTo>
                    <a:pt x="324" y="53"/>
                  </a:lnTo>
                  <a:lnTo>
                    <a:pt x="323" y="53"/>
                  </a:lnTo>
                  <a:lnTo>
                    <a:pt x="321" y="51"/>
                  </a:lnTo>
                  <a:lnTo>
                    <a:pt x="320" y="51"/>
                  </a:lnTo>
                  <a:lnTo>
                    <a:pt x="317" y="51"/>
                  </a:lnTo>
                  <a:lnTo>
                    <a:pt x="317" y="50"/>
                  </a:lnTo>
                  <a:lnTo>
                    <a:pt x="315" y="47"/>
                  </a:lnTo>
                  <a:lnTo>
                    <a:pt x="313" y="47"/>
                  </a:lnTo>
                  <a:lnTo>
                    <a:pt x="313" y="46"/>
                  </a:lnTo>
                  <a:lnTo>
                    <a:pt x="308" y="46"/>
                  </a:lnTo>
                  <a:lnTo>
                    <a:pt x="307" y="44"/>
                  </a:lnTo>
                  <a:lnTo>
                    <a:pt x="305" y="44"/>
                  </a:lnTo>
                  <a:lnTo>
                    <a:pt x="304" y="44"/>
                  </a:lnTo>
                  <a:lnTo>
                    <a:pt x="303" y="43"/>
                  </a:lnTo>
                  <a:lnTo>
                    <a:pt x="301" y="43"/>
                  </a:lnTo>
                  <a:lnTo>
                    <a:pt x="300" y="43"/>
                  </a:lnTo>
                  <a:lnTo>
                    <a:pt x="300" y="43"/>
                  </a:lnTo>
                  <a:lnTo>
                    <a:pt x="297" y="40"/>
                  </a:lnTo>
                  <a:lnTo>
                    <a:pt x="294" y="38"/>
                  </a:lnTo>
                  <a:lnTo>
                    <a:pt x="292" y="37"/>
                  </a:lnTo>
                  <a:lnTo>
                    <a:pt x="291" y="36"/>
                  </a:lnTo>
                  <a:lnTo>
                    <a:pt x="291" y="36"/>
                  </a:lnTo>
                  <a:lnTo>
                    <a:pt x="291" y="34"/>
                  </a:lnTo>
                  <a:lnTo>
                    <a:pt x="290" y="33"/>
                  </a:lnTo>
                  <a:lnTo>
                    <a:pt x="288" y="31"/>
                  </a:lnTo>
                  <a:lnTo>
                    <a:pt x="288" y="31"/>
                  </a:lnTo>
                  <a:lnTo>
                    <a:pt x="287" y="30"/>
                  </a:lnTo>
                  <a:lnTo>
                    <a:pt x="287" y="28"/>
                  </a:lnTo>
                  <a:lnTo>
                    <a:pt x="285" y="27"/>
                  </a:lnTo>
                  <a:lnTo>
                    <a:pt x="285" y="18"/>
                  </a:lnTo>
                  <a:lnTo>
                    <a:pt x="285" y="16"/>
                  </a:lnTo>
                  <a:lnTo>
                    <a:pt x="285" y="11"/>
                  </a:lnTo>
                  <a:lnTo>
                    <a:pt x="287" y="4"/>
                  </a:lnTo>
                  <a:lnTo>
                    <a:pt x="285" y="1"/>
                  </a:lnTo>
                  <a:lnTo>
                    <a:pt x="285" y="0"/>
                  </a:lnTo>
                  <a:lnTo>
                    <a:pt x="284" y="0"/>
                  </a:lnTo>
                  <a:lnTo>
                    <a:pt x="282" y="5"/>
                  </a:lnTo>
                  <a:lnTo>
                    <a:pt x="280" y="16"/>
                  </a:lnTo>
                  <a:lnTo>
                    <a:pt x="277" y="21"/>
                  </a:lnTo>
                  <a:lnTo>
                    <a:pt x="272" y="27"/>
                  </a:lnTo>
                  <a:lnTo>
                    <a:pt x="267" y="33"/>
                  </a:lnTo>
                  <a:lnTo>
                    <a:pt x="265" y="34"/>
                  </a:lnTo>
                  <a:lnTo>
                    <a:pt x="264" y="37"/>
                  </a:lnTo>
                  <a:lnTo>
                    <a:pt x="264" y="41"/>
                  </a:lnTo>
                  <a:lnTo>
                    <a:pt x="264" y="43"/>
                  </a:lnTo>
                  <a:lnTo>
                    <a:pt x="260" y="47"/>
                  </a:lnTo>
                  <a:lnTo>
                    <a:pt x="257" y="51"/>
                  </a:lnTo>
                  <a:lnTo>
                    <a:pt x="257" y="66"/>
                  </a:lnTo>
                  <a:lnTo>
                    <a:pt x="255" y="67"/>
                  </a:lnTo>
                  <a:lnTo>
                    <a:pt x="255" y="69"/>
                  </a:lnTo>
                  <a:lnTo>
                    <a:pt x="260" y="63"/>
                  </a:lnTo>
                  <a:lnTo>
                    <a:pt x="261" y="63"/>
                  </a:lnTo>
                  <a:lnTo>
                    <a:pt x="262" y="63"/>
                  </a:lnTo>
                  <a:lnTo>
                    <a:pt x="264" y="63"/>
                  </a:lnTo>
                  <a:lnTo>
                    <a:pt x="265" y="64"/>
                  </a:lnTo>
                  <a:lnTo>
                    <a:pt x="265" y="67"/>
                  </a:lnTo>
                  <a:lnTo>
                    <a:pt x="265" y="69"/>
                  </a:lnTo>
                  <a:lnTo>
                    <a:pt x="265" y="69"/>
                  </a:lnTo>
                  <a:lnTo>
                    <a:pt x="268" y="80"/>
                  </a:lnTo>
                  <a:lnTo>
                    <a:pt x="267" y="93"/>
                  </a:lnTo>
                  <a:lnTo>
                    <a:pt x="264" y="104"/>
                  </a:lnTo>
                  <a:lnTo>
                    <a:pt x="262" y="111"/>
                  </a:lnTo>
                  <a:lnTo>
                    <a:pt x="261" y="120"/>
                  </a:lnTo>
                  <a:lnTo>
                    <a:pt x="261" y="136"/>
                  </a:lnTo>
                  <a:lnTo>
                    <a:pt x="260" y="147"/>
                  </a:lnTo>
                  <a:lnTo>
                    <a:pt x="258" y="150"/>
                  </a:lnTo>
                  <a:lnTo>
                    <a:pt x="257" y="149"/>
                  </a:lnTo>
                  <a:lnTo>
                    <a:pt x="255" y="147"/>
                  </a:lnTo>
                  <a:lnTo>
                    <a:pt x="255" y="147"/>
                  </a:lnTo>
                  <a:lnTo>
                    <a:pt x="255" y="147"/>
                  </a:lnTo>
                  <a:lnTo>
                    <a:pt x="255" y="146"/>
                  </a:lnTo>
                  <a:lnTo>
                    <a:pt x="254" y="146"/>
                  </a:lnTo>
                  <a:lnTo>
                    <a:pt x="252" y="144"/>
                  </a:lnTo>
                  <a:lnTo>
                    <a:pt x="250" y="142"/>
                  </a:lnTo>
                  <a:lnTo>
                    <a:pt x="250" y="140"/>
                  </a:lnTo>
                  <a:lnTo>
                    <a:pt x="248" y="139"/>
                  </a:lnTo>
                  <a:lnTo>
                    <a:pt x="248" y="139"/>
                  </a:lnTo>
                  <a:lnTo>
                    <a:pt x="247" y="137"/>
                  </a:lnTo>
                  <a:lnTo>
                    <a:pt x="248" y="133"/>
                  </a:lnTo>
                  <a:lnTo>
                    <a:pt x="248" y="132"/>
                  </a:lnTo>
                  <a:lnTo>
                    <a:pt x="248" y="130"/>
                  </a:lnTo>
                  <a:lnTo>
                    <a:pt x="248" y="129"/>
                  </a:lnTo>
                  <a:lnTo>
                    <a:pt x="248" y="127"/>
                  </a:lnTo>
                  <a:lnTo>
                    <a:pt x="248" y="127"/>
                  </a:lnTo>
                  <a:lnTo>
                    <a:pt x="250" y="126"/>
                  </a:lnTo>
                  <a:lnTo>
                    <a:pt x="250" y="124"/>
                  </a:lnTo>
                  <a:lnTo>
                    <a:pt x="250" y="123"/>
                  </a:lnTo>
                  <a:lnTo>
                    <a:pt x="250" y="121"/>
                  </a:lnTo>
                  <a:lnTo>
                    <a:pt x="248" y="121"/>
                  </a:lnTo>
                  <a:lnTo>
                    <a:pt x="248" y="119"/>
                  </a:lnTo>
                  <a:lnTo>
                    <a:pt x="248" y="119"/>
                  </a:lnTo>
                  <a:lnTo>
                    <a:pt x="248" y="117"/>
                  </a:lnTo>
                  <a:lnTo>
                    <a:pt x="248" y="117"/>
                  </a:lnTo>
                  <a:lnTo>
                    <a:pt x="248" y="116"/>
                  </a:lnTo>
                  <a:lnTo>
                    <a:pt x="250" y="116"/>
                  </a:lnTo>
                  <a:lnTo>
                    <a:pt x="250" y="114"/>
                  </a:lnTo>
                  <a:lnTo>
                    <a:pt x="248" y="113"/>
                  </a:lnTo>
                  <a:lnTo>
                    <a:pt x="248" y="111"/>
                  </a:lnTo>
                  <a:lnTo>
                    <a:pt x="247" y="110"/>
                  </a:lnTo>
                  <a:lnTo>
                    <a:pt x="245" y="109"/>
                  </a:lnTo>
                  <a:lnTo>
                    <a:pt x="241" y="107"/>
                  </a:lnTo>
                  <a:lnTo>
                    <a:pt x="240" y="107"/>
                  </a:lnTo>
                  <a:lnTo>
                    <a:pt x="237" y="107"/>
                  </a:lnTo>
                  <a:lnTo>
                    <a:pt x="234" y="107"/>
                  </a:lnTo>
                  <a:lnTo>
                    <a:pt x="231" y="107"/>
                  </a:lnTo>
                  <a:lnTo>
                    <a:pt x="228" y="107"/>
                  </a:lnTo>
                  <a:lnTo>
                    <a:pt x="227" y="109"/>
                  </a:lnTo>
                  <a:lnTo>
                    <a:pt x="225" y="110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2" y="113"/>
                  </a:lnTo>
                  <a:lnTo>
                    <a:pt x="221" y="113"/>
                  </a:lnTo>
                  <a:lnTo>
                    <a:pt x="219" y="113"/>
                  </a:lnTo>
                  <a:lnTo>
                    <a:pt x="219" y="113"/>
                  </a:lnTo>
                  <a:lnTo>
                    <a:pt x="218" y="114"/>
                  </a:lnTo>
                  <a:lnTo>
                    <a:pt x="215" y="114"/>
                  </a:lnTo>
                  <a:lnTo>
                    <a:pt x="214" y="114"/>
                  </a:lnTo>
                  <a:lnTo>
                    <a:pt x="212" y="116"/>
                  </a:lnTo>
                  <a:lnTo>
                    <a:pt x="211" y="116"/>
                  </a:lnTo>
                  <a:lnTo>
                    <a:pt x="212" y="113"/>
                  </a:lnTo>
                  <a:lnTo>
                    <a:pt x="212" y="113"/>
                  </a:lnTo>
                  <a:lnTo>
                    <a:pt x="212" y="111"/>
                  </a:lnTo>
                  <a:lnTo>
                    <a:pt x="212" y="110"/>
                  </a:lnTo>
                  <a:lnTo>
                    <a:pt x="214" y="109"/>
                  </a:lnTo>
                  <a:lnTo>
                    <a:pt x="214" y="107"/>
                  </a:lnTo>
                  <a:lnTo>
                    <a:pt x="215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21" y="106"/>
                  </a:lnTo>
                  <a:lnTo>
                    <a:pt x="222" y="106"/>
                  </a:lnTo>
                  <a:lnTo>
                    <a:pt x="222" y="106"/>
                  </a:lnTo>
                  <a:lnTo>
                    <a:pt x="222" y="106"/>
                  </a:lnTo>
                  <a:lnTo>
                    <a:pt x="225" y="106"/>
                  </a:lnTo>
                  <a:lnTo>
                    <a:pt x="225" y="106"/>
                  </a:lnTo>
                  <a:lnTo>
                    <a:pt x="227" y="104"/>
                  </a:lnTo>
                  <a:lnTo>
                    <a:pt x="228" y="103"/>
                  </a:lnTo>
                  <a:lnTo>
                    <a:pt x="227" y="103"/>
                  </a:lnTo>
                  <a:lnTo>
                    <a:pt x="225" y="101"/>
                  </a:lnTo>
                  <a:lnTo>
                    <a:pt x="224" y="100"/>
                  </a:lnTo>
                  <a:lnTo>
                    <a:pt x="224" y="100"/>
                  </a:lnTo>
                  <a:lnTo>
                    <a:pt x="222" y="99"/>
                  </a:lnTo>
                  <a:lnTo>
                    <a:pt x="221" y="99"/>
                  </a:lnTo>
                  <a:lnTo>
                    <a:pt x="218" y="97"/>
                  </a:lnTo>
                  <a:lnTo>
                    <a:pt x="217" y="97"/>
                  </a:lnTo>
                  <a:lnTo>
                    <a:pt x="215" y="97"/>
                  </a:lnTo>
                  <a:lnTo>
                    <a:pt x="214" y="97"/>
                  </a:lnTo>
                  <a:lnTo>
                    <a:pt x="212" y="96"/>
                  </a:lnTo>
                  <a:lnTo>
                    <a:pt x="209" y="97"/>
                  </a:lnTo>
                  <a:lnTo>
                    <a:pt x="208" y="97"/>
                  </a:lnTo>
                  <a:lnTo>
                    <a:pt x="207" y="97"/>
                  </a:lnTo>
                  <a:lnTo>
                    <a:pt x="205" y="97"/>
                  </a:lnTo>
                  <a:lnTo>
                    <a:pt x="204" y="97"/>
                  </a:lnTo>
                  <a:lnTo>
                    <a:pt x="202" y="97"/>
                  </a:lnTo>
                  <a:lnTo>
                    <a:pt x="201" y="99"/>
                  </a:lnTo>
                  <a:lnTo>
                    <a:pt x="199" y="99"/>
                  </a:lnTo>
                  <a:lnTo>
                    <a:pt x="199" y="99"/>
                  </a:lnTo>
                  <a:lnTo>
                    <a:pt x="198" y="100"/>
                  </a:lnTo>
                  <a:lnTo>
                    <a:pt x="192" y="103"/>
                  </a:lnTo>
                  <a:lnTo>
                    <a:pt x="179" y="109"/>
                  </a:lnTo>
                  <a:lnTo>
                    <a:pt x="176" y="110"/>
                  </a:lnTo>
                  <a:lnTo>
                    <a:pt x="172" y="111"/>
                  </a:lnTo>
                  <a:lnTo>
                    <a:pt x="168" y="110"/>
                  </a:lnTo>
                  <a:lnTo>
                    <a:pt x="159" y="106"/>
                  </a:lnTo>
                  <a:lnTo>
                    <a:pt x="149" y="100"/>
                  </a:lnTo>
                  <a:lnTo>
                    <a:pt x="142" y="99"/>
                  </a:lnTo>
                  <a:lnTo>
                    <a:pt x="138" y="99"/>
                  </a:lnTo>
                  <a:lnTo>
                    <a:pt x="131" y="101"/>
                  </a:lnTo>
                  <a:lnTo>
                    <a:pt x="123" y="107"/>
                  </a:lnTo>
                  <a:lnTo>
                    <a:pt x="121" y="109"/>
                  </a:lnTo>
                  <a:lnTo>
                    <a:pt x="118" y="113"/>
                  </a:lnTo>
                  <a:lnTo>
                    <a:pt x="116" y="114"/>
                  </a:lnTo>
                  <a:lnTo>
                    <a:pt x="105" y="119"/>
                  </a:lnTo>
                  <a:lnTo>
                    <a:pt x="99" y="117"/>
                  </a:lnTo>
                  <a:lnTo>
                    <a:pt x="92" y="116"/>
                  </a:lnTo>
                  <a:lnTo>
                    <a:pt x="88" y="114"/>
                  </a:lnTo>
                  <a:lnTo>
                    <a:pt x="81" y="109"/>
                  </a:lnTo>
                  <a:lnTo>
                    <a:pt x="81" y="109"/>
                  </a:lnTo>
                  <a:lnTo>
                    <a:pt x="75" y="101"/>
                  </a:lnTo>
                  <a:lnTo>
                    <a:pt x="66" y="86"/>
                  </a:lnTo>
                  <a:lnTo>
                    <a:pt x="62" y="77"/>
                  </a:lnTo>
                  <a:lnTo>
                    <a:pt x="60" y="64"/>
                  </a:lnTo>
                  <a:lnTo>
                    <a:pt x="59" y="51"/>
                  </a:lnTo>
                  <a:lnTo>
                    <a:pt x="58" y="46"/>
                  </a:lnTo>
                  <a:lnTo>
                    <a:pt x="56" y="43"/>
                  </a:lnTo>
                  <a:lnTo>
                    <a:pt x="56" y="41"/>
                  </a:lnTo>
                  <a:lnTo>
                    <a:pt x="53" y="40"/>
                  </a:lnTo>
                  <a:lnTo>
                    <a:pt x="53" y="38"/>
                  </a:lnTo>
                  <a:lnTo>
                    <a:pt x="50" y="38"/>
                  </a:lnTo>
                  <a:lnTo>
                    <a:pt x="48" y="38"/>
                  </a:lnTo>
                  <a:lnTo>
                    <a:pt x="46" y="37"/>
                  </a:lnTo>
                  <a:lnTo>
                    <a:pt x="43" y="37"/>
                  </a:lnTo>
                  <a:lnTo>
                    <a:pt x="40" y="37"/>
                  </a:lnTo>
                  <a:lnTo>
                    <a:pt x="39" y="36"/>
                  </a:lnTo>
                  <a:lnTo>
                    <a:pt x="36" y="36"/>
                  </a:lnTo>
                  <a:lnTo>
                    <a:pt x="35" y="36"/>
                  </a:lnTo>
                  <a:lnTo>
                    <a:pt x="30" y="36"/>
                  </a:lnTo>
                  <a:lnTo>
                    <a:pt x="32" y="36"/>
                  </a:lnTo>
                  <a:lnTo>
                    <a:pt x="29" y="36"/>
                  </a:lnTo>
                  <a:lnTo>
                    <a:pt x="26" y="37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8" y="40"/>
                  </a:lnTo>
                  <a:lnTo>
                    <a:pt x="29" y="40"/>
                  </a:lnTo>
                  <a:lnTo>
                    <a:pt x="30" y="40"/>
                  </a:lnTo>
                  <a:lnTo>
                    <a:pt x="36" y="41"/>
                  </a:lnTo>
                  <a:lnTo>
                    <a:pt x="38" y="41"/>
                  </a:lnTo>
                  <a:lnTo>
                    <a:pt x="39" y="41"/>
                  </a:lnTo>
                  <a:lnTo>
                    <a:pt x="40" y="41"/>
                  </a:lnTo>
                  <a:lnTo>
                    <a:pt x="43" y="43"/>
                  </a:lnTo>
                  <a:lnTo>
                    <a:pt x="45" y="43"/>
                  </a:lnTo>
                  <a:lnTo>
                    <a:pt x="45" y="44"/>
                  </a:lnTo>
                  <a:lnTo>
                    <a:pt x="46" y="46"/>
                  </a:lnTo>
                  <a:lnTo>
                    <a:pt x="48" y="48"/>
                  </a:lnTo>
                  <a:lnTo>
                    <a:pt x="46" y="50"/>
                  </a:lnTo>
                  <a:lnTo>
                    <a:pt x="46" y="50"/>
                  </a:lnTo>
                  <a:lnTo>
                    <a:pt x="45" y="51"/>
                  </a:lnTo>
                  <a:lnTo>
                    <a:pt x="43" y="50"/>
                  </a:lnTo>
                  <a:lnTo>
                    <a:pt x="43" y="48"/>
                  </a:lnTo>
                  <a:lnTo>
                    <a:pt x="42" y="47"/>
                  </a:lnTo>
                  <a:lnTo>
                    <a:pt x="40" y="46"/>
                  </a:lnTo>
                  <a:lnTo>
                    <a:pt x="39" y="46"/>
                  </a:lnTo>
                  <a:lnTo>
                    <a:pt x="38" y="46"/>
                  </a:lnTo>
                  <a:lnTo>
                    <a:pt x="38" y="47"/>
                  </a:lnTo>
                  <a:lnTo>
                    <a:pt x="38" y="48"/>
                  </a:lnTo>
                  <a:lnTo>
                    <a:pt x="36" y="51"/>
                  </a:lnTo>
                  <a:lnTo>
                    <a:pt x="35" y="53"/>
                  </a:lnTo>
                  <a:lnTo>
                    <a:pt x="35" y="54"/>
                  </a:lnTo>
                  <a:lnTo>
                    <a:pt x="36" y="57"/>
                  </a:lnTo>
                  <a:lnTo>
                    <a:pt x="38" y="58"/>
                  </a:lnTo>
                  <a:lnTo>
                    <a:pt x="39" y="60"/>
                  </a:lnTo>
                  <a:lnTo>
                    <a:pt x="40" y="60"/>
                  </a:lnTo>
                  <a:lnTo>
                    <a:pt x="42" y="61"/>
                  </a:lnTo>
                  <a:lnTo>
                    <a:pt x="45" y="67"/>
                  </a:lnTo>
                  <a:lnTo>
                    <a:pt x="46" y="69"/>
                  </a:lnTo>
                  <a:lnTo>
                    <a:pt x="49" y="71"/>
                  </a:lnTo>
                  <a:lnTo>
                    <a:pt x="49" y="73"/>
                  </a:lnTo>
                  <a:lnTo>
                    <a:pt x="48" y="73"/>
                  </a:lnTo>
                  <a:lnTo>
                    <a:pt x="46" y="74"/>
                  </a:lnTo>
                  <a:lnTo>
                    <a:pt x="45" y="73"/>
                  </a:lnTo>
                  <a:lnTo>
                    <a:pt x="42" y="73"/>
                  </a:lnTo>
                  <a:lnTo>
                    <a:pt x="40" y="73"/>
                  </a:lnTo>
                  <a:lnTo>
                    <a:pt x="38" y="70"/>
                  </a:lnTo>
                  <a:lnTo>
                    <a:pt x="35" y="69"/>
                  </a:lnTo>
                  <a:lnTo>
                    <a:pt x="33" y="67"/>
                  </a:lnTo>
                  <a:lnTo>
                    <a:pt x="33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0" y="63"/>
                  </a:lnTo>
                  <a:lnTo>
                    <a:pt x="30" y="61"/>
                  </a:lnTo>
                  <a:lnTo>
                    <a:pt x="29" y="60"/>
                  </a:lnTo>
                  <a:lnTo>
                    <a:pt x="26" y="58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2" y="54"/>
                  </a:lnTo>
                  <a:lnTo>
                    <a:pt x="20" y="53"/>
                  </a:lnTo>
                  <a:lnTo>
                    <a:pt x="18" y="51"/>
                  </a:lnTo>
                  <a:lnTo>
                    <a:pt x="15" y="50"/>
                  </a:lnTo>
                  <a:lnTo>
                    <a:pt x="13" y="48"/>
                  </a:lnTo>
                  <a:lnTo>
                    <a:pt x="12" y="47"/>
                  </a:lnTo>
                  <a:lnTo>
                    <a:pt x="10" y="44"/>
                  </a:lnTo>
                  <a:lnTo>
                    <a:pt x="6" y="44"/>
                  </a:lnTo>
                  <a:lnTo>
                    <a:pt x="5" y="47"/>
                  </a:lnTo>
                  <a:lnTo>
                    <a:pt x="3" y="47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0" y="54"/>
                  </a:lnTo>
                  <a:lnTo>
                    <a:pt x="2" y="58"/>
                  </a:lnTo>
                  <a:lnTo>
                    <a:pt x="5" y="66"/>
                  </a:lnTo>
                  <a:lnTo>
                    <a:pt x="15" y="87"/>
                  </a:lnTo>
                  <a:lnTo>
                    <a:pt x="19" y="106"/>
                  </a:lnTo>
                  <a:lnTo>
                    <a:pt x="23" y="127"/>
                  </a:lnTo>
                  <a:lnTo>
                    <a:pt x="22" y="133"/>
                  </a:lnTo>
                  <a:lnTo>
                    <a:pt x="22" y="134"/>
                  </a:lnTo>
                  <a:lnTo>
                    <a:pt x="22" y="134"/>
                  </a:lnTo>
                  <a:lnTo>
                    <a:pt x="20" y="137"/>
                  </a:lnTo>
                  <a:lnTo>
                    <a:pt x="19" y="139"/>
                  </a:lnTo>
                  <a:lnTo>
                    <a:pt x="18" y="139"/>
                  </a:lnTo>
                  <a:lnTo>
                    <a:pt x="18" y="140"/>
                  </a:lnTo>
                  <a:lnTo>
                    <a:pt x="16" y="143"/>
                  </a:lnTo>
                  <a:lnTo>
                    <a:pt x="15" y="143"/>
                  </a:lnTo>
                  <a:lnTo>
                    <a:pt x="13" y="144"/>
                  </a:lnTo>
                  <a:lnTo>
                    <a:pt x="13" y="147"/>
                  </a:lnTo>
                  <a:lnTo>
                    <a:pt x="12" y="149"/>
                  </a:lnTo>
                  <a:lnTo>
                    <a:pt x="9" y="156"/>
                  </a:lnTo>
                  <a:lnTo>
                    <a:pt x="6" y="159"/>
                  </a:lnTo>
                  <a:lnTo>
                    <a:pt x="6" y="160"/>
                  </a:lnTo>
                  <a:lnTo>
                    <a:pt x="5" y="162"/>
                  </a:lnTo>
                  <a:lnTo>
                    <a:pt x="3" y="163"/>
                  </a:lnTo>
                  <a:lnTo>
                    <a:pt x="3" y="163"/>
                  </a:lnTo>
                  <a:lnTo>
                    <a:pt x="3" y="166"/>
                  </a:lnTo>
                  <a:lnTo>
                    <a:pt x="2" y="167"/>
                  </a:lnTo>
                  <a:lnTo>
                    <a:pt x="0" y="179"/>
                  </a:lnTo>
                  <a:lnTo>
                    <a:pt x="2" y="182"/>
                  </a:lnTo>
                  <a:lnTo>
                    <a:pt x="3" y="187"/>
                  </a:lnTo>
                  <a:lnTo>
                    <a:pt x="5" y="193"/>
                  </a:lnTo>
                  <a:lnTo>
                    <a:pt x="6" y="197"/>
                  </a:lnTo>
                  <a:lnTo>
                    <a:pt x="7" y="200"/>
                  </a:lnTo>
                  <a:lnTo>
                    <a:pt x="9" y="202"/>
                  </a:lnTo>
                  <a:lnTo>
                    <a:pt x="9" y="205"/>
                  </a:lnTo>
                  <a:lnTo>
                    <a:pt x="9" y="205"/>
                  </a:lnTo>
                  <a:lnTo>
                    <a:pt x="10" y="206"/>
                  </a:lnTo>
                  <a:lnTo>
                    <a:pt x="10" y="207"/>
                  </a:lnTo>
                  <a:lnTo>
                    <a:pt x="12" y="209"/>
                  </a:lnTo>
                  <a:lnTo>
                    <a:pt x="15" y="210"/>
                  </a:lnTo>
                  <a:lnTo>
                    <a:pt x="18" y="213"/>
                  </a:lnTo>
                  <a:lnTo>
                    <a:pt x="18" y="213"/>
                  </a:lnTo>
                  <a:lnTo>
                    <a:pt x="19" y="213"/>
                  </a:lnTo>
                  <a:lnTo>
                    <a:pt x="22" y="213"/>
                  </a:lnTo>
                  <a:lnTo>
                    <a:pt x="25" y="213"/>
                  </a:lnTo>
                  <a:lnTo>
                    <a:pt x="25" y="212"/>
                  </a:lnTo>
                  <a:lnTo>
                    <a:pt x="26" y="210"/>
                  </a:lnTo>
                  <a:lnTo>
                    <a:pt x="28" y="210"/>
                  </a:lnTo>
                  <a:lnTo>
                    <a:pt x="28" y="209"/>
                  </a:lnTo>
                  <a:lnTo>
                    <a:pt x="29" y="209"/>
                  </a:lnTo>
                  <a:lnTo>
                    <a:pt x="29" y="212"/>
                  </a:lnTo>
                  <a:lnTo>
                    <a:pt x="28" y="215"/>
                  </a:lnTo>
                  <a:lnTo>
                    <a:pt x="28" y="216"/>
                  </a:lnTo>
                  <a:lnTo>
                    <a:pt x="28" y="217"/>
                  </a:lnTo>
                  <a:lnTo>
                    <a:pt x="28" y="217"/>
                  </a:lnTo>
                  <a:lnTo>
                    <a:pt x="28" y="220"/>
                  </a:lnTo>
                  <a:lnTo>
                    <a:pt x="28" y="222"/>
                  </a:lnTo>
                  <a:lnTo>
                    <a:pt x="28" y="225"/>
                  </a:lnTo>
                  <a:lnTo>
                    <a:pt x="26" y="229"/>
                  </a:lnTo>
                  <a:lnTo>
                    <a:pt x="23" y="230"/>
                  </a:lnTo>
                  <a:lnTo>
                    <a:pt x="22" y="233"/>
                  </a:lnTo>
                  <a:lnTo>
                    <a:pt x="20" y="235"/>
                  </a:lnTo>
                  <a:lnTo>
                    <a:pt x="20" y="236"/>
                  </a:lnTo>
                  <a:lnTo>
                    <a:pt x="19" y="238"/>
                  </a:lnTo>
                  <a:lnTo>
                    <a:pt x="19" y="239"/>
                  </a:lnTo>
                  <a:lnTo>
                    <a:pt x="19" y="240"/>
                  </a:lnTo>
                  <a:lnTo>
                    <a:pt x="19" y="243"/>
                  </a:lnTo>
                  <a:lnTo>
                    <a:pt x="19" y="245"/>
                  </a:lnTo>
                  <a:lnTo>
                    <a:pt x="19" y="245"/>
                  </a:lnTo>
                  <a:lnTo>
                    <a:pt x="19" y="246"/>
                  </a:lnTo>
                  <a:lnTo>
                    <a:pt x="20" y="246"/>
                  </a:lnTo>
                  <a:lnTo>
                    <a:pt x="22" y="248"/>
                  </a:lnTo>
                  <a:lnTo>
                    <a:pt x="25" y="248"/>
                  </a:lnTo>
                  <a:lnTo>
                    <a:pt x="23" y="249"/>
                  </a:lnTo>
                  <a:lnTo>
                    <a:pt x="25" y="250"/>
                  </a:lnTo>
                  <a:lnTo>
                    <a:pt x="23" y="252"/>
                  </a:lnTo>
                  <a:lnTo>
                    <a:pt x="23" y="253"/>
                  </a:lnTo>
                  <a:lnTo>
                    <a:pt x="20" y="262"/>
                  </a:lnTo>
                  <a:lnTo>
                    <a:pt x="16" y="269"/>
                  </a:lnTo>
                  <a:lnTo>
                    <a:pt x="15" y="275"/>
                  </a:lnTo>
                  <a:lnTo>
                    <a:pt x="15" y="279"/>
                  </a:lnTo>
                  <a:lnTo>
                    <a:pt x="18" y="283"/>
                  </a:lnTo>
                  <a:lnTo>
                    <a:pt x="19" y="286"/>
                  </a:lnTo>
                  <a:lnTo>
                    <a:pt x="20" y="288"/>
                  </a:lnTo>
                  <a:lnTo>
                    <a:pt x="22" y="293"/>
                  </a:lnTo>
                  <a:lnTo>
                    <a:pt x="20" y="296"/>
                  </a:lnTo>
                  <a:lnTo>
                    <a:pt x="23" y="302"/>
                  </a:lnTo>
                  <a:lnTo>
                    <a:pt x="26" y="308"/>
                  </a:lnTo>
                  <a:lnTo>
                    <a:pt x="26" y="309"/>
                  </a:lnTo>
                  <a:lnTo>
                    <a:pt x="30" y="312"/>
                  </a:lnTo>
                  <a:lnTo>
                    <a:pt x="32" y="318"/>
                  </a:lnTo>
                  <a:lnTo>
                    <a:pt x="33" y="331"/>
                  </a:lnTo>
                  <a:lnTo>
                    <a:pt x="35" y="335"/>
                  </a:lnTo>
                  <a:lnTo>
                    <a:pt x="36" y="341"/>
                  </a:lnTo>
                  <a:lnTo>
                    <a:pt x="39" y="345"/>
                  </a:lnTo>
                  <a:lnTo>
                    <a:pt x="39" y="349"/>
                  </a:lnTo>
                  <a:lnTo>
                    <a:pt x="36" y="356"/>
                  </a:lnTo>
                  <a:lnTo>
                    <a:pt x="35" y="364"/>
                  </a:lnTo>
                  <a:lnTo>
                    <a:pt x="35" y="368"/>
                  </a:lnTo>
                  <a:lnTo>
                    <a:pt x="36" y="372"/>
                  </a:lnTo>
                  <a:lnTo>
                    <a:pt x="38" y="376"/>
                  </a:lnTo>
                  <a:lnTo>
                    <a:pt x="38" y="381"/>
                  </a:lnTo>
                  <a:lnTo>
                    <a:pt x="36" y="385"/>
                  </a:lnTo>
                  <a:lnTo>
                    <a:pt x="35" y="389"/>
                  </a:lnTo>
                  <a:lnTo>
                    <a:pt x="33" y="391"/>
                  </a:lnTo>
                  <a:lnTo>
                    <a:pt x="35" y="394"/>
                  </a:lnTo>
                  <a:lnTo>
                    <a:pt x="35" y="401"/>
                  </a:lnTo>
                  <a:lnTo>
                    <a:pt x="33" y="408"/>
                  </a:lnTo>
                  <a:lnTo>
                    <a:pt x="30" y="411"/>
                  </a:lnTo>
                  <a:lnTo>
                    <a:pt x="30" y="422"/>
                  </a:lnTo>
                  <a:lnTo>
                    <a:pt x="29" y="429"/>
                  </a:lnTo>
                  <a:lnTo>
                    <a:pt x="25" y="451"/>
                  </a:lnTo>
                  <a:lnTo>
                    <a:pt x="23" y="458"/>
                  </a:lnTo>
                  <a:lnTo>
                    <a:pt x="19" y="481"/>
                  </a:lnTo>
                  <a:lnTo>
                    <a:pt x="16" y="494"/>
                  </a:lnTo>
                  <a:lnTo>
                    <a:pt x="13" y="504"/>
                  </a:lnTo>
                  <a:lnTo>
                    <a:pt x="10" y="517"/>
                  </a:lnTo>
                  <a:lnTo>
                    <a:pt x="10" y="528"/>
                  </a:lnTo>
                  <a:lnTo>
                    <a:pt x="10" y="535"/>
                  </a:lnTo>
                  <a:lnTo>
                    <a:pt x="9" y="538"/>
                  </a:lnTo>
                  <a:lnTo>
                    <a:pt x="6" y="543"/>
                  </a:lnTo>
                  <a:lnTo>
                    <a:pt x="6" y="545"/>
                  </a:lnTo>
                  <a:lnTo>
                    <a:pt x="6" y="548"/>
                  </a:lnTo>
                  <a:lnTo>
                    <a:pt x="7" y="550"/>
                  </a:lnTo>
                  <a:lnTo>
                    <a:pt x="7" y="553"/>
                  </a:lnTo>
                  <a:lnTo>
                    <a:pt x="7" y="554"/>
                  </a:lnTo>
                  <a:lnTo>
                    <a:pt x="7" y="554"/>
                  </a:lnTo>
                  <a:lnTo>
                    <a:pt x="7" y="557"/>
                  </a:lnTo>
                  <a:lnTo>
                    <a:pt x="9" y="557"/>
                  </a:lnTo>
                  <a:lnTo>
                    <a:pt x="13" y="555"/>
                  </a:lnTo>
                  <a:lnTo>
                    <a:pt x="16" y="554"/>
                  </a:lnTo>
                  <a:lnTo>
                    <a:pt x="19" y="553"/>
                  </a:lnTo>
                  <a:lnTo>
                    <a:pt x="23" y="551"/>
                  </a:lnTo>
                  <a:lnTo>
                    <a:pt x="23" y="550"/>
                  </a:lnTo>
                  <a:lnTo>
                    <a:pt x="35" y="548"/>
                  </a:lnTo>
                  <a:lnTo>
                    <a:pt x="45" y="548"/>
                  </a:lnTo>
                  <a:lnTo>
                    <a:pt x="56" y="560"/>
                  </a:lnTo>
                  <a:lnTo>
                    <a:pt x="59" y="567"/>
                  </a:lnTo>
                  <a:lnTo>
                    <a:pt x="62" y="573"/>
                  </a:lnTo>
                  <a:lnTo>
                    <a:pt x="65" y="583"/>
                  </a:lnTo>
                  <a:lnTo>
                    <a:pt x="71" y="588"/>
                  </a:lnTo>
                  <a:lnTo>
                    <a:pt x="73" y="593"/>
                  </a:lnTo>
                  <a:lnTo>
                    <a:pt x="79" y="601"/>
                  </a:lnTo>
                  <a:lnTo>
                    <a:pt x="88" y="608"/>
                  </a:lnTo>
                  <a:lnTo>
                    <a:pt x="92" y="603"/>
                  </a:lnTo>
                  <a:lnTo>
                    <a:pt x="99" y="597"/>
                  </a:lnTo>
                  <a:lnTo>
                    <a:pt x="105" y="591"/>
                  </a:lnTo>
                  <a:lnTo>
                    <a:pt x="108" y="588"/>
                  </a:lnTo>
                  <a:lnTo>
                    <a:pt x="115" y="586"/>
                  </a:lnTo>
                  <a:lnTo>
                    <a:pt x="118" y="586"/>
                  </a:lnTo>
                  <a:lnTo>
                    <a:pt x="126" y="580"/>
                  </a:lnTo>
                  <a:lnTo>
                    <a:pt x="132" y="578"/>
                  </a:lnTo>
                  <a:lnTo>
                    <a:pt x="135" y="577"/>
                  </a:lnTo>
                  <a:lnTo>
                    <a:pt x="142" y="577"/>
                  </a:lnTo>
                  <a:lnTo>
                    <a:pt x="152" y="581"/>
                  </a:lnTo>
                  <a:lnTo>
                    <a:pt x="158" y="580"/>
                  </a:lnTo>
                  <a:lnTo>
                    <a:pt x="164" y="576"/>
                  </a:lnTo>
                  <a:lnTo>
                    <a:pt x="168" y="574"/>
                  </a:lnTo>
                  <a:lnTo>
                    <a:pt x="174" y="568"/>
                  </a:lnTo>
                  <a:lnTo>
                    <a:pt x="184" y="570"/>
                  </a:lnTo>
                  <a:lnTo>
                    <a:pt x="191" y="571"/>
                  </a:lnTo>
                  <a:lnTo>
                    <a:pt x="192" y="574"/>
                  </a:lnTo>
                  <a:lnTo>
                    <a:pt x="192" y="577"/>
                  </a:lnTo>
                  <a:lnTo>
                    <a:pt x="182" y="580"/>
                  </a:lnTo>
                  <a:lnTo>
                    <a:pt x="181" y="586"/>
                  </a:lnTo>
                  <a:lnTo>
                    <a:pt x="189" y="593"/>
                  </a:lnTo>
                  <a:lnTo>
                    <a:pt x="194" y="593"/>
                  </a:lnTo>
                  <a:lnTo>
                    <a:pt x="198" y="596"/>
                  </a:lnTo>
                  <a:lnTo>
                    <a:pt x="198" y="603"/>
                  </a:lnTo>
                  <a:lnTo>
                    <a:pt x="185" y="601"/>
                  </a:lnTo>
                  <a:lnTo>
                    <a:pt x="187" y="607"/>
                  </a:lnTo>
                  <a:lnTo>
                    <a:pt x="191" y="610"/>
                  </a:lnTo>
                  <a:lnTo>
                    <a:pt x="191" y="614"/>
                  </a:lnTo>
                  <a:lnTo>
                    <a:pt x="187" y="616"/>
                  </a:lnTo>
                  <a:lnTo>
                    <a:pt x="188" y="620"/>
                  </a:lnTo>
                  <a:lnTo>
                    <a:pt x="192" y="626"/>
                  </a:lnTo>
                  <a:lnTo>
                    <a:pt x="198" y="628"/>
                  </a:lnTo>
                  <a:lnTo>
                    <a:pt x="204" y="627"/>
                  </a:lnTo>
                  <a:lnTo>
                    <a:pt x="209" y="626"/>
                  </a:lnTo>
                  <a:lnTo>
                    <a:pt x="217" y="628"/>
                  </a:lnTo>
                  <a:lnTo>
                    <a:pt x="222" y="628"/>
                  </a:lnTo>
                  <a:lnTo>
                    <a:pt x="229" y="627"/>
                  </a:lnTo>
                  <a:lnTo>
                    <a:pt x="241" y="626"/>
                  </a:lnTo>
                  <a:lnTo>
                    <a:pt x="245" y="626"/>
                  </a:lnTo>
                  <a:lnTo>
                    <a:pt x="250" y="624"/>
                  </a:lnTo>
                  <a:lnTo>
                    <a:pt x="255" y="624"/>
                  </a:lnTo>
                  <a:lnTo>
                    <a:pt x="258" y="620"/>
                  </a:lnTo>
                  <a:lnTo>
                    <a:pt x="260" y="613"/>
                  </a:lnTo>
                  <a:lnTo>
                    <a:pt x="258" y="607"/>
                  </a:lnTo>
                  <a:lnTo>
                    <a:pt x="260" y="601"/>
                  </a:lnTo>
                  <a:lnTo>
                    <a:pt x="264" y="603"/>
                  </a:lnTo>
                  <a:lnTo>
                    <a:pt x="268" y="606"/>
                  </a:lnTo>
                  <a:lnTo>
                    <a:pt x="271" y="607"/>
                  </a:lnTo>
                  <a:lnTo>
                    <a:pt x="274" y="606"/>
                  </a:lnTo>
                  <a:lnTo>
                    <a:pt x="275" y="603"/>
                  </a:lnTo>
                  <a:lnTo>
                    <a:pt x="281" y="606"/>
                  </a:lnTo>
                  <a:lnTo>
                    <a:pt x="284" y="607"/>
                  </a:lnTo>
                  <a:lnTo>
                    <a:pt x="281" y="596"/>
                  </a:lnTo>
                  <a:lnTo>
                    <a:pt x="278" y="593"/>
                  </a:lnTo>
                  <a:lnTo>
                    <a:pt x="277" y="584"/>
                  </a:lnTo>
                  <a:lnTo>
                    <a:pt x="285" y="576"/>
                  </a:lnTo>
                  <a:lnTo>
                    <a:pt x="281" y="573"/>
                  </a:lnTo>
                  <a:lnTo>
                    <a:pt x="278" y="568"/>
                  </a:lnTo>
                  <a:lnTo>
                    <a:pt x="284" y="564"/>
                  </a:lnTo>
                  <a:lnTo>
                    <a:pt x="287" y="555"/>
                  </a:lnTo>
                  <a:lnTo>
                    <a:pt x="290" y="551"/>
                  </a:lnTo>
                  <a:lnTo>
                    <a:pt x="295" y="553"/>
                  </a:lnTo>
                  <a:lnTo>
                    <a:pt x="308" y="554"/>
                  </a:lnTo>
                  <a:lnTo>
                    <a:pt x="328" y="553"/>
                  </a:lnTo>
                  <a:lnTo>
                    <a:pt x="333" y="551"/>
                  </a:lnTo>
                  <a:lnTo>
                    <a:pt x="337" y="548"/>
                  </a:lnTo>
                  <a:lnTo>
                    <a:pt x="338" y="544"/>
                  </a:lnTo>
                  <a:lnTo>
                    <a:pt x="337" y="540"/>
                  </a:lnTo>
                  <a:lnTo>
                    <a:pt x="333" y="534"/>
                  </a:lnTo>
                  <a:lnTo>
                    <a:pt x="333" y="528"/>
                  </a:lnTo>
                  <a:lnTo>
                    <a:pt x="331" y="520"/>
                  </a:lnTo>
                  <a:lnTo>
                    <a:pt x="334" y="505"/>
                  </a:lnTo>
                  <a:lnTo>
                    <a:pt x="338" y="502"/>
                  </a:lnTo>
                  <a:lnTo>
                    <a:pt x="340" y="500"/>
                  </a:lnTo>
                  <a:lnTo>
                    <a:pt x="345" y="497"/>
                  </a:lnTo>
                  <a:lnTo>
                    <a:pt x="348" y="491"/>
                  </a:lnTo>
                  <a:lnTo>
                    <a:pt x="348" y="485"/>
                  </a:lnTo>
                  <a:lnTo>
                    <a:pt x="350" y="477"/>
                  </a:lnTo>
                  <a:lnTo>
                    <a:pt x="347" y="475"/>
                  </a:lnTo>
                  <a:lnTo>
                    <a:pt x="343" y="477"/>
                  </a:lnTo>
                  <a:lnTo>
                    <a:pt x="340" y="480"/>
                  </a:lnTo>
                  <a:lnTo>
                    <a:pt x="337" y="478"/>
                  </a:lnTo>
                  <a:lnTo>
                    <a:pt x="320" y="467"/>
                  </a:lnTo>
                  <a:lnTo>
                    <a:pt x="335" y="449"/>
                  </a:lnTo>
                  <a:lnTo>
                    <a:pt x="341" y="427"/>
                  </a:lnTo>
                  <a:lnTo>
                    <a:pt x="357" y="412"/>
                  </a:lnTo>
                  <a:lnTo>
                    <a:pt x="353" y="408"/>
                  </a:lnTo>
                  <a:lnTo>
                    <a:pt x="371" y="392"/>
                  </a:lnTo>
                  <a:lnTo>
                    <a:pt x="390" y="408"/>
                  </a:lnTo>
                  <a:lnTo>
                    <a:pt x="386" y="418"/>
                  </a:lnTo>
                  <a:lnTo>
                    <a:pt x="391" y="425"/>
                  </a:lnTo>
                  <a:lnTo>
                    <a:pt x="396" y="424"/>
                  </a:lnTo>
                  <a:lnTo>
                    <a:pt x="403" y="419"/>
                  </a:lnTo>
                  <a:lnTo>
                    <a:pt x="407" y="422"/>
                  </a:lnTo>
                  <a:lnTo>
                    <a:pt x="410" y="427"/>
                  </a:lnTo>
                  <a:lnTo>
                    <a:pt x="414" y="428"/>
                  </a:lnTo>
                  <a:lnTo>
                    <a:pt x="420" y="422"/>
                  </a:lnTo>
                  <a:lnTo>
                    <a:pt x="424" y="418"/>
                  </a:lnTo>
                  <a:lnTo>
                    <a:pt x="423" y="411"/>
                  </a:lnTo>
                  <a:lnTo>
                    <a:pt x="420" y="407"/>
                  </a:lnTo>
                  <a:lnTo>
                    <a:pt x="427" y="401"/>
                  </a:lnTo>
                  <a:lnTo>
                    <a:pt x="426" y="398"/>
                  </a:lnTo>
                  <a:lnTo>
                    <a:pt x="427" y="391"/>
                  </a:lnTo>
                  <a:lnTo>
                    <a:pt x="427" y="388"/>
                  </a:lnTo>
                  <a:lnTo>
                    <a:pt x="433" y="382"/>
                  </a:lnTo>
                  <a:lnTo>
                    <a:pt x="440" y="371"/>
                  </a:lnTo>
                  <a:lnTo>
                    <a:pt x="436" y="362"/>
                  </a:lnTo>
                  <a:lnTo>
                    <a:pt x="441" y="339"/>
                  </a:lnTo>
                  <a:lnTo>
                    <a:pt x="436" y="331"/>
                  </a:lnTo>
                  <a:lnTo>
                    <a:pt x="431" y="326"/>
                  </a:lnTo>
                  <a:lnTo>
                    <a:pt x="434" y="322"/>
                  </a:lnTo>
                  <a:lnTo>
                    <a:pt x="436" y="313"/>
                  </a:lnTo>
                  <a:lnTo>
                    <a:pt x="426" y="303"/>
                  </a:lnTo>
                  <a:lnTo>
                    <a:pt x="420" y="303"/>
                  </a:lnTo>
                  <a:lnTo>
                    <a:pt x="414" y="301"/>
                  </a:lnTo>
                  <a:lnTo>
                    <a:pt x="411" y="296"/>
                  </a:lnTo>
                  <a:lnTo>
                    <a:pt x="407" y="290"/>
                  </a:lnTo>
                  <a:lnTo>
                    <a:pt x="409" y="286"/>
                  </a:lnTo>
                  <a:lnTo>
                    <a:pt x="411" y="273"/>
                  </a:lnTo>
                  <a:lnTo>
                    <a:pt x="413" y="269"/>
                  </a:lnTo>
                  <a:lnTo>
                    <a:pt x="416" y="269"/>
                  </a:lnTo>
                  <a:lnTo>
                    <a:pt x="423" y="268"/>
                  </a:lnTo>
                  <a:lnTo>
                    <a:pt x="429" y="255"/>
                  </a:lnTo>
                  <a:lnTo>
                    <a:pt x="424" y="243"/>
                  </a:lnTo>
                  <a:lnTo>
                    <a:pt x="437" y="232"/>
                  </a:lnTo>
                  <a:lnTo>
                    <a:pt x="441" y="232"/>
                  </a:lnTo>
                  <a:lnTo>
                    <a:pt x="447" y="232"/>
                  </a:lnTo>
                  <a:lnTo>
                    <a:pt x="453" y="229"/>
                  </a:lnTo>
                  <a:lnTo>
                    <a:pt x="454" y="229"/>
                  </a:lnTo>
                  <a:lnTo>
                    <a:pt x="460" y="230"/>
                  </a:lnTo>
                  <a:lnTo>
                    <a:pt x="463" y="226"/>
                  </a:lnTo>
                  <a:lnTo>
                    <a:pt x="454" y="222"/>
                  </a:lnTo>
                  <a:lnTo>
                    <a:pt x="457" y="215"/>
                  </a:lnTo>
                  <a:lnTo>
                    <a:pt x="453" y="206"/>
                  </a:lnTo>
                  <a:lnTo>
                    <a:pt x="447" y="202"/>
                  </a:lnTo>
                  <a:lnTo>
                    <a:pt x="439" y="186"/>
                  </a:lnTo>
                  <a:lnTo>
                    <a:pt x="426" y="167"/>
                  </a:lnTo>
                  <a:lnTo>
                    <a:pt x="429" y="164"/>
                  </a:lnTo>
                  <a:lnTo>
                    <a:pt x="429" y="156"/>
                  </a:lnTo>
                  <a:lnTo>
                    <a:pt x="421" y="157"/>
                  </a:lnTo>
                  <a:lnTo>
                    <a:pt x="416" y="157"/>
                  </a:lnTo>
                  <a:lnTo>
                    <a:pt x="411" y="152"/>
                  </a:lnTo>
                  <a:lnTo>
                    <a:pt x="404" y="142"/>
                  </a:lnTo>
                  <a:lnTo>
                    <a:pt x="398" y="144"/>
                  </a:lnTo>
                  <a:lnTo>
                    <a:pt x="393" y="149"/>
                  </a:lnTo>
                  <a:lnTo>
                    <a:pt x="387" y="136"/>
                  </a:lnTo>
                  <a:lnTo>
                    <a:pt x="370" y="144"/>
                  </a:lnTo>
                  <a:lnTo>
                    <a:pt x="367" y="142"/>
                  </a:lnTo>
                  <a:lnTo>
                    <a:pt x="367" y="142"/>
                  </a:lnTo>
                  <a:lnTo>
                    <a:pt x="366" y="142"/>
                  </a:lnTo>
                  <a:lnTo>
                    <a:pt x="366" y="142"/>
                  </a:lnTo>
                  <a:lnTo>
                    <a:pt x="366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4" y="139"/>
                  </a:lnTo>
                  <a:lnTo>
                    <a:pt x="364" y="139"/>
                  </a:lnTo>
                  <a:lnTo>
                    <a:pt x="363" y="137"/>
                  </a:lnTo>
                  <a:lnTo>
                    <a:pt x="363" y="136"/>
                  </a:lnTo>
                  <a:lnTo>
                    <a:pt x="363" y="136"/>
                  </a:lnTo>
                  <a:lnTo>
                    <a:pt x="363" y="136"/>
                  </a:lnTo>
                  <a:lnTo>
                    <a:pt x="361" y="134"/>
                  </a:lnTo>
                  <a:lnTo>
                    <a:pt x="361" y="133"/>
                  </a:lnTo>
                  <a:lnTo>
                    <a:pt x="361" y="133"/>
                  </a:lnTo>
                  <a:lnTo>
                    <a:pt x="357" y="127"/>
                  </a:lnTo>
                  <a:lnTo>
                    <a:pt x="351" y="126"/>
                  </a:lnTo>
                  <a:lnTo>
                    <a:pt x="351" y="123"/>
                  </a:lnTo>
                  <a:lnTo>
                    <a:pt x="353" y="120"/>
                  </a:lnTo>
                  <a:lnTo>
                    <a:pt x="358" y="116"/>
                  </a:lnTo>
                  <a:lnTo>
                    <a:pt x="363" y="113"/>
                  </a:lnTo>
                  <a:lnTo>
                    <a:pt x="364" y="107"/>
                  </a:lnTo>
                  <a:lnTo>
                    <a:pt x="371" y="111"/>
                  </a:lnTo>
                  <a:lnTo>
                    <a:pt x="378" y="106"/>
                  </a:lnTo>
                  <a:lnTo>
                    <a:pt x="384" y="106"/>
                  </a:lnTo>
                  <a:lnTo>
                    <a:pt x="388" y="103"/>
                  </a:lnTo>
                  <a:lnTo>
                    <a:pt x="383" y="96"/>
                  </a:lnTo>
                  <a:lnTo>
                    <a:pt x="377" y="99"/>
                  </a:lnTo>
                  <a:lnTo>
                    <a:pt x="371" y="84"/>
                  </a:lnTo>
                  <a:lnTo>
                    <a:pt x="377" y="83"/>
                  </a:lnTo>
                  <a:lnTo>
                    <a:pt x="377" y="83"/>
                  </a:lnTo>
                  <a:lnTo>
                    <a:pt x="377" y="83"/>
                  </a:lnTo>
                  <a:close/>
                  <a:moveTo>
                    <a:pt x="12" y="38"/>
                  </a:moveTo>
                  <a:lnTo>
                    <a:pt x="10" y="38"/>
                  </a:lnTo>
                  <a:lnTo>
                    <a:pt x="10" y="37"/>
                  </a:lnTo>
                  <a:lnTo>
                    <a:pt x="10" y="36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3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5" y="31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6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2" y="3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93" name="Freeform 41"/>
            <p:cNvSpPr>
              <a:spLocks noEditPoints="1"/>
            </p:cNvSpPr>
            <p:nvPr/>
          </p:nvSpPr>
          <p:spPr bwMode="auto">
            <a:xfrm>
              <a:off x="1705971" y="3969514"/>
              <a:ext cx="282084" cy="416715"/>
            </a:xfrm>
            <a:custGeom>
              <a:avLst/>
              <a:gdLst>
                <a:gd name="T0" fmla="*/ 361 w 463"/>
                <a:gd name="T1" fmla="*/ 66 h 628"/>
                <a:gd name="T2" fmla="*/ 347 w 463"/>
                <a:gd name="T3" fmla="*/ 60 h 628"/>
                <a:gd name="T4" fmla="*/ 335 w 463"/>
                <a:gd name="T5" fmla="*/ 63 h 628"/>
                <a:gd name="T6" fmla="*/ 337 w 463"/>
                <a:gd name="T7" fmla="*/ 66 h 628"/>
                <a:gd name="T8" fmla="*/ 343 w 463"/>
                <a:gd name="T9" fmla="*/ 77 h 628"/>
                <a:gd name="T10" fmla="*/ 325 w 463"/>
                <a:gd name="T11" fmla="*/ 77 h 628"/>
                <a:gd name="T12" fmla="*/ 327 w 463"/>
                <a:gd name="T13" fmla="*/ 58 h 628"/>
                <a:gd name="T14" fmla="*/ 321 w 463"/>
                <a:gd name="T15" fmla="*/ 51 h 628"/>
                <a:gd name="T16" fmla="*/ 303 w 463"/>
                <a:gd name="T17" fmla="*/ 43 h 628"/>
                <a:gd name="T18" fmla="*/ 288 w 463"/>
                <a:gd name="T19" fmla="*/ 31 h 628"/>
                <a:gd name="T20" fmla="*/ 284 w 463"/>
                <a:gd name="T21" fmla="*/ 0 h 628"/>
                <a:gd name="T22" fmla="*/ 257 w 463"/>
                <a:gd name="T23" fmla="*/ 51 h 628"/>
                <a:gd name="T24" fmla="*/ 265 w 463"/>
                <a:gd name="T25" fmla="*/ 69 h 628"/>
                <a:gd name="T26" fmla="*/ 255 w 463"/>
                <a:gd name="T27" fmla="*/ 147 h 628"/>
                <a:gd name="T28" fmla="*/ 248 w 463"/>
                <a:gd name="T29" fmla="*/ 132 h 628"/>
                <a:gd name="T30" fmla="*/ 248 w 463"/>
                <a:gd name="T31" fmla="*/ 119 h 628"/>
                <a:gd name="T32" fmla="*/ 240 w 463"/>
                <a:gd name="T33" fmla="*/ 107 h 628"/>
                <a:gd name="T34" fmla="*/ 219 w 463"/>
                <a:gd name="T35" fmla="*/ 113 h 628"/>
                <a:gd name="T36" fmla="*/ 214 w 463"/>
                <a:gd name="T37" fmla="*/ 109 h 628"/>
                <a:gd name="T38" fmla="*/ 227 w 463"/>
                <a:gd name="T39" fmla="*/ 104 h 628"/>
                <a:gd name="T40" fmla="*/ 214 w 463"/>
                <a:gd name="T41" fmla="*/ 97 h 628"/>
                <a:gd name="T42" fmla="*/ 198 w 463"/>
                <a:gd name="T43" fmla="*/ 100 h 628"/>
                <a:gd name="T44" fmla="*/ 123 w 463"/>
                <a:gd name="T45" fmla="*/ 107 h 628"/>
                <a:gd name="T46" fmla="*/ 66 w 463"/>
                <a:gd name="T47" fmla="*/ 86 h 628"/>
                <a:gd name="T48" fmla="*/ 46 w 463"/>
                <a:gd name="T49" fmla="*/ 37 h 628"/>
                <a:gd name="T50" fmla="*/ 25 w 463"/>
                <a:gd name="T51" fmla="*/ 38 h 628"/>
                <a:gd name="T52" fmla="*/ 46 w 463"/>
                <a:gd name="T53" fmla="*/ 46 h 628"/>
                <a:gd name="T54" fmla="*/ 38 w 463"/>
                <a:gd name="T55" fmla="*/ 47 h 628"/>
                <a:gd name="T56" fmla="*/ 46 w 463"/>
                <a:gd name="T57" fmla="*/ 69 h 628"/>
                <a:gd name="T58" fmla="*/ 33 w 463"/>
                <a:gd name="T59" fmla="*/ 66 h 628"/>
                <a:gd name="T60" fmla="*/ 18 w 463"/>
                <a:gd name="T61" fmla="*/ 51 h 628"/>
                <a:gd name="T62" fmla="*/ 2 w 463"/>
                <a:gd name="T63" fmla="*/ 58 h 628"/>
                <a:gd name="T64" fmla="*/ 18 w 463"/>
                <a:gd name="T65" fmla="*/ 140 h 628"/>
                <a:gd name="T66" fmla="*/ 3 w 463"/>
                <a:gd name="T67" fmla="*/ 163 h 628"/>
                <a:gd name="T68" fmla="*/ 9 w 463"/>
                <a:gd name="T69" fmla="*/ 205 h 628"/>
                <a:gd name="T70" fmla="*/ 26 w 463"/>
                <a:gd name="T71" fmla="*/ 210 h 628"/>
                <a:gd name="T72" fmla="*/ 28 w 463"/>
                <a:gd name="T73" fmla="*/ 225 h 628"/>
                <a:gd name="T74" fmla="*/ 19 w 463"/>
                <a:gd name="T75" fmla="*/ 245 h 628"/>
                <a:gd name="T76" fmla="*/ 15 w 463"/>
                <a:gd name="T77" fmla="*/ 275 h 628"/>
                <a:gd name="T78" fmla="*/ 32 w 463"/>
                <a:gd name="T79" fmla="*/ 318 h 628"/>
                <a:gd name="T80" fmla="*/ 38 w 463"/>
                <a:gd name="T81" fmla="*/ 381 h 628"/>
                <a:gd name="T82" fmla="*/ 23 w 463"/>
                <a:gd name="T83" fmla="*/ 458 h 628"/>
                <a:gd name="T84" fmla="*/ 7 w 463"/>
                <a:gd name="T85" fmla="*/ 550 h 628"/>
                <a:gd name="T86" fmla="*/ 35 w 463"/>
                <a:gd name="T87" fmla="*/ 548 h 628"/>
                <a:gd name="T88" fmla="*/ 99 w 463"/>
                <a:gd name="T89" fmla="*/ 597 h 628"/>
                <a:gd name="T90" fmla="*/ 164 w 463"/>
                <a:gd name="T91" fmla="*/ 576 h 628"/>
                <a:gd name="T92" fmla="*/ 198 w 463"/>
                <a:gd name="T93" fmla="*/ 596 h 628"/>
                <a:gd name="T94" fmla="*/ 209 w 463"/>
                <a:gd name="T95" fmla="*/ 626 h 628"/>
                <a:gd name="T96" fmla="*/ 260 w 463"/>
                <a:gd name="T97" fmla="*/ 601 h 628"/>
                <a:gd name="T98" fmla="*/ 285 w 463"/>
                <a:gd name="T99" fmla="*/ 576 h 628"/>
                <a:gd name="T100" fmla="*/ 338 w 463"/>
                <a:gd name="T101" fmla="*/ 544 h 628"/>
                <a:gd name="T102" fmla="*/ 350 w 463"/>
                <a:gd name="T103" fmla="*/ 477 h 628"/>
                <a:gd name="T104" fmla="*/ 390 w 463"/>
                <a:gd name="T105" fmla="*/ 408 h 628"/>
                <a:gd name="T106" fmla="*/ 420 w 463"/>
                <a:gd name="T107" fmla="*/ 407 h 628"/>
                <a:gd name="T108" fmla="*/ 434 w 463"/>
                <a:gd name="T109" fmla="*/ 322 h 628"/>
                <a:gd name="T110" fmla="*/ 423 w 463"/>
                <a:gd name="T111" fmla="*/ 268 h 628"/>
                <a:gd name="T112" fmla="*/ 457 w 463"/>
                <a:gd name="T113" fmla="*/ 215 h 628"/>
                <a:gd name="T114" fmla="*/ 398 w 463"/>
                <a:gd name="T115" fmla="*/ 144 h 628"/>
                <a:gd name="T116" fmla="*/ 364 w 463"/>
                <a:gd name="T117" fmla="*/ 139 h 628"/>
                <a:gd name="T118" fmla="*/ 351 w 463"/>
                <a:gd name="T119" fmla="*/ 123 h 628"/>
                <a:gd name="T120" fmla="*/ 371 w 463"/>
                <a:gd name="T121" fmla="*/ 84 h 628"/>
                <a:gd name="T122" fmla="*/ 15 w 463"/>
                <a:gd name="T123" fmla="*/ 31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3" h="628">
                  <a:moveTo>
                    <a:pt x="377" y="83"/>
                  </a:moveTo>
                  <a:lnTo>
                    <a:pt x="374" y="80"/>
                  </a:lnTo>
                  <a:lnTo>
                    <a:pt x="373" y="79"/>
                  </a:lnTo>
                  <a:lnTo>
                    <a:pt x="371" y="76"/>
                  </a:lnTo>
                  <a:lnTo>
                    <a:pt x="371" y="76"/>
                  </a:lnTo>
                  <a:lnTo>
                    <a:pt x="370" y="74"/>
                  </a:lnTo>
                  <a:lnTo>
                    <a:pt x="370" y="74"/>
                  </a:lnTo>
                  <a:lnTo>
                    <a:pt x="368" y="73"/>
                  </a:lnTo>
                  <a:lnTo>
                    <a:pt x="366" y="73"/>
                  </a:lnTo>
                  <a:lnTo>
                    <a:pt x="363" y="70"/>
                  </a:lnTo>
                  <a:lnTo>
                    <a:pt x="361" y="66"/>
                  </a:lnTo>
                  <a:lnTo>
                    <a:pt x="361" y="64"/>
                  </a:lnTo>
                  <a:lnTo>
                    <a:pt x="361" y="63"/>
                  </a:lnTo>
                  <a:lnTo>
                    <a:pt x="361" y="61"/>
                  </a:lnTo>
                  <a:lnTo>
                    <a:pt x="361" y="61"/>
                  </a:lnTo>
                  <a:lnTo>
                    <a:pt x="361" y="60"/>
                  </a:lnTo>
                  <a:lnTo>
                    <a:pt x="360" y="60"/>
                  </a:lnTo>
                  <a:lnTo>
                    <a:pt x="360" y="58"/>
                  </a:lnTo>
                  <a:lnTo>
                    <a:pt x="356" y="58"/>
                  </a:lnTo>
                  <a:lnTo>
                    <a:pt x="351" y="58"/>
                  </a:lnTo>
                  <a:lnTo>
                    <a:pt x="348" y="60"/>
                  </a:lnTo>
                  <a:lnTo>
                    <a:pt x="347" y="60"/>
                  </a:lnTo>
                  <a:lnTo>
                    <a:pt x="345" y="60"/>
                  </a:lnTo>
                  <a:lnTo>
                    <a:pt x="344" y="61"/>
                  </a:lnTo>
                  <a:lnTo>
                    <a:pt x="343" y="61"/>
                  </a:lnTo>
                  <a:lnTo>
                    <a:pt x="343" y="61"/>
                  </a:lnTo>
                  <a:lnTo>
                    <a:pt x="343" y="63"/>
                  </a:lnTo>
                  <a:lnTo>
                    <a:pt x="341" y="63"/>
                  </a:lnTo>
                  <a:lnTo>
                    <a:pt x="340" y="64"/>
                  </a:lnTo>
                  <a:lnTo>
                    <a:pt x="340" y="64"/>
                  </a:lnTo>
                  <a:lnTo>
                    <a:pt x="338" y="63"/>
                  </a:lnTo>
                  <a:lnTo>
                    <a:pt x="337" y="63"/>
                  </a:lnTo>
                  <a:lnTo>
                    <a:pt x="335" y="63"/>
                  </a:lnTo>
                  <a:lnTo>
                    <a:pt x="334" y="63"/>
                  </a:lnTo>
                  <a:lnTo>
                    <a:pt x="334" y="64"/>
                  </a:lnTo>
                  <a:lnTo>
                    <a:pt x="334" y="64"/>
                  </a:lnTo>
                  <a:lnTo>
                    <a:pt x="333" y="66"/>
                  </a:lnTo>
                  <a:lnTo>
                    <a:pt x="333" y="67"/>
                  </a:lnTo>
                  <a:lnTo>
                    <a:pt x="333" y="69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4" y="69"/>
                  </a:lnTo>
                  <a:lnTo>
                    <a:pt x="337" y="67"/>
                  </a:lnTo>
                  <a:lnTo>
                    <a:pt x="337" y="66"/>
                  </a:lnTo>
                  <a:lnTo>
                    <a:pt x="338" y="67"/>
                  </a:lnTo>
                  <a:lnTo>
                    <a:pt x="338" y="67"/>
                  </a:lnTo>
                  <a:lnTo>
                    <a:pt x="340" y="67"/>
                  </a:lnTo>
                  <a:lnTo>
                    <a:pt x="340" y="67"/>
                  </a:lnTo>
                  <a:lnTo>
                    <a:pt x="340" y="69"/>
                  </a:lnTo>
                  <a:lnTo>
                    <a:pt x="343" y="70"/>
                  </a:lnTo>
                  <a:lnTo>
                    <a:pt x="343" y="71"/>
                  </a:lnTo>
                  <a:lnTo>
                    <a:pt x="343" y="73"/>
                  </a:lnTo>
                  <a:lnTo>
                    <a:pt x="343" y="74"/>
                  </a:lnTo>
                  <a:lnTo>
                    <a:pt x="343" y="76"/>
                  </a:lnTo>
                  <a:lnTo>
                    <a:pt x="343" y="77"/>
                  </a:lnTo>
                  <a:lnTo>
                    <a:pt x="343" y="79"/>
                  </a:lnTo>
                  <a:lnTo>
                    <a:pt x="343" y="79"/>
                  </a:lnTo>
                  <a:lnTo>
                    <a:pt x="343" y="84"/>
                  </a:lnTo>
                  <a:lnTo>
                    <a:pt x="341" y="86"/>
                  </a:lnTo>
                  <a:lnTo>
                    <a:pt x="340" y="86"/>
                  </a:lnTo>
                  <a:lnTo>
                    <a:pt x="338" y="86"/>
                  </a:lnTo>
                  <a:lnTo>
                    <a:pt x="335" y="86"/>
                  </a:lnTo>
                  <a:lnTo>
                    <a:pt x="334" y="84"/>
                  </a:lnTo>
                  <a:lnTo>
                    <a:pt x="331" y="83"/>
                  </a:lnTo>
                  <a:lnTo>
                    <a:pt x="328" y="80"/>
                  </a:lnTo>
                  <a:lnTo>
                    <a:pt x="325" y="77"/>
                  </a:lnTo>
                  <a:lnTo>
                    <a:pt x="323" y="73"/>
                  </a:lnTo>
                  <a:lnTo>
                    <a:pt x="323" y="71"/>
                  </a:lnTo>
                  <a:lnTo>
                    <a:pt x="323" y="70"/>
                  </a:lnTo>
                  <a:lnTo>
                    <a:pt x="323" y="66"/>
                  </a:lnTo>
                  <a:lnTo>
                    <a:pt x="323" y="64"/>
                  </a:lnTo>
                  <a:lnTo>
                    <a:pt x="324" y="63"/>
                  </a:lnTo>
                  <a:lnTo>
                    <a:pt x="324" y="60"/>
                  </a:lnTo>
                  <a:lnTo>
                    <a:pt x="325" y="60"/>
                  </a:lnTo>
                  <a:lnTo>
                    <a:pt x="325" y="60"/>
                  </a:lnTo>
                  <a:lnTo>
                    <a:pt x="327" y="60"/>
                  </a:lnTo>
                  <a:lnTo>
                    <a:pt x="327" y="58"/>
                  </a:lnTo>
                  <a:lnTo>
                    <a:pt x="327" y="58"/>
                  </a:lnTo>
                  <a:lnTo>
                    <a:pt x="328" y="58"/>
                  </a:lnTo>
                  <a:lnTo>
                    <a:pt x="328" y="57"/>
                  </a:lnTo>
                  <a:lnTo>
                    <a:pt x="328" y="57"/>
                  </a:lnTo>
                  <a:lnTo>
                    <a:pt x="328" y="57"/>
                  </a:lnTo>
                  <a:lnTo>
                    <a:pt x="328" y="56"/>
                  </a:lnTo>
                  <a:lnTo>
                    <a:pt x="327" y="54"/>
                  </a:lnTo>
                  <a:lnTo>
                    <a:pt x="327" y="53"/>
                  </a:lnTo>
                  <a:lnTo>
                    <a:pt x="324" y="53"/>
                  </a:lnTo>
                  <a:lnTo>
                    <a:pt x="323" y="53"/>
                  </a:lnTo>
                  <a:lnTo>
                    <a:pt x="321" y="51"/>
                  </a:lnTo>
                  <a:lnTo>
                    <a:pt x="320" y="51"/>
                  </a:lnTo>
                  <a:lnTo>
                    <a:pt x="317" y="51"/>
                  </a:lnTo>
                  <a:lnTo>
                    <a:pt x="317" y="50"/>
                  </a:lnTo>
                  <a:lnTo>
                    <a:pt x="315" y="47"/>
                  </a:lnTo>
                  <a:lnTo>
                    <a:pt x="313" y="47"/>
                  </a:lnTo>
                  <a:lnTo>
                    <a:pt x="313" y="46"/>
                  </a:lnTo>
                  <a:lnTo>
                    <a:pt x="308" y="46"/>
                  </a:lnTo>
                  <a:lnTo>
                    <a:pt x="307" y="44"/>
                  </a:lnTo>
                  <a:lnTo>
                    <a:pt x="305" y="44"/>
                  </a:lnTo>
                  <a:lnTo>
                    <a:pt x="304" y="44"/>
                  </a:lnTo>
                  <a:lnTo>
                    <a:pt x="303" y="43"/>
                  </a:lnTo>
                  <a:lnTo>
                    <a:pt x="301" y="43"/>
                  </a:lnTo>
                  <a:lnTo>
                    <a:pt x="300" y="43"/>
                  </a:lnTo>
                  <a:lnTo>
                    <a:pt x="300" y="43"/>
                  </a:lnTo>
                  <a:lnTo>
                    <a:pt x="297" y="40"/>
                  </a:lnTo>
                  <a:lnTo>
                    <a:pt x="294" y="38"/>
                  </a:lnTo>
                  <a:lnTo>
                    <a:pt x="292" y="37"/>
                  </a:lnTo>
                  <a:lnTo>
                    <a:pt x="291" y="36"/>
                  </a:lnTo>
                  <a:lnTo>
                    <a:pt x="291" y="36"/>
                  </a:lnTo>
                  <a:lnTo>
                    <a:pt x="291" y="34"/>
                  </a:lnTo>
                  <a:lnTo>
                    <a:pt x="290" y="33"/>
                  </a:lnTo>
                  <a:lnTo>
                    <a:pt x="288" y="31"/>
                  </a:lnTo>
                  <a:lnTo>
                    <a:pt x="288" y="31"/>
                  </a:lnTo>
                  <a:lnTo>
                    <a:pt x="287" y="30"/>
                  </a:lnTo>
                  <a:lnTo>
                    <a:pt x="287" y="28"/>
                  </a:lnTo>
                  <a:lnTo>
                    <a:pt x="285" y="27"/>
                  </a:lnTo>
                  <a:lnTo>
                    <a:pt x="285" y="18"/>
                  </a:lnTo>
                  <a:lnTo>
                    <a:pt x="285" y="16"/>
                  </a:lnTo>
                  <a:lnTo>
                    <a:pt x="285" y="11"/>
                  </a:lnTo>
                  <a:lnTo>
                    <a:pt x="287" y="4"/>
                  </a:lnTo>
                  <a:lnTo>
                    <a:pt x="285" y="1"/>
                  </a:lnTo>
                  <a:lnTo>
                    <a:pt x="285" y="0"/>
                  </a:lnTo>
                  <a:lnTo>
                    <a:pt x="284" y="0"/>
                  </a:lnTo>
                  <a:lnTo>
                    <a:pt x="282" y="5"/>
                  </a:lnTo>
                  <a:lnTo>
                    <a:pt x="280" y="16"/>
                  </a:lnTo>
                  <a:lnTo>
                    <a:pt x="277" y="21"/>
                  </a:lnTo>
                  <a:lnTo>
                    <a:pt x="272" y="27"/>
                  </a:lnTo>
                  <a:lnTo>
                    <a:pt x="267" y="33"/>
                  </a:lnTo>
                  <a:lnTo>
                    <a:pt x="265" y="34"/>
                  </a:lnTo>
                  <a:lnTo>
                    <a:pt x="264" y="37"/>
                  </a:lnTo>
                  <a:lnTo>
                    <a:pt x="264" y="41"/>
                  </a:lnTo>
                  <a:lnTo>
                    <a:pt x="264" y="43"/>
                  </a:lnTo>
                  <a:lnTo>
                    <a:pt x="260" y="47"/>
                  </a:lnTo>
                  <a:lnTo>
                    <a:pt x="257" y="51"/>
                  </a:lnTo>
                  <a:lnTo>
                    <a:pt x="257" y="66"/>
                  </a:lnTo>
                  <a:lnTo>
                    <a:pt x="255" y="67"/>
                  </a:lnTo>
                  <a:lnTo>
                    <a:pt x="255" y="69"/>
                  </a:lnTo>
                  <a:lnTo>
                    <a:pt x="260" y="63"/>
                  </a:lnTo>
                  <a:lnTo>
                    <a:pt x="261" y="63"/>
                  </a:lnTo>
                  <a:lnTo>
                    <a:pt x="262" y="63"/>
                  </a:lnTo>
                  <a:lnTo>
                    <a:pt x="264" y="63"/>
                  </a:lnTo>
                  <a:lnTo>
                    <a:pt x="265" y="64"/>
                  </a:lnTo>
                  <a:lnTo>
                    <a:pt x="265" y="67"/>
                  </a:lnTo>
                  <a:lnTo>
                    <a:pt x="265" y="69"/>
                  </a:lnTo>
                  <a:lnTo>
                    <a:pt x="265" y="69"/>
                  </a:lnTo>
                  <a:lnTo>
                    <a:pt x="268" y="80"/>
                  </a:lnTo>
                  <a:lnTo>
                    <a:pt x="267" y="93"/>
                  </a:lnTo>
                  <a:lnTo>
                    <a:pt x="264" y="104"/>
                  </a:lnTo>
                  <a:lnTo>
                    <a:pt x="262" y="111"/>
                  </a:lnTo>
                  <a:lnTo>
                    <a:pt x="261" y="120"/>
                  </a:lnTo>
                  <a:lnTo>
                    <a:pt x="261" y="136"/>
                  </a:lnTo>
                  <a:lnTo>
                    <a:pt x="260" y="147"/>
                  </a:lnTo>
                  <a:lnTo>
                    <a:pt x="258" y="150"/>
                  </a:lnTo>
                  <a:lnTo>
                    <a:pt x="257" y="149"/>
                  </a:lnTo>
                  <a:lnTo>
                    <a:pt x="255" y="147"/>
                  </a:lnTo>
                  <a:lnTo>
                    <a:pt x="255" y="147"/>
                  </a:lnTo>
                  <a:lnTo>
                    <a:pt x="255" y="147"/>
                  </a:lnTo>
                  <a:lnTo>
                    <a:pt x="255" y="146"/>
                  </a:lnTo>
                  <a:lnTo>
                    <a:pt x="254" y="146"/>
                  </a:lnTo>
                  <a:lnTo>
                    <a:pt x="252" y="144"/>
                  </a:lnTo>
                  <a:lnTo>
                    <a:pt x="250" y="142"/>
                  </a:lnTo>
                  <a:lnTo>
                    <a:pt x="250" y="140"/>
                  </a:lnTo>
                  <a:lnTo>
                    <a:pt x="248" y="139"/>
                  </a:lnTo>
                  <a:lnTo>
                    <a:pt x="248" y="139"/>
                  </a:lnTo>
                  <a:lnTo>
                    <a:pt x="247" y="137"/>
                  </a:lnTo>
                  <a:lnTo>
                    <a:pt x="248" y="133"/>
                  </a:lnTo>
                  <a:lnTo>
                    <a:pt x="248" y="132"/>
                  </a:lnTo>
                  <a:lnTo>
                    <a:pt x="248" y="130"/>
                  </a:lnTo>
                  <a:lnTo>
                    <a:pt x="248" y="129"/>
                  </a:lnTo>
                  <a:lnTo>
                    <a:pt x="248" y="127"/>
                  </a:lnTo>
                  <a:lnTo>
                    <a:pt x="248" y="127"/>
                  </a:lnTo>
                  <a:lnTo>
                    <a:pt x="250" y="126"/>
                  </a:lnTo>
                  <a:lnTo>
                    <a:pt x="250" y="124"/>
                  </a:lnTo>
                  <a:lnTo>
                    <a:pt x="250" y="123"/>
                  </a:lnTo>
                  <a:lnTo>
                    <a:pt x="250" y="121"/>
                  </a:lnTo>
                  <a:lnTo>
                    <a:pt x="248" y="121"/>
                  </a:lnTo>
                  <a:lnTo>
                    <a:pt x="248" y="119"/>
                  </a:lnTo>
                  <a:lnTo>
                    <a:pt x="248" y="119"/>
                  </a:lnTo>
                  <a:lnTo>
                    <a:pt x="248" y="117"/>
                  </a:lnTo>
                  <a:lnTo>
                    <a:pt x="248" y="117"/>
                  </a:lnTo>
                  <a:lnTo>
                    <a:pt x="248" y="116"/>
                  </a:lnTo>
                  <a:lnTo>
                    <a:pt x="250" y="116"/>
                  </a:lnTo>
                  <a:lnTo>
                    <a:pt x="250" y="114"/>
                  </a:lnTo>
                  <a:lnTo>
                    <a:pt x="248" y="113"/>
                  </a:lnTo>
                  <a:lnTo>
                    <a:pt x="248" y="111"/>
                  </a:lnTo>
                  <a:lnTo>
                    <a:pt x="247" y="110"/>
                  </a:lnTo>
                  <a:lnTo>
                    <a:pt x="245" y="109"/>
                  </a:lnTo>
                  <a:lnTo>
                    <a:pt x="241" y="107"/>
                  </a:lnTo>
                  <a:lnTo>
                    <a:pt x="240" y="107"/>
                  </a:lnTo>
                  <a:lnTo>
                    <a:pt x="237" y="107"/>
                  </a:lnTo>
                  <a:lnTo>
                    <a:pt x="234" y="107"/>
                  </a:lnTo>
                  <a:lnTo>
                    <a:pt x="231" y="107"/>
                  </a:lnTo>
                  <a:lnTo>
                    <a:pt x="228" y="107"/>
                  </a:lnTo>
                  <a:lnTo>
                    <a:pt x="227" y="109"/>
                  </a:lnTo>
                  <a:lnTo>
                    <a:pt x="225" y="110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2" y="113"/>
                  </a:lnTo>
                  <a:lnTo>
                    <a:pt x="221" y="113"/>
                  </a:lnTo>
                  <a:lnTo>
                    <a:pt x="219" y="113"/>
                  </a:lnTo>
                  <a:lnTo>
                    <a:pt x="219" y="113"/>
                  </a:lnTo>
                  <a:lnTo>
                    <a:pt x="218" y="114"/>
                  </a:lnTo>
                  <a:lnTo>
                    <a:pt x="215" y="114"/>
                  </a:lnTo>
                  <a:lnTo>
                    <a:pt x="214" y="114"/>
                  </a:lnTo>
                  <a:lnTo>
                    <a:pt x="212" y="116"/>
                  </a:lnTo>
                  <a:lnTo>
                    <a:pt x="211" y="116"/>
                  </a:lnTo>
                  <a:lnTo>
                    <a:pt x="212" y="113"/>
                  </a:lnTo>
                  <a:lnTo>
                    <a:pt x="212" y="113"/>
                  </a:lnTo>
                  <a:lnTo>
                    <a:pt x="212" y="111"/>
                  </a:lnTo>
                  <a:lnTo>
                    <a:pt x="212" y="110"/>
                  </a:lnTo>
                  <a:lnTo>
                    <a:pt x="214" y="109"/>
                  </a:lnTo>
                  <a:lnTo>
                    <a:pt x="214" y="107"/>
                  </a:lnTo>
                  <a:lnTo>
                    <a:pt x="215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21" y="106"/>
                  </a:lnTo>
                  <a:lnTo>
                    <a:pt x="222" y="106"/>
                  </a:lnTo>
                  <a:lnTo>
                    <a:pt x="222" y="106"/>
                  </a:lnTo>
                  <a:lnTo>
                    <a:pt x="222" y="106"/>
                  </a:lnTo>
                  <a:lnTo>
                    <a:pt x="225" y="106"/>
                  </a:lnTo>
                  <a:lnTo>
                    <a:pt x="225" y="106"/>
                  </a:lnTo>
                  <a:lnTo>
                    <a:pt x="227" y="104"/>
                  </a:lnTo>
                  <a:lnTo>
                    <a:pt x="228" y="103"/>
                  </a:lnTo>
                  <a:lnTo>
                    <a:pt x="227" y="103"/>
                  </a:lnTo>
                  <a:lnTo>
                    <a:pt x="225" y="101"/>
                  </a:lnTo>
                  <a:lnTo>
                    <a:pt x="224" y="100"/>
                  </a:lnTo>
                  <a:lnTo>
                    <a:pt x="224" y="100"/>
                  </a:lnTo>
                  <a:lnTo>
                    <a:pt x="222" y="99"/>
                  </a:lnTo>
                  <a:lnTo>
                    <a:pt x="221" y="99"/>
                  </a:lnTo>
                  <a:lnTo>
                    <a:pt x="218" y="97"/>
                  </a:lnTo>
                  <a:lnTo>
                    <a:pt x="217" y="97"/>
                  </a:lnTo>
                  <a:lnTo>
                    <a:pt x="215" y="97"/>
                  </a:lnTo>
                  <a:lnTo>
                    <a:pt x="214" y="97"/>
                  </a:lnTo>
                  <a:lnTo>
                    <a:pt x="212" y="96"/>
                  </a:lnTo>
                  <a:lnTo>
                    <a:pt x="209" y="97"/>
                  </a:lnTo>
                  <a:lnTo>
                    <a:pt x="208" y="97"/>
                  </a:lnTo>
                  <a:lnTo>
                    <a:pt x="207" y="97"/>
                  </a:lnTo>
                  <a:lnTo>
                    <a:pt x="205" y="97"/>
                  </a:lnTo>
                  <a:lnTo>
                    <a:pt x="204" y="97"/>
                  </a:lnTo>
                  <a:lnTo>
                    <a:pt x="202" y="97"/>
                  </a:lnTo>
                  <a:lnTo>
                    <a:pt x="201" y="99"/>
                  </a:lnTo>
                  <a:lnTo>
                    <a:pt x="199" y="99"/>
                  </a:lnTo>
                  <a:lnTo>
                    <a:pt x="199" y="99"/>
                  </a:lnTo>
                  <a:lnTo>
                    <a:pt x="198" y="100"/>
                  </a:lnTo>
                  <a:lnTo>
                    <a:pt x="192" y="103"/>
                  </a:lnTo>
                  <a:lnTo>
                    <a:pt x="179" y="109"/>
                  </a:lnTo>
                  <a:lnTo>
                    <a:pt x="176" y="110"/>
                  </a:lnTo>
                  <a:lnTo>
                    <a:pt x="172" y="111"/>
                  </a:lnTo>
                  <a:lnTo>
                    <a:pt x="168" y="110"/>
                  </a:lnTo>
                  <a:lnTo>
                    <a:pt x="159" y="106"/>
                  </a:lnTo>
                  <a:lnTo>
                    <a:pt x="149" y="100"/>
                  </a:lnTo>
                  <a:lnTo>
                    <a:pt x="142" y="99"/>
                  </a:lnTo>
                  <a:lnTo>
                    <a:pt x="138" y="99"/>
                  </a:lnTo>
                  <a:lnTo>
                    <a:pt x="131" y="101"/>
                  </a:lnTo>
                  <a:lnTo>
                    <a:pt x="123" y="107"/>
                  </a:lnTo>
                  <a:lnTo>
                    <a:pt x="121" y="109"/>
                  </a:lnTo>
                  <a:lnTo>
                    <a:pt x="118" y="113"/>
                  </a:lnTo>
                  <a:lnTo>
                    <a:pt x="116" y="114"/>
                  </a:lnTo>
                  <a:lnTo>
                    <a:pt x="105" y="119"/>
                  </a:lnTo>
                  <a:lnTo>
                    <a:pt x="99" y="117"/>
                  </a:lnTo>
                  <a:lnTo>
                    <a:pt x="92" y="116"/>
                  </a:lnTo>
                  <a:lnTo>
                    <a:pt x="88" y="114"/>
                  </a:lnTo>
                  <a:lnTo>
                    <a:pt x="81" y="109"/>
                  </a:lnTo>
                  <a:lnTo>
                    <a:pt x="81" y="109"/>
                  </a:lnTo>
                  <a:lnTo>
                    <a:pt x="75" y="101"/>
                  </a:lnTo>
                  <a:lnTo>
                    <a:pt x="66" y="86"/>
                  </a:lnTo>
                  <a:lnTo>
                    <a:pt x="62" y="77"/>
                  </a:lnTo>
                  <a:lnTo>
                    <a:pt x="60" y="64"/>
                  </a:lnTo>
                  <a:lnTo>
                    <a:pt x="59" y="51"/>
                  </a:lnTo>
                  <a:lnTo>
                    <a:pt x="58" y="46"/>
                  </a:lnTo>
                  <a:lnTo>
                    <a:pt x="56" y="43"/>
                  </a:lnTo>
                  <a:lnTo>
                    <a:pt x="56" y="41"/>
                  </a:lnTo>
                  <a:lnTo>
                    <a:pt x="53" y="40"/>
                  </a:lnTo>
                  <a:lnTo>
                    <a:pt x="53" y="38"/>
                  </a:lnTo>
                  <a:lnTo>
                    <a:pt x="50" y="38"/>
                  </a:lnTo>
                  <a:lnTo>
                    <a:pt x="48" y="38"/>
                  </a:lnTo>
                  <a:lnTo>
                    <a:pt x="46" y="37"/>
                  </a:lnTo>
                  <a:lnTo>
                    <a:pt x="43" y="37"/>
                  </a:lnTo>
                  <a:lnTo>
                    <a:pt x="40" y="37"/>
                  </a:lnTo>
                  <a:lnTo>
                    <a:pt x="39" y="36"/>
                  </a:lnTo>
                  <a:lnTo>
                    <a:pt x="36" y="36"/>
                  </a:lnTo>
                  <a:lnTo>
                    <a:pt x="35" y="36"/>
                  </a:lnTo>
                  <a:lnTo>
                    <a:pt x="30" y="36"/>
                  </a:lnTo>
                  <a:lnTo>
                    <a:pt x="32" y="36"/>
                  </a:lnTo>
                  <a:lnTo>
                    <a:pt x="29" y="36"/>
                  </a:lnTo>
                  <a:lnTo>
                    <a:pt x="26" y="37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8" y="40"/>
                  </a:lnTo>
                  <a:lnTo>
                    <a:pt x="29" y="40"/>
                  </a:lnTo>
                  <a:lnTo>
                    <a:pt x="30" y="40"/>
                  </a:lnTo>
                  <a:lnTo>
                    <a:pt x="36" y="41"/>
                  </a:lnTo>
                  <a:lnTo>
                    <a:pt x="38" y="41"/>
                  </a:lnTo>
                  <a:lnTo>
                    <a:pt x="39" y="41"/>
                  </a:lnTo>
                  <a:lnTo>
                    <a:pt x="40" y="41"/>
                  </a:lnTo>
                  <a:lnTo>
                    <a:pt x="43" y="43"/>
                  </a:lnTo>
                  <a:lnTo>
                    <a:pt x="45" y="43"/>
                  </a:lnTo>
                  <a:lnTo>
                    <a:pt x="45" y="44"/>
                  </a:lnTo>
                  <a:lnTo>
                    <a:pt x="46" y="46"/>
                  </a:lnTo>
                  <a:lnTo>
                    <a:pt x="48" y="48"/>
                  </a:lnTo>
                  <a:lnTo>
                    <a:pt x="46" y="50"/>
                  </a:lnTo>
                  <a:lnTo>
                    <a:pt x="46" y="50"/>
                  </a:lnTo>
                  <a:lnTo>
                    <a:pt x="45" y="51"/>
                  </a:lnTo>
                  <a:lnTo>
                    <a:pt x="43" y="50"/>
                  </a:lnTo>
                  <a:lnTo>
                    <a:pt x="43" y="48"/>
                  </a:lnTo>
                  <a:lnTo>
                    <a:pt x="42" y="47"/>
                  </a:lnTo>
                  <a:lnTo>
                    <a:pt x="40" y="46"/>
                  </a:lnTo>
                  <a:lnTo>
                    <a:pt x="39" y="46"/>
                  </a:lnTo>
                  <a:lnTo>
                    <a:pt x="38" y="46"/>
                  </a:lnTo>
                  <a:lnTo>
                    <a:pt x="38" y="47"/>
                  </a:lnTo>
                  <a:lnTo>
                    <a:pt x="38" y="48"/>
                  </a:lnTo>
                  <a:lnTo>
                    <a:pt x="36" y="51"/>
                  </a:lnTo>
                  <a:lnTo>
                    <a:pt x="35" y="53"/>
                  </a:lnTo>
                  <a:lnTo>
                    <a:pt x="35" y="54"/>
                  </a:lnTo>
                  <a:lnTo>
                    <a:pt x="36" y="57"/>
                  </a:lnTo>
                  <a:lnTo>
                    <a:pt x="38" y="58"/>
                  </a:lnTo>
                  <a:lnTo>
                    <a:pt x="39" y="60"/>
                  </a:lnTo>
                  <a:lnTo>
                    <a:pt x="40" y="60"/>
                  </a:lnTo>
                  <a:lnTo>
                    <a:pt x="42" y="61"/>
                  </a:lnTo>
                  <a:lnTo>
                    <a:pt x="45" y="67"/>
                  </a:lnTo>
                  <a:lnTo>
                    <a:pt x="46" y="69"/>
                  </a:lnTo>
                  <a:lnTo>
                    <a:pt x="49" y="71"/>
                  </a:lnTo>
                  <a:lnTo>
                    <a:pt x="49" y="73"/>
                  </a:lnTo>
                  <a:lnTo>
                    <a:pt x="48" y="73"/>
                  </a:lnTo>
                  <a:lnTo>
                    <a:pt x="46" y="74"/>
                  </a:lnTo>
                  <a:lnTo>
                    <a:pt x="45" y="73"/>
                  </a:lnTo>
                  <a:lnTo>
                    <a:pt x="42" y="73"/>
                  </a:lnTo>
                  <a:lnTo>
                    <a:pt x="40" y="73"/>
                  </a:lnTo>
                  <a:lnTo>
                    <a:pt x="38" y="70"/>
                  </a:lnTo>
                  <a:lnTo>
                    <a:pt x="35" y="69"/>
                  </a:lnTo>
                  <a:lnTo>
                    <a:pt x="33" y="67"/>
                  </a:lnTo>
                  <a:lnTo>
                    <a:pt x="33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0" y="63"/>
                  </a:lnTo>
                  <a:lnTo>
                    <a:pt x="30" y="61"/>
                  </a:lnTo>
                  <a:lnTo>
                    <a:pt x="29" y="60"/>
                  </a:lnTo>
                  <a:lnTo>
                    <a:pt x="26" y="58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2" y="54"/>
                  </a:lnTo>
                  <a:lnTo>
                    <a:pt x="20" y="53"/>
                  </a:lnTo>
                  <a:lnTo>
                    <a:pt x="18" y="51"/>
                  </a:lnTo>
                  <a:lnTo>
                    <a:pt x="15" y="50"/>
                  </a:lnTo>
                  <a:lnTo>
                    <a:pt x="13" y="48"/>
                  </a:lnTo>
                  <a:lnTo>
                    <a:pt x="12" y="47"/>
                  </a:lnTo>
                  <a:lnTo>
                    <a:pt x="10" y="44"/>
                  </a:lnTo>
                  <a:lnTo>
                    <a:pt x="6" y="44"/>
                  </a:lnTo>
                  <a:lnTo>
                    <a:pt x="5" y="47"/>
                  </a:lnTo>
                  <a:lnTo>
                    <a:pt x="3" y="47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0" y="54"/>
                  </a:lnTo>
                  <a:lnTo>
                    <a:pt x="2" y="58"/>
                  </a:lnTo>
                  <a:lnTo>
                    <a:pt x="5" y="66"/>
                  </a:lnTo>
                  <a:lnTo>
                    <a:pt x="15" y="87"/>
                  </a:lnTo>
                  <a:lnTo>
                    <a:pt x="19" y="106"/>
                  </a:lnTo>
                  <a:lnTo>
                    <a:pt x="23" y="127"/>
                  </a:lnTo>
                  <a:lnTo>
                    <a:pt x="22" y="133"/>
                  </a:lnTo>
                  <a:lnTo>
                    <a:pt x="22" y="134"/>
                  </a:lnTo>
                  <a:lnTo>
                    <a:pt x="22" y="134"/>
                  </a:lnTo>
                  <a:lnTo>
                    <a:pt x="20" y="137"/>
                  </a:lnTo>
                  <a:lnTo>
                    <a:pt x="19" y="139"/>
                  </a:lnTo>
                  <a:lnTo>
                    <a:pt x="18" y="139"/>
                  </a:lnTo>
                  <a:lnTo>
                    <a:pt x="18" y="140"/>
                  </a:lnTo>
                  <a:lnTo>
                    <a:pt x="16" y="143"/>
                  </a:lnTo>
                  <a:lnTo>
                    <a:pt x="15" y="143"/>
                  </a:lnTo>
                  <a:lnTo>
                    <a:pt x="13" y="144"/>
                  </a:lnTo>
                  <a:lnTo>
                    <a:pt x="13" y="147"/>
                  </a:lnTo>
                  <a:lnTo>
                    <a:pt x="12" y="149"/>
                  </a:lnTo>
                  <a:lnTo>
                    <a:pt x="9" y="156"/>
                  </a:lnTo>
                  <a:lnTo>
                    <a:pt x="6" y="159"/>
                  </a:lnTo>
                  <a:lnTo>
                    <a:pt x="6" y="160"/>
                  </a:lnTo>
                  <a:lnTo>
                    <a:pt x="5" y="162"/>
                  </a:lnTo>
                  <a:lnTo>
                    <a:pt x="3" y="163"/>
                  </a:lnTo>
                  <a:lnTo>
                    <a:pt x="3" y="163"/>
                  </a:lnTo>
                  <a:lnTo>
                    <a:pt x="3" y="166"/>
                  </a:lnTo>
                  <a:lnTo>
                    <a:pt x="2" y="167"/>
                  </a:lnTo>
                  <a:lnTo>
                    <a:pt x="0" y="179"/>
                  </a:lnTo>
                  <a:lnTo>
                    <a:pt x="2" y="182"/>
                  </a:lnTo>
                  <a:lnTo>
                    <a:pt x="3" y="187"/>
                  </a:lnTo>
                  <a:lnTo>
                    <a:pt x="5" y="193"/>
                  </a:lnTo>
                  <a:lnTo>
                    <a:pt x="6" y="197"/>
                  </a:lnTo>
                  <a:lnTo>
                    <a:pt x="7" y="200"/>
                  </a:lnTo>
                  <a:lnTo>
                    <a:pt x="9" y="202"/>
                  </a:lnTo>
                  <a:lnTo>
                    <a:pt x="9" y="205"/>
                  </a:lnTo>
                  <a:lnTo>
                    <a:pt x="9" y="205"/>
                  </a:lnTo>
                  <a:lnTo>
                    <a:pt x="10" y="206"/>
                  </a:lnTo>
                  <a:lnTo>
                    <a:pt x="10" y="207"/>
                  </a:lnTo>
                  <a:lnTo>
                    <a:pt x="12" y="209"/>
                  </a:lnTo>
                  <a:lnTo>
                    <a:pt x="15" y="210"/>
                  </a:lnTo>
                  <a:lnTo>
                    <a:pt x="18" y="213"/>
                  </a:lnTo>
                  <a:lnTo>
                    <a:pt x="18" y="213"/>
                  </a:lnTo>
                  <a:lnTo>
                    <a:pt x="19" y="213"/>
                  </a:lnTo>
                  <a:lnTo>
                    <a:pt x="22" y="213"/>
                  </a:lnTo>
                  <a:lnTo>
                    <a:pt x="25" y="213"/>
                  </a:lnTo>
                  <a:lnTo>
                    <a:pt x="25" y="212"/>
                  </a:lnTo>
                  <a:lnTo>
                    <a:pt x="26" y="210"/>
                  </a:lnTo>
                  <a:lnTo>
                    <a:pt x="28" y="210"/>
                  </a:lnTo>
                  <a:lnTo>
                    <a:pt x="28" y="209"/>
                  </a:lnTo>
                  <a:lnTo>
                    <a:pt x="29" y="209"/>
                  </a:lnTo>
                  <a:lnTo>
                    <a:pt x="29" y="212"/>
                  </a:lnTo>
                  <a:lnTo>
                    <a:pt x="28" y="215"/>
                  </a:lnTo>
                  <a:lnTo>
                    <a:pt x="28" y="216"/>
                  </a:lnTo>
                  <a:lnTo>
                    <a:pt x="28" y="217"/>
                  </a:lnTo>
                  <a:lnTo>
                    <a:pt x="28" y="217"/>
                  </a:lnTo>
                  <a:lnTo>
                    <a:pt x="28" y="220"/>
                  </a:lnTo>
                  <a:lnTo>
                    <a:pt x="28" y="222"/>
                  </a:lnTo>
                  <a:lnTo>
                    <a:pt x="28" y="225"/>
                  </a:lnTo>
                  <a:lnTo>
                    <a:pt x="26" y="229"/>
                  </a:lnTo>
                  <a:lnTo>
                    <a:pt x="23" y="230"/>
                  </a:lnTo>
                  <a:lnTo>
                    <a:pt x="22" y="233"/>
                  </a:lnTo>
                  <a:lnTo>
                    <a:pt x="20" y="235"/>
                  </a:lnTo>
                  <a:lnTo>
                    <a:pt x="20" y="236"/>
                  </a:lnTo>
                  <a:lnTo>
                    <a:pt x="19" y="238"/>
                  </a:lnTo>
                  <a:lnTo>
                    <a:pt x="19" y="239"/>
                  </a:lnTo>
                  <a:lnTo>
                    <a:pt x="19" y="240"/>
                  </a:lnTo>
                  <a:lnTo>
                    <a:pt x="19" y="243"/>
                  </a:lnTo>
                  <a:lnTo>
                    <a:pt x="19" y="245"/>
                  </a:lnTo>
                  <a:lnTo>
                    <a:pt x="19" y="245"/>
                  </a:lnTo>
                  <a:lnTo>
                    <a:pt x="19" y="246"/>
                  </a:lnTo>
                  <a:lnTo>
                    <a:pt x="20" y="246"/>
                  </a:lnTo>
                  <a:lnTo>
                    <a:pt x="22" y="248"/>
                  </a:lnTo>
                  <a:lnTo>
                    <a:pt x="25" y="248"/>
                  </a:lnTo>
                  <a:lnTo>
                    <a:pt x="23" y="249"/>
                  </a:lnTo>
                  <a:lnTo>
                    <a:pt x="25" y="250"/>
                  </a:lnTo>
                  <a:lnTo>
                    <a:pt x="23" y="252"/>
                  </a:lnTo>
                  <a:lnTo>
                    <a:pt x="23" y="253"/>
                  </a:lnTo>
                  <a:lnTo>
                    <a:pt x="20" y="262"/>
                  </a:lnTo>
                  <a:lnTo>
                    <a:pt x="16" y="269"/>
                  </a:lnTo>
                  <a:lnTo>
                    <a:pt x="15" y="275"/>
                  </a:lnTo>
                  <a:lnTo>
                    <a:pt x="15" y="279"/>
                  </a:lnTo>
                  <a:lnTo>
                    <a:pt x="18" y="283"/>
                  </a:lnTo>
                  <a:lnTo>
                    <a:pt x="19" y="286"/>
                  </a:lnTo>
                  <a:lnTo>
                    <a:pt x="20" y="288"/>
                  </a:lnTo>
                  <a:lnTo>
                    <a:pt x="22" y="293"/>
                  </a:lnTo>
                  <a:lnTo>
                    <a:pt x="20" y="296"/>
                  </a:lnTo>
                  <a:lnTo>
                    <a:pt x="23" y="302"/>
                  </a:lnTo>
                  <a:lnTo>
                    <a:pt x="26" y="308"/>
                  </a:lnTo>
                  <a:lnTo>
                    <a:pt x="26" y="309"/>
                  </a:lnTo>
                  <a:lnTo>
                    <a:pt x="30" y="312"/>
                  </a:lnTo>
                  <a:lnTo>
                    <a:pt x="32" y="318"/>
                  </a:lnTo>
                  <a:lnTo>
                    <a:pt x="33" y="331"/>
                  </a:lnTo>
                  <a:lnTo>
                    <a:pt x="35" y="335"/>
                  </a:lnTo>
                  <a:lnTo>
                    <a:pt x="36" y="341"/>
                  </a:lnTo>
                  <a:lnTo>
                    <a:pt x="39" y="345"/>
                  </a:lnTo>
                  <a:lnTo>
                    <a:pt x="39" y="349"/>
                  </a:lnTo>
                  <a:lnTo>
                    <a:pt x="36" y="356"/>
                  </a:lnTo>
                  <a:lnTo>
                    <a:pt x="35" y="364"/>
                  </a:lnTo>
                  <a:lnTo>
                    <a:pt x="35" y="368"/>
                  </a:lnTo>
                  <a:lnTo>
                    <a:pt x="36" y="372"/>
                  </a:lnTo>
                  <a:lnTo>
                    <a:pt x="38" y="376"/>
                  </a:lnTo>
                  <a:lnTo>
                    <a:pt x="38" y="381"/>
                  </a:lnTo>
                  <a:lnTo>
                    <a:pt x="36" y="385"/>
                  </a:lnTo>
                  <a:lnTo>
                    <a:pt x="35" y="389"/>
                  </a:lnTo>
                  <a:lnTo>
                    <a:pt x="33" y="391"/>
                  </a:lnTo>
                  <a:lnTo>
                    <a:pt x="35" y="394"/>
                  </a:lnTo>
                  <a:lnTo>
                    <a:pt x="35" y="401"/>
                  </a:lnTo>
                  <a:lnTo>
                    <a:pt x="33" y="408"/>
                  </a:lnTo>
                  <a:lnTo>
                    <a:pt x="30" y="411"/>
                  </a:lnTo>
                  <a:lnTo>
                    <a:pt x="30" y="422"/>
                  </a:lnTo>
                  <a:lnTo>
                    <a:pt x="29" y="429"/>
                  </a:lnTo>
                  <a:lnTo>
                    <a:pt x="25" y="451"/>
                  </a:lnTo>
                  <a:lnTo>
                    <a:pt x="23" y="458"/>
                  </a:lnTo>
                  <a:lnTo>
                    <a:pt x="19" y="481"/>
                  </a:lnTo>
                  <a:lnTo>
                    <a:pt x="16" y="494"/>
                  </a:lnTo>
                  <a:lnTo>
                    <a:pt x="13" y="504"/>
                  </a:lnTo>
                  <a:lnTo>
                    <a:pt x="10" y="517"/>
                  </a:lnTo>
                  <a:lnTo>
                    <a:pt x="10" y="528"/>
                  </a:lnTo>
                  <a:lnTo>
                    <a:pt x="10" y="535"/>
                  </a:lnTo>
                  <a:lnTo>
                    <a:pt x="9" y="538"/>
                  </a:lnTo>
                  <a:lnTo>
                    <a:pt x="6" y="543"/>
                  </a:lnTo>
                  <a:lnTo>
                    <a:pt x="6" y="545"/>
                  </a:lnTo>
                  <a:lnTo>
                    <a:pt x="6" y="548"/>
                  </a:lnTo>
                  <a:lnTo>
                    <a:pt x="7" y="550"/>
                  </a:lnTo>
                  <a:lnTo>
                    <a:pt x="7" y="553"/>
                  </a:lnTo>
                  <a:lnTo>
                    <a:pt x="7" y="554"/>
                  </a:lnTo>
                  <a:lnTo>
                    <a:pt x="7" y="554"/>
                  </a:lnTo>
                  <a:lnTo>
                    <a:pt x="7" y="557"/>
                  </a:lnTo>
                  <a:lnTo>
                    <a:pt x="9" y="557"/>
                  </a:lnTo>
                  <a:lnTo>
                    <a:pt x="13" y="555"/>
                  </a:lnTo>
                  <a:lnTo>
                    <a:pt x="16" y="554"/>
                  </a:lnTo>
                  <a:lnTo>
                    <a:pt x="19" y="553"/>
                  </a:lnTo>
                  <a:lnTo>
                    <a:pt x="23" y="551"/>
                  </a:lnTo>
                  <a:lnTo>
                    <a:pt x="23" y="550"/>
                  </a:lnTo>
                  <a:lnTo>
                    <a:pt x="35" y="548"/>
                  </a:lnTo>
                  <a:lnTo>
                    <a:pt x="45" y="548"/>
                  </a:lnTo>
                  <a:lnTo>
                    <a:pt x="56" y="560"/>
                  </a:lnTo>
                  <a:lnTo>
                    <a:pt x="59" y="567"/>
                  </a:lnTo>
                  <a:lnTo>
                    <a:pt x="62" y="573"/>
                  </a:lnTo>
                  <a:lnTo>
                    <a:pt x="65" y="583"/>
                  </a:lnTo>
                  <a:lnTo>
                    <a:pt x="71" y="588"/>
                  </a:lnTo>
                  <a:lnTo>
                    <a:pt x="73" y="593"/>
                  </a:lnTo>
                  <a:lnTo>
                    <a:pt x="79" y="601"/>
                  </a:lnTo>
                  <a:lnTo>
                    <a:pt x="88" y="608"/>
                  </a:lnTo>
                  <a:lnTo>
                    <a:pt x="92" y="603"/>
                  </a:lnTo>
                  <a:lnTo>
                    <a:pt x="99" y="597"/>
                  </a:lnTo>
                  <a:lnTo>
                    <a:pt x="105" y="591"/>
                  </a:lnTo>
                  <a:lnTo>
                    <a:pt x="108" y="588"/>
                  </a:lnTo>
                  <a:lnTo>
                    <a:pt x="115" y="586"/>
                  </a:lnTo>
                  <a:lnTo>
                    <a:pt x="118" y="586"/>
                  </a:lnTo>
                  <a:lnTo>
                    <a:pt x="126" y="580"/>
                  </a:lnTo>
                  <a:lnTo>
                    <a:pt x="132" y="578"/>
                  </a:lnTo>
                  <a:lnTo>
                    <a:pt x="135" y="577"/>
                  </a:lnTo>
                  <a:lnTo>
                    <a:pt x="142" y="577"/>
                  </a:lnTo>
                  <a:lnTo>
                    <a:pt x="152" y="581"/>
                  </a:lnTo>
                  <a:lnTo>
                    <a:pt x="158" y="580"/>
                  </a:lnTo>
                  <a:lnTo>
                    <a:pt x="164" y="576"/>
                  </a:lnTo>
                  <a:lnTo>
                    <a:pt x="168" y="574"/>
                  </a:lnTo>
                  <a:lnTo>
                    <a:pt x="174" y="568"/>
                  </a:lnTo>
                  <a:lnTo>
                    <a:pt x="184" y="570"/>
                  </a:lnTo>
                  <a:lnTo>
                    <a:pt x="191" y="571"/>
                  </a:lnTo>
                  <a:lnTo>
                    <a:pt x="192" y="574"/>
                  </a:lnTo>
                  <a:lnTo>
                    <a:pt x="192" y="577"/>
                  </a:lnTo>
                  <a:lnTo>
                    <a:pt x="182" y="580"/>
                  </a:lnTo>
                  <a:lnTo>
                    <a:pt x="181" y="586"/>
                  </a:lnTo>
                  <a:lnTo>
                    <a:pt x="189" y="593"/>
                  </a:lnTo>
                  <a:lnTo>
                    <a:pt x="194" y="593"/>
                  </a:lnTo>
                  <a:lnTo>
                    <a:pt x="198" y="596"/>
                  </a:lnTo>
                  <a:lnTo>
                    <a:pt x="198" y="603"/>
                  </a:lnTo>
                  <a:lnTo>
                    <a:pt x="185" y="601"/>
                  </a:lnTo>
                  <a:lnTo>
                    <a:pt x="187" y="607"/>
                  </a:lnTo>
                  <a:lnTo>
                    <a:pt x="191" y="610"/>
                  </a:lnTo>
                  <a:lnTo>
                    <a:pt x="191" y="614"/>
                  </a:lnTo>
                  <a:lnTo>
                    <a:pt x="187" y="616"/>
                  </a:lnTo>
                  <a:lnTo>
                    <a:pt x="188" y="620"/>
                  </a:lnTo>
                  <a:lnTo>
                    <a:pt x="192" y="626"/>
                  </a:lnTo>
                  <a:lnTo>
                    <a:pt x="198" y="628"/>
                  </a:lnTo>
                  <a:lnTo>
                    <a:pt x="204" y="627"/>
                  </a:lnTo>
                  <a:lnTo>
                    <a:pt x="209" y="626"/>
                  </a:lnTo>
                  <a:lnTo>
                    <a:pt x="217" y="628"/>
                  </a:lnTo>
                  <a:lnTo>
                    <a:pt x="222" y="628"/>
                  </a:lnTo>
                  <a:lnTo>
                    <a:pt x="229" y="627"/>
                  </a:lnTo>
                  <a:lnTo>
                    <a:pt x="241" y="626"/>
                  </a:lnTo>
                  <a:lnTo>
                    <a:pt x="245" y="626"/>
                  </a:lnTo>
                  <a:lnTo>
                    <a:pt x="250" y="624"/>
                  </a:lnTo>
                  <a:lnTo>
                    <a:pt x="255" y="624"/>
                  </a:lnTo>
                  <a:lnTo>
                    <a:pt x="258" y="620"/>
                  </a:lnTo>
                  <a:lnTo>
                    <a:pt x="260" y="613"/>
                  </a:lnTo>
                  <a:lnTo>
                    <a:pt x="258" y="607"/>
                  </a:lnTo>
                  <a:lnTo>
                    <a:pt x="260" y="601"/>
                  </a:lnTo>
                  <a:lnTo>
                    <a:pt x="264" y="603"/>
                  </a:lnTo>
                  <a:lnTo>
                    <a:pt x="268" y="606"/>
                  </a:lnTo>
                  <a:lnTo>
                    <a:pt x="271" y="607"/>
                  </a:lnTo>
                  <a:lnTo>
                    <a:pt x="274" y="606"/>
                  </a:lnTo>
                  <a:lnTo>
                    <a:pt x="275" y="603"/>
                  </a:lnTo>
                  <a:lnTo>
                    <a:pt x="281" y="606"/>
                  </a:lnTo>
                  <a:lnTo>
                    <a:pt x="284" y="607"/>
                  </a:lnTo>
                  <a:lnTo>
                    <a:pt x="281" y="596"/>
                  </a:lnTo>
                  <a:lnTo>
                    <a:pt x="278" y="593"/>
                  </a:lnTo>
                  <a:lnTo>
                    <a:pt x="277" y="584"/>
                  </a:lnTo>
                  <a:lnTo>
                    <a:pt x="285" y="576"/>
                  </a:lnTo>
                  <a:lnTo>
                    <a:pt x="281" y="573"/>
                  </a:lnTo>
                  <a:lnTo>
                    <a:pt x="278" y="568"/>
                  </a:lnTo>
                  <a:lnTo>
                    <a:pt x="284" y="564"/>
                  </a:lnTo>
                  <a:lnTo>
                    <a:pt x="287" y="555"/>
                  </a:lnTo>
                  <a:lnTo>
                    <a:pt x="290" y="551"/>
                  </a:lnTo>
                  <a:lnTo>
                    <a:pt x="295" y="553"/>
                  </a:lnTo>
                  <a:lnTo>
                    <a:pt x="308" y="554"/>
                  </a:lnTo>
                  <a:lnTo>
                    <a:pt x="328" y="553"/>
                  </a:lnTo>
                  <a:lnTo>
                    <a:pt x="333" y="551"/>
                  </a:lnTo>
                  <a:lnTo>
                    <a:pt x="337" y="548"/>
                  </a:lnTo>
                  <a:lnTo>
                    <a:pt x="338" y="544"/>
                  </a:lnTo>
                  <a:lnTo>
                    <a:pt x="337" y="540"/>
                  </a:lnTo>
                  <a:lnTo>
                    <a:pt x="333" y="534"/>
                  </a:lnTo>
                  <a:lnTo>
                    <a:pt x="333" y="528"/>
                  </a:lnTo>
                  <a:lnTo>
                    <a:pt x="331" y="520"/>
                  </a:lnTo>
                  <a:lnTo>
                    <a:pt x="334" y="505"/>
                  </a:lnTo>
                  <a:lnTo>
                    <a:pt x="338" y="502"/>
                  </a:lnTo>
                  <a:lnTo>
                    <a:pt x="340" y="500"/>
                  </a:lnTo>
                  <a:lnTo>
                    <a:pt x="345" y="497"/>
                  </a:lnTo>
                  <a:lnTo>
                    <a:pt x="348" y="491"/>
                  </a:lnTo>
                  <a:lnTo>
                    <a:pt x="348" y="485"/>
                  </a:lnTo>
                  <a:lnTo>
                    <a:pt x="350" y="477"/>
                  </a:lnTo>
                  <a:lnTo>
                    <a:pt x="347" y="475"/>
                  </a:lnTo>
                  <a:lnTo>
                    <a:pt x="343" y="477"/>
                  </a:lnTo>
                  <a:lnTo>
                    <a:pt x="340" y="480"/>
                  </a:lnTo>
                  <a:lnTo>
                    <a:pt x="337" y="478"/>
                  </a:lnTo>
                  <a:lnTo>
                    <a:pt x="320" y="467"/>
                  </a:lnTo>
                  <a:lnTo>
                    <a:pt x="335" y="449"/>
                  </a:lnTo>
                  <a:lnTo>
                    <a:pt x="341" y="427"/>
                  </a:lnTo>
                  <a:lnTo>
                    <a:pt x="357" y="412"/>
                  </a:lnTo>
                  <a:lnTo>
                    <a:pt x="353" y="408"/>
                  </a:lnTo>
                  <a:lnTo>
                    <a:pt x="371" y="392"/>
                  </a:lnTo>
                  <a:lnTo>
                    <a:pt x="390" y="408"/>
                  </a:lnTo>
                  <a:lnTo>
                    <a:pt x="386" y="418"/>
                  </a:lnTo>
                  <a:lnTo>
                    <a:pt x="391" y="425"/>
                  </a:lnTo>
                  <a:lnTo>
                    <a:pt x="396" y="424"/>
                  </a:lnTo>
                  <a:lnTo>
                    <a:pt x="403" y="419"/>
                  </a:lnTo>
                  <a:lnTo>
                    <a:pt x="407" y="422"/>
                  </a:lnTo>
                  <a:lnTo>
                    <a:pt x="410" y="427"/>
                  </a:lnTo>
                  <a:lnTo>
                    <a:pt x="414" y="428"/>
                  </a:lnTo>
                  <a:lnTo>
                    <a:pt x="420" y="422"/>
                  </a:lnTo>
                  <a:lnTo>
                    <a:pt x="424" y="418"/>
                  </a:lnTo>
                  <a:lnTo>
                    <a:pt x="423" y="411"/>
                  </a:lnTo>
                  <a:lnTo>
                    <a:pt x="420" y="407"/>
                  </a:lnTo>
                  <a:lnTo>
                    <a:pt x="427" y="401"/>
                  </a:lnTo>
                  <a:lnTo>
                    <a:pt x="426" y="398"/>
                  </a:lnTo>
                  <a:lnTo>
                    <a:pt x="427" y="391"/>
                  </a:lnTo>
                  <a:lnTo>
                    <a:pt x="427" y="388"/>
                  </a:lnTo>
                  <a:lnTo>
                    <a:pt x="433" y="382"/>
                  </a:lnTo>
                  <a:lnTo>
                    <a:pt x="440" y="371"/>
                  </a:lnTo>
                  <a:lnTo>
                    <a:pt x="436" y="362"/>
                  </a:lnTo>
                  <a:lnTo>
                    <a:pt x="441" y="339"/>
                  </a:lnTo>
                  <a:lnTo>
                    <a:pt x="436" y="331"/>
                  </a:lnTo>
                  <a:lnTo>
                    <a:pt x="431" y="326"/>
                  </a:lnTo>
                  <a:lnTo>
                    <a:pt x="434" y="322"/>
                  </a:lnTo>
                  <a:lnTo>
                    <a:pt x="436" y="313"/>
                  </a:lnTo>
                  <a:lnTo>
                    <a:pt x="426" y="303"/>
                  </a:lnTo>
                  <a:lnTo>
                    <a:pt x="420" y="303"/>
                  </a:lnTo>
                  <a:lnTo>
                    <a:pt x="414" y="301"/>
                  </a:lnTo>
                  <a:lnTo>
                    <a:pt x="411" y="296"/>
                  </a:lnTo>
                  <a:lnTo>
                    <a:pt x="407" y="290"/>
                  </a:lnTo>
                  <a:lnTo>
                    <a:pt x="409" y="286"/>
                  </a:lnTo>
                  <a:lnTo>
                    <a:pt x="411" y="273"/>
                  </a:lnTo>
                  <a:lnTo>
                    <a:pt x="413" y="269"/>
                  </a:lnTo>
                  <a:lnTo>
                    <a:pt x="416" y="269"/>
                  </a:lnTo>
                  <a:lnTo>
                    <a:pt x="423" y="268"/>
                  </a:lnTo>
                  <a:lnTo>
                    <a:pt x="429" y="255"/>
                  </a:lnTo>
                  <a:lnTo>
                    <a:pt x="424" y="243"/>
                  </a:lnTo>
                  <a:lnTo>
                    <a:pt x="437" y="232"/>
                  </a:lnTo>
                  <a:lnTo>
                    <a:pt x="441" y="232"/>
                  </a:lnTo>
                  <a:lnTo>
                    <a:pt x="447" y="232"/>
                  </a:lnTo>
                  <a:lnTo>
                    <a:pt x="453" y="229"/>
                  </a:lnTo>
                  <a:lnTo>
                    <a:pt x="454" y="229"/>
                  </a:lnTo>
                  <a:lnTo>
                    <a:pt x="460" y="230"/>
                  </a:lnTo>
                  <a:lnTo>
                    <a:pt x="463" y="226"/>
                  </a:lnTo>
                  <a:lnTo>
                    <a:pt x="454" y="222"/>
                  </a:lnTo>
                  <a:lnTo>
                    <a:pt x="457" y="215"/>
                  </a:lnTo>
                  <a:lnTo>
                    <a:pt x="453" y="206"/>
                  </a:lnTo>
                  <a:lnTo>
                    <a:pt x="447" y="202"/>
                  </a:lnTo>
                  <a:lnTo>
                    <a:pt x="439" y="186"/>
                  </a:lnTo>
                  <a:lnTo>
                    <a:pt x="426" y="167"/>
                  </a:lnTo>
                  <a:lnTo>
                    <a:pt x="429" y="164"/>
                  </a:lnTo>
                  <a:lnTo>
                    <a:pt x="429" y="156"/>
                  </a:lnTo>
                  <a:lnTo>
                    <a:pt x="421" y="157"/>
                  </a:lnTo>
                  <a:lnTo>
                    <a:pt x="416" y="157"/>
                  </a:lnTo>
                  <a:lnTo>
                    <a:pt x="411" y="152"/>
                  </a:lnTo>
                  <a:lnTo>
                    <a:pt x="404" y="142"/>
                  </a:lnTo>
                  <a:lnTo>
                    <a:pt x="398" y="144"/>
                  </a:lnTo>
                  <a:lnTo>
                    <a:pt x="393" y="149"/>
                  </a:lnTo>
                  <a:lnTo>
                    <a:pt x="387" y="136"/>
                  </a:lnTo>
                  <a:lnTo>
                    <a:pt x="370" y="144"/>
                  </a:lnTo>
                  <a:lnTo>
                    <a:pt x="367" y="142"/>
                  </a:lnTo>
                  <a:lnTo>
                    <a:pt x="367" y="142"/>
                  </a:lnTo>
                  <a:lnTo>
                    <a:pt x="366" y="142"/>
                  </a:lnTo>
                  <a:lnTo>
                    <a:pt x="366" y="142"/>
                  </a:lnTo>
                  <a:lnTo>
                    <a:pt x="366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4" y="139"/>
                  </a:lnTo>
                  <a:lnTo>
                    <a:pt x="364" y="139"/>
                  </a:lnTo>
                  <a:lnTo>
                    <a:pt x="363" y="137"/>
                  </a:lnTo>
                  <a:lnTo>
                    <a:pt x="363" y="136"/>
                  </a:lnTo>
                  <a:lnTo>
                    <a:pt x="363" y="136"/>
                  </a:lnTo>
                  <a:lnTo>
                    <a:pt x="363" y="136"/>
                  </a:lnTo>
                  <a:lnTo>
                    <a:pt x="361" y="134"/>
                  </a:lnTo>
                  <a:lnTo>
                    <a:pt x="361" y="133"/>
                  </a:lnTo>
                  <a:lnTo>
                    <a:pt x="361" y="133"/>
                  </a:lnTo>
                  <a:lnTo>
                    <a:pt x="357" y="127"/>
                  </a:lnTo>
                  <a:lnTo>
                    <a:pt x="351" y="126"/>
                  </a:lnTo>
                  <a:lnTo>
                    <a:pt x="351" y="123"/>
                  </a:lnTo>
                  <a:lnTo>
                    <a:pt x="353" y="120"/>
                  </a:lnTo>
                  <a:lnTo>
                    <a:pt x="358" y="116"/>
                  </a:lnTo>
                  <a:lnTo>
                    <a:pt x="363" y="113"/>
                  </a:lnTo>
                  <a:lnTo>
                    <a:pt x="364" y="107"/>
                  </a:lnTo>
                  <a:lnTo>
                    <a:pt x="371" y="111"/>
                  </a:lnTo>
                  <a:lnTo>
                    <a:pt x="378" y="106"/>
                  </a:lnTo>
                  <a:lnTo>
                    <a:pt x="384" y="106"/>
                  </a:lnTo>
                  <a:lnTo>
                    <a:pt x="388" y="103"/>
                  </a:lnTo>
                  <a:lnTo>
                    <a:pt x="383" y="96"/>
                  </a:lnTo>
                  <a:lnTo>
                    <a:pt x="377" y="99"/>
                  </a:lnTo>
                  <a:lnTo>
                    <a:pt x="371" y="84"/>
                  </a:lnTo>
                  <a:lnTo>
                    <a:pt x="377" y="83"/>
                  </a:lnTo>
                  <a:close/>
                  <a:moveTo>
                    <a:pt x="12" y="38"/>
                  </a:moveTo>
                  <a:lnTo>
                    <a:pt x="13" y="37"/>
                  </a:lnTo>
                  <a:lnTo>
                    <a:pt x="13" y="37"/>
                  </a:lnTo>
                  <a:lnTo>
                    <a:pt x="13" y="36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5" y="34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2" y="33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0" y="36"/>
                  </a:lnTo>
                  <a:lnTo>
                    <a:pt x="10" y="37"/>
                  </a:lnTo>
                  <a:lnTo>
                    <a:pt x="10" y="38"/>
                  </a:lnTo>
                  <a:lnTo>
                    <a:pt x="12" y="38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94" name="Freeform 42"/>
            <p:cNvSpPr>
              <a:spLocks/>
            </p:cNvSpPr>
            <p:nvPr/>
          </p:nvSpPr>
          <p:spPr bwMode="auto">
            <a:xfrm>
              <a:off x="1705971" y="3969514"/>
              <a:ext cx="282084" cy="416715"/>
            </a:xfrm>
            <a:custGeom>
              <a:avLst/>
              <a:gdLst>
                <a:gd name="T0" fmla="*/ 361 w 463"/>
                <a:gd name="T1" fmla="*/ 66 h 628"/>
                <a:gd name="T2" fmla="*/ 347 w 463"/>
                <a:gd name="T3" fmla="*/ 60 h 628"/>
                <a:gd name="T4" fmla="*/ 335 w 463"/>
                <a:gd name="T5" fmla="*/ 63 h 628"/>
                <a:gd name="T6" fmla="*/ 337 w 463"/>
                <a:gd name="T7" fmla="*/ 66 h 628"/>
                <a:gd name="T8" fmla="*/ 343 w 463"/>
                <a:gd name="T9" fmla="*/ 77 h 628"/>
                <a:gd name="T10" fmla="*/ 325 w 463"/>
                <a:gd name="T11" fmla="*/ 77 h 628"/>
                <a:gd name="T12" fmla="*/ 327 w 463"/>
                <a:gd name="T13" fmla="*/ 58 h 628"/>
                <a:gd name="T14" fmla="*/ 321 w 463"/>
                <a:gd name="T15" fmla="*/ 51 h 628"/>
                <a:gd name="T16" fmla="*/ 303 w 463"/>
                <a:gd name="T17" fmla="*/ 43 h 628"/>
                <a:gd name="T18" fmla="*/ 288 w 463"/>
                <a:gd name="T19" fmla="*/ 31 h 628"/>
                <a:gd name="T20" fmla="*/ 284 w 463"/>
                <a:gd name="T21" fmla="*/ 0 h 628"/>
                <a:gd name="T22" fmla="*/ 257 w 463"/>
                <a:gd name="T23" fmla="*/ 51 h 628"/>
                <a:gd name="T24" fmla="*/ 265 w 463"/>
                <a:gd name="T25" fmla="*/ 69 h 628"/>
                <a:gd name="T26" fmla="*/ 255 w 463"/>
                <a:gd name="T27" fmla="*/ 147 h 628"/>
                <a:gd name="T28" fmla="*/ 248 w 463"/>
                <a:gd name="T29" fmla="*/ 132 h 628"/>
                <a:gd name="T30" fmla="*/ 248 w 463"/>
                <a:gd name="T31" fmla="*/ 119 h 628"/>
                <a:gd name="T32" fmla="*/ 240 w 463"/>
                <a:gd name="T33" fmla="*/ 107 h 628"/>
                <a:gd name="T34" fmla="*/ 219 w 463"/>
                <a:gd name="T35" fmla="*/ 113 h 628"/>
                <a:gd name="T36" fmla="*/ 214 w 463"/>
                <a:gd name="T37" fmla="*/ 109 h 628"/>
                <a:gd name="T38" fmla="*/ 227 w 463"/>
                <a:gd name="T39" fmla="*/ 104 h 628"/>
                <a:gd name="T40" fmla="*/ 214 w 463"/>
                <a:gd name="T41" fmla="*/ 97 h 628"/>
                <a:gd name="T42" fmla="*/ 198 w 463"/>
                <a:gd name="T43" fmla="*/ 100 h 628"/>
                <a:gd name="T44" fmla="*/ 123 w 463"/>
                <a:gd name="T45" fmla="*/ 107 h 628"/>
                <a:gd name="T46" fmla="*/ 66 w 463"/>
                <a:gd name="T47" fmla="*/ 86 h 628"/>
                <a:gd name="T48" fmla="*/ 46 w 463"/>
                <a:gd name="T49" fmla="*/ 37 h 628"/>
                <a:gd name="T50" fmla="*/ 25 w 463"/>
                <a:gd name="T51" fmla="*/ 38 h 628"/>
                <a:gd name="T52" fmla="*/ 46 w 463"/>
                <a:gd name="T53" fmla="*/ 46 h 628"/>
                <a:gd name="T54" fmla="*/ 38 w 463"/>
                <a:gd name="T55" fmla="*/ 47 h 628"/>
                <a:gd name="T56" fmla="*/ 46 w 463"/>
                <a:gd name="T57" fmla="*/ 69 h 628"/>
                <a:gd name="T58" fmla="*/ 33 w 463"/>
                <a:gd name="T59" fmla="*/ 66 h 628"/>
                <a:gd name="T60" fmla="*/ 18 w 463"/>
                <a:gd name="T61" fmla="*/ 51 h 628"/>
                <a:gd name="T62" fmla="*/ 2 w 463"/>
                <a:gd name="T63" fmla="*/ 58 h 628"/>
                <a:gd name="T64" fmla="*/ 18 w 463"/>
                <a:gd name="T65" fmla="*/ 140 h 628"/>
                <a:gd name="T66" fmla="*/ 3 w 463"/>
                <a:gd name="T67" fmla="*/ 163 h 628"/>
                <a:gd name="T68" fmla="*/ 9 w 463"/>
                <a:gd name="T69" fmla="*/ 205 h 628"/>
                <a:gd name="T70" fmla="*/ 26 w 463"/>
                <a:gd name="T71" fmla="*/ 210 h 628"/>
                <a:gd name="T72" fmla="*/ 28 w 463"/>
                <a:gd name="T73" fmla="*/ 225 h 628"/>
                <a:gd name="T74" fmla="*/ 19 w 463"/>
                <a:gd name="T75" fmla="*/ 245 h 628"/>
                <a:gd name="T76" fmla="*/ 15 w 463"/>
                <a:gd name="T77" fmla="*/ 275 h 628"/>
                <a:gd name="T78" fmla="*/ 32 w 463"/>
                <a:gd name="T79" fmla="*/ 318 h 628"/>
                <a:gd name="T80" fmla="*/ 38 w 463"/>
                <a:gd name="T81" fmla="*/ 381 h 628"/>
                <a:gd name="T82" fmla="*/ 23 w 463"/>
                <a:gd name="T83" fmla="*/ 458 h 628"/>
                <a:gd name="T84" fmla="*/ 7 w 463"/>
                <a:gd name="T85" fmla="*/ 550 h 628"/>
                <a:gd name="T86" fmla="*/ 35 w 463"/>
                <a:gd name="T87" fmla="*/ 548 h 628"/>
                <a:gd name="T88" fmla="*/ 99 w 463"/>
                <a:gd name="T89" fmla="*/ 597 h 628"/>
                <a:gd name="T90" fmla="*/ 164 w 463"/>
                <a:gd name="T91" fmla="*/ 576 h 628"/>
                <a:gd name="T92" fmla="*/ 198 w 463"/>
                <a:gd name="T93" fmla="*/ 596 h 628"/>
                <a:gd name="T94" fmla="*/ 209 w 463"/>
                <a:gd name="T95" fmla="*/ 626 h 628"/>
                <a:gd name="T96" fmla="*/ 260 w 463"/>
                <a:gd name="T97" fmla="*/ 601 h 628"/>
                <a:gd name="T98" fmla="*/ 285 w 463"/>
                <a:gd name="T99" fmla="*/ 576 h 628"/>
                <a:gd name="T100" fmla="*/ 338 w 463"/>
                <a:gd name="T101" fmla="*/ 544 h 628"/>
                <a:gd name="T102" fmla="*/ 350 w 463"/>
                <a:gd name="T103" fmla="*/ 477 h 628"/>
                <a:gd name="T104" fmla="*/ 390 w 463"/>
                <a:gd name="T105" fmla="*/ 408 h 628"/>
                <a:gd name="T106" fmla="*/ 420 w 463"/>
                <a:gd name="T107" fmla="*/ 407 h 628"/>
                <a:gd name="T108" fmla="*/ 434 w 463"/>
                <a:gd name="T109" fmla="*/ 322 h 628"/>
                <a:gd name="T110" fmla="*/ 423 w 463"/>
                <a:gd name="T111" fmla="*/ 268 h 628"/>
                <a:gd name="T112" fmla="*/ 457 w 463"/>
                <a:gd name="T113" fmla="*/ 215 h 628"/>
                <a:gd name="T114" fmla="*/ 398 w 463"/>
                <a:gd name="T115" fmla="*/ 144 h 628"/>
                <a:gd name="T116" fmla="*/ 364 w 463"/>
                <a:gd name="T117" fmla="*/ 139 h 628"/>
                <a:gd name="T118" fmla="*/ 351 w 463"/>
                <a:gd name="T119" fmla="*/ 123 h 628"/>
                <a:gd name="T120" fmla="*/ 371 w 463"/>
                <a:gd name="T121" fmla="*/ 84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63" h="628">
                  <a:moveTo>
                    <a:pt x="377" y="83"/>
                  </a:moveTo>
                  <a:lnTo>
                    <a:pt x="374" y="80"/>
                  </a:lnTo>
                  <a:lnTo>
                    <a:pt x="373" y="79"/>
                  </a:lnTo>
                  <a:lnTo>
                    <a:pt x="371" y="76"/>
                  </a:lnTo>
                  <a:lnTo>
                    <a:pt x="371" y="76"/>
                  </a:lnTo>
                  <a:lnTo>
                    <a:pt x="370" y="74"/>
                  </a:lnTo>
                  <a:lnTo>
                    <a:pt x="370" y="74"/>
                  </a:lnTo>
                  <a:lnTo>
                    <a:pt x="368" y="73"/>
                  </a:lnTo>
                  <a:lnTo>
                    <a:pt x="366" y="73"/>
                  </a:lnTo>
                  <a:lnTo>
                    <a:pt x="363" y="70"/>
                  </a:lnTo>
                  <a:lnTo>
                    <a:pt x="361" y="66"/>
                  </a:lnTo>
                  <a:lnTo>
                    <a:pt x="361" y="64"/>
                  </a:lnTo>
                  <a:lnTo>
                    <a:pt x="361" y="63"/>
                  </a:lnTo>
                  <a:lnTo>
                    <a:pt x="361" y="61"/>
                  </a:lnTo>
                  <a:lnTo>
                    <a:pt x="361" y="61"/>
                  </a:lnTo>
                  <a:lnTo>
                    <a:pt x="361" y="60"/>
                  </a:lnTo>
                  <a:lnTo>
                    <a:pt x="360" y="60"/>
                  </a:lnTo>
                  <a:lnTo>
                    <a:pt x="360" y="58"/>
                  </a:lnTo>
                  <a:lnTo>
                    <a:pt x="356" y="58"/>
                  </a:lnTo>
                  <a:lnTo>
                    <a:pt x="351" y="58"/>
                  </a:lnTo>
                  <a:lnTo>
                    <a:pt x="348" y="60"/>
                  </a:lnTo>
                  <a:lnTo>
                    <a:pt x="347" y="60"/>
                  </a:lnTo>
                  <a:lnTo>
                    <a:pt x="345" y="60"/>
                  </a:lnTo>
                  <a:lnTo>
                    <a:pt x="344" y="61"/>
                  </a:lnTo>
                  <a:lnTo>
                    <a:pt x="343" y="61"/>
                  </a:lnTo>
                  <a:lnTo>
                    <a:pt x="343" y="61"/>
                  </a:lnTo>
                  <a:lnTo>
                    <a:pt x="343" y="63"/>
                  </a:lnTo>
                  <a:lnTo>
                    <a:pt x="341" y="63"/>
                  </a:lnTo>
                  <a:lnTo>
                    <a:pt x="340" y="64"/>
                  </a:lnTo>
                  <a:lnTo>
                    <a:pt x="340" y="64"/>
                  </a:lnTo>
                  <a:lnTo>
                    <a:pt x="338" y="63"/>
                  </a:lnTo>
                  <a:lnTo>
                    <a:pt x="337" y="63"/>
                  </a:lnTo>
                  <a:lnTo>
                    <a:pt x="335" y="63"/>
                  </a:lnTo>
                  <a:lnTo>
                    <a:pt x="334" y="63"/>
                  </a:lnTo>
                  <a:lnTo>
                    <a:pt x="334" y="64"/>
                  </a:lnTo>
                  <a:lnTo>
                    <a:pt x="334" y="64"/>
                  </a:lnTo>
                  <a:lnTo>
                    <a:pt x="333" y="66"/>
                  </a:lnTo>
                  <a:lnTo>
                    <a:pt x="333" y="67"/>
                  </a:lnTo>
                  <a:lnTo>
                    <a:pt x="333" y="69"/>
                  </a:lnTo>
                  <a:lnTo>
                    <a:pt x="331" y="69"/>
                  </a:lnTo>
                  <a:lnTo>
                    <a:pt x="331" y="70"/>
                  </a:lnTo>
                  <a:lnTo>
                    <a:pt x="334" y="69"/>
                  </a:lnTo>
                  <a:lnTo>
                    <a:pt x="337" y="67"/>
                  </a:lnTo>
                  <a:lnTo>
                    <a:pt x="337" y="66"/>
                  </a:lnTo>
                  <a:lnTo>
                    <a:pt x="338" y="67"/>
                  </a:lnTo>
                  <a:lnTo>
                    <a:pt x="338" y="67"/>
                  </a:lnTo>
                  <a:lnTo>
                    <a:pt x="340" y="67"/>
                  </a:lnTo>
                  <a:lnTo>
                    <a:pt x="340" y="67"/>
                  </a:lnTo>
                  <a:lnTo>
                    <a:pt x="340" y="69"/>
                  </a:lnTo>
                  <a:lnTo>
                    <a:pt x="343" y="70"/>
                  </a:lnTo>
                  <a:lnTo>
                    <a:pt x="343" y="71"/>
                  </a:lnTo>
                  <a:lnTo>
                    <a:pt x="343" y="73"/>
                  </a:lnTo>
                  <a:lnTo>
                    <a:pt x="343" y="74"/>
                  </a:lnTo>
                  <a:lnTo>
                    <a:pt x="343" y="76"/>
                  </a:lnTo>
                  <a:lnTo>
                    <a:pt x="343" y="77"/>
                  </a:lnTo>
                  <a:lnTo>
                    <a:pt x="343" y="79"/>
                  </a:lnTo>
                  <a:lnTo>
                    <a:pt x="343" y="79"/>
                  </a:lnTo>
                  <a:lnTo>
                    <a:pt x="343" y="84"/>
                  </a:lnTo>
                  <a:lnTo>
                    <a:pt x="341" y="86"/>
                  </a:lnTo>
                  <a:lnTo>
                    <a:pt x="340" y="86"/>
                  </a:lnTo>
                  <a:lnTo>
                    <a:pt x="338" y="86"/>
                  </a:lnTo>
                  <a:lnTo>
                    <a:pt x="335" y="86"/>
                  </a:lnTo>
                  <a:lnTo>
                    <a:pt x="334" y="84"/>
                  </a:lnTo>
                  <a:lnTo>
                    <a:pt x="331" y="83"/>
                  </a:lnTo>
                  <a:lnTo>
                    <a:pt x="328" y="80"/>
                  </a:lnTo>
                  <a:lnTo>
                    <a:pt x="325" y="77"/>
                  </a:lnTo>
                  <a:lnTo>
                    <a:pt x="323" y="73"/>
                  </a:lnTo>
                  <a:lnTo>
                    <a:pt x="323" y="71"/>
                  </a:lnTo>
                  <a:lnTo>
                    <a:pt x="323" y="70"/>
                  </a:lnTo>
                  <a:lnTo>
                    <a:pt x="323" y="66"/>
                  </a:lnTo>
                  <a:lnTo>
                    <a:pt x="323" y="64"/>
                  </a:lnTo>
                  <a:lnTo>
                    <a:pt x="324" y="63"/>
                  </a:lnTo>
                  <a:lnTo>
                    <a:pt x="324" y="60"/>
                  </a:lnTo>
                  <a:lnTo>
                    <a:pt x="325" y="60"/>
                  </a:lnTo>
                  <a:lnTo>
                    <a:pt x="325" y="60"/>
                  </a:lnTo>
                  <a:lnTo>
                    <a:pt x="327" y="60"/>
                  </a:lnTo>
                  <a:lnTo>
                    <a:pt x="327" y="58"/>
                  </a:lnTo>
                  <a:lnTo>
                    <a:pt x="327" y="58"/>
                  </a:lnTo>
                  <a:lnTo>
                    <a:pt x="328" y="58"/>
                  </a:lnTo>
                  <a:lnTo>
                    <a:pt x="328" y="57"/>
                  </a:lnTo>
                  <a:lnTo>
                    <a:pt x="328" y="57"/>
                  </a:lnTo>
                  <a:lnTo>
                    <a:pt x="328" y="57"/>
                  </a:lnTo>
                  <a:lnTo>
                    <a:pt x="328" y="56"/>
                  </a:lnTo>
                  <a:lnTo>
                    <a:pt x="327" y="54"/>
                  </a:lnTo>
                  <a:lnTo>
                    <a:pt x="327" y="53"/>
                  </a:lnTo>
                  <a:lnTo>
                    <a:pt x="324" y="53"/>
                  </a:lnTo>
                  <a:lnTo>
                    <a:pt x="323" y="53"/>
                  </a:lnTo>
                  <a:lnTo>
                    <a:pt x="321" y="51"/>
                  </a:lnTo>
                  <a:lnTo>
                    <a:pt x="320" y="51"/>
                  </a:lnTo>
                  <a:lnTo>
                    <a:pt x="317" y="51"/>
                  </a:lnTo>
                  <a:lnTo>
                    <a:pt x="317" y="50"/>
                  </a:lnTo>
                  <a:lnTo>
                    <a:pt x="315" y="47"/>
                  </a:lnTo>
                  <a:lnTo>
                    <a:pt x="313" y="47"/>
                  </a:lnTo>
                  <a:lnTo>
                    <a:pt x="313" y="46"/>
                  </a:lnTo>
                  <a:lnTo>
                    <a:pt x="308" y="46"/>
                  </a:lnTo>
                  <a:lnTo>
                    <a:pt x="307" y="44"/>
                  </a:lnTo>
                  <a:lnTo>
                    <a:pt x="305" y="44"/>
                  </a:lnTo>
                  <a:lnTo>
                    <a:pt x="304" y="44"/>
                  </a:lnTo>
                  <a:lnTo>
                    <a:pt x="303" y="43"/>
                  </a:lnTo>
                  <a:lnTo>
                    <a:pt x="301" y="43"/>
                  </a:lnTo>
                  <a:lnTo>
                    <a:pt x="300" y="43"/>
                  </a:lnTo>
                  <a:lnTo>
                    <a:pt x="300" y="43"/>
                  </a:lnTo>
                  <a:lnTo>
                    <a:pt x="297" y="40"/>
                  </a:lnTo>
                  <a:lnTo>
                    <a:pt x="294" y="38"/>
                  </a:lnTo>
                  <a:lnTo>
                    <a:pt x="292" y="37"/>
                  </a:lnTo>
                  <a:lnTo>
                    <a:pt x="291" y="36"/>
                  </a:lnTo>
                  <a:lnTo>
                    <a:pt x="291" y="36"/>
                  </a:lnTo>
                  <a:lnTo>
                    <a:pt x="291" y="34"/>
                  </a:lnTo>
                  <a:lnTo>
                    <a:pt x="290" y="33"/>
                  </a:lnTo>
                  <a:lnTo>
                    <a:pt x="288" y="31"/>
                  </a:lnTo>
                  <a:lnTo>
                    <a:pt x="288" y="31"/>
                  </a:lnTo>
                  <a:lnTo>
                    <a:pt x="287" y="30"/>
                  </a:lnTo>
                  <a:lnTo>
                    <a:pt x="287" y="28"/>
                  </a:lnTo>
                  <a:lnTo>
                    <a:pt x="285" y="27"/>
                  </a:lnTo>
                  <a:lnTo>
                    <a:pt x="285" y="18"/>
                  </a:lnTo>
                  <a:lnTo>
                    <a:pt x="285" y="16"/>
                  </a:lnTo>
                  <a:lnTo>
                    <a:pt x="285" y="11"/>
                  </a:lnTo>
                  <a:lnTo>
                    <a:pt x="287" y="4"/>
                  </a:lnTo>
                  <a:lnTo>
                    <a:pt x="285" y="1"/>
                  </a:lnTo>
                  <a:lnTo>
                    <a:pt x="285" y="0"/>
                  </a:lnTo>
                  <a:lnTo>
                    <a:pt x="284" y="0"/>
                  </a:lnTo>
                  <a:lnTo>
                    <a:pt x="282" y="5"/>
                  </a:lnTo>
                  <a:lnTo>
                    <a:pt x="280" y="16"/>
                  </a:lnTo>
                  <a:lnTo>
                    <a:pt x="277" y="21"/>
                  </a:lnTo>
                  <a:lnTo>
                    <a:pt x="272" y="27"/>
                  </a:lnTo>
                  <a:lnTo>
                    <a:pt x="267" y="33"/>
                  </a:lnTo>
                  <a:lnTo>
                    <a:pt x="265" y="34"/>
                  </a:lnTo>
                  <a:lnTo>
                    <a:pt x="264" y="37"/>
                  </a:lnTo>
                  <a:lnTo>
                    <a:pt x="264" y="41"/>
                  </a:lnTo>
                  <a:lnTo>
                    <a:pt x="264" y="43"/>
                  </a:lnTo>
                  <a:lnTo>
                    <a:pt x="260" y="47"/>
                  </a:lnTo>
                  <a:lnTo>
                    <a:pt x="257" y="51"/>
                  </a:lnTo>
                  <a:lnTo>
                    <a:pt x="257" y="66"/>
                  </a:lnTo>
                  <a:lnTo>
                    <a:pt x="255" y="67"/>
                  </a:lnTo>
                  <a:lnTo>
                    <a:pt x="255" y="69"/>
                  </a:lnTo>
                  <a:lnTo>
                    <a:pt x="260" y="63"/>
                  </a:lnTo>
                  <a:lnTo>
                    <a:pt x="261" y="63"/>
                  </a:lnTo>
                  <a:lnTo>
                    <a:pt x="262" y="63"/>
                  </a:lnTo>
                  <a:lnTo>
                    <a:pt x="264" y="63"/>
                  </a:lnTo>
                  <a:lnTo>
                    <a:pt x="265" y="64"/>
                  </a:lnTo>
                  <a:lnTo>
                    <a:pt x="265" y="67"/>
                  </a:lnTo>
                  <a:lnTo>
                    <a:pt x="265" y="69"/>
                  </a:lnTo>
                  <a:lnTo>
                    <a:pt x="265" y="69"/>
                  </a:lnTo>
                  <a:lnTo>
                    <a:pt x="268" y="80"/>
                  </a:lnTo>
                  <a:lnTo>
                    <a:pt x="267" y="93"/>
                  </a:lnTo>
                  <a:lnTo>
                    <a:pt x="264" y="104"/>
                  </a:lnTo>
                  <a:lnTo>
                    <a:pt x="262" y="111"/>
                  </a:lnTo>
                  <a:lnTo>
                    <a:pt x="261" y="120"/>
                  </a:lnTo>
                  <a:lnTo>
                    <a:pt x="261" y="136"/>
                  </a:lnTo>
                  <a:lnTo>
                    <a:pt x="260" y="147"/>
                  </a:lnTo>
                  <a:lnTo>
                    <a:pt x="258" y="150"/>
                  </a:lnTo>
                  <a:lnTo>
                    <a:pt x="257" y="149"/>
                  </a:lnTo>
                  <a:lnTo>
                    <a:pt x="255" y="147"/>
                  </a:lnTo>
                  <a:lnTo>
                    <a:pt x="255" y="147"/>
                  </a:lnTo>
                  <a:lnTo>
                    <a:pt x="255" y="147"/>
                  </a:lnTo>
                  <a:lnTo>
                    <a:pt x="255" y="146"/>
                  </a:lnTo>
                  <a:lnTo>
                    <a:pt x="254" y="146"/>
                  </a:lnTo>
                  <a:lnTo>
                    <a:pt x="252" y="144"/>
                  </a:lnTo>
                  <a:lnTo>
                    <a:pt x="250" y="142"/>
                  </a:lnTo>
                  <a:lnTo>
                    <a:pt x="250" y="140"/>
                  </a:lnTo>
                  <a:lnTo>
                    <a:pt x="248" y="139"/>
                  </a:lnTo>
                  <a:lnTo>
                    <a:pt x="248" y="139"/>
                  </a:lnTo>
                  <a:lnTo>
                    <a:pt x="247" y="137"/>
                  </a:lnTo>
                  <a:lnTo>
                    <a:pt x="248" y="133"/>
                  </a:lnTo>
                  <a:lnTo>
                    <a:pt x="248" y="132"/>
                  </a:lnTo>
                  <a:lnTo>
                    <a:pt x="248" y="130"/>
                  </a:lnTo>
                  <a:lnTo>
                    <a:pt x="248" y="129"/>
                  </a:lnTo>
                  <a:lnTo>
                    <a:pt x="248" y="127"/>
                  </a:lnTo>
                  <a:lnTo>
                    <a:pt x="248" y="127"/>
                  </a:lnTo>
                  <a:lnTo>
                    <a:pt x="250" y="126"/>
                  </a:lnTo>
                  <a:lnTo>
                    <a:pt x="250" y="124"/>
                  </a:lnTo>
                  <a:lnTo>
                    <a:pt x="250" y="123"/>
                  </a:lnTo>
                  <a:lnTo>
                    <a:pt x="250" y="121"/>
                  </a:lnTo>
                  <a:lnTo>
                    <a:pt x="248" y="121"/>
                  </a:lnTo>
                  <a:lnTo>
                    <a:pt x="248" y="119"/>
                  </a:lnTo>
                  <a:lnTo>
                    <a:pt x="248" y="119"/>
                  </a:lnTo>
                  <a:lnTo>
                    <a:pt x="248" y="117"/>
                  </a:lnTo>
                  <a:lnTo>
                    <a:pt x="248" y="117"/>
                  </a:lnTo>
                  <a:lnTo>
                    <a:pt x="248" y="116"/>
                  </a:lnTo>
                  <a:lnTo>
                    <a:pt x="250" y="116"/>
                  </a:lnTo>
                  <a:lnTo>
                    <a:pt x="250" y="114"/>
                  </a:lnTo>
                  <a:lnTo>
                    <a:pt x="248" y="113"/>
                  </a:lnTo>
                  <a:lnTo>
                    <a:pt x="248" y="111"/>
                  </a:lnTo>
                  <a:lnTo>
                    <a:pt x="247" y="110"/>
                  </a:lnTo>
                  <a:lnTo>
                    <a:pt x="245" y="109"/>
                  </a:lnTo>
                  <a:lnTo>
                    <a:pt x="241" y="107"/>
                  </a:lnTo>
                  <a:lnTo>
                    <a:pt x="240" y="107"/>
                  </a:lnTo>
                  <a:lnTo>
                    <a:pt x="237" y="107"/>
                  </a:lnTo>
                  <a:lnTo>
                    <a:pt x="234" y="107"/>
                  </a:lnTo>
                  <a:lnTo>
                    <a:pt x="231" y="107"/>
                  </a:lnTo>
                  <a:lnTo>
                    <a:pt x="228" y="107"/>
                  </a:lnTo>
                  <a:lnTo>
                    <a:pt x="227" y="109"/>
                  </a:lnTo>
                  <a:lnTo>
                    <a:pt x="225" y="110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2" y="113"/>
                  </a:lnTo>
                  <a:lnTo>
                    <a:pt x="221" y="113"/>
                  </a:lnTo>
                  <a:lnTo>
                    <a:pt x="219" y="113"/>
                  </a:lnTo>
                  <a:lnTo>
                    <a:pt x="219" y="113"/>
                  </a:lnTo>
                  <a:lnTo>
                    <a:pt x="218" y="114"/>
                  </a:lnTo>
                  <a:lnTo>
                    <a:pt x="215" y="114"/>
                  </a:lnTo>
                  <a:lnTo>
                    <a:pt x="214" y="114"/>
                  </a:lnTo>
                  <a:lnTo>
                    <a:pt x="212" y="116"/>
                  </a:lnTo>
                  <a:lnTo>
                    <a:pt x="211" y="116"/>
                  </a:lnTo>
                  <a:lnTo>
                    <a:pt x="212" y="113"/>
                  </a:lnTo>
                  <a:lnTo>
                    <a:pt x="212" y="113"/>
                  </a:lnTo>
                  <a:lnTo>
                    <a:pt x="212" y="111"/>
                  </a:lnTo>
                  <a:lnTo>
                    <a:pt x="212" y="110"/>
                  </a:lnTo>
                  <a:lnTo>
                    <a:pt x="214" y="109"/>
                  </a:lnTo>
                  <a:lnTo>
                    <a:pt x="214" y="107"/>
                  </a:lnTo>
                  <a:lnTo>
                    <a:pt x="215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21" y="106"/>
                  </a:lnTo>
                  <a:lnTo>
                    <a:pt x="222" y="106"/>
                  </a:lnTo>
                  <a:lnTo>
                    <a:pt x="222" y="106"/>
                  </a:lnTo>
                  <a:lnTo>
                    <a:pt x="222" y="106"/>
                  </a:lnTo>
                  <a:lnTo>
                    <a:pt x="225" y="106"/>
                  </a:lnTo>
                  <a:lnTo>
                    <a:pt x="225" y="106"/>
                  </a:lnTo>
                  <a:lnTo>
                    <a:pt x="227" y="104"/>
                  </a:lnTo>
                  <a:lnTo>
                    <a:pt x="228" y="103"/>
                  </a:lnTo>
                  <a:lnTo>
                    <a:pt x="227" y="103"/>
                  </a:lnTo>
                  <a:lnTo>
                    <a:pt x="225" y="101"/>
                  </a:lnTo>
                  <a:lnTo>
                    <a:pt x="224" y="100"/>
                  </a:lnTo>
                  <a:lnTo>
                    <a:pt x="224" y="100"/>
                  </a:lnTo>
                  <a:lnTo>
                    <a:pt x="222" y="99"/>
                  </a:lnTo>
                  <a:lnTo>
                    <a:pt x="221" y="99"/>
                  </a:lnTo>
                  <a:lnTo>
                    <a:pt x="218" y="97"/>
                  </a:lnTo>
                  <a:lnTo>
                    <a:pt x="217" y="97"/>
                  </a:lnTo>
                  <a:lnTo>
                    <a:pt x="215" y="97"/>
                  </a:lnTo>
                  <a:lnTo>
                    <a:pt x="214" y="97"/>
                  </a:lnTo>
                  <a:lnTo>
                    <a:pt x="212" y="96"/>
                  </a:lnTo>
                  <a:lnTo>
                    <a:pt x="209" y="97"/>
                  </a:lnTo>
                  <a:lnTo>
                    <a:pt x="208" y="97"/>
                  </a:lnTo>
                  <a:lnTo>
                    <a:pt x="207" y="97"/>
                  </a:lnTo>
                  <a:lnTo>
                    <a:pt x="205" y="97"/>
                  </a:lnTo>
                  <a:lnTo>
                    <a:pt x="204" y="97"/>
                  </a:lnTo>
                  <a:lnTo>
                    <a:pt x="202" y="97"/>
                  </a:lnTo>
                  <a:lnTo>
                    <a:pt x="201" y="99"/>
                  </a:lnTo>
                  <a:lnTo>
                    <a:pt x="199" y="99"/>
                  </a:lnTo>
                  <a:lnTo>
                    <a:pt x="199" y="99"/>
                  </a:lnTo>
                  <a:lnTo>
                    <a:pt x="198" y="100"/>
                  </a:lnTo>
                  <a:lnTo>
                    <a:pt x="192" y="103"/>
                  </a:lnTo>
                  <a:lnTo>
                    <a:pt x="179" y="109"/>
                  </a:lnTo>
                  <a:lnTo>
                    <a:pt x="176" y="110"/>
                  </a:lnTo>
                  <a:lnTo>
                    <a:pt x="172" y="111"/>
                  </a:lnTo>
                  <a:lnTo>
                    <a:pt x="168" y="110"/>
                  </a:lnTo>
                  <a:lnTo>
                    <a:pt x="159" y="106"/>
                  </a:lnTo>
                  <a:lnTo>
                    <a:pt x="149" y="100"/>
                  </a:lnTo>
                  <a:lnTo>
                    <a:pt x="142" y="99"/>
                  </a:lnTo>
                  <a:lnTo>
                    <a:pt x="138" y="99"/>
                  </a:lnTo>
                  <a:lnTo>
                    <a:pt x="131" y="101"/>
                  </a:lnTo>
                  <a:lnTo>
                    <a:pt x="123" y="107"/>
                  </a:lnTo>
                  <a:lnTo>
                    <a:pt x="121" y="109"/>
                  </a:lnTo>
                  <a:lnTo>
                    <a:pt x="118" y="113"/>
                  </a:lnTo>
                  <a:lnTo>
                    <a:pt x="116" y="114"/>
                  </a:lnTo>
                  <a:lnTo>
                    <a:pt x="105" y="119"/>
                  </a:lnTo>
                  <a:lnTo>
                    <a:pt x="99" y="117"/>
                  </a:lnTo>
                  <a:lnTo>
                    <a:pt x="92" y="116"/>
                  </a:lnTo>
                  <a:lnTo>
                    <a:pt x="88" y="114"/>
                  </a:lnTo>
                  <a:lnTo>
                    <a:pt x="81" y="109"/>
                  </a:lnTo>
                  <a:lnTo>
                    <a:pt x="81" y="109"/>
                  </a:lnTo>
                  <a:lnTo>
                    <a:pt x="75" y="101"/>
                  </a:lnTo>
                  <a:lnTo>
                    <a:pt x="66" y="86"/>
                  </a:lnTo>
                  <a:lnTo>
                    <a:pt x="62" y="77"/>
                  </a:lnTo>
                  <a:lnTo>
                    <a:pt x="60" y="64"/>
                  </a:lnTo>
                  <a:lnTo>
                    <a:pt x="59" y="51"/>
                  </a:lnTo>
                  <a:lnTo>
                    <a:pt x="58" y="46"/>
                  </a:lnTo>
                  <a:lnTo>
                    <a:pt x="56" y="43"/>
                  </a:lnTo>
                  <a:lnTo>
                    <a:pt x="56" y="41"/>
                  </a:lnTo>
                  <a:lnTo>
                    <a:pt x="53" y="40"/>
                  </a:lnTo>
                  <a:lnTo>
                    <a:pt x="53" y="38"/>
                  </a:lnTo>
                  <a:lnTo>
                    <a:pt x="50" y="38"/>
                  </a:lnTo>
                  <a:lnTo>
                    <a:pt x="48" y="38"/>
                  </a:lnTo>
                  <a:lnTo>
                    <a:pt x="46" y="37"/>
                  </a:lnTo>
                  <a:lnTo>
                    <a:pt x="43" y="37"/>
                  </a:lnTo>
                  <a:lnTo>
                    <a:pt x="40" y="37"/>
                  </a:lnTo>
                  <a:lnTo>
                    <a:pt x="39" y="36"/>
                  </a:lnTo>
                  <a:lnTo>
                    <a:pt x="36" y="36"/>
                  </a:lnTo>
                  <a:lnTo>
                    <a:pt x="35" y="36"/>
                  </a:lnTo>
                  <a:lnTo>
                    <a:pt x="30" y="36"/>
                  </a:lnTo>
                  <a:lnTo>
                    <a:pt x="32" y="36"/>
                  </a:lnTo>
                  <a:lnTo>
                    <a:pt x="29" y="36"/>
                  </a:lnTo>
                  <a:lnTo>
                    <a:pt x="26" y="37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8" y="40"/>
                  </a:lnTo>
                  <a:lnTo>
                    <a:pt x="29" y="40"/>
                  </a:lnTo>
                  <a:lnTo>
                    <a:pt x="30" y="40"/>
                  </a:lnTo>
                  <a:lnTo>
                    <a:pt x="36" y="41"/>
                  </a:lnTo>
                  <a:lnTo>
                    <a:pt x="38" y="41"/>
                  </a:lnTo>
                  <a:lnTo>
                    <a:pt x="39" y="41"/>
                  </a:lnTo>
                  <a:lnTo>
                    <a:pt x="40" y="41"/>
                  </a:lnTo>
                  <a:lnTo>
                    <a:pt x="43" y="43"/>
                  </a:lnTo>
                  <a:lnTo>
                    <a:pt x="45" y="43"/>
                  </a:lnTo>
                  <a:lnTo>
                    <a:pt x="45" y="44"/>
                  </a:lnTo>
                  <a:lnTo>
                    <a:pt x="46" y="46"/>
                  </a:lnTo>
                  <a:lnTo>
                    <a:pt x="48" y="48"/>
                  </a:lnTo>
                  <a:lnTo>
                    <a:pt x="46" y="50"/>
                  </a:lnTo>
                  <a:lnTo>
                    <a:pt x="46" y="50"/>
                  </a:lnTo>
                  <a:lnTo>
                    <a:pt x="45" y="51"/>
                  </a:lnTo>
                  <a:lnTo>
                    <a:pt x="43" y="50"/>
                  </a:lnTo>
                  <a:lnTo>
                    <a:pt x="43" y="48"/>
                  </a:lnTo>
                  <a:lnTo>
                    <a:pt x="42" y="47"/>
                  </a:lnTo>
                  <a:lnTo>
                    <a:pt x="40" y="46"/>
                  </a:lnTo>
                  <a:lnTo>
                    <a:pt x="39" y="46"/>
                  </a:lnTo>
                  <a:lnTo>
                    <a:pt x="38" y="46"/>
                  </a:lnTo>
                  <a:lnTo>
                    <a:pt x="38" y="47"/>
                  </a:lnTo>
                  <a:lnTo>
                    <a:pt x="38" y="48"/>
                  </a:lnTo>
                  <a:lnTo>
                    <a:pt x="36" y="51"/>
                  </a:lnTo>
                  <a:lnTo>
                    <a:pt x="35" y="53"/>
                  </a:lnTo>
                  <a:lnTo>
                    <a:pt x="35" y="54"/>
                  </a:lnTo>
                  <a:lnTo>
                    <a:pt x="36" y="57"/>
                  </a:lnTo>
                  <a:lnTo>
                    <a:pt x="38" y="58"/>
                  </a:lnTo>
                  <a:lnTo>
                    <a:pt x="39" y="60"/>
                  </a:lnTo>
                  <a:lnTo>
                    <a:pt x="40" y="60"/>
                  </a:lnTo>
                  <a:lnTo>
                    <a:pt x="42" y="61"/>
                  </a:lnTo>
                  <a:lnTo>
                    <a:pt x="45" y="67"/>
                  </a:lnTo>
                  <a:lnTo>
                    <a:pt x="46" y="69"/>
                  </a:lnTo>
                  <a:lnTo>
                    <a:pt x="49" y="71"/>
                  </a:lnTo>
                  <a:lnTo>
                    <a:pt x="49" y="73"/>
                  </a:lnTo>
                  <a:lnTo>
                    <a:pt x="48" y="73"/>
                  </a:lnTo>
                  <a:lnTo>
                    <a:pt x="46" y="74"/>
                  </a:lnTo>
                  <a:lnTo>
                    <a:pt x="45" y="73"/>
                  </a:lnTo>
                  <a:lnTo>
                    <a:pt x="42" y="73"/>
                  </a:lnTo>
                  <a:lnTo>
                    <a:pt x="40" y="73"/>
                  </a:lnTo>
                  <a:lnTo>
                    <a:pt x="38" y="70"/>
                  </a:lnTo>
                  <a:lnTo>
                    <a:pt x="35" y="69"/>
                  </a:lnTo>
                  <a:lnTo>
                    <a:pt x="33" y="67"/>
                  </a:lnTo>
                  <a:lnTo>
                    <a:pt x="33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0" y="63"/>
                  </a:lnTo>
                  <a:lnTo>
                    <a:pt x="30" y="61"/>
                  </a:lnTo>
                  <a:lnTo>
                    <a:pt x="29" y="60"/>
                  </a:lnTo>
                  <a:lnTo>
                    <a:pt x="26" y="58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2" y="54"/>
                  </a:lnTo>
                  <a:lnTo>
                    <a:pt x="20" y="53"/>
                  </a:lnTo>
                  <a:lnTo>
                    <a:pt x="18" y="51"/>
                  </a:lnTo>
                  <a:lnTo>
                    <a:pt x="15" y="50"/>
                  </a:lnTo>
                  <a:lnTo>
                    <a:pt x="13" y="48"/>
                  </a:lnTo>
                  <a:lnTo>
                    <a:pt x="12" y="47"/>
                  </a:lnTo>
                  <a:lnTo>
                    <a:pt x="10" y="44"/>
                  </a:lnTo>
                  <a:lnTo>
                    <a:pt x="6" y="44"/>
                  </a:lnTo>
                  <a:lnTo>
                    <a:pt x="5" y="47"/>
                  </a:lnTo>
                  <a:lnTo>
                    <a:pt x="3" y="47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0" y="54"/>
                  </a:lnTo>
                  <a:lnTo>
                    <a:pt x="2" y="58"/>
                  </a:lnTo>
                  <a:lnTo>
                    <a:pt x="5" y="66"/>
                  </a:lnTo>
                  <a:lnTo>
                    <a:pt x="15" y="87"/>
                  </a:lnTo>
                  <a:lnTo>
                    <a:pt x="19" y="106"/>
                  </a:lnTo>
                  <a:lnTo>
                    <a:pt x="23" y="127"/>
                  </a:lnTo>
                  <a:lnTo>
                    <a:pt x="22" y="133"/>
                  </a:lnTo>
                  <a:lnTo>
                    <a:pt x="22" y="134"/>
                  </a:lnTo>
                  <a:lnTo>
                    <a:pt x="22" y="134"/>
                  </a:lnTo>
                  <a:lnTo>
                    <a:pt x="20" y="137"/>
                  </a:lnTo>
                  <a:lnTo>
                    <a:pt x="19" y="139"/>
                  </a:lnTo>
                  <a:lnTo>
                    <a:pt x="18" y="139"/>
                  </a:lnTo>
                  <a:lnTo>
                    <a:pt x="18" y="140"/>
                  </a:lnTo>
                  <a:lnTo>
                    <a:pt x="16" y="143"/>
                  </a:lnTo>
                  <a:lnTo>
                    <a:pt x="15" y="143"/>
                  </a:lnTo>
                  <a:lnTo>
                    <a:pt x="13" y="144"/>
                  </a:lnTo>
                  <a:lnTo>
                    <a:pt x="13" y="147"/>
                  </a:lnTo>
                  <a:lnTo>
                    <a:pt x="12" y="149"/>
                  </a:lnTo>
                  <a:lnTo>
                    <a:pt x="9" y="156"/>
                  </a:lnTo>
                  <a:lnTo>
                    <a:pt x="6" y="159"/>
                  </a:lnTo>
                  <a:lnTo>
                    <a:pt x="6" y="160"/>
                  </a:lnTo>
                  <a:lnTo>
                    <a:pt x="5" y="162"/>
                  </a:lnTo>
                  <a:lnTo>
                    <a:pt x="3" y="163"/>
                  </a:lnTo>
                  <a:lnTo>
                    <a:pt x="3" y="163"/>
                  </a:lnTo>
                  <a:lnTo>
                    <a:pt x="3" y="166"/>
                  </a:lnTo>
                  <a:lnTo>
                    <a:pt x="2" y="167"/>
                  </a:lnTo>
                  <a:lnTo>
                    <a:pt x="0" y="179"/>
                  </a:lnTo>
                  <a:lnTo>
                    <a:pt x="2" y="182"/>
                  </a:lnTo>
                  <a:lnTo>
                    <a:pt x="3" y="187"/>
                  </a:lnTo>
                  <a:lnTo>
                    <a:pt x="5" y="193"/>
                  </a:lnTo>
                  <a:lnTo>
                    <a:pt x="6" y="197"/>
                  </a:lnTo>
                  <a:lnTo>
                    <a:pt x="7" y="200"/>
                  </a:lnTo>
                  <a:lnTo>
                    <a:pt x="9" y="202"/>
                  </a:lnTo>
                  <a:lnTo>
                    <a:pt x="9" y="205"/>
                  </a:lnTo>
                  <a:lnTo>
                    <a:pt x="9" y="205"/>
                  </a:lnTo>
                  <a:lnTo>
                    <a:pt x="10" y="206"/>
                  </a:lnTo>
                  <a:lnTo>
                    <a:pt x="10" y="207"/>
                  </a:lnTo>
                  <a:lnTo>
                    <a:pt x="12" y="209"/>
                  </a:lnTo>
                  <a:lnTo>
                    <a:pt x="15" y="210"/>
                  </a:lnTo>
                  <a:lnTo>
                    <a:pt x="18" y="213"/>
                  </a:lnTo>
                  <a:lnTo>
                    <a:pt x="18" y="213"/>
                  </a:lnTo>
                  <a:lnTo>
                    <a:pt x="19" y="213"/>
                  </a:lnTo>
                  <a:lnTo>
                    <a:pt x="22" y="213"/>
                  </a:lnTo>
                  <a:lnTo>
                    <a:pt x="25" y="213"/>
                  </a:lnTo>
                  <a:lnTo>
                    <a:pt x="25" y="212"/>
                  </a:lnTo>
                  <a:lnTo>
                    <a:pt x="26" y="210"/>
                  </a:lnTo>
                  <a:lnTo>
                    <a:pt x="28" y="210"/>
                  </a:lnTo>
                  <a:lnTo>
                    <a:pt x="28" y="209"/>
                  </a:lnTo>
                  <a:lnTo>
                    <a:pt x="29" y="209"/>
                  </a:lnTo>
                  <a:lnTo>
                    <a:pt x="29" y="212"/>
                  </a:lnTo>
                  <a:lnTo>
                    <a:pt x="28" y="215"/>
                  </a:lnTo>
                  <a:lnTo>
                    <a:pt x="28" y="216"/>
                  </a:lnTo>
                  <a:lnTo>
                    <a:pt x="28" y="217"/>
                  </a:lnTo>
                  <a:lnTo>
                    <a:pt x="28" y="217"/>
                  </a:lnTo>
                  <a:lnTo>
                    <a:pt x="28" y="220"/>
                  </a:lnTo>
                  <a:lnTo>
                    <a:pt x="28" y="222"/>
                  </a:lnTo>
                  <a:lnTo>
                    <a:pt x="28" y="225"/>
                  </a:lnTo>
                  <a:lnTo>
                    <a:pt x="26" y="229"/>
                  </a:lnTo>
                  <a:lnTo>
                    <a:pt x="23" y="230"/>
                  </a:lnTo>
                  <a:lnTo>
                    <a:pt x="22" y="233"/>
                  </a:lnTo>
                  <a:lnTo>
                    <a:pt x="20" y="235"/>
                  </a:lnTo>
                  <a:lnTo>
                    <a:pt x="20" y="236"/>
                  </a:lnTo>
                  <a:lnTo>
                    <a:pt x="19" y="238"/>
                  </a:lnTo>
                  <a:lnTo>
                    <a:pt x="19" y="239"/>
                  </a:lnTo>
                  <a:lnTo>
                    <a:pt x="19" y="240"/>
                  </a:lnTo>
                  <a:lnTo>
                    <a:pt x="19" y="243"/>
                  </a:lnTo>
                  <a:lnTo>
                    <a:pt x="19" y="245"/>
                  </a:lnTo>
                  <a:lnTo>
                    <a:pt x="19" y="245"/>
                  </a:lnTo>
                  <a:lnTo>
                    <a:pt x="19" y="246"/>
                  </a:lnTo>
                  <a:lnTo>
                    <a:pt x="20" y="246"/>
                  </a:lnTo>
                  <a:lnTo>
                    <a:pt x="22" y="248"/>
                  </a:lnTo>
                  <a:lnTo>
                    <a:pt x="25" y="248"/>
                  </a:lnTo>
                  <a:lnTo>
                    <a:pt x="23" y="249"/>
                  </a:lnTo>
                  <a:lnTo>
                    <a:pt x="25" y="250"/>
                  </a:lnTo>
                  <a:lnTo>
                    <a:pt x="23" y="252"/>
                  </a:lnTo>
                  <a:lnTo>
                    <a:pt x="23" y="253"/>
                  </a:lnTo>
                  <a:lnTo>
                    <a:pt x="20" y="262"/>
                  </a:lnTo>
                  <a:lnTo>
                    <a:pt x="16" y="269"/>
                  </a:lnTo>
                  <a:lnTo>
                    <a:pt x="15" y="275"/>
                  </a:lnTo>
                  <a:lnTo>
                    <a:pt x="15" y="279"/>
                  </a:lnTo>
                  <a:lnTo>
                    <a:pt x="18" y="283"/>
                  </a:lnTo>
                  <a:lnTo>
                    <a:pt x="19" y="286"/>
                  </a:lnTo>
                  <a:lnTo>
                    <a:pt x="20" y="288"/>
                  </a:lnTo>
                  <a:lnTo>
                    <a:pt x="22" y="293"/>
                  </a:lnTo>
                  <a:lnTo>
                    <a:pt x="20" y="296"/>
                  </a:lnTo>
                  <a:lnTo>
                    <a:pt x="23" y="302"/>
                  </a:lnTo>
                  <a:lnTo>
                    <a:pt x="26" y="308"/>
                  </a:lnTo>
                  <a:lnTo>
                    <a:pt x="26" y="309"/>
                  </a:lnTo>
                  <a:lnTo>
                    <a:pt x="30" y="312"/>
                  </a:lnTo>
                  <a:lnTo>
                    <a:pt x="32" y="318"/>
                  </a:lnTo>
                  <a:lnTo>
                    <a:pt x="33" y="331"/>
                  </a:lnTo>
                  <a:lnTo>
                    <a:pt x="35" y="335"/>
                  </a:lnTo>
                  <a:lnTo>
                    <a:pt x="36" y="341"/>
                  </a:lnTo>
                  <a:lnTo>
                    <a:pt x="39" y="345"/>
                  </a:lnTo>
                  <a:lnTo>
                    <a:pt x="39" y="349"/>
                  </a:lnTo>
                  <a:lnTo>
                    <a:pt x="36" y="356"/>
                  </a:lnTo>
                  <a:lnTo>
                    <a:pt x="35" y="364"/>
                  </a:lnTo>
                  <a:lnTo>
                    <a:pt x="35" y="368"/>
                  </a:lnTo>
                  <a:lnTo>
                    <a:pt x="36" y="372"/>
                  </a:lnTo>
                  <a:lnTo>
                    <a:pt x="38" y="376"/>
                  </a:lnTo>
                  <a:lnTo>
                    <a:pt x="38" y="381"/>
                  </a:lnTo>
                  <a:lnTo>
                    <a:pt x="36" y="385"/>
                  </a:lnTo>
                  <a:lnTo>
                    <a:pt x="35" y="389"/>
                  </a:lnTo>
                  <a:lnTo>
                    <a:pt x="33" y="391"/>
                  </a:lnTo>
                  <a:lnTo>
                    <a:pt x="35" y="394"/>
                  </a:lnTo>
                  <a:lnTo>
                    <a:pt x="35" y="401"/>
                  </a:lnTo>
                  <a:lnTo>
                    <a:pt x="33" y="408"/>
                  </a:lnTo>
                  <a:lnTo>
                    <a:pt x="30" y="411"/>
                  </a:lnTo>
                  <a:lnTo>
                    <a:pt x="30" y="422"/>
                  </a:lnTo>
                  <a:lnTo>
                    <a:pt x="29" y="429"/>
                  </a:lnTo>
                  <a:lnTo>
                    <a:pt x="25" y="451"/>
                  </a:lnTo>
                  <a:lnTo>
                    <a:pt x="23" y="458"/>
                  </a:lnTo>
                  <a:lnTo>
                    <a:pt x="19" y="481"/>
                  </a:lnTo>
                  <a:lnTo>
                    <a:pt x="16" y="494"/>
                  </a:lnTo>
                  <a:lnTo>
                    <a:pt x="13" y="504"/>
                  </a:lnTo>
                  <a:lnTo>
                    <a:pt x="10" y="517"/>
                  </a:lnTo>
                  <a:lnTo>
                    <a:pt x="10" y="528"/>
                  </a:lnTo>
                  <a:lnTo>
                    <a:pt x="10" y="535"/>
                  </a:lnTo>
                  <a:lnTo>
                    <a:pt x="9" y="538"/>
                  </a:lnTo>
                  <a:lnTo>
                    <a:pt x="6" y="543"/>
                  </a:lnTo>
                  <a:lnTo>
                    <a:pt x="6" y="545"/>
                  </a:lnTo>
                  <a:lnTo>
                    <a:pt x="6" y="548"/>
                  </a:lnTo>
                  <a:lnTo>
                    <a:pt x="7" y="550"/>
                  </a:lnTo>
                  <a:lnTo>
                    <a:pt x="7" y="553"/>
                  </a:lnTo>
                  <a:lnTo>
                    <a:pt x="7" y="554"/>
                  </a:lnTo>
                  <a:lnTo>
                    <a:pt x="7" y="554"/>
                  </a:lnTo>
                  <a:lnTo>
                    <a:pt x="7" y="557"/>
                  </a:lnTo>
                  <a:lnTo>
                    <a:pt x="9" y="557"/>
                  </a:lnTo>
                  <a:lnTo>
                    <a:pt x="13" y="555"/>
                  </a:lnTo>
                  <a:lnTo>
                    <a:pt x="16" y="554"/>
                  </a:lnTo>
                  <a:lnTo>
                    <a:pt x="19" y="553"/>
                  </a:lnTo>
                  <a:lnTo>
                    <a:pt x="23" y="551"/>
                  </a:lnTo>
                  <a:lnTo>
                    <a:pt x="23" y="550"/>
                  </a:lnTo>
                  <a:lnTo>
                    <a:pt x="35" y="548"/>
                  </a:lnTo>
                  <a:lnTo>
                    <a:pt x="45" y="548"/>
                  </a:lnTo>
                  <a:lnTo>
                    <a:pt x="56" y="560"/>
                  </a:lnTo>
                  <a:lnTo>
                    <a:pt x="59" y="567"/>
                  </a:lnTo>
                  <a:lnTo>
                    <a:pt x="62" y="573"/>
                  </a:lnTo>
                  <a:lnTo>
                    <a:pt x="65" y="583"/>
                  </a:lnTo>
                  <a:lnTo>
                    <a:pt x="71" y="588"/>
                  </a:lnTo>
                  <a:lnTo>
                    <a:pt x="73" y="593"/>
                  </a:lnTo>
                  <a:lnTo>
                    <a:pt x="79" y="601"/>
                  </a:lnTo>
                  <a:lnTo>
                    <a:pt x="88" y="608"/>
                  </a:lnTo>
                  <a:lnTo>
                    <a:pt x="92" y="603"/>
                  </a:lnTo>
                  <a:lnTo>
                    <a:pt x="99" y="597"/>
                  </a:lnTo>
                  <a:lnTo>
                    <a:pt x="105" y="591"/>
                  </a:lnTo>
                  <a:lnTo>
                    <a:pt x="108" y="588"/>
                  </a:lnTo>
                  <a:lnTo>
                    <a:pt x="115" y="586"/>
                  </a:lnTo>
                  <a:lnTo>
                    <a:pt x="118" y="586"/>
                  </a:lnTo>
                  <a:lnTo>
                    <a:pt x="126" y="580"/>
                  </a:lnTo>
                  <a:lnTo>
                    <a:pt x="132" y="578"/>
                  </a:lnTo>
                  <a:lnTo>
                    <a:pt x="135" y="577"/>
                  </a:lnTo>
                  <a:lnTo>
                    <a:pt x="142" y="577"/>
                  </a:lnTo>
                  <a:lnTo>
                    <a:pt x="152" y="581"/>
                  </a:lnTo>
                  <a:lnTo>
                    <a:pt x="158" y="580"/>
                  </a:lnTo>
                  <a:lnTo>
                    <a:pt x="164" y="576"/>
                  </a:lnTo>
                  <a:lnTo>
                    <a:pt x="168" y="574"/>
                  </a:lnTo>
                  <a:lnTo>
                    <a:pt x="174" y="568"/>
                  </a:lnTo>
                  <a:lnTo>
                    <a:pt x="184" y="570"/>
                  </a:lnTo>
                  <a:lnTo>
                    <a:pt x="191" y="571"/>
                  </a:lnTo>
                  <a:lnTo>
                    <a:pt x="192" y="574"/>
                  </a:lnTo>
                  <a:lnTo>
                    <a:pt x="192" y="577"/>
                  </a:lnTo>
                  <a:lnTo>
                    <a:pt x="182" y="580"/>
                  </a:lnTo>
                  <a:lnTo>
                    <a:pt x="181" y="586"/>
                  </a:lnTo>
                  <a:lnTo>
                    <a:pt x="189" y="593"/>
                  </a:lnTo>
                  <a:lnTo>
                    <a:pt x="194" y="593"/>
                  </a:lnTo>
                  <a:lnTo>
                    <a:pt x="198" y="596"/>
                  </a:lnTo>
                  <a:lnTo>
                    <a:pt x="198" y="603"/>
                  </a:lnTo>
                  <a:lnTo>
                    <a:pt x="185" y="601"/>
                  </a:lnTo>
                  <a:lnTo>
                    <a:pt x="187" y="607"/>
                  </a:lnTo>
                  <a:lnTo>
                    <a:pt x="191" y="610"/>
                  </a:lnTo>
                  <a:lnTo>
                    <a:pt x="191" y="614"/>
                  </a:lnTo>
                  <a:lnTo>
                    <a:pt x="187" y="616"/>
                  </a:lnTo>
                  <a:lnTo>
                    <a:pt x="188" y="620"/>
                  </a:lnTo>
                  <a:lnTo>
                    <a:pt x="192" y="626"/>
                  </a:lnTo>
                  <a:lnTo>
                    <a:pt x="198" y="628"/>
                  </a:lnTo>
                  <a:lnTo>
                    <a:pt x="204" y="627"/>
                  </a:lnTo>
                  <a:lnTo>
                    <a:pt x="209" y="626"/>
                  </a:lnTo>
                  <a:lnTo>
                    <a:pt x="217" y="628"/>
                  </a:lnTo>
                  <a:lnTo>
                    <a:pt x="222" y="628"/>
                  </a:lnTo>
                  <a:lnTo>
                    <a:pt x="229" y="627"/>
                  </a:lnTo>
                  <a:lnTo>
                    <a:pt x="241" y="626"/>
                  </a:lnTo>
                  <a:lnTo>
                    <a:pt x="245" y="626"/>
                  </a:lnTo>
                  <a:lnTo>
                    <a:pt x="250" y="624"/>
                  </a:lnTo>
                  <a:lnTo>
                    <a:pt x="255" y="624"/>
                  </a:lnTo>
                  <a:lnTo>
                    <a:pt x="258" y="620"/>
                  </a:lnTo>
                  <a:lnTo>
                    <a:pt x="260" y="613"/>
                  </a:lnTo>
                  <a:lnTo>
                    <a:pt x="258" y="607"/>
                  </a:lnTo>
                  <a:lnTo>
                    <a:pt x="260" y="601"/>
                  </a:lnTo>
                  <a:lnTo>
                    <a:pt x="264" y="603"/>
                  </a:lnTo>
                  <a:lnTo>
                    <a:pt x="268" y="606"/>
                  </a:lnTo>
                  <a:lnTo>
                    <a:pt x="271" y="607"/>
                  </a:lnTo>
                  <a:lnTo>
                    <a:pt x="274" y="606"/>
                  </a:lnTo>
                  <a:lnTo>
                    <a:pt x="275" y="603"/>
                  </a:lnTo>
                  <a:lnTo>
                    <a:pt x="281" y="606"/>
                  </a:lnTo>
                  <a:lnTo>
                    <a:pt x="284" y="607"/>
                  </a:lnTo>
                  <a:lnTo>
                    <a:pt x="281" y="596"/>
                  </a:lnTo>
                  <a:lnTo>
                    <a:pt x="278" y="593"/>
                  </a:lnTo>
                  <a:lnTo>
                    <a:pt x="277" y="584"/>
                  </a:lnTo>
                  <a:lnTo>
                    <a:pt x="285" y="576"/>
                  </a:lnTo>
                  <a:lnTo>
                    <a:pt x="281" y="573"/>
                  </a:lnTo>
                  <a:lnTo>
                    <a:pt x="278" y="568"/>
                  </a:lnTo>
                  <a:lnTo>
                    <a:pt x="284" y="564"/>
                  </a:lnTo>
                  <a:lnTo>
                    <a:pt x="287" y="555"/>
                  </a:lnTo>
                  <a:lnTo>
                    <a:pt x="290" y="551"/>
                  </a:lnTo>
                  <a:lnTo>
                    <a:pt x="295" y="553"/>
                  </a:lnTo>
                  <a:lnTo>
                    <a:pt x="308" y="554"/>
                  </a:lnTo>
                  <a:lnTo>
                    <a:pt x="328" y="553"/>
                  </a:lnTo>
                  <a:lnTo>
                    <a:pt x="333" y="551"/>
                  </a:lnTo>
                  <a:lnTo>
                    <a:pt x="337" y="548"/>
                  </a:lnTo>
                  <a:lnTo>
                    <a:pt x="338" y="544"/>
                  </a:lnTo>
                  <a:lnTo>
                    <a:pt x="337" y="540"/>
                  </a:lnTo>
                  <a:lnTo>
                    <a:pt x="333" y="534"/>
                  </a:lnTo>
                  <a:lnTo>
                    <a:pt x="333" y="528"/>
                  </a:lnTo>
                  <a:lnTo>
                    <a:pt x="331" y="520"/>
                  </a:lnTo>
                  <a:lnTo>
                    <a:pt x="334" y="505"/>
                  </a:lnTo>
                  <a:lnTo>
                    <a:pt x="338" y="502"/>
                  </a:lnTo>
                  <a:lnTo>
                    <a:pt x="340" y="500"/>
                  </a:lnTo>
                  <a:lnTo>
                    <a:pt x="345" y="497"/>
                  </a:lnTo>
                  <a:lnTo>
                    <a:pt x="348" y="491"/>
                  </a:lnTo>
                  <a:lnTo>
                    <a:pt x="348" y="485"/>
                  </a:lnTo>
                  <a:lnTo>
                    <a:pt x="350" y="477"/>
                  </a:lnTo>
                  <a:lnTo>
                    <a:pt x="347" y="475"/>
                  </a:lnTo>
                  <a:lnTo>
                    <a:pt x="343" y="477"/>
                  </a:lnTo>
                  <a:lnTo>
                    <a:pt x="340" y="480"/>
                  </a:lnTo>
                  <a:lnTo>
                    <a:pt x="337" y="478"/>
                  </a:lnTo>
                  <a:lnTo>
                    <a:pt x="320" y="467"/>
                  </a:lnTo>
                  <a:lnTo>
                    <a:pt x="335" y="449"/>
                  </a:lnTo>
                  <a:lnTo>
                    <a:pt x="341" y="427"/>
                  </a:lnTo>
                  <a:lnTo>
                    <a:pt x="357" y="412"/>
                  </a:lnTo>
                  <a:lnTo>
                    <a:pt x="353" y="408"/>
                  </a:lnTo>
                  <a:lnTo>
                    <a:pt x="371" y="392"/>
                  </a:lnTo>
                  <a:lnTo>
                    <a:pt x="390" y="408"/>
                  </a:lnTo>
                  <a:lnTo>
                    <a:pt x="386" y="418"/>
                  </a:lnTo>
                  <a:lnTo>
                    <a:pt x="391" y="425"/>
                  </a:lnTo>
                  <a:lnTo>
                    <a:pt x="396" y="424"/>
                  </a:lnTo>
                  <a:lnTo>
                    <a:pt x="403" y="419"/>
                  </a:lnTo>
                  <a:lnTo>
                    <a:pt x="407" y="422"/>
                  </a:lnTo>
                  <a:lnTo>
                    <a:pt x="410" y="427"/>
                  </a:lnTo>
                  <a:lnTo>
                    <a:pt x="414" y="428"/>
                  </a:lnTo>
                  <a:lnTo>
                    <a:pt x="420" y="422"/>
                  </a:lnTo>
                  <a:lnTo>
                    <a:pt x="424" y="418"/>
                  </a:lnTo>
                  <a:lnTo>
                    <a:pt x="423" y="411"/>
                  </a:lnTo>
                  <a:lnTo>
                    <a:pt x="420" y="407"/>
                  </a:lnTo>
                  <a:lnTo>
                    <a:pt x="427" y="401"/>
                  </a:lnTo>
                  <a:lnTo>
                    <a:pt x="426" y="398"/>
                  </a:lnTo>
                  <a:lnTo>
                    <a:pt x="427" y="391"/>
                  </a:lnTo>
                  <a:lnTo>
                    <a:pt x="427" y="388"/>
                  </a:lnTo>
                  <a:lnTo>
                    <a:pt x="433" y="382"/>
                  </a:lnTo>
                  <a:lnTo>
                    <a:pt x="440" y="371"/>
                  </a:lnTo>
                  <a:lnTo>
                    <a:pt x="436" y="362"/>
                  </a:lnTo>
                  <a:lnTo>
                    <a:pt x="441" y="339"/>
                  </a:lnTo>
                  <a:lnTo>
                    <a:pt x="436" y="331"/>
                  </a:lnTo>
                  <a:lnTo>
                    <a:pt x="431" y="326"/>
                  </a:lnTo>
                  <a:lnTo>
                    <a:pt x="434" y="322"/>
                  </a:lnTo>
                  <a:lnTo>
                    <a:pt x="436" y="313"/>
                  </a:lnTo>
                  <a:lnTo>
                    <a:pt x="426" y="303"/>
                  </a:lnTo>
                  <a:lnTo>
                    <a:pt x="420" y="303"/>
                  </a:lnTo>
                  <a:lnTo>
                    <a:pt x="414" y="301"/>
                  </a:lnTo>
                  <a:lnTo>
                    <a:pt x="411" y="296"/>
                  </a:lnTo>
                  <a:lnTo>
                    <a:pt x="407" y="290"/>
                  </a:lnTo>
                  <a:lnTo>
                    <a:pt x="409" y="286"/>
                  </a:lnTo>
                  <a:lnTo>
                    <a:pt x="411" y="273"/>
                  </a:lnTo>
                  <a:lnTo>
                    <a:pt x="413" y="269"/>
                  </a:lnTo>
                  <a:lnTo>
                    <a:pt x="416" y="269"/>
                  </a:lnTo>
                  <a:lnTo>
                    <a:pt x="423" y="268"/>
                  </a:lnTo>
                  <a:lnTo>
                    <a:pt x="429" y="255"/>
                  </a:lnTo>
                  <a:lnTo>
                    <a:pt x="424" y="243"/>
                  </a:lnTo>
                  <a:lnTo>
                    <a:pt x="437" y="232"/>
                  </a:lnTo>
                  <a:lnTo>
                    <a:pt x="441" y="232"/>
                  </a:lnTo>
                  <a:lnTo>
                    <a:pt x="447" y="232"/>
                  </a:lnTo>
                  <a:lnTo>
                    <a:pt x="453" y="229"/>
                  </a:lnTo>
                  <a:lnTo>
                    <a:pt x="454" y="229"/>
                  </a:lnTo>
                  <a:lnTo>
                    <a:pt x="460" y="230"/>
                  </a:lnTo>
                  <a:lnTo>
                    <a:pt x="463" y="226"/>
                  </a:lnTo>
                  <a:lnTo>
                    <a:pt x="454" y="222"/>
                  </a:lnTo>
                  <a:lnTo>
                    <a:pt x="457" y="215"/>
                  </a:lnTo>
                  <a:lnTo>
                    <a:pt x="453" y="206"/>
                  </a:lnTo>
                  <a:lnTo>
                    <a:pt x="447" y="202"/>
                  </a:lnTo>
                  <a:lnTo>
                    <a:pt x="439" y="186"/>
                  </a:lnTo>
                  <a:lnTo>
                    <a:pt x="426" y="167"/>
                  </a:lnTo>
                  <a:lnTo>
                    <a:pt x="429" y="164"/>
                  </a:lnTo>
                  <a:lnTo>
                    <a:pt x="429" y="156"/>
                  </a:lnTo>
                  <a:lnTo>
                    <a:pt x="421" y="157"/>
                  </a:lnTo>
                  <a:lnTo>
                    <a:pt x="416" y="157"/>
                  </a:lnTo>
                  <a:lnTo>
                    <a:pt x="411" y="152"/>
                  </a:lnTo>
                  <a:lnTo>
                    <a:pt x="404" y="142"/>
                  </a:lnTo>
                  <a:lnTo>
                    <a:pt x="398" y="144"/>
                  </a:lnTo>
                  <a:lnTo>
                    <a:pt x="393" y="149"/>
                  </a:lnTo>
                  <a:lnTo>
                    <a:pt x="387" y="136"/>
                  </a:lnTo>
                  <a:lnTo>
                    <a:pt x="370" y="144"/>
                  </a:lnTo>
                  <a:lnTo>
                    <a:pt x="367" y="142"/>
                  </a:lnTo>
                  <a:lnTo>
                    <a:pt x="367" y="142"/>
                  </a:lnTo>
                  <a:lnTo>
                    <a:pt x="366" y="142"/>
                  </a:lnTo>
                  <a:lnTo>
                    <a:pt x="366" y="142"/>
                  </a:lnTo>
                  <a:lnTo>
                    <a:pt x="366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4" y="139"/>
                  </a:lnTo>
                  <a:lnTo>
                    <a:pt x="364" y="139"/>
                  </a:lnTo>
                  <a:lnTo>
                    <a:pt x="363" y="137"/>
                  </a:lnTo>
                  <a:lnTo>
                    <a:pt x="363" y="136"/>
                  </a:lnTo>
                  <a:lnTo>
                    <a:pt x="363" y="136"/>
                  </a:lnTo>
                  <a:lnTo>
                    <a:pt x="363" y="136"/>
                  </a:lnTo>
                  <a:lnTo>
                    <a:pt x="361" y="134"/>
                  </a:lnTo>
                  <a:lnTo>
                    <a:pt x="361" y="133"/>
                  </a:lnTo>
                  <a:lnTo>
                    <a:pt x="361" y="133"/>
                  </a:lnTo>
                  <a:lnTo>
                    <a:pt x="357" y="127"/>
                  </a:lnTo>
                  <a:lnTo>
                    <a:pt x="351" y="126"/>
                  </a:lnTo>
                  <a:lnTo>
                    <a:pt x="351" y="123"/>
                  </a:lnTo>
                  <a:lnTo>
                    <a:pt x="353" y="120"/>
                  </a:lnTo>
                  <a:lnTo>
                    <a:pt x="358" y="116"/>
                  </a:lnTo>
                  <a:lnTo>
                    <a:pt x="363" y="113"/>
                  </a:lnTo>
                  <a:lnTo>
                    <a:pt x="364" y="107"/>
                  </a:lnTo>
                  <a:lnTo>
                    <a:pt x="371" y="111"/>
                  </a:lnTo>
                  <a:lnTo>
                    <a:pt x="378" y="106"/>
                  </a:lnTo>
                  <a:lnTo>
                    <a:pt x="384" y="106"/>
                  </a:lnTo>
                  <a:lnTo>
                    <a:pt x="388" y="103"/>
                  </a:lnTo>
                  <a:lnTo>
                    <a:pt x="383" y="96"/>
                  </a:lnTo>
                  <a:lnTo>
                    <a:pt x="377" y="99"/>
                  </a:lnTo>
                  <a:lnTo>
                    <a:pt x="371" y="84"/>
                  </a:lnTo>
                  <a:lnTo>
                    <a:pt x="377" y="83"/>
                  </a:lnTo>
                </a:path>
              </a:pathLst>
            </a:custGeom>
            <a:solidFill>
              <a:srgbClr val="FFF27F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95" name="Freeform 43"/>
            <p:cNvSpPr>
              <a:spLocks/>
            </p:cNvSpPr>
            <p:nvPr/>
          </p:nvSpPr>
          <p:spPr bwMode="auto">
            <a:xfrm>
              <a:off x="1712077" y="3990680"/>
              <a:ext cx="2442" cy="5292"/>
            </a:xfrm>
            <a:custGeom>
              <a:avLst/>
              <a:gdLst>
                <a:gd name="T0" fmla="*/ 2 w 5"/>
                <a:gd name="T1" fmla="*/ 7 h 7"/>
                <a:gd name="T2" fmla="*/ 3 w 5"/>
                <a:gd name="T3" fmla="*/ 6 h 7"/>
                <a:gd name="T4" fmla="*/ 3 w 5"/>
                <a:gd name="T5" fmla="*/ 6 h 7"/>
                <a:gd name="T6" fmla="*/ 3 w 5"/>
                <a:gd name="T7" fmla="*/ 5 h 7"/>
                <a:gd name="T8" fmla="*/ 3 w 5"/>
                <a:gd name="T9" fmla="*/ 3 h 7"/>
                <a:gd name="T10" fmla="*/ 3 w 5"/>
                <a:gd name="T11" fmla="*/ 3 h 7"/>
                <a:gd name="T12" fmla="*/ 5 w 5"/>
                <a:gd name="T13" fmla="*/ 3 h 7"/>
                <a:gd name="T14" fmla="*/ 5 w 5"/>
                <a:gd name="T15" fmla="*/ 2 h 7"/>
                <a:gd name="T16" fmla="*/ 5 w 5"/>
                <a:gd name="T17" fmla="*/ 2 h 7"/>
                <a:gd name="T18" fmla="*/ 5 w 5"/>
                <a:gd name="T19" fmla="*/ 0 h 7"/>
                <a:gd name="T20" fmla="*/ 3 w 5"/>
                <a:gd name="T21" fmla="*/ 0 h 7"/>
                <a:gd name="T22" fmla="*/ 2 w 5"/>
                <a:gd name="T23" fmla="*/ 0 h 7"/>
                <a:gd name="T24" fmla="*/ 2 w 5"/>
                <a:gd name="T25" fmla="*/ 2 h 7"/>
                <a:gd name="T26" fmla="*/ 2 w 5"/>
                <a:gd name="T27" fmla="*/ 3 h 7"/>
                <a:gd name="T28" fmla="*/ 2 w 5"/>
                <a:gd name="T29" fmla="*/ 3 h 7"/>
                <a:gd name="T30" fmla="*/ 2 w 5"/>
                <a:gd name="T31" fmla="*/ 3 h 7"/>
                <a:gd name="T32" fmla="*/ 0 w 5"/>
                <a:gd name="T33" fmla="*/ 5 h 7"/>
                <a:gd name="T34" fmla="*/ 0 w 5"/>
                <a:gd name="T35" fmla="*/ 6 h 7"/>
                <a:gd name="T36" fmla="*/ 0 w 5"/>
                <a:gd name="T37" fmla="*/ 7 h 7"/>
                <a:gd name="T38" fmla="*/ 2 w 5"/>
                <a:gd name="T3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" h="7">
                  <a:moveTo>
                    <a:pt x="2" y="7"/>
                  </a:moveTo>
                  <a:lnTo>
                    <a:pt x="3" y="6"/>
                  </a:lnTo>
                  <a:lnTo>
                    <a:pt x="3" y="6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6"/>
                  </a:lnTo>
                  <a:lnTo>
                    <a:pt x="0" y="7"/>
                  </a:lnTo>
                  <a:lnTo>
                    <a:pt x="2" y="7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96" name="Freeform 44"/>
            <p:cNvSpPr>
              <a:spLocks/>
            </p:cNvSpPr>
            <p:nvPr/>
          </p:nvSpPr>
          <p:spPr bwMode="auto">
            <a:xfrm>
              <a:off x="1740163" y="4141491"/>
              <a:ext cx="119672" cy="187852"/>
            </a:xfrm>
            <a:custGeom>
              <a:avLst/>
              <a:gdLst>
                <a:gd name="T0" fmla="*/ 196 w 196"/>
                <a:gd name="T1" fmla="*/ 136 h 285"/>
                <a:gd name="T2" fmla="*/ 166 w 196"/>
                <a:gd name="T3" fmla="*/ 235 h 285"/>
                <a:gd name="T4" fmla="*/ 151 w 196"/>
                <a:gd name="T5" fmla="*/ 252 h 285"/>
                <a:gd name="T6" fmla="*/ 143 w 196"/>
                <a:gd name="T7" fmla="*/ 246 h 285"/>
                <a:gd name="T8" fmla="*/ 163 w 196"/>
                <a:gd name="T9" fmla="*/ 229 h 285"/>
                <a:gd name="T10" fmla="*/ 170 w 196"/>
                <a:gd name="T11" fmla="*/ 196 h 285"/>
                <a:gd name="T12" fmla="*/ 143 w 196"/>
                <a:gd name="T13" fmla="*/ 195 h 285"/>
                <a:gd name="T14" fmla="*/ 124 w 196"/>
                <a:gd name="T15" fmla="*/ 225 h 285"/>
                <a:gd name="T16" fmla="*/ 107 w 196"/>
                <a:gd name="T17" fmla="*/ 239 h 285"/>
                <a:gd name="T18" fmla="*/ 80 w 196"/>
                <a:gd name="T19" fmla="*/ 258 h 285"/>
                <a:gd name="T20" fmla="*/ 47 w 196"/>
                <a:gd name="T21" fmla="*/ 282 h 285"/>
                <a:gd name="T22" fmla="*/ 23 w 196"/>
                <a:gd name="T23" fmla="*/ 279 h 285"/>
                <a:gd name="T24" fmla="*/ 18 w 196"/>
                <a:gd name="T25" fmla="*/ 242 h 285"/>
                <a:gd name="T26" fmla="*/ 11 w 196"/>
                <a:gd name="T27" fmla="*/ 231 h 285"/>
                <a:gd name="T28" fmla="*/ 0 w 196"/>
                <a:gd name="T29" fmla="*/ 215 h 285"/>
                <a:gd name="T30" fmla="*/ 33 w 196"/>
                <a:gd name="T31" fmla="*/ 211 h 285"/>
                <a:gd name="T32" fmla="*/ 47 w 196"/>
                <a:gd name="T33" fmla="*/ 203 h 285"/>
                <a:gd name="T34" fmla="*/ 54 w 196"/>
                <a:gd name="T35" fmla="*/ 228 h 285"/>
                <a:gd name="T36" fmla="*/ 73 w 196"/>
                <a:gd name="T37" fmla="*/ 213 h 285"/>
                <a:gd name="T38" fmla="*/ 73 w 196"/>
                <a:gd name="T39" fmla="*/ 193 h 285"/>
                <a:gd name="T40" fmla="*/ 78 w 196"/>
                <a:gd name="T41" fmla="*/ 180 h 285"/>
                <a:gd name="T42" fmla="*/ 93 w 196"/>
                <a:gd name="T43" fmla="*/ 165 h 285"/>
                <a:gd name="T44" fmla="*/ 113 w 196"/>
                <a:gd name="T45" fmla="*/ 158 h 285"/>
                <a:gd name="T46" fmla="*/ 129 w 196"/>
                <a:gd name="T47" fmla="*/ 158 h 285"/>
                <a:gd name="T48" fmla="*/ 143 w 196"/>
                <a:gd name="T49" fmla="*/ 140 h 285"/>
                <a:gd name="T50" fmla="*/ 149 w 196"/>
                <a:gd name="T51" fmla="*/ 110 h 285"/>
                <a:gd name="T52" fmla="*/ 120 w 196"/>
                <a:gd name="T53" fmla="*/ 107 h 285"/>
                <a:gd name="T54" fmla="*/ 104 w 196"/>
                <a:gd name="T55" fmla="*/ 105 h 285"/>
                <a:gd name="T56" fmla="*/ 98 w 196"/>
                <a:gd name="T57" fmla="*/ 89 h 285"/>
                <a:gd name="T58" fmla="*/ 74 w 196"/>
                <a:gd name="T59" fmla="*/ 53 h 285"/>
                <a:gd name="T60" fmla="*/ 63 w 196"/>
                <a:gd name="T61" fmla="*/ 6 h 285"/>
                <a:gd name="T62" fmla="*/ 77 w 196"/>
                <a:gd name="T63" fmla="*/ 0 h 285"/>
                <a:gd name="T64" fmla="*/ 81 w 196"/>
                <a:gd name="T65" fmla="*/ 6 h 285"/>
                <a:gd name="T66" fmla="*/ 80 w 196"/>
                <a:gd name="T67" fmla="*/ 14 h 285"/>
                <a:gd name="T68" fmla="*/ 83 w 196"/>
                <a:gd name="T69" fmla="*/ 23 h 285"/>
                <a:gd name="T70" fmla="*/ 87 w 196"/>
                <a:gd name="T71" fmla="*/ 21 h 285"/>
                <a:gd name="T72" fmla="*/ 91 w 196"/>
                <a:gd name="T73" fmla="*/ 19 h 285"/>
                <a:gd name="T74" fmla="*/ 94 w 196"/>
                <a:gd name="T75" fmla="*/ 30 h 285"/>
                <a:gd name="T76" fmla="*/ 90 w 196"/>
                <a:gd name="T77" fmla="*/ 39 h 285"/>
                <a:gd name="T78" fmla="*/ 90 w 196"/>
                <a:gd name="T79" fmla="*/ 46 h 285"/>
                <a:gd name="T80" fmla="*/ 98 w 196"/>
                <a:gd name="T81" fmla="*/ 49 h 285"/>
                <a:gd name="T82" fmla="*/ 94 w 196"/>
                <a:gd name="T83" fmla="*/ 63 h 285"/>
                <a:gd name="T84" fmla="*/ 97 w 196"/>
                <a:gd name="T85" fmla="*/ 67 h 285"/>
                <a:gd name="T86" fmla="*/ 91 w 196"/>
                <a:gd name="T87" fmla="*/ 76 h 285"/>
                <a:gd name="T88" fmla="*/ 96 w 196"/>
                <a:gd name="T89" fmla="*/ 79 h 285"/>
                <a:gd name="T90" fmla="*/ 107 w 196"/>
                <a:gd name="T91" fmla="*/ 70 h 285"/>
                <a:gd name="T92" fmla="*/ 110 w 196"/>
                <a:gd name="T93" fmla="*/ 73 h 285"/>
                <a:gd name="T94" fmla="*/ 107 w 196"/>
                <a:gd name="T95" fmla="*/ 77 h 285"/>
                <a:gd name="T96" fmla="*/ 113 w 196"/>
                <a:gd name="T97" fmla="*/ 77 h 285"/>
                <a:gd name="T98" fmla="*/ 117 w 196"/>
                <a:gd name="T99" fmla="*/ 76 h 285"/>
                <a:gd name="T100" fmla="*/ 121 w 196"/>
                <a:gd name="T101" fmla="*/ 77 h 285"/>
                <a:gd name="T102" fmla="*/ 124 w 196"/>
                <a:gd name="T103" fmla="*/ 79 h 285"/>
                <a:gd name="T104" fmla="*/ 131 w 196"/>
                <a:gd name="T105" fmla="*/ 74 h 285"/>
                <a:gd name="T106" fmla="*/ 141 w 196"/>
                <a:gd name="T107" fmla="*/ 74 h 285"/>
                <a:gd name="T108" fmla="*/ 154 w 196"/>
                <a:gd name="T109" fmla="*/ 73 h 285"/>
                <a:gd name="T110" fmla="*/ 166 w 196"/>
                <a:gd name="T111" fmla="*/ 83 h 285"/>
                <a:gd name="T112" fmla="*/ 169 w 196"/>
                <a:gd name="T113" fmla="*/ 95 h 285"/>
                <a:gd name="T114" fmla="*/ 167 w 196"/>
                <a:gd name="T115" fmla="*/ 107 h 285"/>
                <a:gd name="T116" fmla="*/ 170 w 196"/>
                <a:gd name="T117" fmla="*/ 113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6" h="285">
                  <a:moveTo>
                    <a:pt x="173" y="113"/>
                  </a:moveTo>
                  <a:lnTo>
                    <a:pt x="169" y="109"/>
                  </a:lnTo>
                  <a:lnTo>
                    <a:pt x="171" y="113"/>
                  </a:lnTo>
                  <a:lnTo>
                    <a:pt x="196" y="136"/>
                  </a:lnTo>
                  <a:lnTo>
                    <a:pt x="196" y="156"/>
                  </a:lnTo>
                  <a:lnTo>
                    <a:pt x="190" y="202"/>
                  </a:lnTo>
                  <a:lnTo>
                    <a:pt x="170" y="232"/>
                  </a:lnTo>
                  <a:lnTo>
                    <a:pt x="166" y="235"/>
                  </a:lnTo>
                  <a:lnTo>
                    <a:pt x="159" y="241"/>
                  </a:lnTo>
                  <a:lnTo>
                    <a:pt x="156" y="243"/>
                  </a:lnTo>
                  <a:lnTo>
                    <a:pt x="153" y="248"/>
                  </a:lnTo>
                  <a:lnTo>
                    <a:pt x="151" y="252"/>
                  </a:lnTo>
                  <a:lnTo>
                    <a:pt x="149" y="253"/>
                  </a:lnTo>
                  <a:lnTo>
                    <a:pt x="146" y="253"/>
                  </a:lnTo>
                  <a:lnTo>
                    <a:pt x="146" y="252"/>
                  </a:lnTo>
                  <a:lnTo>
                    <a:pt x="143" y="246"/>
                  </a:lnTo>
                  <a:lnTo>
                    <a:pt x="146" y="242"/>
                  </a:lnTo>
                  <a:lnTo>
                    <a:pt x="150" y="239"/>
                  </a:lnTo>
                  <a:lnTo>
                    <a:pt x="154" y="236"/>
                  </a:lnTo>
                  <a:lnTo>
                    <a:pt x="163" y="229"/>
                  </a:lnTo>
                  <a:lnTo>
                    <a:pt x="164" y="225"/>
                  </a:lnTo>
                  <a:lnTo>
                    <a:pt x="166" y="219"/>
                  </a:lnTo>
                  <a:lnTo>
                    <a:pt x="173" y="200"/>
                  </a:lnTo>
                  <a:lnTo>
                    <a:pt x="170" y="196"/>
                  </a:lnTo>
                  <a:lnTo>
                    <a:pt x="167" y="195"/>
                  </a:lnTo>
                  <a:lnTo>
                    <a:pt x="157" y="192"/>
                  </a:lnTo>
                  <a:lnTo>
                    <a:pt x="150" y="190"/>
                  </a:lnTo>
                  <a:lnTo>
                    <a:pt x="143" y="195"/>
                  </a:lnTo>
                  <a:lnTo>
                    <a:pt x="133" y="211"/>
                  </a:lnTo>
                  <a:lnTo>
                    <a:pt x="126" y="216"/>
                  </a:lnTo>
                  <a:lnTo>
                    <a:pt x="124" y="221"/>
                  </a:lnTo>
                  <a:lnTo>
                    <a:pt x="124" y="225"/>
                  </a:lnTo>
                  <a:lnTo>
                    <a:pt x="126" y="231"/>
                  </a:lnTo>
                  <a:lnTo>
                    <a:pt x="117" y="242"/>
                  </a:lnTo>
                  <a:lnTo>
                    <a:pt x="116" y="242"/>
                  </a:lnTo>
                  <a:lnTo>
                    <a:pt x="107" y="239"/>
                  </a:lnTo>
                  <a:lnTo>
                    <a:pt x="100" y="238"/>
                  </a:lnTo>
                  <a:lnTo>
                    <a:pt x="97" y="241"/>
                  </a:lnTo>
                  <a:lnTo>
                    <a:pt x="88" y="248"/>
                  </a:lnTo>
                  <a:lnTo>
                    <a:pt x="80" y="258"/>
                  </a:lnTo>
                  <a:lnTo>
                    <a:pt x="68" y="278"/>
                  </a:lnTo>
                  <a:lnTo>
                    <a:pt x="57" y="278"/>
                  </a:lnTo>
                  <a:lnTo>
                    <a:pt x="53" y="279"/>
                  </a:lnTo>
                  <a:lnTo>
                    <a:pt x="47" y="282"/>
                  </a:lnTo>
                  <a:lnTo>
                    <a:pt x="40" y="284"/>
                  </a:lnTo>
                  <a:lnTo>
                    <a:pt x="33" y="285"/>
                  </a:lnTo>
                  <a:lnTo>
                    <a:pt x="28" y="281"/>
                  </a:lnTo>
                  <a:lnTo>
                    <a:pt x="23" y="279"/>
                  </a:lnTo>
                  <a:lnTo>
                    <a:pt x="20" y="274"/>
                  </a:lnTo>
                  <a:lnTo>
                    <a:pt x="20" y="264"/>
                  </a:lnTo>
                  <a:lnTo>
                    <a:pt x="21" y="256"/>
                  </a:lnTo>
                  <a:lnTo>
                    <a:pt x="18" y="242"/>
                  </a:lnTo>
                  <a:lnTo>
                    <a:pt x="17" y="241"/>
                  </a:lnTo>
                  <a:lnTo>
                    <a:pt x="15" y="235"/>
                  </a:lnTo>
                  <a:lnTo>
                    <a:pt x="14" y="232"/>
                  </a:lnTo>
                  <a:lnTo>
                    <a:pt x="11" y="231"/>
                  </a:lnTo>
                  <a:lnTo>
                    <a:pt x="7" y="226"/>
                  </a:lnTo>
                  <a:lnTo>
                    <a:pt x="1" y="223"/>
                  </a:lnTo>
                  <a:lnTo>
                    <a:pt x="1" y="221"/>
                  </a:lnTo>
                  <a:lnTo>
                    <a:pt x="0" y="215"/>
                  </a:lnTo>
                  <a:lnTo>
                    <a:pt x="2" y="208"/>
                  </a:lnTo>
                  <a:lnTo>
                    <a:pt x="23" y="211"/>
                  </a:lnTo>
                  <a:lnTo>
                    <a:pt x="23" y="208"/>
                  </a:lnTo>
                  <a:lnTo>
                    <a:pt x="33" y="211"/>
                  </a:lnTo>
                  <a:lnTo>
                    <a:pt x="43" y="195"/>
                  </a:lnTo>
                  <a:lnTo>
                    <a:pt x="51" y="195"/>
                  </a:lnTo>
                  <a:lnTo>
                    <a:pt x="51" y="198"/>
                  </a:lnTo>
                  <a:lnTo>
                    <a:pt x="47" y="203"/>
                  </a:lnTo>
                  <a:lnTo>
                    <a:pt x="43" y="211"/>
                  </a:lnTo>
                  <a:lnTo>
                    <a:pt x="43" y="222"/>
                  </a:lnTo>
                  <a:lnTo>
                    <a:pt x="48" y="226"/>
                  </a:lnTo>
                  <a:lnTo>
                    <a:pt x="54" y="228"/>
                  </a:lnTo>
                  <a:lnTo>
                    <a:pt x="58" y="228"/>
                  </a:lnTo>
                  <a:lnTo>
                    <a:pt x="61" y="226"/>
                  </a:lnTo>
                  <a:lnTo>
                    <a:pt x="73" y="218"/>
                  </a:lnTo>
                  <a:lnTo>
                    <a:pt x="73" y="213"/>
                  </a:lnTo>
                  <a:lnTo>
                    <a:pt x="74" y="208"/>
                  </a:lnTo>
                  <a:lnTo>
                    <a:pt x="70" y="202"/>
                  </a:lnTo>
                  <a:lnTo>
                    <a:pt x="70" y="195"/>
                  </a:lnTo>
                  <a:lnTo>
                    <a:pt x="73" y="193"/>
                  </a:lnTo>
                  <a:lnTo>
                    <a:pt x="77" y="192"/>
                  </a:lnTo>
                  <a:lnTo>
                    <a:pt x="86" y="188"/>
                  </a:lnTo>
                  <a:lnTo>
                    <a:pt x="81" y="183"/>
                  </a:lnTo>
                  <a:lnTo>
                    <a:pt x="78" y="180"/>
                  </a:lnTo>
                  <a:lnTo>
                    <a:pt x="76" y="176"/>
                  </a:lnTo>
                  <a:lnTo>
                    <a:pt x="83" y="172"/>
                  </a:lnTo>
                  <a:lnTo>
                    <a:pt x="88" y="169"/>
                  </a:lnTo>
                  <a:lnTo>
                    <a:pt x="93" y="165"/>
                  </a:lnTo>
                  <a:lnTo>
                    <a:pt x="100" y="159"/>
                  </a:lnTo>
                  <a:lnTo>
                    <a:pt x="106" y="165"/>
                  </a:lnTo>
                  <a:lnTo>
                    <a:pt x="108" y="162"/>
                  </a:lnTo>
                  <a:lnTo>
                    <a:pt x="113" y="158"/>
                  </a:lnTo>
                  <a:lnTo>
                    <a:pt x="117" y="155"/>
                  </a:lnTo>
                  <a:lnTo>
                    <a:pt x="121" y="152"/>
                  </a:lnTo>
                  <a:lnTo>
                    <a:pt x="124" y="153"/>
                  </a:lnTo>
                  <a:lnTo>
                    <a:pt x="129" y="158"/>
                  </a:lnTo>
                  <a:lnTo>
                    <a:pt x="131" y="158"/>
                  </a:lnTo>
                  <a:lnTo>
                    <a:pt x="133" y="155"/>
                  </a:lnTo>
                  <a:lnTo>
                    <a:pt x="136" y="150"/>
                  </a:lnTo>
                  <a:lnTo>
                    <a:pt x="143" y="140"/>
                  </a:lnTo>
                  <a:lnTo>
                    <a:pt x="160" y="122"/>
                  </a:lnTo>
                  <a:lnTo>
                    <a:pt x="160" y="116"/>
                  </a:lnTo>
                  <a:lnTo>
                    <a:pt x="156" y="112"/>
                  </a:lnTo>
                  <a:lnTo>
                    <a:pt x="149" y="110"/>
                  </a:lnTo>
                  <a:lnTo>
                    <a:pt x="140" y="110"/>
                  </a:lnTo>
                  <a:lnTo>
                    <a:pt x="139" y="109"/>
                  </a:lnTo>
                  <a:lnTo>
                    <a:pt x="123" y="109"/>
                  </a:lnTo>
                  <a:lnTo>
                    <a:pt x="120" y="107"/>
                  </a:lnTo>
                  <a:lnTo>
                    <a:pt x="117" y="103"/>
                  </a:lnTo>
                  <a:lnTo>
                    <a:pt x="113" y="103"/>
                  </a:lnTo>
                  <a:lnTo>
                    <a:pt x="107" y="106"/>
                  </a:lnTo>
                  <a:lnTo>
                    <a:pt x="104" y="105"/>
                  </a:lnTo>
                  <a:lnTo>
                    <a:pt x="101" y="100"/>
                  </a:lnTo>
                  <a:lnTo>
                    <a:pt x="100" y="99"/>
                  </a:lnTo>
                  <a:lnTo>
                    <a:pt x="98" y="96"/>
                  </a:lnTo>
                  <a:lnTo>
                    <a:pt x="98" y="89"/>
                  </a:lnTo>
                  <a:lnTo>
                    <a:pt x="93" y="83"/>
                  </a:lnTo>
                  <a:lnTo>
                    <a:pt x="84" y="67"/>
                  </a:lnTo>
                  <a:lnTo>
                    <a:pt x="77" y="62"/>
                  </a:lnTo>
                  <a:lnTo>
                    <a:pt x="74" y="53"/>
                  </a:lnTo>
                  <a:lnTo>
                    <a:pt x="70" y="27"/>
                  </a:lnTo>
                  <a:lnTo>
                    <a:pt x="64" y="20"/>
                  </a:lnTo>
                  <a:lnTo>
                    <a:pt x="60" y="13"/>
                  </a:lnTo>
                  <a:lnTo>
                    <a:pt x="63" y="6"/>
                  </a:lnTo>
                  <a:lnTo>
                    <a:pt x="67" y="4"/>
                  </a:lnTo>
                  <a:lnTo>
                    <a:pt x="71" y="4"/>
                  </a:lnTo>
                  <a:lnTo>
                    <a:pt x="77" y="1"/>
                  </a:lnTo>
                  <a:lnTo>
                    <a:pt x="77" y="0"/>
                  </a:lnTo>
                  <a:lnTo>
                    <a:pt x="77" y="1"/>
                  </a:lnTo>
                  <a:lnTo>
                    <a:pt x="80" y="3"/>
                  </a:lnTo>
                  <a:lnTo>
                    <a:pt x="81" y="4"/>
                  </a:lnTo>
                  <a:lnTo>
                    <a:pt x="81" y="6"/>
                  </a:lnTo>
                  <a:lnTo>
                    <a:pt x="81" y="9"/>
                  </a:lnTo>
                  <a:lnTo>
                    <a:pt x="81" y="11"/>
                  </a:lnTo>
                  <a:lnTo>
                    <a:pt x="80" y="13"/>
                  </a:lnTo>
                  <a:lnTo>
                    <a:pt x="80" y="14"/>
                  </a:lnTo>
                  <a:lnTo>
                    <a:pt x="81" y="17"/>
                  </a:lnTo>
                  <a:lnTo>
                    <a:pt x="81" y="20"/>
                  </a:lnTo>
                  <a:lnTo>
                    <a:pt x="83" y="23"/>
                  </a:lnTo>
                  <a:lnTo>
                    <a:pt x="83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7" y="21"/>
                  </a:lnTo>
                  <a:lnTo>
                    <a:pt x="87" y="19"/>
                  </a:lnTo>
                  <a:lnTo>
                    <a:pt x="88" y="17"/>
                  </a:lnTo>
                  <a:lnTo>
                    <a:pt x="90" y="17"/>
                  </a:lnTo>
                  <a:lnTo>
                    <a:pt x="91" y="19"/>
                  </a:lnTo>
                  <a:lnTo>
                    <a:pt x="93" y="20"/>
                  </a:lnTo>
                  <a:lnTo>
                    <a:pt x="94" y="24"/>
                  </a:lnTo>
                  <a:lnTo>
                    <a:pt x="94" y="27"/>
                  </a:lnTo>
                  <a:lnTo>
                    <a:pt x="94" y="30"/>
                  </a:lnTo>
                  <a:lnTo>
                    <a:pt x="93" y="36"/>
                  </a:lnTo>
                  <a:lnTo>
                    <a:pt x="93" y="37"/>
                  </a:lnTo>
                  <a:lnTo>
                    <a:pt x="91" y="37"/>
                  </a:lnTo>
                  <a:lnTo>
                    <a:pt x="90" y="39"/>
                  </a:lnTo>
                  <a:lnTo>
                    <a:pt x="88" y="40"/>
                  </a:lnTo>
                  <a:lnTo>
                    <a:pt x="88" y="43"/>
                  </a:lnTo>
                  <a:lnTo>
                    <a:pt x="88" y="44"/>
                  </a:lnTo>
                  <a:lnTo>
                    <a:pt x="90" y="46"/>
                  </a:lnTo>
                  <a:lnTo>
                    <a:pt x="93" y="47"/>
                  </a:lnTo>
                  <a:lnTo>
                    <a:pt x="96" y="47"/>
                  </a:lnTo>
                  <a:lnTo>
                    <a:pt x="98" y="49"/>
                  </a:lnTo>
                  <a:lnTo>
                    <a:pt x="98" y="49"/>
                  </a:lnTo>
                  <a:lnTo>
                    <a:pt x="97" y="56"/>
                  </a:lnTo>
                  <a:lnTo>
                    <a:pt x="94" y="59"/>
                  </a:lnTo>
                  <a:lnTo>
                    <a:pt x="93" y="62"/>
                  </a:lnTo>
                  <a:lnTo>
                    <a:pt x="94" y="63"/>
                  </a:lnTo>
                  <a:lnTo>
                    <a:pt x="94" y="64"/>
                  </a:lnTo>
                  <a:lnTo>
                    <a:pt x="96" y="66"/>
                  </a:lnTo>
                  <a:lnTo>
                    <a:pt x="97" y="66"/>
                  </a:lnTo>
                  <a:lnTo>
                    <a:pt x="97" y="67"/>
                  </a:lnTo>
                  <a:lnTo>
                    <a:pt x="96" y="70"/>
                  </a:lnTo>
                  <a:lnTo>
                    <a:pt x="94" y="72"/>
                  </a:lnTo>
                  <a:lnTo>
                    <a:pt x="93" y="73"/>
                  </a:lnTo>
                  <a:lnTo>
                    <a:pt x="91" y="76"/>
                  </a:lnTo>
                  <a:lnTo>
                    <a:pt x="91" y="76"/>
                  </a:lnTo>
                  <a:lnTo>
                    <a:pt x="93" y="77"/>
                  </a:lnTo>
                  <a:lnTo>
                    <a:pt x="94" y="79"/>
                  </a:lnTo>
                  <a:lnTo>
                    <a:pt x="96" y="79"/>
                  </a:lnTo>
                  <a:lnTo>
                    <a:pt x="97" y="79"/>
                  </a:lnTo>
                  <a:lnTo>
                    <a:pt x="98" y="79"/>
                  </a:lnTo>
                  <a:lnTo>
                    <a:pt x="104" y="73"/>
                  </a:lnTo>
                  <a:lnTo>
                    <a:pt x="107" y="70"/>
                  </a:lnTo>
                  <a:lnTo>
                    <a:pt x="110" y="70"/>
                  </a:lnTo>
                  <a:lnTo>
                    <a:pt x="110" y="70"/>
                  </a:lnTo>
                  <a:lnTo>
                    <a:pt x="110" y="70"/>
                  </a:lnTo>
                  <a:lnTo>
                    <a:pt x="110" y="73"/>
                  </a:lnTo>
                  <a:lnTo>
                    <a:pt x="108" y="74"/>
                  </a:lnTo>
                  <a:lnTo>
                    <a:pt x="107" y="76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08" y="77"/>
                  </a:lnTo>
                  <a:lnTo>
                    <a:pt x="110" y="77"/>
                  </a:lnTo>
                  <a:lnTo>
                    <a:pt x="111" y="77"/>
                  </a:lnTo>
                  <a:lnTo>
                    <a:pt x="113" y="77"/>
                  </a:lnTo>
                  <a:lnTo>
                    <a:pt x="114" y="77"/>
                  </a:lnTo>
                  <a:lnTo>
                    <a:pt x="114" y="76"/>
                  </a:lnTo>
                  <a:lnTo>
                    <a:pt x="116" y="76"/>
                  </a:lnTo>
                  <a:lnTo>
                    <a:pt x="117" y="76"/>
                  </a:lnTo>
                  <a:lnTo>
                    <a:pt x="117" y="77"/>
                  </a:lnTo>
                  <a:lnTo>
                    <a:pt x="120" y="77"/>
                  </a:lnTo>
                  <a:lnTo>
                    <a:pt x="120" y="77"/>
                  </a:lnTo>
                  <a:lnTo>
                    <a:pt x="121" y="77"/>
                  </a:lnTo>
                  <a:lnTo>
                    <a:pt x="123" y="77"/>
                  </a:lnTo>
                  <a:lnTo>
                    <a:pt x="124" y="77"/>
                  </a:lnTo>
                  <a:lnTo>
                    <a:pt x="124" y="77"/>
                  </a:lnTo>
                  <a:lnTo>
                    <a:pt x="124" y="79"/>
                  </a:lnTo>
                  <a:lnTo>
                    <a:pt x="126" y="79"/>
                  </a:lnTo>
                  <a:lnTo>
                    <a:pt x="127" y="79"/>
                  </a:lnTo>
                  <a:lnTo>
                    <a:pt x="130" y="76"/>
                  </a:lnTo>
                  <a:lnTo>
                    <a:pt x="131" y="74"/>
                  </a:lnTo>
                  <a:lnTo>
                    <a:pt x="133" y="74"/>
                  </a:lnTo>
                  <a:lnTo>
                    <a:pt x="136" y="74"/>
                  </a:lnTo>
                  <a:lnTo>
                    <a:pt x="139" y="74"/>
                  </a:lnTo>
                  <a:lnTo>
                    <a:pt x="141" y="74"/>
                  </a:lnTo>
                  <a:lnTo>
                    <a:pt x="147" y="74"/>
                  </a:lnTo>
                  <a:lnTo>
                    <a:pt x="150" y="74"/>
                  </a:lnTo>
                  <a:lnTo>
                    <a:pt x="153" y="74"/>
                  </a:lnTo>
                  <a:lnTo>
                    <a:pt x="154" y="73"/>
                  </a:lnTo>
                  <a:lnTo>
                    <a:pt x="164" y="74"/>
                  </a:lnTo>
                  <a:lnTo>
                    <a:pt x="166" y="79"/>
                  </a:lnTo>
                  <a:lnTo>
                    <a:pt x="166" y="82"/>
                  </a:lnTo>
                  <a:lnTo>
                    <a:pt x="166" y="83"/>
                  </a:lnTo>
                  <a:lnTo>
                    <a:pt x="166" y="87"/>
                  </a:lnTo>
                  <a:lnTo>
                    <a:pt x="166" y="90"/>
                  </a:lnTo>
                  <a:lnTo>
                    <a:pt x="167" y="92"/>
                  </a:lnTo>
                  <a:lnTo>
                    <a:pt x="169" y="95"/>
                  </a:lnTo>
                  <a:lnTo>
                    <a:pt x="170" y="97"/>
                  </a:lnTo>
                  <a:lnTo>
                    <a:pt x="170" y="100"/>
                  </a:lnTo>
                  <a:lnTo>
                    <a:pt x="167" y="105"/>
                  </a:lnTo>
                  <a:lnTo>
                    <a:pt x="167" y="107"/>
                  </a:lnTo>
                  <a:lnTo>
                    <a:pt x="167" y="109"/>
                  </a:lnTo>
                  <a:lnTo>
                    <a:pt x="169" y="110"/>
                  </a:lnTo>
                  <a:lnTo>
                    <a:pt x="169" y="112"/>
                  </a:lnTo>
                  <a:lnTo>
                    <a:pt x="170" y="113"/>
                  </a:lnTo>
                  <a:lnTo>
                    <a:pt x="173" y="11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97" name="Freeform 45"/>
            <p:cNvSpPr>
              <a:spLocks/>
            </p:cNvSpPr>
            <p:nvPr/>
          </p:nvSpPr>
          <p:spPr bwMode="auto">
            <a:xfrm>
              <a:off x="2102842" y="3566028"/>
              <a:ext cx="179508" cy="287070"/>
            </a:xfrm>
            <a:custGeom>
              <a:avLst/>
              <a:gdLst>
                <a:gd name="T0" fmla="*/ 57 w 295"/>
                <a:gd name="T1" fmla="*/ 13 h 436"/>
                <a:gd name="T2" fmla="*/ 34 w 295"/>
                <a:gd name="T3" fmla="*/ 39 h 436"/>
                <a:gd name="T4" fmla="*/ 11 w 295"/>
                <a:gd name="T5" fmla="*/ 50 h 436"/>
                <a:gd name="T6" fmla="*/ 1 w 295"/>
                <a:gd name="T7" fmla="*/ 89 h 436"/>
                <a:gd name="T8" fmla="*/ 21 w 295"/>
                <a:gd name="T9" fmla="*/ 99 h 436"/>
                <a:gd name="T10" fmla="*/ 34 w 295"/>
                <a:gd name="T11" fmla="*/ 139 h 436"/>
                <a:gd name="T12" fmla="*/ 41 w 295"/>
                <a:gd name="T13" fmla="*/ 165 h 436"/>
                <a:gd name="T14" fmla="*/ 63 w 295"/>
                <a:gd name="T15" fmla="*/ 194 h 436"/>
                <a:gd name="T16" fmla="*/ 90 w 295"/>
                <a:gd name="T17" fmla="*/ 216 h 436"/>
                <a:gd name="T18" fmla="*/ 114 w 295"/>
                <a:gd name="T19" fmla="*/ 229 h 436"/>
                <a:gd name="T20" fmla="*/ 111 w 295"/>
                <a:gd name="T21" fmla="*/ 251 h 436"/>
                <a:gd name="T22" fmla="*/ 93 w 295"/>
                <a:gd name="T23" fmla="*/ 279 h 436"/>
                <a:gd name="T24" fmla="*/ 87 w 295"/>
                <a:gd name="T25" fmla="*/ 335 h 436"/>
                <a:gd name="T26" fmla="*/ 106 w 295"/>
                <a:gd name="T27" fmla="*/ 341 h 436"/>
                <a:gd name="T28" fmla="*/ 123 w 295"/>
                <a:gd name="T29" fmla="*/ 345 h 436"/>
                <a:gd name="T30" fmla="*/ 121 w 295"/>
                <a:gd name="T31" fmla="*/ 371 h 436"/>
                <a:gd name="T32" fmla="*/ 137 w 295"/>
                <a:gd name="T33" fmla="*/ 377 h 436"/>
                <a:gd name="T34" fmla="*/ 127 w 295"/>
                <a:gd name="T35" fmla="*/ 398 h 436"/>
                <a:gd name="T36" fmla="*/ 184 w 295"/>
                <a:gd name="T37" fmla="*/ 421 h 436"/>
                <a:gd name="T38" fmla="*/ 197 w 295"/>
                <a:gd name="T39" fmla="*/ 384 h 436"/>
                <a:gd name="T40" fmla="*/ 216 w 295"/>
                <a:gd name="T41" fmla="*/ 370 h 436"/>
                <a:gd name="T42" fmla="*/ 246 w 295"/>
                <a:gd name="T43" fmla="*/ 360 h 436"/>
                <a:gd name="T44" fmla="*/ 237 w 295"/>
                <a:gd name="T45" fmla="*/ 318 h 436"/>
                <a:gd name="T46" fmla="*/ 262 w 295"/>
                <a:gd name="T47" fmla="*/ 302 h 436"/>
                <a:gd name="T48" fmla="*/ 282 w 295"/>
                <a:gd name="T49" fmla="*/ 297 h 436"/>
                <a:gd name="T50" fmla="*/ 286 w 295"/>
                <a:gd name="T51" fmla="*/ 279 h 436"/>
                <a:gd name="T52" fmla="*/ 263 w 295"/>
                <a:gd name="T53" fmla="*/ 262 h 436"/>
                <a:gd name="T54" fmla="*/ 282 w 295"/>
                <a:gd name="T55" fmla="*/ 251 h 436"/>
                <a:gd name="T56" fmla="*/ 289 w 295"/>
                <a:gd name="T57" fmla="*/ 232 h 436"/>
                <a:gd name="T58" fmla="*/ 280 w 295"/>
                <a:gd name="T59" fmla="*/ 212 h 436"/>
                <a:gd name="T60" fmla="*/ 279 w 295"/>
                <a:gd name="T61" fmla="*/ 181 h 436"/>
                <a:gd name="T62" fmla="*/ 253 w 295"/>
                <a:gd name="T63" fmla="*/ 172 h 436"/>
                <a:gd name="T64" fmla="*/ 250 w 295"/>
                <a:gd name="T65" fmla="*/ 155 h 436"/>
                <a:gd name="T66" fmla="*/ 239 w 295"/>
                <a:gd name="T67" fmla="*/ 136 h 436"/>
                <a:gd name="T68" fmla="*/ 223 w 295"/>
                <a:gd name="T69" fmla="*/ 133 h 436"/>
                <a:gd name="T70" fmla="*/ 209 w 295"/>
                <a:gd name="T71" fmla="*/ 133 h 436"/>
                <a:gd name="T72" fmla="*/ 190 w 295"/>
                <a:gd name="T73" fmla="*/ 125 h 436"/>
                <a:gd name="T74" fmla="*/ 174 w 295"/>
                <a:gd name="T75" fmla="*/ 110 h 436"/>
                <a:gd name="T76" fmla="*/ 161 w 295"/>
                <a:gd name="T77" fmla="*/ 103 h 436"/>
                <a:gd name="T78" fmla="*/ 160 w 295"/>
                <a:gd name="T79" fmla="*/ 98 h 436"/>
                <a:gd name="T80" fmla="*/ 143 w 295"/>
                <a:gd name="T81" fmla="*/ 100 h 436"/>
                <a:gd name="T82" fmla="*/ 136 w 295"/>
                <a:gd name="T83" fmla="*/ 95 h 436"/>
                <a:gd name="T84" fmla="*/ 147 w 295"/>
                <a:gd name="T85" fmla="*/ 86 h 436"/>
                <a:gd name="T86" fmla="*/ 146 w 295"/>
                <a:gd name="T87" fmla="*/ 82 h 436"/>
                <a:gd name="T88" fmla="*/ 130 w 295"/>
                <a:gd name="T89" fmla="*/ 49 h 436"/>
                <a:gd name="T90" fmla="*/ 104 w 295"/>
                <a:gd name="T91" fmla="*/ 39 h 436"/>
                <a:gd name="T92" fmla="*/ 90 w 295"/>
                <a:gd name="T93" fmla="*/ 33 h 436"/>
                <a:gd name="T94" fmla="*/ 81 w 295"/>
                <a:gd name="T95" fmla="*/ 35 h 436"/>
                <a:gd name="T96" fmla="*/ 80 w 295"/>
                <a:gd name="T97" fmla="*/ 27 h 436"/>
                <a:gd name="T98" fmla="*/ 73 w 295"/>
                <a:gd name="T99" fmla="*/ 32 h 436"/>
                <a:gd name="T100" fmla="*/ 68 w 295"/>
                <a:gd name="T101" fmla="*/ 17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5" h="436">
                  <a:moveTo>
                    <a:pt x="63" y="0"/>
                  </a:moveTo>
                  <a:lnTo>
                    <a:pt x="61" y="0"/>
                  </a:lnTo>
                  <a:lnTo>
                    <a:pt x="61" y="0"/>
                  </a:lnTo>
                  <a:lnTo>
                    <a:pt x="60" y="7"/>
                  </a:lnTo>
                  <a:lnTo>
                    <a:pt x="57" y="1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5" y="30"/>
                  </a:lnTo>
                  <a:lnTo>
                    <a:pt x="40" y="36"/>
                  </a:lnTo>
                  <a:lnTo>
                    <a:pt x="34" y="39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0" y="42"/>
                  </a:lnTo>
                  <a:lnTo>
                    <a:pt x="15" y="45"/>
                  </a:lnTo>
                  <a:lnTo>
                    <a:pt x="11" y="50"/>
                  </a:lnTo>
                  <a:lnTo>
                    <a:pt x="8" y="5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83"/>
                  </a:lnTo>
                  <a:lnTo>
                    <a:pt x="1" y="89"/>
                  </a:lnTo>
                  <a:lnTo>
                    <a:pt x="4" y="93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15" y="98"/>
                  </a:lnTo>
                  <a:lnTo>
                    <a:pt x="21" y="99"/>
                  </a:lnTo>
                  <a:lnTo>
                    <a:pt x="27" y="103"/>
                  </a:lnTo>
                  <a:lnTo>
                    <a:pt x="31" y="109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4" y="139"/>
                  </a:lnTo>
                  <a:lnTo>
                    <a:pt x="32" y="152"/>
                  </a:lnTo>
                  <a:lnTo>
                    <a:pt x="32" y="152"/>
                  </a:lnTo>
                  <a:lnTo>
                    <a:pt x="35" y="155"/>
                  </a:lnTo>
                  <a:lnTo>
                    <a:pt x="38" y="158"/>
                  </a:lnTo>
                  <a:lnTo>
                    <a:pt x="41" y="165"/>
                  </a:lnTo>
                  <a:lnTo>
                    <a:pt x="41" y="172"/>
                  </a:lnTo>
                  <a:lnTo>
                    <a:pt x="43" y="179"/>
                  </a:lnTo>
                  <a:lnTo>
                    <a:pt x="43" y="179"/>
                  </a:lnTo>
                  <a:lnTo>
                    <a:pt x="53" y="186"/>
                  </a:lnTo>
                  <a:lnTo>
                    <a:pt x="63" y="194"/>
                  </a:lnTo>
                  <a:lnTo>
                    <a:pt x="63" y="194"/>
                  </a:lnTo>
                  <a:lnTo>
                    <a:pt x="80" y="204"/>
                  </a:lnTo>
                  <a:lnTo>
                    <a:pt x="80" y="204"/>
                  </a:lnTo>
                  <a:lnTo>
                    <a:pt x="85" y="211"/>
                  </a:lnTo>
                  <a:lnTo>
                    <a:pt x="90" y="216"/>
                  </a:lnTo>
                  <a:lnTo>
                    <a:pt x="97" y="221"/>
                  </a:lnTo>
                  <a:lnTo>
                    <a:pt x="106" y="224"/>
                  </a:lnTo>
                  <a:lnTo>
                    <a:pt x="106" y="224"/>
                  </a:lnTo>
                  <a:lnTo>
                    <a:pt x="111" y="226"/>
                  </a:lnTo>
                  <a:lnTo>
                    <a:pt x="114" y="229"/>
                  </a:lnTo>
                  <a:lnTo>
                    <a:pt x="117" y="232"/>
                  </a:lnTo>
                  <a:lnTo>
                    <a:pt x="117" y="235"/>
                  </a:lnTo>
                  <a:lnTo>
                    <a:pt x="117" y="238"/>
                  </a:lnTo>
                  <a:lnTo>
                    <a:pt x="116" y="242"/>
                  </a:lnTo>
                  <a:lnTo>
                    <a:pt x="111" y="251"/>
                  </a:lnTo>
                  <a:lnTo>
                    <a:pt x="110" y="261"/>
                  </a:lnTo>
                  <a:lnTo>
                    <a:pt x="110" y="261"/>
                  </a:lnTo>
                  <a:lnTo>
                    <a:pt x="101" y="269"/>
                  </a:lnTo>
                  <a:lnTo>
                    <a:pt x="93" y="279"/>
                  </a:lnTo>
                  <a:lnTo>
                    <a:pt x="93" y="279"/>
                  </a:lnTo>
                  <a:lnTo>
                    <a:pt x="90" y="290"/>
                  </a:lnTo>
                  <a:lnTo>
                    <a:pt x="90" y="297"/>
                  </a:lnTo>
                  <a:lnTo>
                    <a:pt x="91" y="315"/>
                  </a:lnTo>
                  <a:lnTo>
                    <a:pt x="91" y="315"/>
                  </a:lnTo>
                  <a:lnTo>
                    <a:pt x="87" y="335"/>
                  </a:lnTo>
                  <a:lnTo>
                    <a:pt x="87" y="335"/>
                  </a:lnTo>
                  <a:lnTo>
                    <a:pt x="93" y="340"/>
                  </a:lnTo>
                  <a:lnTo>
                    <a:pt x="98" y="343"/>
                  </a:lnTo>
                  <a:lnTo>
                    <a:pt x="103" y="343"/>
                  </a:lnTo>
                  <a:lnTo>
                    <a:pt x="106" y="341"/>
                  </a:lnTo>
                  <a:lnTo>
                    <a:pt x="108" y="340"/>
                  </a:lnTo>
                  <a:lnTo>
                    <a:pt x="111" y="337"/>
                  </a:lnTo>
                  <a:lnTo>
                    <a:pt x="118" y="334"/>
                  </a:lnTo>
                  <a:lnTo>
                    <a:pt x="123" y="345"/>
                  </a:lnTo>
                  <a:lnTo>
                    <a:pt x="123" y="345"/>
                  </a:lnTo>
                  <a:lnTo>
                    <a:pt x="120" y="350"/>
                  </a:lnTo>
                  <a:lnTo>
                    <a:pt x="117" y="355"/>
                  </a:lnTo>
                  <a:lnTo>
                    <a:pt x="117" y="358"/>
                  </a:lnTo>
                  <a:lnTo>
                    <a:pt x="117" y="363"/>
                  </a:lnTo>
                  <a:lnTo>
                    <a:pt x="121" y="371"/>
                  </a:lnTo>
                  <a:lnTo>
                    <a:pt x="127" y="380"/>
                  </a:lnTo>
                  <a:lnTo>
                    <a:pt x="127" y="380"/>
                  </a:lnTo>
                  <a:lnTo>
                    <a:pt x="133" y="378"/>
                  </a:lnTo>
                  <a:lnTo>
                    <a:pt x="137" y="377"/>
                  </a:lnTo>
                  <a:lnTo>
                    <a:pt x="137" y="377"/>
                  </a:lnTo>
                  <a:lnTo>
                    <a:pt x="137" y="381"/>
                  </a:lnTo>
                  <a:lnTo>
                    <a:pt x="136" y="384"/>
                  </a:lnTo>
                  <a:lnTo>
                    <a:pt x="130" y="388"/>
                  </a:lnTo>
                  <a:lnTo>
                    <a:pt x="127" y="398"/>
                  </a:lnTo>
                  <a:lnTo>
                    <a:pt x="127" y="398"/>
                  </a:lnTo>
                  <a:lnTo>
                    <a:pt x="131" y="413"/>
                  </a:lnTo>
                  <a:lnTo>
                    <a:pt x="134" y="427"/>
                  </a:lnTo>
                  <a:lnTo>
                    <a:pt x="153" y="436"/>
                  </a:lnTo>
                  <a:lnTo>
                    <a:pt x="177" y="424"/>
                  </a:lnTo>
                  <a:lnTo>
                    <a:pt x="184" y="421"/>
                  </a:lnTo>
                  <a:lnTo>
                    <a:pt x="184" y="416"/>
                  </a:lnTo>
                  <a:lnTo>
                    <a:pt x="181" y="407"/>
                  </a:lnTo>
                  <a:lnTo>
                    <a:pt x="193" y="398"/>
                  </a:lnTo>
                  <a:lnTo>
                    <a:pt x="197" y="391"/>
                  </a:lnTo>
                  <a:lnTo>
                    <a:pt x="197" y="384"/>
                  </a:lnTo>
                  <a:lnTo>
                    <a:pt x="203" y="385"/>
                  </a:lnTo>
                  <a:lnTo>
                    <a:pt x="210" y="385"/>
                  </a:lnTo>
                  <a:lnTo>
                    <a:pt x="209" y="374"/>
                  </a:lnTo>
                  <a:lnTo>
                    <a:pt x="214" y="371"/>
                  </a:lnTo>
                  <a:lnTo>
                    <a:pt x="216" y="370"/>
                  </a:lnTo>
                  <a:lnTo>
                    <a:pt x="224" y="371"/>
                  </a:lnTo>
                  <a:lnTo>
                    <a:pt x="229" y="374"/>
                  </a:lnTo>
                  <a:lnTo>
                    <a:pt x="230" y="371"/>
                  </a:lnTo>
                  <a:lnTo>
                    <a:pt x="244" y="363"/>
                  </a:lnTo>
                  <a:lnTo>
                    <a:pt x="246" y="360"/>
                  </a:lnTo>
                  <a:lnTo>
                    <a:pt x="244" y="355"/>
                  </a:lnTo>
                  <a:lnTo>
                    <a:pt x="240" y="345"/>
                  </a:lnTo>
                  <a:lnTo>
                    <a:pt x="244" y="344"/>
                  </a:lnTo>
                  <a:lnTo>
                    <a:pt x="243" y="337"/>
                  </a:lnTo>
                  <a:lnTo>
                    <a:pt x="237" y="318"/>
                  </a:lnTo>
                  <a:lnTo>
                    <a:pt x="239" y="307"/>
                  </a:lnTo>
                  <a:lnTo>
                    <a:pt x="247" y="302"/>
                  </a:lnTo>
                  <a:lnTo>
                    <a:pt x="257" y="295"/>
                  </a:lnTo>
                  <a:lnTo>
                    <a:pt x="265" y="298"/>
                  </a:lnTo>
                  <a:lnTo>
                    <a:pt x="262" y="302"/>
                  </a:lnTo>
                  <a:lnTo>
                    <a:pt x="267" y="307"/>
                  </a:lnTo>
                  <a:lnTo>
                    <a:pt x="272" y="307"/>
                  </a:lnTo>
                  <a:lnTo>
                    <a:pt x="272" y="300"/>
                  </a:lnTo>
                  <a:lnTo>
                    <a:pt x="276" y="300"/>
                  </a:lnTo>
                  <a:lnTo>
                    <a:pt x="282" y="297"/>
                  </a:lnTo>
                  <a:lnTo>
                    <a:pt x="282" y="290"/>
                  </a:lnTo>
                  <a:lnTo>
                    <a:pt x="283" y="287"/>
                  </a:lnTo>
                  <a:lnTo>
                    <a:pt x="287" y="287"/>
                  </a:lnTo>
                  <a:lnTo>
                    <a:pt x="287" y="282"/>
                  </a:lnTo>
                  <a:lnTo>
                    <a:pt x="286" y="279"/>
                  </a:lnTo>
                  <a:lnTo>
                    <a:pt x="280" y="278"/>
                  </a:lnTo>
                  <a:lnTo>
                    <a:pt x="273" y="277"/>
                  </a:lnTo>
                  <a:lnTo>
                    <a:pt x="266" y="278"/>
                  </a:lnTo>
                  <a:lnTo>
                    <a:pt x="266" y="267"/>
                  </a:lnTo>
                  <a:lnTo>
                    <a:pt x="263" y="262"/>
                  </a:lnTo>
                  <a:lnTo>
                    <a:pt x="260" y="255"/>
                  </a:lnTo>
                  <a:lnTo>
                    <a:pt x="263" y="249"/>
                  </a:lnTo>
                  <a:lnTo>
                    <a:pt x="270" y="244"/>
                  </a:lnTo>
                  <a:lnTo>
                    <a:pt x="276" y="248"/>
                  </a:lnTo>
                  <a:lnTo>
                    <a:pt x="282" y="251"/>
                  </a:lnTo>
                  <a:lnTo>
                    <a:pt x="283" y="247"/>
                  </a:lnTo>
                  <a:lnTo>
                    <a:pt x="292" y="247"/>
                  </a:lnTo>
                  <a:lnTo>
                    <a:pt x="295" y="245"/>
                  </a:lnTo>
                  <a:lnTo>
                    <a:pt x="290" y="237"/>
                  </a:lnTo>
                  <a:lnTo>
                    <a:pt x="289" y="232"/>
                  </a:lnTo>
                  <a:lnTo>
                    <a:pt x="285" y="229"/>
                  </a:lnTo>
                  <a:lnTo>
                    <a:pt x="282" y="224"/>
                  </a:lnTo>
                  <a:lnTo>
                    <a:pt x="282" y="216"/>
                  </a:lnTo>
                  <a:lnTo>
                    <a:pt x="282" y="216"/>
                  </a:lnTo>
                  <a:lnTo>
                    <a:pt x="280" y="212"/>
                  </a:lnTo>
                  <a:lnTo>
                    <a:pt x="283" y="208"/>
                  </a:lnTo>
                  <a:lnTo>
                    <a:pt x="280" y="204"/>
                  </a:lnTo>
                  <a:lnTo>
                    <a:pt x="280" y="198"/>
                  </a:lnTo>
                  <a:lnTo>
                    <a:pt x="282" y="188"/>
                  </a:lnTo>
                  <a:lnTo>
                    <a:pt x="279" y="181"/>
                  </a:lnTo>
                  <a:lnTo>
                    <a:pt x="276" y="176"/>
                  </a:lnTo>
                  <a:lnTo>
                    <a:pt x="275" y="175"/>
                  </a:lnTo>
                  <a:lnTo>
                    <a:pt x="266" y="175"/>
                  </a:lnTo>
                  <a:lnTo>
                    <a:pt x="256" y="174"/>
                  </a:lnTo>
                  <a:lnTo>
                    <a:pt x="253" y="172"/>
                  </a:lnTo>
                  <a:lnTo>
                    <a:pt x="252" y="168"/>
                  </a:lnTo>
                  <a:lnTo>
                    <a:pt x="250" y="161"/>
                  </a:lnTo>
                  <a:lnTo>
                    <a:pt x="252" y="159"/>
                  </a:lnTo>
                  <a:lnTo>
                    <a:pt x="252" y="156"/>
                  </a:lnTo>
                  <a:lnTo>
                    <a:pt x="250" y="155"/>
                  </a:lnTo>
                  <a:lnTo>
                    <a:pt x="247" y="152"/>
                  </a:lnTo>
                  <a:lnTo>
                    <a:pt x="244" y="152"/>
                  </a:lnTo>
                  <a:lnTo>
                    <a:pt x="239" y="149"/>
                  </a:lnTo>
                  <a:lnTo>
                    <a:pt x="239" y="145"/>
                  </a:lnTo>
                  <a:lnTo>
                    <a:pt x="239" y="136"/>
                  </a:lnTo>
                  <a:lnTo>
                    <a:pt x="234" y="135"/>
                  </a:lnTo>
                  <a:lnTo>
                    <a:pt x="230" y="136"/>
                  </a:lnTo>
                  <a:lnTo>
                    <a:pt x="229" y="136"/>
                  </a:lnTo>
                  <a:lnTo>
                    <a:pt x="226" y="135"/>
                  </a:lnTo>
                  <a:lnTo>
                    <a:pt x="223" y="133"/>
                  </a:lnTo>
                  <a:lnTo>
                    <a:pt x="220" y="128"/>
                  </a:lnTo>
                  <a:lnTo>
                    <a:pt x="214" y="126"/>
                  </a:lnTo>
                  <a:lnTo>
                    <a:pt x="212" y="129"/>
                  </a:lnTo>
                  <a:lnTo>
                    <a:pt x="210" y="132"/>
                  </a:lnTo>
                  <a:lnTo>
                    <a:pt x="209" y="133"/>
                  </a:lnTo>
                  <a:lnTo>
                    <a:pt x="206" y="132"/>
                  </a:lnTo>
                  <a:lnTo>
                    <a:pt x="203" y="129"/>
                  </a:lnTo>
                  <a:lnTo>
                    <a:pt x="200" y="128"/>
                  </a:lnTo>
                  <a:lnTo>
                    <a:pt x="196" y="126"/>
                  </a:lnTo>
                  <a:lnTo>
                    <a:pt x="190" y="125"/>
                  </a:lnTo>
                  <a:lnTo>
                    <a:pt x="183" y="122"/>
                  </a:lnTo>
                  <a:lnTo>
                    <a:pt x="181" y="118"/>
                  </a:lnTo>
                  <a:lnTo>
                    <a:pt x="181" y="115"/>
                  </a:lnTo>
                  <a:lnTo>
                    <a:pt x="179" y="112"/>
                  </a:lnTo>
                  <a:lnTo>
                    <a:pt x="174" y="110"/>
                  </a:lnTo>
                  <a:lnTo>
                    <a:pt x="167" y="106"/>
                  </a:lnTo>
                  <a:lnTo>
                    <a:pt x="167" y="106"/>
                  </a:lnTo>
                  <a:lnTo>
                    <a:pt x="164" y="106"/>
                  </a:lnTo>
                  <a:lnTo>
                    <a:pt x="161" y="103"/>
                  </a:lnTo>
                  <a:lnTo>
                    <a:pt x="161" y="103"/>
                  </a:lnTo>
                  <a:lnTo>
                    <a:pt x="161" y="102"/>
                  </a:lnTo>
                  <a:lnTo>
                    <a:pt x="161" y="100"/>
                  </a:lnTo>
                  <a:lnTo>
                    <a:pt x="161" y="99"/>
                  </a:lnTo>
                  <a:lnTo>
                    <a:pt x="160" y="98"/>
                  </a:lnTo>
                  <a:lnTo>
                    <a:pt x="160" y="98"/>
                  </a:lnTo>
                  <a:lnTo>
                    <a:pt x="157" y="98"/>
                  </a:lnTo>
                  <a:lnTo>
                    <a:pt x="154" y="99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43" y="100"/>
                  </a:lnTo>
                  <a:lnTo>
                    <a:pt x="143" y="100"/>
                  </a:lnTo>
                  <a:lnTo>
                    <a:pt x="138" y="99"/>
                  </a:lnTo>
                  <a:lnTo>
                    <a:pt x="136" y="98"/>
                  </a:lnTo>
                  <a:lnTo>
                    <a:pt x="136" y="95"/>
                  </a:lnTo>
                  <a:lnTo>
                    <a:pt x="136" y="95"/>
                  </a:lnTo>
                  <a:lnTo>
                    <a:pt x="137" y="92"/>
                  </a:lnTo>
                  <a:lnTo>
                    <a:pt x="140" y="89"/>
                  </a:lnTo>
                  <a:lnTo>
                    <a:pt x="140" y="89"/>
                  </a:lnTo>
                  <a:lnTo>
                    <a:pt x="144" y="89"/>
                  </a:lnTo>
                  <a:lnTo>
                    <a:pt x="147" y="86"/>
                  </a:lnTo>
                  <a:lnTo>
                    <a:pt x="147" y="86"/>
                  </a:lnTo>
                  <a:lnTo>
                    <a:pt x="148" y="83"/>
                  </a:lnTo>
                  <a:lnTo>
                    <a:pt x="147" y="82"/>
                  </a:lnTo>
                  <a:lnTo>
                    <a:pt x="146" y="82"/>
                  </a:lnTo>
                  <a:lnTo>
                    <a:pt x="146" y="82"/>
                  </a:lnTo>
                  <a:lnTo>
                    <a:pt x="138" y="79"/>
                  </a:lnTo>
                  <a:lnTo>
                    <a:pt x="133" y="78"/>
                  </a:lnTo>
                  <a:lnTo>
                    <a:pt x="134" y="65"/>
                  </a:lnTo>
                  <a:lnTo>
                    <a:pt x="127" y="65"/>
                  </a:lnTo>
                  <a:lnTo>
                    <a:pt x="130" y="49"/>
                  </a:lnTo>
                  <a:lnTo>
                    <a:pt x="111" y="35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04" y="39"/>
                  </a:lnTo>
                  <a:lnTo>
                    <a:pt x="104" y="39"/>
                  </a:lnTo>
                  <a:lnTo>
                    <a:pt x="97" y="39"/>
                  </a:lnTo>
                  <a:lnTo>
                    <a:pt x="93" y="40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0" y="33"/>
                  </a:lnTo>
                  <a:lnTo>
                    <a:pt x="88" y="33"/>
                  </a:lnTo>
                  <a:lnTo>
                    <a:pt x="87" y="33"/>
                  </a:lnTo>
                  <a:lnTo>
                    <a:pt x="87" y="33"/>
                  </a:lnTo>
                  <a:lnTo>
                    <a:pt x="83" y="35"/>
                  </a:lnTo>
                  <a:lnTo>
                    <a:pt x="81" y="35"/>
                  </a:lnTo>
                  <a:lnTo>
                    <a:pt x="81" y="33"/>
                  </a:lnTo>
                  <a:lnTo>
                    <a:pt x="81" y="33"/>
                  </a:lnTo>
                  <a:lnTo>
                    <a:pt x="83" y="30"/>
                  </a:lnTo>
                  <a:lnTo>
                    <a:pt x="81" y="29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77" y="29"/>
                  </a:lnTo>
                  <a:lnTo>
                    <a:pt x="75" y="30"/>
                  </a:lnTo>
                  <a:lnTo>
                    <a:pt x="75" y="32"/>
                  </a:lnTo>
                  <a:lnTo>
                    <a:pt x="73" y="32"/>
                  </a:lnTo>
                  <a:lnTo>
                    <a:pt x="73" y="32"/>
                  </a:lnTo>
                  <a:lnTo>
                    <a:pt x="70" y="30"/>
                  </a:lnTo>
                  <a:lnTo>
                    <a:pt x="68" y="26"/>
                  </a:lnTo>
                  <a:lnTo>
                    <a:pt x="68" y="22"/>
                  </a:lnTo>
                  <a:lnTo>
                    <a:pt x="68" y="17"/>
                  </a:lnTo>
                  <a:lnTo>
                    <a:pt x="68" y="10"/>
                  </a:lnTo>
                  <a:lnTo>
                    <a:pt x="65" y="3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98" name="Freeform 46"/>
            <p:cNvSpPr>
              <a:spLocks/>
            </p:cNvSpPr>
            <p:nvPr/>
          </p:nvSpPr>
          <p:spPr bwMode="auto">
            <a:xfrm>
              <a:off x="2124823" y="3453581"/>
              <a:ext cx="210036" cy="259289"/>
            </a:xfrm>
            <a:custGeom>
              <a:avLst/>
              <a:gdLst>
                <a:gd name="T0" fmla="*/ 37 w 342"/>
                <a:gd name="T1" fmla="*/ 168 h 391"/>
                <a:gd name="T2" fmla="*/ 27 w 342"/>
                <a:gd name="T3" fmla="*/ 152 h 391"/>
                <a:gd name="T4" fmla="*/ 47 w 342"/>
                <a:gd name="T5" fmla="*/ 132 h 391"/>
                <a:gd name="T6" fmla="*/ 14 w 342"/>
                <a:gd name="T7" fmla="*/ 99 h 391"/>
                <a:gd name="T8" fmla="*/ 16 w 342"/>
                <a:gd name="T9" fmla="*/ 53 h 391"/>
                <a:gd name="T10" fmla="*/ 24 w 342"/>
                <a:gd name="T11" fmla="*/ 37 h 391"/>
                <a:gd name="T12" fmla="*/ 47 w 342"/>
                <a:gd name="T13" fmla="*/ 12 h 391"/>
                <a:gd name="T14" fmla="*/ 90 w 342"/>
                <a:gd name="T15" fmla="*/ 19 h 391"/>
                <a:gd name="T16" fmla="*/ 99 w 342"/>
                <a:gd name="T17" fmla="*/ 13 h 391"/>
                <a:gd name="T18" fmla="*/ 126 w 342"/>
                <a:gd name="T19" fmla="*/ 0 h 391"/>
                <a:gd name="T20" fmla="*/ 137 w 342"/>
                <a:gd name="T21" fmla="*/ 13 h 391"/>
                <a:gd name="T22" fmla="*/ 150 w 342"/>
                <a:gd name="T23" fmla="*/ 9 h 391"/>
                <a:gd name="T24" fmla="*/ 162 w 342"/>
                <a:gd name="T25" fmla="*/ 13 h 391"/>
                <a:gd name="T26" fmla="*/ 192 w 342"/>
                <a:gd name="T27" fmla="*/ 7 h 391"/>
                <a:gd name="T28" fmla="*/ 199 w 342"/>
                <a:gd name="T29" fmla="*/ 29 h 391"/>
                <a:gd name="T30" fmla="*/ 215 w 342"/>
                <a:gd name="T31" fmla="*/ 35 h 391"/>
                <a:gd name="T32" fmla="*/ 230 w 342"/>
                <a:gd name="T33" fmla="*/ 37 h 391"/>
                <a:gd name="T34" fmla="*/ 233 w 342"/>
                <a:gd name="T35" fmla="*/ 59 h 391"/>
                <a:gd name="T36" fmla="*/ 216 w 342"/>
                <a:gd name="T37" fmla="*/ 82 h 391"/>
                <a:gd name="T38" fmla="*/ 235 w 342"/>
                <a:gd name="T39" fmla="*/ 93 h 391"/>
                <a:gd name="T40" fmla="*/ 262 w 342"/>
                <a:gd name="T41" fmla="*/ 115 h 391"/>
                <a:gd name="T42" fmla="*/ 266 w 342"/>
                <a:gd name="T43" fmla="*/ 148 h 391"/>
                <a:gd name="T44" fmla="*/ 272 w 342"/>
                <a:gd name="T45" fmla="*/ 182 h 391"/>
                <a:gd name="T46" fmla="*/ 273 w 342"/>
                <a:gd name="T47" fmla="*/ 248 h 391"/>
                <a:gd name="T48" fmla="*/ 285 w 342"/>
                <a:gd name="T49" fmla="*/ 258 h 391"/>
                <a:gd name="T50" fmla="*/ 296 w 342"/>
                <a:gd name="T51" fmla="*/ 274 h 391"/>
                <a:gd name="T52" fmla="*/ 306 w 342"/>
                <a:gd name="T53" fmla="*/ 282 h 391"/>
                <a:gd name="T54" fmla="*/ 306 w 342"/>
                <a:gd name="T55" fmla="*/ 304 h 391"/>
                <a:gd name="T56" fmla="*/ 328 w 342"/>
                <a:gd name="T57" fmla="*/ 320 h 391"/>
                <a:gd name="T58" fmla="*/ 328 w 342"/>
                <a:gd name="T59" fmla="*/ 331 h 391"/>
                <a:gd name="T60" fmla="*/ 339 w 342"/>
                <a:gd name="T61" fmla="*/ 334 h 391"/>
                <a:gd name="T62" fmla="*/ 336 w 342"/>
                <a:gd name="T63" fmla="*/ 344 h 391"/>
                <a:gd name="T64" fmla="*/ 322 w 342"/>
                <a:gd name="T65" fmla="*/ 355 h 391"/>
                <a:gd name="T66" fmla="*/ 322 w 342"/>
                <a:gd name="T67" fmla="*/ 364 h 391"/>
                <a:gd name="T68" fmla="*/ 311 w 342"/>
                <a:gd name="T69" fmla="*/ 370 h 391"/>
                <a:gd name="T70" fmla="*/ 306 w 342"/>
                <a:gd name="T71" fmla="*/ 350 h 391"/>
                <a:gd name="T72" fmla="*/ 293 w 342"/>
                <a:gd name="T73" fmla="*/ 351 h 391"/>
                <a:gd name="T74" fmla="*/ 282 w 342"/>
                <a:gd name="T75" fmla="*/ 354 h 391"/>
                <a:gd name="T76" fmla="*/ 270 w 342"/>
                <a:gd name="T77" fmla="*/ 370 h 391"/>
                <a:gd name="T78" fmla="*/ 258 w 342"/>
                <a:gd name="T79" fmla="*/ 388 h 391"/>
                <a:gd name="T80" fmla="*/ 245 w 342"/>
                <a:gd name="T81" fmla="*/ 385 h 391"/>
                <a:gd name="T82" fmla="*/ 245 w 342"/>
                <a:gd name="T83" fmla="*/ 357 h 391"/>
                <a:gd name="T84" fmla="*/ 219 w 342"/>
                <a:gd name="T85" fmla="*/ 343 h 391"/>
                <a:gd name="T86" fmla="*/ 215 w 342"/>
                <a:gd name="T87" fmla="*/ 325 h 391"/>
                <a:gd name="T88" fmla="*/ 202 w 342"/>
                <a:gd name="T89" fmla="*/ 314 h 391"/>
                <a:gd name="T90" fmla="*/ 189 w 342"/>
                <a:gd name="T91" fmla="*/ 304 h 391"/>
                <a:gd name="T92" fmla="*/ 173 w 342"/>
                <a:gd name="T93" fmla="*/ 301 h 391"/>
                <a:gd name="T94" fmla="*/ 159 w 342"/>
                <a:gd name="T95" fmla="*/ 295 h 391"/>
                <a:gd name="T96" fmla="*/ 142 w 342"/>
                <a:gd name="T97" fmla="*/ 281 h 391"/>
                <a:gd name="T98" fmla="*/ 124 w 342"/>
                <a:gd name="T99" fmla="*/ 272 h 391"/>
                <a:gd name="T100" fmla="*/ 123 w 342"/>
                <a:gd name="T101" fmla="*/ 267 h 391"/>
                <a:gd name="T102" fmla="*/ 113 w 342"/>
                <a:gd name="T103" fmla="*/ 271 h 391"/>
                <a:gd name="T104" fmla="*/ 99 w 342"/>
                <a:gd name="T105" fmla="*/ 264 h 391"/>
                <a:gd name="T106" fmla="*/ 107 w 342"/>
                <a:gd name="T107" fmla="*/ 258 h 391"/>
                <a:gd name="T108" fmla="*/ 109 w 342"/>
                <a:gd name="T109" fmla="*/ 251 h 391"/>
                <a:gd name="T110" fmla="*/ 90 w 342"/>
                <a:gd name="T111" fmla="*/ 234 h 391"/>
                <a:gd name="T112" fmla="*/ 67 w 342"/>
                <a:gd name="T113" fmla="*/ 208 h 391"/>
                <a:gd name="T114" fmla="*/ 56 w 342"/>
                <a:gd name="T115" fmla="*/ 204 h 391"/>
                <a:gd name="T116" fmla="*/ 46 w 342"/>
                <a:gd name="T117" fmla="*/ 204 h 391"/>
                <a:gd name="T118" fmla="*/ 44 w 342"/>
                <a:gd name="T119" fmla="*/ 198 h 391"/>
                <a:gd name="T120" fmla="*/ 38 w 342"/>
                <a:gd name="T121" fmla="*/ 201 h 391"/>
                <a:gd name="T122" fmla="*/ 31 w 342"/>
                <a:gd name="T123" fmla="*/ 1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2" h="391">
                  <a:moveTo>
                    <a:pt x="26" y="169"/>
                  </a:moveTo>
                  <a:lnTo>
                    <a:pt x="24" y="169"/>
                  </a:lnTo>
                  <a:lnTo>
                    <a:pt x="24" y="169"/>
                  </a:lnTo>
                  <a:lnTo>
                    <a:pt x="30" y="169"/>
                  </a:lnTo>
                  <a:lnTo>
                    <a:pt x="37" y="168"/>
                  </a:lnTo>
                  <a:lnTo>
                    <a:pt x="34" y="158"/>
                  </a:lnTo>
                  <a:lnTo>
                    <a:pt x="34" y="158"/>
                  </a:lnTo>
                  <a:lnTo>
                    <a:pt x="30" y="156"/>
                  </a:lnTo>
                  <a:lnTo>
                    <a:pt x="28" y="155"/>
                  </a:lnTo>
                  <a:lnTo>
                    <a:pt x="27" y="152"/>
                  </a:lnTo>
                  <a:lnTo>
                    <a:pt x="28" y="148"/>
                  </a:lnTo>
                  <a:lnTo>
                    <a:pt x="28" y="148"/>
                  </a:lnTo>
                  <a:lnTo>
                    <a:pt x="38" y="141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44" y="126"/>
                  </a:lnTo>
                  <a:lnTo>
                    <a:pt x="43" y="122"/>
                  </a:lnTo>
                  <a:lnTo>
                    <a:pt x="38" y="118"/>
                  </a:lnTo>
                  <a:lnTo>
                    <a:pt x="33" y="113"/>
                  </a:lnTo>
                  <a:lnTo>
                    <a:pt x="14" y="99"/>
                  </a:lnTo>
                  <a:lnTo>
                    <a:pt x="16" y="93"/>
                  </a:lnTo>
                  <a:lnTo>
                    <a:pt x="21" y="88"/>
                  </a:lnTo>
                  <a:lnTo>
                    <a:pt x="10" y="65"/>
                  </a:lnTo>
                  <a:lnTo>
                    <a:pt x="0" y="57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8" y="46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4" y="37"/>
                  </a:lnTo>
                  <a:lnTo>
                    <a:pt x="28" y="36"/>
                  </a:lnTo>
                  <a:lnTo>
                    <a:pt x="37" y="33"/>
                  </a:lnTo>
                  <a:lnTo>
                    <a:pt x="38" y="25"/>
                  </a:lnTo>
                  <a:lnTo>
                    <a:pt x="46" y="19"/>
                  </a:lnTo>
                  <a:lnTo>
                    <a:pt x="47" y="12"/>
                  </a:lnTo>
                  <a:lnTo>
                    <a:pt x="53" y="7"/>
                  </a:lnTo>
                  <a:lnTo>
                    <a:pt x="61" y="12"/>
                  </a:lnTo>
                  <a:lnTo>
                    <a:pt x="80" y="20"/>
                  </a:lnTo>
                  <a:lnTo>
                    <a:pt x="84" y="22"/>
                  </a:lnTo>
                  <a:lnTo>
                    <a:pt x="90" y="19"/>
                  </a:lnTo>
                  <a:lnTo>
                    <a:pt x="91" y="16"/>
                  </a:lnTo>
                  <a:lnTo>
                    <a:pt x="91" y="13"/>
                  </a:lnTo>
                  <a:lnTo>
                    <a:pt x="94" y="9"/>
                  </a:lnTo>
                  <a:lnTo>
                    <a:pt x="96" y="9"/>
                  </a:lnTo>
                  <a:lnTo>
                    <a:pt x="99" y="13"/>
                  </a:lnTo>
                  <a:lnTo>
                    <a:pt x="101" y="12"/>
                  </a:lnTo>
                  <a:lnTo>
                    <a:pt x="103" y="5"/>
                  </a:lnTo>
                  <a:lnTo>
                    <a:pt x="106" y="2"/>
                  </a:lnTo>
                  <a:lnTo>
                    <a:pt x="111" y="2"/>
                  </a:lnTo>
                  <a:lnTo>
                    <a:pt x="126" y="0"/>
                  </a:lnTo>
                  <a:lnTo>
                    <a:pt x="130" y="5"/>
                  </a:lnTo>
                  <a:lnTo>
                    <a:pt x="130" y="7"/>
                  </a:lnTo>
                  <a:lnTo>
                    <a:pt x="132" y="12"/>
                  </a:lnTo>
                  <a:lnTo>
                    <a:pt x="134" y="13"/>
                  </a:lnTo>
                  <a:lnTo>
                    <a:pt x="137" y="13"/>
                  </a:lnTo>
                  <a:lnTo>
                    <a:pt x="139" y="9"/>
                  </a:lnTo>
                  <a:lnTo>
                    <a:pt x="143" y="12"/>
                  </a:lnTo>
                  <a:lnTo>
                    <a:pt x="146" y="13"/>
                  </a:lnTo>
                  <a:lnTo>
                    <a:pt x="150" y="12"/>
                  </a:lnTo>
                  <a:lnTo>
                    <a:pt x="150" y="9"/>
                  </a:lnTo>
                  <a:lnTo>
                    <a:pt x="150" y="5"/>
                  </a:lnTo>
                  <a:lnTo>
                    <a:pt x="153" y="2"/>
                  </a:lnTo>
                  <a:lnTo>
                    <a:pt x="160" y="3"/>
                  </a:lnTo>
                  <a:lnTo>
                    <a:pt x="162" y="7"/>
                  </a:lnTo>
                  <a:lnTo>
                    <a:pt x="162" y="13"/>
                  </a:lnTo>
                  <a:lnTo>
                    <a:pt x="163" y="16"/>
                  </a:lnTo>
                  <a:lnTo>
                    <a:pt x="169" y="19"/>
                  </a:lnTo>
                  <a:lnTo>
                    <a:pt x="176" y="17"/>
                  </a:lnTo>
                  <a:lnTo>
                    <a:pt x="187" y="15"/>
                  </a:lnTo>
                  <a:lnTo>
                    <a:pt x="192" y="7"/>
                  </a:lnTo>
                  <a:lnTo>
                    <a:pt x="195" y="9"/>
                  </a:lnTo>
                  <a:lnTo>
                    <a:pt x="196" y="10"/>
                  </a:lnTo>
                  <a:lnTo>
                    <a:pt x="197" y="13"/>
                  </a:lnTo>
                  <a:lnTo>
                    <a:pt x="196" y="23"/>
                  </a:lnTo>
                  <a:lnTo>
                    <a:pt x="199" y="29"/>
                  </a:lnTo>
                  <a:lnTo>
                    <a:pt x="203" y="32"/>
                  </a:lnTo>
                  <a:lnTo>
                    <a:pt x="206" y="33"/>
                  </a:lnTo>
                  <a:lnTo>
                    <a:pt x="207" y="33"/>
                  </a:lnTo>
                  <a:lnTo>
                    <a:pt x="212" y="33"/>
                  </a:lnTo>
                  <a:lnTo>
                    <a:pt x="215" y="35"/>
                  </a:lnTo>
                  <a:lnTo>
                    <a:pt x="217" y="37"/>
                  </a:lnTo>
                  <a:lnTo>
                    <a:pt x="219" y="39"/>
                  </a:lnTo>
                  <a:lnTo>
                    <a:pt x="222" y="40"/>
                  </a:lnTo>
                  <a:lnTo>
                    <a:pt x="228" y="37"/>
                  </a:lnTo>
                  <a:lnTo>
                    <a:pt x="230" y="37"/>
                  </a:lnTo>
                  <a:lnTo>
                    <a:pt x="232" y="39"/>
                  </a:lnTo>
                  <a:lnTo>
                    <a:pt x="236" y="45"/>
                  </a:lnTo>
                  <a:lnTo>
                    <a:pt x="240" y="50"/>
                  </a:lnTo>
                  <a:lnTo>
                    <a:pt x="240" y="53"/>
                  </a:lnTo>
                  <a:lnTo>
                    <a:pt x="233" y="59"/>
                  </a:lnTo>
                  <a:lnTo>
                    <a:pt x="230" y="68"/>
                  </a:lnTo>
                  <a:lnTo>
                    <a:pt x="228" y="72"/>
                  </a:lnTo>
                  <a:lnTo>
                    <a:pt x="226" y="78"/>
                  </a:lnTo>
                  <a:lnTo>
                    <a:pt x="220" y="79"/>
                  </a:lnTo>
                  <a:lnTo>
                    <a:pt x="216" y="82"/>
                  </a:lnTo>
                  <a:lnTo>
                    <a:pt x="219" y="83"/>
                  </a:lnTo>
                  <a:lnTo>
                    <a:pt x="223" y="85"/>
                  </a:lnTo>
                  <a:lnTo>
                    <a:pt x="228" y="88"/>
                  </a:lnTo>
                  <a:lnTo>
                    <a:pt x="233" y="90"/>
                  </a:lnTo>
                  <a:lnTo>
                    <a:pt x="235" y="93"/>
                  </a:lnTo>
                  <a:lnTo>
                    <a:pt x="236" y="98"/>
                  </a:lnTo>
                  <a:lnTo>
                    <a:pt x="236" y="103"/>
                  </a:lnTo>
                  <a:lnTo>
                    <a:pt x="239" y="105"/>
                  </a:lnTo>
                  <a:lnTo>
                    <a:pt x="245" y="108"/>
                  </a:lnTo>
                  <a:lnTo>
                    <a:pt x="262" y="115"/>
                  </a:lnTo>
                  <a:lnTo>
                    <a:pt x="269" y="119"/>
                  </a:lnTo>
                  <a:lnTo>
                    <a:pt x="272" y="129"/>
                  </a:lnTo>
                  <a:lnTo>
                    <a:pt x="272" y="135"/>
                  </a:lnTo>
                  <a:lnTo>
                    <a:pt x="269" y="142"/>
                  </a:lnTo>
                  <a:lnTo>
                    <a:pt x="266" y="148"/>
                  </a:lnTo>
                  <a:lnTo>
                    <a:pt x="265" y="153"/>
                  </a:lnTo>
                  <a:lnTo>
                    <a:pt x="265" y="158"/>
                  </a:lnTo>
                  <a:lnTo>
                    <a:pt x="265" y="165"/>
                  </a:lnTo>
                  <a:lnTo>
                    <a:pt x="265" y="168"/>
                  </a:lnTo>
                  <a:lnTo>
                    <a:pt x="272" y="182"/>
                  </a:lnTo>
                  <a:lnTo>
                    <a:pt x="272" y="205"/>
                  </a:lnTo>
                  <a:lnTo>
                    <a:pt x="280" y="218"/>
                  </a:lnTo>
                  <a:lnTo>
                    <a:pt x="278" y="237"/>
                  </a:lnTo>
                  <a:lnTo>
                    <a:pt x="276" y="241"/>
                  </a:lnTo>
                  <a:lnTo>
                    <a:pt x="273" y="248"/>
                  </a:lnTo>
                  <a:lnTo>
                    <a:pt x="272" y="252"/>
                  </a:lnTo>
                  <a:lnTo>
                    <a:pt x="272" y="257"/>
                  </a:lnTo>
                  <a:lnTo>
                    <a:pt x="276" y="259"/>
                  </a:lnTo>
                  <a:lnTo>
                    <a:pt x="279" y="259"/>
                  </a:lnTo>
                  <a:lnTo>
                    <a:pt x="285" y="258"/>
                  </a:lnTo>
                  <a:lnTo>
                    <a:pt x="288" y="257"/>
                  </a:lnTo>
                  <a:lnTo>
                    <a:pt x="295" y="258"/>
                  </a:lnTo>
                  <a:lnTo>
                    <a:pt x="296" y="264"/>
                  </a:lnTo>
                  <a:lnTo>
                    <a:pt x="295" y="271"/>
                  </a:lnTo>
                  <a:lnTo>
                    <a:pt x="296" y="274"/>
                  </a:lnTo>
                  <a:lnTo>
                    <a:pt x="301" y="275"/>
                  </a:lnTo>
                  <a:lnTo>
                    <a:pt x="308" y="275"/>
                  </a:lnTo>
                  <a:lnTo>
                    <a:pt x="313" y="275"/>
                  </a:lnTo>
                  <a:lnTo>
                    <a:pt x="308" y="279"/>
                  </a:lnTo>
                  <a:lnTo>
                    <a:pt x="306" y="282"/>
                  </a:lnTo>
                  <a:lnTo>
                    <a:pt x="305" y="285"/>
                  </a:lnTo>
                  <a:lnTo>
                    <a:pt x="303" y="288"/>
                  </a:lnTo>
                  <a:lnTo>
                    <a:pt x="305" y="291"/>
                  </a:lnTo>
                  <a:lnTo>
                    <a:pt x="305" y="300"/>
                  </a:lnTo>
                  <a:lnTo>
                    <a:pt x="306" y="304"/>
                  </a:lnTo>
                  <a:lnTo>
                    <a:pt x="311" y="308"/>
                  </a:lnTo>
                  <a:lnTo>
                    <a:pt x="316" y="311"/>
                  </a:lnTo>
                  <a:lnTo>
                    <a:pt x="321" y="312"/>
                  </a:lnTo>
                  <a:lnTo>
                    <a:pt x="322" y="314"/>
                  </a:lnTo>
                  <a:lnTo>
                    <a:pt x="328" y="320"/>
                  </a:lnTo>
                  <a:lnTo>
                    <a:pt x="329" y="321"/>
                  </a:lnTo>
                  <a:lnTo>
                    <a:pt x="331" y="322"/>
                  </a:lnTo>
                  <a:lnTo>
                    <a:pt x="333" y="324"/>
                  </a:lnTo>
                  <a:lnTo>
                    <a:pt x="335" y="327"/>
                  </a:lnTo>
                  <a:lnTo>
                    <a:pt x="328" y="331"/>
                  </a:lnTo>
                  <a:lnTo>
                    <a:pt x="326" y="332"/>
                  </a:lnTo>
                  <a:lnTo>
                    <a:pt x="329" y="334"/>
                  </a:lnTo>
                  <a:lnTo>
                    <a:pt x="332" y="335"/>
                  </a:lnTo>
                  <a:lnTo>
                    <a:pt x="336" y="334"/>
                  </a:lnTo>
                  <a:lnTo>
                    <a:pt x="339" y="334"/>
                  </a:lnTo>
                  <a:lnTo>
                    <a:pt x="341" y="337"/>
                  </a:lnTo>
                  <a:lnTo>
                    <a:pt x="342" y="338"/>
                  </a:lnTo>
                  <a:lnTo>
                    <a:pt x="342" y="341"/>
                  </a:lnTo>
                  <a:lnTo>
                    <a:pt x="339" y="343"/>
                  </a:lnTo>
                  <a:lnTo>
                    <a:pt x="336" y="344"/>
                  </a:lnTo>
                  <a:lnTo>
                    <a:pt x="333" y="345"/>
                  </a:lnTo>
                  <a:lnTo>
                    <a:pt x="331" y="350"/>
                  </a:lnTo>
                  <a:lnTo>
                    <a:pt x="331" y="355"/>
                  </a:lnTo>
                  <a:lnTo>
                    <a:pt x="328" y="357"/>
                  </a:lnTo>
                  <a:lnTo>
                    <a:pt x="322" y="355"/>
                  </a:lnTo>
                  <a:lnTo>
                    <a:pt x="321" y="355"/>
                  </a:lnTo>
                  <a:lnTo>
                    <a:pt x="319" y="357"/>
                  </a:lnTo>
                  <a:lnTo>
                    <a:pt x="318" y="360"/>
                  </a:lnTo>
                  <a:lnTo>
                    <a:pt x="319" y="361"/>
                  </a:lnTo>
                  <a:lnTo>
                    <a:pt x="322" y="364"/>
                  </a:lnTo>
                  <a:lnTo>
                    <a:pt x="325" y="365"/>
                  </a:lnTo>
                  <a:lnTo>
                    <a:pt x="326" y="368"/>
                  </a:lnTo>
                  <a:lnTo>
                    <a:pt x="323" y="370"/>
                  </a:lnTo>
                  <a:lnTo>
                    <a:pt x="321" y="370"/>
                  </a:lnTo>
                  <a:lnTo>
                    <a:pt x="311" y="370"/>
                  </a:lnTo>
                  <a:lnTo>
                    <a:pt x="308" y="368"/>
                  </a:lnTo>
                  <a:lnTo>
                    <a:pt x="308" y="367"/>
                  </a:lnTo>
                  <a:lnTo>
                    <a:pt x="306" y="360"/>
                  </a:lnTo>
                  <a:lnTo>
                    <a:pt x="305" y="355"/>
                  </a:lnTo>
                  <a:lnTo>
                    <a:pt x="306" y="350"/>
                  </a:lnTo>
                  <a:lnTo>
                    <a:pt x="305" y="348"/>
                  </a:lnTo>
                  <a:lnTo>
                    <a:pt x="303" y="347"/>
                  </a:lnTo>
                  <a:lnTo>
                    <a:pt x="301" y="348"/>
                  </a:lnTo>
                  <a:lnTo>
                    <a:pt x="296" y="351"/>
                  </a:lnTo>
                  <a:lnTo>
                    <a:pt x="293" y="351"/>
                  </a:lnTo>
                  <a:lnTo>
                    <a:pt x="291" y="353"/>
                  </a:lnTo>
                  <a:lnTo>
                    <a:pt x="289" y="350"/>
                  </a:lnTo>
                  <a:lnTo>
                    <a:pt x="289" y="341"/>
                  </a:lnTo>
                  <a:lnTo>
                    <a:pt x="283" y="347"/>
                  </a:lnTo>
                  <a:lnTo>
                    <a:pt x="282" y="354"/>
                  </a:lnTo>
                  <a:lnTo>
                    <a:pt x="280" y="358"/>
                  </a:lnTo>
                  <a:lnTo>
                    <a:pt x="279" y="364"/>
                  </a:lnTo>
                  <a:lnTo>
                    <a:pt x="278" y="365"/>
                  </a:lnTo>
                  <a:lnTo>
                    <a:pt x="273" y="368"/>
                  </a:lnTo>
                  <a:lnTo>
                    <a:pt x="270" y="370"/>
                  </a:lnTo>
                  <a:lnTo>
                    <a:pt x="268" y="371"/>
                  </a:lnTo>
                  <a:lnTo>
                    <a:pt x="266" y="378"/>
                  </a:lnTo>
                  <a:lnTo>
                    <a:pt x="260" y="380"/>
                  </a:lnTo>
                  <a:lnTo>
                    <a:pt x="259" y="384"/>
                  </a:lnTo>
                  <a:lnTo>
                    <a:pt x="258" y="388"/>
                  </a:lnTo>
                  <a:lnTo>
                    <a:pt x="255" y="390"/>
                  </a:lnTo>
                  <a:lnTo>
                    <a:pt x="252" y="391"/>
                  </a:lnTo>
                  <a:lnTo>
                    <a:pt x="248" y="390"/>
                  </a:lnTo>
                  <a:lnTo>
                    <a:pt x="245" y="385"/>
                  </a:lnTo>
                  <a:lnTo>
                    <a:pt x="245" y="385"/>
                  </a:lnTo>
                  <a:lnTo>
                    <a:pt x="243" y="381"/>
                  </a:lnTo>
                  <a:lnTo>
                    <a:pt x="246" y="377"/>
                  </a:lnTo>
                  <a:lnTo>
                    <a:pt x="243" y="373"/>
                  </a:lnTo>
                  <a:lnTo>
                    <a:pt x="243" y="367"/>
                  </a:lnTo>
                  <a:lnTo>
                    <a:pt x="245" y="357"/>
                  </a:lnTo>
                  <a:lnTo>
                    <a:pt x="242" y="350"/>
                  </a:lnTo>
                  <a:lnTo>
                    <a:pt x="239" y="345"/>
                  </a:lnTo>
                  <a:lnTo>
                    <a:pt x="238" y="344"/>
                  </a:lnTo>
                  <a:lnTo>
                    <a:pt x="229" y="344"/>
                  </a:lnTo>
                  <a:lnTo>
                    <a:pt x="219" y="343"/>
                  </a:lnTo>
                  <a:lnTo>
                    <a:pt x="216" y="341"/>
                  </a:lnTo>
                  <a:lnTo>
                    <a:pt x="215" y="337"/>
                  </a:lnTo>
                  <a:lnTo>
                    <a:pt x="213" y="330"/>
                  </a:lnTo>
                  <a:lnTo>
                    <a:pt x="215" y="328"/>
                  </a:lnTo>
                  <a:lnTo>
                    <a:pt x="215" y="325"/>
                  </a:lnTo>
                  <a:lnTo>
                    <a:pt x="213" y="324"/>
                  </a:lnTo>
                  <a:lnTo>
                    <a:pt x="210" y="321"/>
                  </a:lnTo>
                  <a:lnTo>
                    <a:pt x="207" y="321"/>
                  </a:lnTo>
                  <a:lnTo>
                    <a:pt x="202" y="318"/>
                  </a:lnTo>
                  <a:lnTo>
                    <a:pt x="202" y="314"/>
                  </a:lnTo>
                  <a:lnTo>
                    <a:pt x="202" y="305"/>
                  </a:lnTo>
                  <a:lnTo>
                    <a:pt x="197" y="304"/>
                  </a:lnTo>
                  <a:lnTo>
                    <a:pt x="193" y="305"/>
                  </a:lnTo>
                  <a:lnTo>
                    <a:pt x="192" y="305"/>
                  </a:lnTo>
                  <a:lnTo>
                    <a:pt x="189" y="304"/>
                  </a:lnTo>
                  <a:lnTo>
                    <a:pt x="186" y="302"/>
                  </a:lnTo>
                  <a:lnTo>
                    <a:pt x="183" y="297"/>
                  </a:lnTo>
                  <a:lnTo>
                    <a:pt x="177" y="295"/>
                  </a:lnTo>
                  <a:lnTo>
                    <a:pt x="175" y="298"/>
                  </a:lnTo>
                  <a:lnTo>
                    <a:pt x="173" y="301"/>
                  </a:lnTo>
                  <a:lnTo>
                    <a:pt x="172" y="302"/>
                  </a:lnTo>
                  <a:lnTo>
                    <a:pt x="169" y="301"/>
                  </a:lnTo>
                  <a:lnTo>
                    <a:pt x="166" y="298"/>
                  </a:lnTo>
                  <a:lnTo>
                    <a:pt x="163" y="297"/>
                  </a:lnTo>
                  <a:lnTo>
                    <a:pt x="159" y="295"/>
                  </a:lnTo>
                  <a:lnTo>
                    <a:pt x="153" y="294"/>
                  </a:lnTo>
                  <a:lnTo>
                    <a:pt x="146" y="291"/>
                  </a:lnTo>
                  <a:lnTo>
                    <a:pt x="144" y="287"/>
                  </a:lnTo>
                  <a:lnTo>
                    <a:pt x="144" y="284"/>
                  </a:lnTo>
                  <a:lnTo>
                    <a:pt x="142" y="281"/>
                  </a:lnTo>
                  <a:lnTo>
                    <a:pt x="137" y="279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27" y="275"/>
                  </a:lnTo>
                  <a:lnTo>
                    <a:pt x="124" y="272"/>
                  </a:lnTo>
                  <a:lnTo>
                    <a:pt x="124" y="272"/>
                  </a:lnTo>
                  <a:lnTo>
                    <a:pt x="124" y="271"/>
                  </a:lnTo>
                  <a:lnTo>
                    <a:pt x="124" y="269"/>
                  </a:lnTo>
                  <a:lnTo>
                    <a:pt x="124" y="268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0" y="267"/>
                  </a:lnTo>
                  <a:lnTo>
                    <a:pt x="117" y="268"/>
                  </a:lnTo>
                  <a:lnTo>
                    <a:pt x="113" y="271"/>
                  </a:lnTo>
                  <a:lnTo>
                    <a:pt x="113" y="271"/>
                  </a:lnTo>
                  <a:lnTo>
                    <a:pt x="106" y="269"/>
                  </a:lnTo>
                  <a:lnTo>
                    <a:pt x="106" y="269"/>
                  </a:lnTo>
                  <a:lnTo>
                    <a:pt x="101" y="268"/>
                  </a:lnTo>
                  <a:lnTo>
                    <a:pt x="99" y="267"/>
                  </a:lnTo>
                  <a:lnTo>
                    <a:pt x="99" y="264"/>
                  </a:lnTo>
                  <a:lnTo>
                    <a:pt x="99" y="264"/>
                  </a:lnTo>
                  <a:lnTo>
                    <a:pt x="100" y="261"/>
                  </a:lnTo>
                  <a:lnTo>
                    <a:pt x="103" y="258"/>
                  </a:lnTo>
                  <a:lnTo>
                    <a:pt x="103" y="258"/>
                  </a:lnTo>
                  <a:lnTo>
                    <a:pt x="107" y="258"/>
                  </a:lnTo>
                  <a:lnTo>
                    <a:pt x="110" y="255"/>
                  </a:lnTo>
                  <a:lnTo>
                    <a:pt x="110" y="255"/>
                  </a:lnTo>
                  <a:lnTo>
                    <a:pt x="111" y="252"/>
                  </a:lnTo>
                  <a:lnTo>
                    <a:pt x="110" y="251"/>
                  </a:lnTo>
                  <a:lnTo>
                    <a:pt x="109" y="251"/>
                  </a:lnTo>
                  <a:lnTo>
                    <a:pt x="109" y="251"/>
                  </a:lnTo>
                  <a:lnTo>
                    <a:pt x="101" y="248"/>
                  </a:lnTo>
                  <a:lnTo>
                    <a:pt x="96" y="247"/>
                  </a:lnTo>
                  <a:lnTo>
                    <a:pt x="97" y="234"/>
                  </a:lnTo>
                  <a:lnTo>
                    <a:pt x="90" y="234"/>
                  </a:lnTo>
                  <a:lnTo>
                    <a:pt x="93" y="218"/>
                  </a:lnTo>
                  <a:lnTo>
                    <a:pt x="74" y="204"/>
                  </a:lnTo>
                  <a:lnTo>
                    <a:pt x="73" y="209"/>
                  </a:lnTo>
                  <a:lnTo>
                    <a:pt x="73" y="209"/>
                  </a:lnTo>
                  <a:lnTo>
                    <a:pt x="67" y="208"/>
                  </a:lnTo>
                  <a:lnTo>
                    <a:pt x="67" y="208"/>
                  </a:lnTo>
                  <a:lnTo>
                    <a:pt x="60" y="208"/>
                  </a:lnTo>
                  <a:lnTo>
                    <a:pt x="56" y="209"/>
                  </a:lnTo>
                  <a:lnTo>
                    <a:pt x="56" y="204"/>
                  </a:lnTo>
                  <a:lnTo>
                    <a:pt x="56" y="204"/>
                  </a:lnTo>
                  <a:lnTo>
                    <a:pt x="53" y="202"/>
                  </a:lnTo>
                  <a:lnTo>
                    <a:pt x="51" y="202"/>
                  </a:lnTo>
                  <a:lnTo>
                    <a:pt x="50" y="202"/>
                  </a:lnTo>
                  <a:lnTo>
                    <a:pt x="50" y="202"/>
                  </a:lnTo>
                  <a:lnTo>
                    <a:pt x="46" y="204"/>
                  </a:lnTo>
                  <a:lnTo>
                    <a:pt x="44" y="204"/>
                  </a:lnTo>
                  <a:lnTo>
                    <a:pt x="44" y="202"/>
                  </a:lnTo>
                  <a:lnTo>
                    <a:pt x="44" y="202"/>
                  </a:lnTo>
                  <a:lnTo>
                    <a:pt x="46" y="199"/>
                  </a:lnTo>
                  <a:lnTo>
                    <a:pt x="44" y="198"/>
                  </a:lnTo>
                  <a:lnTo>
                    <a:pt x="43" y="196"/>
                  </a:lnTo>
                  <a:lnTo>
                    <a:pt x="43" y="196"/>
                  </a:lnTo>
                  <a:lnTo>
                    <a:pt x="40" y="198"/>
                  </a:lnTo>
                  <a:lnTo>
                    <a:pt x="38" y="199"/>
                  </a:lnTo>
                  <a:lnTo>
                    <a:pt x="38" y="201"/>
                  </a:lnTo>
                  <a:lnTo>
                    <a:pt x="36" y="201"/>
                  </a:lnTo>
                  <a:lnTo>
                    <a:pt x="36" y="201"/>
                  </a:lnTo>
                  <a:lnTo>
                    <a:pt x="33" y="199"/>
                  </a:lnTo>
                  <a:lnTo>
                    <a:pt x="31" y="195"/>
                  </a:lnTo>
                  <a:lnTo>
                    <a:pt x="31" y="191"/>
                  </a:lnTo>
                  <a:lnTo>
                    <a:pt x="31" y="186"/>
                  </a:lnTo>
                  <a:lnTo>
                    <a:pt x="31" y="179"/>
                  </a:lnTo>
                  <a:lnTo>
                    <a:pt x="28" y="172"/>
                  </a:lnTo>
                  <a:lnTo>
                    <a:pt x="26" y="16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99" name="Freeform 47"/>
            <p:cNvSpPr>
              <a:spLocks/>
            </p:cNvSpPr>
            <p:nvPr/>
          </p:nvSpPr>
          <p:spPr bwMode="auto">
            <a:xfrm>
              <a:off x="2242052" y="3420509"/>
              <a:ext cx="168518" cy="218279"/>
            </a:xfrm>
            <a:custGeom>
              <a:avLst/>
              <a:gdLst>
                <a:gd name="T0" fmla="*/ 260 w 275"/>
                <a:gd name="T1" fmla="*/ 226 h 329"/>
                <a:gd name="T2" fmla="*/ 266 w 275"/>
                <a:gd name="T3" fmla="*/ 208 h 329"/>
                <a:gd name="T4" fmla="*/ 275 w 275"/>
                <a:gd name="T5" fmla="*/ 189 h 329"/>
                <a:gd name="T6" fmla="*/ 249 w 275"/>
                <a:gd name="T7" fmla="*/ 171 h 329"/>
                <a:gd name="T8" fmla="*/ 243 w 275"/>
                <a:gd name="T9" fmla="*/ 152 h 329"/>
                <a:gd name="T10" fmla="*/ 229 w 275"/>
                <a:gd name="T11" fmla="*/ 129 h 329"/>
                <a:gd name="T12" fmla="*/ 229 w 275"/>
                <a:gd name="T13" fmla="*/ 118 h 329"/>
                <a:gd name="T14" fmla="*/ 222 w 275"/>
                <a:gd name="T15" fmla="*/ 99 h 329"/>
                <a:gd name="T16" fmla="*/ 233 w 275"/>
                <a:gd name="T17" fmla="*/ 63 h 329"/>
                <a:gd name="T18" fmla="*/ 226 w 275"/>
                <a:gd name="T19" fmla="*/ 46 h 329"/>
                <a:gd name="T20" fmla="*/ 235 w 275"/>
                <a:gd name="T21" fmla="*/ 33 h 329"/>
                <a:gd name="T22" fmla="*/ 229 w 275"/>
                <a:gd name="T23" fmla="*/ 32 h 329"/>
                <a:gd name="T24" fmla="*/ 206 w 275"/>
                <a:gd name="T25" fmla="*/ 30 h 329"/>
                <a:gd name="T26" fmla="*/ 199 w 275"/>
                <a:gd name="T27" fmla="*/ 13 h 329"/>
                <a:gd name="T28" fmla="*/ 179 w 275"/>
                <a:gd name="T29" fmla="*/ 13 h 329"/>
                <a:gd name="T30" fmla="*/ 174 w 275"/>
                <a:gd name="T31" fmla="*/ 9 h 329"/>
                <a:gd name="T32" fmla="*/ 160 w 275"/>
                <a:gd name="T33" fmla="*/ 10 h 329"/>
                <a:gd name="T34" fmla="*/ 149 w 275"/>
                <a:gd name="T35" fmla="*/ 10 h 329"/>
                <a:gd name="T36" fmla="*/ 139 w 275"/>
                <a:gd name="T37" fmla="*/ 4 h 329"/>
                <a:gd name="T38" fmla="*/ 126 w 275"/>
                <a:gd name="T39" fmla="*/ 6 h 329"/>
                <a:gd name="T40" fmla="*/ 119 w 275"/>
                <a:gd name="T41" fmla="*/ 30 h 329"/>
                <a:gd name="T42" fmla="*/ 88 w 275"/>
                <a:gd name="T43" fmla="*/ 26 h 329"/>
                <a:gd name="T44" fmla="*/ 81 w 275"/>
                <a:gd name="T45" fmla="*/ 9 h 329"/>
                <a:gd name="T46" fmla="*/ 60 w 275"/>
                <a:gd name="T47" fmla="*/ 4 h 329"/>
                <a:gd name="T48" fmla="*/ 56 w 275"/>
                <a:gd name="T49" fmla="*/ 26 h 329"/>
                <a:gd name="T50" fmla="*/ 54 w 275"/>
                <a:gd name="T51" fmla="*/ 37 h 329"/>
                <a:gd name="T52" fmla="*/ 53 w 275"/>
                <a:gd name="T53" fmla="*/ 46 h 329"/>
                <a:gd name="T54" fmla="*/ 40 w 275"/>
                <a:gd name="T55" fmla="*/ 43 h 329"/>
                <a:gd name="T56" fmla="*/ 23 w 275"/>
                <a:gd name="T57" fmla="*/ 49 h 329"/>
                <a:gd name="T58" fmla="*/ 3 w 275"/>
                <a:gd name="T59" fmla="*/ 59 h 329"/>
                <a:gd name="T60" fmla="*/ 7 w 275"/>
                <a:gd name="T61" fmla="*/ 79 h 329"/>
                <a:gd name="T62" fmla="*/ 20 w 275"/>
                <a:gd name="T63" fmla="*/ 83 h 329"/>
                <a:gd name="T64" fmla="*/ 30 w 275"/>
                <a:gd name="T65" fmla="*/ 90 h 329"/>
                <a:gd name="T66" fmla="*/ 44 w 275"/>
                <a:gd name="T67" fmla="*/ 95 h 329"/>
                <a:gd name="T68" fmla="*/ 38 w 275"/>
                <a:gd name="T69" fmla="*/ 118 h 329"/>
                <a:gd name="T70" fmla="*/ 24 w 275"/>
                <a:gd name="T71" fmla="*/ 132 h 329"/>
                <a:gd name="T72" fmla="*/ 41 w 275"/>
                <a:gd name="T73" fmla="*/ 140 h 329"/>
                <a:gd name="T74" fmla="*/ 47 w 275"/>
                <a:gd name="T75" fmla="*/ 155 h 329"/>
                <a:gd name="T76" fmla="*/ 80 w 275"/>
                <a:gd name="T77" fmla="*/ 179 h 329"/>
                <a:gd name="T78" fmla="*/ 73 w 275"/>
                <a:gd name="T79" fmla="*/ 203 h 329"/>
                <a:gd name="T80" fmla="*/ 80 w 275"/>
                <a:gd name="T81" fmla="*/ 232 h 329"/>
                <a:gd name="T82" fmla="*/ 84 w 275"/>
                <a:gd name="T83" fmla="*/ 291 h 329"/>
                <a:gd name="T84" fmla="*/ 84 w 275"/>
                <a:gd name="T85" fmla="*/ 309 h 329"/>
                <a:gd name="T86" fmla="*/ 103 w 275"/>
                <a:gd name="T87" fmla="*/ 308 h 329"/>
                <a:gd name="T88" fmla="*/ 109 w 275"/>
                <a:gd name="T89" fmla="*/ 325 h 329"/>
                <a:gd name="T90" fmla="*/ 127 w 275"/>
                <a:gd name="T91" fmla="*/ 321 h 329"/>
                <a:gd name="T92" fmla="*/ 141 w 275"/>
                <a:gd name="T93" fmla="*/ 312 h 329"/>
                <a:gd name="T94" fmla="*/ 154 w 275"/>
                <a:gd name="T95" fmla="*/ 317 h 329"/>
                <a:gd name="T96" fmla="*/ 166 w 275"/>
                <a:gd name="T97" fmla="*/ 329 h 329"/>
                <a:gd name="T98" fmla="*/ 180 w 275"/>
                <a:gd name="T99" fmla="*/ 302 h 329"/>
                <a:gd name="T100" fmla="*/ 186 w 275"/>
                <a:gd name="T101" fmla="*/ 285 h 329"/>
                <a:gd name="T102" fmla="*/ 194 w 275"/>
                <a:gd name="T103" fmla="*/ 272 h 329"/>
                <a:gd name="T104" fmla="*/ 227 w 275"/>
                <a:gd name="T105" fmla="*/ 261 h 329"/>
                <a:gd name="T106" fmla="*/ 239 w 275"/>
                <a:gd name="T107" fmla="*/ 246 h 329"/>
                <a:gd name="T108" fmla="*/ 252 w 275"/>
                <a:gd name="T109" fmla="*/ 236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5" h="329">
                  <a:moveTo>
                    <a:pt x="252" y="236"/>
                  </a:moveTo>
                  <a:lnTo>
                    <a:pt x="256" y="235"/>
                  </a:lnTo>
                  <a:lnTo>
                    <a:pt x="259" y="232"/>
                  </a:lnTo>
                  <a:lnTo>
                    <a:pt x="260" y="226"/>
                  </a:lnTo>
                  <a:lnTo>
                    <a:pt x="260" y="221"/>
                  </a:lnTo>
                  <a:lnTo>
                    <a:pt x="260" y="218"/>
                  </a:lnTo>
                  <a:lnTo>
                    <a:pt x="269" y="213"/>
                  </a:lnTo>
                  <a:lnTo>
                    <a:pt x="266" y="208"/>
                  </a:lnTo>
                  <a:lnTo>
                    <a:pt x="257" y="209"/>
                  </a:lnTo>
                  <a:lnTo>
                    <a:pt x="255" y="203"/>
                  </a:lnTo>
                  <a:lnTo>
                    <a:pt x="259" y="199"/>
                  </a:lnTo>
                  <a:lnTo>
                    <a:pt x="275" y="189"/>
                  </a:lnTo>
                  <a:lnTo>
                    <a:pt x="268" y="176"/>
                  </a:lnTo>
                  <a:lnTo>
                    <a:pt x="263" y="172"/>
                  </a:lnTo>
                  <a:lnTo>
                    <a:pt x="256" y="173"/>
                  </a:lnTo>
                  <a:lnTo>
                    <a:pt x="249" y="171"/>
                  </a:lnTo>
                  <a:lnTo>
                    <a:pt x="246" y="166"/>
                  </a:lnTo>
                  <a:lnTo>
                    <a:pt x="245" y="163"/>
                  </a:lnTo>
                  <a:lnTo>
                    <a:pt x="243" y="158"/>
                  </a:lnTo>
                  <a:lnTo>
                    <a:pt x="243" y="152"/>
                  </a:lnTo>
                  <a:lnTo>
                    <a:pt x="235" y="142"/>
                  </a:lnTo>
                  <a:lnTo>
                    <a:pt x="233" y="139"/>
                  </a:lnTo>
                  <a:lnTo>
                    <a:pt x="230" y="133"/>
                  </a:lnTo>
                  <a:lnTo>
                    <a:pt x="229" y="129"/>
                  </a:lnTo>
                  <a:lnTo>
                    <a:pt x="229" y="125"/>
                  </a:lnTo>
                  <a:lnTo>
                    <a:pt x="233" y="122"/>
                  </a:lnTo>
                  <a:lnTo>
                    <a:pt x="235" y="119"/>
                  </a:lnTo>
                  <a:lnTo>
                    <a:pt x="229" y="118"/>
                  </a:lnTo>
                  <a:lnTo>
                    <a:pt x="236" y="105"/>
                  </a:lnTo>
                  <a:lnTo>
                    <a:pt x="230" y="105"/>
                  </a:lnTo>
                  <a:lnTo>
                    <a:pt x="225" y="103"/>
                  </a:lnTo>
                  <a:lnTo>
                    <a:pt x="222" y="99"/>
                  </a:lnTo>
                  <a:lnTo>
                    <a:pt x="226" y="86"/>
                  </a:lnTo>
                  <a:lnTo>
                    <a:pt x="232" y="75"/>
                  </a:lnTo>
                  <a:lnTo>
                    <a:pt x="235" y="69"/>
                  </a:lnTo>
                  <a:lnTo>
                    <a:pt x="233" y="63"/>
                  </a:lnTo>
                  <a:lnTo>
                    <a:pt x="233" y="57"/>
                  </a:lnTo>
                  <a:lnTo>
                    <a:pt x="232" y="55"/>
                  </a:lnTo>
                  <a:lnTo>
                    <a:pt x="229" y="49"/>
                  </a:lnTo>
                  <a:lnTo>
                    <a:pt x="226" y="46"/>
                  </a:lnTo>
                  <a:lnTo>
                    <a:pt x="226" y="44"/>
                  </a:lnTo>
                  <a:lnTo>
                    <a:pt x="230" y="43"/>
                  </a:lnTo>
                  <a:lnTo>
                    <a:pt x="235" y="37"/>
                  </a:lnTo>
                  <a:lnTo>
                    <a:pt x="235" y="33"/>
                  </a:lnTo>
                  <a:lnTo>
                    <a:pt x="233" y="32"/>
                  </a:lnTo>
                  <a:lnTo>
                    <a:pt x="233" y="32"/>
                  </a:lnTo>
                  <a:lnTo>
                    <a:pt x="232" y="32"/>
                  </a:lnTo>
                  <a:lnTo>
                    <a:pt x="229" y="32"/>
                  </a:lnTo>
                  <a:lnTo>
                    <a:pt x="225" y="30"/>
                  </a:lnTo>
                  <a:lnTo>
                    <a:pt x="220" y="30"/>
                  </a:lnTo>
                  <a:lnTo>
                    <a:pt x="215" y="29"/>
                  </a:lnTo>
                  <a:lnTo>
                    <a:pt x="206" y="30"/>
                  </a:lnTo>
                  <a:lnTo>
                    <a:pt x="203" y="26"/>
                  </a:lnTo>
                  <a:lnTo>
                    <a:pt x="200" y="22"/>
                  </a:lnTo>
                  <a:lnTo>
                    <a:pt x="199" y="19"/>
                  </a:lnTo>
                  <a:lnTo>
                    <a:pt x="199" y="13"/>
                  </a:lnTo>
                  <a:lnTo>
                    <a:pt x="184" y="19"/>
                  </a:lnTo>
                  <a:lnTo>
                    <a:pt x="180" y="17"/>
                  </a:lnTo>
                  <a:lnTo>
                    <a:pt x="180" y="17"/>
                  </a:lnTo>
                  <a:lnTo>
                    <a:pt x="179" y="13"/>
                  </a:lnTo>
                  <a:lnTo>
                    <a:pt x="177" y="10"/>
                  </a:lnTo>
                  <a:lnTo>
                    <a:pt x="176" y="9"/>
                  </a:lnTo>
                  <a:lnTo>
                    <a:pt x="176" y="9"/>
                  </a:lnTo>
                  <a:lnTo>
                    <a:pt x="174" y="9"/>
                  </a:lnTo>
                  <a:lnTo>
                    <a:pt x="172" y="10"/>
                  </a:lnTo>
                  <a:lnTo>
                    <a:pt x="166" y="12"/>
                  </a:lnTo>
                  <a:lnTo>
                    <a:pt x="166" y="12"/>
                  </a:lnTo>
                  <a:lnTo>
                    <a:pt x="160" y="10"/>
                  </a:lnTo>
                  <a:lnTo>
                    <a:pt x="160" y="10"/>
                  </a:lnTo>
                  <a:lnTo>
                    <a:pt x="154" y="10"/>
                  </a:lnTo>
                  <a:lnTo>
                    <a:pt x="149" y="10"/>
                  </a:lnTo>
                  <a:lnTo>
                    <a:pt x="149" y="10"/>
                  </a:lnTo>
                  <a:lnTo>
                    <a:pt x="147" y="10"/>
                  </a:lnTo>
                  <a:lnTo>
                    <a:pt x="146" y="9"/>
                  </a:lnTo>
                  <a:lnTo>
                    <a:pt x="143" y="6"/>
                  </a:lnTo>
                  <a:lnTo>
                    <a:pt x="139" y="4"/>
                  </a:lnTo>
                  <a:lnTo>
                    <a:pt x="136" y="3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26" y="6"/>
                  </a:lnTo>
                  <a:lnTo>
                    <a:pt x="114" y="7"/>
                  </a:lnTo>
                  <a:lnTo>
                    <a:pt x="113" y="14"/>
                  </a:lnTo>
                  <a:lnTo>
                    <a:pt x="116" y="23"/>
                  </a:lnTo>
                  <a:lnTo>
                    <a:pt x="119" y="30"/>
                  </a:lnTo>
                  <a:lnTo>
                    <a:pt x="106" y="32"/>
                  </a:lnTo>
                  <a:lnTo>
                    <a:pt x="100" y="19"/>
                  </a:lnTo>
                  <a:lnTo>
                    <a:pt x="96" y="24"/>
                  </a:lnTo>
                  <a:lnTo>
                    <a:pt x="88" y="26"/>
                  </a:lnTo>
                  <a:lnTo>
                    <a:pt x="86" y="22"/>
                  </a:lnTo>
                  <a:lnTo>
                    <a:pt x="86" y="16"/>
                  </a:lnTo>
                  <a:lnTo>
                    <a:pt x="84" y="12"/>
                  </a:lnTo>
                  <a:lnTo>
                    <a:pt x="81" y="9"/>
                  </a:lnTo>
                  <a:lnTo>
                    <a:pt x="74" y="4"/>
                  </a:lnTo>
                  <a:lnTo>
                    <a:pt x="70" y="4"/>
                  </a:lnTo>
                  <a:lnTo>
                    <a:pt x="64" y="6"/>
                  </a:lnTo>
                  <a:lnTo>
                    <a:pt x="60" y="4"/>
                  </a:lnTo>
                  <a:lnTo>
                    <a:pt x="57" y="9"/>
                  </a:lnTo>
                  <a:lnTo>
                    <a:pt x="54" y="16"/>
                  </a:lnTo>
                  <a:lnTo>
                    <a:pt x="53" y="22"/>
                  </a:lnTo>
                  <a:lnTo>
                    <a:pt x="56" y="26"/>
                  </a:lnTo>
                  <a:lnTo>
                    <a:pt x="58" y="29"/>
                  </a:lnTo>
                  <a:lnTo>
                    <a:pt x="58" y="33"/>
                  </a:lnTo>
                  <a:lnTo>
                    <a:pt x="58" y="36"/>
                  </a:lnTo>
                  <a:lnTo>
                    <a:pt x="54" y="37"/>
                  </a:lnTo>
                  <a:lnTo>
                    <a:pt x="47" y="39"/>
                  </a:lnTo>
                  <a:lnTo>
                    <a:pt x="48" y="42"/>
                  </a:lnTo>
                  <a:lnTo>
                    <a:pt x="53" y="43"/>
                  </a:lnTo>
                  <a:lnTo>
                    <a:pt x="53" y="46"/>
                  </a:lnTo>
                  <a:lnTo>
                    <a:pt x="51" y="47"/>
                  </a:lnTo>
                  <a:lnTo>
                    <a:pt x="47" y="46"/>
                  </a:lnTo>
                  <a:lnTo>
                    <a:pt x="43" y="40"/>
                  </a:lnTo>
                  <a:lnTo>
                    <a:pt x="40" y="43"/>
                  </a:lnTo>
                  <a:lnTo>
                    <a:pt x="36" y="47"/>
                  </a:lnTo>
                  <a:lnTo>
                    <a:pt x="31" y="52"/>
                  </a:lnTo>
                  <a:lnTo>
                    <a:pt x="28" y="52"/>
                  </a:lnTo>
                  <a:lnTo>
                    <a:pt x="23" y="49"/>
                  </a:lnTo>
                  <a:lnTo>
                    <a:pt x="17" y="44"/>
                  </a:lnTo>
                  <a:lnTo>
                    <a:pt x="10" y="49"/>
                  </a:lnTo>
                  <a:lnTo>
                    <a:pt x="0" y="57"/>
                  </a:lnTo>
                  <a:lnTo>
                    <a:pt x="3" y="59"/>
                  </a:lnTo>
                  <a:lnTo>
                    <a:pt x="4" y="60"/>
                  </a:lnTo>
                  <a:lnTo>
                    <a:pt x="5" y="63"/>
                  </a:lnTo>
                  <a:lnTo>
                    <a:pt x="4" y="73"/>
                  </a:lnTo>
                  <a:lnTo>
                    <a:pt x="7" y="79"/>
                  </a:lnTo>
                  <a:lnTo>
                    <a:pt x="11" y="82"/>
                  </a:lnTo>
                  <a:lnTo>
                    <a:pt x="14" y="83"/>
                  </a:lnTo>
                  <a:lnTo>
                    <a:pt x="15" y="83"/>
                  </a:lnTo>
                  <a:lnTo>
                    <a:pt x="20" y="83"/>
                  </a:lnTo>
                  <a:lnTo>
                    <a:pt x="23" y="85"/>
                  </a:lnTo>
                  <a:lnTo>
                    <a:pt x="25" y="87"/>
                  </a:lnTo>
                  <a:lnTo>
                    <a:pt x="27" y="89"/>
                  </a:lnTo>
                  <a:lnTo>
                    <a:pt x="30" y="90"/>
                  </a:lnTo>
                  <a:lnTo>
                    <a:pt x="36" y="87"/>
                  </a:lnTo>
                  <a:lnTo>
                    <a:pt x="38" y="87"/>
                  </a:lnTo>
                  <a:lnTo>
                    <a:pt x="40" y="89"/>
                  </a:lnTo>
                  <a:lnTo>
                    <a:pt x="44" y="95"/>
                  </a:lnTo>
                  <a:lnTo>
                    <a:pt x="48" y="100"/>
                  </a:lnTo>
                  <a:lnTo>
                    <a:pt x="48" y="103"/>
                  </a:lnTo>
                  <a:lnTo>
                    <a:pt x="41" y="109"/>
                  </a:lnTo>
                  <a:lnTo>
                    <a:pt x="38" y="118"/>
                  </a:lnTo>
                  <a:lnTo>
                    <a:pt x="36" y="122"/>
                  </a:lnTo>
                  <a:lnTo>
                    <a:pt x="34" y="128"/>
                  </a:lnTo>
                  <a:lnTo>
                    <a:pt x="28" y="129"/>
                  </a:lnTo>
                  <a:lnTo>
                    <a:pt x="24" y="132"/>
                  </a:lnTo>
                  <a:lnTo>
                    <a:pt x="27" y="133"/>
                  </a:lnTo>
                  <a:lnTo>
                    <a:pt x="31" y="135"/>
                  </a:lnTo>
                  <a:lnTo>
                    <a:pt x="36" y="138"/>
                  </a:lnTo>
                  <a:lnTo>
                    <a:pt x="41" y="140"/>
                  </a:lnTo>
                  <a:lnTo>
                    <a:pt x="43" y="143"/>
                  </a:lnTo>
                  <a:lnTo>
                    <a:pt x="44" y="148"/>
                  </a:lnTo>
                  <a:lnTo>
                    <a:pt x="44" y="153"/>
                  </a:lnTo>
                  <a:lnTo>
                    <a:pt x="47" y="155"/>
                  </a:lnTo>
                  <a:lnTo>
                    <a:pt x="53" y="158"/>
                  </a:lnTo>
                  <a:lnTo>
                    <a:pt x="70" y="165"/>
                  </a:lnTo>
                  <a:lnTo>
                    <a:pt x="77" y="169"/>
                  </a:lnTo>
                  <a:lnTo>
                    <a:pt x="80" y="179"/>
                  </a:lnTo>
                  <a:lnTo>
                    <a:pt x="80" y="185"/>
                  </a:lnTo>
                  <a:lnTo>
                    <a:pt x="77" y="192"/>
                  </a:lnTo>
                  <a:lnTo>
                    <a:pt x="74" y="198"/>
                  </a:lnTo>
                  <a:lnTo>
                    <a:pt x="73" y="203"/>
                  </a:lnTo>
                  <a:lnTo>
                    <a:pt x="73" y="208"/>
                  </a:lnTo>
                  <a:lnTo>
                    <a:pt x="73" y="215"/>
                  </a:lnTo>
                  <a:lnTo>
                    <a:pt x="73" y="218"/>
                  </a:lnTo>
                  <a:lnTo>
                    <a:pt x="80" y="232"/>
                  </a:lnTo>
                  <a:lnTo>
                    <a:pt x="80" y="255"/>
                  </a:lnTo>
                  <a:lnTo>
                    <a:pt x="88" y="268"/>
                  </a:lnTo>
                  <a:lnTo>
                    <a:pt x="86" y="287"/>
                  </a:lnTo>
                  <a:lnTo>
                    <a:pt x="84" y="291"/>
                  </a:lnTo>
                  <a:lnTo>
                    <a:pt x="81" y="298"/>
                  </a:lnTo>
                  <a:lnTo>
                    <a:pt x="80" y="302"/>
                  </a:lnTo>
                  <a:lnTo>
                    <a:pt x="80" y="307"/>
                  </a:lnTo>
                  <a:lnTo>
                    <a:pt x="84" y="309"/>
                  </a:lnTo>
                  <a:lnTo>
                    <a:pt x="87" y="309"/>
                  </a:lnTo>
                  <a:lnTo>
                    <a:pt x="93" y="308"/>
                  </a:lnTo>
                  <a:lnTo>
                    <a:pt x="96" y="307"/>
                  </a:lnTo>
                  <a:lnTo>
                    <a:pt x="103" y="308"/>
                  </a:lnTo>
                  <a:lnTo>
                    <a:pt x="104" y="314"/>
                  </a:lnTo>
                  <a:lnTo>
                    <a:pt x="103" y="321"/>
                  </a:lnTo>
                  <a:lnTo>
                    <a:pt x="104" y="324"/>
                  </a:lnTo>
                  <a:lnTo>
                    <a:pt x="109" y="325"/>
                  </a:lnTo>
                  <a:lnTo>
                    <a:pt x="116" y="325"/>
                  </a:lnTo>
                  <a:lnTo>
                    <a:pt x="121" y="325"/>
                  </a:lnTo>
                  <a:lnTo>
                    <a:pt x="126" y="322"/>
                  </a:lnTo>
                  <a:lnTo>
                    <a:pt x="127" y="321"/>
                  </a:lnTo>
                  <a:lnTo>
                    <a:pt x="130" y="317"/>
                  </a:lnTo>
                  <a:lnTo>
                    <a:pt x="133" y="309"/>
                  </a:lnTo>
                  <a:lnTo>
                    <a:pt x="134" y="307"/>
                  </a:lnTo>
                  <a:lnTo>
                    <a:pt x="141" y="312"/>
                  </a:lnTo>
                  <a:lnTo>
                    <a:pt x="144" y="315"/>
                  </a:lnTo>
                  <a:lnTo>
                    <a:pt x="149" y="315"/>
                  </a:lnTo>
                  <a:lnTo>
                    <a:pt x="152" y="317"/>
                  </a:lnTo>
                  <a:lnTo>
                    <a:pt x="154" y="317"/>
                  </a:lnTo>
                  <a:lnTo>
                    <a:pt x="160" y="321"/>
                  </a:lnTo>
                  <a:lnTo>
                    <a:pt x="159" y="324"/>
                  </a:lnTo>
                  <a:lnTo>
                    <a:pt x="160" y="325"/>
                  </a:lnTo>
                  <a:lnTo>
                    <a:pt x="166" y="329"/>
                  </a:lnTo>
                  <a:lnTo>
                    <a:pt x="179" y="317"/>
                  </a:lnTo>
                  <a:lnTo>
                    <a:pt x="177" y="309"/>
                  </a:lnTo>
                  <a:lnTo>
                    <a:pt x="179" y="305"/>
                  </a:lnTo>
                  <a:lnTo>
                    <a:pt x="180" y="302"/>
                  </a:lnTo>
                  <a:lnTo>
                    <a:pt x="184" y="299"/>
                  </a:lnTo>
                  <a:lnTo>
                    <a:pt x="189" y="294"/>
                  </a:lnTo>
                  <a:lnTo>
                    <a:pt x="189" y="291"/>
                  </a:lnTo>
                  <a:lnTo>
                    <a:pt x="186" y="285"/>
                  </a:lnTo>
                  <a:lnTo>
                    <a:pt x="189" y="284"/>
                  </a:lnTo>
                  <a:lnTo>
                    <a:pt x="193" y="282"/>
                  </a:lnTo>
                  <a:lnTo>
                    <a:pt x="193" y="276"/>
                  </a:lnTo>
                  <a:lnTo>
                    <a:pt x="194" y="272"/>
                  </a:lnTo>
                  <a:lnTo>
                    <a:pt x="192" y="265"/>
                  </a:lnTo>
                  <a:lnTo>
                    <a:pt x="193" y="264"/>
                  </a:lnTo>
                  <a:lnTo>
                    <a:pt x="227" y="266"/>
                  </a:lnTo>
                  <a:lnTo>
                    <a:pt x="227" y="261"/>
                  </a:lnTo>
                  <a:lnTo>
                    <a:pt x="226" y="252"/>
                  </a:lnTo>
                  <a:lnTo>
                    <a:pt x="230" y="252"/>
                  </a:lnTo>
                  <a:lnTo>
                    <a:pt x="237" y="251"/>
                  </a:lnTo>
                  <a:lnTo>
                    <a:pt x="239" y="246"/>
                  </a:lnTo>
                  <a:lnTo>
                    <a:pt x="239" y="241"/>
                  </a:lnTo>
                  <a:lnTo>
                    <a:pt x="242" y="239"/>
                  </a:lnTo>
                  <a:lnTo>
                    <a:pt x="247" y="239"/>
                  </a:lnTo>
                  <a:lnTo>
                    <a:pt x="252" y="23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00" name="Freeform 48"/>
            <p:cNvSpPr>
              <a:spLocks/>
            </p:cNvSpPr>
            <p:nvPr/>
          </p:nvSpPr>
          <p:spPr bwMode="auto">
            <a:xfrm>
              <a:off x="2318984" y="3264406"/>
              <a:ext cx="224690" cy="182561"/>
            </a:xfrm>
            <a:custGeom>
              <a:avLst/>
              <a:gdLst>
                <a:gd name="T0" fmla="*/ 305 w 368"/>
                <a:gd name="T1" fmla="*/ 86 h 276"/>
                <a:gd name="T2" fmla="*/ 321 w 368"/>
                <a:gd name="T3" fmla="*/ 117 h 276"/>
                <a:gd name="T4" fmla="*/ 337 w 368"/>
                <a:gd name="T5" fmla="*/ 144 h 276"/>
                <a:gd name="T6" fmla="*/ 357 w 368"/>
                <a:gd name="T7" fmla="*/ 153 h 276"/>
                <a:gd name="T8" fmla="*/ 361 w 368"/>
                <a:gd name="T9" fmla="*/ 177 h 276"/>
                <a:gd name="T10" fmla="*/ 368 w 368"/>
                <a:gd name="T11" fmla="*/ 193 h 276"/>
                <a:gd name="T12" fmla="*/ 353 w 368"/>
                <a:gd name="T13" fmla="*/ 223 h 276"/>
                <a:gd name="T14" fmla="*/ 338 w 368"/>
                <a:gd name="T15" fmla="*/ 253 h 276"/>
                <a:gd name="T16" fmla="*/ 280 w 368"/>
                <a:gd name="T17" fmla="*/ 253 h 276"/>
                <a:gd name="T18" fmla="*/ 257 w 368"/>
                <a:gd name="T19" fmla="*/ 273 h 276"/>
                <a:gd name="T20" fmla="*/ 237 w 368"/>
                <a:gd name="T21" fmla="*/ 270 h 276"/>
                <a:gd name="T22" fmla="*/ 222 w 368"/>
                <a:gd name="T23" fmla="*/ 253 h 276"/>
                <a:gd name="T24" fmla="*/ 202 w 368"/>
                <a:gd name="T25" fmla="*/ 240 h 276"/>
                <a:gd name="T26" fmla="*/ 185 w 368"/>
                <a:gd name="T27" fmla="*/ 230 h 276"/>
                <a:gd name="T28" fmla="*/ 176 w 368"/>
                <a:gd name="T29" fmla="*/ 217 h 276"/>
                <a:gd name="T30" fmla="*/ 172 w 368"/>
                <a:gd name="T31" fmla="*/ 230 h 276"/>
                <a:gd name="T32" fmla="*/ 178 w 368"/>
                <a:gd name="T33" fmla="*/ 245 h 276"/>
                <a:gd name="T34" fmla="*/ 161 w 368"/>
                <a:gd name="T35" fmla="*/ 240 h 276"/>
                <a:gd name="T36" fmla="*/ 155 w 368"/>
                <a:gd name="T37" fmla="*/ 249 h 276"/>
                <a:gd name="T38" fmla="*/ 138 w 368"/>
                <a:gd name="T39" fmla="*/ 242 h 276"/>
                <a:gd name="T40" fmla="*/ 132 w 368"/>
                <a:gd name="T41" fmla="*/ 240 h 276"/>
                <a:gd name="T42" fmla="*/ 135 w 368"/>
                <a:gd name="T43" fmla="*/ 248 h 276"/>
                <a:gd name="T44" fmla="*/ 126 w 368"/>
                <a:gd name="T45" fmla="*/ 249 h 276"/>
                <a:gd name="T46" fmla="*/ 115 w 368"/>
                <a:gd name="T47" fmla="*/ 258 h 276"/>
                <a:gd name="T48" fmla="*/ 121 w 368"/>
                <a:gd name="T49" fmla="*/ 265 h 276"/>
                <a:gd name="T50" fmla="*/ 113 w 368"/>
                <a:gd name="T51" fmla="*/ 265 h 276"/>
                <a:gd name="T52" fmla="*/ 109 w 368"/>
                <a:gd name="T53" fmla="*/ 268 h 276"/>
                <a:gd name="T54" fmla="*/ 91 w 368"/>
                <a:gd name="T55" fmla="*/ 265 h 276"/>
                <a:gd name="T56" fmla="*/ 75 w 368"/>
                <a:gd name="T57" fmla="*/ 249 h 276"/>
                <a:gd name="T58" fmla="*/ 55 w 368"/>
                <a:gd name="T59" fmla="*/ 250 h 276"/>
                <a:gd name="T60" fmla="*/ 50 w 368"/>
                <a:gd name="T61" fmla="*/ 245 h 276"/>
                <a:gd name="T62" fmla="*/ 36 w 368"/>
                <a:gd name="T63" fmla="*/ 246 h 276"/>
                <a:gd name="T64" fmla="*/ 22 w 368"/>
                <a:gd name="T65" fmla="*/ 245 h 276"/>
                <a:gd name="T66" fmla="*/ 9 w 368"/>
                <a:gd name="T67" fmla="*/ 233 h 276"/>
                <a:gd name="T68" fmla="*/ 16 w 368"/>
                <a:gd name="T69" fmla="*/ 217 h 276"/>
                <a:gd name="T70" fmla="*/ 10 w 368"/>
                <a:gd name="T71" fmla="*/ 197 h 276"/>
                <a:gd name="T72" fmla="*/ 0 w 368"/>
                <a:gd name="T73" fmla="*/ 174 h 276"/>
                <a:gd name="T74" fmla="*/ 10 w 368"/>
                <a:gd name="T75" fmla="*/ 159 h 276"/>
                <a:gd name="T76" fmla="*/ 35 w 368"/>
                <a:gd name="T77" fmla="*/ 127 h 276"/>
                <a:gd name="T78" fmla="*/ 36 w 368"/>
                <a:gd name="T79" fmla="*/ 97 h 276"/>
                <a:gd name="T80" fmla="*/ 26 w 368"/>
                <a:gd name="T81" fmla="*/ 80 h 276"/>
                <a:gd name="T82" fmla="*/ 30 w 368"/>
                <a:gd name="T83" fmla="*/ 64 h 276"/>
                <a:gd name="T84" fmla="*/ 38 w 368"/>
                <a:gd name="T85" fmla="*/ 47 h 276"/>
                <a:gd name="T86" fmla="*/ 23 w 368"/>
                <a:gd name="T87" fmla="*/ 31 h 276"/>
                <a:gd name="T88" fmla="*/ 36 w 368"/>
                <a:gd name="T89" fmla="*/ 24 h 276"/>
                <a:gd name="T90" fmla="*/ 53 w 368"/>
                <a:gd name="T91" fmla="*/ 23 h 276"/>
                <a:gd name="T92" fmla="*/ 68 w 368"/>
                <a:gd name="T93" fmla="*/ 21 h 276"/>
                <a:gd name="T94" fmla="*/ 80 w 368"/>
                <a:gd name="T95" fmla="*/ 14 h 276"/>
                <a:gd name="T96" fmla="*/ 102 w 368"/>
                <a:gd name="T97" fmla="*/ 0 h 276"/>
                <a:gd name="T98" fmla="*/ 125 w 368"/>
                <a:gd name="T99" fmla="*/ 13 h 276"/>
                <a:gd name="T100" fmla="*/ 132 w 368"/>
                <a:gd name="T101" fmla="*/ 43 h 276"/>
                <a:gd name="T102" fmla="*/ 141 w 368"/>
                <a:gd name="T103" fmla="*/ 61 h 276"/>
                <a:gd name="T104" fmla="*/ 156 w 368"/>
                <a:gd name="T105" fmla="*/ 63 h 276"/>
                <a:gd name="T106" fmla="*/ 166 w 368"/>
                <a:gd name="T107" fmla="*/ 50 h 276"/>
                <a:gd name="T108" fmla="*/ 179 w 368"/>
                <a:gd name="T109" fmla="*/ 64 h 276"/>
                <a:gd name="T110" fmla="*/ 194 w 368"/>
                <a:gd name="T111" fmla="*/ 74 h 276"/>
                <a:gd name="T112" fmla="*/ 208 w 368"/>
                <a:gd name="T113" fmla="*/ 77 h 276"/>
                <a:gd name="T114" fmla="*/ 218 w 368"/>
                <a:gd name="T115" fmla="*/ 67 h 276"/>
                <a:gd name="T116" fmla="*/ 231 w 368"/>
                <a:gd name="T117" fmla="*/ 70 h 276"/>
                <a:gd name="T118" fmla="*/ 252 w 368"/>
                <a:gd name="T119" fmla="*/ 79 h 276"/>
                <a:gd name="T120" fmla="*/ 268 w 368"/>
                <a:gd name="T121" fmla="*/ 73 h 276"/>
                <a:gd name="T122" fmla="*/ 284 w 368"/>
                <a:gd name="T123" fmla="*/ 69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8" h="276">
                  <a:moveTo>
                    <a:pt x="290" y="64"/>
                  </a:moveTo>
                  <a:lnTo>
                    <a:pt x="290" y="64"/>
                  </a:lnTo>
                  <a:lnTo>
                    <a:pt x="292" y="70"/>
                  </a:lnTo>
                  <a:lnTo>
                    <a:pt x="292" y="73"/>
                  </a:lnTo>
                  <a:lnTo>
                    <a:pt x="305" y="86"/>
                  </a:lnTo>
                  <a:lnTo>
                    <a:pt x="314" y="86"/>
                  </a:lnTo>
                  <a:lnTo>
                    <a:pt x="317" y="90"/>
                  </a:lnTo>
                  <a:lnTo>
                    <a:pt x="317" y="100"/>
                  </a:lnTo>
                  <a:lnTo>
                    <a:pt x="318" y="109"/>
                  </a:lnTo>
                  <a:lnTo>
                    <a:pt x="321" y="117"/>
                  </a:lnTo>
                  <a:lnTo>
                    <a:pt x="321" y="124"/>
                  </a:lnTo>
                  <a:lnTo>
                    <a:pt x="323" y="127"/>
                  </a:lnTo>
                  <a:lnTo>
                    <a:pt x="325" y="136"/>
                  </a:lnTo>
                  <a:lnTo>
                    <a:pt x="328" y="142"/>
                  </a:lnTo>
                  <a:lnTo>
                    <a:pt x="337" y="144"/>
                  </a:lnTo>
                  <a:lnTo>
                    <a:pt x="343" y="143"/>
                  </a:lnTo>
                  <a:lnTo>
                    <a:pt x="345" y="143"/>
                  </a:lnTo>
                  <a:lnTo>
                    <a:pt x="350" y="149"/>
                  </a:lnTo>
                  <a:lnTo>
                    <a:pt x="354" y="152"/>
                  </a:lnTo>
                  <a:lnTo>
                    <a:pt x="357" y="153"/>
                  </a:lnTo>
                  <a:lnTo>
                    <a:pt x="360" y="154"/>
                  </a:lnTo>
                  <a:lnTo>
                    <a:pt x="367" y="154"/>
                  </a:lnTo>
                  <a:lnTo>
                    <a:pt x="367" y="162"/>
                  </a:lnTo>
                  <a:lnTo>
                    <a:pt x="361" y="166"/>
                  </a:lnTo>
                  <a:lnTo>
                    <a:pt x="361" y="177"/>
                  </a:lnTo>
                  <a:lnTo>
                    <a:pt x="363" y="180"/>
                  </a:lnTo>
                  <a:lnTo>
                    <a:pt x="363" y="185"/>
                  </a:lnTo>
                  <a:lnTo>
                    <a:pt x="364" y="186"/>
                  </a:lnTo>
                  <a:lnTo>
                    <a:pt x="367" y="187"/>
                  </a:lnTo>
                  <a:lnTo>
                    <a:pt x="368" y="193"/>
                  </a:lnTo>
                  <a:lnTo>
                    <a:pt x="368" y="199"/>
                  </a:lnTo>
                  <a:lnTo>
                    <a:pt x="367" y="203"/>
                  </a:lnTo>
                  <a:lnTo>
                    <a:pt x="363" y="209"/>
                  </a:lnTo>
                  <a:lnTo>
                    <a:pt x="357" y="219"/>
                  </a:lnTo>
                  <a:lnTo>
                    <a:pt x="353" y="223"/>
                  </a:lnTo>
                  <a:lnTo>
                    <a:pt x="344" y="229"/>
                  </a:lnTo>
                  <a:lnTo>
                    <a:pt x="337" y="235"/>
                  </a:lnTo>
                  <a:lnTo>
                    <a:pt x="334" y="242"/>
                  </a:lnTo>
                  <a:lnTo>
                    <a:pt x="335" y="245"/>
                  </a:lnTo>
                  <a:lnTo>
                    <a:pt x="338" y="253"/>
                  </a:lnTo>
                  <a:lnTo>
                    <a:pt x="292" y="270"/>
                  </a:lnTo>
                  <a:lnTo>
                    <a:pt x="288" y="266"/>
                  </a:lnTo>
                  <a:lnTo>
                    <a:pt x="288" y="255"/>
                  </a:lnTo>
                  <a:lnTo>
                    <a:pt x="284" y="250"/>
                  </a:lnTo>
                  <a:lnTo>
                    <a:pt x="280" y="253"/>
                  </a:lnTo>
                  <a:lnTo>
                    <a:pt x="270" y="260"/>
                  </a:lnTo>
                  <a:lnTo>
                    <a:pt x="264" y="268"/>
                  </a:lnTo>
                  <a:lnTo>
                    <a:pt x="260" y="272"/>
                  </a:lnTo>
                  <a:lnTo>
                    <a:pt x="258" y="273"/>
                  </a:lnTo>
                  <a:lnTo>
                    <a:pt x="257" y="273"/>
                  </a:lnTo>
                  <a:lnTo>
                    <a:pt x="252" y="276"/>
                  </a:lnTo>
                  <a:lnTo>
                    <a:pt x="248" y="275"/>
                  </a:lnTo>
                  <a:lnTo>
                    <a:pt x="245" y="275"/>
                  </a:lnTo>
                  <a:lnTo>
                    <a:pt x="242" y="273"/>
                  </a:lnTo>
                  <a:lnTo>
                    <a:pt x="237" y="270"/>
                  </a:lnTo>
                  <a:lnTo>
                    <a:pt x="234" y="268"/>
                  </a:lnTo>
                  <a:lnTo>
                    <a:pt x="232" y="262"/>
                  </a:lnTo>
                  <a:lnTo>
                    <a:pt x="231" y="259"/>
                  </a:lnTo>
                  <a:lnTo>
                    <a:pt x="227" y="256"/>
                  </a:lnTo>
                  <a:lnTo>
                    <a:pt x="222" y="253"/>
                  </a:lnTo>
                  <a:lnTo>
                    <a:pt x="221" y="250"/>
                  </a:lnTo>
                  <a:lnTo>
                    <a:pt x="215" y="248"/>
                  </a:lnTo>
                  <a:lnTo>
                    <a:pt x="209" y="245"/>
                  </a:lnTo>
                  <a:lnTo>
                    <a:pt x="204" y="242"/>
                  </a:lnTo>
                  <a:lnTo>
                    <a:pt x="202" y="240"/>
                  </a:lnTo>
                  <a:lnTo>
                    <a:pt x="197" y="240"/>
                  </a:lnTo>
                  <a:lnTo>
                    <a:pt x="191" y="239"/>
                  </a:lnTo>
                  <a:lnTo>
                    <a:pt x="188" y="238"/>
                  </a:lnTo>
                  <a:lnTo>
                    <a:pt x="186" y="235"/>
                  </a:lnTo>
                  <a:lnTo>
                    <a:pt x="185" y="230"/>
                  </a:lnTo>
                  <a:lnTo>
                    <a:pt x="182" y="226"/>
                  </a:lnTo>
                  <a:lnTo>
                    <a:pt x="181" y="222"/>
                  </a:lnTo>
                  <a:lnTo>
                    <a:pt x="179" y="219"/>
                  </a:lnTo>
                  <a:lnTo>
                    <a:pt x="178" y="216"/>
                  </a:lnTo>
                  <a:lnTo>
                    <a:pt x="176" y="217"/>
                  </a:lnTo>
                  <a:lnTo>
                    <a:pt x="175" y="222"/>
                  </a:lnTo>
                  <a:lnTo>
                    <a:pt x="176" y="227"/>
                  </a:lnTo>
                  <a:lnTo>
                    <a:pt x="176" y="230"/>
                  </a:lnTo>
                  <a:lnTo>
                    <a:pt x="176" y="233"/>
                  </a:lnTo>
                  <a:lnTo>
                    <a:pt x="172" y="230"/>
                  </a:lnTo>
                  <a:lnTo>
                    <a:pt x="169" y="227"/>
                  </a:lnTo>
                  <a:lnTo>
                    <a:pt x="168" y="232"/>
                  </a:lnTo>
                  <a:lnTo>
                    <a:pt x="172" y="235"/>
                  </a:lnTo>
                  <a:lnTo>
                    <a:pt x="176" y="239"/>
                  </a:lnTo>
                  <a:lnTo>
                    <a:pt x="178" y="245"/>
                  </a:lnTo>
                  <a:lnTo>
                    <a:pt x="176" y="248"/>
                  </a:lnTo>
                  <a:lnTo>
                    <a:pt x="171" y="248"/>
                  </a:lnTo>
                  <a:lnTo>
                    <a:pt x="166" y="245"/>
                  </a:lnTo>
                  <a:lnTo>
                    <a:pt x="164" y="242"/>
                  </a:lnTo>
                  <a:lnTo>
                    <a:pt x="161" y="240"/>
                  </a:lnTo>
                  <a:lnTo>
                    <a:pt x="159" y="243"/>
                  </a:lnTo>
                  <a:lnTo>
                    <a:pt x="159" y="248"/>
                  </a:lnTo>
                  <a:lnTo>
                    <a:pt x="159" y="253"/>
                  </a:lnTo>
                  <a:lnTo>
                    <a:pt x="158" y="253"/>
                  </a:lnTo>
                  <a:lnTo>
                    <a:pt x="155" y="249"/>
                  </a:lnTo>
                  <a:lnTo>
                    <a:pt x="154" y="245"/>
                  </a:lnTo>
                  <a:lnTo>
                    <a:pt x="149" y="243"/>
                  </a:lnTo>
                  <a:lnTo>
                    <a:pt x="144" y="242"/>
                  </a:lnTo>
                  <a:lnTo>
                    <a:pt x="141" y="243"/>
                  </a:lnTo>
                  <a:lnTo>
                    <a:pt x="138" y="242"/>
                  </a:lnTo>
                  <a:lnTo>
                    <a:pt x="136" y="240"/>
                  </a:lnTo>
                  <a:lnTo>
                    <a:pt x="136" y="240"/>
                  </a:lnTo>
                  <a:lnTo>
                    <a:pt x="135" y="239"/>
                  </a:lnTo>
                  <a:lnTo>
                    <a:pt x="133" y="239"/>
                  </a:lnTo>
                  <a:lnTo>
                    <a:pt x="132" y="240"/>
                  </a:lnTo>
                  <a:lnTo>
                    <a:pt x="131" y="240"/>
                  </a:lnTo>
                  <a:lnTo>
                    <a:pt x="131" y="242"/>
                  </a:lnTo>
                  <a:lnTo>
                    <a:pt x="132" y="245"/>
                  </a:lnTo>
                  <a:lnTo>
                    <a:pt x="135" y="246"/>
                  </a:lnTo>
                  <a:lnTo>
                    <a:pt x="135" y="248"/>
                  </a:lnTo>
                  <a:lnTo>
                    <a:pt x="133" y="248"/>
                  </a:lnTo>
                  <a:lnTo>
                    <a:pt x="132" y="249"/>
                  </a:lnTo>
                  <a:lnTo>
                    <a:pt x="131" y="249"/>
                  </a:lnTo>
                  <a:lnTo>
                    <a:pt x="128" y="249"/>
                  </a:lnTo>
                  <a:lnTo>
                    <a:pt x="126" y="249"/>
                  </a:lnTo>
                  <a:lnTo>
                    <a:pt x="123" y="249"/>
                  </a:lnTo>
                  <a:lnTo>
                    <a:pt x="123" y="250"/>
                  </a:lnTo>
                  <a:lnTo>
                    <a:pt x="118" y="255"/>
                  </a:lnTo>
                  <a:lnTo>
                    <a:pt x="115" y="258"/>
                  </a:lnTo>
                  <a:lnTo>
                    <a:pt x="115" y="258"/>
                  </a:lnTo>
                  <a:lnTo>
                    <a:pt x="116" y="259"/>
                  </a:lnTo>
                  <a:lnTo>
                    <a:pt x="119" y="262"/>
                  </a:lnTo>
                  <a:lnTo>
                    <a:pt x="119" y="262"/>
                  </a:lnTo>
                  <a:lnTo>
                    <a:pt x="121" y="263"/>
                  </a:lnTo>
                  <a:lnTo>
                    <a:pt x="121" y="265"/>
                  </a:lnTo>
                  <a:lnTo>
                    <a:pt x="119" y="266"/>
                  </a:lnTo>
                  <a:lnTo>
                    <a:pt x="118" y="266"/>
                  </a:lnTo>
                  <a:lnTo>
                    <a:pt x="118" y="266"/>
                  </a:lnTo>
                  <a:lnTo>
                    <a:pt x="115" y="265"/>
                  </a:lnTo>
                  <a:lnTo>
                    <a:pt x="113" y="265"/>
                  </a:lnTo>
                  <a:lnTo>
                    <a:pt x="113" y="266"/>
                  </a:lnTo>
                  <a:lnTo>
                    <a:pt x="113" y="266"/>
                  </a:lnTo>
                  <a:lnTo>
                    <a:pt x="112" y="268"/>
                  </a:lnTo>
                  <a:lnTo>
                    <a:pt x="109" y="268"/>
                  </a:lnTo>
                  <a:lnTo>
                    <a:pt x="109" y="268"/>
                  </a:lnTo>
                  <a:lnTo>
                    <a:pt x="108" y="268"/>
                  </a:lnTo>
                  <a:lnTo>
                    <a:pt x="105" y="268"/>
                  </a:lnTo>
                  <a:lnTo>
                    <a:pt x="101" y="266"/>
                  </a:lnTo>
                  <a:lnTo>
                    <a:pt x="96" y="266"/>
                  </a:lnTo>
                  <a:lnTo>
                    <a:pt x="91" y="265"/>
                  </a:lnTo>
                  <a:lnTo>
                    <a:pt x="82" y="266"/>
                  </a:lnTo>
                  <a:lnTo>
                    <a:pt x="79" y="262"/>
                  </a:lnTo>
                  <a:lnTo>
                    <a:pt x="76" y="258"/>
                  </a:lnTo>
                  <a:lnTo>
                    <a:pt x="75" y="255"/>
                  </a:lnTo>
                  <a:lnTo>
                    <a:pt x="75" y="249"/>
                  </a:lnTo>
                  <a:lnTo>
                    <a:pt x="59" y="253"/>
                  </a:lnTo>
                  <a:lnTo>
                    <a:pt x="59" y="253"/>
                  </a:lnTo>
                  <a:lnTo>
                    <a:pt x="56" y="253"/>
                  </a:lnTo>
                  <a:lnTo>
                    <a:pt x="56" y="253"/>
                  </a:lnTo>
                  <a:lnTo>
                    <a:pt x="55" y="250"/>
                  </a:lnTo>
                  <a:lnTo>
                    <a:pt x="55" y="249"/>
                  </a:lnTo>
                  <a:lnTo>
                    <a:pt x="55" y="246"/>
                  </a:lnTo>
                  <a:lnTo>
                    <a:pt x="52" y="245"/>
                  </a:lnTo>
                  <a:lnTo>
                    <a:pt x="52" y="245"/>
                  </a:lnTo>
                  <a:lnTo>
                    <a:pt x="50" y="245"/>
                  </a:lnTo>
                  <a:lnTo>
                    <a:pt x="48" y="246"/>
                  </a:lnTo>
                  <a:lnTo>
                    <a:pt x="42" y="248"/>
                  </a:lnTo>
                  <a:lnTo>
                    <a:pt x="42" y="248"/>
                  </a:lnTo>
                  <a:lnTo>
                    <a:pt x="36" y="246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25" y="246"/>
                  </a:lnTo>
                  <a:lnTo>
                    <a:pt x="25" y="246"/>
                  </a:lnTo>
                  <a:lnTo>
                    <a:pt x="23" y="246"/>
                  </a:lnTo>
                  <a:lnTo>
                    <a:pt x="22" y="245"/>
                  </a:lnTo>
                  <a:lnTo>
                    <a:pt x="19" y="242"/>
                  </a:lnTo>
                  <a:lnTo>
                    <a:pt x="15" y="240"/>
                  </a:lnTo>
                  <a:lnTo>
                    <a:pt x="12" y="239"/>
                  </a:lnTo>
                  <a:lnTo>
                    <a:pt x="10" y="236"/>
                  </a:lnTo>
                  <a:lnTo>
                    <a:pt x="9" y="233"/>
                  </a:lnTo>
                  <a:lnTo>
                    <a:pt x="9" y="229"/>
                  </a:lnTo>
                  <a:lnTo>
                    <a:pt x="9" y="226"/>
                  </a:lnTo>
                  <a:lnTo>
                    <a:pt x="12" y="222"/>
                  </a:lnTo>
                  <a:lnTo>
                    <a:pt x="13" y="220"/>
                  </a:lnTo>
                  <a:lnTo>
                    <a:pt x="16" y="217"/>
                  </a:lnTo>
                  <a:lnTo>
                    <a:pt x="16" y="212"/>
                  </a:lnTo>
                  <a:lnTo>
                    <a:pt x="16" y="209"/>
                  </a:lnTo>
                  <a:lnTo>
                    <a:pt x="15" y="205"/>
                  </a:lnTo>
                  <a:lnTo>
                    <a:pt x="13" y="202"/>
                  </a:lnTo>
                  <a:lnTo>
                    <a:pt x="10" y="197"/>
                  </a:lnTo>
                  <a:lnTo>
                    <a:pt x="9" y="196"/>
                  </a:lnTo>
                  <a:lnTo>
                    <a:pt x="3" y="187"/>
                  </a:lnTo>
                  <a:lnTo>
                    <a:pt x="2" y="185"/>
                  </a:lnTo>
                  <a:lnTo>
                    <a:pt x="0" y="179"/>
                  </a:lnTo>
                  <a:lnTo>
                    <a:pt x="0" y="174"/>
                  </a:lnTo>
                  <a:lnTo>
                    <a:pt x="0" y="169"/>
                  </a:lnTo>
                  <a:lnTo>
                    <a:pt x="2" y="164"/>
                  </a:lnTo>
                  <a:lnTo>
                    <a:pt x="6" y="163"/>
                  </a:lnTo>
                  <a:lnTo>
                    <a:pt x="7" y="160"/>
                  </a:lnTo>
                  <a:lnTo>
                    <a:pt x="10" y="159"/>
                  </a:lnTo>
                  <a:lnTo>
                    <a:pt x="15" y="154"/>
                  </a:lnTo>
                  <a:lnTo>
                    <a:pt x="16" y="152"/>
                  </a:lnTo>
                  <a:lnTo>
                    <a:pt x="33" y="136"/>
                  </a:lnTo>
                  <a:lnTo>
                    <a:pt x="35" y="130"/>
                  </a:lnTo>
                  <a:lnTo>
                    <a:pt x="35" y="127"/>
                  </a:lnTo>
                  <a:lnTo>
                    <a:pt x="35" y="124"/>
                  </a:lnTo>
                  <a:lnTo>
                    <a:pt x="36" y="116"/>
                  </a:lnTo>
                  <a:lnTo>
                    <a:pt x="38" y="109"/>
                  </a:lnTo>
                  <a:lnTo>
                    <a:pt x="39" y="101"/>
                  </a:lnTo>
                  <a:lnTo>
                    <a:pt x="36" y="97"/>
                  </a:lnTo>
                  <a:lnTo>
                    <a:pt x="35" y="94"/>
                  </a:lnTo>
                  <a:lnTo>
                    <a:pt x="32" y="91"/>
                  </a:lnTo>
                  <a:lnTo>
                    <a:pt x="28" y="87"/>
                  </a:lnTo>
                  <a:lnTo>
                    <a:pt x="28" y="84"/>
                  </a:lnTo>
                  <a:lnTo>
                    <a:pt x="26" y="80"/>
                  </a:lnTo>
                  <a:lnTo>
                    <a:pt x="26" y="74"/>
                  </a:lnTo>
                  <a:lnTo>
                    <a:pt x="26" y="70"/>
                  </a:lnTo>
                  <a:lnTo>
                    <a:pt x="28" y="66"/>
                  </a:lnTo>
                  <a:lnTo>
                    <a:pt x="29" y="64"/>
                  </a:lnTo>
                  <a:lnTo>
                    <a:pt x="30" y="64"/>
                  </a:lnTo>
                  <a:lnTo>
                    <a:pt x="33" y="63"/>
                  </a:lnTo>
                  <a:lnTo>
                    <a:pt x="36" y="61"/>
                  </a:lnTo>
                  <a:lnTo>
                    <a:pt x="38" y="57"/>
                  </a:lnTo>
                  <a:lnTo>
                    <a:pt x="39" y="51"/>
                  </a:lnTo>
                  <a:lnTo>
                    <a:pt x="38" y="47"/>
                  </a:lnTo>
                  <a:lnTo>
                    <a:pt x="33" y="43"/>
                  </a:lnTo>
                  <a:lnTo>
                    <a:pt x="29" y="40"/>
                  </a:lnTo>
                  <a:lnTo>
                    <a:pt x="26" y="37"/>
                  </a:lnTo>
                  <a:lnTo>
                    <a:pt x="25" y="31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27"/>
                  </a:lnTo>
                  <a:lnTo>
                    <a:pt x="29" y="26"/>
                  </a:lnTo>
                  <a:lnTo>
                    <a:pt x="30" y="26"/>
                  </a:lnTo>
                  <a:lnTo>
                    <a:pt x="36" y="24"/>
                  </a:lnTo>
                  <a:lnTo>
                    <a:pt x="38" y="27"/>
                  </a:lnTo>
                  <a:lnTo>
                    <a:pt x="42" y="27"/>
                  </a:lnTo>
                  <a:lnTo>
                    <a:pt x="45" y="27"/>
                  </a:lnTo>
                  <a:lnTo>
                    <a:pt x="49" y="26"/>
                  </a:lnTo>
                  <a:lnTo>
                    <a:pt x="53" y="23"/>
                  </a:lnTo>
                  <a:lnTo>
                    <a:pt x="58" y="24"/>
                  </a:lnTo>
                  <a:lnTo>
                    <a:pt x="60" y="27"/>
                  </a:lnTo>
                  <a:lnTo>
                    <a:pt x="63" y="26"/>
                  </a:lnTo>
                  <a:lnTo>
                    <a:pt x="63" y="20"/>
                  </a:lnTo>
                  <a:lnTo>
                    <a:pt x="68" y="21"/>
                  </a:lnTo>
                  <a:lnTo>
                    <a:pt x="70" y="23"/>
                  </a:lnTo>
                  <a:lnTo>
                    <a:pt x="73" y="24"/>
                  </a:lnTo>
                  <a:lnTo>
                    <a:pt x="76" y="23"/>
                  </a:lnTo>
                  <a:lnTo>
                    <a:pt x="79" y="23"/>
                  </a:lnTo>
                  <a:lnTo>
                    <a:pt x="80" y="14"/>
                  </a:lnTo>
                  <a:lnTo>
                    <a:pt x="82" y="11"/>
                  </a:lnTo>
                  <a:lnTo>
                    <a:pt x="85" y="5"/>
                  </a:lnTo>
                  <a:lnTo>
                    <a:pt x="89" y="5"/>
                  </a:lnTo>
                  <a:lnTo>
                    <a:pt x="95" y="7"/>
                  </a:lnTo>
                  <a:lnTo>
                    <a:pt x="102" y="0"/>
                  </a:lnTo>
                  <a:lnTo>
                    <a:pt x="103" y="0"/>
                  </a:lnTo>
                  <a:lnTo>
                    <a:pt x="111" y="0"/>
                  </a:lnTo>
                  <a:lnTo>
                    <a:pt x="116" y="5"/>
                  </a:lnTo>
                  <a:lnTo>
                    <a:pt x="119" y="10"/>
                  </a:lnTo>
                  <a:lnTo>
                    <a:pt x="125" y="13"/>
                  </a:lnTo>
                  <a:lnTo>
                    <a:pt x="129" y="17"/>
                  </a:lnTo>
                  <a:lnTo>
                    <a:pt x="131" y="21"/>
                  </a:lnTo>
                  <a:lnTo>
                    <a:pt x="131" y="30"/>
                  </a:lnTo>
                  <a:lnTo>
                    <a:pt x="131" y="37"/>
                  </a:lnTo>
                  <a:lnTo>
                    <a:pt x="132" y="43"/>
                  </a:lnTo>
                  <a:lnTo>
                    <a:pt x="133" y="48"/>
                  </a:lnTo>
                  <a:lnTo>
                    <a:pt x="135" y="53"/>
                  </a:lnTo>
                  <a:lnTo>
                    <a:pt x="138" y="53"/>
                  </a:lnTo>
                  <a:lnTo>
                    <a:pt x="139" y="60"/>
                  </a:lnTo>
                  <a:lnTo>
                    <a:pt x="141" y="61"/>
                  </a:lnTo>
                  <a:lnTo>
                    <a:pt x="146" y="63"/>
                  </a:lnTo>
                  <a:lnTo>
                    <a:pt x="149" y="63"/>
                  </a:lnTo>
                  <a:lnTo>
                    <a:pt x="151" y="61"/>
                  </a:lnTo>
                  <a:lnTo>
                    <a:pt x="154" y="63"/>
                  </a:lnTo>
                  <a:lnTo>
                    <a:pt x="156" y="63"/>
                  </a:lnTo>
                  <a:lnTo>
                    <a:pt x="158" y="60"/>
                  </a:lnTo>
                  <a:lnTo>
                    <a:pt x="162" y="60"/>
                  </a:lnTo>
                  <a:lnTo>
                    <a:pt x="165" y="57"/>
                  </a:lnTo>
                  <a:lnTo>
                    <a:pt x="166" y="56"/>
                  </a:lnTo>
                  <a:lnTo>
                    <a:pt x="166" y="50"/>
                  </a:lnTo>
                  <a:lnTo>
                    <a:pt x="168" y="47"/>
                  </a:lnTo>
                  <a:lnTo>
                    <a:pt x="174" y="48"/>
                  </a:lnTo>
                  <a:lnTo>
                    <a:pt x="175" y="50"/>
                  </a:lnTo>
                  <a:lnTo>
                    <a:pt x="175" y="58"/>
                  </a:lnTo>
                  <a:lnTo>
                    <a:pt x="179" y="64"/>
                  </a:lnTo>
                  <a:lnTo>
                    <a:pt x="184" y="66"/>
                  </a:lnTo>
                  <a:lnTo>
                    <a:pt x="189" y="67"/>
                  </a:lnTo>
                  <a:lnTo>
                    <a:pt x="191" y="70"/>
                  </a:lnTo>
                  <a:lnTo>
                    <a:pt x="192" y="71"/>
                  </a:lnTo>
                  <a:lnTo>
                    <a:pt x="194" y="74"/>
                  </a:lnTo>
                  <a:lnTo>
                    <a:pt x="195" y="77"/>
                  </a:lnTo>
                  <a:lnTo>
                    <a:pt x="197" y="77"/>
                  </a:lnTo>
                  <a:lnTo>
                    <a:pt x="202" y="79"/>
                  </a:lnTo>
                  <a:lnTo>
                    <a:pt x="205" y="79"/>
                  </a:lnTo>
                  <a:lnTo>
                    <a:pt x="208" y="77"/>
                  </a:lnTo>
                  <a:lnTo>
                    <a:pt x="208" y="77"/>
                  </a:lnTo>
                  <a:lnTo>
                    <a:pt x="211" y="76"/>
                  </a:lnTo>
                  <a:lnTo>
                    <a:pt x="212" y="71"/>
                  </a:lnTo>
                  <a:lnTo>
                    <a:pt x="214" y="70"/>
                  </a:lnTo>
                  <a:lnTo>
                    <a:pt x="218" y="67"/>
                  </a:lnTo>
                  <a:lnTo>
                    <a:pt x="221" y="64"/>
                  </a:lnTo>
                  <a:lnTo>
                    <a:pt x="222" y="58"/>
                  </a:lnTo>
                  <a:lnTo>
                    <a:pt x="228" y="60"/>
                  </a:lnTo>
                  <a:lnTo>
                    <a:pt x="229" y="64"/>
                  </a:lnTo>
                  <a:lnTo>
                    <a:pt x="231" y="70"/>
                  </a:lnTo>
                  <a:lnTo>
                    <a:pt x="235" y="71"/>
                  </a:lnTo>
                  <a:lnTo>
                    <a:pt x="239" y="71"/>
                  </a:lnTo>
                  <a:lnTo>
                    <a:pt x="242" y="76"/>
                  </a:lnTo>
                  <a:lnTo>
                    <a:pt x="248" y="76"/>
                  </a:lnTo>
                  <a:lnTo>
                    <a:pt x="252" y="79"/>
                  </a:lnTo>
                  <a:lnTo>
                    <a:pt x="254" y="80"/>
                  </a:lnTo>
                  <a:lnTo>
                    <a:pt x="258" y="80"/>
                  </a:lnTo>
                  <a:lnTo>
                    <a:pt x="261" y="77"/>
                  </a:lnTo>
                  <a:lnTo>
                    <a:pt x="264" y="74"/>
                  </a:lnTo>
                  <a:lnTo>
                    <a:pt x="268" y="73"/>
                  </a:lnTo>
                  <a:lnTo>
                    <a:pt x="272" y="70"/>
                  </a:lnTo>
                  <a:lnTo>
                    <a:pt x="274" y="70"/>
                  </a:lnTo>
                  <a:lnTo>
                    <a:pt x="277" y="70"/>
                  </a:lnTo>
                  <a:lnTo>
                    <a:pt x="281" y="70"/>
                  </a:lnTo>
                  <a:lnTo>
                    <a:pt x="284" y="69"/>
                  </a:lnTo>
                  <a:lnTo>
                    <a:pt x="290" y="6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01" name="Freeform 49"/>
            <p:cNvSpPr>
              <a:spLocks/>
            </p:cNvSpPr>
            <p:nvPr/>
          </p:nvSpPr>
          <p:spPr bwMode="auto">
            <a:xfrm>
              <a:off x="2260369" y="3055387"/>
              <a:ext cx="286968" cy="261935"/>
            </a:xfrm>
            <a:custGeom>
              <a:avLst/>
              <a:gdLst>
                <a:gd name="T0" fmla="*/ 8 w 470"/>
                <a:gd name="T1" fmla="*/ 316 h 395"/>
                <a:gd name="T2" fmla="*/ 20 w 470"/>
                <a:gd name="T3" fmla="*/ 293 h 395"/>
                <a:gd name="T4" fmla="*/ 26 w 470"/>
                <a:gd name="T5" fmla="*/ 272 h 395"/>
                <a:gd name="T6" fmla="*/ 30 w 470"/>
                <a:gd name="T7" fmla="*/ 223 h 395"/>
                <a:gd name="T8" fmla="*/ 47 w 470"/>
                <a:gd name="T9" fmla="*/ 194 h 395"/>
                <a:gd name="T10" fmla="*/ 43 w 470"/>
                <a:gd name="T11" fmla="*/ 157 h 395"/>
                <a:gd name="T12" fmla="*/ 69 w 470"/>
                <a:gd name="T13" fmla="*/ 130 h 395"/>
                <a:gd name="T14" fmla="*/ 89 w 470"/>
                <a:gd name="T15" fmla="*/ 106 h 395"/>
                <a:gd name="T16" fmla="*/ 113 w 470"/>
                <a:gd name="T17" fmla="*/ 53 h 395"/>
                <a:gd name="T18" fmla="*/ 147 w 470"/>
                <a:gd name="T19" fmla="*/ 54 h 395"/>
                <a:gd name="T20" fmla="*/ 174 w 470"/>
                <a:gd name="T21" fmla="*/ 21 h 395"/>
                <a:gd name="T22" fmla="*/ 205 w 470"/>
                <a:gd name="T23" fmla="*/ 11 h 395"/>
                <a:gd name="T24" fmla="*/ 225 w 470"/>
                <a:gd name="T25" fmla="*/ 0 h 395"/>
                <a:gd name="T26" fmla="*/ 250 w 470"/>
                <a:gd name="T27" fmla="*/ 1 h 395"/>
                <a:gd name="T28" fmla="*/ 263 w 470"/>
                <a:gd name="T29" fmla="*/ 35 h 395"/>
                <a:gd name="T30" fmla="*/ 272 w 470"/>
                <a:gd name="T31" fmla="*/ 64 h 395"/>
                <a:gd name="T32" fmla="*/ 288 w 470"/>
                <a:gd name="T33" fmla="*/ 86 h 395"/>
                <a:gd name="T34" fmla="*/ 288 w 470"/>
                <a:gd name="T35" fmla="*/ 94 h 395"/>
                <a:gd name="T36" fmla="*/ 308 w 470"/>
                <a:gd name="T37" fmla="*/ 110 h 395"/>
                <a:gd name="T38" fmla="*/ 308 w 470"/>
                <a:gd name="T39" fmla="*/ 129 h 395"/>
                <a:gd name="T40" fmla="*/ 302 w 470"/>
                <a:gd name="T41" fmla="*/ 137 h 395"/>
                <a:gd name="T42" fmla="*/ 322 w 470"/>
                <a:gd name="T43" fmla="*/ 157 h 395"/>
                <a:gd name="T44" fmla="*/ 345 w 470"/>
                <a:gd name="T45" fmla="*/ 182 h 395"/>
                <a:gd name="T46" fmla="*/ 369 w 470"/>
                <a:gd name="T47" fmla="*/ 193 h 395"/>
                <a:gd name="T48" fmla="*/ 392 w 470"/>
                <a:gd name="T49" fmla="*/ 193 h 395"/>
                <a:gd name="T50" fmla="*/ 404 w 470"/>
                <a:gd name="T51" fmla="*/ 206 h 395"/>
                <a:gd name="T52" fmla="*/ 424 w 470"/>
                <a:gd name="T53" fmla="*/ 202 h 395"/>
                <a:gd name="T54" fmla="*/ 437 w 470"/>
                <a:gd name="T55" fmla="*/ 237 h 395"/>
                <a:gd name="T56" fmla="*/ 462 w 470"/>
                <a:gd name="T57" fmla="*/ 289 h 395"/>
                <a:gd name="T58" fmla="*/ 465 w 470"/>
                <a:gd name="T59" fmla="*/ 318 h 395"/>
                <a:gd name="T60" fmla="*/ 458 w 470"/>
                <a:gd name="T61" fmla="*/ 333 h 395"/>
                <a:gd name="T62" fmla="*/ 442 w 470"/>
                <a:gd name="T63" fmla="*/ 339 h 395"/>
                <a:gd name="T64" fmla="*/ 425 w 470"/>
                <a:gd name="T65" fmla="*/ 353 h 395"/>
                <a:gd name="T66" fmla="*/ 404 w 470"/>
                <a:gd name="T67" fmla="*/ 363 h 395"/>
                <a:gd name="T68" fmla="*/ 385 w 470"/>
                <a:gd name="T69" fmla="*/ 373 h 395"/>
                <a:gd name="T70" fmla="*/ 371 w 470"/>
                <a:gd name="T71" fmla="*/ 385 h 395"/>
                <a:gd name="T72" fmla="*/ 355 w 470"/>
                <a:gd name="T73" fmla="*/ 392 h 395"/>
                <a:gd name="T74" fmla="*/ 336 w 470"/>
                <a:gd name="T75" fmla="*/ 391 h 395"/>
                <a:gd name="T76" fmla="*/ 322 w 470"/>
                <a:gd name="T77" fmla="*/ 375 h 395"/>
                <a:gd name="T78" fmla="*/ 306 w 470"/>
                <a:gd name="T79" fmla="*/ 386 h 395"/>
                <a:gd name="T80" fmla="*/ 296 w 470"/>
                <a:gd name="T81" fmla="*/ 394 h 395"/>
                <a:gd name="T82" fmla="*/ 285 w 470"/>
                <a:gd name="T83" fmla="*/ 385 h 395"/>
                <a:gd name="T84" fmla="*/ 269 w 470"/>
                <a:gd name="T85" fmla="*/ 365 h 395"/>
                <a:gd name="T86" fmla="*/ 259 w 470"/>
                <a:gd name="T87" fmla="*/ 372 h 395"/>
                <a:gd name="T88" fmla="*/ 245 w 470"/>
                <a:gd name="T89" fmla="*/ 376 h 395"/>
                <a:gd name="T90" fmla="*/ 232 w 470"/>
                <a:gd name="T91" fmla="*/ 368 h 395"/>
                <a:gd name="T92" fmla="*/ 225 w 470"/>
                <a:gd name="T93" fmla="*/ 345 h 395"/>
                <a:gd name="T94" fmla="*/ 210 w 470"/>
                <a:gd name="T95" fmla="*/ 320 h 395"/>
                <a:gd name="T96" fmla="*/ 183 w 470"/>
                <a:gd name="T97" fmla="*/ 320 h 395"/>
                <a:gd name="T98" fmla="*/ 170 w 470"/>
                <a:gd name="T99" fmla="*/ 338 h 395"/>
                <a:gd name="T100" fmla="*/ 157 w 470"/>
                <a:gd name="T101" fmla="*/ 341 h 395"/>
                <a:gd name="T102" fmla="*/ 139 w 470"/>
                <a:gd name="T103" fmla="*/ 342 h 395"/>
                <a:gd name="T104" fmla="*/ 123 w 470"/>
                <a:gd name="T105" fmla="*/ 341 h 395"/>
                <a:gd name="T106" fmla="*/ 110 w 470"/>
                <a:gd name="T107" fmla="*/ 349 h 395"/>
                <a:gd name="T108" fmla="*/ 90 w 470"/>
                <a:gd name="T109" fmla="*/ 339 h 395"/>
                <a:gd name="T110" fmla="*/ 58 w 470"/>
                <a:gd name="T111" fmla="*/ 346 h 395"/>
                <a:gd name="T112" fmla="*/ 34 w 470"/>
                <a:gd name="T113" fmla="*/ 341 h 395"/>
                <a:gd name="T114" fmla="*/ 11 w 470"/>
                <a:gd name="T115" fmla="*/ 348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70" h="395">
                  <a:moveTo>
                    <a:pt x="1" y="339"/>
                  </a:moveTo>
                  <a:lnTo>
                    <a:pt x="0" y="341"/>
                  </a:lnTo>
                  <a:lnTo>
                    <a:pt x="6" y="336"/>
                  </a:lnTo>
                  <a:lnTo>
                    <a:pt x="7" y="325"/>
                  </a:lnTo>
                  <a:lnTo>
                    <a:pt x="8" y="316"/>
                  </a:lnTo>
                  <a:lnTo>
                    <a:pt x="10" y="305"/>
                  </a:lnTo>
                  <a:lnTo>
                    <a:pt x="10" y="299"/>
                  </a:lnTo>
                  <a:lnTo>
                    <a:pt x="13" y="295"/>
                  </a:lnTo>
                  <a:lnTo>
                    <a:pt x="17" y="293"/>
                  </a:lnTo>
                  <a:lnTo>
                    <a:pt x="20" y="293"/>
                  </a:lnTo>
                  <a:lnTo>
                    <a:pt x="30" y="296"/>
                  </a:lnTo>
                  <a:lnTo>
                    <a:pt x="30" y="290"/>
                  </a:lnTo>
                  <a:lnTo>
                    <a:pt x="26" y="285"/>
                  </a:lnTo>
                  <a:lnTo>
                    <a:pt x="23" y="278"/>
                  </a:lnTo>
                  <a:lnTo>
                    <a:pt x="26" y="272"/>
                  </a:lnTo>
                  <a:lnTo>
                    <a:pt x="26" y="262"/>
                  </a:lnTo>
                  <a:lnTo>
                    <a:pt x="7" y="226"/>
                  </a:lnTo>
                  <a:lnTo>
                    <a:pt x="17" y="225"/>
                  </a:lnTo>
                  <a:lnTo>
                    <a:pt x="21" y="225"/>
                  </a:lnTo>
                  <a:lnTo>
                    <a:pt x="30" y="223"/>
                  </a:lnTo>
                  <a:lnTo>
                    <a:pt x="38" y="219"/>
                  </a:lnTo>
                  <a:lnTo>
                    <a:pt x="44" y="217"/>
                  </a:lnTo>
                  <a:lnTo>
                    <a:pt x="46" y="210"/>
                  </a:lnTo>
                  <a:lnTo>
                    <a:pt x="47" y="204"/>
                  </a:lnTo>
                  <a:lnTo>
                    <a:pt x="47" y="194"/>
                  </a:lnTo>
                  <a:lnTo>
                    <a:pt x="44" y="186"/>
                  </a:lnTo>
                  <a:lnTo>
                    <a:pt x="44" y="179"/>
                  </a:lnTo>
                  <a:lnTo>
                    <a:pt x="44" y="173"/>
                  </a:lnTo>
                  <a:lnTo>
                    <a:pt x="46" y="164"/>
                  </a:lnTo>
                  <a:lnTo>
                    <a:pt x="43" y="157"/>
                  </a:lnTo>
                  <a:lnTo>
                    <a:pt x="43" y="150"/>
                  </a:lnTo>
                  <a:lnTo>
                    <a:pt x="53" y="143"/>
                  </a:lnTo>
                  <a:lnTo>
                    <a:pt x="58" y="137"/>
                  </a:lnTo>
                  <a:lnTo>
                    <a:pt x="61" y="134"/>
                  </a:lnTo>
                  <a:lnTo>
                    <a:pt x="69" y="130"/>
                  </a:lnTo>
                  <a:lnTo>
                    <a:pt x="70" y="124"/>
                  </a:lnTo>
                  <a:lnTo>
                    <a:pt x="67" y="113"/>
                  </a:lnTo>
                  <a:lnTo>
                    <a:pt x="69" y="107"/>
                  </a:lnTo>
                  <a:lnTo>
                    <a:pt x="83" y="107"/>
                  </a:lnTo>
                  <a:lnTo>
                    <a:pt x="89" y="106"/>
                  </a:lnTo>
                  <a:lnTo>
                    <a:pt x="94" y="91"/>
                  </a:lnTo>
                  <a:lnTo>
                    <a:pt x="96" y="80"/>
                  </a:lnTo>
                  <a:lnTo>
                    <a:pt x="97" y="61"/>
                  </a:lnTo>
                  <a:lnTo>
                    <a:pt x="103" y="54"/>
                  </a:lnTo>
                  <a:lnTo>
                    <a:pt x="113" y="53"/>
                  </a:lnTo>
                  <a:lnTo>
                    <a:pt x="120" y="53"/>
                  </a:lnTo>
                  <a:lnTo>
                    <a:pt x="130" y="54"/>
                  </a:lnTo>
                  <a:lnTo>
                    <a:pt x="133" y="54"/>
                  </a:lnTo>
                  <a:lnTo>
                    <a:pt x="134" y="54"/>
                  </a:lnTo>
                  <a:lnTo>
                    <a:pt x="147" y="54"/>
                  </a:lnTo>
                  <a:lnTo>
                    <a:pt x="156" y="50"/>
                  </a:lnTo>
                  <a:lnTo>
                    <a:pt x="163" y="41"/>
                  </a:lnTo>
                  <a:lnTo>
                    <a:pt x="164" y="37"/>
                  </a:lnTo>
                  <a:lnTo>
                    <a:pt x="169" y="30"/>
                  </a:lnTo>
                  <a:lnTo>
                    <a:pt x="174" y="21"/>
                  </a:lnTo>
                  <a:lnTo>
                    <a:pt x="189" y="20"/>
                  </a:lnTo>
                  <a:lnTo>
                    <a:pt x="197" y="17"/>
                  </a:lnTo>
                  <a:lnTo>
                    <a:pt x="200" y="15"/>
                  </a:lnTo>
                  <a:lnTo>
                    <a:pt x="202" y="14"/>
                  </a:lnTo>
                  <a:lnTo>
                    <a:pt x="205" y="11"/>
                  </a:lnTo>
                  <a:lnTo>
                    <a:pt x="215" y="7"/>
                  </a:lnTo>
                  <a:lnTo>
                    <a:pt x="216" y="1"/>
                  </a:lnTo>
                  <a:lnTo>
                    <a:pt x="219" y="0"/>
                  </a:lnTo>
                  <a:lnTo>
                    <a:pt x="220" y="0"/>
                  </a:lnTo>
                  <a:lnTo>
                    <a:pt x="225" y="0"/>
                  </a:lnTo>
                  <a:lnTo>
                    <a:pt x="229" y="1"/>
                  </a:lnTo>
                  <a:lnTo>
                    <a:pt x="233" y="5"/>
                  </a:lnTo>
                  <a:lnTo>
                    <a:pt x="240" y="4"/>
                  </a:lnTo>
                  <a:lnTo>
                    <a:pt x="245" y="1"/>
                  </a:lnTo>
                  <a:lnTo>
                    <a:pt x="250" y="1"/>
                  </a:lnTo>
                  <a:lnTo>
                    <a:pt x="252" y="13"/>
                  </a:lnTo>
                  <a:lnTo>
                    <a:pt x="255" y="21"/>
                  </a:lnTo>
                  <a:lnTo>
                    <a:pt x="259" y="30"/>
                  </a:lnTo>
                  <a:lnTo>
                    <a:pt x="260" y="33"/>
                  </a:lnTo>
                  <a:lnTo>
                    <a:pt x="263" y="35"/>
                  </a:lnTo>
                  <a:lnTo>
                    <a:pt x="266" y="38"/>
                  </a:lnTo>
                  <a:lnTo>
                    <a:pt x="270" y="41"/>
                  </a:lnTo>
                  <a:lnTo>
                    <a:pt x="272" y="48"/>
                  </a:lnTo>
                  <a:lnTo>
                    <a:pt x="272" y="57"/>
                  </a:lnTo>
                  <a:lnTo>
                    <a:pt x="272" y="64"/>
                  </a:lnTo>
                  <a:lnTo>
                    <a:pt x="279" y="64"/>
                  </a:lnTo>
                  <a:lnTo>
                    <a:pt x="288" y="70"/>
                  </a:lnTo>
                  <a:lnTo>
                    <a:pt x="289" y="77"/>
                  </a:lnTo>
                  <a:lnTo>
                    <a:pt x="291" y="84"/>
                  </a:lnTo>
                  <a:lnTo>
                    <a:pt x="288" y="86"/>
                  </a:lnTo>
                  <a:lnTo>
                    <a:pt x="280" y="87"/>
                  </a:lnTo>
                  <a:lnTo>
                    <a:pt x="273" y="90"/>
                  </a:lnTo>
                  <a:lnTo>
                    <a:pt x="276" y="93"/>
                  </a:lnTo>
                  <a:lnTo>
                    <a:pt x="285" y="94"/>
                  </a:lnTo>
                  <a:lnTo>
                    <a:pt x="288" y="94"/>
                  </a:lnTo>
                  <a:lnTo>
                    <a:pt x="291" y="100"/>
                  </a:lnTo>
                  <a:lnTo>
                    <a:pt x="291" y="107"/>
                  </a:lnTo>
                  <a:lnTo>
                    <a:pt x="292" y="110"/>
                  </a:lnTo>
                  <a:lnTo>
                    <a:pt x="302" y="107"/>
                  </a:lnTo>
                  <a:lnTo>
                    <a:pt x="308" y="110"/>
                  </a:lnTo>
                  <a:lnTo>
                    <a:pt x="309" y="116"/>
                  </a:lnTo>
                  <a:lnTo>
                    <a:pt x="305" y="121"/>
                  </a:lnTo>
                  <a:lnTo>
                    <a:pt x="303" y="126"/>
                  </a:lnTo>
                  <a:lnTo>
                    <a:pt x="302" y="129"/>
                  </a:lnTo>
                  <a:lnTo>
                    <a:pt x="308" y="129"/>
                  </a:lnTo>
                  <a:lnTo>
                    <a:pt x="312" y="124"/>
                  </a:lnTo>
                  <a:lnTo>
                    <a:pt x="315" y="126"/>
                  </a:lnTo>
                  <a:lnTo>
                    <a:pt x="313" y="130"/>
                  </a:lnTo>
                  <a:lnTo>
                    <a:pt x="309" y="133"/>
                  </a:lnTo>
                  <a:lnTo>
                    <a:pt x="302" y="137"/>
                  </a:lnTo>
                  <a:lnTo>
                    <a:pt x="302" y="143"/>
                  </a:lnTo>
                  <a:lnTo>
                    <a:pt x="303" y="144"/>
                  </a:lnTo>
                  <a:lnTo>
                    <a:pt x="312" y="141"/>
                  </a:lnTo>
                  <a:lnTo>
                    <a:pt x="319" y="151"/>
                  </a:lnTo>
                  <a:lnTo>
                    <a:pt x="322" y="157"/>
                  </a:lnTo>
                  <a:lnTo>
                    <a:pt x="319" y="163"/>
                  </a:lnTo>
                  <a:lnTo>
                    <a:pt x="325" y="167"/>
                  </a:lnTo>
                  <a:lnTo>
                    <a:pt x="329" y="172"/>
                  </a:lnTo>
                  <a:lnTo>
                    <a:pt x="335" y="177"/>
                  </a:lnTo>
                  <a:lnTo>
                    <a:pt x="345" y="182"/>
                  </a:lnTo>
                  <a:lnTo>
                    <a:pt x="352" y="187"/>
                  </a:lnTo>
                  <a:lnTo>
                    <a:pt x="356" y="189"/>
                  </a:lnTo>
                  <a:lnTo>
                    <a:pt x="361" y="194"/>
                  </a:lnTo>
                  <a:lnTo>
                    <a:pt x="362" y="196"/>
                  </a:lnTo>
                  <a:lnTo>
                    <a:pt x="369" y="193"/>
                  </a:lnTo>
                  <a:lnTo>
                    <a:pt x="374" y="194"/>
                  </a:lnTo>
                  <a:lnTo>
                    <a:pt x="376" y="196"/>
                  </a:lnTo>
                  <a:lnTo>
                    <a:pt x="382" y="197"/>
                  </a:lnTo>
                  <a:lnTo>
                    <a:pt x="384" y="197"/>
                  </a:lnTo>
                  <a:lnTo>
                    <a:pt x="392" y="193"/>
                  </a:lnTo>
                  <a:lnTo>
                    <a:pt x="396" y="193"/>
                  </a:lnTo>
                  <a:lnTo>
                    <a:pt x="398" y="194"/>
                  </a:lnTo>
                  <a:lnTo>
                    <a:pt x="399" y="202"/>
                  </a:lnTo>
                  <a:lnTo>
                    <a:pt x="399" y="204"/>
                  </a:lnTo>
                  <a:lnTo>
                    <a:pt x="404" y="206"/>
                  </a:lnTo>
                  <a:lnTo>
                    <a:pt x="408" y="202"/>
                  </a:lnTo>
                  <a:lnTo>
                    <a:pt x="411" y="197"/>
                  </a:lnTo>
                  <a:lnTo>
                    <a:pt x="415" y="193"/>
                  </a:lnTo>
                  <a:lnTo>
                    <a:pt x="418" y="194"/>
                  </a:lnTo>
                  <a:lnTo>
                    <a:pt x="424" y="202"/>
                  </a:lnTo>
                  <a:lnTo>
                    <a:pt x="428" y="203"/>
                  </a:lnTo>
                  <a:lnTo>
                    <a:pt x="432" y="212"/>
                  </a:lnTo>
                  <a:lnTo>
                    <a:pt x="435" y="215"/>
                  </a:lnTo>
                  <a:lnTo>
                    <a:pt x="437" y="227"/>
                  </a:lnTo>
                  <a:lnTo>
                    <a:pt x="437" y="237"/>
                  </a:lnTo>
                  <a:lnTo>
                    <a:pt x="439" y="243"/>
                  </a:lnTo>
                  <a:lnTo>
                    <a:pt x="445" y="253"/>
                  </a:lnTo>
                  <a:lnTo>
                    <a:pt x="451" y="272"/>
                  </a:lnTo>
                  <a:lnTo>
                    <a:pt x="460" y="280"/>
                  </a:lnTo>
                  <a:lnTo>
                    <a:pt x="462" y="289"/>
                  </a:lnTo>
                  <a:lnTo>
                    <a:pt x="464" y="296"/>
                  </a:lnTo>
                  <a:lnTo>
                    <a:pt x="468" y="300"/>
                  </a:lnTo>
                  <a:lnTo>
                    <a:pt x="470" y="306"/>
                  </a:lnTo>
                  <a:lnTo>
                    <a:pt x="468" y="316"/>
                  </a:lnTo>
                  <a:lnTo>
                    <a:pt x="465" y="318"/>
                  </a:lnTo>
                  <a:lnTo>
                    <a:pt x="462" y="322"/>
                  </a:lnTo>
                  <a:lnTo>
                    <a:pt x="460" y="323"/>
                  </a:lnTo>
                  <a:lnTo>
                    <a:pt x="458" y="329"/>
                  </a:lnTo>
                  <a:lnTo>
                    <a:pt x="458" y="331"/>
                  </a:lnTo>
                  <a:lnTo>
                    <a:pt x="458" y="333"/>
                  </a:lnTo>
                  <a:lnTo>
                    <a:pt x="458" y="336"/>
                  </a:lnTo>
                  <a:lnTo>
                    <a:pt x="452" y="339"/>
                  </a:lnTo>
                  <a:lnTo>
                    <a:pt x="449" y="341"/>
                  </a:lnTo>
                  <a:lnTo>
                    <a:pt x="445" y="339"/>
                  </a:lnTo>
                  <a:lnTo>
                    <a:pt x="442" y="339"/>
                  </a:lnTo>
                  <a:lnTo>
                    <a:pt x="439" y="341"/>
                  </a:lnTo>
                  <a:lnTo>
                    <a:pt x="439" y="345"/>
                  </a:lnTo>
                  <a:lnTo>
                    <a:pt x="432" y="351"/>
                  </a:lnTo>
                  <a:lnTo>
                    <a:pt x="428" y="352"/>
                  </a:lnTo>
                  <a:lnTo>
                    <a:pt x="425" y="353"/>
                  </a:lnTo>
                  <a:lnTo>
                    <a:pt x="421" y="353"/>
                  </a:lnTo>
                  <a:lnTo>
                    <a:pt x="415" y="353"/>
                  </a:lnTo>
                  <a:lnTo>
                    <a:pt x="411" y="356"/>
                  </a:lnTo>
                  <a:lnTo>
                    <a:pt x="407" y="361"/>
                  </a:lnTo>
                  <a:lnTo>
                    <a:pt x="404" y="363"/>
                  </a:lnTo>
                  <a:lnTo>
                    <a:pt x="398" y="366"/>
                  </a:lnTo>
                  <a:lnTo>
                    <a:pt x="394" y="369"/>
                  </a:lnTo>
                  <a:lnTo>
                    <a:pt x="389" y="371"/>
                  </a:lnTo>
                  <a:lnTo>
                    <a:pt x="386" y="372"/>
                  </a:lnTo>
                  <a:lnTo>
                    <a:pt x="385" y="373"/>
                  </a:lnTo>
                  <a:lnTo>
                    <a:pt x="384" y="379"/>
                  </a:lnTo>
                  <a:lnTo>
                    <a:pt x="384" y="379"/>
                  </a:lnTo>
                  <a:lnTo>
                    <a:pt x="378" y="384"/>
                  </a:lnTo>
                  <a:lnTo>
                    <a:pt x="375" y="385"/>
                  </a:lnTo>
                  <a:lnTo>
                    <a:pt x="371" y="385"/>
                  </a:lnTo>
                  <a:lnTo>
                    <a:pt x="368" y="385"/>
                  </a:lnTo>
                  <a:lnTo>
                    <a:pt x="366" y="385"/>
                  </a:lnTo>
                  <a:lnTo>
                    <a:pt x="362" y="388"/>
                  </a:lnTo>
                  <a:lnTo>
                    <a:pt x="358" y="389"/>
                  </a:lnTo>
                  <a:lnTo>
                    <a:pt x="355" y="392"/>
                  </a:lnTo>
                  <a:lnTo>
                    <a:pt x="352" y="395"/>
                  </a:lnTo>
                  <a:lnTo>
                    <a:pt x="348" y="395"/>
                  </a:lnTo>
                  <a:lnTo>
                    <a:pt x="346" y="394"/>
                  </a:lnTo>
                  <a:lnTo>
                    <a:pt x="342" y="391"/>
                  </a:lnTo>
                  <a:lnTo>
                    <a:pt x="336" y="391"/>
                  </a:lnTo>
                  <a:lnTo>
                    <a:pt x="333" y="386"/>
                  </a:lnTo>
                  <a:lnTo>
                    <a:pt x="329" y="386"/>
                  </a:lnTo>
                  <a:lnTo>
                    <a:pt x="325" y="385"/>
                  </a:lnTo>
                  <a:lnTo>
                    <a:pt x="323" y="379"/>
                  </a:lnTo>
                  <a:lnTo>
                    <a:pt x="322" y="375"/>
                  </a:lnTo>
                  <a:lnTo>
                    <a:pt x="316" y="373"/>
                  </a:lnTo>
                  <a:lnTo>
                    <a:pt x="315" y="379"/>
                  </a:lnTo>
                  <a:lnTo>
                    <a:pt x="312" y="382"/>
                  </a:lnTo>
                  <a:lnTo>
                    <a:pt x="308" y="385"/>
                  </a:lnTo>
                  <a:lnTo>
                    <a:pt x="306" y="386"/>
                  </a:lnTo>
                  <a:lnTo>
                    <a:pt x="305" y="391"/>
                  </a:lnTo>
                  <a:lnTo>
                    <a:pt x="302" y="392"/>
                  </a:lnTo>
                  <a:lnTo>
                    <a:pt x="302" y="392"/>
                  </a:lnTo>
                  <a:lnTo>
                    <a:pt x="299" y="394"/>
                  </a:lnTo>
                  <a:lnTo>
                    <a:pt x="296" y="394"/>
                  </a:lnTo>
                  <a:lnTo>
                    <a:pt x="291" y="392"/>
                  </a:lnTo>
                  <a:lnTo>
                    <a:pt x="289" y="392"/>
                  </a:lnTo>
                  <a:lnTo>
                    <a:pt x="288" y="389"/>
                  </a:lnTo>
                  <a:lnTo>
                    <a:pt x="286" y="386"/>
                  </a:lnTo>
                  <a:lnTo>
                    <a:pt x="285" y="385"/>
                  </a:lnTo>
                  <a:lnTo>
                    <a:pt x="283" y="382"/>
                  </a:lnTo>
                  <a:lnTo>
                    <a:pt x="278" y="381"/>
                  </a:lnTo>
                  <a:lnTo>
                    <a:pt x="273" y="379"/>
                  </a:lnTo>
                  <a:lnTo>
                    <a:pt x="269" y="373"/>
                  </a:lnTo>
                  <a:lnTo>
                    <a:pt x="269" y="365"/>
                  </a:lnTo>
                  <a:lnTo>
                    <a:pt x="268" y="363"/>
                  </a:lnTo>
                  <a:lnTo>
                    <a:pt x="262" y="362"/>
                  </a:lnTo>
                  <a:lnTo>
                    <a:pt x="260" y="365"/>
                  </a:lnTo>
                  <a:lnTo>
                    <a:pt x="260" y="371"/>
                  </a:lnTo>
                  <a:lnTo>
                    <a:pt x="259" y="372"/>
                  </a:lnTo>
                  <a:lnTo>
                    <a:pt x="256" y="375"/>
                  </a:lnTo>
                  <a:lnTo>
                    <a:pt x="252" y="375"/>
                  </a:lnTo>
                  <a:lnTo>
                    <a:pt x="250" y="378"/>
                  </a:lnTo>
                  <a:lnTo>
                    <a:pt x="248" y="378"/>
                  </a:lnTo>
                  <a:lnTo>
                    <a:pt x="245" y="376"/>
                  </a:lnTo>
                  <a:lnTo>
                    <a:pt x="243" y="378"/>
                  </a:lnTo>
                  <a:lnTo>
                    <a:pt x="240" y="378"/>
                  </a:lnTo>
                  <a:lnTo>
                    <a:pt x="235" y="376"/>
                  </a:lnTo>
                  <a:lnTo>
                    <a:pt x="233" y="375"/>
                  </a:lnTo>
                  <a:lnTo>
                    <a:pt x="232" y="368"/>
                  </a:lnTo>
                  <a:lnTo>
                    <a:pt x="229" y="368"/>
                  </a:lnTo>
                  <a:lnTo>
                    <a:pt x="227" y="363"/>
                  </a:lnTo>
                  <a:lnTo>
                    <a:pt x="226" y="358"/>
                  </a:lnTo>
                  <a:lnTo>
                    <a:pt x="225" y="352"/>
                  </a:lnTo>
                  <a:lnTo>
                    <a:pt x="225" y="345"/>
                  </a:lnTo>
                  <a:lnTo>
                    <a:pt x="225" y="336"/>
                  </a:lnTo>
                  <a:lnTo>
                    <a:pt x="223" y="332"/>
                  </a:lnTo>
                  <a:lnTo>
                    <a:pt x="219" y="328"/>
                  </a:lnTo>
                  <a:lnTo>
                    <a:pt x="213" y="325"/>
                  </a:lnTo>
                  <a:lnTo>
                    <a:pt x="210" y="320"/>
                  </a:lnTo>
                  <a:lnTo>
                    <a:pt x="205" y="315"/>
                  </a:lnTo>
                  <a:lnTo>
                    <a:pt x="197" y="315"/>
                  </a:lnTo>
                  <a:lnTo>
                    <a:pt x="196" y="315"/>
                  </a:lnTo>
                  <a:lnTo>
                    <a:pt x="189" y="322"/>
                  </a:lnTo>
                  <a:lnTo>
                    <a:pt x="183" y="320"/>
                  </a:lnTo>
                  <a:lnTo>
                    <a:pt x="179" y="320"/>
                  </a:lnTo>
                  <a:lnTo>
                    <a:pt x="176" y="326"/>
                  </a:lnTo>
                  <a:lnTo>
                    <a:pt x="174" y="329"/>
                  </a:lnTo>
                  <a:lnTo>
                    <a:pt x="173" y="338"/>
                  </a:lnTo>
                  <a:lnTo>
                    <a:pt x="170" y="338"/>
                  </a:lnTo>
                  <a:lnTo>
                    <a:pt x="167" y="339"/>
                  </a:lnTo>
                  <a:lnTo>
                    <a:pt x="164" y="338"/>
                  </a:lnTo>
                  <a:lnTo>
                    <a:pt x="162" y="336"/>
                  </a:lnTo>
                  <a:lnTo>
                    <a:pt x="157" y="335"/>
                  </a:lnTo>
                  <a:lnTo>
                    <a:pt x="157" y="341"/>
                  </a:lnTo>
                  <a:lnTo>
                    <a:pt x="154" y="342"/>
                  </a:lnTo>
                  <a:lnTo>
                    <a:pt x="152" y="339"/>
                  </a:lnTo>
                  <a:lnTo>
                    <a:pt x="147" y="338"/>
                  </a:lnTo>
                  <a:lnTo>
                    <a:pt x="143" y="341"/>
                  </a:lnTo>
                  <a:lnTo>
                    <a:pt x="139" y="342"/>
                  </a:lnTo>
                  <a:lnTo>
                    <a:pt x="136" y="342"/>
                  </a:lnTo>
                  <a:lnTo>
                    <a:pt x="132" y="342"/>
                  </a:lnTo>
                  <a:lnTo>
                    <a:pt x="130" y="339"/>
                  </a:lnTo>
                  <a:lnTo>
                    <a:pt x="124" y="341"/>
                  </a:lnTo>
                  <a:lnTo>
                    <a:pt x="123" y="341"/>
                  </a:lnTo>
                  <a:lnTo>
                    <a:pt x="119" y="342"/>
                  </a:lnTo>
                  <a:lnTo>
                    <a:pt x="119" y="346"/>
                  </a:lnTo>
                  <a:lnTo>
                    <a:pt x="117" y="346"/>
                  </a:lnTo>
                  <a:lnTo>
                    <a:pt x="114" y="348"/>
                  </a:lnTo>
                  <a:lnTo>
                    <a:pt x="110" y="349"/>
                  </a:lnTo>
                  <a:lnTo>
                    <a:pt x="106" y="349"/>
                  </a:lnTo>
                  <a:lnTo>
                    <a:pt x="101" y="348"/>
                  </a:lnTo>
                  <a:lnTo>
                    <a:pt x="97" y="345"/>
                  </a:lnTo>
                  <a:lnTo>
                    <a:pt x="91" y="341"/>
                  </a:lnTo>
                  <a:lnTo>
                    <a:pt x="90" y="339"/>
                  </a:lnTo>
                  <a:lnTo>
                    <a:pt x="84" y="345"/>
                  </a:lnTo>
                  <a:lnTo>
                    <a:pt x="80" y="348"/>
                  </a:lnTo>
                  <a:lnTo>
                    <a:pt x="73" y="348"/>
                  </a:lnTo>
                  <a:lnTo>
                    <a:pt x="67" y="348"/>
                  </a:lnTo>
                  <a:lnTo>
                    <a:pt x="58" y="346"/>
                  </a:lnTo>
                  <a:lnTo>
                    <a:pt x="50" y="345"/>
                  </a:lnTo>
                  <a:lnTo>
                    <a:pt x="43" y="342"/>
                  </a:lnTo>
                  <a:lnTo>
                    <a:pt x="41" y="342"/>
                  </a:lnTo>
                  <a:lnTo>
                    <a:pt x="36" y="342"/>
                  </a:lnTo>
                  <a:lnTo>
                    <a:pt x="34" y="341"/>
                  </a:lnTo>
                  <a:lnTo>
                    <a:pt x="30" y="343"/>
                  </a:lnTo>
                  <a:lnTo>
                    <a:pt x="28" y="345"/>
                  </a:lnTo>
                  <a:lnTo>
                    <a:pt x="23" y="348"/>
                  </a:lnTo>
                  <a:lnTo>
                    <a:pt x="18" y="349"/>
                  </a:lnTo>
                  <a:lnTo>
                    <a:pt x="11" y="348"/>
                  </a:lnTo>
                  <a:lnTo>
                    <a:pt x="6" y="343"/>
                  </a:lnTo>
                  <a:lnTo>
                    <a:pt x="1" y="33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02" name="Freeform 50"/>
            <p:cNvSpPr>
              <a:spLocks/>
            </p:cNvSpPr>
            <p:nvPr/>
          </p:nvSpPr>
          <p:spPr bwMode="auto">
            <a:xfrm>
              <a:off x="2121159" y="3216782"/>
              <a:ext cx="221027" cy="250029"/>
            </a:xfrm>
            <a:custGeom>
              <a:avLst/>
              <a:gdLst>
                <a:gd name="T0" fmla="*/ 11 w 362"/>
                <a:gd name="T1" fmla="*/ 115 h 378"/>
                <a:gd name="T2" fmla="*/ 18 w 362"/>
                <a:gd name="T3" fmla="*/ 99 h 378"/>
                <a:gd name="T4" fmla="*/ 37 w 362"/>
                <a:gd name="T5" fmla="*/ 80 h 378"/>
                <a:gd name="T6" fmla="*/ 58 w 362"/>
                <a:gd name="T7" fmla="*/ 66 h 378"/>
                <a:gd name="T8" fmla="*/ 77 w 362"/>
                <a:gd name="T9" fmla="*/ 52 h 378"/>
                <a:gd name="T10" fmla="*/ 93 w 362"/>
                <a:gd name="T11" fmla="*/ 23 h 378"/>
                <a:gd name="T12" fmla="*/ 106 w 362"/>
                <a:gd name="T13" fmla="*/ 0 h 378"/>
                <a:gd name="T14" fmla="*/ 146 w 362"/>
                <a:gd name="T15" fmla="*/ 13 h 378"/>
                <a:gd name="T16" fmla="*/ 147 w 362"/>
                <a:gd name="T17" fmla="*/ 57 h 378"/>
                <a:gd name="T18" fmla="*/ 167 w 362"/>
                <a:gd name="T19" fmla="*/ 77 h 378"/>
                <a:gd name="T20" fmla="*/ 193 w 362"/>
                <a:gd name="T21" fmla="*/ 90 h 378"/>
                <a:gd name="T22" fmla="*/ 212 w 362"/>
                <a:gd name="T23" fmla="*/ 90 h 378"/>
                <a:gd name="T24" fmla="*/ 235 w 362"/>
                <a:gd name="T25" fmla="*/ 100 h 378"/>
                <a:gd name="T26" fmla="*/ 259 w 362"/>
                <a:gd name="T27" fmla="*/ 100 h 378"/>
                <a:gd name="T28" fmla="*/ 279 w 362"/>
                <a:gd name="T29" fmla="*/ 102 h 378"/>
                <a:gd name="T30" fmla="*/ 313 w 362"/>
                <a:gd name="T31" fmla="*/ 102 h 378"/>
                <a:gd name="T32" fmla="*/ 335 w 362"/>
                <a:gd name="T33" fmla="*/ 106 h 378"/>
                <a:gd name="T34" fmla="*/ 349 w 362"/>
                <a:gd name="T35" fmla="*/ 109 h 378"/>
                <a:gd name="T36" fmla="*/ 361 w 362"/>
                <a:gd name="T37" fmla="*/ 129 h 378"/>
                <a:gd name="T38" fmla="*/ 351 w 362"/>
                <a:gd name="T39" fmla="*/ 138 h 378"/>
                <a:gd name="T40" fmla="*/ 351 w 362"/>
                <a:gd name="T41" fmla="*/ 159 h 378"/>
                <a:gd name="T42" fmla="*/ 361 w 362"/>
                <a:gd name="T43" fmla="*/ 181 h 378"/>
                <a:gd name="T44" fmla="*/ 356 w 362"/>
                <a:gd name="T45" fmla="*/ 208 h 378"/>
                <a:gd name="T46" fmla="*/ 329 w 362"/>
                <a:gd name="T47" fmla="*/ 235 h 378"/>
                <a:gd name="T48" fmla="*/ 325 w 362"/>
                <a:gd name="T49" fmla="*/ 257 h 378"/>
                <a:gd name="T50" fmla="*/ 338 w 362"/>
                <a:gd name="T51" fmla="*/ 277 h 378"/>
                <a:gd name="T52" fmla="*/ 335 w 362"/>
                <a:gd name="T53" fmla="*/ 294 h 378"/>
                <a:gd name="T54" fmla="*/ 333 w 362"/>
                <a:gd name="T55" fmla="*/ 308 h 378"/>
                <a:gd name="T56" fmla="*/ 315 w 362"/>
                <a:gd name="T57" fmla="*/ 331 h 378"/>
                <a:gd name="T58" fmla="*/ 287 w 362"/>
                <a:gd name="T59" fmla="*/ 334 h 378"/>
                <a:gd name="T60" fmla="*/ 273 w 362"/>
                <a:gd name="T61" fmla="*/ 312 h 378"/>
                <a:gd name="T62" fmla="*/ 253 w 362"/>
                <a:gd name="T63" fmla="*/ 324 h 378"/>
                <a:gd name="T64" fmla="*/ 257 w 362"/>
                <a:gd name="T65" fmla="*/ 344 h 378"/>
                <a:gd name="T66" fmla="*/ 252 w 362"/>
                <a:gd name="T67" fmla="*/ 354 h 378"/>
                <a:gd name="T68" fmla="*/ 235 w 362"/>
                <a:gd name="T69" fmla="*/ 355 h 378"/>
                <a:gd name="T70" fmla="*/ 209 w 362"/>
                <a:gd name="T71" fmla="*/ 357 h 378"/>
                <a:gd name="T72" fmla="*/ 170 w 362"/>
                <a:gd name="T73" fmla="*/ 374 h 378"/>
                <a:gd name="T74" fmla="*/ 157 w 362"/>
                <a:gd name="T75" fmla="*/ 363 h 378"/>
                <a:gd name="T76" fmla="*/ 146 w 362"/>
                <a:gd name="T77" fmla="*/ 367 h 378"/>
                <a:gd name="T78" fmla="*/ 137 w 362"/>
                <a:gd name="T79" fmla="*/ 363 h 378"/>
                <a:gd name="T80" fmla="*/ 108 w 362"/>
                <a:gd name="T81" fmla="*/ 370 h 378"/>
                <a:gd name="T82" fmla="*/ 98 w 362"/>
                <a:gd name="T83" fmla="*/ 374 h 378"/>
                <a:gd name="T84" fmla="*/ 91 w 362"/>
                <a:gd name="T85" fmla="*/ 374 h 378"/>
                <a:gd name="T86" fmla="*/ 108 w 362"/>
                <a:gd name="T87" fmla="*/ 327 h 378"/>
                <a:gd name="T88" fmla="*/ 129 w 362"/>
                <a:gd name="T89" fmla="*/ 317 h 378"/>
                <a:gd name="T90" fmla="*/ 137 w 362"/>
                <a:gd name="T91" fmla="*/ 294 h 378"/>
                <a:gd name="T92" fmla="*/ 124 w 362"/>
                <a:gd name="T93" fmla="*/ 259 h 378"/>
                <a:gd name="T94" fmla="*/ 123 w 362"/>
                <a:gd name="T95" fmla="*/ 249 h 378"/>
                <a:gd name="T96" fmla="*/ 120 w 362"/>
                <a:gd name="T97" fmla="*/ 234 h 378"/>
                <a:gd name="T98" fmla="*/ 88 w 362"/>
                <a:gd name="T99" fmla="*/ 215 h 378"/>
                <a:gd name="T100" fmla="*/ 71 w 362"/>
                <a:gd name="T101" fmla="*/ 182 h 378"/>
                <a:gd name="T102" fmla="*/ 1 w 362"/>
                <a:gd name="T103" fmla="*/ 159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2" h="378">
                  <a:moveTo>
                    <a:pt x="2" y="142"/>
                  </a:moveTo>
                  <a:lnTo>
                    <a:pt x="0" y="126"/>
                  </a:lnTo>
                  <a:lnTo>
                    <a:pt x="5" y="123"/>
                  </a:lnTo>
                  <a:lnTo>
                    <a:pt x="7" y="120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14" y="108"/>
                  </a:lnTo>
                  <a:lnTo>
                    <a:pt x="18" y="108"/>
                  </a:lnTo>
                  <a:lnTo>
                    <a:pt x="20" y="100"/>
                  </a:lnTo>
                  <a:lnTo>
                    <a:pt x="18" y="99"/>
                  </a:lnTo>
                  <a:lnTo>
                    <a:pt x="18" y="90"/>
                  </a:lnTo>
                  <a:lnTo>
                    <a:pt x="23" y="86"/>
                  </a:lnTo>
                  <a:lnTo>
                    <a:pt x="28" y="85"/>
                  </a:lnTo>
                  <a:lnTo>
                    <a:pt x="30" y="83"/>
                  </a:lnTo>
                  <a:lnTo>
                    <a:pt x="37" y="80"/>
                  </a:lnTo>
                  <a:lnTo>
                    <a:pt x="41" y="76"/>
                  </a:lnTo>
                  <a:lnTo>
                    <a:pt x="47" y="73"/>
                  </a:lnTo>
                  <a:lnTo>
                    <a:pt x="53" y="73"/>
                  </a:lnTo>
                  <a:lnTo>
                    <a:pt x="57" y="70"/>
                  </a:lnTo>
                  <a:lnTo>
                    <a:pt x="58" y="66"/>
                  </a:lnTo>
                  <a:lnTo>
                    <a:pt x="60" y="59"/>
                  </a:lnTo>
                  <a:lnTo>
                    <a:pt x="64" y="53"/>
                  </a:lnTo>
                  <a:lnTo>
                    <a:pt x="67" y="50"/>
                  </a:lnTo>
                  <a:lnTo>
                    <a:pt x="73" y="52"/>
                  </a:lnTo>
                  <a:lnTo>
                    <a:pt x="77" y="52"/>
                  </a:lnTo>
                  <a:lnTo>
                    <a:pt x="84" y="47"/>
                  </a:lnTo>
                  <a:lnTo>
                    <a:pt x="90" y="43"/>
                  </a:lnTo>
                  <a:lnTo>
                    <a:pt x="90" y="37"/>
                  </a:lnTo>
                  <a:lnTo>
                    <a:pt x="93" y="29"/>
                  </a:lnTo>
                  <a:lnTo>
                    <a:pt x="93" y="23"/>
                  </a:lnTo>
                  <a:lnTo>
                    <a:pt x="98" y="17"/>
                  </a:lnTo>
                  <a:lnTo>
                    <a:pt x="100" y="16"/>
                  </a:lnTo>
                  <a:lnTo>
                    <a:pt x="101" y="6"/>
                  </a:lnTo>
                  <a:lnTo>
                    <a:pt x="100" y="0"/>
                  </a:lnTo>
                  <a:lnTo>
                    <a:pt x="106" y="0"/>
                  </a:lnTo>
                  <a:lnTo>
                    <a:pt x="118" y="3"/>
                  </a:lnTo>
                  <a:lnTo>
                    <a:pt x="124" y="3"/>
                  </a:lnTo>
                  <a:lnTo>
                    <a:pt x="133" y="0"/>
                  </a:lnTo>
                  <a:lnTo>
                    <a:pt x="140" y="6"/>
                  </a:lnTo>
                  <a:lnTo>
                    <a:pt x="146" y="13"/>
                  </a:lnTo>
                  <a:lnTo>
                    <a:pt x="147" y="20"/>
                  </a:lnTo>
                  <a:lnTo>
                    <a:pt x="144" y="36"/>
                  </a:lnTo>
                  <a:lnTo>
                    <a:pt x="144" y="40"/>
                  </a:lnTo>
                  <a:lnTo>
                    <a:pt x="144" y="46"/>
                  </a:lnTo>
                  <a:lnTo>
                    <a:pt x="147" y="57"/>
                  </a:lnTo>
                  <a:lnTo>
                    <a:pt x="150" y="63"/>
                  </a:lnTo>
                  <a:lnTo>
                    <a:pt x="153" y="69"/>
                  </a:lnTo>
                  <a:lnTo>
                    <a:pt x="154" y="72"/>
                  </a:lnTo>
                  <a:lnTo>
                    <a:pt x="161" y="76"/>
                  </a:lnTo>
                  <a:lnTo>
                    <a:pt x="167" y="77"/>
                  </a:lnTo>
                  <a:lnTo>
                    <a:pt x="171" y="79"/>
                  </a:lnTo>
                  <a:lnTo>
                    <a:pt x="173" y="79"/>
                  </a:lnTo>
                  <a:lnTo>
                    <a:pt x="179" y="82"/>
                  </a:lnTo>
                  <a:lnTo>
                    <a:pt x="184" y="85"/>
                  </a:lnTo>
                  <a:lnTo>
                    <a:pt x="193" y="90"/>
                  </a:lnTo>
                  <a:lnTo>
                    <a:pt x="197" y="89"/>
                  </a:lnTo>
                  <a:lnTo>
                    <a:pt x="199" y="86"/>
                  </a:lnTo>
                  <a:lnTo>
                    <a:pt x="203" y="82"/>
                  </a:lnTo>
                  <a:lnTo>
                    <a:pt x="206" y="83"/>
                  </a:lnTo>
                  <a:lnTo>
                    <a:pt x="212" y="90"/>
                  </a:lnTo>
                  <a:lnTo>
                    <a:pt x="214" y="99"/>
                  </a:lnTo>
                  <a:lnTo>
                    <a:pt x="220" y="100"/>
                  </a:lnTo>
                  <a:lnTo>
                    <a:pt x="229" y="98"/>
                  </a:lnTo>
                  <a:lnTo>
                    <a:pt x="230" y="96"/>
                  </a:lnTo>
                  <a:lnTo>
                    <a:pt x="235" y="100"/>
                  </a:lnTo>
                  <a:lnTo>
                    <a:pt x="240" y="105"/>
                  </a:lnTo>
                  <a:lnTo>
                    <a:pt x="247" y="106"/>
                  </a:lnTo>
                  <a:lnTo>
                    <a:pt x="252" y="105"/>
                  </a:lnTo>
                  <a:lnTo>
                    <a:pt x="257" y="102"/>
                  </a:lnTo>
                  <a:lnTo>
                    <a:pt x="259" y="100"/>
                  </a:lnTo>
                  <a:lnTo>
                    <a:pt x="263" y="98"/>
                  </a:lnTo>
                  <a:lnTo>
                    <a:pt x="265" y="99"/>
                  </a:lnTo>
                  <a:lnTo>
                    <a:pt x="270" y="99"/>
                  </a:lnTo>
                  <a:lnTo>
                    <a:pt x="272" y="99"/>
                  </a:lnTo>
                  <a:lnTo>
                    <a:pt x="279" y="102"/>
                  </a:lnTo>
                  <a:lnTo>
                    <a:pt x="287" y="103"/>
                  </a:lnTo>
                  <a:lnTo>
                    <a:pt x="296" y="105"/>
                  </a:lnTo>
                  <a:lnTo>
                    <a:pt x="302" y="105"/>
                  </a:lnTo>
                  <a:lnTo>
                    <a:pt x="309" y="105"/>
                  </a:lnTo>
                  <a:lnTo>
                    <a:pt x="313" y="102"/>
                  </a:lnTo>
                  <a:lnTo>
                    <a:pt x="319" y="96"/>
                  </a:lnTo>
                  <a:lnTo>
                    <a:pt x="320" y="98"/>
                  </a:lnTo>
                  <a:lnTo>
                    <a:pt x="326" y="102"/>
                  </a:lnTo>
                  <a:lnTo>
                    <a:pt x="330" y="105"/>
                  </a:lnTo>
                  <a:lnTo>
                    <a:pt x="335" y="106"/>
                  </a:lnTo>
                  <a:lnTo>
                    <a:pt x="339" y="106"/>
                  </a:lnTo>
                  <a:lnTo>
                    <a:pt x="343" y="105"/>
                  </a:lnTo>
                  <a:lnTo>
                    <a:pt x="346" y="103"/>
                  </a:lnTo>
                  <a:lnTo>
                    <a:pt x="348" y="103"/>
                  </a:lnTo>
                  <a:lnTo>
                    <a:pt x="349" y="109"/>
                  </a:lnTo>
                  <a:lnTo>
                    <a:pt x="352" y="112"/>
                  </a:lnTo>
                  <a:lnTo>
                    <a:pt x="356" y="115"/>
                  </a:lnTo>
                  <a:lnTo>
                    <a:pt x="361" y="119"/>
                  </a:lnTo>
                  <a:lnTo>
                    <a:pt x="362" y="123"/>
                  </a:lnTo>
                  <a:lnTo>
                    <a:pt x="361" y="129"/>
                  </a:lnTo>
                  <a:lnTo>
                    <a:pt x="359" y="133"/>
                  </a:lnTo>
                  <a:lnTo>
                    <a:pt x="356" y="135"/>
                  </a:lnTo>
                  <a:lnTo>
                    <a:pt x="353" y="136"/>
                  </a:lnTo>
                  <a:lnTo>
                    <a:pt x="352" y="136"/>
                  </a:lnTo>
                  <a:lnTo>
                    <a:pt x="351" y="138"/>
                  </a:lnTo>
                  <a:lnTo>
                    <a:pt x="349" y="142"/>
                  </a:lnTo>
                  <a:lnTo>
                    <a:pt x="349" y="146"/>
                  </a:lnTo>
                  <a:lnTo>
                    <a:pt x="349" y="152"/>
                  </a:lnTo>
                  <a:lnTo>
                    <a:pt x="351" y="156"/>
                  </a:lnTo>
                  <a:lnTo>
                    <a:pt x="351" y="159"/>
                  </a:lnTo>
                  <a:lnTo>
                    <a:pt x="355" y="163"/>
                  </a:lnTo>
                  <a:lnTo>
                    <a:pt x="358" y="166"/>
                  </a:lnTo>
                  <a:lnTo>
                    <a:pt x="359" y="169"/>
                  </a:lnTo>
                  <a:lnTo>
                    <a:pt x="362" y="173"/>
                  </a:lnTo>
                  <a:lnTo>
                    <a:pt x="361" y="181"/>
                  </a:lnTo>
                  <a:lnTo>
                    <a:pt x="359" y="188"/>
                  </a:lnTo>
                  <a:lnTo>
                    <a:pt x="358" y="196"/>
                  </a:lnTo>
                  <a:lnTo>
                    <a:pt x="358" y="199"/>
                  </a:lnTo>
                  <a:lnTo>
                    <a:pt x="358" y="202"/>
                  </a:lnTo>
                  <a:lnTo>
                    <a:pt x="356" y="208"/>
                  </a:lnTo>
                  <a:lnTo>
                    <a:pt x="339" y="224"/>
                  </a:lnTo>
                  <a:lnTo>
                    <a:pt x="338" y="226"/>
                  </a:lnTo>
                  <a:lnTo>
                    <a:pt x="333" y="231"/>
                  </a:lnTo>
                  <a:lnTo>
                    <a:pt x="330" y="232"/>
                  </a:lnTo>
                  <a:lnTo>
                    <a:pt x="329" y="235"/>
                  </a:lnTo>
                  <a:lnTo>
                    <a:pt x="325" y="236"/>
                  </a:lnTo>
                  <a:lnTo>
                    <a:pt x="323" y="241"/>
                  </a:lnTo>
                  <a:lnTo>
                    <a:pt x="323" y="246"/>
                  </a:lnTo>
                  <a:lnTo>
                    <a:pt x="323" y="251"/>
                  </a:lnTo>
                  <a:lnTo>
                    <a:pt x="325" y="257"/>
                  </a:lnTo>
                  <a:lnTo>
                    <a:pt x="326" y="259"/>
                  </a:lnTo>
                  <a:lnTo>
                    <a:pt x="332" y="268"/>
                  </a:lnTo>
                  <a:lnTo>
                    <a:pt x="333" y="269"/>
                  </a:lnTo>
                  <a:lnTo>
                    <a:pt x="336" y="274"/>
                  </a:lnTo>
                  <a:lnTo>
                    <a:pt x="338" y="277"/>
                  </a:lnTo>
                  <a:lnTo>
                    <a:pt x="339" y="281"/>
                  </a:lnTo>
                  <a:lnTo>
                    <a:pt x="339" y="284"/>
                  </a:lnTo>
                  <a:lnTo>
                    <a:pt x="339" y="289"/>
                  </a:lnTo>
                  <a:lnTo>
                    <a:pt x="336" y="292"/>
                  </a:lnTo>
                  <a:lnTo>
                    <a:pt x="335" y="294"/>
                  </a:lnTo>
                  <a:lnTo>
                    <a:pt x="332" y="298"/>
                  </a:lnTo>
                  <a:lnTo>
                    <a:pt x="332" y="301"/>
                  </a:lnTo>
                  <a:lnTo>
                    <a:pt x="332" y="305"/>
                  </a:lnTo>
                  <a:lnTo>
                    <a:pt x="333" y="308"/>
                  </a:lnTo>
                  <a:lnTo>
                    <a:pt x="333" y="308"/>
                  </a:lnTo>
                  <a:lnTo>
                    <a:pt x="333" y="308"/>
                  </a:lnTo>
                  <a:lnTo>
                    <a:pt x="325" y="314"/>
                  </a:lnTo>
                  <a:lnTo>
                    <a:pt x="313" y="315"/>
                  </a:lnTo>
                  <a:lnTo>
                    <a:pt x="312" y="322"/>
                  </a:lnTo>
                  <a:lnTo>
                    <a:pt x="315" y="331"/>
                  </a:lnTo>
                  <a:lnTo>
                    <a:pt x="318" y="338"/>
                  </a:lnTo>
                  <a:lnTo>
                    <a:pt x="305" y="340"/>
                  </a:lnTo>
                  <a:lnTo>
                    <a:pt x="299" y="327"/>
                  </a:lnTo>
                  <a:lnTo>
                    <a:pt x="295" y="332"/>
                  </a:lnTo>
                  <a:lnTo>
                    <a:pt x="287" y="334"/>
                  </a:lnTo>
                  <a:lnTo>
                    <a:pt x="285" y="330"/>
                  </a:lnTo>
                  <a:lnTo>
                    <a:pt x="285" y="324"/>
                  </a:lnTo>
                  <a:lnTo>
                    <a:pt x="283" y="320"/>
                  </a:lnTo>
                  <a:lnTo>
                    <a:pt x="280" y="317"/>
                  </a:lnTo>
                  <a:lnTo>
                    <a:pt x="273" y="312"/>
                  </a:lnTo>
                  <a:lnTo>
                    <a:pt x="269" y="312"/>
                  </a:lnTo>
                  <a:lnTo>
                    <a:pt x="263" y="314"/>
                  </a:lnTo>
                  <a:lnTo>
                    <a:pt x="259" y="312"/>
                  </a:lnTo>
                  <a:lnTo>
                    <a:pt x="256" y="317"/>
                  </a:lnTo>
                  <a:lnTo>
                    <a:pt x="253" y="324"/>
                  </a:lnTo>
                  <a:lnTo>
                    <a:pt x="252" y="330"/>
                  </a:lnTo>
                  <a:lnTo>
                    <a:pt x="255" y="334"/>
                  </a:lnTo>
                  <a:lnTo>
                    <a:pt x="257" y="337"/>
                  </a:lnTo>
                  <a:lnTo>
                    <a:pt x="257" y="341"/>
                  </a:lnTo>
                  <a:lnTo>
                    <a:pt x="257" y="344"/>
                  </a:lnTo>
                  <a:lnTo>
                    <a:pt x="253" y="345"/>
                  </a:lnTo>
                  <a:lnTo>
                    <a:pt x="246" y="347"/>
                  </a:lnTo>
                  <a:lnTo>
                    <a:pt x="247" y="350"/>
                  </a:lnTo>
                  <a:lnTo>
                    <a:pt x="252" y="351"/>
                  </a:lnTo>
                  <a:lnTo>
                    <a:pt x="252" y="354"/>
                  </a:lnTo>
                  <a:lnTo>
                    <a:pt x="250" y="355"/>
                  </a:lnTo>
                  <a:lnTo>
                    <a:pt x="246" y="354"/>
                  </a:lnTo>
                  <a:lnTo>
                    <a:pt x="242" y="348"/>
                  </a:lnTo>
                  <a:lnTo>
                    <a:pt x="239" y="351"/>
                  </a:lnTo>
                  <a:lnTo>
                    <a:pt x="235" y="355"/>
                  </a:lnTo>
                  <a:lnTo>
                    <a:pt x="230" y="360"/>
                  </a:lnTo>
                  <a:lnTo>
                    <a:pt x="227" y="360"/>
                  </a:lnTo>
                  <a:lnTo>
                    <a:pt x="222" y="357"/>
                  </a:lnTo>
                  <a:lnTo>
                    <a:pt x="216" y="352"/>
                  </a:lnTo>
                  <a:lnTo>
                    <a:pt x="209" y="357"/>
                  </a:lnTo>
                  <a:lnTo>
                    <a:pt x="199" y="365"/>
                  </a:lnTo>
                  <a:lnTo>
                    <a:pt x="194" y="373"/>
                  </a:lnTo>
                  <a:lnTo>
                    <a:pt x="183" y="375"/>
                  </a:lnTo>
                  <a:lnTo>
                    <a:pt x="176" y="377"/>
                  </a:lnTo>
                  <a:lnTo>
                    <a:pt x="170" y="374"/>
                  </a:lnTo>
                  <a:lnTo>
                    <a:pt x="169" y="371"/>
                  </a:lnTo>
                  <a:lnTo>
                    <a:pt x="169" y="365"/>
                  </a:lnTo>
                  <a:lnTo>
                    <a:pt x="167" y="361"/>
                  </a:lnTo>
                  <a:lnTo>
                    <a:pt x="160" y="360"/>
                  </a:lnTo>
                  <a:lnTo>
                    <a:pt x="157" y="363"/>
                  </a:lnTo>
                  <a:lnTo>
                    <a:pt x="157" y="367"/>
                  </a:lnTo>
                  <a:lnTo>
                    <a:pt x="157" y="370"/>
                  </a:lnTo>
                  <a:lnTo>
                    <a:pt x="153" y="371"/>
                  </a:lnTo>
                  <a:lnTo>
                    <a:pt x="150" y="370"/>
                  </a:lnTo>
                  <a:lnTo>
                    <a:pt x="146" y="367"/>
                  </a:lnTo>
                  <a:lnTo>
                    <a:pt x="144" y="371"/>
                  </a:lnTo>
                  <a:lnTo>
                    <a:pt x="141" y="371"/>
                  </a:lnTo>
                  <a:lnTo>
                    <a:pt x="139" y="370"/>
                  </a:lnTo>
                  <a:lnTo>
                    <a:pt x="137" y="365"/>
                  </a:lnTo>
                  <a:lnTo>
                    <a:pt x="137" y="363"/>
                  </a:lnTo>
                  <a:lnTo>
                    <a:pt x="133" y="358"/>
                  </a:lnTo>
                  <a:lnTo>
                    <a:pt x="118" y="360"/>
                  </a:lnTo>
                  <a:lnTo>
                    <a:pt x="113" y="360"/>
                  </a:lnTo>
                  <a:lnTo>
                    <a:pt x="110" y="363"/>
                  </a:lnTo>
                  <a:lnTo>
                    <a:pt x="108" y="370"/>
                  </a:lnTo>
                  <a:lnTo>
                    <a:pt x="106" y="371"/>
                  </a:lnTo>
                  <a:lnTo>
                    <a:pt x="103" y="367"/>
                  </a:lnTo>
                  <a:lnTo>
                    <a:pt x="101" y="367"/>
                  </a:lnTo>
                  <a:lnTo>
                    <a:pt x="98" y="371"/>
                  </a:lnTo>
                  <a:lnTo>
                    <a:pt x="98" y="374"/>
                  </a:lnTo>
                  <a:lnTo>
                    <a:pt x="97" y="377"/>
                  </a:lnTo>
                  <a:lnTo>
                    <a:pt x="94" y="378"/>
                  </a:lnTo>
                  <a:lnTo>
                    <a:pt x="91" y="377"/>
                  </a:lnTo>
                  <a:lnTo>
                    <a:pt x="91" y="374"/>
                  </a:lnTo>
                  <a:lnTo>
                    <a:pt x="91" y="374"/>
                  </a:lnTo>
                  <a:lnTo>
                    <a:pt x="98" y="350"/>
                  </a:lnTo>
                  <a:lnTo>
                    <a:pt x="98" y="350"/>
                  </a:lnTo>
                  <a:lnTo>
                    <a:pt x="101" y="340"/>
                  </a:lnTo>
                  <a:lnTo>
                    <a:pt x="104" y="332"/>
                  </a:lnTo>
                  <a:lnTo>
                    <a:pt x="108" y="327"/>
                  </a:lnTo>
                  <a:lnTo>
                    <a:pt x="118" y="322"/>
                  </a:lnTo>
                  <a:lnTo>
                    <a:pt x="118" y="322"/>
                  </a:lnTo>
                  <a:lnTo>
                    <a:pt x="123" y="321"/>
                  </a:lnTo>
                  <a:lnTo>
                    <a:pt x="126" y="318"/>
                  </a:lnTo>
                  <a:lnTo>
                    <a:pt x="129" y="317"/>
                  </a:lnTo>
                  <a:lnTo>
                    <a:pt x="129" y="314"/>
                  </a:lnTo>
                  <a:lnTo>
                    <a:pt x="130" y="308"/>
                  </a:lnTo>
                  <a:lnTo>
                    <a:pt x="130" y="299"/>
                  </a:lnTo>
                  <a:lnTo>
                    <a:pt x="137" y="294"/>
                  </a:lnTo>
                  <a:lnTo>
                    <a:pt x="137" y="294"/>
                  </a:lnTo>
                  <a:lnTo>
                    <a:pt x="137" y="278"/>
                  </a:lnTo>
                  <a:lnTo>
                    <a:pt x="136" y="269"/>
                  </a:lnTo>
                  <a:lnTo>
                    <a:pt x="133" y="262"/>
                  </a:lnTo>
                  <a:lnTo>
                    <a:pt x="133" y="262"/>
                  </a:lnTo>
                  <a:lnTo>
                    <a:pt x="124" y="259"/>
                  </a:lnTo>
                  <a:lnTo>
                    <a:pt x="121" y="258"/>
                  </a:lnTo>
                  <a:lnTo>
                    <a:pt x="118" y="255"/>
                  </a:lnTo>
                  <a:lnTo>
                    <a:pt x="118" y="251"/>
                  </a:lnTo>
                  <a:lnTo>
                    <a:pt x="118" y="251"/>
                  </a:lnTo>
                  <a:lnTo>
                    <a:pt x="123" y="249"/>
                  </a:lnTo>
                  <a:lnTo>
                    <a:pt x="124" y="248"/>
                  </a:lnTo>
                  <a:lnTo>
                    <a:pt x="126" y="245"/>
                  </a:lnTo>
                  <a:lnTo>
                    <a:pt x="127" y="241"/>
                  </a:lnTo>
                  <a:lnTo>
                    <a:pt x="127" y="241"/>
                  </a:lnTo>
                  <a:lnTo>
                    <a:pt x="120" y="234"/>
                  </a:lnTo>
                  <a:lnTo>
                    <a:pt x="111" y="226"/>
                  </a:lnTo>
                  <a:lnTo>
                    <a:pt x="103" y="221"/>
                  </a:lnTo>
                  <a:lnTo>
                    <a:pt x="93" y="216"/>
                  </a:lnTo>
                  <a:lnTo>
                    <a:pt x="93" y="216"/>
                  </a:lnTo>
                  <a:lnTo>
                    <a:pt x="88" y="215"/>
                  </a:lnTo>
                  <a:lnTo>
                    <a:pt x="84" y="211"/>
                  </a:lnTo>
                  <a:lnTo>
                    <a:pt x="77" y="202"/>
                  </a:lnTo>
                  <a:lnTo>
                    <a:pt x="73" y="192"/>
                  </a:lnTo>
                  <a:lnTo>
                    <a:pt x="71" y="182"/>
                  </a:lnTo>
                  <a:lnTo>
                    <a:pt x="71" y="182"/>
                  </a:lnTo>
                  <a:lnTo>
                    <a:pt x="68" y="162"/>
                  </a:lnTo>
                  <a:lnTo>
                    <a:pt x="61" y="158"/>
                  </a:lnTo>
                  <a:lnTo>
                    <a:pt x="48" y="173"/>
                  </a:lnTo>
                  <a:lnTo>
                    <a:pt x="17" y="173"/>
                  </a:lnTo>
                  <a:lnTo>
                    <a:pt x="1" y="159"/>
                  </a:lnTo>
                  <a:lnTo>
                    <a:pt x="2" y="14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03" name="Freeform 51"/>
            <p:cNvSpPr>
              <a:spLocks/>
            </p:cNvSpPr>
            <p:nvPr/>
          </p:nvSpPr>
          <p:spPr bwMode="auto">
            <a:xfrm>
              <a:off x="2364167" y="2712755"/>
              <a:ext cx="257661" cy="366444"/>
            </a:xfrm>
            <a:custGeom>
              <a:avLst/>
              <a:gdLst>
                <a:gd name="T0" fmla="*/ 395 w 422"/>
                <a:gd name="T1" fmla="*/ 186 h 554"/>
                <a:gd name="T2" fmla="*/ 408 w 422"/>
                <a:gd name="T3" fmla="*/ 172 h 554"/>
                <a:gd name="T4" fmla="*/ 404 w 422"/>
                <a:gd name="T5" fmla="*/ 155 h 554"/>
                <a:gd name="T6" fmla="*/ 414 w 422"/>
                <a:gd name="T7" fmla="*/ 138 h 554"/>
                <a:gd name="T8" fmla="*/ 421 w 422"/>
                <a:gd name="T9" fmla="*/ 123 h 554"/>
                <a:gd name="T10" fmla="*/ 414 w 422"/>
                <a:gd name="T11" fmla="*/ 106 h 554"/>
                <a:gd name="T12" fmla="*/ 411 w 422"/>
                <a:gd name="T13" fmla="*/ 80 h 554"/>
                <a:gd name="T14" fmla="*/ 395 w 422"/>
                <a:gd name="T15" fmla="*/ 68 h 554"/>
                <a:gd name="T16" fmla="*/ 414 w 422"/>
                <a:gd name="T17" fmla="*/ 37 h 554"/>
                <a:gd name="T18" fmla="*/ 394 w 422"/>
                <a:gd name="T19" fmla="*/ 15 h 554"/>
                <a:gd name="T20" fmla="*/ 354 w 422"/>
                <a:gd name="T21" fmla="*/ 0 h 554"/>
                <a:gd name="T22" fmla="*/ 303 w 422"/>
                <a:gd name="T23" fmla="*/ 45 h 554"/>
                <a:gd name="T24" fmla="*/ 240 w 422"/>
                <a:gd name="T25" fmla="*/ 92 h 554"/>
                <a:gd name="T26" fmla="*/ 217 w 422"/>
                <a:gd name="T27" fmla="*/ 90 h 554"/>
                <a:gd name="T28" fmla="*/ 185 w 422"/>
                <a:gd name="T29" fmla="*/ 88 h 554"/>
                <a:gd name="T30" fmla="*/ 176 w 422"/>
                <a:gd name="T31" fmla="*/ 106 h 554"/>
                <a:gd name="T32" fmla="*/ 162 w 422"/>
                <a:gd name="T33" fmla="*/ 132 h 554"/>
                <a:gd name="T34" fmla="*/ 142 w 422"/>
                <a:gd name="T35" fmla="*/ 162 h 554"/>
                <a:gd name="T36" fmla="*/ 99 w 422"/>
                <a:gd name="T37" fmla="*/ 161 h 554"/>
                <a:gd name="T38" fmla="*/ 96 w 422"/>
                <a:gd name="T39" fmla="*/ 184 h 554"/>
                <a:gd name="T40" fmla="*/ 70 w 422"/>
                <a:gd name="T41" fmla="*/ 212 h 554"/>
                <a:gd name="T42" fmla="*/ 43 w 422"/>
                <a:gd name="T43" fmla="*/ 245 h 554"/>
                <a:gd name="T44" fmla="*/ 14 w 422"/>
                <a:gd name="T45" fmla="*/ 261 h 554"/>
                <a:gd name="T46" fmla="*/ 18 w 422"/>
                <a:gd name="T47" fmla="*/ 297 h 554"/>
                <a:gd name="T48" fmla="*/ 11 w 422"/>
                <a:gd name="T49" fmla="*/ 332 h 554"/>
                <a:gd name="T50" fmla="*/ 30 w 422"/>
                <a:gd name="T51" fmla="*/ 377 h 554"/>
                <a:gd name="T52" fmla="*/ 16 w 422"/>
                <a:gd name="T53" fmla="*/ 410 h 554"/>
                <a:gd name="T54" fmla="*/ 56 w 422"/>
                <a:gd name="T55" fmla="*/ 447 h 554"/>
                <a:gd name="T56" fmla="*/ 44 w 422"/>
                <a:gd name="T57" fmla="*/ 501 h 554"/>
                <a:gd name="T58" fmla="*/ 60 w 422"/>
                <a:gd name="T59" fmla="*/ 520 h 554"/>
                <a:gd name="T60" fmla="*/ 86 w 422"/>
                <a:gd name="T61" fmla="*/ 540 h 554"/>
                <a:gd name="T62" fmla="*/ 124 w 422"/>
                <a:gd name="T63" fmla="*/ 529 h 554"/>
                <a:gd name="T64" fmla="*/ 160 w 422"/>
                <a:gd name="T65" fmla="*/ 522 h 554"/>
                <a:gd name="T66" fmla="*/ 177 w 422"/>
                <a:gd name="T67" fmla="*/ 470 h 554"/>
                <a:gd name="T68" fmla="*/ 196 w 422"/>
                <a:gd name="T69" fmla="*/ 440 h 554"/>
                <a:gd name="T70" fmla="*/ 223 w 422"/>
                <a:gd name="T71" fmla="*/ 420 h 554"/>
                <a:gd name="T72" fmla="*/ 236 w 422"/>
                <a:gd name="T73" fmla="*/ 407 h 554"/>
                <a:gd name="T74" fmla="*/ 236 w 422"/>
                <a:gd name="T75" fmla="*/ 388 h 554"/>
                <a:gd name="T76" fmla="*/ 256 w 422"/>
                <a:gd name="T77" fmla="*/ 378 h 554"/>
                <a:gd name="T78" fmla="*/ 278 w 422"/>
                <a:gd name="T79" fmla="*/ 377 h 554"/>
                <a:gd name="T80" fmla="*/ 279 w 422"/>
                <a:gd name="T81" fmla="*/ 357 h 554"/>
                <a:gd name="T82" fmla="*/ 278 w 422"/>
                <a:gd name="T83" fmla="*/ 345 h 554"/>
                <a:gd name="T84" fmla="*/ 273 w 422"/>
                <a:gd name="T85" fmla="*/ 340 h 554"/>
                <a:gd name="T86" fmla="*/ 280 w 422"/>
                <a:gd name="T87" fmla="*/ 335 h 554"/>
                <a:gd name="T88" fmla="*/ 292 w 422"/>
                <a:gd name="T89" fmla="*/ 335 h 554"/>
                <a:gd name="T90" fmla="*/ 309 w 422"/>
                <a:gd name="T91" fmla="*/ 340 h 554"/>
                <a:gd name="T92" fmla="*/ 322 w 422"/>
                <a:gd name="T93" fmla="*/ 341 h 554"/>
                <a:gd name="T94" fmla="*/ 319 w 422"/>
                <a:gd name="T95" fmla="*/ 318 h 554"/>
                <a:gd name="T96" fmla="*/ 329 w 422"/>
                <a:gd name="T97" fmla="*/ 317 h 554"/>
                <a:gd name="T98" fmla="*/ 329 w 422"/>
                <a:gd name="T99" fmla="*/ 307 h 554"/>
                <a:gd name="T100" fmla="*/ 335 w 422"/>
                <a:gd name="T101" fmla="*/ 308 h 554"/>
                <a:gd name="T102" fmla="*/ 348 w 422"/>
                <a:gd name="T103" fmla="*/ 310 h 554"/>
                <a:gd name="T104" fmla="*/ 341 w 422"/>
                <a:gd name="T105" fmla="*/ 297 h 554"/>
                <a:gd name="T106" fmla="*/ 339 w 422"/>
                <a:gd name="T107" fmla="*/ 284 h 554"/>
                <a:gd name="T108" fmla="*/ 336 w 422"/>
                <a:gd name="T109" fmla="*/ 261 h 554"/>
                <a:gd name="T110" fmla="*/ 348 w 422"/>
                <a:gd name="T111" fmla="*/ 249 h 554"/>
                <a:gd name="T112" fmla="*/ 345 w 422"/>
                <a:gd name="T113" fmla="*/ 234 h 554"/>
                <a:gd name="T114" fmla="*/ 355 w 422"/>
                <a:gd name="T115" fmla="*/ 222 h 554"/>
                <a:gd name="T116" fmla="*/ 372 w 422"/>
                <a:gd name="T117" fmla="*/ 215 h 554"/>
                <a:gd name="T118" fmla="*/ 391 w 422"/>
                <a:gd name="T119" fmla="*/ 222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2" h="554">
                  <a:moveTo>
                    <a:pt x="409" y="214"/>
                  </a:moveTo>
                  <a:lnTo>
                    <a:pt x="407" y="212"/>
                  </a:lnTo>
                  <a:lnTo>
                    <a:pt x="401" y="205"/>
                  </a:lnTo>
                  <a:lnTo>
                    <a:pt x="396" y="198"/>
                  </a:lnTo>
                  <a:lnTo>
                    <a:pt x="396" y="194"/>
                  </a:lnTo>
                  <a:lnTo>
                    <a:pt x="395" y="186"/>
                  </a:lnTo>
                  <a:lnTo>
                    <a:pt x="404" y="189"/>
                  </a:lnTo>
                  <a:lnTo>
                    <a:pt x="405" y="185"/>
                  </a:lnTo>
                  <a:lnTo>
                    <a:pt x="407" y="182"/>
                  </a:lnTo>
                  <a:lnTo>
                    <a:pt x="407" y="179"/>
                  </a:lnTo>
                  <a:lnTo>
                    <a:pt x="408" y="175"/>
                  </a:lnTo>
                  <a:lnTo>
                    <a:pt x="408" y="172"/>
                  </a:lnTo>
                  <a:lnTo>
                    <a:pt x="407" y="169"/>
                  </a:lnTo>
                  <a:lnTo>
                    <a:pt x="401" y="168"/>
                  </a:lnTo>
                  <a:lnTo>
                    <a:pt x="401" y="165"/>
                  </a:lnTo>
                  <a:lnTo>
                    <a:pt x="401" y="161"/>
                  </a:lnTo>
                  <a:lnTo>
                    <a:pt x="404" y="158"/>
                  </a:lnTo>
                  <a:lnTo>
                    <a:pt x="404" y="155"/>
                  </a:lnTo>
                  <a:lnTo>
                    <a:pt x="408" y="153"/>
                  </a:lnTo>
                  <a:lnTo>
                    <a:pt x="412" y="152"/>
                  </a:lnTo>
                  <a:lnTo>
                    <a:pt x="414" y="148"/>
                  </a:lnTo>
                  <a:lnTo>
                    <a:pt x="414" y="142"/>
                  </a:lnTo>
                  <a:lnTo>
                    <a:pt x="414" y="139"/>
                  </a:lnTo>
                  <a:lnTo>
                    <a:pt x="414" y="138"/>
                  </a:lnTo>
                  <a:lnTo>
                    <a:pt x="414" y="135"/>
                  </a:lnTo>
                  <a:lnTo>
                    <a:pt x="415" y="133"/>
                  </a:lnTo>
                  <a:lnTo>
                    <a:pt x="417" y="131"/>
                  </a:lnTo>
                  <a:lnTo>
                    <a:pt x="418" y="129"/>
                  </a:lnTo>
                  <a:lnTo>
                    <a:pt x="419" y="126"/>
                  </a:lnTo>
                  <a:lnTo>
                    <a:pt x="421" y="123"/>
                  </a:lnTo>
                  <a:lnTo>
                    <a:pt x="422" y="121"/>
                  </a:lnTo>
                  <a:lnTo>
                    <a:pt x="422" y="119"/>
                  </a:lnTo>
                  <a:lnTo>
                    <a:pt x="418" y="118"/>
                  </a:lnTo>
                  <a:lnTo>
                    <a:pt x="414" y="115"/>
                  </a:lnTo>
                  <a:lnTo>
                    <a:pt x="415" y="111"/>
                  </a:lnTo>
                  <a:lnTo>
                    <a:pt x="414" y="106"/>
                  </a:lnTo>
                  <a:lnTo>
                    <a:pt x="414" y="102"/>
                  </a:lnTo>
                  <a:lnTo>
                    <a:pt x="414" y="95"/>
                  </a:lnTo>
                  <a:lnTo>
                    <a:pt x="414" y="93"/>
                  </a:lnTo>
                  <a:lnTo>
                    <a:pt x="414" y="88"/>
                  </a:lnTo>
                  <a:lnTo>
                    <a:pt x="411" y="82"/>
                  </a:lnTo>
                  <a:lnTo>
                    <a:pt x="411" y="80"/>
                  </a:lnTo>
                  <a:lnTo>
                    <a:pt x="411" y="73"/>
                  </a:lnTo>
                  <a:lnTo>
                    <a:pt x="409" y="70"/>
                  </a:lnTo>
                  <a:lnTo>
                    <a:pt x="407" y="69"/>
                  </a:lnTo>
                  <a:lnTo>
                    <a:pt x="401" y="69"/>
                  </a:lnTo>
                  <a:lnTo>
                    <a:pt x="398" y="70"/>
                  </a:lnTo>
                  <a:lnTo>
                    <a:pt x="395" y="68"/>
                  </a:lnTo>
                  <a:lnTo>
                    <a:pt x="396" y="63"/>
                  </a:lnTo>
                  <a:lnTo>
                    <a:pt x="402" y="58"/>
                  </a:lnTo>
                  <a:lnTo>
                    <a:pt x="408" y="53"/>
                  </a:lnTo>
                  <a:lnTo>
                    <a:pt x="411" y="50"/>
                  </a:lnTo>
                  <a:lnTo>
                    <a:pt x="414" y="43"/>
                  </a:lnTo>
                  <a:lnTo>
                    <a:pt x="414" y="37"/>
                  </a:lnTo>
                  <a:lnTo>
                    <a:pt x="412" y="33"/>
                  </a:lnTo>
                  <a:lnTo>
                    <a:pt x="407" y="27"/>
                  </a:lnTo>
                  <a:lnTo>
                    <a:pt x="405" y="27"/>
                  </a:lnTo>
                  <a:lnTo>
                    <a:pt x="399" y="23"/>
                  </a:lnTo>
                  <a:lnTo>
                    <a:pt x="395" y="19"/>
                  </a:lnTo>
                  <a:lnTo>
                    <a:pt x="394" y="15"/>
                  </a:lnTo>
                  <a:lnTo>
                    <a:pt x="398" y="13"/>
                  </a:lnTo>
                  <a:lnTo>
                    <a:pt x="398" y="13"/>
                  </a:lnTo>
                  <a:lnTo>
                    <a:pt x="375" y="7"/>
                  </a:lnTo>
                  <a:lnTo>
                    <a:pt x="364" y="5"/>
                  </a:lnTo>
                  <a:lnTo>
                    <a:pt x="354" y="0"/>
                  </a:lnTo>
                  <a:lnTo>
                    <a:pt x="354" y="0"/>
                  </a:lnTo>
                  <a:lnTo>
                    <a:pt x="346" y="7"/>
                  </a:lnTo>
                  <a:lnTo>
                    <a:pt x="341" y="15"/>
                  </a:lnTo>
                  <a:lnTo>
                    <a:pt x="313" y="43"/>
                  </a:lnTo>
                  <a:lnTo>
                    <a:pt x="309" y="46"/>
                  </a:lnTo>
                  <a:lnTo>
                    <a:pt x="309" y="46"/>
                  </a:lnTo>
                  <a:lnTo>
                    <a:pt x="303" y="45"/>
                  </a:lnTo>
                  <a:lnTo>
                    <a:pt x="296" y="46"/>
                  </a:lnTo>
                  <a:lnTo>
                    <a:pt x="282" y="47"/>
                  </a:lnTo>
                  <a:lnTo>
                    <a:pt x="282" y="47"/>
                  </a:lnTo>
                  <a:lnTo>
                    <a:pt x="263" y="72"/>
                  </a:lnTo>
                  <a:lnTo>
                    <a:pt x="253" y="83"/>
                  </a:lnTo>
                  <a:lnTo>
                    <a:pt x="240" y="92"/>
                  </a:lnTo>
                  <a:lnTo>
                    <a:pt x="238" y="100"/>
                  </a:lnTo>
                  <a:lnTo>
                    <a:pt x="235" y="102"/>
                  </a:lnTo>
                  <a:lnTo>
                    <a:pt x="235" y="102"/>
                  </a:lnTo>
                  <a:lnTo>
                    <a:pt x="227" y="98"/>
                  </a:lnTo>
                  <a:lnTo>
                    <a:pt x="223" y="93"/>
                  </a:lnTo>
                  <a:lnTo>
                    <a:pt x="217" y="90"/>
                  </a:lnTo>
                  <a:lnTo>
                    <a:pt x="215" y="89"/>
                  </a:lnTo>
                  <a:lnTo>
                    <a:pt x="210" y="89"/>
                  </a:lnTo>
                  <a:lnTo>
                    <a:pt x="210" y="89"/>
                  </a:lnTo>
                  <a:lnTo>
                    <a:pt x="202" y="89"/>
                  </a:lnTo>
                  <a:lnTo>
                    <a:pt x="193" y="89"/>
                  </a:lnTo>
                  <a:lnTo>
                    <a:pt x="185" y="88"/>
                  </a:lnTo>
                  <a:lnTo>
                    <a:pt x="176" y="89"/>
                  </a:lnTo>
                  <a:lnTo>
                    <a:pt x="169" y="92"/>
                  </a:lnTo>
                  <a:lnTo>
                    <a:pt x="170" y="96"/>
                  </a:lnTo>
                  <a:lnTo>
                    <a:pt x="173" y="99"/>
                  </a:lnTo>
                  <a:lnTo>
                    <a:pt x="176" y="102"/>
                  </a:lnTo>
                  <a:lnTo>
                    <a:pt x="176" y="106"/>
                  </a:lnTo>
                  <a:lnTo>
                    <a:pt x="176" y="111"/>
                  </a:lnTo>
                  <a:lnTo>
                    <a:pt x="172" y="111"/>
                  </a:lnTo>
                  <a:lnTo>
                    <a:pt x="167" y="115"/>
                  </a:lnTo>
                  <a:lnTo>
                    <a:pt x="163" y="118"/>
                  </a:lnTo>
                  <a:lnTo>
                    <a:pt x="163" y="123"/>
                  </a:lnTo>
                  <a:lnTo>
                    <a:pt x="162" y="132"/>
                  </a:lnTo>
                  <a:lnTo>
                    <a:pt x="162" y="136"/>
                  </a:lnTo>
                  <a:lnTo>
                    <a:pt x="160" y="141"/>
                  </a:lnTo>
                  <a:lnTo>
                    <a:pt x="162" y="146"/>
                  </a:lnTo>
                  <a:lnTo>
                    <a:pt x="159" y="151"/>
                  </a:lnTo>
                  <a:lnTo>
                    <a:pt x="147" y="158"/>
                  </a:lnTo>
                  <a:lnTo>
                    <a:pt x="142" y="162"/>
                  </a:lnTo>
                  <a:lnTo>
                    <a:pt x="134" y="159"/>
                  </a:lnTo>
                  <a:lnTo>
                    <a:pt x="123" y="159"/>
                  </a:lnTo>
                  <a:lnTo>
                    <a:pt x="114" y="158"/>
                  </a:lnTo>
                  <a:lnTo>
                    <a:pt x="109" y="162"/>
                  </a:lnTo>
                  <a:lnTo>
                    <a:pt x="103" y="162"/>
                  </a:lnTo>
                  <a:lnTo>
                    <a:pt x="99" y="161"/>
                  </a:lnTo>
                  <a:lnTo>
                    <a:pt x="93" y="162"/>
                  </a:lnTo>
                  <a:lnTo>
                    <a:pt x="90" y="163"/>
                  </a:lnTo>
                  <a:lnTo>
                    <a:pt x="90" y="168"/>
                  </a:lnTo>
                  <a:lnTo>
                    <a:pt x="93" y="172"/>
                  </a:lnTo>
                  <a:lnTo>
                    <a:pt x="94" y="178"/>
                  </a:lnTo>
                  <a:lnTo>
                    <a:pt x="96" y="184"/>
                  </a:lnTo>
                  <a:lnTo>
                    <a:pt x="96" y="189"/>
                  </a:lnTo>
                  <a:lnTo>
                    <a:pt x="94" y="194"/>
                  </a:lnTo>
                  <a:lnTo>
                    <a:pt x="87" y="199"/>
                  </a:lnTo>
                  <a:lnTo>
                    <a:pt x="83" y="202"/>
                  </a:lnTo>
                  <a:lnTo>
                    <a:pt x="76" y="208"/>
                  </a:lnTo>
                  <a:lnTo>
                    <a:pt x="70" y="212"/>
                  </a:lnTo>
                  <a:lnTo>
                    <a:pt x="64" y="218"/>
                  </a:lnTo>
                  <a:lnTo>
                    <a:pt x="58" y="222"/>
                  </a:lnTo>
                  <a:lnTo>
                    <a:pt x="54" y="227"/>
                  </a:lnTo>
                  <a:lnTo>
                    <a:pt x="51" y="231"/>
                  </a:lnTo>
                  <a:lnTo>
                    <a:pt x="44" y="241"/>
                  </a:lnTo>
                  <a:lnTo>
                    <a:pt x="43" y="245"/>
                  </a:lnTo>
                  <a:lnTo>
                    <a:pt x="38" y="248"/>
                  </a:lnTo>
                  <a:lnTo>
                    <a:pt x="34" y="251"/>
                  </a:lnTo>
                  <a:lnTo>
                    <a:pt x="30" y="254"/>
                  </a:lnTo>
                  <a:lnTo>
                    <a:pt x="27" y="257"/>
                  </a:lnTo>
                  <a:lnTo>
                    <a:pt x="23" y="258"/>
                  </a:lnTo>
                  <a:lnTo>
                    <a:pt x="14" y="261"/>
                  </a:lnTo>
                  <a:lnTo>
                    <a:pt x="5" y="261"/>
                  </a:lnTo>
                  <a:lnTo>
                    <a:pt x="3" y="268"/>
                  </a:lnTo>
                  <a:lnTo>
                    <a:pt x="1" y="278"/>
                  </a:lnTo>
                  <a:lnTo>
                    <a:pt x="4" y="282"/>
                  </a:lnTo>
                  <a:lnTo>
                    <a:pt x="10" y="290"/>
                  </a:lnTo>
                  <a:lnTo>
                    <a:pt x="18" y="297"/>
                  </a:lnTo>
                  <a:lnTo>
                    <a:pt x="18" y="304"/>
                  </a:lnTo>
                  <a:lnTo>
                    <a:pt x="5" y="312"/>
                  </a:lnTo>
                  <a:lnTo>
                    <a:pt x="3" y="320"/>
                  </a:lnTo>
                  <a:lnTo>
                    <a:pt x="0" y="328"/>
                  </a:lnTo>
                  <a:lnTo>
                    <a:pt x="4" y="332"/>
                  </a:lnTo>
                  <a:lnTo>
                    <a:pt x="11" y="332"/>
                  </a:lnTo>
                  <a:lnTo>
                    <a:pt x="23" y="335"/>
                  </a:lnTo>
                  <a:lnTo>
                    <a:pt x="27" y="345"/>
                  </a:lnTo>
                  <a:lnTo>
                    <a:pt x="30" y="348"/>
                  </a:lnTo>
                  <a:lnTo>
                    <a:pt x="30" y="364"/>
                  </a:lnTo>
                  <a:lnTo>
                    <a:pt x="28" y="371"/>
                  </a:lnTo>
                  <a:lnTo>
                    <a:pt x="30" y="377"/>
                  </a:lnTo>
                  <a:lnTo>
                    <a:pt x="21" y="383"/>
                  </a:lnTo>
                  <a:lnTo>
                    <a:pt x="17" y="385"/>
                  </a:lnTo>
                  <a:lnTo>
                    <a:pt x="4" y="385"/>
                  </a:lnTo>
                  <a:lnTo>
                    <a:pt x="0" y="390"/>
                  </a:lnTo>
                  <a:lnTo>
                    <a:pt x="3" y="407"/>
                  </a:lnTo>
                  <a:lnTo>
                    <a:pt x="16" y="410"/>
                  </a:lnTo>
                  <a:lnTo>
                    <a:pt x="27" y="417"/>
                  </a:lnTo>
                  <a:lnTo>
                    <a:pt x="30" y="424"/>
                  </a:lnTo>
                  <a:lnTo>
                    <a:pt x="34" y="430"/>
                  </a:lnTo>
                  <a:lnTo>
                    <a:pt x="43" y="440"/>
                  </a:lnTo>
                  <a:lnTo>
                    <a:pt x="48" y="443"/>
                  </a:lnTo>
                  <a:lnTo>
                    <a:pt x="56" y="447"/>
                  </a:lnTo>
                  <a:lnTo>
                    <a:pt x="53" y="460"/>
                  </a:lnTo>
                  <a:lnTo>
                    <a:pt x="53" y="470"/>
                  </a:lnTo>
                  <a:lnTo>
                    <a:pt x="50" y="477"/>
                  </a:lnTo>
                  <a:lnTo>
                    <a:pt x="47" y="489"/>
                  </a:lnTo>
                  <a:lnTo>
                    <a:pt x="44" y="496"/>
                  </a:lnTo>
                  <a:lnTo>
                    <a:pt x="44" y="501"/>
                  </a:lnTo>
                  <a:lnTo>
                    <a:pt x="48" y="512"/>
                  </a:lnTo>
                  <a:lnTo>
                    <a:pt x="47" y="520"/>
                  </a:lnTo>
                  <a:lnTo>
                    <a:pt x="50" y="519"/>
                  </a:lnTo>
                  <a:lnTo>
                    <a:pt x="51" y="519"/>
                  </a:lnTo>
                  <a:lnTo>
                    <a:pt x="56" y="519"/>
                  </a:lnTo>
                  <a:lnTo>
                    <a:pt x="60" y="520"/>
                  </a:lnTo>
                  <a:lnTo>
                    <a:pt x="64" y="524"/>
                  </a:lnTo>
                  <a:lnTo>
                    <a:pt x="71" y="523"/>
                  </a:lnTo>
                  <a:lnTo>
                    <a:pt x="76" y="520"/>
                  </a:lnTo>
                  <a:lnTo>
                    <a:pt x="81" y="520"/>
                  </a:lnTo>
                  <a:lnTo>
                    <a:pt x="83" y="532"/>
                  </a:lnTo>
                  <a:lnTo>
                    <a:pt x="86" y="540"/>
                  </a:lnTo>
                  <a:lnTo>
                    <a:pt x="90" y="549"/>
                  </a:lnTo>
                  <a:lnTo>
                    <a:pt x="91" y="552"/>
                  </a:lnTo>
                  <a:lnTo>
                    <a:pt x="94" y="554"/>
                  </a:lnTo>
                  <a:lnTo>
                    <a:pt x="106" y="537"/>
                  </a:lnTo>
                  <a:lnTo>
                    <a:pt x="119" y="532"/>
                  </a:lnTo>
                  <a:lnTo>
                    <a:pt x="124" y="529"/>
                  </a:lnTo>
                  <a:lnTo>
                    <a:pt x="126" y="529"/>
                  </a:lnTo>
                  <a:lnTo>
                    <a:pt x="133" y="526"/>
                  </a:lnTo>
                  <a:lnTo>
                    <a:pt x="143" y="523"/>
                  </a:lnTo>
                  <a:lnTo>
                    <a:pt x="152" y="523"/>
                  </a:lnTo>
                  <a:lnTo>
                    <a:pt x="157" y="526"/>
                  </a:lnTo>
                  <a:lnTo>
                    <a:pt x="160" y="522"/>
                  </a:lnTo>
                  <a:lnTo>
                    <a:pt x="164" y="514"/>
                  </a:lnTo>
                  <a:lnTo>
                    <a:pt x="160" y="503"/>
                  </a:lnTo>
                  <a:lnTo>
                    <a:pt x="172" y="486"/>
                  </a:lnTo>
                  <a:lnTo>
                    <a:pt x="176" y="483"/>
                  </a:lnTo>
                  <a:lnTo>
                    <a:pt x="179" y="476"/>
                  </a:lnTo>
                  <a:lnTo>
                    <a:pt x="177" y="470"/>
                  </a:lnTo>
                  <a:lnTo>
                    <a:pt x="173" y="466"/>
                  </a:lnTo>
                  <a:lnTo>
                    <a:pt x="173" y="460"/>
                  </a:lnTo>
                  <a:lnTo>
                    <a:pt x="182" y="457"/>
                  </a:lnTo>
                  <a:lnTo>
                    <a:pt x="187" y="453"/>
                  </a:lnTo>
                  <a:lnTo>
                    <a:pt x="197" y="449"/>
                  </a:lnTo>
                  <a:lnTo>
                    <a:pt x="196" y="440"/>
                  </a:lnTo>
                  <a:lnTo>
                    <a:pt x="196" y="430"/>
                  </a:lnTo>
                  <a:lnTo>
                    <a:pt x="200" y="421"/>
                  </a:lnTo>
                  <a:lnTo>
                    <a:pt x="206" y="418"/>
                  </a:lnTo>
                  <a:lnTo>
                    <a:pt x="213" y="420"/>
                  </a:lnTo>
                  <a:lnTo>
                    <a:pt x="222" y="421"/>
                  </a:lnTo>
                  <a:lnTo>
                    <a:pt x="223" y="420"/>
                  </a:lnTo>
                  <a:lnTo>
                    <a:pt x="226" y="420"/>
                  </a:lnTo>
                  <a:lnTo>
                    <a:pt x="230" y="420"/>
                  </a:lnTo>
                  <a:lnTo>
                    <a:pt x="242" y="420"/>
                  </a:lnTo>
                  <a:lnTo>
                    <a:pt x="242" y="417"/>
                  </a:lnTo>
                  <a:lnTo>
                    <a:pt x="242" y="411"/>
                  </a:lnTo>
                  <a:lnTo>
                    <a:pt x="236" y="407"/>
                  </a:lnTo>
                  <a:lnTo>
                    <a:pt x="233" y="403"/>
                  </a:lnTo>
                  <a:lnTo>
                    <a:pt x="230" y="397"/>
                  </a:lnTo>
                  <a:lnTo>
                    <a:pt x="230" y="396"/>
                  </a:lnTo>
                  <a:lnTo>
                    <a:pt x="233" y="393"/>
                  </a:lnTo>
                  <a:lnTo>
                    <a:pt x="235" y="390"/>
                  </a:lnTo>
                  <a:lnTo>
                    <a:pt x="236" y="388"/>
                  </a:lnTo>
                  <a:lnTo>
                    <a:pt x="239" y="385"/>
                  </a:lnTo>
                  <a:lnTo>
                    <a:pt x="242" y="385"/>
                  </a:lnTo>
                  <a:lnTo>
                    <a:pt x="243" y="384"/>
                  </a:lnTo>
                  <a:lnTo>
                    <a:pt x="248" y="381"/>
                  </a:lnTo>
                  <a:lnTo>
                    <a:pt x="250" y="380"/>
                  </a:lnTo>
                  <a:lnTo>
                    <a:pt x="256" y="378"/>
                  </a:lnTo>
                  <a:lnTo>
                    <a:pt x="259" y="377"/>
                  </a:lnTo>
                  <a:lnTo>
                    <a:pt x="262" y="374"/>
                  </a:lnTo>
                  <a:lnTo>
                    <a:pt x="262" y="374"/>
                  </a:lnTo>
                  <a:lnTo>
                    <a:pt x="268" y="374"/>
                  </a:lnTo>
                  <a:lnTo>
                    <a:pt x="278" y="377"/>
                  </a:lnTo>
                  <a:lnTo>
                    <a:pt x="278" y="377"/>
                  </a:lnTo>
                  <a:lnTo>
                    <a:pt x="285" y="380"/>
                  </a:lnTo>
                  <a:lnTo>
                    <a:pt x="286" y="378"/>
                  </a:lnTo>
                  <a:lnTo>
                    <a:pt x="286" y="377"/>
                  </a:lnTo>
                  <a:lnTo>
                    <a:pt x="286" y="377"/>
                  </a:lnTo>
                  <a:lnTo>
                    <a:pt x="283" y="367"/>
                  </a:lnTo>
                  <a:lnTo>
                    <a:pt x="279" y="357"/>
                  </a:lnTo>
                  <a:lnTo>
                    <a:pt x="279" y="357"/>
                  </a:lnTo>
                  <a:lnTo>
                    <a:pt x="275" y="351"/>
                  </a:lnTo>
                  <a:lnTo>
                    <a:pt x="273" y="348"/>
                  </a:lnTo>
                  <a:lnTo>
                    <a:pt x="273" y="347"/>
                  </a:lnTo>
                  <a:lnTo>
                    <a:pt x="273" y="347"/>
                  </a:lnTo>
                  <a:lnTo>
                    <a:pt x="278" y="345"/>
                  </a:lnTo>
                  <a:lnTo>
                    <a:pt x="280" y="345"/>
                  </a:lnTo>
                  <a:lnTo>
                    <a:pt x="280" y="343"/>
                  </a:lnTo>
                  <a:lnTo>
                    <a:pt x="280" y="343"/>
                  </a:lnTo>
                  <a:lnTo>
                    <a:pt x="279" y="341"/>
                  </a:lnTo>
                  <a:lnTo>
                    <a:pt x="276" y="341"/>
                  </a:lnTo>
                  <a:lnTo>
                    <a:pt x="273" y="340"/>
                  </a:lnTo>
                  <a:lnTo>
                    <a:pt x="272" y="338"/>
                  </a:lnTo>
                  <a:lnTo>
                    <a:pt x="272" y="338"/>
                  </a:lnTo>
                  <a:lnTo>
                    <a:pt x="273" y="337"/>
                  </a:lnTo>
                  <a:lnTo>
                    <a:pt x="275" y="335"/>
                  </a:lnTo>
                  <a:lnTo>
                    <a:pt x="278" y="335"/>
                  </a:lnTo>
                  <a:lnTo>
                    <a:pt x="280" y="335"/>
                  </a:lnTo>
                  <a:lnTo>
                    <a:pt x="280" y="335"/>
                  </a:lnTo>
                  <a:lnTo>
                    <a:pt x="285" y="337"/>
                  </a:lnTo>
                  <a:lnTo>
                    <a:pt x="286" y="338"/>
                  </a:lnTo>
                  <a:lnTo>
                    <a:pt x="289" y="337"/>
                  </a:lnTo>
                  <a:lnTo>
                    <a:pt x="289" y="337"/>
                  </a:lnTo>
                  <a:lnTo>
                    <a:pt x="292" y="335"/>
                  </a:lnTo>
                  <a:lnTo>
                    <a:pt x="293" y="332"/>
                  </a:lnTo>
                  <a:lnTo>
                    <a:pt x="296" y="332"/>
                  </a:lnTo>
                  <a:lnTo>
                    <a:pt x="296" y="332"/>
                  </a:lnTo>
                  <a:lnTo>
                    <a:pt x="299" y="331"/>
                  </a:lnTo>
                  <a:lnTo>
                    <a:pt x="301" y="332"/>
                  </a:lnTo>
                  <a:lnTo>
                    <a:pt x="309" y="340"/>
                  </a:lnTo>
                  <a:lnTo>
                    <a:pt x="309" y="340"/>
                  </a:lnTo>
                  <a:lnTo>
                    <a:pt x="315" y="344"/>
                  </a:lnTo>
                  <a:lnTo>
                    <a:pt x="319" y="345"/>
                  </a:lnTo>
                  <a:lnTo>
                    <a:pt x="321" y="344"/>
                  </a:lnTo>
                  <a:lnTo>
                    <a:pt x="322" y="341"/>
                  </a:lnTo>
                  <a:lnTo>
                    <a:pt x="322" y="341"/>
                  </a:lnTo>
                  <a:lnTo>
                    <a:pt x="322" y="340"/>
                  </a:lnTo>
                  <a:lnTo>
                    <a:pt x="321" y="340"/>
                  </a:lnTo>
                  <a:lnTo>
                    <a:pt x="319" y="338"/>
                  </a:lnTo>
                  <a:lnTo>
                    <a:pt x="319" y="338"/>
                  </a:lnTo>
                  <a:lnTo>
                    <a:pt x="315" y="324"/>
                  </a:lnTo>
                  <a:lnTo>
                    <a:pt x="319" y="318"/>
                  </a:lnTo>
                  <a:lnTo>
                    <a:pt x="319" y="315"/>
                  </a:lnTo>
                  <a:lnTo>
                    <a:pt x="319" y="315"/>
                  </a:lnTo>
                  <a:lnTo>
                    <a:pt x="323" y="317"/>
                  </a:lnTo>
                  <a:lnTo>
                    <a:pt x="323" y="317"/>
                  </a:lnTo>
                  <a:lnTo>
                    <a:pt x="329" y="317"/>
                  </a:lnTo>
                  <a:lnTo>
                    <a:pt x="329" y="317"/>
                  </a:lnTo>
                  <a:lnTo>
                    <a:pt x="331" y="314"/>
                  </a:lnTo>
                  <a:lnTo>
                    <a:pt x="331" y="312"/>
                  </a:lnTo>
                  <a:lnTo>
                    <a:pt x="331" y="310"/>
                  </a:lnTo>
                  <a:lnTo>
                    <a:pt x="331" y="310"/>
                  </a:lnTo>
                  <a:lnTo>
                    <a:pt x="329" y="308"/>
                  </a:lnTo>
                  <a:lnTo>
                    <a:pt x="329" y="307"/>
                  </a:lnTo>
                  <a:lnTo>
                    <a:pt x="331" y="304"/>
                  </a:lnTo>
                  <a:lnTo>
                    <a:pt x="331" y="304"/>
                  </a:lnTo>
                  <a:lnTo>
                    <a:pt x="332" y="304"/>
                  </a:lnTo>
                  <a:lnTo>
                    <a:pt x="332" y="305"/>
                  </a:lnTo>
                  <a:lnTo>
                    <a:pt x="335" y="308"/>
                  </a:lnTo>
                  <a:lnTo>
                    <a:pt x="335" y="308"/>
                  </a:lnTo>
                  <a:lnTo>
                    <a:pt x="341" y="312"/>
                  </a:lnTo>
                  <a:lnTo>
                    <a:pt x="343" y="314"/>
                  </a:lnTo>
                  <a:lnTo>
                    <a:pt x="345" y="314"/>
                  </a:lnTo>
                  <a:lnTo>
                    <a:pt x="345" y="314"/>
                  </a:lnTo>
                  <a:lnTo>
                    <a:pt x="348" y="312"/>
                  </a:lnTo>
                  <a:lnTo>
                    <a:pt x="348" y="310"/>
                  </a:lnTo>
                  <a:lnTo>
                    <a:pt x="348" y="307"/>
                  </a:lnTo>
                  <a:lnTo>
                    <a:pt x="346" y="305"/>
                  </a:lnTo>
                  <a:lnTo>
                    <a:pt x="346" y="305"/>
                  </a:lnTo>
                  <a:lnTo>
                    <a:pt x="342" y="301"/>
                  </a:lnTo>
                  <a:lnTo>
                    <a:pt x="341" y="300"/>
                  </a:lnTo>
                  <a:lnTo>
                    <a:pt x="341" y="297"/>
                  </a:lnTo>
                  <a:lnTo>
                    <a:pt x="341" y="297"/>
                  </a:lnTo>
                  <a:lnTo>
                    <a:pt x="342" y="292"/>
                  </a:lnTo>
                  <a:lnTo>
                    <a:pt x="343" y="290"/>
                  </a:lnTo>
                  <a:lnTo>
                    <a:pt x="342" y="288"/>
                  </a:lnTo>
                  <a:lnTo>
                    <a:pt x="342" y="288"/>
                  </a:lnTo>
                  <a:lnTo>
                    <a:pt x="339" y="284"/>
                  </a:lnTo>
                  <a:lnTo>
                    <a:pt x="341" y="282"/>
                  </a:lnTo>
                  <a:lnTo>
                    <a:pt x="341" y="280"/>
                  </a:lnTo>
                  <a:lnTo>
                    <a:pt x="341" y="274"/>
                  </a:lnTo>
                  <a:lnTo>
                    <a:pt x="339" y="271"/>
                  </a:lnTo>
                  <a:lnTo>
                    <a:pt x="338" y="265"/>
                  </a:lnTo>
                  <a:lnTo>
                    <a:pt x="336" y="261"/>
                  </a:lnTo>
                  <a:lnTo>
                    <a:pt x="335" y="257"/>
                  </a:lnTo>
                  <a:lnTo>
                    <a:pt x="335" y="254"/>
                  </a:lnTo>
                  <a:lnTo>
                    <a:pt x="336" y="252"/>
                  </a:lnTo>
                  <a:lnTo>
                    <a:pt x="345" y="254"/>
                  </a:lnTo>
                  <a:lnTo>
                    <a:pt x="346" y="251"/>
                  </a:lnTo>
                  <a:lnTo>
                    <a:pt x="348" y="249"/>
                  </a:lnTo>
                  <a:lnTo>
                    <a:pt x="348" y="247"/>
                  </a:lnTo>
                  <a:lnTo>
                    <a:pt x="349" y="242"/>
                  </a:lnTo>
                  <a:lnTo>
                    <a:pt x="352" y="237"/>
                  </a:lnTo>
                  <a:lnTo>
                    <a:pt x="349" y="235"/>
                  </a:lnTo>
                  <a:lnTo>
                    <a:pt x="348" y="235"/>
                  </a:lnTo>
                  <a:lnTo>
                    <a:pt x="345" y="234"/>
                  </a:lnTo>
                  <a:lnTo>
                    <a:pt x="343" y="232"/>
                  </a:lnTo>
                  <a:lnTo>
                    <a:pt x="343" y="227"/>
                  </a:lnTo>
                  <a:lnTo>
                    <a:pt x="345" y="227"/>
                  </a:lnTo>
                  <a:lnTo>
                    <a:pt x="349" y="227"/>
                  </a:lnTo>
                  <a:lnTo>
                    <a:pt x="352" y="227"/>
                  </a:lnTo>
                  <a:lnTo>
                    <a:pt x="355" y="222"/>
                  </a:lnTo>
                  <a:lnTo>
                    <a:pt x="358" y="221"/>
                  </a:lnTo>
                  <a:lnTo>
                    <a:pt x="361" y="214"/>
                  </a:lnTo>
                  <a:lnTo>
                    <a:pt x="362" y="212"/>
                  </a:lnTo>
                  <a:lnTo>
                    <a:pt x="366" y="212"/>
                  </a:lnTo>
                  <a:lnTo>
                    <a:pt x="371" y="212"/>
                  </a:lnTo>
                  <a:lnTo>
                    <a:pt x="372" y="215"/>
                  </a:lnTo>
                  <a:lnTo>
                    <a:pt x="372" y="218"/>
                  </a:lnTo>
                  <a:lnTo>
                    <a:pt x="374" y="224"/>
                  </a:lnTo>
                  <a:lnTo>
                    <a:pt x="375" y="225"/>
                  </a:lnTo>
                  <a:lnTo>
                    <a:pt x="379" y="224"/>
                  </a:lnTo>
                  <a:lnTo>
                    <a:pt x="386" y="225"/>
                  </a:lnTo>
                  <a:lnTo>
                    <a:pt x="391" y="222"/>
                  </a:lnTo>
                  <a:lnTo>
                    <a:pt x="396" y="221"/>
                  </a:lnTo>
                  <a:lnTo>
                    <a:pt x="401" y="218"/>
                  </a:lnTo>
                  <a:lnTo>
                    <a:pt x="404" y="216"/>
                  </a:lnTo>
                  <a:lnTo>
                    <a:pt x="409" y="21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04" name="Freeform 52"/>
            <p:cNvSpPr>
              <a:spLocks noEditPoints="1"/>
            </p:cNvSpPr>
            <p:nvPr/>
          </p:nvSpPr>
          <p:spPr bwMode="auto">
            <a:xfrm>
              <a:off x="4845527" y="1983835"/>
              <a:ext cx="1168633" cy="3460717"/>
            </a:xfrm>
            <a:custGeom>
              <a:avLst/>
              <a:gdLst>
                <a:gd name="T0" fmla="*/ 645 w 1914"/>
                <a:gd name="T1" fmla="*/ 1573 h 5232"/>
                <a:gd name="T2" fmla="*/ 661 w 1914"/>
                <a:gd name="T3" fmla="*/ 1514 h 5232"/>
                <a:gd name="T4" fmla="*/ 633 w 1914"/>
                <a:gd name="T5" fmla="*/ 1454 h 5232"/>
                <a:gd name="T6" fmla="*/ 683 w 1914"/>
                <a:gd name="T7" fmla="*/ 1410 h 5232"/>
                <a:gd name="T8" fmla="*/ 804 w 1914"/>
                <a:gd name="T9" fmla="*/ 1360 h 5232"/>
                <a:gd name="T10" fmla="*/ 997 w 1914"/>
                <a:gd name="T11" fmla="*/ 1307 h 5232"/>
                <a:gd name="T12" fmla="*/ 960 w 1914"/>
                <a:gd name="T13" fmla="*/ 1277 h 5232"/>
                <a:gd name="T14" fmla="*/ 1017 w 1914"/>
                <a:gd name="T15" fmla="*/ 1274 h 5232"/>
                <a:gd name="T16" fmla="*/ 1102 w 1914"/>
                <a:gd name="T17" fmla="*/ 1315 h 5232"/>
                <a:gd name="T18" fmla="*/ 1150 w 1914"/>
                <a:gd name="T19" fmla="*/ 1291 h 5232"/>
                <a:gd name="T20" fmla="*/ 1226 w 1914"/>
                <a:gd name="T21" fmla="*/ 1294 h 5232"/>
                <a:gd name="T22" fmla="*/ 1231 w 1914"/>
                <a:gd name="T23" fmla="*/ 1231 h 5232"/>
                <a:gd name="T24" fmla="*/ 1275 w 1914"/>
                <a:gd name="T25" fmla="*/ 1163 h 5232"/>
                <a:gd name="T26" fmla="*/ 1412 w 1914"/>
                <a:gd name="T27" fmla="*/ 1012 h 5232"/>
                <a:gd name="T28" fmla="*/ 1445 w 1914"/>
                <a:gd name="T29" fmla="*/ 1113 h 5232"/>
                <a:gd name="T30" fmla="*/ 1536 w 1914"/>
                <a:gd name="T31" fmla="*/ 1133 h 5232"/>
                <a:gd name="T32" fmla="*/ 1559 w 1914"/>
                <a:gd name="T33" fmla="*/ 1162 h 5232"/>
                <a:gd name="T34" fmla="*/ 1729 w 1914"/>
                <a:gd name="T35" fmla="*/ 1192 h 5232"/>
                <a:gd name="T36" fmla="*/ 1792 w 1914"/>
                <a:gd name="T37" fmla="*/ 1264 h 5232"/>
                <a:gd name="T38" fmla="*/ 1793 w 1914"/>
                <a:gd name="T39" fmla="*/ 1311 h 5232"/>
                <a:gd name="T40" fmla="*/ 1644 w 1914"/>
                <a:gd name="T41" fmla="*/ 1640 h 5232"/>
                <a:gd name="T42" fmla="*/ 1455 w 1914"/>
                <a:gd name="T43" fmla="*/ 1875 h 5232"/>
                <a:gd name="T44" fmla="*/ 1497 w 1914"/>
                <a:gd name="T45" fmla="*/ 1845 h 5232"/>
                <a:gd name="T46" fmla="*/ 1680 w 1914"/>
                <a:gd name="T47" fmla="*/ 1722 h 5232"/>
                <a:gd name="T48" fmla="*/ 1686 w 1914"/>
                <a:gd name="T49" fmla="*/ 1645 h 5232"/>
                <a:gd name="T50" fmla="*/ 1762 w 1914"/>
                <a:gd name="T51" fmla="*/ 1765 h 5232"/>
                <a:gd name="T52" fmla="*/ 1912 w 1914"/>
                <a:gd name="T53" fmla="*/ 2063 h 5232"/>
                <a:gd name="T54" fmla="*/ 1779 w 1914"/>
                <a:gd name="T55" fmla="*/ 2270 h 5232"/>
                <a:gd name="T56" fmla="*/ 1604 w 1914"/>
                <a:gd name="T57" fmla="*/ 2806 h 5232"/>
                <a:gd name="T58" fmla="*/ 1639 w 1914"/>
                <a:gd name="T59" fmla="*/ 3174 h 5232"/>
                <a:gd name="T60" fmla="*/ 1710 w 1914"/>
                <a:gd name="T61" fmla="*/ 3405 h 5232"/>
                <a:gd name="T62" fmla="*/ 1614 w 1914"/>
                <a:gd name="T63" fmla="*/ 3852 h 5232"/>
                <a:gd name="T64" fmla="*/ 1517 w 1914"/>
                <a:gd name="T65" fmla="*/ 4056 h 5232"/>
                <a:gd name="T66" fmla="*/ 1222 w 1914"/>
                <a:gd name="T67" fmla="*/ 4254 h 5232"/>
                <a:gd name="T68" fmla="*/ 946 w 1914"/>
                <a:gd name="T69" fmla="*/ 4658 h 5232"/>
                <a:gd name="T70" fmla="*/ 715 w 1914"/>
                <a:gd name="T71" fmla="*/ 5010 h 5232"/>
                <a:gd name="T72" fmla="*/ 358 w 1914"/>
                <a:gd name="T73" fmla="*/ 5083 h 5232"/>
                <a:gd name="T74" fmla="*/ 353 w 1914"/>
                <a:gd name="T75" fmla="*/ 4678 h 5232"/>
                <a:gd name="T76" fmla="*/ 267 w 1914"/>
                <a:gd name="T77" fmla="*/ 4513 h 5232"/>
                <a:gd name="T78" fmla="*/ 262 w 1914"/>
                <a:gd name="T79" fmla="*/ 4036 h 5232"/>
                <a:gd name="T80" fmla="*/ 247 w 1914"/>
                <a:gd name="T81" fmla="*/ 3160 h 5232"/>
                <a:gd name="T82" fmla="*/ 166 w 1914"/>
                <a:gd name="T83" fmla="*/ 2507 h 5232"/>
                <a:gd name="T84" fmla="*/ 66 w 1914"/>
                <a:gd name="T85" fmla="*/ 2172 h 5232"/>
                <a:gd name="T86" fmla="*/ 270 w 1914"/>
                <a:gd name="T87" fmla="*/ 1848 h 5232"/>
                <a:gd name="T88" fmla="*/ 285 w 1914"/>
                <a:gd name="T89" fmla="*/ 2089 h 5232"/>
                <a:gd name="T90" fmla="*/ 295 w 1914"/>
                <a:gd name="T91" fmla="*/ 2182 h 5232"/>
                <a:gd name="T92" fmla="*/ 356 w 1914"/>
                <a:gd name="T93" fmla="*/ 1884 h 5232"/>
                <a:gd name="T94" fmla="*/ 311 w 1914"/>
                <a:gd name="T95" fmla="*/ 1645 h 5232"/>
                <a:gd name="T96" fmla="*/ 764 w 1914"/>
                <a:gd name="T97" fmla="*/ 95 h 5232"/>
                <a:gd name="T98" fmla="*/ 692 w 1914"/>
                <a:gd name="T99" fmla="*/ 92 h 5232"/>
                <a:gd name="T100" fmla="*/ 769 w 1914"/>
                <a:gd name="T101" fmla="*/ 1325 h 5232"/>
                <a:gd name="T102" fmla="*/ 1249 w 1914"/>
                <a:gd name="T103" fmla="*/ 1100 h 5232"/>
                <a:gd name="T104" fmla="*/ 669 w 1914"/>
                <a:gd name="T105" fmla="*/ 1447 h 5232"/>
                <a:gd name="T106" fmla="*/ 608 w 1914"/>
                <a:gd name="T107" fmla="*/ 1457 h 5232"/>
                <a:gd name="T108" fmla="*/ 589 w 1914"/>
                <a:gd name="T109" fmla="*/ 1499 h 5232"/>
                <a:gd name="T110" fmla="*/ 615 w 1914"/>
                <a:gd name="T111" fmla="*/ 1497 h 5232"/>
                <a:gd name="T112" fmla="*/ 1097 w 1914"/>
                <a:gd name="T113" fmla="*/ 1249 h 5232"/>
                <a:gd name="T114" fmla="*/ 1029 w 1914"/>
                <a:gd name="T115" fmla="*/ 1265 h 5232"/>
                <a:gd name="T116" fmla="*/ 1127 w 1914"/>
                <a:gd name="T117" fmla="*/ 1256 h 5232"/>
                <a:gd name="T118" fmla="*/ 1072 w 1914"/>
                <a:gd name="T119" fmla="*/ 1252 h 5232"/>
                <a:gd name="T120" fmla="*/ 1533 w 1914"/>
                <a:gd name="T121" fmla="*/ 1060 h 5232"/>
                <a:gd name="T122" fmla="*/ 1742 w 1914"/>
                <a:gd name="T123" fmla="*/ 1188 h 5232"/>
                <a:gd name="T124" fmla="*/ 1481 w 1914"/>
                <a:gd name="T125" fmla="*/ 1069 h 5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14" h="5232">
                  <a:moveTo>
                    <a:pt x="598" y="1600"/>
                  </a:moveTo>
                  <a:lnTo>
                    <a:pt x="603" y="1602"/>
                  </a:lnTo>
                  <a:lnTo>
                    <a:pt x="610" y="1602"/>
                  </a:lnTo>
                  <a:lnTo>
                    <a:pt x="615" y="1602"/>
                  </a:lnTo>
                  <a:lnTo>
                    <a:pt x="622" y="1603"/>
                  </a:lnTo>
                  <a:lnTo>
                    <a:pt x="626" y="1604"/>
                  </a:lnTo>
                  <a:lnTo>
                    <a:pt x="631" y="1603"/>
                  </a:lnTo>
                  <a:lnTo>
                    <a:pt x="633" y="1600"/>
                  </a:lnTo>
                  <a:lnTo>
                    <a:pt x="635" y="1599"/>
                  </a:lnTo>
                  <a:lnTo>
                    <a:pt x="639" y="1603"/>
                  </a:lnTo>
                  <a:lnTo>
                    <a:pt x="642" y="1610"/>
                  </a:lnTo>
                  <a:lnTo>
                    <a:pt x="642" y="1615"/>
                  </a:lnTo>
                  <a:lnTo>
                    <a:pt x="642" y="1617"/>
                  </a:lnTo>
                  <a:lnTo>
                    <a:pt x="639" y="1619"/>
                  </a:lnTo>
                  <a:lnTo>
                    <a:pt x="635" y="1625"/>
                  </a:lnTo>
                  <a:lnTo>
                    <a:pt x="633" y="1626"/>
                  </a:lnTo>
                  <a:lnTo>
                    <a:pt x="631" y="1629"/>
                  </a:lnTo>
                  <a:lnTo>
                    <a:pt x="626" y="1630"/>
                  </a:lnTo>
                  <a:lnTo>
                    <a:pt x="622" y="1629"/>
                  </a:lnTo>
                  <a:lnTo>
                    <a:pt x="618" y="1632"/>
                  </a:lnTo>
                  <a:lnTo>
                    <a:pt x="615" y="1635"/>
                  </a:lnTo>
                  <a:lnTo>
                    <a:pt x="612" y="1635"/>
                  </a:lnTo>
                  <a:lnTo>
                    <a:pt x="609" y="1635"/>
                  </a:lnTo>
                  <a:lnTo>
                    <a:pt x="606" y="1635"/>
                  </a:lnTo>
                  <a:lnTo>
                    <a:pt x="606" y="1636"/>
                  </a:lnTo>
                  <a:lnTo>
                    <a:pt x="603" y="1639"/>
                  </a:lnTo>
                  <a:lnTo>
                    <a:pt x="600" y="1645"/>
                  </a:lnTo>
                  <a:lnTo>
                    <a:pt x="596" y="1646"/>
                  </a:lnTo>
                  <a:lnTo>
                    <a:pt x="596" y="1646"/>
                  </a:lnTo>
                  <a:lnTo>
                    <a:pt x="592" y="1646"/>
                  </a:lnTo>
                  <a:lnTo>
                    <a:pt x="588" y="1647"/>
                  </a:lnTo>
                  <a:lnTo>
                    <a:pt x="583" y="1650"/>
                  </a:lnTo>
                  <a:lnTo>
                    <a:pt x="579" y="1655"/>
                  </a:lnTo>
                  <a:lnTo>
                    <a:pt x="580" y="1659"/>
                  </a:lnTo>
                  <a:lnTo>
                    <a:pt x="585" y="1659"/>
                  </a:lnTo>
                  <a:lnTo>
                    <a:pt x="586" y="1656"/>
                  </a:lnTo>
                  <a:lnTo>
                    <a:pt x="586" y="1656"/>
                  </a:lnTo>
                  <a:lnTo>
                    <a:pt x="589" y="1653"/>
                  </a:lnTo>
                  <a:lnTo>
                    <a:pt x="592" y="1653"/>
                  </a:lnTo>
                  <a:lnTo>
                    <a:pt x="599" y="1652"/>
                  </a:lnTo>
                  <a:lnTo>
                    <a:pt x="603" y="1650"/>
                  </a:lnTo>
                  <a:lnTo>
                    <a:pt x="606" y="1650"/>
                  </a:lnTo>
                  <a:lnTo>
                    <a:pt x="610" y="1652"/>
                  </a:lnTo>
                  <a:lnTo>
                    <a:pt x="616" y="1652"/>
                  </a:lnTo>
                  <a:lnTo>
                    <a:pt x="619" y="1650"/>
                  </a:lnTo>
                  <a:lnTo>
                    <a:pt x="623" y="1649"/>
                  </a:lnTo>
                  <a:lnTo>
                    <a:pt x="628" y="1649"/>
                  </a:lnTo>
                  <a:lnTo>
                    <a:pt x="633" y="1650"/>
                  </a:lnTo>
                  <a:lnTo>
                    <a:pt x="638" y="1649"/>
                  </a:lnTo>
                  <a:lnTo>
                    <a:pt x="641" y="1647"/>
                  </a:lnTo>
                  <a:lnTo>
                    <a:pt x="645" y="1642"/>
                  </a:lnTo>
                  <a:lnTo>
                    <a:pt x="643" y="1640"/>
                  </a:lnTo>
                  <a:lnTo>
                    <a:pt x="645" y="1636"/>
                  </a:lnTo>
                  <a:lnTo>
                    <a:pt x="645" y="1633"/>
                  </a:lnTo>
                  <a:lnTo>
                    <a:pt x="648" y="1630"/>
                  </a:lnTo>
                  <a:lnTo>
                    <a:pt x="651" y="1629"/>
                  </a:lnTo>
                  <a:lnTo>
                    <a:pt x="653" y="1626"/>
                  </a:lnTo>
                  <a:lnTo>
                    <a:pt x="653" y="1623"/>
                  </a:lnTo>
                  <a:lnTo>
                    <a:pt x="653" y="1620"/>
                  </a:lnTo>
                  <a:lnTo>
                    <a:pt x="651" y="1617"/>
                  </a:lnTo>
                  <a:lnTo>
                    <a:pt x="651" y="1616"/>
                  </a:lnTo>
                  <a:lnTo>
                    <a:pt x="648" y="1612"/>
                  </a:lnTo>
                  <a:lnTo>
                    <a:pt x="646" y="1607"/>
                  </a:lnTo>
                  <a:lnTo>
                    <a:pt x="646" y="1603"/>
                  </a:lnTo>
                  <a:lnTo>
                    <a:pt x="646" y="1594"/>
                  </a:lnTo>
                  <a:lnTo>
                    <a:pt x="645" y="1592"/>
                  </a:lnTo>
                  <a:lnTo>
                    <a:pt x="643" y="1586"/>
                  </a:lnTo>
                  <a:lnTo>
                    <a:pt x="642" y="1583"/>
                  </a:lnTo>
                  <a:lnTo>
                    <a:pt x="642" y="1580"/>
                  </a:lnTo>
                  <a:lnTo>
                    <a:pt x="643" y="1577"/>
                  </a:lnTo>
                  <a:lnTo>
                    <a:pt x="645" y="1577"/>
                  </a:lnTo>
                  <a:lnTo>
                    <a:pt x="649" y="1579"/>
                  </a:lnTo>
                  <a:lnTo>
                    <a:pt x="653" y="1580"/>
                  </a:lnTo>
                  <a:lnTo>
                    <a:pt x="655" y="1579"/>
                  </a:lnTo>
                  <a:lnTo>
                    <a:pt x="655" y="1577"/>
                  </a:lnTo>
                  <a:lnTo>
                    <a:pt x="651" y="1576"/>
                  </a:lnTo>
                  <a:lnTo>
                    <a:pt x="648" y="1574"/>
                  </a:lnTo>
                  <a:lnTo>
                    <a:pt x="645" y="1573"/>
                  </a:lnTo>
                  <a:lnTo>
                    <a:pt x="642" y="1573"/>
                  </a:lnTo>
                  <a:lnTo>
                    <a:pt x="638" y="1573"/>
                  </a:lnTo>
                  <a:lnTo>
                    <a:pt x="638" y="1573"/>
                  </a:lnTo>
                  <a:lnTo>
                    <a:pt x="636" y="1572"/>
                  </a:lnTo>
                  <a:lnTo>
                    <a:pt x="638" y="1569"/>
                  </a:lnTo>
                  <a:lnTo>
                    <a:pt x="639" y="1567"/>
                  </a:lnTo>
                  <a:lnTo>
                    <a:pt x="639" y="1566"/>
                  </a:lnTo>
                  <a:lnTo>
                    <a:pt x="633" y="1562"/>
                  </a:lnTo>
                  <a:lnTo>
                    <a:pt x="635" y="1556"/>
                  </a:lnTo>
                  <a:lnTo>
                    <a:pt x="638" y="1552"/>
                  </a:lnTo>
                  <a:lnTo>
                    <a:pt x="638" y="1547"/>
                  </a:lnTo>
                  <a:lnTo>
                    <a:pt x="638" y="1544"/>
                  </a:lnTo>
                  <a:lnTo>
                    <a:pt x="635" y="1541"/>
                  </a:lnTo>
                  <a:lnTo>
                    <a:pt x="633" y="1540"/>
                  </a:lnTo>
                  <a:lnTo>
                    <a:pt x="629" y="1540"/>
                  </a:lnTo>
                  <a:lnTo>
                    <a:pt x="626" y="1539"/>
                  </a:lnTo>
                  <a:lnTo>
                    <a:pt x="623" y="1534"/>
                  </a:lnTo>
                  <a:lnTo>
                    <a:pt x="620" y="1533"/>
                  </a:lnTo>
                  <a:lnTo>
                    <a:pt x="616" y="1531"/>
                  </a:lnTo>
                  <a:lnTo>
                    <a:pt x="610" y="1531"/>
                  </a:lnTo>
                  <a:lnTo>
                    <a:pt x="608" y="1530"/>
                  </a:lnTo>
                  <a:lnTo>
                    <a:pt x="605" y="1526"/>
                  </a:lnTo>
                  <a:lnTo>
                    <a:pt x="603" y="1521"/>
                  </a:lnTo>
                  <a:lnTo>
                    <a:pt x="605" y="1516"/>
                  </a:lnTo>
                  <a:lnTo>
                    <a:pt x="606" y="1513"/>
                  </a:lnTo>
                  <a:lnTo>
                    <a:pt x="609" y="1510"/>
                  </a:lnTo>
                  <a:lnTo>
                    <a:pt x="613" y="1511"/>
                  </a:lnTo>
                  <a:lnTo>
                    <a:pt x="618" y="1513"/>
                  </a:lnTo>
                  <a:lnTo>
                    <a:pt x="619" y="1517"/>
                  </a:lnTo>
                  <a:lnTo>
                    <a:pt x="620" y="1523"/>
                  </a:lnTo>
                  <a:lnTo>
                    <a:pt x="620" y="1524"/>
                  </a:lnTo>
                  <a:lnTo>
                    <a:pt x="622" y="1526"/>
                  </a:lnTo>
                  <a:lnTo>
                    <a:pt x="622" y="1521"/>
                  </a:lnTo>
                  <a:lnTo>
                    <a:pt x="622" y="1514"/>
                  </a:lnTo>
                  <a:lnTo>
                    <a:pt x="620" y="1511"/>
                  </a:lnTo>
                  <a:lnTo>
                    <a:pt x="615" y="1509"/>
                  </a:lnTo>
                  <a:lnTo>
                    <a:pt x="615" y="1507"/>
                  </a:lnTo>
                  <a:lnTo>
                    <a:pt x="615" y="1506"/>
                  </a:lnTo>
                  <a:lnTo>
                    <a:pt x="618" y="1504"/>
                  </a:lnTo>
                  <a:lnTo>
                    <a:pt x="620" y="1506"/>
                  </a:lnTo>
                  <a:lnTo>
                    <a:pt x="622" y="1506"/>
                  </a:lnTo>
                  <a:lnTo>
                    <a:pt x="623" y="1507"/>
                  </a:lnTo>
                  <a:lnTo>
                    <a:pt x="625" y="1507"/>
                  </a:lnTo>
                  <a:lnTo>
                    <a:pt x="625" y="1506"/>
                  </a:lnTo>
                  <a:lnTo>
                    <a:pt x="626" y="1503"/>
                  </a:lnTo>
                  <a:lnTo>
                    <a:pt x="631" y="1501"/>
                  </a:lnTo>
                  <a:lnTo>
                    <a:pt x="635" y="1501"/>
                  </a:lnTo>
                  <a:lnTo>
                    <a:pt x="641" y="1507"/>
                  </a:lnTo>
                  <a:lnTo>
                    <a:pt x="642" y="1509"/>
                  </a:lnTo>
                  <a:lnTo>
                    <a:pt x="641" y="1511"/>
                  </a:lnTo>
                  <a:lnTo>
                    <a:pt x="639" y="1513"/>
                  </a:lnTo>
                  <a:lnTo>
                    <a:pt x="638" y="1514"/>
                  </a:lnTo>
                  <a:lnTo>
                    <a:pt x="638" y="1514"/>
                  </a:lnTo>
                  <a:lnTo>
                    <a:pt x="639" y="1516"/>
                  </a:lnTo>
                  <a:lnTo>
                    <a:pt x="648" y="1517"/>
                  </a:lnTo>
                  <a:lnTo>
                    <a:pt x="651" y="1517"/>
                  </a:lnTo>
                  <a:lnTo>
                    <a:pt x="651" y="1520"/>
                  </a:lnTo>
                  <a:lnTo>
                    <a:pt x="651" y="1521"/>
                  </a:lnTo>
                  <a:lnTo>
                    <a:pt x="648" y="1526"/>
                  </a:lnTo>
                  <a:lnTo>
                    <a:pt x="642" y="1529"/>
                  </a:lnTo>
                  <a:lnTo>
                    <a:pt x="641" y="1531"/>
                  </a:lnTo>
                  <a:lnTo>
                    <a:pt x="642" y="1533"/>
                  </a:lnTo>
                  <a:lnTo>
                    <a:pt x="643" y="1533"/>
                  </a:lnTo>
                  <a:lnTo>
                    <a:pt x="646" y="1531"/>
                  </a:lnTo>
                  <a:lnTo>
                    <a:pt x="648" y="1529"/>
                  </a:lnTo>
                  <a:lnTo>
                    <a:pt x="651" y="1529"/>
                  </a:lnTo>
                  <a:lnTo>
                    <a:pt x="652" y="1530"/>
                  </a:lnTo>
                  <a:lnTo>
                    <a:pt x="652" y="1534"/>
                  </a:lnTo>
                  <a:lnTo>
                    <a:pt x="652" y="1537"/>
                  </a:lnTo>
                  <a:lnTo>
                    <a:pt x="653" y="1539"/>
                  </a:lnTo>
                  <a:lnTo>
                    <a:pt x="655" y="1539"/>
                  </a:lnTo>
                  <a:lnTo>
                    <a:pt x="655" y="1533"/>
                  </a:lnTo>
                  <a:lnTo>
                    <a:pt x="656" y="1526"/>
                  </a:lnTo>
                  <a:lnTo>
                    <a:pt x="656" y="1521"/>
                  </a:lnTo>
                  <a:lnTo>
                    <a:pt x="658" y="1521"/>
                  </a:lnTo>
                  <a:lnTo>
                    <a:pt x="658" y="1517"/>
                  </a:lnTo>
                  <a:lnTo>
                    <a:pt x="658" y="1514"/>
                  </a:lnTo>
                  <a:lnTo>
                    <a:pt x="661" y="1514"/>
                  </a:lnTo>
                  <a:lnTo>
                    <a:pt x="663" y="1513"/>
                  </a:lnTo>
                  <a:lnTo>
                    <a:pt x="663" y="1511"/>
                  </a:lnTo>
                  <a:lnTo>
                    <a:pt x="662" y="1511"/>
                  </a:lnTo>
                  <a:lnTo>
                    <a:pt x="658" y="1513"/>
                  </a:lnTo>
                  <a:lnTo>
                    <a:pt x="655" y="1513"/>
                  </a:lnTo>
                  <a:lnTo>
                    <a:pt x="649" y="1513"/>
                  </a:lnTo>
                  <a:lnTo>
                    <a:pt x="648" y="1513"/>
                  </a:lnTo>
                  <a:lnTo>
                    <a:pt x="645" y="1510"/>
                  </a:lnTo>
                  <a:lnTo>
                    <a:pt x="643" y="1507"/>
                  </a:lnTo>
                  <a:lnTo>
                    <a:pt x="643" y="1504"/>
                  </a:lnTo>
                  <a:lnTo>
                    <a:pt x="646" y="1504"/>
                  </a:lnTo>
                  <a:lnTo>
                    <a:pt x="648" y="1504"/>
                  </a:lnTo>
                  <a:lnTo>
                    <a:pt x="648" y="1503"/>
                  </a:lnTo>
                  <a:lnTo>
                    <a:pt x="643" y="1497"/>
                  </a:lnTo>
                  <a:lnTo>
                    <a:pt x="641" y="1497"/>
                  </a:lnTo>
                  <a:lnTo>
                    <a:pt x="639" y="1497"/>
                  </a:lnTo>
                  <a:lnTo>
                    <a:pt x="639" y="1496"/>
                  </a:lnTo>
                  <a:lnTo>
                    <a:pt x="641" y="1493"/>
                  </a:lnTo>
                  <a:lnTo>
                    <a:pt x="643" y="1493"/>
                  </a:lnTo>
                  <a:lnTo>
                    <a:pt x="651" y="1494"/>
                  </a:lnTo>
                  <a:lnTo>
                    <a:pt x="655" y="1494"/>
                  </a:lnTo>
                  <a:lnTo>
                    <a:pt x="656" y="1493"/>
                  </a:lnTo>
                  <a:lnTo>
                    <a:pt x="656" y="1491"/>
                  </a:lnTo>
                  <a:lnTo>
                    <a:pt x="653" y="1491"/>
                  </a:lnTo>
                  <a:lnTo>
                    <a:pt x="646" y="1490"/>
                  </a:lnTo>
                  <a:lnTo>
                    <a:pt x="639" y="1488"/>
                  </a:lnTo>
                  <a:lnTo>
                    <a:pt x="636" y="1486"/>
                  </a:lnTo>
                  <a:lnTo>
                    <a:pt x="636" y="1484"/>
                  </a:lnTo>
                  <a:lnTo>
                    <a:pt x="636" y="1481"/>
                  </a:lnTo>
                  <a:lnTo>
                    <a:pt x="635" y="1480"/>
                  </a:lnTo>
                  <a:lnTo>
                    <a:pt x="632" y="1480"/>
                  </a:lnTo>
                  <a:lnTo>
                    <a:pt x="629" y="1478"/>
                  </a:lnTo>
                  <a:lnTo>
                    <a:pt x="626" y="1477"/>
                  </a:lnTo>
                  <a:lnTo>
                    <a:pt x="625" y="1474"/>
                  </a:lnTo>
                  <a:lnTo>
                    <a:pt x="623" y="1474"/>
                  </a:lnTo>
                  <a:lnTo>
                    <a:pt x="622" y="1474"/>
                  </a:lnTo>
                  <a:lnTo>
                    <a:pt x="620" y="1473"/>
                  </a:lnTo>
                  <a:lnTo>
                    <a:pt x="618" y="1473"/>
                  </a:lnTo>
                  <a:lnTo>
                    <a:pt x="616" y="1473"/>
                  </a:lnTo>
                  <a:lnTo>
                    <a:pt x="615" y="1473"/>
                  </a:lnTo>
                  <a:lnTo>
                    <a:pt x="613" y="1473"/>
                  </a:lnTo>
                  <a:lnTo>
                    <a:pt x="612" y="1470"/>
                  </a:lnTo>
                  <a:lnTo>
                    <a:pt x="609" y="1467"/>
                  </a:lnTo>
                  <a:lnTo>
                    <a:pt x="608" y="1466"/>
                  </a:lnTo>
                  <a:lnTo>
                    <a:pt x="608" y="1464"/>
                  </a:lnTo>
                  <a:lnTo>
                    <a:pt x="610" y="1463"/>
                  </a:lnTo>
                  <a:lnTo>
                    <a:pt x="613" y="1464"/>
                  </a:lnTo>
                  <a:lnTo>
                    <a:pt x="615" y="1461"/>
                  </a:lnTo>
                  <a:lnTo>
                    <a:pt x="615" y="1461"/>
                  </a:lnTo>
                  <a:lnTo>
                    <a:pt x="613" y="1457"/>
                  </a:lnTo>
                  <a:lnTo>
                    <a:pt x="613" y="1454"/>
                  </a:lnTo>
                  <a:lnTo>
                    <a:pt x="616" y="1453"/>
                  </a:lnTo>
                  <a:lnTo>
                    <a:pt x="619" y="1454"/>
                  </a:lnTo>
                  <a:lnTo>
                    <a:pt x="622" y="1456"/>
                  </a:lnTo>
                  <a:lnTo>
                    <a:pt x="625" y="1456"/>
                  </a:lnTo>
                  <a:lnTo>
                    <a:pt x="626" y="1456"/>
                  </a:lnTo>
                  <a:lnTo>
                    <a:pt x="628" y="1453"/>
                  </a:lnTo>
                  <a:lnTo>
                    <a:pt x="629" y="1450"/>
                  </a:lnTo>
                  <a:lnTo>
                    <a:pt x="629" y="1450"/>
                  </a:lnTo>
                  <a:lnTo>
                    <a:pt x="628" y="1447"/>
                  </a:lnTo>
                  <a:lnTo>
                    <a:pt x="625" y="1446"/>
                  </a:lnTo>
                  <a:lnTo>
                    <a:pt x="626" y="1441"/>
                  </a:lnTo>
                  <a:lnTo>
                    <a:pt x="626" y="1440"/>
                  </a:lnTo>
                  <a:lnTo>
                    <a:pt x="629" y="1440"/>
                  </a:lnTo>
                  <a:lnTo>
                    <a:pt x="631" y="1441"/>
                  </a:lnTo>
                  <a:lnTo>
                    <a:pt x="631" y="1444"/>
                  </a:lnTo>
                  <a:lnTo>
                    <a:pt x="631" y="1446"/>
                  </a:lnTo>
                  <a:lnTo>
                    <a:pt x="632" y="1447"/>
                  </a:lnTo>
                  <a:lnTo>
                    <a:pt x="636" y="1447"/>
                  </a:lnTo>
                  <a:lnTo>
                    <a:pt x="638" y="1450"/>
                  </a:lnTo>
                  <a:lnTo>
                    <a:pt x="638" y="1453"/>
                  </a:lnTo>
                  <a:lnTo>
                    <a:pt x="638" y="1454"/>
                  </a:lnTo>
                  <a:lnTo>
                    <a:pt x="636" y="1454"/>
                  </a:lnTo>
                  <a:lnTo>
                    <a:pt x="635" y="1453"/>
                  </a:lnTo>
                  <a:lnTo>
                    <a:pt x="635" y="1451"/>
                  </a:lnTo>
                  <a:lnTo>
                    <a:pt x="633" y="1451"/>
                  </a:lnTo>
                  <a:lnTo>
                    <a:pt x="633" y="1453"/>
                  </a:lnTo>
                  <a:lnTo>
                    <a:pt x="633" y="1454"/>
                  </a:lnTo>
                  <a:lnTo>
                    <a:pt x="635" y="1457"/>
                  </a:lnTo>
                  <a:lnTo>
                    <a:pt x="635" y="1461"/>
                  </a:lnTo>
                  <a:lnTo>
                    <a:pt x="635" y="1464"/>
                  </a:lnTo>
                  <a:lnTo>
                    <a:pt x="635" y="1466"/>
                  </a:lnTo>
                  <a:lnTo>
                    <a:pt x="636" y="1466"/>
                  </a:lnTo>
                  <a:lnTo>
                    <a:pt x="639" y="1463"/>
                  </a:lnTo>
                  <a:lnTo>
                    <a:pt x="641" y="1460"/>
                  </a:lnTo>
                  <a:lnTo>
                    <a:pt x="643" y="1460"/>
                  </a:lnTo>
                  <a:lnTo>
                    <a:pt x="648" y="1463"/>
                  </a:lnTo>
                  <a:lnTo>
                    <a:pt x="649" y="1467"/>
                  </a:lnTo>
                  <a:lnTo>
                    <a:pt x="649" y="1470"/>
                  </a:lnTo>
                  <a:lnTo>
                    <a:pt x="646" y="1473"/>
                  </a:lnTo>
                  <a:lnTo>
                    <a:pt x="646" y="1474"/>
                  </a:lnTo>
                  <a:lnTo>
                    <a:pt x="648" y="1474"/>
                  </a:lnTo>
                  <a:lnTo>
                    <a:pt x="651" y="1474"/>
                  </a:lnTo>
                  <a:lnTo>
                    <a:pt x="652" y="1474"/>
                  </a:lnTo>
                  <a:lnTo>
                    <a:pt x="652" y="1476"/>
                  </a:lnTo>
                  <a:lnTo>
                    <a:pt x="652" y="1477"/>
                  </a:lnTo>
                  <a:lnTo>
                    <a:pt x="651" y="1478"/>
                  </a:lnTo>
                  <a:lnTo>
                    <a:pt x="649" y="1480"/>
                  </a:lnTo>
                  <a:lnTo>
                    <a:pt x="649" y="1481"/>
                  </a:lnTo>
                  <a:lnTo>
                    <a:pt x="652" y="1481"/>
                  </a:lnTo>
                  <a:lnTo>
                    <a:pt x="655" y="1478"/>
                  </a:lnTo>
                  <a:lnTo>
                    <a:pt x="659" y="1477"/>
                  </a:lnTo>
                  <a:lnTo>
                    <a:pt x="662" y="1476"/>
                  </a:lnTo>
                  <a:lnTo>
                    <a:pt x="662" y="1474"/>
                  </a:lnTo>
                  <a:lnTo>
                    <a:pt x="661" y="1473"/>
                  </a:lnTo>
                  <a:lnTo>
                    <a:pt x="658" y="1473"/>
                  </a:lnTo>
                  <a:lnTo>
                    <a:pt x="655" y="1471"/>
                  </a:lnTo>
                  <a:lnTo>
                    <a:pt x="653" y="1468"/>
                  </a:lnTo>
                  <a:lnTo>
                    <a:pt x="655" y="1467"/>
                  </a:lnTo>
                  <a:lnTo>
                    <a:pt x="656" y="1466"/>
                  </a:lnTo>
                  <a:lnTo>
                    <a:pt x="659" y="1466"/>
                  </a:lnTo>
                  <a:lnTo>
                    <a:pt x="658" y="1463"/>
                  </a:lnTo>
                  <a:lnTo>
                    <a:pt x="658" y="1461"/>
                  </a:lnTo>
                  <a:lnTo>
                    <a:pt x="661" y="1460"/>
                  </a:lnTo>
                  <a:lnTo>
                    <a:pt x="662" y="1460"/>
                  </a:lnTo>
                  <a:lnTo>
                    <a:pt x="665" y="1463"/>
                  </a:lnTo>
                  <a:lnTo>
                    <a:pt x="666" y="1463"/>
                  </a:lnTo>
                  <a:lnTo>
                    <a:pt x="668" y="1463"/>
                  </a:lnTo>
                  <a:lnTo>
                    <a:pt x="669" y="1461"/>
                  </a:lnTo>
                  <a:lnTo>
                    <a:pt x="671" y="1451"/>
                  </a:lnTo>
                  <a:lnTo>
                    <a:pt x="672" y="1446"/>
                  </a:lnTo>
                  <a:lnTo>
                    <a:pt x="676" y="1441"/>
                  </a:lnTo>
                  <a:lnTo>
                    <a:pt x="683" y="1438"/>
                  </a:lnTo>
                  <a:lnTo>
                    <a:pt x="685" y="1435"/>
                  </a:lnTo>
                  <a:lnTo>
                    <a:pt x="685" y="1434"/>
                  </a:lnTo>
                  <a:lnTo>
                    <a:pt x="682" y="1428"/>
                  </a:lnTo>
                  <a:lnTo>
                    <a:pt x="682" y="1424"/>
                  </a:lnTo>
                  <a:lnTo>
                    <a:pt x="682" y="1423"/>
                  </a:lnTo>
                  <a:lnTo>
                    <a:pt x="688" y="1421"/>
                  </a:lnTo>
                  <a:lnTo>
                    <a:pt x="692" y="1423"/>
                  </a:lnTo>
                  <a:lnTo>
                    <a:pt x="694" y="1425"/>
                  </a:lnTo>
                  <a:lnTo>
                    <a:pt x="694" y="1433"/>
                  </a:lnTo>
                  <a:lnTo>
                    <a:pt x="695" y="1435"/>
                  </a:lnTo>
                  <a:lnTo>
                    <a:pt x="696" y="1437"/>
                  </a:lnTo>
                  <a:lnTo>
                    <a:pt x="698" y="1437"/>
                  </a:lnTo>
                  <a:lnTo>
                    <a:pt x="698" y="1437"/>
                  </a:lnTo>
                  <a:lnTo>
                    <a:pt x="696" y="1434"/>
                  </a:lnTo>
                  <a:lnTo>
                    <a:pt x="698" y="1431"/>
                  </a:lnTo>
                  <a:lnTo>
                    <a:pt x="699" y="1430"/>
                  </a:lnTo>
                  <a:lnTo>
                    <a:pt x="702" y="1430"/>
                  </a:lnTo>
                  <a:lnTo>
                    <a:pt x="704" y="1430"/>
                  </a:lnTo>
                  <a:lnTo>
                    <a:pt x="705" y="1428"/>
                  </a:lnTo>
                  <a:lnTo>
                    <a:pt x="705" y="1425"/>
                  </a:lnTo>
                  <a:lnTo>
                    <a:pt x="706" y="1424"/>
                  </a:lnTo>
                  <a:lnTo>
                    <a:pt x="708" y="1423"/>
                  </a:lnTo>
                  <a:lnTo>
                    <a:pt x="708" y="1421"/>
                  </a:lnTo>
                  <a:lnTo>
                    <a:pt x="706" y="1420"/>
                  </a:lnTo>
                  <a:lnTo>
                    <a:pt x="704" y="1420"/>
                  </a:lnTo>
                  <a:lnTo>
                    <a:pt x="701" y="1420"/>
                  </a:lnTo>
                  <a:lnTo>
                    <a:pt x="699" y="1420"/>
                  </a:lnTo>
                  <a:lnTo>
                    <a:pt x="698" y="1418"/>
                  </a:lnTo>
                  <a:lnTo>
                    <a:pt x="695" y="1418"/>
                  </a:lnTo>
                  <a:lnTo>
                    <a:pt x="694" y="1420"/>
                  </a:lnTo>
                  <a:lnTo>
                    <a:pt x="692" y="1420"/>
                  </a:lnTo>
                  <a:lnTo>
                    <a:pt x="689" y="1417"/>
                  </a:lnTo>
                  <a:lnTo>
                    <a:pt x="683" y="1410"/>
                  </a:lnTo>
                  <a:lnTo>
                    <a:pt x="679" y="1407"/>
                  </a:lnTo>
                  <a:lnTo>
                    <a:pt x="676" y="1407"/>
                  </a:lnTo>
                  <a:lnTo>
                    <a:pt x="676" y="1408"/>
                  </a:lnTo>
                  <a:lnTo>
                    <a:pt x="675" y="1410"/>
                  </a:lnTo>
                  <a:lnTo>
                    <a:pt x="675" y="1410"/>
                  </a:lnTo>
                  <a:lnTo>
                    <a:pt x="672" y="1408"/>
                  </a:lnTo>
                  <a:lnTo>
                    <a:pt x="672" y="1405"/>
                  </a:lnTo>
                  <a:lnTo>
                    <a:pt x="673" y="1403"/>
                  </a:lnTo>
                  <a:lnTo>
                    <a:pt x="678" y="1397"/>
                  </a:lnTo>
                  <a:lnTo>
                    <a:pt x="683" y="1394"/>
                  </a:lnTo>
                  <a:lnTo>
                    <a:pt x="689" y="1395"/>
                  </a:lnTo>
                  <a:lnTo>
                    <a:pt x="698" y="1401"/>
                  </a:lnTo>
                  <a:lnTo>
                    <a:pt x="705" y="1405"/>
                  </a:lnTo>
                  <a:lnTo>
                    <a:pt x="711" y="1407"/>
                  </a:lnTo>
                  <a:lnTo>
                    <a:pt x="714" y="1408"/>
                  </a:lnTo>
                  <a:lnTo>
                    <a:pt x="715" y="1411"/>
                  </a:lnTo>
                  <a:lnTo>
                    <a:pt x="718" y="1413"/>
                  </a:lnTo>
                  <a:lnTo>
                    <a:pt x="722" y="1414"/>
                  </a:lnTo>
                  <a:lnTo>
                    <a:pt x="724" y="1414"/>
                  </a:lnTo>
                  <a:lnTo>
                    <a:pt x="724" y="1413"/>
                  </a:lnTo>
                  <a:lnTo>
                    <a:pt x="724" y="1411"/>
                  </a:lnTo>
                  <a:lnTo>
                    <a:pt x="722" y="1410"/>
                  </a:lnTo>
                  <a:lnTo>
                    <a:pt x="724" y="1408"/>
                  </a:lnTo>
                  <a:lnTo>
                    <a:pt x="725" y="1407"/>
                  </a:lnTo>
                  <a:lnTo>
                    <a:pt x="726" y="1405"/>
                  </a:lnTo>
                  <a:lnTo>
                    <a:pt x="728" y="1404"/>
                  </a:lnTo>
                  <a:lnTo>
                    <a:pt x="729" y="1405"/>
                  </a:lnTo>
                  <a:lnTo>
                    <a:pt x="731" y="1407"/>
                  </a:lnTo>
                  <a:lnTo>
                    <a:pt x="734" y="1405"/>
                  </a:lnTo>
                  <a:lnTo>
                    <a:pt x="735" y="1403"/>
                  </a:lnTo>
                  <a:lnTo>
                    <a:pt x="735" y="1401"/>
                  </a:lnTo>
                  <a:lnTo>
                    <a:pt x="735" y="1400"/>
                  </a:lnTo>
                  <a:lnTo>
                    <a:pt x="734" y="1400"/>
                  </a:lnTo>
                  <a:lnTo>
                    <a:pt x="731" y="1401"/>
                  </a:lnTo>
                  <a:lnTo>
                    <a:pt x="729" y="1403"/>
                  </a:lnTo>
                  <a:lnTo>
                    <a:pt x="728" y="1403"/>
                  </a:lnTo>
                  <a:lnTo>
                    <a:pt x="728" y="1400"/>
                  </a:lnTo>
                  <a:lnTo>
                    <a:pt x="729" y="1397"/>
                  </a:lnTo>
                  <a:lnTo>
                    <a:pt x="732" y="1395"/>
                  </a:lnTo>
                  <a:lnTo>
                    <a:pt x="735" y="1397"/>
                  </a:lnTo>
                  <a:lnTo>
                    <a:pt x="739" y="1394"/>
                  </a:lnTo>
                  <a:lnTo>
                    <a:pt x="752" y="1381"/>
                  </a:lnTo>
                  <a:lnTo>
                    <a:pt x="758" y="1375"/>
                  </a:lnTo>
                  <a:lnTo>
                    <a:pt x="761" y="1372"/>
                  </a:lnTo>
                  <a:lnTo>
                    <a:pt x="761" y="1371"/>
                  </a:lnTo>
                  <a:lnTo>
                    <a:pt x="761" y="1370"/>
                  </a:lnTo>
                  <a:lnTo>
                    <a:pt x="759" y="1370"/>
                  </a:lnTo>
                  <a:lnTo>
                    <a:pt x="759" y="1368"/>
                  </a:lnTo>
                  <a:lnTo>
                    <a:pt x="765" y="1367"/>
                  </a:lnTo>
                  <a:lnTo>
                    <a:pt x="771" y="1364"/>
                  </a:lnTo>
                  <a:lnTo>
                    <a:pt x="777" y="1362"/>
                  </a:lnTo>
                  <a:lnTo>
                    <a:pt x="779" y="1361"/>
                  </a:lnTo>
                  <a:lnTo>
                    <a:pt x="781" y="1355"/>
                  </a:lnTo>
                  <a:lnTo>
                    <a:pt x="784" y="1354"/>
                  </a:lnTo>
                  <a:lnTo>
                    <a:pt x="787" y="1354"/>
                  </a:lnTo>
                  <a:lnTo>
                    <a:pt x="792" y="1354"/>
                  </a:lnTo>
                  <a:lnTo>
                    <a:pt x="795" y="1355"/>
                  </a:lnTo>
                  <a:lnTo>
                    <a:pt x="795" y="1357"/>
                  </a:lnTo>
                  <a:lnTo>
                    <a:pt x="792" y="1357"/>
                  </a:lnTo>
                  <a:lnTo>
                    <a:pt x="788" y="1357"/>
                  </a:lnTo>
                  <a:lnTo>
                    <a:pt x="785" y="1358"/>
                  </a:lnTo>
                  <a:lnTo>
                    <a:pt x="785" y="1360"/>
                  </a:lnTo>
                  <a:lnTo>
                    <a:pt x="785" y="1361"/>
                  </a:lnTo>
                  <a:lnTo>
                    <a:pt x="787" y="1362"/>
                  </a:lnTo>
                  <a:lnTo>
                    <a:pt x="791" y="1362"/>
                  </a:lnTo>
                  <a:lnTo>
                    <a:pt x="791" y="1364"/>
                  </a:lnTo>
                  <a:lnTo>
                    <a:pt x="791" y="1365"/>
                  </a:lnTo>
                  <a:lnTo>
                    <a:pt x="789" y="1367"/>
                  </a:lnTo>
                  <a:lnTo>
                    <a:pt x="789" y="1368"/>
                  </a:lnTo>
                  <a:lnTo>
                    <a:pt x="791" y="1370"/>
                  </a:lnTo>
                  <a:lnTo>
                    <a:pt x="792" y="1368"/>
                  </a:lnTo>
                  <a:lnTo>
                    <a:pt x="795" y="1367"/>
                  </a:lnTo>
                  <a:lnTo>
                    <a:pt x="797" y="1367"/>
                  </a:lnTo>
                  <a:lnTo>
                    <a:pt x="800" y="1368"/>
                  </a:lnTo>
                  <a:lnTo>
                    <a:pt x="801" y="1368"/>
                  </a:lnTo>
                  <a:lnTo>
                    <a:pt x="802" y="1367"/>
                  </a:lnTo>
                  <a:lnTo>
                    <a:pt x="802" y="1364"/>
                  </a:lnTo>
                  <a:lnTo>
                    <a:pt x="804" y="1360"/>
                  </a:lnTo>
                  <a:lnTo>
                    <a:pt x="808" y="1358"/>
                  </a:lnTo>
                  <a:lnTo>
                    <a:pt x="812" y="1360"/>
                  </a:lnTo>
                  <a:lnTo>
                    <a:pt x="818" y="1360"/>
                  </a:lnTo>
                  <a:lnTo>
                    <a:pt x="818" y="1358"/>
                  </a:lnTo>
                  <a:lnTo>
                    <a:pt x="817" y="1357"/>
                  </a:lnTo>
                  <a:lnTo>
                    <a:pt x="814" y="1354"/>
                  </a:lnTo>
                  <a:lnTo>
                    <a:pt x="814" y="1351"/>
                  </a:lnTo>
                  <a:lnTo>
                    <a:pt x="815" y="1350"/>
                  </a:lnTo>
                  <a:lnTo>
                    <a:pt x="820" y="1350"/>
                  </a:lnTo>
                  <a:lnTo>
                    <a:pt x="825" y="1350"/>
                  </a:lnTo>
                  <a:lnTo>
                    <a:pt x="830" y="1347"/>
                  </a:lnTo>
                  <a:lnTo>
                    <a:pt x="835" y="1348"/>
                  </a:lnTo>
                  <a:lnTo>
                    <a:pt x="838" y="1348"/>
                  </a:lnTo>
                  <a:lnTo>
                    <a:pt x="844" y="1347"/>
                  </a:lnTo>
                  <a:lnTo>
                    <a:pt x="845" y="1345"/>
                  </a:lnTo>
                  <a:lnTo>
                    <a:pt x="847" y="1344"/>
                  </a:lnTo>
                  <a:lnTo>
                    <a:pt x="848" y="1342"/>
                  </a:lnTo>
                  <a:lnTo>
                    <a:pt x="852" y="1342"/>
                  </a:lnTo>
                  <a:lnTo>
                    <a:pt x="857" y="1340"/>
                  </a:lnTo>
                  <a:lnTo>
                    <a:pt x="857" y="1338"/>
                  </a:lnTo>
                  <a:lnTo>
                    <a:pt x="860" y="1340"/>
                  </a:lnTo>
                  <a:lnTo>
                    <a:pt x="858" y="1341"/>
                  </a:lnTo>
                  <a:lnTo>
                    <a:pt x="857" y="1344"/>
                  </a:lnTo>
                  <a:lnTo>
                    <a:pt x="858" y="1348"/>
                  </a:lnTo>
                  <a:lnTo>
                    <a:pt x="858" y="1350"/>
                  </a:lnTo>
                  <a:lnTo>
                    <a:pt x="860" y="1350"/>
                  </a:lnTo>
                  <a:lnTo>
                    <a:pt x="863" y="1348"/>
                  </a:lnTo>
                  <a:lnTo>
                    <a:pt x="865" y="1344"/>
                  </a:lnTo>
                  <a:lnTo>
                    <a:pt x="868" y="1341"/>
                  </a:lnTo>
                  <a:lnTo>
                    <a:pt x="870" y="1341"/>
                  </a:lnTo>
                  <a:lnTo>
                    <a:pt x="871" y="1342"/>
                  </a:lnTo>
                  <a:lnTo>
                    <a:pt x="871" y="1345"/>
                  </a:lnTo>
                  <a:lnTo>
                    <a:pt x="873" y="1347"/>
                  </a:lnTo>
                  <a:lnTo>
                    <a:pt x="875" y="1347"/>
                  </a:lnTo>
                  <a:lnTo>
                    <a:pt x="877" y="1347"/>
                  </a:lnTo>
                  <a:lnTo>
                    <a:pt x="880" y="1344"/>
                  </a:lnTo>
                  <a:lnTo>
                    <a:pt x="883" y="1344"/>
                  </a:lnTo>
                  <a:lnTo>
                    <a:pt x="884" y="1344"/>
                  </a:lnTo>
                  <a:lnTo>
                    <a:pt x="887" y="1347"/>
                  </a:lnTo>
                  <a:lnTo>
                    <a:pt x="888" y="1348"/>
                  </a:lnTo>
                  <a:lnTo>
                    <a:pt x="890" y="1348"/>
                  </a:lnTo>
                  <a:lnTo>
                    <a:pt x="888" y="1344"/>
                  </a:lnTo>
                  <a:lnTo>
                    <a:pt x="888" y="1340"/>
                  </a:lnTo>
                  <a:lnTo>
                    <a:pt x="888" y="1335"/>
                  </a:lnTo>
                  <a:lnTo>
                    <a:pt x="893" y="1334"/>
                  </a:lnTo>
                  <a:lnTo>
                    <a:pt x="895" y="1334"/>
                  </a:lnTo>
                  <a:lnTo>
                    <a:pt x="900" y="1335"/>
                  </a:lnTo>
                  <a:lnTo>
                    <a:pt x="904" y="1334"/>
                  </a:lnTo>
                  <a:lnTo>
                    <a:pt x="905" y="1335"/>
                  </a:lnTo>
                  <a:lnTo>
                    <a:pt x="907" y="1335"/>
                  </a:lnTo>
                  <a:lnTo>
                    <a:pt x="908" y="1337"/>
                  </a:lnTo>
                  <a:lnTo>
                    <a:pt x="910" y="1335"/>
                  </a:lnTo>
                  <a:lnTo>
                    <a:pt x="911" y="1334"/>
                  </a:lnTo>
                  <a:lnTo>
                    <a:pt x="914" y="1334"/>
                  </a:lnTo>
                  <a:lnTo>
                    <a:pt x="918" y="1334"/>
                  </a:lnTo>
                  <a:lnTo>
                    <a:pt x="921" y="1334"/>
                  </a:lnTo>
                  <a:lnTo>
                    <a:pt x="923" y="1334"/>
                  </a:lnTo>
                  <a:lnTo>
                    <a:pt x="926" y="1331"/>
                  </a:lnTo>
                  <a:lnTo>
                    <a:pt x="926" y="1328"/>
                  </a:lnTo>
                  <a:lnTo>
                    <a:pt x="927" y="1327"/>
                  </a:lnTo>
                  <a:lnTo>
                    <a:pt x="931" y="1330"/>
                  </a:lnTo>
                  <a:lnTo>
                    <a:pt x="933" y="1330"/>
                  </a:lnTo>
                  <a:lnTo>
                    <a:pt x="938" y="1328"/>
                  </a:lnTo>
                  <a:lnTo>
                    <a:pt x="941" y="1327"/>
                  </a:lnTo>
                  <a:lnTo>
                    <a:pt x="947" y="1327"/>
                  </a:lnTo>
                  <a:lnTo>
                    <a:pt x="953" y="1324"/>
                  </a:lnTo>
                  <a:lnTo>
                    <a:pt x="956" y="1324"/>
                  </a:lnTo>
                  <a:lnTo>
                    <a:pt x="960" y="1324"/>
                  </a:lnTo>
                  <a:lnTo>
                    <a:pt x="963" y="1324"/>
                  </a:lnTo>
                  <a:lnTo>
                    <a:pt x="969" y="1321"/>
                  </a:lnTo>
                  <a:lnTo>
                    <a:pt x="974" y="1318"/>
                  </a:lnTo>
                  <a:lnTo>
                    <a:pt x="980" y="1317"/>
                  </a:lnTo>
                  <a:lnTo>
                    <a:pt x="984" y="1317"/>
                  </a:lnTo>
                  <a:lnTo>
                    <a:pt x="986" y="1315"/>
                  </a:lnTo>
                  <a:lnTo>
                    <a:pt x="987" y="1314"/>
                  </a:lnTo>
                  <a:lnTo>
                    <a:pt x="991" y="1311"/>
                  </a:lnTo>
                  <a:lnTo>
                    <a:pt x="994" y="1309"/>
                  </a:lnTo>
                  <a:lnTo>
                    <a:pt x="997" y="1307"/>
                  </a:lnTo>
                  <a:lnTo>
                    <a:pt x="997" y="1304"/>
                  </a:lnTo>
                  <a:lnTo>
                    <a:pt x="997" y="1302"/>
                  </a:lnTo>
                  <a:lnTo>
                    <a:pt x="996" y="1305"/>
                  </a:lnTo>
                  <a:lnTo>
                    <a:pt x="993" y="1308"/>
                  </a:lnTo>
                  <a:lnTo>
                    <a:pt x="989" y="1309"/>
                  </a:lnTo>
                  <a:lnTo>
                    <a:pt x="983" y="1312"/>
                  </a:lnTo>
                  <a:lnTo>
                    <a:pt x="979" y="1315"/>
                  </a:lnTo>
                  <a:lnTo>
                    <a:pt x="976" y="1315"/>
                  </a:lnTo>
                  <a:lnTo>
                    <a:pt x="974" y="1315"/>
                  </a:lnTo>
                  <a:lnTo>
                    <a:pt x="973" y="1314"/>
                  </a:lnTo>
                  <a:lnTo>
                    <a:pt x="973" y="1309"/>
                  </a:lnTo>
                  <a:lnTo>
                    <a:pt x="974" y="1304"/>
                  </a:lnTo>
                  <a:lnTo>
                    <a:pt x="973" y="1304"/>
                  </a:lnTo>
                  <a:lnTo>
                    <a:pt x="971" y="1304"/>
                  </a:lnTo>
                  <a:lnTo>
                    <a:pt x="971" y="1308"/>
                  </a:lnTo>
                  <a:lnTo>
                    <a:pt x="971" y="1311"/>
                  </a:lnTo>
                  <a:lnTo>
                    <a:pt x="970" y="1317"/>
                  </a:lnTo>
                  <a:lnTo>
                    <a:pt x="970" y="1317"/>
                  </a:lnTo>
                  <a:lnTo>
                    <a:pt x="969" y="1317"/>
                  </a:lnTo>
                  <a:lnTo>
                    <a:pt x="967" y="1314"/>
                  </a:lnTo>
                  <a:lnTo>
                    <a:pt x="964" y="1308"/>
                  </a:lnTo>
                  <a:lnTo>
                    <a:pt x="963" y="1307"/>
                  </a:lnTo>
                  <a:lnTo>
                    <a:pt x="963" y="1302"/>
                  </a:lnTo>
                  <a:lnTo>
                    <a:pt x="964" y="1299"/>
                  </a:lnTo>
                  <a:lnTo>
                    <a:pt x="964" y="1297"/>
                  </a:lnTo>
                  <a:lnTo>
                    <a:pt x="963" y="1297"/>
                  </a:lnTo>
                  <a:lnTo>
                    <a:pt x="961" y="1297"/>
                  </a:lnTo>
                  <a:lnTo>
                    <a:pt x="961" y="1297"/>
                  </a:lnTo>
                  <a:lnTo>
                    <a:pt x="961" y="1299"/>
                  </a:lnTo>
                  <a:lnTo>
                    <a:pt x="960" y="1301"/>
                  </a:lnTo>
                  <a:lnTo>
                    <a:pt x="957" y="1301"/>
                  </a:lnTo>
                  <a:lnTo>
                    <a:pt x="957" y="1301"/>
                  </a:lnTo>
                  <a:lnTo>
                    <a:pt x="956" y="1302"/>
                  </a:lnTo>
                  <a:lnTo>
                    <a:pt x="954" y="1304"/>
                  </a:lnTo>
                  <a:lnTo>
                    <a:pt x="953" y="1302"/>
                  </a:lnTo>
                  <a:lnTo>
                    <a:pt x="951" y="1304"/>
                  </a:lnTo>
                  <a:lnTo>
                    <a:pt x="951" y="1307"/>
                  </a:lnTo>
                  <a:lnTo>
                    <a:pt x="953" y="1307"/>
                  </a:lnTo>
                  <a:lnTo>
                    <a:pt x="954" y="1308"/>
                  </a:lnTo>
                  <a:lnTo>
                    <a:pt x="956" y="1309"/>
                  </a:lnTo>
                  <a:lnTo>
                    <a:pt x="956" y="1311"/>
                  </a:lnTo>
                  <a:lnTo>
                    <a:pt x="954" y="1311"/>
                  </a:lnTo>
                  <a:lnTo>
                    <a:pt x="951" y="1311"/>
                  </a:lnTo>
                  <a:lnTo>
                    <a:pt x="948" y="1311"/>
                  </a:lnTo>
                  <a:lnTo>
                    <a:pt x="947" y="1309"/>
                  </a:lnTo>
                  <a:lnTo>
                    <a:pt x="946" y="1312"/>
                  </a:lnTo>
                  <a:lnTo>
                    <a:pt x="944" y="1311"/>
                  </a:lnTo>
                  <a:lnTo>
                    <a:pt x="944" y="1309"/>
                  </a:lnTo>
                  <a:lnTo>
                    <a:pt x="946" y="1304"/>
                  </a:lnTo>
                  <a:lnTo>
                    <a:pt x="946" y="1301"/>
                  </a:lnTo>
                  <a:lnTo>
                    <a:pt x="946" y="1298"/>
                  </a:lnTo>
                  <a:lnTo>
                    <a:pt x="946" y="1295"/>
                  </a:lnTo>
                  <a:lnTo>
                    <a:pt x="948" y="1294"/>
                  </a:lnTo>
                  <a:lnTo>
                    <a:pt x="950" y="1292"/>
                  </a:lnTo>
                  <a:lnTo>
                    <a:pt x="951" y="1289"/>
                  </a:lnTo>
                  <a:lnTo>
                    <a:pt x="950" y="1288"/>
                  </a:lnTo>
                  <a:lnTo>
                    <a:pt x="948" y="1285"/>
                  </a:lnTo>
                  <a:lnTo>
                    <a:pt x="950" y="1284"/>
                  </a:lnTo>
                  <a:lnTo>
                    <a:pt x="951" y="1284"/>
                  </a:lnTo>
                  <a:lnTo>
                    <a:pt x="953" y="1284"/>
                  </a:lnTo>
                  <a:lnTo>
                    <a:pt x="954" y="1281"/>
                  </a:lnTo>
                  <a:lnTo>
                    <a:pt x="956" y="1282"/>
                  </a:lnTo>
                  <a:lnTo>
                    <a:pt x="957" y="1284"/>
                  </a:lnTo>
                  <a:lnTo>
                    <a:pt x="956" y="1285"/>
                  </a:lnTo>
                  <a:lnTo>
                    <a:pt x="956" y="1287"/>
                  </a:lnTo>
                  <a:lnTo>
                    <a:pt x="956" y="1289"/>
                  </a:lnTo>
                  <a:lnTo>
                    <a:pt x="958" y="1291"/>
                  </a:lnTo>
                  <a:lnTo>
                    <a:pt x="961" y="1291"/>
                  </a:lnTo>
                  <a:lnTo>
                    <a:pt x="964" y="1288"/>
                  </a:lnTo>
                  <a:lnTo>
                    <a:pt x="964" y="1287"/>
                  </a:lnTo>
                  <a:lnTo>
                    <a:pt x="963" y="1285"/>
                  </a:lnTo>
                  <a:lnTo>
                    <a:pt x="963" y="1284"/>
                  </a:lnTo>
                  <a:lnTo>
                    <a:pt x="963" y="1282"/>
                  </a:lnTo>
                  <a:lnTo>
                    <a:pt x="964" y="1282"/>
                  </a:lnTo>
                  <a:lnTo>
                    <a:pt x="966" y="1281"/>
                  </a:lnTo>
                  <a:lnTo>
                    <a:pt x="964" y="1279"/>
                  </a:lnTo>
                  <a:lnTo>
                    <a:pt x="960" y="1278"/>
                  </a:lnTo>
                  <a:lnTo>
                    <a:pt x="960" y="1277"/>
                  </a:lnTo>
                  <a:lnTo>
                    <a:pt x="961" y="1275"/>
                  </a:lnTo>
                  <a:lnTo>
                    <a:pt x="964" y="1274"/>
                  </a:lnTo>
                  <a:lnTo>
                    <a:pt x="966" y="1275"/>
                  </a:lnTo>
                  <a:lnTo>
                    <a:pt x="967" y="1277"/>
                  </a:lnTo>
                  <a:lnTo>
                    <a:pt x="969" y="1277"/>
                  </a:lnTo>
                  <a:lnTo>
                    <a:pt x="970" y="1275"/>
                  </a:lnTo>
                  <a:lnTo>
                    <a:pt x="973" y="1275"/>
                  </a:lnTo>
                  <a:lnTo>
                    <a:pt x="976" y="1277"/>
                  </a:lnTo>
                  <a:lnTo>
                    <a:pt x="976" y="1278"/>
                  </a:lnTo>
                  <a:lnTo>
                    <a:pt x="974" y="1281"/>
                  </a:lnTo>
                  <a:lnTo>
                    <a:pt x="973" y="1281"/>
                  </a:lnTo>
                  <a:lnTo>
                    <a:pt x="970" y="1282"/>
                  </a:lnTo>
                  <a:lnTo>
                    <a:pt x="970" y="1282"/>
                  </a:lnTo>
                  <a:lnTo>
                    <a:pt x="969" y="1284"/>
                  </a:lnTo>
                  <a:lnTo>
                    <a:pt x="971" y="1285"/>
                  </a:lnTo>
                  <a:lnTo>
                    <a:pt x="973" y="1287"/>
                  </a:lnTo>
                  <a:lnTo>
                    <a:pt x="971" y="1288"/>
                  </a:lnTo>
                  <a:lnTo>
                    <a:pt x="970" y="1291"/>
                  </a:lnTo>
                  <a:lnTo>
                    <a:pt x="970" y="1294"/>
                  </a:lnTo>
                  <a:lnTo>
                    <a:pt x="973" y="1294"/>
                  </a:lnTo>
                  <a:lnTo>
                    <a:pt x="974" y="1291"/>
                  </a:lnTo>
                  <a:lnTo>
                    <a:pt x="976" y="1289"/>
                  </a:lnTo>
                  <a:lnTo>
                    <a:pt x="976" y="1287"/>
                  </a:lnTo>
                  <a:lnTo>
                    <a:pt x="976" y="1285"/>
                  </a:lnTo>
                  <a:lnTo>
                    <a:pt x="977" y="1285"/>
                  </a:lnTo>
                  <a:lnTo>
                    <a:pt x="979" y="1287"/>
                  </a:lnTo>
                  <a:lnTo>
                    <a:pt x="980" y="1288"/>
                  </a:lnTo>
                  <a:lnTo>
                    <a:pt x="981" y="1287"/>
                  </a:lnTo>
                  <a:lnTo>
                    <a:pt x="983" y="1284"/>
                  </a:lnTo>
                  <a:lnTo>
                    <a:pt x="983" y="1284"/>
                  </a:lnTo>
                  <a:lnTo>
                    <a:pt x="986" y="1285"/>
                  </a:lnTo>
                  <a:lnTo>
                    <a:pt x="986" y="1287"/>
                  </a:lnTo>
                  <a:lnTo>
                    <a:pt x="989" y="1287"/>
                  </a:lnTo>
                  <a:lnTo>
                    <a:pt x="990" y="1287"/>
                  </a:lnTo>
                  <a:lnTo>
                    <a:pt x="990" y="1285"/>
                  </a:lnTo>
                  <a:lnTo>
                    <a:pt x="990" y="1284"/>
                  </a:lnTo>
                  <a:lnTo>
                    <a:pt x="990" y="1282"/>
                  </a:lnTo>
                  <a:lnTo>
                    <a:pt x="990" y="1281"/>
                  </a:lnTo>
                  <a:lnTo>
                    <a:pt x="986" y="1279"/>
                  </a:lnTo>
                  <a:lnTo>
                    <a:pt x="983" y="1279"/>
                  </a:lnTo>
                  <a:lnTo>
                    <a:pt x="984" y="1277"/>
                  </a:lnTo>
                  <a:lnTo>
                    <a:pt x="984" y="1275"/>
                  </a:lnTo>
                  <a:lnTo>
                    <a:pt x="989" y="1277"/>
                  </a:lnTo>
                  <a:lnTo>
                    <a:pt x="994" y="1278"/>
                  </a:lnTo>
                  <a:lnTo>
                    <a:pt x="997" y="1278"/>
                  </a:lnTo>
                  <a:lnTo>
                    <a:pt x="999" y="1275"/>
                  </a:lnTo>
                  <a:lnTo>
                    <a:pt x="1000" y="1275"/>
                  </a:lnTo>
                  <a:lnTo>
                    <a:pt x="1001" y="1277"/>
                  </a:lnTo>
                  <a:lnTo>
                    <a:pt x="1000" y="1279"/>
                  </a:lnTo>
                  <a:lnTo>
                    <a:pt x="1003" y="1279"/>
                  </a:lnTo>
                  <a:lnTo>
                    <a:pt x="1006" y="1278"/>
                  </a:lnTo>
                  <a:lnTo>
                    <a:pt x="1010" y="1277"/>
                  </a:lnTo>
                  <a:lnTo>
                    <a:pt x="1011" y="1277"/>
                  </a:lnTo>
                  <a:lnTo>
                    <a:pt x="1013" y="1278"/>
                  </a:lnTo>
                  <a:lnTo>
                    <a:pt x="1011" y="1278"/>
                  </a:lnTo>
                  <a:lnTo>
                    <a:pt x="1010" y="1279"/>
                  </a:lnTo>
                  <a:lnTo>
                    <a:pt x="1013" y="1281"/>
                  </a:lnTo>
                  <a:lnTo>
                    <a:pt x="1014" y="1281"/>
                  </a:lnTo>
                  <a:lnTo>
                    <a:pt x="1014" y="1282"/>
                  </a:lnTo>
                  <a:lnTo>
                    <a:pt x="1014" y="1285"/>
                  </a:lnTo>
                  <a:lnTo>
                    <a:pt x="1014" y="1287"/>
                  </a:lnTo>
                  <a:lnTo>
                    <a:pt x="1016" y="1287"/>
                  </a:lnTo>
                  <a:lnTo>
                    <a:pt x="1017" y="1285"/>
                  </a:lnTo>
                  <a:lnTo>
                    <a:pt x="1020" y="1285"/>
                  </a:lnTo>
                  <a:lnTo>
                    <a:pt x="1021" y="1287"/>
                  </a:lnTo>
                  <a:lnTo>
                    <a:pt x="1023" y="1285"/>
                  </a:lnTo>
                  <a:lnTo>
                    <a:pt x="1020" y="1282"/>
                  </a:lnTo>
                  <a:lnTo>
                    <a:pt x="1020" y="1281"/>
                  </a:lnTo>
                  <a:lnTo>
                    <a:pt x="1023" y="1281"/>
                  </a:lnTo>
                  <a:lnTo>
                    <a:pt x="1026" y="1281"/>
                  </a:lnTo>
                  <a:lnTo>
                    <a:pt x="1026" y="1281"/>
                  </a:lnTo>
                  <a:lnTo>
                    <a:pt x="1027" y="1279"/>
                  </a:lnTo>
                  <a:lnTo>
                    <a:pt x="1027" y="1277"/>
                  </a:lnTo>
                  <a:lnTo>
                    <a:pt x="1024" y="1277"/>
                  </a:lnTo>
                  <a:lnTo>
                    <a:pt x="1020" y="1277"/>
                  </a:lnTo>
                  <a:lnTo>
                    <a:pt x="1017" y="1277"/>
                  </a:lnTo>
                  <a:lnTo>
                    <a:pt x="1017" y="1275"/>
                  </a:lnTo>
                  <a:lnTo>
                    <a:pt x="1017" y="1274"/>
                  </a:lnTo>
                  <a:lnTo>
                    <a:pt x="1019" y="1272"/>
                  </a:lnTo>
                  <a:lnTo>
                    <a:pt x="1027" y="1272"/>
                  </a:lnTo>
                  <a:lnTo>
                    <a:pt x="1032" y="1272"/>
                  </a:lnTo>
                  <a:lnTo>
                    <a:pt x="1033" y="1275"/>
                  </a:lnTo>
                  <a:lnTo>
                    <a:pt x="1033" y="1279"/>
                  </a:lnTo>
                  <a:lnTo>
                    <a:pt x="1034" y="1281"/>
                  </a:lnTo>
                  <a:lnTo>
                    <a:pt x="1037" y="1284"/>
                  </a:lnTo>
                  <a:lnTo>
                    <a:pt x="1037" y="1285"/>
                  </a:lnTo>
                  <a:lnTo>
                    <a:pt x="1039" y="1285"/>
                  </a:lnTo>
                  <a:lnTo>
                    <a:pt x="1042" y="1282"/>
                  </a:lnTo>
                  <a:lnTo>
                    <a:pt x="1044" y="1281"/>
                  </a:lnTo>
                  <a:lnTo>
                    <a:pt x="1046" y="1281"/>
                  </a:lnTo>
                  <a:lnTo>
                    <a:pt x="1047" y="1282"/>
                  </a:lnTo>
                  <a:lnTo>
                    <a:pt x="1049" y="1282"/>
                  </a:lnTo>
                  <a:lnTo>
                    <a:pt x="1050" y="1281"/>
                  </a:lnTo>
                  <a:lnTo>
                    <a:pt x="1050" y="1278"/>
                  </a:lnTo>
                  <a:lnTo>
                    <a:pt x="1053" y="1277"/>
                  </a:lnTo>
                  <a:lnTo>
                    <a:pt x="1053" y="1274"/>
                  </a:lnTo>
                  <a:lnTo>
                    <a:pt x="1054" y="1272"/>
                  </a:lnTo>
                  <a:lnTo>
                    <a:pt x="1056" y="1274"/>
                  </a:lnTo>
                  <a:lnTo>
                    <a:pt x="1059" y="1275"/>
                  </a:lnTo>
                  <a:lnTo>
                    <a:pt x="1072" y="1281"/>
                  </a:lnTo>
                  <a:lnTo>
                    <a:pt x="1079" y="1285"/>
                  </a:lnTo>
                  <a:lnTo>
                    <a:pt x="1085" y="1288"/>
                  </a:lnTo>
                  <a:lnTo>
                    <a:pt x="1085" y="1289"/>
                  </a:lnTo>
                  <a:lnTo>
                    <a:pt x="1085" y="1291"/>
                  </a:lnTo>
                  <a:lnTo>
                    <a:pt x="1082" y="1292"/>
                  </a:lnTo>
                  <a:lnTo>
                    <a:pt x="1077" y="1291"/>
                  </a:lnTo>
                  <a:lnTo>
                    <a:pt x="1077" y="1291"/>
                  </a:lnTo>
                  <a:lnTo>
                    <a:pt x="1077" y="1292"/>
                  </a:lnTo>
                  <a:lnTo>
                    <a:pt x="1077" y="1294"/>
                  </a:lnTo>
                  <a:lnTo>
                    <a:pt x="1079" y="1295"/>
                  </a:lnTo>
                  <a:lnTo>
                    <a:pt x="1083" y="1295"/>
                  </a:lnTo>
                  <a:lnTo>
                    <a:pt x="1083" y="1297"/>
                  </a:lnTo>
                  <a:lnTo>
                    <a:pt x="1080" y="1297"/>
                  </a:lnTo>
                  <a:lnTo>
                    <a:pt x="1077" y="1299"/>
                  </a:lnTo>
                  <a:lnTo>
                    <a:pt x="1077" y="1301"/>
                  </a:lnTo>
                  <a:lnTo>
                    <a:pt x="1077" y="1304"/>
                  </a:lnTo>
                  <a:lnTo>
                    <a:pt x="1076" y="1305"/>
                  </a:lnTo>
                  <a:lnTo>
                    <a:pt x="1074" y="1308"/>
                  </a:lnTo>
                  <a:lnTo>
                    <a:pt x="1072" y="1308"/>
                  </a:lnTo>
                  <a:lnTo>
                    <a:pt x="1069" y="1308"/>
                  </a:lnTo>
                  <a:lnTo>
                    <a:pt x="1063" y="1314"/>
                  </a:lnTo>
                  <a:lnTo>
                    <a:pt x="1063" y="1317"/>
                  </a:lnTo>
                  <a:lnTo>
                    <a:pt x="1062" y="1319"/>
                  </a:lnTo>
                  <a:lnTo>
                    <a:pt x="1057" y="1321"/>
                  </a:lnTo>
                  <a:lnTo>
                    <a:pt x="1057" y="1322"/>
                  </a:lnTo>
                  <a:lnTo>
                    <a:pt x="1059" y="1327"/>
                  </a:lnTo>
                  <a:lnTo>
                    <a:pt x="1060" y="1328"/>
                  </a:lnTo>
                  <a:lnTo>
                    <a:pt x="1062" y="1330"/>
                  </a:lnTo>
                  <a:lnTo>
                    <a:pt x="1063" y="1330"/>
                  </a:lnTo>
                  <a:lnTo>
                    <a:pt x="1064" y="1327"/>
                  </a:lnTo>
                  <a:lnTo>
                    <a:pt x="1067" y="1319"/>
                  </a:lnTo>
                  <a:lnTo>
                    <a:pt x="1072" y="1314"/>
                  </a:lnTo>
                  <a:lnTo>
                    <a:pt x="1072" y="1314"/>
                  </a:lnTo>
                  <a:lnTo>
                    <a:pt x="1076" y="1314"/>
                  </a:lnTo>
                  <a:lnTo>
                    <a:pt x="1077" y="1314"/>
                  </a:lnTo>
                  <a:lnTo>
                    <a:pt x="1079" y="1312"/>
                  </a:lnTo>
                  <a:lnTo>
                    <a:pt x="1082" y="1312"/>
                  </a:lnTo>
                  <a:lnTo>
                    <a:pt x="1083" y="1314"/>
                  </a:lnTo>
                  <a:lnTo>
                    <a:pt x="1085" y="1315"/>
                  </a:lnTo>
                  <a:lnTo>
                    <a:pt x="1089" y="1314"/>
                  </a:lnTo>
                  <a:lnTo>
                    <a:pt x="1089" y="1312"/>
                  </a:lnTo>
                  <a:lnTo>
                    <a:pt x="1089" y="1311"/>
                  </a:lnTo>
                  <a:lnTo>
                    <a:pt x="1087" y="1311"/>
                  </a:lnTo>
                  <a:lnTo>
                    <a:pt x="1089" y="1309"/>
                  </a:lnTo>
                  <a:lnTo>
                    <a:pt x="1090" y="1308"/>
                  </a:lnTo>
                  <a:lnTo>
                    <a:pt x="1093" y="1307"/>
                  </a:lnTo>
                  <a:lnTo>
                    <a:pt x="1096" y="1304"/>
                  </a:lnTo>
                  <a:lnTo>
                    <a:pt x="1097" y="1304"/>
                  </a:lnTo>
                  <a:lnTo>
                    <a:pt x="1099" y="1304"/>
                  </a:lnTo>
                  <a:lnTo>
                    <a:pt x="1097" y="1305"/>
                  </a:lnTo>
                  <a:lnTo>
                    <a:pt x="1096" y="1308"/>
                  </a:lnTo>
                  <a:lnTo>
                    <a:pt x="1096" y="1309"/>
                  </a:lnTo>
                  <a:lnTo>
                    <a:pt x="1099" y="1309"/>
                  </a:lnTo>
                  <a:lnTo>
                    <a:pt x="1102" y="1311"/>
                  </a:lnTo>
                  <a:lnTo>
                    <a:pt x="1103" y="1312"/>
                  </a:lnTo>
                  <a:lnTo>
                    <a:pt x="1102" y="1315"/>
                  </a:lnTo>
                  <a:lnTo>
                    <a:pt x="1097" y="1321"/>
                  </a:lnTo>
                  <a:lnTo>
                    <a:pt x="1096" y="1324"/>
                  </a:lnTo>
                  <a:lnTo>
                    <a:pt x="1096" y="1325"/>
                  </a:lnTo>
                  <a:lnTo>
                    <a:pt x="1097" y="1327"/>
                  </a:lnTo>
                  <a:lnTo>
                    <a:pt x="1099" y="1327"/>
                  </a:lnTo>
                  <a:lnTo>
                    <a:pt x="1100" y="1327"/>
                  </a:lnTo>
                  <a:lnTo>
                    <a:pt x="1102" y="1324"/>
                  </a:lnTo>
                  <a:lnTo>
                    <a:pt x="1105" y="1322"/>
                  </a:lnTo>
                  <a:lnTo>
                    <a:pt x="1106" y="1324"/>
                  </a:lnTo>
                  <a:lnTo>
                    <a:pt x="1109" y="1324"/>
                  </a:lnTo>
                  <a:lnTo>
                    <a:pt x="1110" y="1324"/>
                  </a:lnTo>
                  <a:lnTo>
                    <a:pt x="1112" y="1319"/>
                  </a:lnTo>
                  <a:lnTo>
                    <a:pt x="1115" y="1318"/>
                  </a:lnTo>
                  <a:lnTo>
                    <a:pt x="1116" y="1315"/>
                  </a:lnTo>
                  <a:lnTo>
                    <a:pt x="1117" y="1312"/>
                  </a:lnTo>
                  <a:lnTo>
                    <a:pt x="1123" y="1309"/>
                  </a:lnTo>
                  <a:lnTo>
                    <a:pt x="1125" y="1308"/>
                  </a:lnTo>
                  <a:lnTo>
                    <a:pt x="1125" y="1307"/>
                  </a:lnTo>
                  <a:lnTo>
                    <a:pt x="1122" y="1307"/>
                  </a:lnTo>
                  <a:lnTo>
                    <a:pt x="1116" y="1307"/>
                  </a:lnTo>
                  <a:lnTo>
                    <a:pt x="1110" y="1309"/>
                  </a:lnTo>
                  <a:lnTo>
                    <a:pt x="1106" y="1309"/>
                  </a:lnTo>
                  <a:lnTo>
                    <a:pt x="1103" y="1309"/>
                  </a:lnTo>
                  <a:lnTo>
                    <a:pt x="1103" y="1307"/>
                  </a:lnTo>
                  <a:lnTo>
                    <a:pt x="1105" y="1304"/>
                  </a:lnTo>
                  <a:lnTo>
                    <a:pt x="1113" y="1299"/>
                  </a:lnTo>
                  <a:lnTo>
                    <a:pt x="1120" y="1295"/>
                  </a:lnTo>
                  <a:lnTo>
                    <a:pt x="1122" y="1292"/>
                  </a:lnTo>
                  <a:lnTo>
                    <a:pt x="1126" y="1291"/>
                  </a:lnTo>
                  <a:lnTo>
                    <a:pt x="1129" y="1289"/>
                  </a:lnTo>
                  <a:lnTo>
                    <a:pt x="1130" y="1289"/>
                  </a:lnTo>
                  <a:lnTo>
                    <a:pt x="1130" y="1292"/>
                  </a:lnTo>
                  <a:lnTo>
                    <a:pt x="1130" y="1294"/>
                  </a:lnTo>
                  <a:lnTo>
                    <a:pt x="1125" y="1298"/>
                  </a:lnTo>
                  <a:lnTo>
                    <a:pt x="1123" y="1301"/>
                  </a:lnTo>
                  <a:lnTo>
                    <a:pt x="1123" y="1302"/>
                  </a:lnTo>
                  <a:lnTo>
                    <a:pt x="1123" y="1304"/>
                  </a:lnTo>
                  <a:lnTo>
                    <a:pt x="1125" y="1304"/>
                  </a:lnTo>
                  <a:lnTo>
                    <a:pt x="1127" y="1304"/>
                  </a:lnTo>
                  <a:lnTo>
                    <a:pt x="1130" y="1302"/>
                  </a:lnTo>
                  <a:lnTo>
                    <a:pt x="1130" y="1304"/>
                  </a:lnTo>
                  <a:lnTo>
                    <a:pt x="1130" y="1305"/>
                  </a:lnTo>
                  <a:lnTo>
                    <a:pt x="1130" y="1307"/>
                  </a:lnTo>
                  <a:lnTo>
                    <a:pt x="1127" y="1309"/>
                  </a:lnTo>
                  <a:lnTo>
                    <a:pt x="1126" y="1309"/>
                  </a:lnTo>
                  <a:lnTo>
                    <a:pt x="1126" y="1311"/>
                  </a:lnTo>
                  <a:lnTo>
                    <a:pt x="1126" y="1312"/>
                  </a:lnTo>
                  <a:lnTo>
                    <a:pt x="1126" y="1314"/>
                  </a:lnTo>
                  <a:lnTo>
                    <a:pt x="1123" y="1318"/>
                  </a:lnTo>
                  <a:lnTo>
                    <a:pt x="1123" y="1319"/>
                  </a:lnTo>
                  <a:lnTo>
                    <a:pt x="1125" y="1319"/>
                  </a:lnTo>
                  <a:lnTo>
                    <a:pt x="1127" y="1319"/>
                  </a:lnTo>
                  <a:lnTo>
                    <a:pt x="1129" y="1317"/>
                  </a:lnTo>
                  <a:lnTo>
                    <a:pt x="1130" y="1314"/>
                  </a:lnTo>
                  <a:lnTo>
                    <a:pt x="1130" y="1312"/>
                  </a:lnTo>
                  <a:lnTo>
                    <a:pt x="1133" y="1311"/>
                  </a:lnTo>
                  <a:lnTo>
                    <a:pt x="1138" y="1309"/>
                  </a:lnTo>
                  <a:lnTo>
                    <a:pt x="1140" y="1309"/>
                  </a:lnTo>
                  <a:lnTo>
                    <a:pt x="1143" y="1311"/>
                  </a:lnTo>
                  <a:lnTo>
                    <a:pt x="1145" y="1312"/>
                  </a:lnTo>
                  <a:lnTo>
                    <a:pt x="1149" y="1312"/>
                  </a:lnTo>
                  <a:lnTo>
                    <a:pt x="1150" y="1312"/>
                  </a:lnTo>
                  <a:lnTo>
                    <a:pt x="1152" y="1311"/>
                  </a:lnTo>
                  <a:lnTo>
                    <a:pt x="1152" y="1309"/>
                  </a:lnTo>
                  <a:lnTo>
                    <a:pt x="1149" y="1308"/>
                  </a:lnTo>
                  <a:lnTo>
                    <a:pt x="1148" y="1307"/>
                  </a:lnTo>
                  <a:lnTo>
                    <a:pt x="1148" y="1304"/>
                  </a:lnTo>
                  <a:lnTo>
                    <a:pt x="1148" y="1302"/>
                  </a:lnTo>
                  <a:lnTo>
                    <a:pt x="1148" y="1302"/>
                  </a:lnTo>
                  <a:lnTo>
                    <a:pt x="1145" y="1302"/>
                  </a:lnTo>
                  <a:lnTo>
                    <a:pt x="1142" y="1302"/>
                  </a:lnTo>
                  <a:lnTo>
                    <a:pt x="1139" y="1301"/>
                  </a:lnTo>
                  <a:lnTo>
                    <a:pt x="1139" y="1299"/>
                  </a:lnTo>
                  <a:lnTo>
                    <a:pt x="1139" y="1298"/>
                  </a:lnTo>
                  <a:lnTo>
                    <a:pt x="1140" y="1298"/>
                  </a:lnTo>
                  <a:lnTo>
                    <a:pt x="1145" y="1297"/>
                  </a:lnTo>
                  <a:lnTo>
                    <a:pt x="1148" y="1294"/>
                  </a:lnTo>
                  <a:lnTo>
                    <a:pt x="1150" y="1291"/>
                  </a:lnTo>
                  <a:lnTo>
                    <a:pt x="1152" y="1291"/>
                  </a:lnTo>
                  <a:lnTo>
                    <a:pt x="1152" y="1294"/>
                  </a:lnTo>
                  <a:lnTo>
                    <a:pt x="1150" y="1294"/>
                  </a:lnTo>
                  <a:lnTo>
                    <a:pt x="1150" y="1295"/>
                  </a:lnTo>
                  <a:lnTo>
                    <a:pt x="1152" y="1297"/>
                  </a:lnTo>
                  <a:lnTo>
                    <a:pt x="1152" y="1298"/>
                  </a:lnTo>
                  <a:lnTo>
                    <a:pt x="1152" y="1299"/>
                  </a:lnTo>
                  <a:lnTo>
                    <a:pt x="1153" y="1301"/>
                  </a:lnTo>
                  <a:lnTo>
                    <a:pt x="1156" y="1298"/>
                  </a:lnTo>
                  <a:lnTo>
                    <a:pt x="1158" y="1298"/>
                  </a:lnTo>
                  <a:lnTo>
                    <a:pt x="1160" y="1297"/>
                  </a:lnTo>
                  <a:lnTo>
                    <a:pt x="1162" y="1295"/>
                  </a:lnTo>
                  <a:lnTo>
                    <a:pt x="1165" y="1295"/>
                  </a:lnTo>
                  <a:lnTo>
                    <a:pt x="1166" y="1298"/>
                  </a:lnTo>
                  <a:lnTo>
                    <a:pt x="1168" y="1298"/>
                  </a:lnTo>
                  <a:lnTo>
                    <a:pt x="1169" y="1297"/>
                  </a:lnTo>
                  <a:lnTo>
                    <a:pt x="1170" y="1295"/>
                  </a:lnTo>
                  <a:lnTo>
                    <a:pt x="1173" y="1295"/>
                  </a:lnTo>
                  <a:lnTo>
                    <a:pt x="1173" y="1294"/>
                  </a:lnTo>
                  <a:lnTo>
                    <a:pt x="1173" y="1292"/>
                  </a:lnTo>
                  <a:lnTo>
                    <a:pt x="1172" y="1291"/>
                  </a:lnTo>
                  <a:lnTo>
                    <a:pt x="1169" y="1291"/>
                  </a:lnTo>
                  <a:lnTo>
                    <a:pt x="1166" y="1292"/>
                  </a:lnTo>
                  <a:lnTo>
                    <a:pt x="1163" y="1291"/>
                  </a:lnTo>
                  <a:lnTo>
                    <a:pt x="1160" y="1289"/>
                  </a:lnTo>
                  <a:lnTo>
                    <a:pt x="1159" y="1289"/>
                  </a:lnTo>
                  <a:lnTo>
                    <a:pt x="1156" y="1289"/>
                  </a:lnTo>
                  <a:lnTo>
                    <a:pt x="1156" y="1288"/>
                  </a:lnTo>
                  <a:lnTo>
                    <a:pt x="1159" y="1284"/>
                  </a:lnTo>
                  <a:lnTo>
                    <a:pt x="1163" y="1281"/>
                  </a:lnTo>
                  <a:lnTo>
                    <a:pt x="1170" y="1279"/>
                  </a:lnTo>
                  <a:lnTo>
                    <a:pt x="1178" y="1278"/>
                  </a:lnTo>
                  <a:lnTo>
                    <a:pt x="1180" y="1275"/>
                  </a:lnTo>
                  <a:lnTo>
                    <a:pt x="1185" y="1269"/>
                  </a:lnTo>
                  <a:lnTo>
                    <a:pt x="1186" y="1266"/>
                  </a:lnTo>
                  <a:lnTo>
                    <a:pt x="1188" y="1265"/>
                  </a:lnTo>
                  <a:lnTo>
                    <a:pt x="1190" y="1264"/>
                  </a:lnTo>
                  <a:lnTo>
                    <a:pt x="1190" y="1265"/>
                  </a:lnTo>
                  <a:lnTo>
                    <a:pt x="1192" y="1268"/>
                  </a:lnTo>
                  <a:lnTo>
                    <a:pt x="1190" y="1272"/>
                  </a:lnTo>
                  <a:lnTo>
                    <a:pt x="1192" y="1274"/>
                  </a:lnTo>
                  <a:lnTo>
                    <a:pt x="1196" y="1274"/>
                  </a:lnTo>
                  <a:lnTo>
                    <a:pt x="1196" y="1274"/>
                  </a:lnTo>
                  <a:lnTo>
                    <a:pt x="1196" y="1271"/>
                  </a:lnTo>
                  <a:lnTo>
                    <a:pt x="1202" y="1271"/>
                  </a:lnTo>
                  <a:lnTo>
                    <a:pt x="1205" y="1272"/>
                  </a:lnTo>
                  <a:lnTo>
                    <a:pt x="1205" y="1274"/>
                  </a:lnTo>
                  <a:lnTo>
                    <a:pt x="1208" y="1275"/>
                  </a:lnTo>
                  <a:lnTo>
                    <a:pt x="1209" y="1274"/>
                  </a:lnTo>
                  <a:lnTo>
                    <a:pt x="1212" y="1272"/>
                  </a:lnTo>
                  <a:lnTo>
                    <a:pt x="1213" y="1274"/>
                  </a:lnTo>
                  <a:lnTo>
                    <a:pt x="1213" y="1275"/>
                  </a:lnTo>
                  <a:lnTo>
                    <a:pt x="1212" y="1277"/>
                  </a:lnTo>
                  <a:lnTo>
                    <a:pt x="1211" y="1278"/>
                  </a:lnTo>
                  <a:lnTo>
                    <a:pt x="1211" y="1279"/>
                  </a:lnTo>
                  <a:lnTo>
                    <a:pt x="1211" y="1282"/>
                  </a:lnTo>
                  <a:lnTo>
                    <a:pt x="1208" y="1282"/>
                  </a:lnTo>
                  <a:lnTo>
                    <a:pt x="1206" y="1282"/>
                  </a:lnTo>
                  <a:lnTo>
                    <a:pt x="1206" y="1284"/>
                  </a:lnTo>
                  <a:lnTo>
                    <a:pt x="1208" y="1287"/>
                  </a:lnTo>
                  <a:lnTo>
                    <a:pt x="1211" y="1288"/>
                  </a:lnTo>
                  <a:lnTo>
                    <a:pt x="1212" y="1287"/>
                  </a:lnTo>
                  <a:lnTo>
                    <a:pt x="1216" y="1287"/>
                  </a:lnTo>
                  <a:lnTo>
                    <a:pt x="1219" y="1287"/>
                  </a:lnTo>
                  <a:lnTo>
                    <a:pt x="1221" y="1284"/>
                  </a:lnTo>
                  <a:lnTo>
                    <a:pt x="1222" y="1282"/>
                  </a:lnTo>
                  <a:lnTo>
                    <a:pt x="1223" y="1282"/>
                  </a:lnTo>
                  <a:lnTo>
                    <a:pt x="1225" y="1285"/>
                  </a:lnTo>
                  <a:lnTo>
                    <a:pt x="1222" y="1288"/>
                  </a:lnTo>
                  <a:lnTo>
                    <a:pt x="1221" y="1288"/>
                  </a:lnTo>
                  <a:lnTo>
                    <a:pt x="1219" y="1289"/>
                  </a:lnTo>
                  <a:lnTo>
                    <a:pt x="1216" y="1291"/>
                  </a:lnTo>
                  <a:lnTo>
                    <a:pt x="1216" y="1292"/>
                  </a:lnTo>
                  <a:lnTo>
                    <a:pt x="1219" y="1292"/>
                  </a:lnTo>
                  <a:lnTo>
                    <a:pt x="1222" y="1294"/>
                  </a:lnTo>
                  <a:lnTo>
                    <a:pt x="1223" y="1295"/>
                  </a:lnTo>
                  <a:lnTo>
                    <a:pt x="1225" y="1295"/>
                  </a:lnTo>
                  <a:lnTo>
                    <a:pt x="1226" y="1294"/>
                  </a:lnTo>
                  <a:lnTo>
                    <a:pt x="1229" y="1295"/>
                  </a:lnTo>
                  <a:lnTo>
                    <a:pt x="1231" y="1299"/>
                  </a:lnTo>
                  <a:lnTo>
                    <a:pt x="1232" y="1302"/>
                  </a:lnTo>
                  <a:lnTo>
                    <a:pt x="1233" y="1305"/>
                  </a:lnTo>
                  <a:lnTo>
                    <a:pt x="1232" y="1308"/>
                  </a:lnTo>
                  <a:lnTo>
                    <a:pt x="1231" y="1311"/>
                  </a:lnTo>
                  <a:lnTo>
                    <a:pt x="1228" y="1314"/>
                  </a:lnTo>
                  <a:lnTo>
                    <a:pt x="1226" y="1317"/>
                  </a:lnTo>
                  <a:lnTo>
                    <a:pt x="1225" y="1317"/>
                  </a:lnTo>
                  <a:lnTo>
                    <a:pt x="1225" y="1321"/>
                  </a:lnTo>
                  <a:lnTo>
                    <a:pt x="1226" y="1322"/>
                  </a:lnTo>
                  <a:lnTo>
                    <a:pt x="1226" y="1325"/>
                  </a:lnTo>
                  <a:lnTo>
                    <a:pt x="1226" y="1327"/>
                  </a:lnTo>
                  <a:lnTo>
                    <a:pt x="1226" y="1330"/>
                  </a:lnTo>
                  <a:lnTo>
                    <a:pt x="1226" y="1332"/>
                  </a:lnTo>
                  <a:lnTo>
                    <a:pt x="1228" y="1334"/>
                  </a:lnTo>
                  <a:lnTo>
                    <a:pt x="1228" y="1335"/>
                  </a:lnTo>
                  <a:lnTo>
                    <a:pt x="1228" y="1337"/>
                  </a:lnTo>
                  <a:lnTo>
                    <a:pt x="1225" y="1338"/>
                  </a:lnTo>
                  <a:lnTo>
                    <a:pt x="1218" y="1341"/>
                  </a:lnTo>
                  <a:lnTo>
                    <a:pt x="1211" y="1345"/>
                  </a:lnTo>
                  <a:lnTo>
                    <a:pt x="1208" y="1348"/>
                  </a:lnTo>
                  <a:lnTo>
                    <a:pt x="1209" y="1350"/>
                  </a:lnTo>
                  <a:lnTo>
                    <a:pt x="1209" y="1351"/>
                  </a:lnTo>
                  <a:lnTo>
                    <a:pt x="1212" y="1350"/>
                  </a:lnTo>
                  <a:lnTo>
                    <a:pt x="1213" y="1347"/>
                  </a:lnTo>
                  <a:lnTo>
                    <a:pt x="1216" y="1345"/>
                  </a:lnTo>
                  <a:lnTo>
                    <a:pt x="1221" y="1345"/>
                  </a:lnTo>
                  <a:lnTo>
                    <a:pt x="1223" y="1345"/>
                  </a:lnTo>
                  <a:lnTo>
                    <a:pt x="1226" y="1344"/>
                  </a:lnTo>
                  <a:lnTo>
                    <a:pt x="1228" y="1342"/>
                  </a:lnTo>
                  <a:lnTo>
                    <a:pt x="1231" y="1341"/>
                  </a:lnTo>
                  <a:lnTo>
                    <a:pt x="1232" y="1340"/>
                  </a:lnTo>
                  <a:lnTo>
                    <a:pt x="1232" y="1340"/>
                  </a:lnTo>
                  <a:lnTo>
                    <a:pt x="1231" y="1335"/>
                  </a:lnTo>
                  <a:lnTo>
                    <a:pt x="1231" y="1334"/>
                  </a:lnTo>
                  <a:lnTo>
                    <a:pt x="1233" y="1330"/>
                  </a:lnTo>
                  <a:lnTo>
                    <a:pt x="1238" y="1324"/>
                  </a:lnTo>
                  <a:lnTo>
                    <a:pt x="1239" y="1321"/>
                  </a:lnTo>
                  <a:lnTo>
                    <a:pt x="1239" y="1318"/>
                  </a:lnTo>
                  <a:lnTo>
                    <a:pt x="1239" y="1314"/>
                  </a:lnTo>
                  <a:lnTo>
                    <a:pt x="1239" y="1309"/>
                  </a:lnTo>
                  <a:lnTo>
                    <a:pt x="1238" y="1308"/>
                  </a:lnTo>
                  <a:lnTo>
                    <a:pt x="1235" y="1304"/>
                  </a:lnTo>
                  <a:lnTo>
                    <a:pt x="1235" y="1299"/>
                  </a:lnTo>
                  <a:lnTo>
                    <a:pt x="1236" y="1294"/>
                  </a:lnTo>
                  <a:lnTo>
                    <a:pt x="1232" y="1287"/>
                  </a:lnTo>
                  <a:lnTo>
                    <a:pt x="1231" y="1281"/>
                  </a:lnTo>
                  <a:lnTo>
                    <a:pt x="1229" y="1278"/>
                  </a:lnTo>
                  <a:lnTo>
                    <a:pt x="1226" y="1277"/>
                  </a:lnTo>
                  <a:lnTo>
                    <a:pt x="1223" y="1275"/>
                  </a:lnTo>
                  <a:lnTo>
                    <a:pt x="1223" y="1271"/>
                  </a:lnTo>
                  <a:lnTo>
                    <a:pt x="1223" y="1269"/>
                  </a:lnTo>
                  <a:lnTo>
                    <a:pt x="1225" y="1265"/>
                  </a:lnTo>
                  <a:lnTo>
                    <a:pt x="1223" y="1264"/>
                  </a:lnTo>
                  <a:lnTo>
                    <a:pt x="1223" y="1262"/>
                  </a:lnTo>
                  <a:lnTo>
                    <a:pt x="1222" y="1265"/>
                  </a:lnTo>
                  <a:lnTo>
                    <a:pt x="1221" y="1264"/>
                  </a:lnTo>
                  <a:lnTo>
                    <a:pt x="1218" y="1262"/>
                  </a:lnTo>
                  <a:lnTo>
                    <a:pt x="1216" y="1258"/>
                  </a:lnTo>
                  <a:lnTo>
                    <a:pt x="1215" y="1252"/>
                  </a:lnTo>
                  <a:lnTo>
                    <a:pt x="1212" y="1251"/>
                  </a:lnTo>
                  <a:lnTo>
                    <a:pt x="1211" y="1249"/>
                  </a:lnTo>
                  <a:lnTo>
                    <a:pt x="1208" y="1249"/>
                  </a:lnTo>
                  <a:lnTo>
                    <a:pt x="1203" y="1249"/>
                  </a:lnTo>
                  <a:lnTo>
                    <a:pt x="1202" y="1244"/>
                  </a:lnTo>
                  <a:lnTo>
                    <a:pt x="1201" y="1238"/>
                  </a:lnTo>
                  <a:lnTo>
                    <a:pt x="1195" y="1232"/>
                  </a:lnTo>
                  <a:lnTo>
                    <a:pt x="1195" y="1228"/>
                  </a:lnTo>
                  <a:lnTo>
                    <a:pt x="1195" y="1225"/>
                  </a:lnTo>
                  <a:lnTo>
                    <a:pt x="1195" y="1224"/>
                  </a:lnTo>
                  <a:lnTo>
                    <a:pt x="1198" y="1222"/>
                  </a:lnTo>
                  <a:lnTo>
                    <a:pt x="1199" y="1222"/>
                  </a:lnTo>
                  <a:lnTo>
                    <a:pt x="1206" y="1225"/>
                  </a:lnTo>
                  <a:lnTo>
                    <a:pt x="1213" y="1229"/>
                  </a:lnTo>
                  <a:lnTo>
                    <a:pt x="1221" y="1231"/>
                  </a:lnTo>
                  <a:lnTo>
                    <a:pt x="1225" y="1231"/>
                  </a:lnTo>
                  <a:lnTo>
                    <a:pt x="1231" y="1231"/>
                  </a:lnTo>
                  <a:lnTo>
                    <a:pt x="1235" y="1229"/>
                  </a:lnTo>
                  <a:lnTo>
                    <a:pt x="1241" y="1228"/>
                  </a:lnTo>
                  <a:lnTo>
                    <a:pt x="1243" y="1228"/>
                  </a:lnTo>
                  <a:lnTo>
                    <a:pt x="1246" y="1228"/>
                  </a:lnTo>
                  <a:lnTo>
                    <a:pt x="1254" y="1229"/>
                  </a:lnTo>
                  <a:lnTo>
                    <a:pt x="1261" y="1228"/>
                  </a:lnTo>
                  <a:lnTo>
                    <a:pt x="1268" y="1225"/>
                  </a:lnTo>
                  <a:lnTo>
                    <a:pt x="1272" y="1222"/>
                  </a:lnTo>
                  <a:lnTo>
                    <a:pt x="1276" y="1219"/>
                  </a:lnTo>
                  <a:lnTo>
                    <a:pt x="1278" y="1216"/>
                  </a:lnTo>
                  <a:lnTo>
                    <a:pt x="1278" y="1224"/>
                  </a:lnTo>
                  <a:lnTo>
                    <a:pt x="1279" y="1224"/>
                  </a:lnTo>
                  <a:lnTo>
                    <a:pt x="1281" y="1225"/>
                  </a:lnTo>
                  <a:lnTo>
                    <a:pt x="1282" y="1225"/>
                  </a:lnTo>
                  <a:lnTo>
                    <a:pt x="1284" y="1226"/>
                  </a:lnTo>
                  <a:lnTo>
                    <a:pt x="1284" y="1228"/>
                  </a:lnTo>
                  <a:lnTo>
                    <a:pt x="1284" y="1229"/>
                  </a:lnTo>
                  <a:lnTo>
                    <a:pt x="1282" y="1231"/>
                  </a:lnTo>
                  <a:lnTo>
                    <a:pt x="1281" y="1232"/>
                  </a:lnTo>
                  <a:lnTo>
                    <a:pt x="1282" y="1232"/>
                  </a:lnTo>
                  <a:lnTo>
                    <a:pt x="1282" y="1234"/>
                  </a:lnTo>
                  <a:lnTo>
                    <a:pt x="1286" y="1235"/>
                  </a:lnTo>
                  <a:lnTo>
                    <a:pt x="1289" y="1234"/>
                  </a:lnTo>
                  <a:lnTo>
                    <a:pt x="1291" y="1232"/>
                  </a:lnTo>
                  <a:lnTo>
                    <a:pt x="1292" y="1229"/>
                  </a:lnTo>
                  <a:lnTo>
                    <a:pt x="1294" y="1228"/>
                  </a:lnTo>
                  <a:lnTo>
                    <a:pt x="1295" y="1229"/>
                  </a:lnTo>
                  <a:lnTo>
                    <a:pt x="1296" y="1231"/>
                  </a:lnTo>
                  <a:lnTo>
                    <a:pt x="1298" y="1234"/>
                  </a:lnTo>
                  <a:lnTo>
                    <a:pt x="1299" y="1235"/>
                  </a:lnTo>
                  <a:lnTo>
                    <a:pt x="1305" y="1235"/>
                  </a:lnTo>
                  <a:lnTo>
                    <a:pt x="1308" y="1235"/>
                  </a:lnTo>
                  <a:lnTo>
                    <a:pt x="1314" y="1236"/>
                  </a:lnTo>
                  <a:lnTo>
                    <a:pt x="1315" y="1239"/>
                  </a:lnTo>
                  <a:lnTo>
                    <a:pt x="1318" y="1244"/>
                  </a:lnTo>
                  <a:lnTo>
                    <a:pt x="1321" y="1245"/>
                  </a:lnTo>
                  <a:lnTo>
                    <a:pt x="1324" y="1246"/>
                  </a:lnTo>
                  <a:lnTo>
                    <a:pt x="1328" y="1249"/>
                  </a:lnTo>
                  <a:lnTo>
                    <a:pt x="1329" y="1251"/>
                  </a:lnTo>
                  <a:lnTo>
                    <a:pt x="1332" y="1251"/>
                  </a:lnTo>
                  <a:lnTo>
                    <a:pt x="1334" y="1251"/>
                  </a:lnTo>
                  <a:lnTo>
                    <a:pt x="1334" y="1248"/>
                  </a:lnTo>
                  <a:lnTo>
                    <a:pt x="1334" y="1245"/>
                  </a:lnTo>
                  <a:lnTo>
                    <a:pt x="1332" y="1244"/>
                  </a:lnTo>
                  <a:lnTo>
                    <a:pt x="1331" y="1242"/>
                  </a:lnTo>
                  <a:lnTo>
                    <a:pt x="1329" y="1241"/>
                  </a:lnTo>
                  <a:lnTo>
                    <a:pt x="1327" y="1241"/>
                  </a:lnTo>
                  <a:lnTo>
                    <a:pt x="1324" y="1239"/>
                  </a:lnTo>
                  <a:lnTo>
                    <a:pt x="1321" y="1238"/>
                  </a:lnTo>
                  <a:lnTo>
                    <a:pt x="1317" y="1235"/>
                  </a:lnTo>
                  <a:lnTo>
                    <a:pt x="1315" y="1234"/>
                  </a:lnTo>
                  <a:lnTo>
                    <a:pt x="1314" y="1229"/>
                  </a:lnTo>
                  <a:lnTo>
                    <a:pt x="1312" y="1229"/>
                  </a:lnTo>
                  <a:lnTo>
                    <a:pt x="1311" y="1229"/>
                  </a:lnTo>
                  <a:lnTo>
                    <a:pt x="1309" y="1231"/>
                  </a:lnTo>
                  <a:lnTo>
                    <a:pt x="1307" y="1231"/>
                  </a:lnTo>
                  <a:lnTo>
                    <a:pt x="1304" y="1229"/>
                  </a:lnTo>
                  <a:lnTo>
                    <a:pt x="1299" y="1224"/>
                  </a:lnTo>
                  <a:lnTo>
                    <a:pt x="1298" y="1222"/>
                  </a:lnTo>
                  <a:lnTo>
                    <a:pt x="1295" y="1222"/>
                  </a:lnTo>
                  <a:lnTo>
                    <a:pt x="1291" y="1222"/>
                  </a:lnTo>
                  <a:lnTo>
                    <a:pt x="1286" y="1221"/>
                  </a:lnTo>
                  <a:lnTo>
                    <a:pt x="1284" y="1219"/>
                  </a:lnTo>
                  <a:lnTo>
                    <a:pt x="1282" y="1218"/>
                  </a:lnTo>
                  <a:lnTo>
                    <a:pt x="1281" y="1215"/>
                  </a:lnTo>
                  <a:lnTo>
                    <a:pt x="1284" y="1209"/>
                  </a:lnTo>
                  <a:lnTo>
                    <a:pt x="1285" y="1202"/>
                  </a:lnTo>
                  <a:lnTo>
                    <a:pt x="1286" y="1195"/>
                  </a:lnTo>
                  <a:lnTo>
                    <a:pt x="1285" y="1189"/>
                  </a:lnTo>
                  <a:lnTo>
                    <a:pt x="1285" y="1186"/>
                  </a:lnTo>
                  <a:lnTo>
                    <a:pt x="1285" y="1185"/>
                  </a:lnTo>
                  <a:lnTo>
                    <a:pt x="1288" y="1182"/>
                  </a:lnTo>
                  <a:lnTo>
                    <a:pt x="1288" y="1181"/>
                  </a:lnTo>
                  <a:lnTo>
                    <a:pt x="1288" y="1179"/>
                  </a:lnTo>
                  <a:lnTo>
                    <a:pt x="1286" y="1178"/>
                  </a:lnTo>
                  <a:lnTo>
                    <a:pt x="1282" y="1178"/>
                  </a:lnTo>
                  <a:lnTo>
                    <a:pt x="1279" y="1173"/>
                  </a:lnTo>
                  <a:lnTo>
                    <a:pt x="1275" y="1163"/>
                  </a:lnTo>
                  <a:lnTo>
                    <a:pt x="1275" y="1159"/>
                  </a:lnTo>
                  <a:lnTo>
                    <a:pt x="1278" y="1150"/>
                  </a:lnTo>
                  <a:lnTo>
                    <a:pt x="1279" y="1143"/>
                  </a:lnTo>
                  <a:lnTo>
                    <a:pt x="1279" y="1142"/>
                  </a:lnTo>
                  <a:lnTo>
                    <a:pt x="1281" y="1140"/>
                  </a:lnTo>
                  <a:lnTo>
                    <a:pt x="1285" y="1140"/>
                  </a:lnTo>
                  <a:lnTo>
                    <a:pt x="1288" y="1140"/>
                  </a:lnTo>
                  <a:lnTo>
                    <a:pt x="1289" y="1139"/>
                  </a:lnTo>
                  <a:lnTo>
                    <a:pt x="1289" y="1138"/>
                  </a:lnTo>
                  <a:lnTo>
                    <a:pt x="1289" y="1136"/>
                  </a:lnTo>
                  <a:lnTo>
                    <a:pt x="1288" y="1133"/>
                  </a:lnTo>
                  <a:lnTo>
                    <a:pt x="1289" y="1130"/>
                  </a:lnTo>
                  <a:lnTo>
                    <a:pt x="1291" y="1129"/>
                  </a:lnTo>
                  <a:lnTo>
                    <a:pt x="1291" y="1128"/>
                  </a:lnTo>
                  <a:lnTo>
                    <a:pt x="1289" y="1126"/>
                  </a:lnTo>
                  <a:lnTo>
                    <a:pt x="1288" y="1125"/>
                  </a:lnTo>
                  <a:lnTo>
                    <a:pt x="1288" y="1123"/>
                  </a:lnTo>
                  <a:lnTo>
                    <a:pt x="1289" y="1119"/>
                  </a:lnTo>
                  <a:lnTo>
                    <a:pt x="1296" y="1108"/>
                  </a:lnTo>
                  <a:lnTo>
                    <a:pt x="1307" y="1092"/>
                  </a:lnTo>
                  <a:lnTo>
                    <a:pt x="1312" y="1085"/>
                  </a:lnTo>
                  <a:lnTo>
                    <a:pt x="1318" y="1080"/>
                  </a:lnTo>
                  <a:lnTo>
                    <a:pt x="1319" y="1077"/>
                  </a:lnTo>
                  <a:lnTo>
                    <a:pt x="1319" y="1075"/>
                  </a:lnTo>
                  <a:lnTo>
                    <a:pt x="1319" y="1073"/>
                  </a:lnTo>
                  <a:lnTo>
                    <a:pt x="1318" y="1072"/>
                  </a:lnTo>
                  <a:lnTo>
                    <a:pt x="1317" y="1070"/>
                  </a:lnTo>
                  <a:lnTo>
                    <a:pt x="1318" y="1069"/>
                  </a:lnTo>
                  <a:lnTo>
                    <a:pt x="1319" y="1069"/>
                  </a:lnTo>
                  <a:lnTo>
                    <a:pt x="1321" y="1069"/>
                  </a:lnTo>
                  <a:lnTo>
                    <a:pt x="1322" y="1067"/>
                  </a:lnTo>
                  <a:lnTo>
                    <a:pt x="1324" y="1067"/>
                  </a:lnTo>
                  <a:lnTo>
                    <a:pt x="1325" y="1067"/>
                  </a:lnTo>
                  <a:lnTo>
                    <a:pt x="1325" y="1069"/>
                  </a:lnTo>
                  <a:lnTo>
                    <a:pt x="1325" y="1069"/>
                  </a:lnTo>
                  <a:lnTo>
                    <a:pt x="1327" y="1070"/>
                  </a:lnTo>
                  <a:lnTo>
                    <a:pt x="1328" y="1070"/>
                  </a:lnTo>
                  <a:lnTo>
                    <a:pt x="1329" y="1070"/>
                  </a:lnTo>
                  <a:lnTo>
                    <a:pt x="1329" y="1065"/>
                  </a:lnTo>
                  <a:lnTo>
                    <a:pt x="1331" y="1060"/>
                  </a:lnTo>
                  <a:lnTo>
                    <a:pt x="1337" y="1052"/>
                  </a:lnTo>
                  <a:lnTo>
                    <a:pt x="1341" y="1045"/>
                  </a:lnTo>
                  <a:lnTo>
                    <a:pt x="1348" y="1040"/>
                  </a:lnTo>
                  <a:lnTo>
                    <a:pt x="1352" y="1037"/>
                  </a:lnTo>
                  <a:lnTo>
                    <a:pt x="1354" y="1036"/>
                  </a:lnTo>
                  <a:lnTo>
                    <a:pt x="1354" y="1034"/>
                  </a:lnTo>
                  <a:lnTo>
                    <a:pt x="1352" y="1032"/>
                  </a:lnTo>
                  <a:lnTo>
                    <a:pt x="1354" y="1030"/>
                  </a:lnTo>
                  <a:lnTo>
                    <a:pt x="1357" y="1029"/>
                  </a:lnTo>
                  <a:lnTo>
                    <a:pt x="1359" y="1026"/>
                  </a:lnTo>
                  <a:lnTo>
                    <a:pt x="1362" y="1022"/>
                  </a:lnTo>
                  <a:lnTo>
                    <a:pt x="1365" y="1020"/>
                  </a:lnTo>
                  <a:lnTo>
                    <a:pt x="1367" y="1020"/>
                  </a:lnTo>
                  <a:lnTo>
                    <a:pt x="1368" y="1023"/>
                  </a:lnTo>
                  <a:lnTo>
                    <a:pt x="1370" y="1024"/>
                  </a:lnTo>
                  <a:lnTo>
                    <a:pt x="1372" y="1026"/>
                  </a:lnTo>
                  <a:lnTo>
                    <a:pt x="1375" y="1023"/>
                  </a:lnTo>
                  <a:lnTo>
                    <a:pt x="1378" y="1022"/>
                  </a:lnTo>
                  <a:lnTo>
                    <a:pt x="1384" y="1016"/>
                  </a:lnTo>
                  <a:lnTo>
                    <a:pt x="1385" y="1013"/>
                  </a:lnTo>
                  <a:lnTo>
                    <a:pt x="1385" y="1013"/>
                  </a:lnTo>
                  <a:lnTo>
                    <a:pt x="1387" y="1012"/>
                  </a:lnTo>
                  <a:lnTo>
                    <a:pt x="1390" y="1012"/>
                  </a:lnTo>
                  <a:lnTo>
                    <a:pt x="1391" y="1009"/>
                  </a:lnTo>
                  <a:lnTo>
                    <a:pt x="1391" y="1006"/>
                  </a:lnTo>
                  <a:lnTo>
                    <a:pt x="1392" y="1006"/>
                  </a:lnTo>
                  <a:lnTo>
                    <a:pt x="1395" y="1006"/>
                  </a:lnTo>
                  <a:lnTo>
                    <a:pt x="1398" y="1004"/>
                  </a:lnTo>
                  <a:lnTo>
                    <a:pt x="1400" y="1004"/>
                  </a:lnTo>
                  <a:lnTo>
                    <a:pt x="1402" y="1004"/>
                  </a:lnTo>
                  <a:lnTo>
                    <a:pt x="1401" y="1007"/>
                  </a:lnTo>
                  <a:lnTo>
                    <a:pt x="1400" y="1009"/>
                  </a:lnTo>
                  <a:lnTo>
                    <a:pt x="1400" y="1010"/>
                  </a:lnTo>
                  <a:lnTo>
                    <a:pt x="1401" y="1013"/>
                  </a:lnTo>
                  <a:lnTo>
                    <a:pt x="1402" y="1014"/>
                  </a:lnTo>
                  <a:lnTo>
                    <a:pt x="1405" y="1014"/>
                  </a:lnTo>
                  <a:lnTo>
                    <a:pt x="1410" y="1014"/>
                  </a:lnTo>
                  <a:lnTo>
                    <a:pt x="1412" y="1012"/>
                  </a:lnTo>
                  <a:lnTo>
                    <a:pt x="1417" y="1012"/>
                  </a:lnTo>
                  <a:lnTo>
                    <a:pt x="1420" y="1013"/>
                  </a:lnTo>
                  <a:lnTo>
                    <a:pt x="1421" y="1014"/>
                  </a:lnTo>
                  <a:lnTo>
                    <a:pt x="1420" y="1019"/>
                  </a:lnTo>
                  <a:lnTo>
                    <a:pt x="1420" y="1020"/>
                  </a:lnTo>
                  <a:lnTo>
                    <a:pt x="1423" y="1023"/>
                  </a:lnTo>
                  <a:lnTo>
                    <a:pt x="1424" y="1026"/>
                  </a:lnTo>
                  <a:lnTo>
                    <a:pt x="1424" y="1029"/>
                  </a:lnTo>
                  <a:lnTo>
                    <a:pt x="1427" y="1030"/>
                  </a:lnTo>
                  <a:lnTo>
                    <a:pt x="1428" y="1030"/>
                  </a:lnTo>
                  <a:lnTo>
                    <a:pt x="1428" y="1027"/>
                  </a:lnTo>
                  <a:lnTo>
                    <a:pt x="1430" y="1026"/>
                  </a:lnTo>
                  <a:lnTo>
                    <a:pt x="1434" y="1027"/>
                  </a:lnTo>
                  <a:lnTo>
                    <a:pt x="1438" y="1030"/>
                  </a:lnTo>
                  <a:lnTo>
                    <a:pt x="1443" y="1032"/>
                  </a:lnTo>
                  <a:lnTo>
                    <a:pt x="1447" y="1032"/>
                  </a:lnTo>
                  <a:lnTo>
                    <a:pt x="1450" y="1032"/>
                  </a:lnTo>
                  <a:lnTo>
                    <a:pt x="1453" y="1029"/>
                  </a:lnTo>
                  <a:lnTo>
                    <a:pt x="1457" y="1029"/>
                  </a:lnTo>
                  <a:lnTo>
                    <a:pt x="1461" y="1027"/>
                  </a:lnTo>
                  <a:lnTo>
                    <a:pt x="1463" y="1027"/>
                  </a:lnTo>
                  <a:lnTo>
                    <a:pt x="1464" y="1027"/>
                  </a:lnTo>
                  <a:lnTo>
                    <a:pt x="1464" y="1029"/>
                  </a:lnTo>
                  <a:lnTo>
                    <a:pt x="1464" y="1030"/>
                  </a:lnTo>
                  <a:lnTo>
                    <a:pt x="1463" y="1034"/>
                  </a:lnTo>
                  <a:lnTo>
                    <a:pt x="1465" y="1042"/>
                  </a:lnTo>
                  <a:lnTo>
                    <a:pt x="1467" y="1049"/>
                  </a:lnTo>
                  <a:lnTo>
                    <a:pt x="1470" y="1053"/>
                  </a:lnTo>
                  <a:lnTo>
                    <a:pt x="1475" y="1059"/>
                  </a:lnTo>
                  <a:lnTo>
                    <a:pt x="1478" y="1062"/>
                  </a:lnTo>
                  <a:lnTo>
                    <a:pt x="1478" y="1063"/>
                  </a:lnTo>
                  <a:lnTo>
                    <a:pt x="1477" y="1065"/>
                  </a:lnTo>
                  <a:lnTo>
                    <a:pt x="1474" y="1065"/>
                  </a:lnTo>
                  <a:lnTo>
                    <a:pt x="1465" y="1062"/>
                  </a:lnTo>
                  <a:lnTo>
                    <a:pt x="1463" y="1062"/>
                  </a:lnTo>
                  <a:lnTo>
                    <a:pt x="1461" y="1063"/>
                  </a:lnTo>
                  <a:lnTo>
                    <a:pt x="1461" y="1065"/>
                  </a:lnTo>
                  <a:lnTo>
                    <a:pt x="1458" y="1073"/>
                  </a:lnTo>
                  <a:lnTo>
                    <a:pt x="1455" y="1077"/>
                  </a:lnTo>
                  <a:lnTo>
                    <a:pt x="1453" y="1077"/>
                  </a:lnTo>
                  <a:lnTo>
                    <a:pt x="1453" y="1079"/>
                  </a:lnTo>
                  <a:lnTo>
                    <a:pt x="1454" y="1080"/>
                  </a:lnTo>
                  <a:lnTo>
                    <a:pt x="1454" y="1083"/>
                  </a:lnTo>
                  <a:lnTo>
                    <a:pt x="1451" y="1086"/>
                  </a:lnTo>
                  <a:lnTo>
                    <a:pt x="1447" y="1089"/>
                  </a:lnTo>
                  <a:lnTo>
                    <a:pt x="1441" y="1093"/>
                  </a:lnTo>
                  <a:lnTo>
                    <a:pt x="1437" y="1096"/>
                  </a:lnTo>
                  <a:lnTo>
                    <a:pt x="1433" y="1099"/>
                  </a:lnTo>
                  <a:lnTo>
                    <a:pt x="1430" y="1099"/>
                  </a:lnTo>
                  <a:lnTo>
                    <a:pt x="1424" y="1097"/>
                  </a:lnTo>
                  <a:lnTo>
                    <a:pt x="1421" y="1097"/>
                  </a:lnTo>
                  <a:lnTo>
                    <a:pt x="1420" y="1100"/>
                  </a:lnTo>
                  <a:lnTo>
                    <a:pt x="1418" y="1103"/>
                  </a:lnTo>
                  <a:lnTo>
                    <a:pt x="1417" y="1106"/>
                  </a:lnTo>
                  <a:lnTo>
                    <a:pt x="1414" y="1108"/>
                  </a:lnTo>
                  <a:lnTo>
                    <a:pt x="1411" y="1108"/>
                  </a:lnTo>
                  <a:lnTo>
                    <a:pt x="1407" y="1110"/>
                  </a:lnTo>
                  <a:lnTo>
                    <a:pt x="1404" y="1112"/>
                  </a:lnTo>
                  <a:lnTo>
                    <a:pt x="1404" y="1115"/>
                  </a:lnTo>
                  <a:lnTo>
                    <a:pt x="1407" y="1116"/>
                  </a:lnTo>
                  <a:lnTo>
                    <a:pt x="1412" y="1115"/>
                  </a:lnTo>
                  <a:lnTo>
                    <a:pt x="1418" y="1115"/>
                  </a:lnTo>
                  <a:lnTo>
                    <a:pt x="1421" y="1113"/>
                  </a:lnTo>
                  <a:lnTo>
                    <a:pt x="1423" y="1110"/>
                  </a:lnTo>
                  <a:lnTo>
                    <a:pt x="1424" y="1109"/>
                  </a:lnTo>
                  <a:lnTo>
                    <a:pt x="1425" y="1109"/>
                  </a:lnTo>
                  <a:lnTo>
                    <a:pt x="1427" y="1109"/>
                  </a:lnTo>
                  <a:lnTo>
                    <a:pt x="1427" y="1113"/>
                  </a:lnTo>
                  <a:lnTo>
                    <a:pt x="1431" y="1116"/>
                  </a:lnTo>
                  <a:lnTo>
                    <a:pt x="1434" y="1118"/>
                  </a:lnTo>
                  <a:lnTo>
                    <a:pt x="1437" y="1118"/>
                  </a:lnTo>
                  <a:lnTo>
                    <a:pt x="1438" y="1116"/>
                  </a:lnTo>
                  <a:lnTo>
                    <a:pt x="1438" y="1115"/>
                  </a:lnTo>
                  <a:lnTo>
                    <a:pt x="1440" y="1112"/>
                  </a:lnTo>
                  <a:lnTo>
                    <a:pt x="1441" y="1109"/>
                  </a:lnTo>
                  <a:lnTo>
                    <a:pt x="1441" y="1109"/>
                  </a:lnTo>
                  <a:lnTo>
                    <a:pt x="1443" y="1112"/>
                  </a:lnTo>
                  <a:lnTo>
                    <a:pt x="1445" y="1113"/>
                  </a:lnTo>
                  <a:lnTo>
                    <a:pt x="1448" y="1113"/>
                  </a:lnTo>
                  <a:lnTo>
                    <a:pt x="1455" y="1109"/>
                  </a:lnTo>
                  <a:lnTo>
                    <a:pt x="1458" y="1108"/>
                  </a:lnTo>
                  <a:lnTo>
                    <a:pt x="1463" y="1108"/>
                  </a:lnTo>
                  <a:lnTo>
                    <a:pt x="1464" y="1109"/>
                  </a:lnTo>
                  <a:lnTo>
                    <a:pt x="1465" y="1108"/>
                  </a:lnTo>
                  <a:lnTo>
                    <a:pt x="1467" y="1102"/>
                  </a:lnTo>
                  <a:lnTo>
                    <a:pt x="1467" y="1099"/>
                  </a:lnTo>
                  <a:lnTo>
                    <a:pt x="1468" y="1097"/>
                  </a:lnTo>
                  <a:lnTo>
                    <a:pt x="1470" y="1097"/>
                  </a:lnTo>
                  <a:lnTo>
                    <a:pt x="1470" y="1100"/>
                  </a:lnTo>
                  <a:lnTo>
                    <a:pt x="1468" y="1109"/>
                  </a:lnTo>
                  <a:lnTo>
                    <a:pt x="1468" y="1112"/>
                  </a:lnTo>
                  <a:lnTo>
                    <a:pt x="1465" y="1115"/>
                  </a:lnTo>
                  <a:lnTo>
                    <a:pt x="1464" y="1116"/>
                  </a:lnTo>
                  <a:lnTo>
                    <a:pt x="1464" y="1119"/>
                  </a:lnTo>
                  <a:lnTo>
                    <a:pt x="1463" y="1122"/>
                  </a:lnTo>
                  <a:lnTo>
                    <a:pt x="1461" y="1122"/>
                  </a:lnTo>
                  <a:lnTo>
                    <a:pt x="1457" y="1122"/>
                  </a:lnTo>
                  <a:lnTo>
                    <a:pt x="1454" y="1122"/>
                  </a:lnTo>
                  <a:lnTo>
                    <a:pt x="1454" y="1125"/>
                  </a:lnTo>
                  <a:lnTo>
                    <a:pt x="1453" y="1129"/>
                  </a:lnTo>
                  <a:lnTo>
                    <a:pt x="1453" y="1132"/>
                  </a:lnTo>
                  <a:lnTo>
                    <a:pt x="1454" y="1132"/>
                  </a:lnTo>
                  <a:lnTo>
                    <a:pt x="1455" y="1132"/>
                  </a:lnTo>
                  <a:lnTo>
                    <a:pt x="1455" y="1129"/>
                  </a:lnTo>
                  <a:lnTo>
                    <a:pt x="1458" y="1129"/>
                  </a:lnTo>
                  <a:lnTo>
                    <a:pt x="1460" y="1130"/>
                  </a:lnTo>
                  <a:lnTo>
                    <a:pt x="1461" y="1130"/>
                  </a:lnTo>
                  <a:lnTo>
                    <a:pt x="1463" y="1129"/>
                  </a:lnTo>
                  <a:lnTo>
                    <a:pt x="1464" y="1128"/>
                  </a:lnTo>
                  <a:lnTo>
                    <a:pt x="1467" y="1128"/>
                  </a:lnTo>
                  <a:lnTo>
                    <a:pt x="1471" y="1126"/>
                  </a:lnTo>
                  <a:lnTo>
                    <a:pt x="1475" y="1122"/>
                  </a:lnTo>
                  <a:lnTo>
                    <a:pt x="1478" y="1118"/>
                  </a:lnTo>
                  <a:lnTo>
                    <a:pt x="1480" y="1115"/>
                  </a:lnTo>
                  <a:lnTo>
                    <a:pt x="1483" y="1115"/>
                  </a:lnTo>
                  <a:lnTo>
                    <a:pt x="1486" y="1115"/>
                  </a:lnTo>
                  <a:lnTo>
                    <a:pt x="1490" y="1115"/>
                  </a:lnTo>
                  <a:lnTo>
                    <a:pt x="1491" y="1116"/>
                  </a:lnTo>
                  <a:lnTo>
                    <a:pt x="1493" y="1119"/>
                  </a:lnTo>
                  <a:lnTo>
                    <a:pt x="1493" y="1122"/>
                  </a:lnTo>
                  <a:lnTo>
                    <a:pt x="1494" y="1122"/>
                  </a:lnTo>
                  <a:lnTo>
                    <a:pt x="1494" y="1120"/>
                  </a:lnTo>
                  <a:lnTo>
                    <a:pt x="1496" y="1118"/>
                  </a:lnTo>
                  <a:lnTo>
                    <a:pt x="1497" y="1119"/>
                  </a:lnTo>
                  <a:lnTo>
                    <a:pt x="1500" y="1122"/>
                  </a:lnTo>
                  <a:lnTo>
                    <a:pt x="1503" y="1123"/>
                  </a:lnTo>
                  <a:lnTo>
                    <a:pt x="1504" y="1122"/>
                  </a:lnTo>
                  <a:lnTo>
                    <a:pt x="1504" y="1122"/>
                  </a:lnTo>
                  <a:lnTo>
                    <a:pt x="1503" y="1120"/>
                  </a:lnTo>
                  <a:lnTo>
                    <a:pt x="1500" y="1119"/>
                  </a:lnTo>
                  <a:lnTo>
                    <a:pt x="1498" y="1118"/>
                  </a:lnTo>
                  <a:lnTo>
                    <a:pt x="1501" y="1113"/>
                  </a:lnTo>
                  <a:lnTo>
                    <a:pt x="1503" y="1112"/>
                  </a:lnTo>
                  <a:lnTo>
                    <a:pt x="1504" y="1112"/>
                  </a:lnTo>
                  <a:lnTo>
                    <a:pt x="1508" y="1115"/>
                  </a:lnTo>
                  <a:lnTo>
                    <a:pt x="1510" y="1116"/>
                  </a:lnTo>
                  <a:lnTo>
                    <a:pt x="1511" y="1116"/>
                  </a:lnTo>
                  <a:lnTo>
                    <a:pt x="1513" y="1118"/>
                  </a:lnTo>
                  <a:lnTo>
                    <a:pt x="1513" y="1118"/>
                  </a:lnTo>
                  <a:lnTo>
                    <a:pt x="1511" y="1120"/>
                  </a:lnTo>
                  <a:lnTo>
                    <a:pt x="1513" y="1122"/>
                  </a:lnTo>
                  <a:lnTo>
                    <a:pt x="1514" y="1122"/>
                  </a:lnTo>
                  <a:lnTo>
                    <a:pt x="1517" y="1118"/>
                  </a:lnTo>
                  <a:lnTo>
                    <a:pt x="1521" y="1116"/>
                  </a:lnTo>
                  <a:lnTo>
                    <a:pt x="1524" y="1118"/>
                  </a:lnTo>
                  <a:lnTo>
                    <a:pt x="1523" y="1120"/>
                  </a:lnTo>
                  <a:lnTo>
                    <a:pt x="1521" y="1122"/>
                  </a:lnTo>
                  <a:lnTo>
                    <a:pt x="1523" y="1123"/>
                  </a:lnTo>
                  <a:lnTo>
                    <a:pt x="1524" y="1123"/>
                  </a:lnTo>
                  <a:lnTo>
                    <a:pt x="1526" y="1125"/>
                  </a:lnTo>
                  <a:lnTo>
                    <a:pt x="1524" y="1128"/>
                  </a:lnTo>
                  <a:lnTo>
                    <a:pt x="1526" y="1129"/>
                  </a:lnTo>
                  <a:lnTo>
                    <a:pt x="1530" y="1130"/>
                  </a:lnTo>
                  <a:lnTo>
                    <a:pt x="1533" y="1130"/>
                  </a:lnTo>
                  <a:lnTo>
                    <a:pt x="1534" y="1130"/>
                  </a:lnTo>
                  <a:lnTo>
                    <a:pt x="1536" y="1133"/>
                  </a:lnTo>
                  <a:lnTo>
                    <a:pt x="1534" y="1135"/>
                  </a:lnTo>
                  <a:lnTo>
                    <a:pt x="1530" y="1138"/>
                  </a:lnTo>
                  <a:lnTo>
                    <a:pt x="1527" y="1138"/>
                  </a:lnTo>
                  <a:lnTo>
                    <a:pt x="1524" y="1138"/>
                  </a:lnTo>
                  <a:lnTo>
                    <a:pt x="1523" y="1138"/>
                  </a:lnTo>
                  <a:lnTo>
                    <a:pt x="1523" y="1139"/>
                  </a:lnTo>
                  <a:lnTo>
                    <a:pt x="1524" y="1140"/>
                  </a:lnTo>
                  <a:lnTo>
                    <a:pt x="1527" y="1140"/>
                  </a:lnTo>
                  <a:lnTo>
                    <a:pt x="1528" y="1142"/>
                  </a:lnTo>
                  <a:lnTo>
                    <a:pt x="1527" y="1145"/>
                  </a:lnTo>
                  <a:lnTo>
                    <a:pt x="1524" y="1145"/>
                  </a:lnTo>
                  <a:lnTo>
                    <a:pt x="1524" y="1146"/>
                  </a:lnTo>
                  <a:lnTo>
                    <a:pt x="1527" y="1148"/>
                  </a:lnTo>
                  <a:lnTo>
                    <a:pt x="1527" y="1150"/>
                  </a:lnTo>
                  <a:lnTo>
                    <a:pt x="1527" y="1153"/>
                  </a:lnTo>
                  <a:lnTo>
                    <a:pt x="1526" y="1155"/>
                  </a:lnTo>
                  <a:lnTo>
                    <a:pt x="1521" y="1155"/>
                  </a:lnTo>
                  <a:lnTo>
                    <a:pt x="1520" y="1158"/>
                  </a:lnTo>
                  <a:lnTo>
                    <a:pt x="1518" y="1161"/>
                  </a:lnTo>
                  <a:lnTo>
                    <a:pt x="1518" y="1163"/>
                  </a:lnTo>
                  <a:lnTo>
                    <a:pt x="1518" y="1165"/>
                  </a:lnTo>
                  <a:lnTo>
                    <a:pt x="1516" y="1168"/>
                  </a:lnTo>
                  <a:lnTo>
                    <a:pt x="1513" y="1169"/>
                  </a:lnTo>
                  <a:lnTo>
                    <a:pt x="1510" y="1168"/>
                  </a:lnTo>
                  <a:lnTo>
                    <a:pt x="1508" y="1171"/>
                  </a:lnTo>
                  <a:lnTo>
                    <a:pt x="1508" y="1173"/>
                  </a:lnTo>
                  <a:lnTo>
                    <a:pt x="1510" y="1175"/>
                  </a:lnTo>
                  <a:lnTo>
                    <a:pt x="1511" y="1176"/>
                  </a:lnTo>
                  <a:lnTo>
                    <a:pt x="1511" y="1178"/>
                  </a:lnTo>
                  <a:lnTo>
                    <a:pt x="1511" y="1181"/>
                  </a:lnTo>
                  <a:lnTo>
                    <a:pt x="1511" y="1182"/>
                  </a:lnTo>
                  <a:lnTo>
                    <a:pt x="1511" y="1185"/>
                  </a:lnTo>
                  <a:lnTo>
                    <a:pt x="1510" y="1189"/>
                  </a:lnTo>
                  <a:lnTo>
                    <a:pt x="1510" y="1191"/>
                  </a:lnTo>
                  <a:lnTo>
                    <a:pt x="1510" y="1195"/>
                  </a:lnTo>
                  <a:lnTo>
                    <a:pt x="1508" y="1199"/>
                  </a:lnTo>
                  <a:lnTo>
                    <a:pt x="1507" y="1202"/>
                  </a:lnTo>
                  <a:lnTo>
                    <a:pt x="1506" y="1202"/>
                  </a:lnTo>
                  <a:lnTo>
                    <a:pt x="1504" y="1202"/>
                  </a:lnTo>
                  <a:lnTo>
                    <a:pt x="1504" y="1201"/>
                  </a:lnTo>
                  <a:lnTo>
                    <a:pt x="1504" y="1196"/>
                  </a:lnTo>
                  <a:lnTo>
                    <a:pt x="1503" y="1193"/>
                  </a:lnTo>
                  <a:lnTo>
                    <a:pt x="1501" y="1193"/>
                  </a:lnTo>
                  <a:lnTo>
                    <a:pt x="1498" y="1195"/>
                  </a:lnTo>
                  <a:lnTo>
                    <a:pt x="1497" y="1195"/>
                  </a:lnTo>
                  <a:lnTo>
                    <a:pt x="1497" y="1198"/>
                  </a:lnTo>
                  <a:lnTo>
                    <a:pt x="1498" y="1199"/>
                  </a:lnTo>
                  <a:lnTo>
                    <a:pt x="1500" y="1205"/>
                  </a:lnTo>
                  <a:lnTo>
                    <a:pt x="1501" y="1208"/>
                  </a:lnTo>
                  <a:lnTo>
                    <a:pt x="1503" y="1209"/>
                  </a:lnTo>
                  <a:lnTo>
                    <a:pt x="1507" y="1209"/>
                  </a:lnTo>
                  <a:lnTo>
                    <a:pt x="1510" y="1209"/>
                  </a:lnTo>
                  <a:lnTo>
                    <a:pt x="1513" y="1209"/>
                  </a:lnTo>
                  <a:lnTo>
                    <a:pt x="1514" y="1211"/>
                  </a:lnTo>
                  <a:lnTo>
                    <a:pt x="1516" y="1214"/>
                  </a:lnTo>
                  <a:lnTo>
                    <a:pt x="1517" y="1214"/>
                  </a:lnTo>
                  <a:lnTo>
                    <a:pt x="1517" y="1212"/>
                  </a:lnTo>
                  <a:lnTo>
                    <a:pt x="1517" y="1209"/>
                  </a:lnTo>
                  <a:lnTo>
                    <a:pt x="1518" y="1208"/>
                  </a:lnTo>
                  <a:lnTo>
                    <a:pt x="1520" y="1208"/>
                  </a:lnTo>
                  <a:lnTo>
                    <a:pt x="1524" y="1205"/>
                  </a:lnTo>
                  <a:lnTo>
                    <a:pt x="1528" y="1203"/>
                  </a:lnTo>
                  <a:lnTo>
                    <a:pt x="1533" y="1202"/>
                  </a:lnTo>
                  <a:lnTo>
                    <a:pt x="1536" y="1201"/>
                  </a:lnTo>
                  <a:lnTo>
                    <a:pt x="1540" y="1203"/>
                  </a:lnTo>
                  <a:lnTo>
                    <a:pt x="1546" y="1205"/>
                  </a:lnTo>
                  <a:lnTo>
                    <a:pt x="1550" y="1203"/>
                  </a:lnTo>
                  <a:lnTo>
                    <a:pt x="1557" y="1196"/>
                  </a:lnTo>
                  <a:lnTo>
                    <a:pt x="1559" y="1192"/>
                  </a:lnTo>
                  <a:lnTo>
                    <a:pt x="1560" y="1183"/>
                  </a:lnTo>
                  <a:lnTo>
                    <a:pt x="1560" y="1178"/>
                  </a:lnTo>
                  <a:lnTo>
                    <a:pt x="1559" y="1175"/>
                  </a:lnTo>
                  <a:lnTo>
                    <a:pt x="1556" y="1175"/>
                  </a:lnTo>
                  <a:lnTo>
                    <a:pt x="1554" y="1172"/>
                  </a:lnTo>
                  <a:lnTo>
                    <a:pt x="1553" y="1166"/>
                  </a:lnTo>
                  <a:lnTo>
                    <a:pt x="1553" y="1163"/>
                  </a:lnTo>
                  <a:lnTo>
                    <a:pt x="1554" y="1162"/>
                  </a:lnTo>
                  <a:lnTo>
                    <a:pt x="1559" y="1162"/>
                  </a:lnTo>
                  <a:lnTo>
                    <a:pt x="1564" y="1162"/>
                  </a:lnTo>
                  <a:lnTo>
                    <a:pt x="1567" y="1161"/>
                  </a:lnTo>
                  <a:lnTo>
                    <a:pt x="1567" y="1159"/>
                  </a:lnTo>
                  <a:lnTo>
                    <a:pt x="1570" y="1159"/>
                  </a:lnTo>
                  <a:lnTo>
                    <a:pt x="1570" y="1161"/>
                  </a:lnTo>
                  <a:lnTo>
                    <a:pt x="1570" y="1163"/>
                  </a:lnTo>
                  <a:lnTo>
                    <a:pt x="1569" y="1166"/>
                  </a:lnTo>
                  <a:lnTo>
                    <a:pt x="1569" y="1168"/>
                  </a:lnTo>
                  <a:lnTo>
                    <a:pt x="1571" y="1168"/>
                  </a:lnTo>
                  <a:lnTo>
                    <a:pt x="1573" y="1165"/>
                  </a:lnTo>
                  <a:lnTo>
                    <a:pt x="1576" y="1165"/>
                  </a:lnTo>
                  <a:lnTo>
                    <a:pt x="1579" y="1165"/>
                  </a:lnTo>
                  <a:lnTo>
                    <a:pt x="1586" y="1163"/>
                  </a:lnTo>
                  <a:lnTo>
                    <a:pt x="1594" y="1161"/>
                  </a:lnTo>
                  <a:lnTo>
                    <a:pt x="1600" y="1161"/>
                  </a:lnTo>
                  <a:lnTo>
                    <a:pt x="1604" y="1159"/>
                  </a:lnTo>
                  <a:lnTo>
                    <a:pt x="1607" y="1158"/>
                  </a:lnTo>
                  <a:lnTo>
                    <a:pt x="1609" y="1153"/>
                  </a:lnTo>
                  <a:lnTo>
                    <a:pt x="1612" y="1152"/>
                  </a:lnTo>
                  <a:lnTo>
                    <a:pt x="1613" y="1152"/>
                  </a:lnTo>
                  <a:lnTo>
                    <a:pt x="1613" y="1153"/>
                  </a:lnTo>
                  <a:lnTo>
                    <a:pt x="1614" y="1155"/>
                  </a:lnTo>
                  <a:lnTo>
                    <a:pt x="1614" y="1155"/>
                  </a:lnTo>
                  <a:lnTo>
                    <a:pt x="1617" y="1155"/>
                  </a:lnTo>
                  <a:lnTo>
                    <a:pt x="1620" y="1155"/>
                  </a:lnTo>
                  <a:lnTo>
                    <a:pt x="1623" y="1156"/>
                  </a:lnTo>
                  <a:lnTo>
                    <a:pt x="1627" y="1159"/>
                  </a:lnTo>
                  <a:lnTo>
                    <a:pt x="1630" y="1161"/>
                  </a:lnTo>
                  <a:lnTo>
                    <a:pt x="1633" y="1161"/>
                  </a:lnTo>
                  <a:lnTo>
                    <a:pt x="1644" y="1153"/>
                  </a:lnTo>
                  <a:lnTo>
                    <a:pt x="1653" y="1148"/>
                  </a:lnTo>
                  <a:lnTo>
                    <a:pt x="1656" y="1146"/>
                  </a:lnTo>
                  <a:lnTo>
                    <a:pt x="1659" y="1146"/>
                  </a:lnTo>
                  <a:lnTo>
                    <a:pt x="1662" y="1149"/>
                  </a:lnTo>
                  <a:lnTo>
                    <a:pt x="1663" y="1150"/>
                  </a:lnTo>
                  <a:lnTo>
                    <a:pt x="1670" y="1150"/>
                  </a:lnTo>
                  <a:lnTo>
                    <a:pt x="1673" y="1150"/>
                  </a:lnTo>
                  <a:lnTo>
                    <a:pt x="1675" y="1148"/>
                  </a:lnTo>
                  <a:lnTo>
                    <a:pt x="1675" y="1145"/>
                  </a:lnTo>
                  <a:lnTo>
                    <a:pt x="1676" y="1143"/>
                  </a:lnTo>
                  <a:lnTo>
                    <a:pt x="1680" y="1143"/>
                  </a:lnTo>
                  <a:lnTo>
                    <a:pt x="1682" y="1145"/>
                  </a:lnTo>
                  <a:lnTo>
                    <a:pt x="1682" y="1146"/>
                  </a:lnTo>
                  <a:lnTo>
                    <a:pt x="1680" y="1149"/>
                  </a:lnTo>
                  <a:lnTo>
                    <a:pt x="1679" y="1150"/>
                  </a:lnTo>
                  <a:lnTo>
                    <a:pt x="1679" y="1153"/>
                  </a:lnTo>
                  <a:lnTo>
                    <a:pt x="1682" y="1155"/>
                  </a:lnTo>
                  <a:lnTo>
                    <a:pt x="1683" y="1155"/>
                  </a:lnTo>
                  <a:lnTo>
                    <a:pt x="1686" y="1152"/>
                  </a:lnTo>
                  <a:lnTo>
                    <a:pt x="1687" y="1152"/>
                  </a:lnTo>
                  <a:lnTo>
                    <a:pt x="1690" y="1152"/>
                  </a:lnTo>
                  <a:lnTo>
                    <a:pt x="1695" y="1152"/>
                  </a:lnTo>
                  <a:lnTo>
                    <a:pt x="1697" y="1153"/>
                  </a:lnTo>
                  <a:lnTo>
                    <a:pt x="1699" y="1155"/>
                  </a:lnTo>
                  <a:lnTo>
                    <a:pt x="1699" y="1158"/>
                  </a:lnTo>
                  <a:lnTo>
                    <a:pt x="1697" y="1162"/>
                  </a:lnTo>
                  <a:lnTo>
                    <a:pt x="1697" y="1165"/>
                  </a:lnTo>
                  <a:lnTo>
                    <a:pt x="1699" y="1166"/>
                  </a:lnTo>
                  <a:lnTo>
                    <a:pt x="1702" y="1165"/>
                  </a:lnTo>
                  <a:lnTo>
                    <a:pt x="1708" y="1165"/>
                  </a:lnTo>
                  <a:lnTo>
                    <a:pt x="1712" y="1168"/>
                  </a:lnTo>
                  <a:lnTo>
                    <a:pt x="1716" y="1173"/>
                  </a:lnTo>
                  <a:lnTo>
                    <a:pt x="1718" y="1176"/>
                  </a:lnTo>
                  <a:lnTo>
                    <a:pt x="1719" y="1178"/>
                  </a:lnTo>
                  <a:lnTo>
                    <a:pt x="1722" y="1179"/>
                  </a:lnTo>
                  <a:lnTo>
                    <a:pt x="1725" y="1182"/>
                  </a:lnTo>
                  <a:lnTo>
                    <a:pt x="1728" y="1186"/>
                  </a:lnTo>
                  <a:lnTo>
                    <a:pt x="1728" y="1189"/>
                  </a:lnTo>
                  <a:lnTo>
                    <a:pt x="1726" y="1192"/>
                  </a:lnTo>
                  <a:lnTo>
                    <a:pt x="1725" y="1195"/>
                  </a:lnTo>
                  <a:lnTo>
                    <a:pt x="1725" y="1196"/>
                  </a:lnTo>
                  <a:lnTo>
                    <a:pt x="1723" y="1199"/>
                  </a:lnTo>
                  <a:lnTo>
                    <a:pt x="1722" y="1202"/>
                  </a:lnTo>
                  <a:lnTo>
                    <a:pt x="1722" y="1205"/>
                  </a:lnTo>
                  <a:lnTo>
                    <a:pt x="1725" y="1205"/>
                  </a:lnTo>
                  <a:lnTo>
                    <a:pt x="1728" y="1202"/>
                  </a:lnTo>
                  <a:lnTo>
                    <a:pt x="1728" y="1198"/>
                  </a:lnTo>
                  <a:lnTo>
                    <a:pt x="1729" y="1192"/>
                  </a:lnTo>
                  <a:lnTo>
                    <a:pt x="1730" y="1189"/>
                  </a:lnTo>
                  <a:lnTo>
                    <a:pt x="1732" y="1188"/>
                  </a:lnTo>
                  <a:lnTo>
                    <a:pt x="1735" y="1188"/>
                  </a:lnTo>
                  <a:lnTo>
                    <a:pt x="1738" y="1192"/>
                  </a:lnTo>
                  <a:lnTo>
                    <a:pt x="1740" y="1196"/>
                  </a:lnTo>
                  <a:lnTo>
                    <a:pt x="1745" y="1199"/>
                  </a:lnTo>
                  <a:lnTo>
                    <a:pt x="1752" y="1202"/>
                  </a:lnTo>
                  <a:lnTo>
                    <a:pt x="1755" y="1203"/>
                  </a:lnTo>
                  <a:lnTo>
                    <a:pt x="1756" y="1205"/>
                  </a:lnTo>
                  <a:lnTo>
                    <a:pt x="1756" y="1206"/>
                  </a:lnTo>
                  <a:lnTo>
                    <a:pt x="1756" y="1206"/>
                  </a:lnTo>
                  <a:lnTo>
                    <a:pt x="1755" y="1208"/>
                  </a:lnTo>
                  <a:lnTo>
                    <a:pt x="1755" y="1211"/>
                  </a:lnTo>
                  <a:lnTo>
                    <a:pt x="1755" y="1216"/>
                  </a:lnTo>
                  <a:lnTo>
                    <a:pt x="1756" y="1222"/>
                  </a:lnTo>
                  <a:lnTo>
                    <a:pt x="1755" y="1224"/>
                  </a:lnTo>
                  <a:lnTo>
                    <a:pt x="1750" y="1221"/>
                  </a:lnTo>
                  <a:lnTo>
                    <a:pt x="1749" y="1221"/>
                  </a:lnTo>
                  <a:lnTo>
                    <a:pt x="1748" y="1222"/>
                  </a:lnTo>
                  <a:lnTo>
                    <a:pt x="1749" y="1222"/>
                  </a:lnTo>
                  <a:lnTo>
                    <a:pt x="1750" y="1225"/>
                  </a:lnTo>
                  <a:lnTo>
                    <a:pt x="1752" y="1226"/>
                  </a:lnTo>
                  <a:lnTo>
                    <a:pt x="1750" y="1228"/>
                  </a:lnTo>
                  <a:lnTo>
                    <a:pt x="1752" y="1229"/>
                  </a:lnTo>
                  <a:lnTo>
                    <a:pt x="1753" y="1228"/>
                  </a:lnTo>
                  <a:lnTo>
                    <a:pt x="1755" y="1229"/>
                  </a:lnTo>
                  <a:lnTo>
                    <a:pt x="1758" y="1229"/>
                  </a:lnTo>
                  <a:lnTo>
                    <a:pt x="1759" y="1228"/>
                  </a:lnTo>
                  <a:lnTo>
                    <a:pt x="1761" y="1228"/>
                  </a:lnTo>
                  <a:lnTo>
                    <a:pt x="1761" y="1231"/>
                  </a:lnTo>
                  <a:lnTo>
                    <a:pt x="1762" y="1234"/>
                  </a:lnTo>
                  <a:lnTo>
                    <a:pt x="1765" y="1238"/>
                  </a:lnTo>
                  <a:lnTo>
                    <a:pt x="1765" y="1239"/>
                  </a:lnTo>
                  <a:lnTo>
                    <a:pt x="1765" y="1242"/>
                  </a:lnTo>
                  <a:lnTo>
                    <a:pt x="1763" y="1245"/>
                  </a:lnTo>
                  <a:lnTo>
                    <a:pt x="1763" y="1248"/>
                  </a:lnTo>
                  <a:lnTo>
                    <a:pt x="1765" y="1248"/>
                  </a:lnTo>
                  <a:lnTo>
                    <a:pt x="1768" y="1246"/>
                  </a:lnTo>
                  <a:lnTo>
                    <a:pt x="1771" y="1246"/>
                  </a:lnTo>
                  <a:lnTo>
                    <a:pt x="1772" y="1244"/>
                  </a:lnTo>
                  <a:lnTo>
                    <a:pt x="1773" y="1241"/>
                  </a:lnTo>
                  <a:lnTo>
                    <a:pt x="1773" y="1238"/>
                  </a:lnTo>
                  <a:lnTo>
                    <a:pt x="1772" y="1238"/>
                  </a:lnTo>
                  <a:lnTo>
                    <a:pt x="1771" y="1235"/>
                  </a:lnTo>
                  <a:lnTo>
                    <a:pt x="1771" y="1234"/>
                  </a:lnTo>
                  <a:lnTo>
                    <a:pt x="1772" y="1231"/>
                  </a:lnTo>
                  <a:lnTo>
                    <a:pt x="1776" y="1231"/>
                  </a:lnTo>
                  <a:lnTo>
                    <a:pt x="1779" y="1231"/>
                  </a:lnTo>
                  <a:lnTo>
                    <a:pt x="1782" y="1232"/>
                  </a:lnTo>
                  <a:lnTo>
                    <a:pt x="1783" y="1234"/>
                  </a:lnTo>
                  <a:lnTo>
                    <a:pt x="1785" y="1231"/>
                  </a:lnTo>
                  <a:lnTo>
                    <a:pt x="1781" y="1228"/>
                  </a:lnTo>
                  <a:lnTo>
                    <a:pt x="1776" y="1225"/>
                  </a:lnTo>
                  <a:lnTo>
                    <a:pt x="1771" y="1224"/>
                  </a:lnTo>
                  <a:lnTo>
                    <a:pt x="1768" y="1222"/>
                  </a:lnTo>
                  <a:lnTo>
                    <a:pt x="1766" y="1218"/>
                  </a:lnTo>
                  <a:lnTo>
                    <a:pt x="1766" y="1216"/>
                  </a:lnTo>
                  <a:lnTo>
                    <a:pt x="1772" y="1215"/>
                  </a:lnTo>
                  <a:lnTo>
                    <a:pt x="1775" y="1214"/>
                  </a:lnTo>
                  <a:lnTo>
                    <a:pt x="1778" y="1214"/>
                  </a:lnTo>
                  <a:lnTo>
                    <a:pt x="1779" y="1214"/>
                  </a:lnTo>
                  <a:lnTo>
                    <a:pt x="1781" y="1215"/>
                  </a:lnTo>
                  <a:lnTo>
                    <a:pt x="1781" y="1218"/>
                  </a:lnTo>
                  <a:lnTo>
                    <a:pt x="1781" y="1219"/>
                  </a:lnTo>
                  <a:lnTo>
                    <a:pt x="1783" y="1221"/>
                  </a:lnTo>
                  <a:lnTo>
                    <a:pt x="1785" y="1222"/>
                  </a:lnTo>
                  <a:lnTo>
                    <a:pt x="1788" y="1225"/>
                  </a:lnTo>
                  <a:lnTo>
                    <a:pt x="1789" y="1234"/>
                  </a:lnTo>
                  <a:lnTo>
                    <a:pt x="1791" y="1239"/>
                  </a:lnTo>
                  <a:lnTo>
                    <a:pt x="1792" y="1244"/>
                  </a:lnTo>
                  <a:lnTo>
                    <a:pt x="1795" y="1246"/>
                  </a:lnTo>
                  <a:lnTo>
                    <a:pt x="1795" y="1251"/>
                  </a:lnTo>
                  <a:lnTo>
                    <a:pt x="1795" y="1254"/>
                  </a:lnTo>
                  <a:lnTo>
                    <a:pt x="1796" y="1256"/>
                  </a:lnTo>
                  <a:lnTo>
                    <a:pt x="1795" y="1258"/>
                  </a:lnTo>
                  <a:lnTo>
                    <a:pt x="1793" y="1261"/>
                  </a:lnTo>
                  <a:lnTo>
                    <a:pt x="1792" y="1261"/>
                  </a:lnTo>
                  <a:lnTo>
                    <a:pt x="1792" y="1264"/>
                  </a:lnTo>
                  <a:lnTo>
                    <a:pt x="1793" y="1265"/>
                  </a:lnTo>
                  <a:lnTo>
                    <a:pt x="1796" y="1264"/>
                  </a:lnTo>
                  <a:lnTo>
                    <a:pt x="1798" y="1264"/>
                  </a:lnTo>
                  <a:lnTo>
                    <a:pt x="1799" y="1265"/>
                  </a:lnTo>
                  <a:lnTo>
                    <a:pt x="1801" y="1266"/>
                  </a:lnTo>
                  <a:lnTo>
                    <a:pt x="1805" y="1265"/>
                  </a:lnTo>
                  <a:lnTo>
                    <a:pt x="1806" y="1265"/>
                  </a:lnTo>
                  <a:lnTo>
                    <a:pt x="1806" y="1262"/>
                  </a:lnTo>
                  <a:lnTo>
                    <a:pt x="1806" y="1261"/>
                  </a:lnTo>
                  <a:lnTo>
                    <a:pt x="1809" y="1261"/>
                  </a:lnTo>
                  <a:lnTo>
                    <a:pt x="1813" y="1265"/>
                  </a:lnTo>
                  <a:lnTo>
                    <a:pt x="1816" y="1272"/>
                  </a:lnTo>
                  <a:lnTo>
                    <a:pt x="1816" y="1285"/>
                  </a:lnTo>
                  <a:lnTo>
                    <a:pt x="1815" y="1298"/>
                  </a:lnTo>
                  <a:lnTo>
                    <a:pt x="1813" y="1315"/>
                  </a:lnTo>
                  <a:lnTo>
                    <a:pt x="1813" y="1327"/>
                  </a:lnTo>
                  <a:lnTo>
                    <a:pt x="1813" y="1327"/>
                  </a:lnTo>
                  <a:lnTo>
                    <a:pt x="1813" y="1327"/>
                  </a:lnTo>
                  <a:lnTo>
                    <a:pt x="1811" y="1330"/>
                  </a:lnTo>
                  <a:lnTo>
                    <a:pt x="1808" y="1331"/>
                  </a:lnTo>
                  <a:lnTo>
                    <a:pt x="1806" y="1330"/>
                  </a:lnTo>
                  <a:lnTo>
                    <a:pt x="1805" y="1328"/>
                  </a:lnTo>
                  <a:lnTo>
                    <a:pt x="1805" y="1325"/>
                  </a:lnTo>
                  <a:lnTo>
                    <a:pt x="1808" y="1315"/>
                  </a:lnTo>
                  <a:lnTo>
                    <a:pt x="1809" y="1311"/>
                  </a:lnTo>
                  <a:lnTo>
                    <a:pt x="1806" y="1308"/>
                  </a:lnTo>
                  <a:lnTo>
                    <a:pt x="1805" y="1305"/>
                  </a:lnTo>
                  <a:lnTo>
                    <a:pt x="1799" y="1305"/>
                  </a:lnTo>
                  <a:lnTo>
                    <a:pt x="1795" y="1305"/>
                  </a:lnTo>
                  <a:lnTo>
                    <a:pt x="1791" y="1308"/>
                  </a:lnTo>
                  <a:lnTo>
                    <a:pt x="1789" y="1308"/>
                  </a:lnTo>
                  <a:lnTo>
                    <a:pt x="1788" y="1305"/>
                  </a:lnTo>
                  <a:lnTo>
                    <a:pt x="1786" y="1301"/>
                  </a:lnTo>
                  <a:lnTo>
                    <a:pt x="1785" y="1298"/>
                  </a:lnTo>
                  <a:lnTo>
                    <a:pt x="1782" y="1298"/>
                  </a:lnTo>
                  <a:lnTo>
                    <a:pt x="1778" y="1298"/>
                  </a:lnTo>
                  <a:lnTo>
                    <a:pt x="1773" y="1294"/>
                  </a:lnTo>
                  <a:lnTo>
                    <a:pt x="1763" y="1288"/>
                  </a:lnTo>
                  <a:lnTo>
                    <a:pt x="1756" y="1287"/>
                  </a:lnTo>
                  <a:lnTo>
                    <a:pt x="1753" y="1285"/>
                  </a:lnTo>
                  <a:lnTo>
                    <a:pt x="1750" y="1287"/>
                  </a:lnTo>
                  <a:lnTo>
                    <a:pt x="1750" y="1287"/>
                  </a:lnTo>
                  <a:lnTo>
                    <a:pt x="1750" y="1288"/>
                  </a:lnTo>
                  <a:lnTo>
                    <a:pt x="1752" y="1288"/>
                  </a:lnTo>
                  <a:lnTo>
                    <a:pt x="1756" y="1289"/>
                  </a:lnTo>
                  <a:lnTo>
                    <a:pt x="1758" y="1289"/>
                  </a:lnTo>
                  <a:lnTo>
                    <a:pt x="1759" y="1294"/>
                  </a:lnTo>
                  <a:lnTo>
                    <a:pt x="1761" y="1295"/>
                  </a:lnTo>
                  <a:lnTo>
                    <a:pt x="1761" y="1297"/>
                  </a:lnTo>
                  <a:lnTo>
                    <a:pt x="1766" y="1297"/>
                  </a:lnTo>
                  <a:lnTo>
                    <a:pt x="1771" y="1297"/>
                  </a:lnTo>
                  <a:lnTo>
                    <a:pt x="1775" y="1299"/>
                  </a:lnTo>
                  <a:lnTo>
                    <a:pt x="1778" y="1302"/>
                  </a:lnTo>
                  <a:lnTo>
                    <a:pt x="1778" y="1305"/>
                  </a:lnTo>
                  <a:lnTo>
                    <a:pt x="1778" y="1308"/>
                  </a:lnTo>
                  <a:lnTo>
                    <a:pt x="1778" y="1309"/>
                  </a:lnTo>
                  <a:lnTo>
                    <a:pt x="1776" y="1311"/>
                  </a:lnTo>
                  <a:lnTo>
                    <a:pt x="1776" y="1312"/>
                  </a:lnTo>
                  <a:lnTo>
                    <a:pt x="1776" y="1314"/>
                  </a:lnTo>
                  <a:lnTo>
                    <a:pt x="1778" y="1317"/>
                  </a:lnTo>
                  <a:lnTo>
                    <a:pt x="1781" y="1318"/>
                  </a:lnTo>
                  <a:lnTo>
                    <a:pt x="1781" y="1321"/>
                  </a:lnTo>
                  <a:lnTo>
                    <a:pt x="1781" y="1321"/>
                  </a:lnTo>
                  <a:lnTo>
                    <a:pt x="1779" y="1325"/>
                  </a:lnTo>
                  <a:lnTo>
                    <a:pt x="1779" y="1328"/>
                  </a:lnTo>
                  <a:lnTo>
                    <a:pt x="1781" y="1331"/>
                  </a:lnTo>
                  <a:lnTo>
                    <a:pt x="1783" y="1332"/>
                  </a:lnTo>
                  <a:lnTo>
                    <a:pt x="1786" y="1332"/>
                  </a:lnTo>
                  <a:lnTo>
                    <a:pt x="1789" y="1331"/>
                  </a:lnTo>
                  <a:lnTo>
                    <a:pt x="1789" y="1330"/>
                  </a:lnTo>
                  <a:lnTo>
                    <a:pt x="1789" y="1327"/>
                  </a:lnTo>
                  <a:lnTo>
                    <a:pt x="1786" y="1325"/>
                  </a:lnTo>
                  <a:lnTo>
                    <a:pt x="1785" y="1324"/>
                  </a:lnTo>
                  <a:lnTo>
                    <a:pt x="1785" y="1322"/>
                  </a:lnTo>
                  <a:lnTo>
                    <a:pt x="1785" y="1319"/>
                  </a:lnTo>
                  <a:lnTo>
                    <a:pt x="1786" y="1318"/>
                  </a:lnTo>
                  <a:lnTo>
                    <a:pt x="1792" y="1312"/>
                  </a:lnTo>
                  <a:lnTo>
                    <a:pt x="1793" y="1311"/>
                  </a:lnTo>
                  <a:lnTo>
                    <a:pt x="1796" y="1312"/>
                  </a:lnTo>
                  <a:lnTo>
                    <a:pt x="1799" y="1312"/>
                  </a:lnTo>
                  <a:lnTo>
                    <a:pt x="1799" y="1315"/>
                  </a:lnTo>
                  <a:lnTo>
                    <a:pt x="1799" y="1319"/>
                  </a:lnTo>
                  <a:lnTo>
                    <a:pt x="1799" y="1325"/>
                  </a:lnTo>
                  <a:lnTo>
                    <a:pt x="1801" y="1330"/>
                  </a:lnTo>
                  <a:lnTo>
                    <a:pt x="1806" y="1332"/>
                  </a:lnTo>
                  <a:lnTo>
                    <a:pt x="1811" y="1334"/>
                  </a:lnTo>
                  <a:lnTo>
                    <a:pt x="1815" y="1332"/>
                  </a:lnTo>
                  <a:lnTo>
                    <a:pt x="1816" y="1332"/>
                  </a:lnTo>
                  <a:lnTo>
                    <a:pt x="1821" y="1332"/>
                  </a:lnTo>
                  <a:lnTo>
                    <a:pt x="1822" y="1335"/>
                  </a:lnTo>
                  <a:lnTo>
                    <a:pt x="1822" y="1341"/>
                  </a:lnTo>
                  <a:lnTo>
                    <a:pt x="1824" y="1352"/>
                  </a:lnTo>
                  <a:lnTo>
                    <a:pt x="1825" y="1365"/>
                  </a:lnTo>
                  <a:lnTo>
                    <a:pt x="1824" y="1375"/>
                  </a:lnTo>
                  <a:lnTo>
                    <a:pt x="1816" y="1394"/>
                  </a:lnTo>
                  <a:lnTo>
                    <a:pt x="1809" y="1408"/>
                  </a:lnTo>
                  <a:lnTo>
                    <a:pt x="1806" y="1413"/>
                  </a:lnTo>
                  <a:lnTo>
                    <a:pt x="1798" y="1430"/>
                  </a:lnTo>
                  <a:lnTo>
                    <a:pt x="1795" y="1433"/>
                  </a:lnTo>
                  <a:lnTo>
                    <a:pt x="1789" y="1437"/>
                  </a:lnTo>
                  <a:lnTo>
                    <a:pt x="1781" y="1443"/>
                  </a:lnTo>
                  <a:lnTo>
                    <a:pt x="1776" y="1447"/>
                  </a:lnTo>
                  <a:lnTo>
                    <a:pt x="1773" y="1454"/>
                  </a:lnTo>
                  <a:lnTo>
                    <a:pt x="1771" y="1466"/>
                  </a:lnTo>
                  <a:lnTo>
                    <a:pt x="1769" y="1470"/>
                  </a:lnTo>
                  <a:lnTo>
                    <a:pt x="1766" y="1481"/>
                  </a:lnTo>
                  <a:lnTo>
                    <a:pt x="1763" y="1486"/>
                  </a:lnTo>
                  <a:lnTo>
                    <a:pt x="1761" y="1486"/>
                  </a:lnTo>
                  <a:lnTo>
                    <a:pt x="1750" y="1486"/>
                  </a:lnTo>
                  <a:lnTo>
                    <a:pt x="1746" y="1486"/>
                  </a:lnTo>
                  <a:lnTo>
                    <a:pt x="1743" y="1490"/>
                  </a:lnTo>
                  <a:lnTo>
                    <a:pt x="1739" y="1497"/>
                  </a:lnTo>
                  <a:lnTo>
                    <a:pt x="1738" y="1503"/>
                  </a:lnTo>
                  <a:lnTo>
                    <a:pt x="1733" y="1510"/>
                  </a:lnTo>
                  <a:lnTo>
                    <a:pt x="1729" y="1513"/>
                  </a:lnTo>
                  <a:lnTo>
                    <a:pt x="1723" y="1517"/>
                  </a:lnTo>
                  <a:lnTo>
                    <a:pt x="1719" y="1521"/>
                  </a:lnTo>
                  <a:lnTo>
                    <a:pt x="1715" y="1523"/>
                  </a:lnTo>
                  <a:lnTo>
                    <a:pt x="1709" y="1523"/>
                  </a:lnTo>
                  <a:lnTo>
                    <a:pt x="1706" y="1524"/>
                  </a:lnTo>
                  <a:lnTo>
                    <a:pt x="1708" y="1526"/>
                  </a:lnTo>
                  <a:lnTo>
                    <a:pt x="1710" y="1529"/>
                  </a:lnTo>
                  <a:lnTo>
                    <a:pt x="1710" y="1534"/>
                  </a:lnTo>
                  <a:lnTo>
                    <a:pt x="1708" y="1539"/>
                  </a:lnTo>
                  <a:lnTo>
                    <a:pt x="1706" y="1543"/>
                  </a:lnTo>
                  <a:lnTo>
                    <a:pt x="1702" y="1544"/>
                  </a:lnTo>
                  <a:lnTo>
                    <a:pt x="1696" y="1547"/>
                  </a:lnTo>
                  <a:lnTo>
                    <a:pt x="1693" y="1550"/>
                  </a:lnTo>
                  <a:lnTo>
                    <a:pt x="1690" y="1553"/>
                  </a:lnTo>
                  <a:lnTo>
                    <a:pt x="1687" y="1554"/>
                  </a:lnTo>
                  <a:lnTo>
                    <a:pt x="1683" y="1556"/>
                  </a:lnTo>
                  <a:lnTo>
                    <a:pt x="1680" y="1556"/>
                  </a:lnTo>
                  <a:lnTo>
                    <a:pt x="1679" y="1556"/>
                  </a:lnTo>
                  <a:lnTo>
                    <a:pt x="1676" y="1557"/>
                  </a:lnTo>
                  <a:lnTo>
                    <a:pt x="1675" y="1560"/>
                  </a:lnTo>
                  <a:lnTo>
                    <a:pt x="1675" y="1562"/>
                  </a:lnTo>
                  <a:lnTo>
                    <a:pt x="1679" y="1563"/>
                  </a:lnTo>
                  <a:lnTo>
                    <a:pt x="1680" y="1563"/>
                  </a:lnTo>
                  <a:lnTo>
                    <a:pt x="1683" y="1563"/>
                  </a:lnTo>
                  <a:lnTo>
                    <a:pt x="1686" y="1562"/>
                  </a:lnTo>
                  <a:lnTo>
                    <a:pt x="1689" y="1557"/>
                  </a:lnTo>
                  <a:lnTo>
                    <a:pt x="1690" y="1557"/>
                  </a:lnTo>
                  <a:lnTo>
                    <a:pt x="1693" y="1557"/>
                  </a:lnTo>
                  <a:lnTo>
                    <a:pt x="1695" y="1563"/>
                  </a:lnTo>
                  <a:lnTo>
                    <a:pt x="1695" y="1573"/>
                  </a:lnTo>
                  <a:lnTo>
                    <a:pt x="1693" y="1580"/>
                  </a:lnTo>
                  <a:lnTo>
                    <a:pt x="1692" y="1586"/>
                  </a:lnTo>
                  <a:lnTo>
                    <a:pt x="1689" y="1589"/>
                  </a:lnTo>
                  <a:lnTo>
                    <a:pt x="1685" y="1594"/>
                  </a:lnTo>
                  <a:lnTo>
                    <a:pt x="1682" y="1599"/>
                  </a:lnTo>
                  <a:lnTo>
                    <a:pt x="1677" y="1602"/>
                  </a:lnTo>
                  <a:lnTo>
                    <a:pt x="1672" y="1604"/>
                  </a:lnTo>
                  <a:lnTo>
                    <a:pt x="1663" y="1607"/>
                  </a:lnTo>
                  <a:lnTo>
                    <a:pt x="1657" y="1612"/>
                  </a:lnTo>
                  <a:lnTo>
                    <a:pt x="1652" y="1623"/>
                  </a:lnTo>
                  <a:lnTo>
                    <a:pt x="1644" y="1640"/>
                  </a:lnTo>
                  <a:lnTo>
                    <a:pt x="1636" y="1663"/>
                  </a:lnTo>
                  <a:lnTo>
                    <a:pt x="1629" y="1679"/>
                  </a:lnTo>
                  <a:lnTo>
                    <a:pt x="1626" y="1685"/>
                  </a:lnTo>
                  <a:lnTo>
                    <a:pt x="1626" y="1686"/>
                  </a:lnTo>
                  <a:lnTo>
                    <a:pt x="1624" y="1686"/>
                  </a:lnTo>
                  <a:lnTo>
                    <a:pt x="1624" y="1685"/>
                  </a:lnTo>
                  <a:lnTo>
                    <a:pt x="1626" y="1682"/>
                  </a:lnTo>
                  <a:lnTo>
                    <a:pt x="1624" y="1680"/>
                  </a:lnTo>
                  <a:lnTo>
                    <a:pt x="1620" y="1679"/>
                  </a:lnTo>
                  <a:lnTo>
                    <a:pt x="1617" y="1679"/>
                  </a:lnTo>
                  <a:lnTo>
                    <a:pt x="1616" y="1683"/>
                  </a:lnTo>
                  <a:lnTo>
                    <a:pt x="1613" y="1686"/>
                  </a:lnTo>
                  <a:lnTo>
                    <a:pt x="1609" y="1686"/>
                  </a:lnTo>
                  <a:lnTo>
                    <a:pt x="1603" y="1685"/>
                  </a:lnTo>
                  <a:lnTo>
                    <a:pt x="1599" y="1685"/>
                  </a:lnTo>
                  <a:lnTo>
                    <a:pt x="1594" y="1686"/>
                  </a:lnTo>
                  <a:lnTo>
                    <a:pt x="1593" y="1689"/>
                  </a:lnTo>
                  <a:lnTo>
                    <a:pt x="1592" y="1689"/>
                  </a:lnTo>
                  <a:lnTo>
                    <a:pt x="1589" y="1695"/>
                  </a:lnTo>
                  <a:lnTo>
                    <a:pt x="1586" y="1698"/>
                  </a:lnTo>
                  <a:lnTo>
                    <a:pt x="1584" y="1702"/>
                  </a:lnTo>
                  <a:lnTo>
                    <a:pt x="1583" y="1705"/>
                  </a:lnTo>
                  <a:lnTo>
                    <a:pt x="1583" y="1710"/>
                  </a:lnTo>
                  <a:lnTo>
                    <a:pt x="1580" y="1715"/>
                  </a:lnTo>
                  <a:lnTo>
                    <a:pt x="1576" y="1718"/>
                  </a:lnTo>
                  <a:lnTo>
                    <a:pt x="1574" y="1719"/>
                  </a:lnTo>
                  <a:lnTo>
                    <a:pt x="1571" y="1722"/>
                  </a:lnTo>
                  <a:lnTo>
                    <a:pt x="1570" y="1726"/>
                  </a:lnTo>
                  <a:lnTo>
                    <a:pt x="1571" y="1736"/>
                  </a:lnTo>
                  <a:lnTo>
                    <a:pt x="1571" y="1741"/>
                  </a:lnTo>
                  <a:lnTo>
                    <a:pt x="1570" y="1745"/>
                  </a:lnTo>
                  <a:lnTo>
                    <a:pt x="1566" y="1748"/>
                  </a:lnTo>
                  <a:lnTo>
                    <a:pt x="1561" y="1749"/>
                  </a:lnTo>
                  <a:lnTo>
                    <a:pt x="1554" y="1748"/>
                  </a:lnTo>
                  <a:lnTo>
                    <a:pt x="1549" y="1746"/>
                  </a:lnTo>
                  <a:lnTo>
                    <a:pt x="1544" y="1746"/>
                  </a:lnTo>
                  <a:lnTo>
                    <a:pt x="1543" y="1748"/>
                  </a:lnTo>
                  <a:lnTo>
                    <a:pt x="1541" y="1751"/>
                  </a:lnTo>
                  <a:lnTo>
                    <a:pt x="1539" y="1755"/>
                  </a:lnTo>
                  <a:lnTo>
                    <a:pt x="1537" y="1759"/>
                  </a:lnTo>
                  <a:lnTo>
                    <a:pt x="1537" y="1765"/>
                  </a:lnTo>
                  <a:lnTo>
                    <a:pt x="1536" y="1771"/>
                  </a:lnTo>
                  <a:lnTo>
                    <a:pt x="1536" y="1776"/>
                  </a:lnTo>
                  <a:lnTo>
                    <a:pt x="1534" y="1779"/>
                  </a:lnTo>
                  <a:lnTo>
                    <a:pt x="1530" y="1784"/>
                  </a:lnTo>
                  <a:lnTo>
                    <a:pt x="1528" y="1786"/>
                  </a:lnTo>
                  <a:lnTo>
                    <a:pt x="1528" y="1791"/>
                  </a:lnTo>
                  <a:lnTo>
                    <a:pt x="1530" y="1795"/>
                  </a:lnTo>
                  <a:lnTo>
                    <a:pt x="1530" y="1799"/>
                  </a:lnTo>
                  <a:lnTo>
                    <a:pt x="1530" y="1802"/>
                  </a:lnTo>
                  <a:lnTo>
                    <a:pt x="1528" y="1805"/>
                  </a:lnTo>
                  <a:lnTo>
                    <a:pt x="1524" y="1811"/>
                  </a:lnTo>
                  <a:lnTo>
                    <a:pt x="1520" y="1819"/>
                  </a:lnTo>
                  <a:lnTo>
                    <a:pt x="1518" y="1825"/>
                  </a:lnTo>
                  <a:lnTo>
                    <a:pt x="1513" y="1831"/>
                  </a:lnTo>
                  <a:lnTo>
                    <a:pt x="1506" y="1835"/>
                  </a:lnTo>
                  <a:lnTo>
                    <a:pt x="1501" y="1839"/>
                  </a:lnTo>
                  <a:lnTo>
                    <a:pt x="1498" y="1841"/>
                  </a:lnTo>
                  <a:lnTo>
                    <a:pt x="1497" y="1841"/>
                  </a:lnTo>
                  <a:lnTo>
                    <a:pt x="1493" y="1841"/>
                  </a:lnTo>
                  <a:lnTo>
                    <a:pt x="1491" y="1841"/>
                  </a:lnTo>
                  <a:lnTo>
                    <a:pt x="1490" y="1841"/>
                  </a:lnTo>
                  <a:lnTo>
                    <a:pt x="1487" y="1842"/>
                  </a:lnTo>
                  <a:lnTo>
                    <a:pt x="1486" y="1844"/>
                  </a:lnTo>
                  <a:lnTo>
                    <a:pt x="1481" y="1845"/>
                  </a:lnTo>
                  <a:lnTo>
                    <a:pt x="1477" y="1847"/>
                  </a:lnTo>
                  <a:lnTo>
                    <a:pt x="1475" y="1849"/>
                  </a:lnTo>
                  <a:lnTo>
                    <a:pt x="1475" y="1851"/>
                  </a:lnTo>
                  <a:lnTo>
                    <a:pt x="1475" y="1852"/>
                  </a:lnTo>
                  <a:lnTo>
                    <a:pt x="1477" y="1855"/>
                  </a:lnTo>
                  <a:lnTo>
                    <a:pt x="1477" y="1857"/>
                  </a:lnTo>
                  <a:lnTo>
                    <a:pt x="1475" y="1858"/>
                  </a:lnTo>
                  <a:lnTo>
                    <a:pt x="1471" y="1859"/>
                  </a:lnTo>
                  <a:lnTo>
                    <a:pt x="1467" y="1861"/>
                  </a:lnTo>
                  <a:lnTo>
                    <a:pt x="1464" y="1865"/>
                  </a:lnTo>
                  <a:lnTo>
                    <a:pt x="1463" y="1869"/>
                  </a:lnTo>
                  <a:lnTo>
                    <a:pt x="1460" y="1874"/>
                  </a:lnTo>
                  <a:lnTo>
                    <a:pt x="1455" y="1875"/>
                  </a:lnTo>
                  <a:lnTo>
                    <a:pt x="1450" y="1878"/>
                  </a:lnTo>
                  <a:lnTo>
                    <a:pt x="1445" y="1882"/>
                  </a:lnTo>
                  <a:lnTo>
                    <a:pt x="1438" y="1891"/>
                  </a:lnTo>
                  <a:lnTo>
                    <a:pt x="1430" y="1897"/>
                  </a:lnTo>
                  <a:lnTo>
                    <a:pt x="1420" y="1898"/>
                  </a:lnTo>
                  <a:lnTo>
                    <a:pt x="1415" y="1900"/>
                  </a:lnTo>
                  <a:lnTo>
                    <a:pt x="1412" y="1901"/>
                  </a:lnTo>
                  <a:lnTo>
                    <a:pt x="1405" y="1908"/>
                  </a:lnTo>
                  <a:lnTo>
                    <a:pt x="1400" y="1914"/>
                  </a:lnTo>
                  <a:lnTo>
                    <a:pt x="1397" y="1918"/>
                  </a:lnTo>
                  <a:lnTo>
                    <a:pt x="1392" y="1927"/>
                  </a:lnTo>
                  <a:lnTo>
                    <a:pt x="1392" y="1930"/>
                  </a:lnTo>
                  <a:lnTo>
                    <a:pt x="1392" y="1930"/>
                  </a:lnTo>
                  <a:lnTo>
                    <a:pt x="1395" y="1930"/>
                  </a:lnTo>
                  <a:lnTo>
                    <a:pt x="1395" y="1932"/>
                  </a:lnTo>
                  <a:lnTo>
                    <a:pt x="1394" y="1937"/>
                  </a:lnTo>
                  <a:lnTo>
                    <a:pt x="1391" y="1940"/>
                  </a:lnTo>
                  <a:lnTo>
                    <a:pt x="1388" y="1941"/>
                  </a:lnTo>
                  <a:lnTo>
                    <a:pt x="1387" y="1942"/>
                  </a:lnTo>
                  <a:lnTo>
                    <a:pt x="1387" y="1948"/>
                  </a:lnTo>
                  <a:lnTo>
                    <a:pt x="1394" y="1950"/>
                  </a:lnTo>
                  <a:lnTo>
                    <a:pt x="1397" y="1948"/>
                  </a:lnTo>
                  <a:lnTo>
                    <a:pt x="1401" y="1941"/>
                  </a:lnTo>
                  <a:lnTo>
                    <a:pt x="1402" y="1937"/>
                  </a:lnTo>
                  <a:lnTo>
                    <a:pt x="1402" y="1932"/>
                  </a:lnTo>
                  <a:lnTo>
                    <a:pt x="1404" y="1927"/>
                  </a:lnTo>
                  <a:lnTo>
                    <a:pt x="1407" y="1920"/>
                  </a:lnTo>
                  <a:lnTo>
                    <a:pt x="1408" y="1918"/>
                  </a:lnTo>
                  <a:lnTo>
                    <a:pt x="1410" y="1915"/>
                  </a:lnTo>
                  <a:lnTo>
                    <a:pt x="1411" y="1914"/>
                  </a:lnTo>
                  <a:lnTo>
                    <a:pt x="1412" y="1911"/>
                  </a:lnTo>
                  <a:lnTo>
                    <a:pt x="1415" y="1910"/>
                  </a:lnTo>
                  <a:lnTo>
                    <a:pt x="1420" y="1910"/>
                  </a:lnTo>
                  <a:lnTo>
                    <a:pt x="1425" y="1911"/>
                  </a:lnTo>
                  <a:lnTo>
                    <a:pt x="1428" y="1911"/>
                  </a:lnTo>
                  <a:lnTo>
                    <a:pt x="1430" y="1911"/>
                  </a:lnTo>
                  <a:lnTo>
                    <a:pt x="1433" y="1910"/>
                  </a:lnTo>
                  <a:lnTo>
                    <a:pt x="1435" y="1910"/>
                  </a:lnTo>
                  <a:lnTo>
                    <a:pt x="1440" y="1908"/>
                  </a:lnTo>
                  <a:lnTo>
                    <a:pt x="1441" y="1908"/>
                  </a:lnTo>
                  <a:lnTo>
                    <a:pt x="1444" y="1905"/>
                  </a:lnTo>
                  <a:lnTo>
                    <a:pt x="1448" y="1900"/>
                  </a:lnTo>
                  <a:lnTo>
                    <a:pt x="1453" y="1898"/>
                  </a:lnTo>
                  <a:lnTo>
                    <a:pt x="1457" y="1895"/>
                  </a:lnTo>
                  <a:lnTo>
                    <a:pt x="1460" y="1894"/>
                  </a:lnTo>
                  <a:lnTo>
                    <a:pt x="1460" y="1890"/>
                  </a:lnTo>
                  <a:lnTo>
                    <a:pt x="1458" y="1884"/>
                  </a:lnTo>
                  <a:lnTo>
                    <a:pt x="1458" y="1881"/>
                  </a:lnTo>
                  <a:lnTo>
                    <a:pt x="1460" y="1879"/>
                  </a:lnTo>
                  <a:lnTo>
                    <a:pt x="1461" y="1877"/>
                  </a:lnTo>
                  <a:lnTo>
                    <a:pt x="1465" y="1875"/>
                  </a:lnTo>
                  <a:lnTo>
                    <a:pt x="1471" y="1877"/>
                  </a:lnTo>
                  <a:lnTo>
                    <a:pt x="1473" y="1877"/>
                  </a:lnTo>
                  <a:lnTo>
                    <a:pt x="1473" y="1874"/>
                  </a:lnTo>
                  <a:lnTo>
                    <a:pt x="1474" y="1874"/>
                  </a:lnTo>
                  <a:lnTo>
                    <a:pt x="1475" y="1875"/>
                  </a:lnTo>
                  <a:lnTo>
                    <a:pt x="1477" y="1875"/>
                  </a:lnTo>
                  <a:lnTo>
                    <a:pt x="1478" y="1872"/>
                  </a:lnTo>
                  <a:lnTo>
                    <a:pt x="1484" y="1864"/>
                  </a:lnTo>
                  <a:lnTo>
                    <a:pt x="1486" y="1861"/>
                  </a:lnTo>
                  <a:lnTo>
                    <a:pt x="1490" y="1861"/>
                  </a:lnTo>
                  <a:lnTo>
                    <a:pt x="1491" y="1858"/>
                  </a:lnTo>
                  <a:lnTo>
                    <a:pt x="1493" y="1855"/>
                  </a:lnTo>
                  <a:lnTo>
                    <a:pt x="1494" y="1854"/>
                  </a:lnTo>
                  <a:lnTo>
                    <a:pt x="1496" y="1854"/>
                  </a:lnTo>
                  <a:lnTo>
                    <a:pt x="1497" y="1855"/>
                  </a:lnTo>
                  <a:lnTo>
                    <a:pt x="1497" y="1858"/>
                  </a:lnTo>
                  <a:lnTo>
                    <a:pt x="1497" y="1859"/>
                  </a:lnTo>
                  <a:lnTo>
                    <a:pt x="1498" y="1859"/>
                  </a:lnTo>
                  <a:lnTo>
                    <a:pt x="1500" y="1859"/>
                  </a:lnTo>
                  <a:lnTo>
                    <a:pt x="1500" y="1855"/>
                  </a:lnTo>
                  <a:lnTo>
                    <a:pt x="1498" y="1852"/>
                  </a:lnTo>
                  <a:lnTo>
                    <a:pt x="1500" y="1851"/>
                  </a:lnTo>
                  <a:lnTo>
                    <a:pt x="1500" y="1848"/>
                  </a:lnTo>
                  <a:lnTo>
                    <a:pt x="1500" y="1847"/>
                  </a:lnTo>
                  <a:lnTo>
                    <a:pt x="1498" y="1847"/>
                  </a:lnTo>
                  <a:lnTo>
                    <a:pt x="1497" y="1847"/>
                  </a:lnTo>
                  <a:lnTo>
                    <a:pt x="1497" y="1845"/>
                  </a:lnTo>
                  <a:lnTo>
                    <a:pt x="1498" y="1844"/>
                  </a:lnTo>
                  <a:lnTo>
                    <a:pt x="1503" y="1845"/>
                  </a:lnTo>
                  <a:lnTo>
                    <a:pt x="1510" y="1847"/>
                  </a:lnTo>
                  <a:lnTo>
                    <a:pt x="1514" y="1845"/>
                  </a:lnTo>
                  <a:lnTo>
                    <a:pt x="1518" y="1844"/>
                  </a:lnTo>
                  <a:lnTo>
                    <a:pt x="1524" y="1837"/>
                  </a:lnTo>
                  <a:lnTo>
                    <a:pt x="1527" y="1828"/>
                  </a:lnTo>
                  <a:lnTo>
                    <a:pt x="1530" y="1825"/>
                  </a:lnTo>
                  <a:lnTo>
                    <a:pt x="1536" y="1822"/>
                  </a:lnTo>
                  <a:lnTo>
                    <a:pt x="1537" y="1819"/>
                  </a:lnTo>
                  <a:lnTo>
                    <a:pt x="1539" y="1814"/>
                  </a:lnTo>
                  <a:lnTo>
                    <a:pt x="1540" y="1812"/>
                  </a:lnTo>
                  <a:lnTo>
                    <a:pt x="1541" y="1811"/>
                  </a:lnTo>
                  <a:lnTo>
                    <a:pt x="1543" y="1812"/>
                  </a:lnTo>
                  <a:lnTo>
                    <a:pt x="1544" y="1815"/>
                  </a:lnTo>
                  <a:lnTo>
                    <a:pt x="1547" y="1816"/>
                  </a:lnTo>
                  <a:lnTo>
                    <a:pt x="1554" y="1819"/>
                  </a:lnTo>
                  <a:lnTo>
                    <a:pt x="1560" y="1819"/>
                  </a:lnTo>
                  <a:lnTo>
                    <a:pt x="1566" y="1819"/>
                  </a:lnTo>
                  <a:lnTo>
                    <a:pt x="1567" y="1819"/>
                  </a:lnTo>
                  <a:lnTo>
                    <a:pt x="1570" y="1821"/>
                  </a:lnTo>
                  <a:lnTo>
                    <a:pt x="1574" y="1822"/>
                  </a:lnTo>
                  <a:lnTo>
                    <a:pt x="1579" y="1822"/>
                  </a:lnTo>
                  <a:lnTo>
                    <a:pt x="1584" y="1822"/>
                  </a:lnTo>
                  <a:lnTo>
                    <a:pt x="1589" y="1824"/>
                  </a:lnTo>
                  <a:lnTo>
                    <a:pt x="1592" y="1825"/>
                  </a:lnTo>
                  <a:lnTo>
                    <a:pt x="1592" y="1821"/>
                  </a:lnTo>
                  <a:lnTo>
                    <a:pt x="1590" y="1821"/>
                  </a:lnTo>
                  <a:lnTo>
                    <a:pt x="1589" y="1818"/>
                  </a:lnTo>
                  <a:lnTo>
                    <a:pt x="1587" y="1815"/>
                  </a:lnTo>
                  <a:lnTo>
                    <a:pt x="1584" y="1815"/>
                  </a:lnTo>
                  <a:lnTo>
                    <a:pt x="1581" y="1815"/>
                  </a:lnTo>
                  <a:lnTo>
                    <a:pt x="1576" y="1815"/>
                  </a:lnTo>
                  <a:lnTo>
                    <a:pt x="1570" y="1815"/>
                  </a:lnTo>
                  <a:lnTo>
                    <a:pt x="1567" y="1814"/>
                  </a:lnTo>
                  <a:lnTo>
                    <a:pt x="1561" y="1811"/>
                  </a:lnTo>
                  <a:lnTo>
                    <a:pt x="1556" y="1808"/>
                  </a:lnTo>
                  <a:lnTo>
                    <a:pt x="1550" y="1805"/>
                  </a:lnTo>
                  <a:lnTo>
                    <a:pt x="1547" y="1801"/>
                  </a:lnTo>
                  <a:lnTo>
                    <a:pt x="1544" y="1792"/>
                  </a:lnTo>
                  <a:lnTo>
                    <a:pt x="1544" y="1786"/>
                  </a:lnTo>
                  <a:lnTo>
                    <a:pt x="1544" y="1781"/>
                  </a:lnTo>
                  <a:lnTo>
                    <a:pt x="1546" y="1778"/>
                  </a:lnTo>
                  <a:lnTo>
                    <a:pt x="1549" y="1772"/>
                  </a:lnTo>
                  <a:lnTo>
                    <a:pt x="1553" y="1768"/>
                  </a:lnTo>
                  <a:lnTo>
                    <a:pt x="1556" y="1769"/>
                  </a:lnTo>
                  <a:lnTo>
                    <a:pt x="1563" y="1772"/>
                  </a:lnTo>
                  <a:lnTo>
                    <a:pt x="1569" y="1775"/>
                  </a:lnTo>
                  <a:lnTo>
                    <a:pt x="1574" y="1776"/>
                  </a:lnTo>
                  <a:lnTo>
                    <a:pt x="1577" y="1775"/>
                  </a:lnTo>
                  <a:lnTo>
                    <a:pt x="1581" y="1771"/>
                  </a:lnTo>
                  <a:lnTo>
                    <a:pt x="1584" y="1769"/>
                  </a:lnTo>
                  <a:lnTo>
                    <a:pt x="1592" y="1769"/>
                  </a:lnTo>
                  <a:lnTo>
                    <a:pt x="1602" y="1768"/>
                  </a:lnTo>
                  <a:lnTo>
                    <a:pt x="1609" y="1766"/>
                  </a:lnTo>
                  <a:lnTo>
                    <a:pt x="1617" y="1766"/>
                  </a:lnTo>
                  <a:lnTo>
                    <a:pt x="1622" y="1763"/>
                  </a:lnTo>
                  <a:lnTo>
                    <a:pt x="1626" y="1758"/>
                  </a:lnTo>
                  <a:lnTo>
                    <a:pt x="1627" y="1755"/>
                  </a:lnTo>
                  <a:lnTo>
                    <a:pt x="1630" y="1751"/>
                  </a:lnTo>
                  <a:lnTo>
                    <a:pt x="1634" y="1751"/>
                  </a:lnTo>
                  <a:lnTo>
                    <a:pt x="1640" y="1752"/>
                  </a:lnTo>
                  <a:lnTo>
                    <a:pt x="1643" y="1753"/>
                  </a:lnTo>
                  <a:lnTo>
                    <a:pt x="1647" y="1752"/>
                  </a:lnTo>
                  <a:lnTo>
                    <a:pt x="1649" y="1751"/>
                  </a:lnTo>
                  <a:lnTo>
                    <a:pt x="1649" y="1749"/>
                  </a:lnTo>
                  <a:lnTo>
                    <a:pt x="1647" y="1748"/>
                  </a:lnTo>
                  <a:lnTo>
                    <a:pt x="1644" y="1748"/>
                  </a:lnTo>
                  <a:lnTo>
                    <a:pt x="1642" y="1748"/>
                  </a:lnTo>
                  <a:lnTo>
                    <a:pt x="1637" y="1748"/>
                  </a:lnTo>
                  <a:lnTo>
                    <a:pt x="1636" y="1748"/>
                  </a:lnTo>
                  <a:lnTo>
                    <a:pt x="1636" y="1746"/>
                  </a:lnTo>
                  <a:lnTo>
                    <a:pt x="1636" y="1743"/>
                  </a:lnTo>
                  <a:lnTo>
                    <a:pt x="1640" y="1741"/>
                  </a:lnTo>
                  <a:lnTo>
                    <a:pt x="1653" y="1735"/>
                  </a:lnTo>
                  <a:lnTo>
                    <a:pt x="1669" y="1729"/>
                  </a:lnTo>
                  <a:lnTo>
                    <a:pt x="1675" y="1725"/>
                  </a:lnTo>
                  <a:lnTo>
                    <a:pt x="1680" y="1722"/>
                  </a:lnTo>
                  <a:lnTo>
                    <a:pt x="1685" y="1719"/>
                  </a:lnTo>
                  <a:lnTo>
                    <a:pt x="1686" y="1718"/>
                  </a:lnTo>
                  <a:lnTo>
                    <a:pt x="1686" y="1716"/>
                  </a:lnTo>
                  <a:lnTo>
                    <a:pt x="1685" y="1715"/>
                  </a:lnTo>
                  <a:lnTo>
                    <a:pt x="1682" y="1712"/>
                  </a:lnTo>
                  <a:lnTo>
                    <a:pt x="1682" y="1709"/>
                  </a:lnTo>
                  <a:lnTo>
                    <a:pt x="1682" y="1706"/>
                  </a:lnTo>
                  <a:lnTo>
                    <a:pt x="1685" y="1706"/>
                  </a:lnTo>
                  <a:lnTo>
                    <a:pt x="1687" y="1708"/>
                  </a:lnTo>
                  <a:lnTo>
                    <a:pt x="1690" y="1712"/>
                  </a:lnTo>
                  <a:lnTo>
                    <a:pt x="1692" y="1712"/>
                  </a:lnTo>
                  <a:lnTo>
                    <a:pt x="1692" y="1712"/>
                  </a:lnTo>
                  <a:lnTo>
                    <a:pt x="1692" y="1709"/>
                  </a:lnTo>
                  <a:lnTo>
                    <a:pt x="1685" y="1703"/>
                  </a:lnTo>
                  <a:lnTo>
                    <a:pt x="1683" y="1702"/>
                  </a:lnTo>
                  <a:lnTo>
                    <a:pt x="1682" y="1702"/>
                  </a:lnTo>
                  <a:lnTo>
                    <a:pt x="1680" y="1702"/>
                  </a:lnTo>
                  <a:lnTo>
                    <a:pt x="1679" y="1702"/>
                  </a:lnTo>
                  <a:lnTo>
                    <a:pt x="1677" y="1700"/>
                  </a:lnTo>
                  <a:lnTo>
                    <a:pt x="1679" y="1693"/>
                  </a:lnTo>
                  <a:lnTo>
                    <a:pt x="1682" y="1692"/>
                  </a:lnTo>
                  <a:lnTo>
                    <a:pt x="1683" y="1693"/>
                  </a:lnTo>
                  <a:lnTo>
                    <a:pt x="1690" y="1702"/>
                  </a:lnTo>
                  <a:lnTo>
                    <a:pt x="1695" y="1708"/>
                  </a:lnTo>
                  <a:lnTo>
                    <a:pt x="1699" y="1709"/>
                  </a:lnTo>
                  <a:lnTo>
                    <a:pt x="1703" y="1709"/>
                  </a:lnTo>
                  <a:lnTo>
                    <a:pt x="1709" y="1708"/>
                  </a:lnTo>
                  <a:lnTo>
                    <a:pt x="1712" y="1705"/>
                  </a:lnTo>
                  <a:lnTo>
                    <a:pt x="1715" y="1702"/>
                  </a:lnTo>
                  <a:lnTo>
                    <a:pt x="1716" y="1698"/>
                  </a:lnTo>
                  <a:lnTo>
                    <a:pt x="1722" y="1692"/>
                  </a:lnTo>
                  <a:lnTo>
                    <a:pt x="1722" y="1690"/>
                  </a:lnTo>
                  <a:lnTo>
                    <a:pt x="1723" y="1689"/>
                  </a:lnTo>
                  <a:lnTo>
                    <a:pt x="1722" y="1689"/>
                  </a:lnTo>
                  <a:lnTo>
                    <a:pt x="1720" y="1689"/>
                  </a:lnTo>
                  <a:lnTo>
                    <a:pt x="1719" y="1688"/>
                  </a:lnTo>
                  <a:lnTo>
                    <a:pt x="1719" y="1685"/>
                  </a:lnTo>
                  <a:lnTo>
                    <a:pt x="1720" y="1682"/>
                  </a:lnTo>
                  <a:lnTo>
                    <a:pt x="1726" y="1680"/>
                  </a:lnTo>
                  <a:lnTo>
                    <a:pt x="1732" y="1679"/>
                  </a:lnTo>
                  <a:lnTo>
                    <a:pt x="1733" y="1678"/>
                  </a:lnTo>
                  <a:lnTo>
                    <a:pt x="1733" y="1676"/>
                  </a:lnTo>
                  <a:lnTo>
                    <a:pt x="1733" y="1675"/>
                  </a:lnTo>
                  <a:lnTo>
                    <a:pt x="1730" y="1673"/>
                  </a:lnTo>
                  <a:lnTo>
                    <a:pt x="1730" y="1672"/>
                  </a:lnTo>
                  <a:lnTo>
                    <a:pt x="1733" y="1669"/>
                  </a:lnTo>
                  <a:lnTo>
                    <a:pt x="1735" y="1669"/>
                  </a:lnTo>
                  <a:lnTo>
                    <a:pt x="1736" y="1669"/>
                  </a:lnTo>
                  <a:lnTo>
                    <a:pt x="1738" y="1669"/>
                  </a:lnTo>
                  <a:lnTo>
                    <a:pt x="1742" y="1663"/>
                  </a:lnTo>
                  <a:lnTo>
                    <a:pt x="1745" y="1662"/>
                  </a:lnTo>
                  <a:lnTo>
                    <a:pt x="1750" y="1660"/>
                  </a:lnTo>
                  <a:lnTo>
                    <a:pt x="1753" y="1655"/>
                  </a:lnTo>
                  <a:lnTo>
                    <a:pt x="1750" y="1650"/>
                  </a:lnTo>
                  <a:lnTo>
                    <a:pt x="1749" y="1643"/>
                  </a:lnTo>
                  <a:lnTo>
                    <a:pt x="1746" y="1643"/>
                  </a:lnTo>
                  <a:lnTo>
                    <a:pt x="1742" y="1643"/>
                  </a:lnTo>
                  <a:lnTo>
                    <a:pt x="1740" y="1642"/>
                  </a:lnTo>
                  <a:lnTo>
                    <a:pt x="1740" y="1642"/>
                  </a:lnTo>
                  <a:lnTo>
                    <a:pt x="1739" y="1642"/>
                  </a:lnTo>
                  <a:lnTo>
                    <a:pt x="1739" y="1645"/>
                  </a:lnTo>
                  <a:lnTo>
                    <a:pt x="1738" y="1647"/>
                  </a:lnTo>
                  <a:lnTo>
                    <a:pt x="1732" y="1650"/>
                  </a:lnTo>
                  <a:lnTo>
                    <a:pt x="1729" y="1655"/>
                  </a:lnTo>
                  <a:lnTo>
                    <a:pt x="1728" y="1659"/>
                  </a:lnTo>
                  <a:lnTo>
                    <a:pt x="1725" y="1662"/>
                  </a:lnTo>
                  <a:lnTo>
                    <a:pt x="1720" y="1662"/>
                  </a:lnTo>
                  <a:lnTo>
                    <a:pt x="1715" y="1662"/>
                  </a:lnTo>
                  <a:lnTo>
                    <a:pt x="1709" y="1663"/>
                  </a:lnTo>
                  <a:lnTo>
                    <a:pt x="1702" y="1665"/>
                  </a:lnTo>
                  <a:lnTo>
                    <a:pt x="1702" y="1665"/>
                  </a:lnTo>
                  <a:lnTo>
                    <a:pt x="1702" y="1668"/>
                  </a:lnTo>
                  <a:lnTo>
                    <a:pt x="1703" y="1670"/>
                  </a:lnTo>
                  <a:lnTo>
                    <a:pt x="1702" y="1672"/>
                  </a:lnTo>
                  <a:lnTo>
                    <a:pt x="1699" y="1672"/>
                  </a:lnTo>
                  <a:lnTo>
                    <a:pt x="1695" y="1668"/>
                  </a:lnTo>
                  <a:lnTo>
                    <a:pt x="1686" y="1650"/>
                  </a:lnTo>
                  <a:lnTo>
                    <a:pt x="1686" y="1645"/>
                  </a:lnTo>
                  <a:lnTo>
                    <a:pt x="1686" y="1642"/>
                  </a:lnTo>
                  <a:lnTo>
                    <a:pt x="1692" y="1639"/>
                  </a:lnTo>
                  <a:lnTo>
                    <a:pt x="1697" y="1633"/>
                  </a:lnTo>
                  <a:lnTo>
                    <a:pt x="1699" y="1627"/>
                  </a:lnTo>
                  <a:lnTo>
                    <a:pt x="1700" y="1617"/>
                  </a:lnTo>
                  <a:lnTo>
                    <a:pt x="1703" y="1610"/>
                  </a:lnTo>
                  <a:lnTo>
                    <a:pt x="1709" y="1607"/>
                  </a:lnTo>
                  <a:lnTo>
                    <a:pt x="1718" y="1606"/>
                  </a:lnTo>
                  <a:lnTo>
                    <a:pt x="1728" y="1607"/>
                  </a:lnTo>
                  <a:lnTo>
                    <a:pt x="1736" y="1610"/>
                  </a:lnTo>
                  <a:lnTo>
                    <a:pt x="1745" y="1617"/>
                  </a:lnTo>
                  <a:lnTo>
                    <a:pt x="1749" y="1619"/>
                  </a:lnTo>
                  <a:lnTo>
                    <a:pt x="1752" y="1619"/>
                  </a:lnTo>
                  <a:lnTo>
                    <a:pt x="1755" y="1613"/>
                  </a:lnTo>
                  <a:lnTo>
                    <a:pt x="1755" y="1612"/>
                  </a:lnTo>
                  <a:lnTo>
                    <a:pt x="1753" y="1606"/>
                  </a:lnTo>
                  <a:lnTo>
                    <a:pt x="1753" y="1599"/>
                  </a:lnTo>
                  <a:lnTo>
                    <a:pt x="1758" y="1594"/>
                  </a:lnTo>
                  <a:lnTo>
                    <a:pt x="1765" y="1590"/>
                  </a:lnTo>
                  <a:lnTo>
                    <a:pt x="1771" y="1590"/>
                  </a:lnTo>
                  <a:lnTo>
                    <a:pt x="1773" y="1593"/>
                  </a:lnTo>
                  <a:lnTo>
                    <a:pt x="1775" y="1594"/>
                  </a:lnTo>
                  <a:lnTo>
                    <a:pt x="1775" y="1596"/>
                  </a:lnTo>
                  <a:lnTo>
                    <a:pt x="1772" y="1599"/>
                  </a:lnTo>
                  <a:lnTo>
                    <a:pt x="1769" y="1600"/>
                  </a:lnTo>
                  <a:lnTo>
                    <a:pt x="1768" y="1603"/>
                  </a:lnTo>
                  <a:lnTo>
                    <a:pt x="1765" y="1603"/>
                  </a:lnTo>
                  <a:lnTo>
                    <a:pt x="1765" y="1603"/>
                  </a:lnTo>
                  <a:lnTo>
                    <a:pt x="1762" y="1602"/>
                  </a:lnTo>
                  <a:lnTo>
                    <a:pt x="1762" y="1604"/>
                  </a:lnTo>
                  <a:lnTo>
                    <a:pt x="1761" y="1610"/>
                  </a:lnTo>
                  <a:lnTo>
                    <a:pt x="1768" y="1625"/>
                  </a:lnTo>
                  <a:lnTo>
                    <a:pt x="1771" y="1630"/>
                  </a:lnTo>
                  <a:lnTo>
                    <a:pt x="1776" y="1636"/>
                  </a:lnTo>
                  <a:lnTo>
                    <a:pt x="1776" y="1636"/>
                  </a:lnTo>
                  <a:lnTo>
                    <a:pt x="1768" y="1639"/>
                  </a:lnTo>
                  <a:lnTo>
                    <a:pt x="1763" y="1643"/>
                  </a:lnTo>
                  <a:lnTo>
                    <a:pt x="1763" y="1646"/>
                  </a:lnTo>
                  <a:lnTo>
                    <a:pt x="1763" y="1647"/>
                  </a:lnTo>
                  <a:lnTo>
                    <a:pt x="1763" y="1647"/>
                  </a:lnTo>
                  <a:lnTo>
                    <a:pt x="1775" y="1665"/>
                  </a:lnTo>
                  <a:lnTo>
                    <a:pt x="1778" y="1672"/>
                  </a:lnTo>
                  <a:lnTo>
                    <a:pt x="1778" y="1673"/>
                  </a:lnTo>
                  <a:lnTo>
                    <a:pt x="1776" y="1675"/>
                  </a:lnTo>
                  <a:lnTo>
                    <a:pt x="1776" y="1675"/>
                  </a:lnTo>
                  <a:lnTo>
                    <a:pt x="1771" y="1675"/>
                  </a:lnTo>
                  <a:lnTo>
                    <a:pt x="1763" y="1673"/>
                  </a:lnTo>
                  <a:lnTo>
                    <a:pt x="1758" y="1673"/>
                  </a:lnTo>
                  <a:lnTo>
                    <a:pt x="1755" y="1675"/>
                  </a:lnTo>
                  <a:lnTo>
                    <a:pt x="1755" y="1675"/>
                  </a:lnTo>
                  <a:lnTo>
                    <a:pt x="1753" y="1682"/>
                  </a:lnTo>
                  <a:lnTo>
                    <a:pt x="1750" y="1685"/>
                  </a:lnTo>
                  <a:lnTo>
                    <a:pt x="1748" y="1686"/>
                  </a:lnTo>
                  <a:lnTo>
                    <a:pt x="1748" y="1686"/>
                  </a:lnTo>
                  <a:lnTo>
                    <a:pt x="1745" y="1688"/>
                  </a:lnTo>
                  <a:lnTo>
                    <a:pt x="1742" y="1689"/>
                  </a:lnTo>
                  <a:lnTo>
                    <a:pt x="1742" y="1696"/>
                  </a:lnTo>
                  <a:lnTo>
                    <a:pt x="1742" y="1696"/>
                  </a:lnTo>
                  <a:lnTo>
                    <a:pt x="1740" y="1700"/>
                  </a:lnTo>
                  <a:lnTo>
                    <a:pt x="1739" y="1702"/>
                  </a:lnTo>
                  <a:lnTo>
                    <a:pt x="1735" y="1703"/>
                  </a:lnTo>
                  <a:lnTo>
                    <a:pt x="1735" y="1703"/>
                  </a:lnTo>
                  <a:lnTo>
                    <a:pt x="1732" y="1708"/>
                  </a:lnTo>
                  <a:lnTo>
                    <a:pt x="1730" y="1713"/>
                  </a:lnTo>
                  <a:lnTo>
                    <a:pt x="1746" y="1726"/>
                  </a:lnTo>
                  <a:lnTo>
                    <a:pt x="1742" y="1739"/>
                  </a:lnTo>
                  <a:lnTo>
                    <a:pt x="1745" y="1743"/>
                  </a:lnTo>
                  <a:lnTo>
                    <a:pt x="1745" y="1746"/>
                  </a:lnTo>
                  <a:lnTo>
                    <a:pt x="1748" y="1748"/>
                  </a:lnTo>
                  <a:lnTo>
                    <a:pt x="1752" y="1748"/>
                  </a:lnTo>
                  <a:lnTo>
                    <a:pt x="1761" y="1746"/>
                  </a:lnTo>
                  <a:lnTo>
                    <a:pt x="1763" y="1748"/>
                  </a:lnTo>
                  <a:lnTo>
                    <a:pt x="1762" y="1751"/>
                  </a:lnTo>
                  <a:lnTo>
                    <a:pt x="1761" y="1753"/>
                  </a:lnTo>
                  <a:lnTo>
                    <a:pt x="1759" y="1755"/>
                  </a:lnTo>
                  <a:lnTo>
                    <a:pt x="1759" y="1758"/>
                  </a:lnTo>
                  <a:lnTo>
                    <a:pt x="1763" y="1762"/>
                  </a:lnTo>
                  <a:lnTo>
                    <a:pt x="1762" y="1765"/>
                  </a:lnTo>
                  <a:lnTo>
                    <a:pt x="1762" y="1768"/>
                  </a:lnTo>
                  <a:lnTo>
                    <a:pt x="1758" y="1772"/>
                  </a:lnTo>
                  <a:lnTo>
                    <a:pt x="1755" y="1773"/>
                  </a:lnTo>
                  <a:lnTo>
                    <a:pt x="1756" y="1778"/>
                  </a:lnTo>
                  <a:lnTo>
                    <a:pt x="1765" y="1786"/>
                  </a:lnTo>
                  <a:lnTo>
                    <a:pt x="1765" y="1792"/>
                  </a:lnTo>
                  <a:lnTo>
                    <a:pt x="1765" y="1796"/>
                  </a:lnTo>
                  <a:lnTo>
                    <a:pt x="1765" y="1799"/>
                  </a:lnTo>
                  <a:lnTo>
                    <a:pt x="1768" y="1799"/>
                  </a:lnTo>
                  <a:lnTo>
                    <a:pt x="1769" y="1801"/>
                  </a:lnTo>
                  <a:lnTo>
                    <a:pt x="1769" y="1802"/>
                  </a:lnTo>
                  <a:lnTo>
                    <a:pt x="1768" y="1804"/>
                  </a:lnTo>
                  <a:lnTo>
                    <a:pt x="1765" y="1806"/>
                  </a:lnTo>
                  <a:lnTo>
                    <a:pt x="1765" y="1809"/>
                  </a:lnTo>
                  <a:lnTo>
                    <a:pt x="1771" y="1821"/>
                  </a:lnTo>
                  <a:lnTo>
                    <a:pt x="1773" y="1826"/>
                  </a:lnTo>
                  <a:lnTo>
                    <a:pt x="1776" y="1828"/>
                  </a:lnTo>
                  <a:lnTo>
                    <a:pt x="1779" y="1828"/>
                  </a:lnTo>
                  <a:lnTo>
                    <a:pt x="1781" y="1831"/>
                  </a:lnTo>
                  <a:lnTo>
                    <a:pt x="1778" y="1839"/>
                  </a:lnTo>
                  <a:lnTo>
                    <a:pt x="1779" y="1841"/>
                  </a:lnTo>
                  <a:lnTo>
                    <a:pt x="1782" y="1841"/>
                  </a:lnTo>
                  <a:lnTo>
                    <a:pt x="1786" y="1841"/>
                  </a:lnTo>
                  <a:lnTo>
                    <a:pt x="1791" y="1842"/>
                  </a:lnTo>
                  <a:lnTo>
                    <a:pt x="1796" y="1845"/>
                  </a:lnTo>
                  <a:lnTo>
                    <a:pt x="1806" y="1851"/>
                  </a:lnTo>
                  <a:lnTo>
                    <a:pt x="1805" y="1852"/>
                  </a:lnTo>
                  <a:lnTo>
                    <a:pt x="1803" y="1852"/>
                  </a:lnTo>
                  <a:lnTo>
                    <a:pt x="1801" y="1855"/>
                  </a:lnTo>
                  <a:lnTo>
                    <a:pt x="1799" y="1858"/>
                  </a:lnTo>
                  <a:lnTo>
                    <a:pt x="1796" y="1867"/>
                  </a:lnTo>
                  <a:lnTo>
                    <a:pt x="1796" y="1871"/>
                  </a:lnTo>
                  <a:lnTo>
                    <a:pt x="1798" y="1874"/>
                  </a:lnTo>
                  <a:lnTo>
                    <a:pt x="1805" y="1882"/>
                  </a:lnTo>
                  <a:lnTo>
                    <a:pt x="1809" y="1882"/>
                  </a:lnTo>
                  <a:lnTo>
                    <a:pt x="1813" y="1879"/>
                  </a:lnTo>
                  <a:lnTo>
                    <a:pt x="1818" y="1875"/>
                  </a:lnTo>
                  <a:lnTo>
                    <a:pt x="1821" y="1875"/>
                  </a:lnTo>
                  <a:lnTo>
                    <a:pt x="1822" y="1877"/>
                  </a:lnTo>
                  <a:lnTo>
                    <a:pt x="1828" y="1881"/>
                  </a:lnTo>
                  <a:lnTo>
                    <a:pt x="1828" y="1884"/>
                  </a:lnTo>
                  <a:lnTo>
                    <a:pt x="1826" y="1891"/>
                  </a:lnTo>
                  <a:lnTo>
                    <a:pt x="1826" y="1892"/>
                  </a:lnTo>
                  <a:lnTo>
                    <a:pt x="1828" y="1895"/>
                  </a:lnTo>
                  <a:lnTo>
                    <a:pt x="1829" y="1895"/>
                  </a:lnTo>
                  <a:lnTo>
                    <a:pt x="1834" y="1894"/>
                  </a:lnTo>
                  <a:lnTo>
                    <a:pt x="1836" y="1892"/>
                  </a:lnTo>
                  <a:lnTo>
                    <a:pt x="1838" y="1894"/>
                  </a:lnTo>
                  <a:lnTo>
                    <a:pt x="1838" y="1895"/>
                  </a:lnTo>
                  <a:lnTo>
                    <a:pt x="1838" y="1900"/>
                  </a:lnTo>
                  <a:lnTo>
                    <a:pt x="1838" y="1901"/>
                  </a:lnTo>
                  <a:lnTo>
                    <a:pt x="1842" y="1902"/>
                  </a:lnTo>
                  <a:lnTo>
                    <a:pt x="1849" y="1904"/>
                  </a:lnTo>
                  <a:lnTo>
                    <a:pt x="1851" y="1904"/>
                  </a:lnTo>
                  <a:lnTo>
                    <a:pt x="1861" y="1961"/>
                  </a:lnTo>
                  <a:lnTo>
                    <a:pt x="1871" y="2013"/>
                  </a:lnTo>
                  <a:lnTo>
                    <a:pt x="1874" y="2017"/>
                  </a:lnTo>
                  <a:lnTo>
                    <a:pt x="1875" y="2020"/>
                  </a:lnTo>
                  <a:lnTo>
                    <a:pt x="1881" y="2021"/>
                  </a:lnTo>
                  <a:lnTo>
                    <a:pt x="1885" y="2021"/>
                  </a:lnTo>
                  <a:lnTo>
                    <a:pt x="1889" y="2026"/>
                  </a:lnTo>
                  <a:lnTo>
                    <a:pt x="1892" y="2030"/>
                  </a:lnTo>
                  <a:lnTo>
                    <a:pt x="1899" y="2040"/>
                  </a:lnTo>
                  <a:lnTo>
                    <a:pt x="1902" y="2040"/>
                  </a:lnTo>
                  <a:lnTo>
                    <a:pt x="1905" y="2037"/>
                  </a:lnTo>
                  <a:lnTo>
                    <a:pt x="1907" y="2036"/>
                  </a:lnTo>
                  <a:lnTo>
                    <a:pt x="1909" y="2036"/>
                  </a:lnTo>
                  <a:lnTo>
                    <a:pt x="1912" y="2037"/>
                  </a:lnTo>
                  <a:lnTo>
                    <a:pt x="1914" y="2040"/>
                  </a:lnTo>
                  <a:lnTo>
                    <a:pt x="1912" y="2046"/>
                  </a:lnTo>
                  <a:lnTo>
                    <a:pt x="1911" y="2050"/>
                  </a:lnTo>
                  <a:lnTo>
                    <a:pt x="1905" y="2053"/>
                  </a:lnTo>
                  <a:lnTo>
                    <a:pt x="1902" y="2053"/>
                  </a:lnTo>
                  <a:lnTo>
                    <a:pt x="1901" y="2053"/>
                  </a:lnTo>
                  <a:lnTo>
                    <a:pt x="1901" y="2056"/>
                  </a:lnTo>
                  <a:lnTo>
                    <a:pt x="1905" y="2059"/>
                  </a:lnTo>
                  <a:lnTo>
                    <a:pt x="1911" y="2061"/>
                  </a:lnTo>
                  <a:lnTo>
                    <a:pt x="1912" y="2063"/>
                  </a:lnTo>
                  <a:lnTo>
                    <a:pt x="1912" y="2066"/>
                  </a:lnTo>
                  <a:lnTo>
                    <a:pt x="1911" y="2067"/>
                  </a:lnTo>
                  <a:lnTo>
                    <a:pt x="1904" y="2071"/>
                  </a:lnTo>
                  <a:lnTo>
                    <a:pt x="1902" y="2076"/>
                  </a:lnTo>
                  <a:lnTo>
                    <a:pt x="1901" y="2081"/>
                  </a:lnTo>
                  <a:lnTo>
                    <a:pt x="1899" y="2084"/>
                  </a:lnTo>
                  <a:lnTo>
                    <a:pt x="1897" y="2084"/>
                  </a:lnTo>
                  <a:lnTo>
                    <a:pt x="1892" y="2083"/>
                  </a:lnTo>
                  <a:lnTo>
                    <a:pt x="1888" y="2081"/>
                  </a:lnTo>
                  <a:lnTo>
                    <a:pt x="1885" y="2081"/>
                  </a:lnTo>
                  <a:lnTo>
                    <a:pt x="1884" y="2086"/>
                  </a:lnTo>
                  <a:lnTo>
                    <a:pt x="1884" y="2089"/>
                  </a:lnTo>
                  <a:lnTo>
                    <a:pt x="1884" y="2091"/>
                  </a:lnTo>
                  <a:lnTo>
                    <a:pt x="1882" y="2094"/>
                  </a:lnTo>
                  <a:lnTo>
                    <a:pt x="1878" y="2097"/>
                  </a:lnTo>
                  <a:lnTo>
                    <a:pt x="1871" y="2099"/>
                  </a:lnTo>
                  <a:lnTo>
                    <a:pt x="1866" y="2100"/>
                  </a:lnTo>
                  <a:lnTo>
                    <a:pt x="1862" y="2104"/>
                  </a:lnTo>
                  <a:lnTo>
                    <a:pt x="1859" y="2109"/>
                  </a:lnTo>
                  <a:lnTo>
                    <a:pt x="1858" y="2114"/>
                  </a:lnTo>
                  <a:lnTo>
                    <a:pt x="1856" y="2117"/>
                  </a:lnTo>
                  <a:lnTo>
                    <a:pt x="1849" y="2119"/>
                  </a:lnTo>
                  <a:lnTo>
                    <a:pt x="1846" y="2119"/>
                  </a:lnTo>
                  <a:lnTo>
                    <a:pt x="1842" y="2122"/>
                  </a:lnTo>
                  <a:lnTo>
                    <a:pt x="1838" y="2126"/>
                  </a:lnTo>
                  <a:lnTo>
                    <a:pt x="1832" y="2134"/>
                  </a:lnTo>
                  <a:lnTo>
                    <a:pt x="1831" y="2139"/>
                  </a:lnTo>
                  <a:lnTo>
                    <a:pt x="1831" y="2139"/>
                  </a:lnTo>
                  <a:lnTo>
                    <a:pt x="1828" y="2139"/>
                  </a:lnTo>
                  <a:lnTo>
                    <a:pt x="1825" y="2136"/>
                  </a:lnTo>
                  <a:lnTo>
                    <a:pt x="1821" y="2137"/>
                  </a:lnTo>
                  <a:lnTo>
                    <a:pt x="1818" y="2137"/>
                  </a:lnTo>
                  <a:lnTo>
                    <a:pt x="1815" y="2142"/>
                  </a:lnTo>
                  <a:lnTo>
                    <a:pt x="1813" y="2146"/>
                  </a:lnTo>
                  <a:lnTo>
                    <a:pt x="1815" y="2152"/>
                  </a:lnTo>
                  <a:lnTo>
                    <a:pt x="1815" y="2153"/>
                  </a:lnTo>
                  <a:lnTo>
                    <a:pt x="1812" y="2154"/>
                  </a:lnTo>
                  <a:lnTo>
                    <a:pt x="1806" y="2157"/>
                  </a:lnTo>
                  <a:lnTo>
                    <a:pt x="1801" y="2159"/>
                  </a:lnTo>
                  <a:lnTo>
                    <a:pt x="1796" y="2162"/>
                  </a:lnTo>
                  <a:lnTo>
                    <a:pt x="1795" y="2166"/>
                  </a:lnTo>
                  <a:lnTo>
                    <a:pt x="1795" y="2172"/>
                  </a:lnTo>
                  <a:lnTo>
                    <a:pt x="1796" y="2176"/>
                  </a:lnTo>
                  <a:lnTo>
                    <a:pt x="1799" y="2179"/>
                  </a:lnTo>
                  <a:lnTo>
                    <a:pt x="1799" y="2180"/>
                  </a:lnTo>
                  <a:lnTo>
                    <a:pt x="1798" y="2185"/>
                  </a:lnTo>
                  <a:lnTo>
                    <a:pt x="1796" y="2187"/>
                  </a:lnTo>
                  <a:lnTo>
                    <a:pt x="1799" y="2193"/>
                  </a:lnTo>
                  <a:lnTo>
                    <a:pt x="1803" y="2196"/>
                  </a:lnTo>
                  <a:lnTo>
                    <a:pt x="1806" y="2196"/>
                  </a:lnTo>
                  <a:lnTo>
                    <a:pt x="1808" y="2197"/>
                  </a:lnTo>
                  <a:lnTo>
                    <a:pt x="1808" y="2199"/>
                  </a:lnTo>
                  <a:lnTo>
                    <a:pt x="1806" y="2202"/>
                  </a:lnTo>
                  <a:lnTo>
                    <a:pt x="1799" y="2206"/>
                  </a:lnTo>
                  <a:lnTo>
                    <a:pt x="1792" y="2206"/>
                  </a:lnTo>
                  <a:lnTo>
                    <a:pt x="1791" y="2203"/>
                  </a:lnTo>
                  <a:lnTo>
                    <a:pt x="1788" y="2203"/>
                  </a:lnTo>
                  <a:lnTo>
                    <a:pt x="1786" y="2205"/>
                  </a:lnTo>
                  <a:lnTo>
                    <a:pt x="1786" y="2207"/>
                  </a:lnTo>
                  <a:lnTo>
                    <a:pt x="1783" y="2209"/>
                  </a:lnTo>
                  <a:lnTo>
                    <a:pt x="1776" y="2209"/>
                  </a:lnTo>
                  <a:lnTo>
                    <a:pt x="1773" y="2210"/>
                  </a:lnTo>
                  <a:lnTo>
                    <a:pt x="1771" y="2212"/>
                  </a:lnTo>
                  <a:lnTo>
                    <a:pt x="1771" y="2215"/>
                  </a:lnTo>
                  <a:lnTo>
                    <a:pt x="1772" y="2216"/>
                  </a:lnTo>
                  <a:lnTo>
                    <a:pt x="1776" y="2222"/>
                  </a:lnTo>
                  <a:lnTo>
                    <a:pt x="1778" y="2225"/>
                  </a:lnTo>
                  <a:lnTo>
                    <a:pt x="1778" y="2228"/>
                  </a:lnTo>
                  <a:lnTo>
                    <a:pt x="1775" y="2233"/>
                  </a:lnTo>
                  <a:lnTo>
                    <a:pt x="1768" y="2240"/>
                  </a:lnTo>
                  <a:lnTo>
                    <a:pt x="1765" y="2242"/>
                  </a:lnTo>
                  <a:lnTo>
                    <a:pt x="1763" y="2248"/>
                  </a:lnTo>
                  <a:lnTo>
                    <a:pt x="1768" y="2250"/>
                  </a:lnTo>
                  <a:lnTo>
                    <a:pt x="1768" y="2258"/>
                  </a:lnTo>
                  <a:lnTo>
                    <a:pt x="1771" y="2263"/>
                  </a:lnTo>
                  <a:lnTo>
                    <a:pt x="1775" y="2266"/>
                  </a:lnTo>
                  <a:lnTo>
                    <a:pt x="1778" y="2268"/>
                  </a:lnTo>
                  <a:lnTo>
                    <a:pt x="1779" y="2270"/>
                  </a:lnTo>
                  <a:lnTo>
                    <a:pt x="1778" y="2273"/>
                  </a:lnTo>
                  <a:lnTo>
                    <a:pt x="1775" y="2278"/>
                  </a:lnTo>
                  <a:lnTo>
                    <a:pt x="1773" y="2283"/>
                  </a:lnTo>
                  <a:lnTo>
                    <a:pt x="1773" y="2296"/>
                  </a:lnTo>
                  <a:lnTo>
                    <a:pt x="1772" y="2306"/>
                  </a:lnTo>
                  <a:lnTo>
                    <a:pt x="1766" y="2318"/>
                  </a:lnTo>
                  <a:lnTo>
                    <a:pt x="1763" y="2319"/>
                  </a:lnTo>
                  <a:lnTo>
                    <a:pt x="1750" y="2318"/>
                  </a:lnTo>
                  <a:lnTo>
                    <a:pt x="1746" y="2316"/>
                  </a:lnTo>
                  <a:lnTo>
                    <a:pt x="1745" y="2313"/>
                  </a:lnTo>
                  <a:lnTo>
                    <a:pt x="1745" y="2311"/>
                  </a:lnTo>
                  <a:lnTo>
                    <a:pt x="1745" y="2308"/>
                  </a:lnTo>
                  <a:lnTo>
                    <a:pt x="1743" y="2306"/>
                  </a:lnTo>
                  <a:lnTo>
                    <a:pt x="1742" y="2306"/>
                  </a:lnTo>
                  <a:lnTo>
                    <a:pt x="1732" y="2309"/>
                  </a:lnTo>
                  <a:lnTo>
                    <a:pt x="1726" y="2312"/>
                  </a:lnTo>
                  <a:lnTo>
                    <a:pt x="1722" y="2312"/>
                  </a:lnTo>
                  <a:lnTo>
                    <a:pt x="1713" y="2309"/>
                  </a:lnTo>
                  <a:lnTo>
                    <a:pt x="1712" y="2309"/>
                  </a:lnTo>
                  <a:lnTo>
                    <a:pt x="1708" y="2312"/>
                  </a:lnTo>
                  <a:lnTo>
                    <a:pt x="1702" y="2318"/>
                  </a:lnTo>
                  <a:lnTo>
                    <a:pt x="1700" y="2321"/>
                  </a:lnTo>
                  <a:lnTo>
                    <a:pt x="1700" y="2328"/>
                  </a:lnTo>
                  <a:lnTo>
                    <a:pt x="1699" y="2333"/>
                  </a:lnTo>
                  <a:lnTo>
                    <a:pt x="1695" y="2339"/>
                  </a:lnTo>
                  <a:lnTo>
                    <a:pt x="1690" y="2341"/>
                  </a:lnTo>
                  <a:lnTo>
                    <a:pt x="1686" y="2339"/>
                  </a:lnTo>
                  <a:lnTo>
                    <a:pt x="1676" y="2342"/>
                  </a:lnTo>
                  <a:lnTo>
                    <a:pt x="1669" y="2345"/>
                  </a:lnTo>
                  <a:lnTo>
                    <a:pt x="1662" y="2349"/>
                  </a:lnTo>
                  <a:lnTo>
                    <a:pt x="1639" y="2371"/>
                  </a:lnTo>
                  <a:lnTo>
                    <a:pt x="1633" y="2375"/>
                  </a:lnTo>
                  <a:lnTo>
                    <a:pt x="1626" y="2375"/>
                  </a:lnTo>
                  <a:lnTo>
                    <a:pt x="1622" y="2374"/>
                  </a:lnTo>
                  <a:lnTo>
                    <a:pt x="1620" y="2372"/>
                  </a:lnTo>
                  <a:lnTo>
                    <a:pt x="1620" y="2369"/>
                  </a:lnTo>
                  <a:lnTo>
                    <a:pt x="1620" y="2366"/>
                  </a:lnTo>
                  <a:lnTo>
                    <a:pt x="1617" y="2366"/>
                  </a:lnTo>
                  <a:lnTo>
                    <a:pt x="1613" y="2366"/>
                  </a:lnTo>
                  <a:lnTo>
                    <a:pt x="1609" y="2371"/>
                  </a:lnTo>
                  <a:lnTo>
                    <a:pt x="1609" y="2381"/>
                  </a:lnTo>
                  <a:lnTo>
                    <a:pt x="1607" y="2386"/>
                  </a:lnTo>
                  <a:lnTo>
                    <a:pt x="1604" y="2388"/>
                  </a:lnTo>
                  <a:lnTo>
                    <a:pt x="1599" y="2388"/>
                  </a:lnTo>
                  <a:lnTo>
                    <a:pt x="1597" y="2391"/>
                  </a:lnTo>
                  <a:lnTo>
                    <a:pt x="1596" y="2395"/>
                  </a:lnTo>
                  <a:lnTo>
                    <a:pt x="1594" y="2399"/>
                  </a:lnTo>
                  <a:lnTo>
                    <a:pt x="1650" y="2477"/>
                  </a:lnTo>
                  <a:lnTo>
                    <a:pt x="1650" y="2488"/>
                  </a:lnTo>
                  <a:lnTo>
                    <a:pt x="1656" y="2544"/>
                  </a:lnTo>
                  <a:lnTo>
                    <a:pt x="1665" y="2621"/>
                  </a:lnTo>
                  <a:lnTo>
                    <a:pt x="1666" y="2667"/>
                  </a:lnTo>
                  <a:lnTo>
                    <a:pt x="1670" y="2714"/>
                  </a:lnTo>
                  <a:lnTo>
                    <a:pt x="1670" y="2727"/>
                  </a:lnTo>
                  <a:lnTo>
                    <a:pt x="1669" y="2732"/>
                  </a:lnTo>
                  <a:lnTo>
                    <a:pt x="1666" y="2737"/>
                  </a:lnTo>
                  <a:lnTo>
                    <a:pt x="1665" y="2743"/>
                  </a:lnTo>
                  <a:lnTo>
                    <a:pt x="1662" y="2747"/>
                  </a:lnTo>
                  <a:lnTo>
                    <a:pt x="1659" y="2746"/>
                  </a:lnTo>
                  <a:lnTo>
                    <a:pt x="1657" y="2745"/>
                  </a:lnTo>
                  <a:lnTo>
                    <a:pt x="1656" y="2742"/>
                  </a:lnTo>
                  <a:lnTo>
                    <a:pt x="1655" y="2740"/>
                  </a:lnTo>
                  <a:lnTo>
                    <a:pt x="1652" y="2743"/>
                  </a:lnTo>
                  <a:lnTo>
                    <a:pt x="1646" y="2752"/>
                  </a:lnTo>
                  <a:lnTo>
                    <a:pt x="1639" y="2757"/>
                  </a:lnTo>
                  <a:lnTo>
                    <a:pt x="1632" y="2762"/>
                  </a:lnTo>
                  <a:lnTo>
                    <a:pt x="1627" y="2762"/>
                  </a:lnTo>
                  <a:lnTo>
                    <a:pt x="1626" y="2766"/>
                  </a:lnTo>
                  <a:lnTo>
                    <a:pt x="1626" y="2772"/>
                  </a:lnTo>
                  <a:lnTo>
                    <a:pt x="1624" y="2777"/>
                  </a:lnTo>
                  <a:lnTo>
                    <a:pt x="1622" y="2782"/>
                  </a:lnTo>
                  <a:lnTo>
                    <a:pt x="1614" y="2787"/>
                  </a:lnTo>
                  <a:lnTo>
                    <a:pt x="1609" y="2789"/>
                  </a:lnTo>
                  <a:lnTo>
                    <a:pt x="1602" y="2790"/>
                  </a:lnTo>
                  <a:lnTo>
                    <a:pt x="1599" y="2793"/>
                  </a:lnTo>
                  <a:lnTo>
                    <a:pt x="1599" y="2798"/>
                  </a:lnTo>
                  <a:lnTo>
                    <a:pt x="1600" y="2803"/>
                  </a:lnTo>
                  <a:lnTo>
                    <a:pt x="1604" y="2806"/>
                  </a:lnTo>
                  <a:lnTo>
                    <a:pt x="1607" y="2805"/>
                  </a:lnTo>
                  <a:lnTo>
                    <a:pt x="1612" y="2802"/>
                  </a:lnTo>
                  <a:lnTo>
                    <a:pt x="1613" y="2802"/>
                  </a:lnTo>
                  <a:lnTo>
                    <a:pt x="1614" y="2805"/>
                  </a:lnTo>
                  <a:lnTo>
                    <a:pt x="1617" y="2806"/>
                  </a:lnTo>
                  <a:lnTo>
                    <a:pt x="1622" y="2808"/>
                  </a:lnTo>
                  <a:lnTo>
                    <a:pt x="1627" y="2808"/>
                  </a:lnTo>
                  <a:lnTo>
                    <a:pt x="1632" y="2810"/>
                  </a:lnTo>
                  <a:lnTo>
                    <a:pt x="1632" y="2815"/>
                  </a:lnTo>
                  <a:lnTo>
                    <a:pt x="1629" y="2819"/>
                  </a:lnTo>
                  <a:lnTo>
                    <a:pt x="1626" y="2823"/>
                  </a:lnTo>
                  <a:lnTo>
                    <a:pt x="1627" y="2826"/>
                  </a:lnTo>
                  <a:lnTo>
                    <a:pt x="1630" y="2828"/>
                  </a:lnTo>
                  <a:lnTo>
                    <a:pt x="1637" y="2825"/>
                  </a:lnTo>
                  <a:lnTo>
                    <a:pt x="1643" y="2822"/>
                  </a:lnTo>
                  <a:lnTo>
                    <a:pt x="1644" y="2826"/>
                  </a:lnTo>
                  <a:lnTo>
                    <a:pt x="1644" y="2828"/>
                  </a:lnTo>
                  <a:lnTo>
                    <a:pt x="1640" y="2829"/>
                  </a:lnTo>
                  <a:lnTo>
                    <a:pt x="1640" y="2832"/>
                  </a:lnTo>
                  <a:lnTo>
                    <a:pt x="1643" y="2838"/>
                  </a:lnTo>
                  <a:lnTo>
                    <a:pt x="1647" y="2856"/>
                  </a:lnTo>
                  <a:lnTo>
                    <a:pt x="1650" y="2869"/>
                  </a:lnTo>
                  <a:lnTo>
                    <a:pt x="1652" y="2876"/>
                  </a:lnTo>
                  <a:lnTo>
                    <a:pt x="1650" y="2882"/>
                  </a:lnTo>
                  <a:lnTo>
                    <a:pt x="1646" y="2896"/>
                  </a:lnTo>
                  <a:lnTo>
                    <a:pt x="1646" y="2922"/>
                  </a:lnTo>
                  <a:lnTo>
                    <a:pt x="1656" y="2929"/>
                  </a:lnTo>
                  <a:lnTo>
                    <a:pt x="1676" y="2952"/>
                  </a:lnTo>
                  <a:lnTo>
                    <a:pt x="1679" y="2999"/>
                  </a:lnTo>
                  <a:lnTo>
                    <a:pt x="1696" y="3015"/>
                  </a:lnTo>
                  <a:lnTo>
                    <a:pt x="1706" y="3020"/>
                  </a:lnTo>
                  <a:lnTo>
                    <a:pt x="1710" y="3020"/>
                  </a:lnTo>
                  <a:lnTo>
                    <a:pt x="1712" y="3022"/>
                  </a:lnTo>
                  <a:lnTo>
                    <a:pt x="1710" y="3028"/>
                  </a:lnTo>
                  <a:lnTo>
                    <a:pt x="1703" y="3038"/>
                  </a:lnTo>
                  <a:lnTo>
                    <a:pt x="1703" y="3047"/>
                  </a:lnTo>
                  <a:lnTo>
                    <a:pt x="1695" y="3045"/>
                  </a:lnTo>
                  <a:lnTo>
                    <a:pt x="1690" y="3045"/>
                  </a:lnTo>
                  <a:lnTo>
                    <a:pt x="1683" y="3050"/>
                  </a:lnTo>
                  <a:lnTo>
                    <a:pt x="1679" y="3055"/>
                  </a:lnTo>
                  <a:lnTo>
                    <a:pt x="1677" y="3062"/>
                  </a:lnTo>
                  <a:lnTo>
                    <a:pt x="1677" y="3065"/>
                  </a:lnTo>
                  <a:lnTo>
                    <a:pt x="1679" y="3068"/>
                  </a:lnTo>
                  <a:lnTo>
                    <a:pt x="1685" y="3071"/>
                  </a:lnTo>
                  <a:lnTo>
                    <a:pt x="1686" y="3074"/>
                  </a:lnTo>
                  <a:lnTo>
                    <a:pt x="1686" y="3077"/>
                  </a:lnTo>
                  <a:lnTo>
                    <a:pt x="1682" y="3077"/>
                  </a:lnTo>
                  <a:lnTo>
                    <a:pt x="1677" y="3075"/>
                  </a:lnTo>
                  <a:lnTo>
                    <a:pt x="1675" y="3078"/>
                  </a:lnTo>
                  <a:lnTo>
                    <a:pt x="1676" y="3083"/>
                  </a:lnTo>
                  <a:lnTo>
                    <a:pt x="1676" y="3084"/>
                  </a:lnTo>
                  <a:lnTo>
                    <a:pt x="1676" y="3087"/>
                  </a:lnTo>
                  <a:lnTo>
                    <a:pt x="1670" y="3090"/>
                  </a:lnTo>
                  <a:lnTo>
                    <a:pt x="1665" y="3097"/>
                  </a:lnTo>
                  <a:lnTo>
                    <a:pt x="1659" y="3098"/>
                  </a:lnTo>
                  <a:lnTo>
                    <a:pt x="1652" y="3103"/>
                  </a:lnTo>
                  <a:lnTo>
                    <a:pt x="1652" y="3104"/>
                  </a:lnTo>
                  <a:lnTo>
                    <a:pt x="1652" y="3107"/>
                  </a:lnTo>
                  <a:lnTo>
                    <a:pt x="1657" y="3110"/>
                  </a:lnTo>
                  <a:lnTo>
                    <a:pt x="1662" y="3118"/>
                  </a:lnTo>
                  <a:lnTo>
                    <a:pt x="1669" y="3128"/>
                  </a:lnTo>
                  <a:lnTo>
                    <a:pt x="1665" y="3131"/>
                  </a:lnTo>
                  <a:lnTo>
                    <a:pt x="1660" y="3131"/>
                  </a:lnTo>
                  <a:lnTo>
                    <a:pt x="1655" y="3124"/>
                  </a:lnTo>
                  <a:lnTo>
                    <a:pt x="1649" y="3124"/>
                  </a:lnTo>
                  <a:lnTo>
                    <a:pt x="1647" y="3125"/>
                  </a:lnTo>
                  <a:lnTo>
                    <a:pt x="1650" y="3133"/>
                  </a:lnTo>
                  <a:lnTo>
                    <a:pt x="1655" y="3140"/>
                  </a:lnTo>
                  <a:lnTo>
                    <a:pt x="1650" y="3141"/>
                  </a:lnTo>
                  <a:lnTo>
                    <a:pt x="1647" y="3146"/>
                  </a:lnTo>
                  <a:lnTo>
                    <a:pt x="1647" y="3153"/>
                  </a:lnTo>
                  <a:lnTo>
                    <a:pt x="1649" y="3160"/>
                  </a:lnTo>
                  <a:lnTo>
                    <a:pt x="1646" y="3164"/>
                  </a:lnTo>
                  <a:lnTo>
                    <a:pt x="1644" y="3163"/>
                  </a:lnTo>
                  <a:lnTo>
                    <a:pt x="1639" y="3161"/>
                  </a:lnTo>
                  <a:lnTo>
                    <a:pt x="1637" y="3166"/>
                  </a:lnTo>
                  <a:lnTo>
                    <a:pt x="1639" y="3170"/>
                  </a:lnTo>
                  <a:lnTo>
                    <a:pt x="1639" y="3174"/>
                  </a:lnTo>
                  <a:lnTo>
                    <a:pt x="1642" y="3177"/>
                  </a:lnTo>
                  <a:lnTo>
                    <a:pt x="1643" y="3181"/>
                  </a:lnTo>
                  <a:lnTo>
                    <a:pt x="1643" y="3187"/>
                  </a:lnTo>
                  <a:lnTo>
                    <a:pt x="1643" y="3193"/>
                  </a:lnTo>
                  <a:lnTo>
                    <a:pt x="1647" y="3194"/>
                  </a:lnTo>
                  <a:lnTo>
                    <a:pt x="1653" y="3193"/>
                  </a:lnTo>
                  <a:lnTo>
                    <a:pt x="1655" y="3190"/>
                  </a:lnTo>
                  <a:lnTo>
                    <a:pt x="1660" y="3183"/>
                  </a:lnTo>
                  <a:lnTo>
                    <a:pt x="1670" y="3186"/>
                  </a:lnTo>
                  <a:lnTo>
                    <a:pt x="1672" y="3191"/>
                  </a:lnTo>
                  <a:lnTo>
                    <a:pt x="1669" y="3199"/>
                  </a:lnTo>
                  <a:lnTo>
                    <a:pt x="1669" y="3201"/>
                  </a:lnTo>
                  <a:lnTo>
                    <a:pt x="1677" y="3201"/>
                  </a:lnTo>
                  <a:lnTo>
                    <a:pt x="1695" y="3197"/>
                  </a:lnTo>
                  <a:lnTo>
                    <a:pt x="1700" y="3194"/>
                  </a:lnTo>
                  <a:lnTo>
                    <a:pt x="1703" y="3191"/>
                  </a:lnTo>
                  <a:lnTo>
                    <a:pt x="1702" y="3186"/>
                  </a:lnTo>
                  <a:lnTo>
                    <a:pt x="1702" y="3181"/>
                  </a:lnTo>
                  <a:lnTo>
                    <a:pt x="1703" y="3183"/>
                  </a:lnTo>
                  <a:lnTo>
                    <a:pt x="1706" y="3186"/>
                  </a:lnTo>
                  <a:lnTo>
                    <a:pt x="1709" y="3193"/>
                  </a:lnTo>
                  <a:lnTo>
                    <a:pt x="1712" y="3197"/>
                  </a:lnTo>
                  <a:lnTo>
                    <a:pt x="1720" y="3197"/>
                  </a:lnTo>
                  <a:lnTo>
                    <a:pt x="1723" y="3197"/>
                  </a:lnTo>
                  <a:lnTo>
                    <a:pt x="1726" y="3197"/>
                  </a:lnTo>
                  <a:lnTo>
                    <a:pt x="1735" y="3201"/>
                  </a:lnTo>
                  <a:lnTo>
                    <a:pt x="1739" y="3204"/>
                  </a:lnTo>
                  <a:lnTo>
                    <a:pt x="1746" y="3206"/>
                  </a:lnTo>
                  <a:lnTo>
                    <a:pt x="1749" y="3204"/>
                  </a:lnTo>
                  <a:lnTo>
                    <a:pt x="1750" y="3211"/>
                  </a:lnTo>
                  <a:lnTo>
                    <a:pt x="1752" y="3217"/>
                  </a:lnTo>
                  <a:lnTo>
                    <a:pt x="1755" y="3221"/>
                  </a:lnTo>
                  <a:lnTo>
                    <a:pt x="1762" y="3219"/>
                  </a:lnTo>
                  <a:lnTo>
                    <a:pt x="1765" y="3213"/>
                  </a:lnTo>
                  <a:lnTo>
                    <a:pt x="1769" y="3210"/>
                  </a:lnTo>
                  <a:lnTo>
                    <a:pt x="1776" y="3210"/>
                  </a:lnTo>
                  <a:lnTo>
                    <a:pt x="1779" y="3211"/>
                  </a:lnTo>
                  <a:lnTo>
                    <a:pt x="1783" y="3214"/>
                  </a:lnTo>
                  <a:lnTo>
                    <a:pt x="1793" y="3221"/>
                  </a:lnTo>
                  <a:lnTo>
                    <a:pt x="1796" y="3226"/>
                  </a:lnTo>
                  <a:lnTo>
                    <a:pt x="1816" y="3213"/>
                  </a:lnTo>
                  <a:lnTo>
                    <a:pt x="1828" y="3233"/>
                  </a:lnTo>
                  <a:lnTo>
                    <a:pt x="1832" y="3253"/>
                  </a:lnTo>
                  <a:lnTo>
                    <a:pt x="1813" y="3256"/>
                  </a:lnTo>
                  <a:lnTo>
                    <a:pt x="1793" y="3259"/>
                  </a:lnTo>
                  <a:lnTo>
                    <a:pt x="1788" y="3264"/>
                  </a:lnTo>
                  <a:lnTo>
                    <a:pt x="1783" y="3282"/>
                  </a:lnTo>
                  <a:lnTo>
                    <a:pt x="1771" y="3280"/>
                  </a:lnTo>
                  <a:lnTo>
                    <a:pt x="1759" y="3269"/>
                  </a:lnTo>
                  <a:lnTo>
                    <a:pt x="1745" y="3277"/>
                  </a:lnTo>
                  <a:lnTo>
                    <a:pt x="1723" y="3264"/>
                  </a:lnTo>
                  <a:lnTo>
                    <a:pt x="1715" y="3270"/>
                  </a:lnTo>
                  <a:lnTo>
                    <a:pt x="1718" y="3272"/>
                  </a:lnTo>
                  <a:lnTo>
                    <a:pt x="1722" y="3279"/>
                  </a:lnTo>
                  <a:lnTo>
                    <a:pt x="1726" y="3286"/>
                  </a:lnTo>
                  <a:lnTo>
                    <a:pt x="1728" y="3290"/>
                  </a:lnTo>
                  <a:lnTo>
                    <a:pt x="1726" y="3300"/>
                  </a:lnTo>
                  <a:lnTo>
                    <a:pt x="1720" y="3307"/>
                  </a:lnTo>
                  <a:lnTo>
                    <a:pt x="1718" y="3315"/>
                  </a:lnTo>
                  <a:lnTo>
                    <a:pt x="1718" y="3322"/>
                  </a:lnTo>
                  <a:lnTo>
                    <a:pt x="1722" y="3330"/>
                  </a:lnTo>
                  <a:lnTo>
                    <a:pt x="1722" y="3337"/>
                  </a:lnTo>
                  <a:lnTo>
                    <a:pt x="1710" y="3352"/>
                  </a:lnTo>
                  <a:lnTo>
                    <a:pt x="1723" y="3366"/>
                  </a:lnTo>
                  <a:lnTo>
                    <a:pt x="1725" y="3370"/>
                  </a:lnTo>
                  <a:lnTo>
                    <a:pt x="1725" y="3373"/>
                  </a:lnTo>
                  <a:lnTo>
                    <a:pt x="1725" y="3379"/>
                  </a:lnTo>
                  <a:lnTo>
                    <a:pt x="1720" y="3380"/>
                  </a:lnTo>
                  <a:lnTo>
                    <a:pt x="1718" y="3380"/>
                  </a:lnTo>
                  <a:lnTo>
                    <a:pt x="1712" y="3380"/>
                  </a:lnTo>
                  <a:lnTo>
                    <a:pt x="1708" y="3380"/>
                  </a:lnTo>
                  <a:lnTo>
                    <a:pt x="1706" y="3382"/>
                  </a:lnTo>
                  <a:lnTo>
                    <a:pt x="1706" y="3385"/>
                  </a:lnTo>
                  <a:lnTo>
                    <a:pt x="1706" y="3392"/>
                  </a:lnTo>
                  <a:lnTo>
                    <a:pt x="1706" y="3395"/>
                  </a:lnTo>
                  <a:lnTo>
                    <a:pt x="1709" y="3399"/>
                  </a:lnTo>
                  <a:lnTo>
                    <a:pt x="1710" y="3400"/>
                  </a:lnTo>
                  <a:lnTo>
                    <a:pt x="1710" y="3405"/>
                  </a:lnTo>
                  <a:lnTo>
                    <a:pt x="1709" y="3409"/>
                  </a:lnTo>
                  <a:lnTo>
                    <a:pt x="1708" y="3416"/>
                  </a:lnTo>
                  <a:lnTo>
                    <a:pt x="1703" y="3419"/>
                  </a:lnTo>
                  <a:lnTo>
                    <a:pt x="1695" y="3422"/>
                  </a:lnTo>
                  <a:lnTo>
                    <a:pt x="1695" y="3429"/>
                  </a:lnTo>
                  <a:lnTo>
                    <a:pt x="1695" y="3435"/>
                  </a:lnTo>
                  <a:lnTo>
                    <a:pt x="1696" y="3439"/>
                  </a:lnTo>
                  <a:lnTo>
                    <a:pt x="1699" y="3445"/>
                  </a:lnTo>
                  <a:lnTo>
                    <a:pt x="1710" y="3452"/>
                  </a:lnTo>
                  <a:lnTo>
                    <a:pt x="1719" y="3458"/>
                  </a:lnTo>
                  <a:lnTo>
                    <a:pt x="1723" y="3462"/>
                  </a:lnTo>
                  <a:lnTo>
                    <a:pt x="1725" y="3471"/>
                  </a:lnTo>
                  <a:lnTo>
                    <a:pt x="1725" y="3479"/>
                  </a:lnTo>
                  <a:lnTo>
                    <a:pt x="1723" y="3484"/>
                  </a:lnTo>
                  <a:lnTo>
                    <a:pt x="1726" y="3484"/>
                  </a:lnTo>
                  <a:lnTo>
                    <a:pt x="1730" y="3485"/>
                  </a:lnTo>
                  <a:lnTo>
                    <a:pt x="1736" y="3485"/>
                  </a:lnTo>
                  <a:lnTo>
                    <a:pt x="1743" y="3488"/>
                  </a:lnTo>
                  <a:lnTo>
                    <a:pt x="1748" y="3494"/>
                  </a:lnTo>
                  <a:lnTo>
                    <a:pt x="1746" y="3496"/>
                  </a:lnTo>
                  <a:lnTo>
                    <a:pt x="1742" y="3501"/>
                  </a:lnTo>
                  <a:lnTo>
                    <a:pt x="1742" y="3505"/>
                  </a:lnTo>
                  <a:lnTo>
                    <a:pt x="1743" y="3509"/>
                  </a:lnTo>
                  <a:lnTo>
                    <a:pt x="1743" y="3515"/>
                  </a:lnTo>
                  <a:lnTo>
                    <a:pt x="1735" y="3522"/>
                  </a:lnTo>
                  <a:lnTo>
                    <a:pt x="1726" y="3531"/>
                  </a:lnTo>
                  <a:lnTo>
                    <a:pt x="1729" y="3541"/>
                  </a:lnTo>
                  <a:lnTo>
                    <a:pt x="1725" y="3541"/>
                  </a:lnTo>
                  <a:lnTo>
                    <a:pt x="1719" y="3544"/>
                  </a:lnTo>
                  <a:lnTo>
                    <a:pt x="1718" y="3551"/>
                  </a:lnTo>
                  <a:lnTo>
                    <a:pt x="1725" y="3557"/>
                  </a:lnTo>
                  <a:lnTo>
                    <a:pt x="1726" y="3564"/>
                  </a:lnTo>
                  <a:lnTo>
                    <a:pt x="1729" y="3571"/>
                  </a:lnTo>
                  <a:lnTo>
                    <a:pt x="1728" y="3584"/>
                  </a:lnTo>
                  <a:lnTo>
                    <a:pt x="1719" y="3597"/>
                  </a:lnTo>
                  <a:lnTo>
                    <a:pt x="1692" y="3630"/>
                  </a:lnTo>
                  <a:lnTo>
                    <a:pt x="1699" y="3653"/>
                  </a:lnTo>
                  <a:lnTo>
                    <a:pt x="1690" y="3660"/>
                  </a:lnTo>
                  <a:lnTo>
                    <a:pt x="1685" y="3665"/>
                  </a:lnTo>
                  <a:lnTo>
                    <a:pt x="1679" y="3661"/>
                  </a:lnTo>
                  <a:lnTo>
                    <a:pt x="1675" y="3664"/>
                  </a:lnTo>
                  <a:lnTo>
                    <a:pt x="1669" y="3674"/>
                  </a:lnTo>
                  <a:lnTo>
                    <a:pt x="1657" y="3680"/>
                  </a:lnTo>
                  <a:lnTo>
                    <a:pt x="1650" y="3685"/>
                  </a:lnTo>
                  <a:lnTo>
                    <a:pt x="1649" y="3691"/>
                  </a:lnTo>
                  <a:lnTo>
                    <a:pt x="1649" y="3696"/>
                  </a:lnTo>
                  <a:lnTo>
                    <a:pt x="1646" y="3701"/>
                  </a:lnTo>
                  <a:lnTo>
                    <a:pt x="1640" y="3704"/>
                  </a:lnTo>
                  <a:lnTo>
                    <a:pt x="1626" y="3710"/>
                  </a:lnTo>
                  <a:lnTo>
                    <a:pt x="1623" y="3711"/>
                  </a:lnTo>
                  <a:lnTo>
                    <a:pt x="1617" y="3716"/>
                  </a:lnTo>
                  <a:lnTo>
                    <a:pt x="1616" y="3718"/>
                  </a:lnTo>
                  <a:lnTo>
                    <a:pt x="1617" y="3720"/>
                  </a:lnTo>
                  <a:lnTo>
                    <a:pt x="1626" y="3721"/>
                  </a:lnTo>
                  <a:lnTo>
                    <a:pt x="1630" y="3737"/>
                  </a:lnTo>
                  <a:lnTo>
                    <a:pt x="1613" y="3753"/>
                  </a:lnTo>
                  <a:lnTo>
                    <a:pt x="1612" y="3756"/>
                  </a:lnTo>
                  <a:lnTo>
                    <a:pt x="1612" y="3760"/>
                  </a:lnTo>
                  <a:lnTo>
                    <a:pt x="1606" y="3763"/>
                  </a:lnTo>
                  <a:lnTo>
                    <a:pt x="1603" y="3767"/>
                  </a:lnTo>
                  <a:lnTo>
                    <a:pt x="1602" y="3774"/>
                  </a:lnTo>
                  <a:lnTo>
                    <a:pt x="1602" y="3783"/>
                  </a:lnTo>
                  <a:lnTo>
                    <a:pt x="1600" y="3787"/>
                  </a:lnTo>
                  <a:lnTo>
                    <a:pt x="1600" y="3791"/>
                  </a:lnTo>
                  <a:lnTo>
                    <a:pt x="1600" y="3791"/>
                  </a:lnTo>
                  <a:lnTo>
                    <a:pt x="1599" y="3793"/>
                  </a:lnTo>
                  <a:lnTo>
                    <a:pt x="1596" y="3796"/>
                  </a:lnTo>
                  <a:lnTo>
                    <a:pt x="1593" y="3800"/>
                  </a:lnTo>
                  <a:lnTo>
                    <a:pt x="1593" y="3803"/>
                  </a:lnTo>
                  <a:lnTo>
                    <a:pt x="1596" y="3807"/>
                  </a:lnTo>
                  <a:lnTo>
                    <a:pt x="1600" y="3810"/>
                  </a:lnTo>
                  <a:lnTo>
                    <a:pt x="1603" y="3813"/>
                  </a:lnTo>
                  <a:lnTo>
                    <a:pt x="1604" y="3817"/>
                  </a:lnTo>
                  <a:lnTo>
                    <a:pt x="1604" y="3822"/>
                  </a:lnTo>
                  <a:lnTo>
                    <a:pt x="1603" y="3836"/>
                  </a:lnTo>
                  <a:lnTo>
                    <a:pt x="1604" y="3839"/>
                  </a:lnTo>
                  <a:lnTo>
                    <a:pt x="1609" y="3843"/>
                  </a:lnTo>
                  <a:lnTo>
                    <a:pt x="1614" y="3852"/>
                  </a:lnTo>
                  <a:lnTo>
                    <a:pt x="1616" y="3866"/>
                  </a:lnTo>
                  <a:lnTo>
                    <a:pt x="1629" y="3872"/>
                  </a:lnTo>
                  <a:lnTo>
                    <a:pt x="1639" y="3882"/>
                  </a:lnTo>
                  <a:lnTo>
                    <a:pt x="1669" y="3882"/>
                  </a:lnTo>
                  <a:lnTo>
                    <a:pt x="1683" y="3886"/>
                  </a:lnTo>
                  <a:lnTo>
                    <a:pt x="1680" y="3895"/>
                  </a:lnTo>
                  <a:lnTo>
                    <a:pt x="1680" y="3900"/>
                  </a:lnTo>
                  <a:lnTo>
                    <a:pt x="1679" y="3907"/>
                  </a:lnTo>
                  <a:lnTo>
                    <a:pt x="1680" y="3913"/>
                  </a:lnTo>
                  <a:lnTo>
                    <a:pt x="1682" y="3920"/>
                  </a:lnTo>
                  <a:lnTo>
                    <a:pt x="1677" y="3932"/>
                  </a:lnTo>
                  <a:lnTo>
                    <a:pt x="1679" y="3938"/>
                  </a:lnTo>
                  <a:lnTo>
                    <a:pt x="1682" y="3943"/>
                  </a:lnTo>
                  <a:lnTo>
                    <a:pt x="1685" y="3948"/>
                  </a:lnTo>
                  <a:lnTo>
                    <a:pt x="1685" y="3950"/>
                  </a:lnTo>
                  <a:lnTo>
                    <a:pt x="1683" y="3952"/>
                  </a:lnTo>
                  <a:lnTo>
                    <a:pt x="1680" y="3953"/>
                  </a:lnTo>
                  <a:lnTo>
                    <a:pt x="1675" y="3952"/>
                  </a:lnTo>
                  <a:lnTo>
                    <a:pt x="1655" y="3952"/>
                  </a:lnTo>
                  <a:lnTo>
                    <a:pt x="1653" y="3955"/>
                  </a:lnTo>
                  <a:lnTo>
                    <a:pt x="1649" y="3959"/>
                  </a:lnTo>
                  <a:lnTo>
                    <a:pt x="1647" y="3962"/>
                  </a:lnTo>
                  <a:lnTo>
                    <a:pt x="1639" y="3968"/>
                  </a:lnTo>
                  <a:lnTo>
                    <a:pt x="1636" y="3969"/>
                  </a:lnTo>
                  <a:lnTo>
                    <a:pt x="1630" y="3976"/>
                  </a:lnTo>
                  <a:lnTo>
                    <a:pt x="1629" y="3983"/>
                  </a:lnTo>
                  <a:lnTo>
                    <a:pt x="1633" y="3991"/>
                  </a:lnTo>
                  <a:lnTo>
                    <a:pt x="1636" y="3996"/>
                  </a:lnTo>
                  <a:lnTo>
                    <a:pt x="1639" y="4006"/>
                  </a:lnTo>
                  <a:lnTo>
                    <a:pt x="1647" y="4015"/>
                  </a:lnTo>
                  <a:lnTo>
                    <a:pt x="1657" y="4015"/>
                  </a:lnTo>
                  <a:lnTo>
                    <a:pt x="1665" y="4016"/>
                  </a:lnTo>
                  <a:lnTo>
                    <a:pt x="1667" y="4016"/>
                  </a:lnTo>
                  <a:lnTo>
                    <a:pt x="1670" y="4025"/>
                  </a:lnTo>
                  <a:lnTo>
                    <a:pt x="1670" y="4032"/>
                  </a:lnTo>
                  <a:lnTo>
                    <a:pt x="1667" y="4036"/>
                  </a:lnTo>
                  <a:lnTo>
                    <a:pt x="1667" y="4044"/>
                  </a:lnTo>
                  <a:lnTo>
                    <a:pt x="1670" y="4048"/>
                  </a:lnTo>
                  <a:lnTo>
                    <a:pt x="1677" y="4049"/>
                  </a:lnTo>
                  <a:lnTo>
                    <a:pt x="1677" y="4049"/>
                  </a:lnTo>
                  <a:lnTo>
                    <a:pt x="1680" y="4056"/>
                  </a:lnTo>
                  <a:lnTo>
                    <a:pt x="1680" y="4064"/>
                  </a:lnTo>
                  <a:lnTo>
                    <a:pt x="1683" y="4068"/>
                  </a:lnTo>
                  <a:lnTo>
                    <a:pt x="1685" y="4074"/>
                  </a:lnTo>
                  <a:lnTo>
                    <a:pt x="1685" y="4078"/>
                  </a:lnTo>
                  <a:lnTo>
                    <a:pt x="1673" y="4081"/>
                  </a:lnTo>
                  <a:lnTo>
                    <a:pt x="1665" y="4091"/>
                  </a:lnTo>
                  <a:lnTo>
                    <a:pt x="1644" y="4109"/>
                  </a:lnTo>
                  <a:lnTo>
                    <a:pt x="1640" y="4122"/>
                  </a:lnTo>
                  <a:lnTo>
                    <a:pt x="1644" y="4128"/>
                  </a:lnTo>
                  <a:lnTo>
                    <a:pt x="1652" y="4132"/>
                  </a:lnTo>
                  <a:lnTo>
                    <a:pt x="1652" y="4139"/>
                  </a:lnTo>
                  <a:lnTo>
                    <a:pt x="1640" y="4147"/>
                  </a:lnTo>
                  <a:lnTo>
                    <a:pt x="1622" y="4154"/>
                  </a:lnTo>
                  <a:lnTo>
                    <a:pt x="1614" y="4150"/>
                  </a:lnTo>
                  <a:lnTo>
                    <a:pt x="1612" y="4138"/>
                  </a:lnTo>
                  <a:lnTo>
                    <a:pt x="1596" y="4132"/>
                  </a:lnTo>
                  <a:lnTo>
                    <a:pt x="1593" y="4132"/>
                  </a:lnTo>
                  <a:lnTo>
                    <a:pt x="1586" y="4132"/>
                  </a:lnTo>
                  <a:lnTo>
                    <a:pt x="1580" y="4134"/>
                  </a:lnTo>
                  <a:lnTo>
                    <a:pt x="1579" y="4137"/>
                  </a:lnTo>
                  <a:lnTo>
                    <a:pt x="1576" y="4139"/>
                  </a:lnTo>
                  <a:lnTo>
                    <a:pt x="1573" y="4139"/>
                  </a:lnTo>
                  <a:lnTo>
                    <a:pt x="1570" y="4138"/>
                  </a:lnTo>
                  <a:lnTo>
                    <a:pt x="1570" y="4137"/>
                  </a:lnTo>
                  <a:lnTo>
                    <a:pt x="1573" y="4132"/>
                  </a:lnTo>
                  <a:lnTo>
                    <a:pt x="1574" y="4124"/>
                  </a:lnTo>
                  <a:lnTo>
                    <a:pt x="1573" y="4117"/>
                  </a:lnTo>
                  <a:lnTo>
                    <a:pt x="1567" y="4108"/>
                  </a:lnTo>
                  <a:lnTo>
                    <a:pt x="1560" y="4107"/>
                  </a:lnTo>
                  <a:lnTo>
                    <a:pt x="1546" y="4104"/>
                  </a:lnTo>
                  <a:lnTo>
                    <a:pt x="1540" y="4097"/>
                  </a:lnTo>
                  <a:lnTo>
                    <a:pt x="1527" y="4085"/>
                  </a:lnTo>
                  <a:lnTo>
                    <a:pt x="1514" y="4068"/>
                  </a:lnTo>
                  <a:lnTo>
                    <a:pt x="1514" y="4058"/>
                  </a:lnTo>
                  <a:lnTo>
                    <a:pt x="1514" y="4058"/>
                  </a:lnTo>
                  <a:lnTo>
                    <a:pt x="1516" y="4058"/>
                  </a:lnTo>
                  <a:lnTo>
                    <a:pt x="1517" y="4056"/>
                  </a:lnTo>
                  <a:lnTo>
                    <a:pt x="1517" y="4055"/>
                  </a:lnTo>
                  <a:lnTo>
                    <a:pt x="1514" y="4052"/>
                  </a:lnTo>
                  <a:lnTo>
                    <a:pt x="1504" y="4052"/>
                  </a:lnTo>
                  <a:lnTo>
                    <a:pt x="1501" y="4054"/>
                  </a:lnTo>
                  <a:lnTo>
                    <a:pt x="1498" y="4052"/>
                  </a:lnTo>
                  <a:lnTo>
                    <a:pt x="1491" y="4049"/>
                  </a:lnTo>
                  <a:lnTo>
                    <a:pt x="1486" y="4049"/>
                  </a:lnTo>
                  <a:lnTo>
                    <a:pt x="1477" y="4058"/>
                  </a:lnTo>
                  <a:lnTo>
                    <a:pt x="1470" y="4068"/>
                  </a:lnTo>
                  <a:lnTo>
                    <a:pt x="1457" y="4068"/>
                  </a:lnTo>
                  <a:lnTo>
                    <a:pt x="1450" y="4074"/>
                  </a:lnTo>
                  <a:lnTo>
                    <a:pt x="1444" y="4075"/>
                  </a:lnTo>
                  <a:lnTo>
                    <a:pt x="1441" y="4088"/>
                  </a:lnTo>
                  <a:lnTo>
                    <a:pt x="1443" y="4095"/>
                  </a:lnTo>
                  <a:lnTo>
                    <a:pt x="1443" y="4109"/>
                  </a:lnTo>
                  <a:lnTo>
                    <a:pt x="1445" y="4112"/>
                  </a:lnTo>
                  <a:lnTo>
                    <a:pt x="1454" y="4119"/>
                  </a:lnTo>
                  <a:lnTo>
                    <a:pt x="1458" y="4129"/>
                  </a:lnTo>
                  <a:lnTo>
                    <a:pt x="1460" y="4141"/>
                  </a:lnTo>
                  <a:lnTo>
                    <a:pt x="1443" y="4157"/>
                  </a:lnTo>
                  <a:lnTo>
                    <a:pt x="1431" y="4177"/>
                  </a:lnTo>
                  <a:lnTo>
                    <a:pt x="1415" y="4185"/>
                  </a:lnTo>
                  <a:lnTo>
                    <a:pt x="1391" y="4194"/>
                  </a:lnTo>
                  <a:lnTo>
                    <a:pt x="1384" y="4214"/>
                  </a:lnTo>
                  <a:lnTo>
                    <a:pt x="1377" y="4227"/>
                  </a:lnTo>
                  <a:lnTo>
                    <a:pt x="1357" y="4227"/>
                  </a:lnTo>
                  <a:lnTo>
                    <a:pt x="1349" y="4240"/>
                  </a:lnTo>
                  <a:lnTo>
                    <a:pt x="1347" y="4241"/>
                  </a:lnTo>
                  <a:lnTo>
                    <a:pt x="1342" y="4243"/>
                  </a:lnTo>
                  <a:lnTo>
                    <a:pt x="1341" y="4244"/>
                  </a:lnTo>
                  <a:lnTo>
                    <a:pt x="1339" y="4247"/>
                  </a:lnTo>
                  <a:lnTo>
                    <a:pt x="1339" y="4251"/>
                  </a:lnTo>
                  <a:lnTo>
                    <a:pt x="1339" y="4257"/>
                  </a:lnTo>
                  <a:lnTo>
                    <a:pt x="1339" y="4264"/>
                  </a:lnTo>
                  <a:lnTo>
                    <a:pt x="1335" y="4271"/>
                  </a:lnTo>
                  <a:lnTo>
                    <a:pt x="1332" y="4278"/>
                  </a:lnTo>
                  <a:lnTo>
                    <a:pt x="1328" y="4286"/>
                  </a:lnTo>
                  <a:lnTo>
                    <a:pt x="1327" y="4287"/>
                  </a:lnTo>
                  <a:lnTo>
                    <a:pt x="1324" y="4288"/>
                  </a:lnTo>
                  <a:lnTo>
                    <a:pt x="1321" y="4287"/>
                  </a:lnTo>
                  <a:lnTo>
                    <a:pt x="1317" y="4286"/>
                  </a:lnTo>
                  <a:lnTo>
                    <a:pt x="1314" y="4286"/>
                  </a:lnTo>
                  <a:lnTo>
                    <a:pt x="1312" y="4286"/>
                  </a:lnTo>
                  <a:lnTo>
                    <a:pt x="1312" y="4288"/>
                  </a:lnTo>
                  <a:lnTo>
                    <a:pt x="1319" y="4297"/>
                  </a:lnTo>
                  <a:lnTo>
                    <a:pt x="1318" y="4317"/>
                  </a:lnTo>
                  <a:lnTo>
                    <a:pt x="1318" y="4326"/>
                  </a:lnTo>
                  <a:lnTo>
                    <a:pt x="1325" y="4334"/>
                  </a:lnTo>
                  <a:lnTo>
                    <a:pt x="1327" y="4339"/>
                  </a:lnTo>
                  <a:lnTo>
                    <a:pt x="1328" y="4349"/>
                  </a:lnTo>
                  <a:lnTo>
                    <a:pt x="1321" y="4356"/>
                  </a:lnTo>
                  <a:lnTo>
                    <a:pt x="1312" y="4357"/>
                  </a:lnTo>
                  <a:lnTo>
                    <a:pt x="1305" y="4354"/>
                  </a:lnTo>
                  <a:lnTo>
                    <a:pt x="1294" y="4349"/>
                  </a:lnTo>
                  <a:lnTo>
                    <a:pt x="1278" y="4341"/>
                  </a:lnTo>
                  <a:lnTo>
                    <a:pt x="1278" y="4337"/>
                  </a:lnTo>
                  <a:lnTo>
                    <a:pt x="1278" y="4330"/>
                  </a:lnTo>
                  <a:lnTo>
                    <a:pt x="1275" y="4324"/>
                  </a:lnTo>
                  <a:lnTo>
                    <a:pt x="1272" y="4319"/>
                  </a:lnTo>
                  <a:lnTo>
                    <a:pt x="1272" y="4314"/>
                  </a:lnTo>
                  <a:lnTo>
                    <a:pt x="1274" y="4307"/>
                  </a:lnTo>
                  <a:lnTo>
                    <a:pt x="1269" y="4303"/>
                  </a:lnTo>
                  <a:lnTo>
                    <a:pt x="1269" y="4297"/>
                  </a:lnTo>
                  <a:lnTo>
                    <a:pt x="1261" y="4293"/>
                  </a:lnTo>
                  <a:lnTo>
                    <a:pt x="1255" y="4290"/>
                  </a:lnTo>
                  <a:lnTo>
                    <a:pt x="1254" y="4288"/>
                  </a:lnTo>
                  <a:lnTo>
                    <a:pt x="1254" y="4286"/>
                  </a:lnTo>
                  <a:lnTo>
                    <a:pt x="1252" y="4280"/>
                  </a:lnTo>
                  <a:lnTo>
                    <a:pt x="1249" y="4274"/>
                  </a:lnTo>
                  <a:lnTo>
                    <a:pt x="1249" y="4268"/>
                  </a:lnTo>
                  <a:lnTo>
                    <a:pt x="1249" y="4257"/>
                  </a:lnTo>
                  <a:lnTo>
                    <a:pt x="1245" y="4256"/>
                  </a:lnTo>
                  <a:lnTo>
                    <a:pt x="1239" y="4256"/>
                  </a:lnTo>
                  <a:lnTo>
                    <a:pt x="1232" y="4256"/>
                  </a:lnTo>
                  <a:lnTo>
                    <a:pt x="1231" y="4257"/>
                  </a:lnTo>
                  <a:lnTo>
                    <a:pt x="1226" y="4260"/>
                  </a:lnTo>
                  <a:lnTo>
                    <a:pt x="1225" y="4260"/>
                  </a:lnTo>
                  <a:lnTo>
                    <a:pt x="1222" y="4254"/>
                  </a:lnTo>
                  <a:lnTo>
                    <a:pt x="1221" y="4253"/>
                  </a:lnTo>
                  <a:lnTo>
                    <a:pt x="1218" y="4251"/>
                  </a:lnTo>
                  <a:lnTo>
                    <a:pt x="1216" y="4253"/>
                  </a:lnTo>
                  <a:lnTo>
                    <a:pt x="1215" y="4254"/>
                  </a:lnTo>
                  <a:lnTo>
                    <a:pt x="1212" y="4261"/>
                  </a:lnTo>
                  <a:lnTo>
                    <a:pt x="1211" y="4268"/>
                  </a:lnTo>
                  <a:lnTo>
                    <a:pt x="1209" y="4271"/>
                  </a:lnTo>
                  <a:lnTo>
                    <a:pt x="1205" y="4277"/>
                  </a:lnTo>
                  <a:lnTo>
                    <a:pt x="1198" y="4284"/>
                  </a:lnTo>
                  <a:lnTo>
                    <a:pt x="1196" y="4293"/>
                  </a:lnTo>
                  <a:lnTo>
                    <a:pt x="1195" y="4304"/>
                  </a:lnTo>
                  <a:lnTo>
                    <a:pt x="1185" y="4303"/>
                  </a:lnTo>
                  <a:lnTo>
                    <a:pt x="1179" y="4304"/>
                  </a:lnTo>
                  <a:lnTo>
                    <a:pt x="1176" y="4306"/>
                  </a:lnTo>
                  <a:lnTo>
                    <a:pt x="1163" y="4304"/>
                  </a:lnTo>
                  <a:lnTo>
                    <a:pt x="1155" y="4311"/>
                  </a:lnTo>
                  <a:lnTo>
                    <a:pt x="1149" y="4314"/>
                  </a:lnTo>
                  <a:lnTo>
                    <a:pt x="1146" y="4314"/>
                  </a:lnTo>
                  <a:lnTo>
                    <a:pt x="1138" y="4306"/>
                  </a:lnTo>
                  <a:lnTo>
                    <a:pt x="1135" y="4301"/>
                  </a:lnTo>
                  <a:lnTo>
                    <a:pt x="1103" y="4294"/>
                  </a:lnTo>
                  <a:lnTo>
                    <a:pt x="1073" y="4293"/>
                  </a:lnTo>
                  <a:lnTo>
                    <a:pt x="1066" y="4294"/>
                  </a:lnTo>
                  <a:lnTo>
                    <a:pt x="1063" y="4294"/>
                  </a:lnTo>
                  <a:lnTo>
                    <a:pt x="1057" y="4310"/>
                  </a:lnTo>
                  <a:lnTo>
                    <a:pt x="1029" y="4366"/>
                  </a:lnTo>
                  <a:lnTo>
                    <a:pt x="1019" y="4389"/>
                  </a:lnTo>
                  <a:lnTo>
                    <a:pt x="1006" y="4413"/>
                  </a:lnTo>
                  <a:lnTo>
                    <a:pt x="1003" y="4420"/>
                  </a:lnTo>
                  <a:lnTo>
                    <a:pt x="1026" y="4422"/>
                  </a:lnTo>
                  <a:lnTo>
                    <a:pt x="1024" y="4429"/>
                  </a:lnTo>
                  <a:lnTo>
                    <a:pt x="1021" y="4437"/>
                  </a:lnTo>
                  <a:lnTo>
                    <a:pt x="1017" y="4443"/>
                  </a:lnTo>
                  <a:lnTo>
                    <a:pt x="1017" y="4449"/>
                  </a:lnTo>
                  <a:lnTo>
                    <a:pt x="1021" y="4453"/>
                  </a:lnTo>
                  <a:lnTo>
                    <a:pt x="1029" y="4456"/>
                  </a:lnTo>
                  <a:lnTo>
                    <a:pt x="1037" y="4457"/>
                  </a:lnTo>
                  <a:lnTo>
                    <a:pt x="1043" y="4456"/>
                  </a:lnTo>
                  <a:lnTo>
                    <a:pt x="1047" y="4456"/>
                  </a:lnTo>
                  <a:lnTo>
                    <a:pt x="1046" y="4475"/>
                  </a:lnTo>
                  <a:lnTo>
                    <a:pt x="1046" y="4490"/>
                  </a:lnTo>
                  <a:lnTo>
                    <a:pt x="1043" y="4500"/>
                  </a:lnTo>
                  <a:lnTo>
                    <a:pt x="1052" y="4500"/>
                  </a:lnTo>
                  <a:lnTo>
                    <a:pt x="1050" y="4526"/>
                  </a:lnTo>
                  <a:lnTo>
                    <a:pt x="1037" y="4525"/>
                  </a:lnTo>
                  <a:lnTo>
                    <a:pt x="1032" y="4525"/>
                  </a:lnTo>
                  <a:lnTo>
                    <a:pt x="1027" y="4526"/>
                  </a:lnTo>
                  <a:lnTo>
                    <a:pt x="1024" y="4530"/>
                  </a:lnTo>
                  <a:lnTo>
                    <a:pt x="1023" y="4535"/>
                  </a:lnTo>
                  <a:lnTo>
                    <a:pt x="1023" y="4538"/>
                  </a:lnTo>
                  <a:lnTo>
                    <a:pt x="1023" y="4548"/>
                  </a:lnTo>
                  <a:lnTo>
                    <a:pt x="1021" y="4553"/>
                  </a:lnTo>
                  <a:lnTo>
                    <a:pt x="1021" y="4556"/>
                  </a:lnTo>
                  <a:lnTo>
                    <a:pt x="1020" y="4556"/>
                  </a:lnTo>
                  <a:lnTo>
                    <a:pt x="1013" y="4553"/>
                  </a:lnTo>
                  <a:lnTo>
                    <a:pt x="1007" y="4562"/>
                  </a:lnTo>
                  <a:lnTo>
                    <a:pt x="1004" y="4573"/>
                  </a:lnTo>
                  <a:lnTo>
                    <a:pt x="1001" y="4576"/>
                  </a:lnTo>
                  <a:lnTo>
                    <a:pt x="1000" y="4578"/>
                  </a:lnTo>
                  <a:lnTo>
                    <a:pt x="997" y="4578"/>
                  </a:lnTo>
                  <a:lnTo>
                    <a:pt x="996" y="4575"/>
                  </a:lnTo>
                  <a:lnTo>
                    <a:pt x="994" y="4572"/>
                  </a:lnTo>
                  <a:lnTo>
                    <a:pt x="981" y="4566"/>
                  </a:lnTo>
                  <a:lnTo>
                    <a:pt x="973" y="4583"/>
                  </a:lnTo>
                  <a:lnTo>
                    <a:pt x="964" y="4583"/>
                  </a:lnTo>
                  <a:lnTo>
                    <a:pt x="963" y="4609"/>
                  </a:lnTo>
                  <a:lnTo>
                    <a:pt x="961" y="4612"/>
                  </a:lnTo>
                  <a:lnTo>
                    <a:pt x="950" y="4615"/>
                  </a:lnTo>
                  <a:lnTo>
                    <a:pt x="941" y="4632"/>
                  </a:lnTo>
                  <a:lnTo>
                    <a:pt x="946" y="4635"/>
                  </a:lnTo>
                  <a:lnTo>
                    <a:pt x="941" y="4642"/>
                  </a:lnTo>
                  <a:lnTo>
                    <a:pt x="947" y="4645"/>
                  </a:lnTo>
                  <a:lnTo>
                    <a:pt x="951" y="4646"/>
                  </a:lnTo>
                  <a:lnTo>
                    <a:pt x="951" y="4651"/>
                  </a:lnTo>
                  <a:lnTo>
                    <a:pt x="948" y="4652"/>
                  </a:lnTo>
                  <a:lnTo>
                    <a:pt x="947" y="4654"/>
                  </a:lnTo>
                  <a:lnTo>
                    <a:pt x="947" y="4657"/>
                  </a:lnTo>
                  <a:lnTo>
                    <a:pt x="946" y="4658"/>
                  </a:lnTo>
                  <a:lnTo>
                    <a:pt x="947" y="4678"/>
                  </a:lnTo>
                  <a:lnTo>
                    <a:pt x="951" y="4688"/>
                  </a:lnTo>
                  <a:lnTo>
                    <a:pt x="954" y="4697"/>
                  </a:lnTo>
                  <a:lnTo>
                    <a:pt x="954" y="4699"/>
                  </a:lnTo>
                  <a:lnTo>
                    <a:pt x="951" y="4699"/>
                  </a:lnTo>
                  <a:lnTo>
                    <a:pt x="947" y="4699"/>
                  </a:lnTo>
                  <a:lnTo>
                    <a:pt x="941" y="4699"/>
                  </a:lnTo>
                  <a:lnTo>
                    <a:pt x="934" y="4702"/>
                  </a:lnTo>
                  <a:lnTo>
                    <a:pt x="931" y="4705"/>
                  </a:lnTo>
                  <a:lnTo>
                    <a:pt x="931" y="4710"/>
                  </a:lnTo>
                  <a:lnTo>
                    <a:pt x="931" y="4727"/>
                  </a:lnTo>
                  <a:lnTo>
                    <a:pt x="930" y="4735"/>
                  </a:lnTo>
                  <a:lnTo>
                    <a:pt x="927" y="4740"/>
                  </a:lnTo>
                  <a:lnTo>
                    <a:pt x="923" y="4742"/>
                  </a:lnTo>
                  <a:lnTo>
                    <a:pt x="921" y="4744"/>
                  </a:lnTo>
                  <a:lnTo>
                    <a:pt x="923" y="4747"/>
                  </a:lnTo>
                  <a:lnTo>
                    <a:pt x="924" y="4748"/>
                  </a:lnTo>
                  <a:lnTo>
                    <a:pt x="928" y="4752"/>
                  </a:lnTo>
                  <a:lnTo>
                    <a:pt x="930" y="4758"/>
                  </a:lnTo>
                  <a:lnTo>
                    <a:pt x="930" y="4764"/>
                  </a:lnTo>
                  <a:lnTo>
                    <a:pt x="930" y="4768"/>
                  </a:lnTo>
                  <a:lnTo>
                    <a:pt x="928" y="4775"/>
                  </a:lnTo>
                  <a:lnTo>
                    <a:pt x="913" y="4811"/>
                  </a:lnTo>
                  <a:lnTo>
                    <a:pt x="908" y="4824"/>
                  </a:lnTo>
                  <a:lnTo>
                    <a:pt x="874" y="4820"/>
                  </a:lnTo>
                  <a:lnTo>
                    <a:pt x="850" y="4836"/>
                  </a:lnTo>
                  <a:lnTo>
                    <a:pt x="841" y="4836"/>
                  </a:lnTo>
                  <a:lnTo>
                    <a:pt x="834" y="4838"/>
                  </a:lnTo>
                  <a:lnTo>
                    <a:pt x="828" y="4850"/>
                  </a:lnTo>
                  <a:lnTo>
                    <a:pt x="828" y="4857"/>
                  </a:lnTo>
                  <a:lnTo>
                    <a:pt x="828" y="4863"/>
                  </a:lnTo>
                  <a:lnTo>
                    <a:pt x="832" y="4867"/>
                  </a:lnTo>
                  <a:lnTo>
                    <a:pt x="838" y="4868"/>
                  </a:lnTo>
                  <a:lnTo>
                    <a:pt x="842" y="4868"/>
                  </a:lnTo>
                  <a:lnTo>
                    <a:pt x="860" y="4896"/>
                  </a:lnTo>
                  <a:lnTo>
                    <a:pt x="861" y="4901"/>
                  </a:lnTo>
                  <a:lnTo>
                    <a:pt x="863" y="4907"/>
                  </a:lnTo>
                  <a:lnTo>
                    <a:pt x="877" y="4924"/>
                  </a:lnTo>
                  <a:lnTo>
                    <a:pt x="888" y="4940"/>
                  </a:lnTo>
                  <a:lnTo>
                    <a:pt x="893" y="4949"/>
                  </a:lnTo>
                  <a:lnTo>
                    <a:pt x="901" y="4954"/>
                  </a:lnTo>
                  <a:lnTo>
                    <a:pt x="903" y="4962"/>
                  </a:lnTo>
                  <a:lnTo>
                    <a:pt x="907" y="4966"/>
                  </a:lnTo>
                  <a:lnTo>
                    <a:pt x="910" y="4967"/>
                  </a:lnTo>
                  <a:lnTo>
                    <a:pt x="914" y="4966"/>
                  </a:lnTo>
                  <a:lnTo>
                    <a:pt x="921" y="4964"/>
                  </a:lnTo>
                  <a:lnTo>
                    <a:pt x="921" y="4970"/>
                  </a:lnTo>
                  <a:lnTo>
                    <a:pt x="918" y="4974"/>
                  </a:lnTo>
                  <a:lnTo>
                    <a:pt x="914" y="4980"/>
                  </a:lnTo>
                  <a:lnTo>
                    <a:pt x="907" y="4983"/>
                  </a:lnTo>
                  <a:lnTo>
                    <a:pt x="891" y="4986"/>
                  </a:lnTo>
                  <a:lnTo>
                    <a:pt x="890" y="4982"/>
                  </a:lnTo>
                  <a:lnTo>
                    <a:pt x="885" y="4977"/>
                  </a:lnTo>
                  <a:lnTo>
                    <a:pt x="881" y="4974"/>
                  </a:lnTo>
                  <a:lnTo>
                    <a:pt x="873" y="4973"/>
                  </a:lnTo>
                  <a:lnTo>
                    <a:pt x="870" y="4976"/>
                  </a:lnTo>
                  <a:lnTo>
                    <a:pt x="868" y="4979"/>
                  </a:lnTo>
                  <a:lnTo>
                    <a:pt x="867" y="4984"/>
                  </a:lnTo>
                  <a:lnTo>
                    <a:pt x="865" y="4987"/>
                  </a:lnTo>
                  <a:lnTo>
                    <a:pt x="861" y="4992"/>
                  </a:lnTo>
                  <a:lnTo>
                    <a:pt x="857" y="4993"/>
                  </a:lnTo>
                  <a:lnTo>
                    <a:pt x="855" y="4993"/>
                  </a:lnTo>
                  <a:lnTo>
                    <a:pt x="847" y="4990"/>
                  </a:lnTo>
                  <a:lnTo>
                    <a:pt x="835" y="4986"/>
                  </a:lnTo>
                  <a:lnTo>
                    <a:pt x="828" y="4984"/>
                  </a:lnTo>
                  <a:lnTo>
                    <a:pt x="822" y="4983"/>
                  </a:lnTo>
                  <a:lnTo>
                    <a:pt x="820" y="4986"/>
                  </a:lnTo>
                  <a:lnTo>
                    <a:pt x="804" y="4999"/>
                  </a:lnTo>
                  <a:lnTo>
                    <a:pt x="798" y="5000"/>
                  </a:lnTo>
                  <a:lnTo>
                    <a:pt x="791" y="5000"/>
                  </a:lnTo>
                  <a:lnTo>
                    <a:pt x="788" y="4997"/>
                  </a:lnTo>
                  <a:lnTo>
                    <a:pt x="784" y="4986"/>
                  </a:lnTo>
                  <a:lnTo>
                    <a:pt x="772" y="4989"/>
                  </a:lnTo>
                  <a:lnTo>
                    <a:pt x="751" y="4996"/>
                  </a:lnTo>
                  <a:lnTo>
                    <a:pt x="731" y="4999"/>
                  </a:lnTo>
                  <a:lnTo>
                    <a:pt x="721" y="5003"/>
                  </a:lnTo>
                  <a:lnTo>
                    <a:pt x="715" y="5006"/>
                  </a:lnTo>
                  <a:lnTo>
                    <a:pt x="715" y="5010"/>
                  </a:lnTo>
                  <a:lnTo>
                    <a:pt x="718" y="5013"/>
                  </a:lnTo>
                  <a:lnTo>
                    <a:pt x="725" y="5015"/>
                  </a:lnTo>
                  <a:lnTo>
                    <a:pt x="725" y="5017"/>
                  </a:lnTo>
                  <a:lnTo>
                    <a:pt x="715" y="5032"/>
                  </a:lnTo>
                  <a:lnTo>
                    <a:pt x="712" y="5045"/>
                  </a:lnTo>
                  <a:lnTo>
                    <a:pt x="709" y="5055"/>
                  </a:lnTo>
                  <a:lnTo>
                    <a:pt x="702" y="5063"/>
                  </a:lnTo>
                  <a:lnTo>
                    <a:pt x="702" y="5070"/>
                  </a:lnTo>
                  <a:lnTo>
                    <a:pt x="701" y="5073"/>
                  </a:lnTo>
                  <a:lnTo>
                    <a:pt x="699" y="5073"/>
                  </a:lnTo>
                  <a:lnTo>
                    <a:pt x="692" y="5070"/>
                  </a:lnTo>
                  <a:lnTo>
                    <a:pt x="685" y="5070"/>
                  </a:lnTo>
                  <a:lnTo>
                    <a:pt x="676" y="5075"/>
                  </a:lnTo>
                  <a:lnTo>
                    <a:pt x="659" y="5089"/>
                  </a:lnTo>
                  <a:lnTo>
                    <a:pt x="648" y="5099"/>
                  </a:lnTo>
                  <a:lnTo>
                    <a:pt x="643" y="5106"/>
                  </a:lnTo>
                  <a:lnTo>
                    <a:pt x="643" y="5116"/>
                  </a:lnTo>
                  <a:lnTo>
                    <a:pt x="638" y="5123"/>
                  </a:lnTo>
                  <a:lnTo>
                    <a:pt x="631" y="5135"/>
                  </a:lnTo>
                  <a:lnTo>
                    <a:pt x="623" y="5142"/>
                  </a:lnTo>
                  <a:lnTo>
                    <a:pt x="622" y="5142"/>
                  </a:lnTo>
                  <a:lnTo>
                    <a:pt x="620" y="5146"/>
                  </a:lnTo>
                  <a:lnTo>
                    <a:pt x="620" y="5151"/>
                  </a:lnTo>
                  <a:lnTo>
                    <a:pt x="619" y="5156"/>
                  </a:lnTo>
                  <a:lnTo>
                    <a:pt x="616" y="5159"/>
                  </a:lnTo>
                  <a:lnTo>
                    <a:pt x="610" y="5166"/>
                  </a:lnTo>
                  <a:lnTo>
                    <a:pt x="606" y="5178"/>
                  </a:lnTo>
                  <a:lnTo>
                    <a:pt x="605" y="5182"/>
                  </a:lnTo>
                  <a:lnTo>
                    <a:pt x="592" y="5185"/>
                  </a:lnTo>
                  <a:lnTo>
                    <a:pt x="580" y="5186"/>
                  </a:lnTo>
                  <a:lnTo>
                    <a:pt x="575" y="5188"/>
                  </a:lnTo>
                  <a:lnTo>
                    <a:pt x="552" y="5205"/>
                  </a:lnTo>
                  <a:lnTo>
                    <a:pt x="537" y="5214"/>
                  </a:lnTo>
                  <a:lnTo>
                    <a:pt x="523" y="5229"/>
                  </a:lnTo>
                  <a:lnTo>
                    <a:pt x="517" y="5229"/>
                  </a:lnTo>
                  <a:lnTo>
                    <a:pt x="512" y="5225"/>
                  </a:lnTo>
                  <a:lnTo>
                    <a:pt x="504" y="5224"/>
                  </a:lnTo>
                  <a:lnTo>
                    <a:pt x="494" y="5231"/>
                  </a:lnTo>
                  <a:lnTo>
                    <a:pt x="487" y="5232"/>
                  </a:lnTo>
                  <a:lnTo>
                    <a:pt x="476" y="5229"/>
                  </a:lnTo>
                  <a:lnTo>
                    <a:pt x="464" y="5228"/>
                  </a:lnTo>
                  <a:lnTo>
                    <a:pt x="457" y="5228"/>
                  </a:lnTo>
                  <a:lnTo>
                    <a:pt x="444" y="5229"/>
                  </a:lnTo>
                  <a:lnTo>
                    <a:pt x="434" y="5229"/>
                  </a:lnTo>
                  <a:lnTo>
                    <a:pt x="431" y="5228"/>
                  </a:lnTo>
                  <a:lnTo>
                    <a:pt x="430" y="5228"/>
                  </a:lnTo>
                  <a:lnTo>
                    <a:pt x="426" y="5222"/>
                  </a:lnTo>
                  <a:lnTo>
                    <a:pt x="420" y="5215"/>
                  </a:lnTo>
                  <a:lnTo>
                    <a:pt x="413" y="5214"/>
                  </a:lnTo>
                  <a:lnTo>
                    <a:pt x="406" y="5214"/>
                  </a:lnTo>
                  <a:lnTo>
                    <a:pt x="397" y="5209"/>
                  </a:lnTo>
                  <a:lnTo>
                    <a:pt x="390" y="5205"/>
                  </a:lnTo>
                  <a:lnTo>
                    <a:pt x="374" y="5204"/>
                  </a:lnTo>
                  <a:lnTo>
                    <a:pt x="361" y="5204"/>
                  </a:lnTo>
                  <a:lnTo>
                    <a:pt x="356" y="5202"/>
                  </a:lnTo>
                  <a:lnTo>
                    <a:pt x="351" y="5199"/>
                  </a:lnTo>
                  <a:lnTo>
                    <a:pt x="348" y="5195"/>
                  </a:lnTo>
                  <a:lnTo>
                    <a:pt x="345" y="5192"/>
                  </a:lnTo>
                  <a:lnTo>
                    <a:pt x="338" y="5191"/>
                  </a:lnTo>
                  <a:lnTo>
                    <a:pt x="334" y="5192"/>
                  </a:lnTo>
                  <a:lnTo>
                    <a:pt x="328" y="5194"/>
                  </a:lnTo>
                  <a:lnTo>
                    <a:pt x="321" y="5194"/>
                  </a:lnTo>
                  <a:lnTo>
                    <a:pt x="317" y="5192"/>
                  </a:lnTo>
                  <a:lnTo>
                    <a:pt x="315" y="5188"/>
                  </a:lnTo>
                  <a:lnTo>
                    <a:pt x="314" y="5178"/>
                  </a:lnTo>
                  <a:lnTo>
                    <a:pt x="313" y="5171"/>
                  </a:lnTo>
                  <a:lnTo>
                    <a:pt x="308" y="5164"/>
                  </a:lnTo>
                  <a:lnTo>
                    <a:pt x="298" y="5156"/>
                  </a:lnTo>
                  <a:lnTo>
                    <a:pt x="290" y="5148"/>
                  </a:lnTo>
                  <a:lnTo>
                    <a:pt x="291" y="5142"/>
                  </a:lnTo>
                  <a:lnTo>
                    <a:pt x="294" y="5138"/>
                  </a:lnTo>
                  <a:lnTo>
                    <a:pt x="301" y="5131"/>
                  </a:lnTo>
                  <a:lnTo>
                    <a:pt x="311" y="5121"/>
                  </a:lnTo>
                  <a:lnTo>
                    <a:pt x="318" y="5108"/>
                  </a:lnTo>
                  <a:lnTo>
                    <a:pt x="330" y="5093"/>
                  </a:lnTo>
                  <a:lnTo>
                    <a:pt x="344" y="5086"/>
                  </a:lnTo>
                  <a:lnTo>
                    <a:pt x="353" y="5083"/>
                  </a:lnTo>
                  <a:lnTo>
                    <a:pt x="358" y="5083"/>
                  </a:lnTo>
                  <a:lnTo>
                    <a:pt x="368" y="5083"/>
                  </a:lnTo>
                  <a:lnTo>
                    <a:pt x="367" y="5082"/>
                  </a:lnTo>
                  <a:lnTo>
                    <a:pt x="367" y="5082"/>
                  </a:lnTo>
                  <a:lnTo>
                    <a:pt x="390" y="5050"/>
                  </a:lnTo>
                  <a:lnTo>
                    <a:pt x="396" y="5042"/>
                  </a:lnTo>
                  <a:lnTo>
                    <a:pt x="398" y="5040"/>
                  </a:lnTo>
                  <a:lnTo>
                    <a:pt x="398" y="5040"/>
                  </a:lnTo>
                  <a:lnTo>
                    <a:pt x="403" y="5037"/>
                  </a:lnTo>
                  <a:lnTo>
                    <a:pt x="406" y="5035"/>
                  </a:lnTo>
                  <a:lnTo>
                    <a:pt x="409" y="5032"/>
                  </a:lnTo>
                  <a:lnTo>
                    <a:pt x="409" y="5027"/>
                  </a:lnTo>
                  <a:lnTo>
                    <a:pt x="410" y="5023"/>
                  </a:lnTo>
                  <a:lnTo>
                    <a:pt x="409" y="5019"/>
                  </a:lnTo>
                  <a:lnTo>
                    <a:pt x="404" y="5007"/>
                  </a:lnTo>
                  <a:lnTo>
                    <a:pt x="404" y="5007"/>
                  </a:lnTo>
                  <a:lnTo>
                    <a:pt x="403" y="5003"/>
                  </a:lnTo>
                  <a:lnTo>
                    <a:pt x="404" y="5003"/>
                  </a:lnTo>
                  <a:lnTo>
                    <a:pt x="406" y="5002"/>
                  </a:lnTo>
                  <a:lnTo>
                    <a:pt x="410" y="5002"/>
                  </a:lnTo>
                  <a:lnTo>
                    <a:pt x="417" y="5005"/>
                  </a:lnTo>
                  <a:lnTo>
                    <a:pt x="417" y="5005"/>
                  </a:lnTo>
                  <a:lnTo>
                    <a:pt x="421" y="5005"/>
                  </a:lnTo>
                  <a:lnTo>
                    <a:pt x="429" y="5000"/>
                  </a:lnTo>
                  <a:lnTo>
                    <a:pt x="437" y="4995"/>
                  </a:lnTo>
                  <a:lnTo>
                    <a:pt x="447" y="4986"/>
                  </a:lnTo>
                  <a:lnTo>
                    <a:pt x="447" y="4986"/>
                  </a:lnTo>
                  <a:lnTo>
                    <a:pt x="454" y="4976"/>
                  </a:lnTo>
                  <a:lnTo>
                    <a:pt x="457" y="4967"/>
                  </a:lnTo>
                  <a:lnTo>
                    <a:pt x="459" y="4962"/>
                  </a:lnTo>
                  <a:lnTo>
                    <a:pt x="456" y="4956"/>
                  </a:lnTo>
                  <a:lnTo>
                    <a:pt x="456" y="4956"/>
                  </a:lnTo>
                  <a:lnTo>
                    <a:pt x="443" y="4942"/>
                  </a:lnTo>
                  <a:lnTo>
                    <a:pt x="437" y="4939"/>
                  </a:lnTo>
                  <a:lnTo>
                    <a:pt x="434" y="4937"/>
                  </a:lnTo>
                  <a:lnTo>
                    <a:pt x="434" y="4937"/>
                  </a:lnTo>
                  <a:lnTo>
                    <a:pt x="436" y="4923"/>
                  </a:lnTo>
                  <a:lnTo>
                    <a:pt x="434" y="4911"/>
                  </a:lnTo>
                  <a:lnTo>
                    <a:pt x="433" y="4909"/>
                  </a:lnTo>
                  <a:lnTo>
                    <a:pt x="431" y="4906"/>
                  </a:lnTo>
                  <a:lnTo>
                    <a:pt x="429" y="4903"/>
                  </a:lnTo>
                  <a:lnTo>
                    <a:pt x="426" y="4903"/>
                  </a:lnTo>
                  <a:lnTo>
                    <a:pt x="426" y="4903"/>
                  </a:lnTo>
                  <a:lnTo>
                    <a:pt x="421" y="4901"/>
                  </a:lnTo>
                  <a:lnTo>
                    <a:pt x="420" y="4900"/>
                  </a:lnTo>
                  <a:lnTo>
                    <a:pt x="419" y="4897"/>
                  </a:lnTo>
                  <a:lnTo>
                    <a:pt x="419" y="4893"/>
                  </a:lnTo>
                  <a:lnTo>
                    <a:pt x="423" y="4883"/>
                  </a:lnTo>
                  <a:lnTo>
                    <a:pt x="431" y="4867"/>
                  </a:lnTo>
                  <a:lnTo>
                    <a:pt x="431" y="4867"/>
                  </a:lnTo>
                  <a:lnTo>
                    <a:pt x="436" y="4861"/>
                  </a:lnTo>
                  <a:lnTo>
                    <a:pt x="437" y="4856"/>
                  </a:lnTo>
                  <a:lnTo>
                    <a:pt x="439" y="4848"/>
                  </a:lnTo>
                  <a:lnTo>
                    <a:pt x="437" y="4843"/>
                  </a:lnTo>
                  <a:lnTo>
                    <a:pt x="436" y="4834"/>
                  </a:lnTo>
                  <a:lnTo>
                    <a:pt x="433" y="4827"/>
                  </a:lnTo>
                  <a:lnTo>
                    <a:pt x="429" y="4818"/>
                  </a:lnTo>
                  <a:lnTo>
                    <a:pt x="423" y="4810"/>
                  </a:lnTo>
                  <a:lnTo>
                    <a:pt x="423" y="4810"/>
                  </a:lnTo>
                  <a:lnTo>
                    <a:pt x="419" y="4791"/>
                  </a:lnTo>
                  <a:lnTo>
                    <a:pt x="414" y="4778"/>
                  </a:lnTo>
                  <a:lnTo>
                    <a:pt x="411" y="4770"/>
                  </a:lnTo>
                  <a:lnTo>
                    <a:pt x="410" y="4768"/>
                  </a:lnTo>
                  <a:lnTo>
                    <a:pt x="409" y="4767"/>
                  </a:lnTo>
                  <a:lnTo>
                    <a:pt x="409" y="4767"/>
                  </a:lnTo>
                  <a:lnTo>
                    <a:pt x="391" y="4754"/>
                  </a:lnTo>
                  <a:lnTo>
                    <a:pt x="388" y="4751"/>
                  </a:lnTo>
                  <a:lnTo>
                    <a:pt x="387" y="4750"/>
                  </a:lnTo>
                  <a:lnTo>
                    <a:pt x="387" y="4750"/>
                  </a:lnTo>
                  <a:lnTo>
                    <a:pt x="391" y="4737"/>
                  </a:lnTo>
                  <a:lnTo>
                    <a:pt x="393" y="4728"/>
                  </a:lnTo>
                  <a:lnTo>
                    <a:pt x="393" y="4721"/>
                  </a:lnTo>
                  <a:lnTo>
                    <a:pt x="393" y="4715"/>
                  </a:lnTo>
                  <a:lnTo>
                    <a:pt x="393" y="4715"/>
                  </a:lnTo>
                  <a:lnTo>
                    <a:pt x="390" y="4711"/>
                  </a:lnTo>
                  <a:lnTo>
                    <a:pt x="371" y="4707"/>
                  </a:lnTo>
                  <a:lnTo>
                    <a:pt x="358" y="4698"/>
                  </a:lnTo>
                  <a:lnTo>
                    <a:pt x="360" y="4684"/>
                  </a:lnTo>
                  <a:lnTo>
                    <a:pt x="353" y="4678"/>
                  </a:lnTo>
                  <a:lnTo>
                    <a:pt x="323" y="4667"/>
                  </a:lnTo>
                  <a:lnTo>
                    <a:pt x="305" y="4665"/>
                  </a:lnTo>
                  <a:lnTo>
                    <a:pt x="295" y="4671"/>
                  </a:lnTo>
                  <a:lnTo>
                    <a:pt x="287" y="4674"/>
                  </a:lnTo>
                  <a:lnTo>
                    <a:pt x="278" y="4674"/>
                  </a:lnTo>
                  <a:lnTo>
                    <a:pt x="277" y="4672"/>
                  </a:lnTo>
                  <a:lnTo>
                    <a:pt x="275" y="4669"/>
                  </a:lnTo>
                  <a:lnTo>
                    <a:pt x="272" y="4667"/>
                  </a:lnTo>
                  <a:lnTo>
                    <a:pt x="270" y="4667"/>
                  </a:lnTo>
                  <a:lnTo>
                    <a:pt x="261" y="4667"/>
                  </a:lnTo>
                  <a:lnTo>
                    <a:pt x="258" y="4668"/>
                  </a:lnTo>
                  <a:lnTo>
                    <a:pt x="258" y="4671"/>
                  </a:lnTo>
                  <a:lnTo>
                    <a:pt x="258" y="4677"/>
                  </a:lnTo>
                  <a:lnTo>
                    <a:pt x="255" y="4677"/>
                  </a:lnTo>
                  <a:lnTo>
                    <a:pt x="252" y="4675"/>
                  </a:lnTo>
                  <a:lnTo>
                    <a:pt x="252" y="4671"/>
                  </a:lnTo>
                  <a:lnTo>
                    <a:pt x="250" y="4669"/>
                  </a:lnTo>
                  <a:lnTo>
                    <a:pt x="245" y="4669"/>
                  </a:lnTo>
                  <a:lnTo>
                    <a:pt x="241" y="4668"/>
                  </a:lnTo>
                  <a:lnTo>
                    <a:pt x="241" y="4667"/>
                  </a:lnTo>
                  <a:lnTo>
                    <a:pt x="241" y="4658"/>
                  </a:lnTo>
                  <a:lnTo>
                    <a:pt x="242" y="4655"/>
                  </a:lnTo>
                  <a:lnTo>
                    <a:pt x="242" y="4652"/>
                  </a:lnTo>
                  <a:lnTo>
                    <a:pt x="240" y="4655"/>
                  </a:lnTo>
                  <a:lnTo>
                    <a:pt x="237" y="4655"/>
                  </a:lnTo>
                  <a:lnTo>
                    <a:pt x="229" y="4654"/>
                  </a:lnTo>
                  <a:lnTo>
                    <a:pt x="227" y="4651"/>
                  </a:lnTo>
                  <a:lnTo>
                    <a:pt x="227" y="4646"/>
                  </a:lnTo>
                  <a:lnTo>
                    <a:pt x="231" y="4644"/>
                  </a:lnTo>
                  <a:lnTo>
                    <a:pt x="231" y="4639"/>
                  </a:lnTo>
                  <a:lnTo>
                    <a:pt x="225" y="4634"/>
                  </a:lnTo>
                  <a:lnTo>
                    <a:pt x="224" y="4626"/>
                  </a:lnTo>
                  <a:lnTo>
                    <a:pt x="219" y="4618"/>
                  </a:lnTo>
                  <a:lnTo>
                    <a:pt x="217" y="4611"/>
                  </a:lnTo>
                  <a:lnTo>
                    <a:pt x="208" y="4605"/>
                  </a:lnTo>
                  <a:lnTo>
                    <a:pt x="195" y="4598"/>
                  </a:lnTo>
                  <a:lnTo>
                    <a:pt x="199" y="4599"/>
                  </a:lnTo>
                  <a:lnTo>
                    <a:pt x="192" y="4599"/>
                  </a:lnTo>
                  <a:lnTo>
                    <a:pt x="189" y="4604"/>
                  </a:lnTo>
                  <a:lnTo>
                    <a:pt x="189" y="4604"/>
                  </a:lnTo>
                  <a:lnTo>
                    <a:pt x="188" y="4596"/>
                  </a:lnTo>
                  <a:lnTo>
                    <a:pt x="188" y="4589"/>
                  </a:lnTo>
                  <a:lnTo>
                    <a:pt x="188" y="4589"/>
                  </a:lnTo>
                  <a:lnTo>
                    <a:pt x="188" y="4588"/>
                  </a:lnTo>
                  <a:lnTo>
                    <a:pt x="188" y="4588"/>
                  </a:lnTo>
                  <a:lnTo>
                    <a:pt x="188" y="4586"/>
                  </a:lnTo>
                  <a:lnTo>
                    <a:pt x="188" y="4586"/>
                  </a:lnTo>
                  <a:lnTo>
                    <a:pt x="188" y="4586"/>
                  </a:lnTo>
                  <a:lnTo>
                    <a:pt x="189" y="4585"/>
                  </a:lnTo>
                  <a:lnTo>
                    <a:pt x="189" y="4585"/>
                  </a:lnTo>
                  <a:lnTo>
                    <a:pt x="191" y="4585"/>
                  </a:lnTo>
                  <a:lnTo>
                    <a:pt x="191" y="4585"/>
                  </a:lnTo>
                  <a:lnTo>
                    <a:pt x="191" y="4583"/>
                  </a:lnTo>
                  <a:lnTo>
                    <a:pt x="192" y="4583"/>
                  </a:lnTo>
                  <a:lnTo>
                    <a:pt x="192" y="4583"/>
                  </a:lnTo>
                  <a:lnTo>
                    <a:pt x="194" y="4579"/>
                  </a:lnTo>
                  <a:lnTo>
                    <a:pt x="195" y="4578"/>
                  </a:lnTo>
                  <a:lnTo>
                    <a:pt x="195" y="4578"/>
                  </a:lnTo>
                  <a:lnTo>
                    <a:pt x="195" y="4576"/>
                  </a:lnTo>
                  <a:lnTo>
                    <a:pt x="195" y="4576"/>
                  </a:lnTo>
                  <a:lnTo>
                    <a:pt x="197" y="4576"/>
                  </a:lnTo>
                  <a:lnTo>
                    <a:pt x="197" y="4575"/>
                  </a:lnTo>
                  <a:lnTo>
                    <a:pt x="197" y="4575"/>
                  </a:lnTo>
                  <a:lnTo>
                    <a:pt x="197" y="4573"/>
                  </a:lnTo>
                  <a:lnTo>
                    <a:pt x="197" y="4573"/>
                  </a:lnTo>
                  <a:lnTo>
                    <a:pt x="198" y="4573"/>
                  </a:lnTo>
                  <a:lnTo>
                    <a:pt x="198" y="4572"/>
                  </a:lnTo>
                  <a:lnTo>
                    <a:pt x="199" y="4571"/>
                  </a:lnTo>
                  <a:lnTo>
                    <a:pt x="199" y="4571"/>
                  </a:lnTo>
                  <a:lnTo>
                    <a:pt x="212" y="4571"/>
                  </a:lnTo>
                  <a:lnTo>
                    <a:pt x="221" y="4571"/>
                  </a:lnTo>
                  <a:lnTo>
                    <a:pt x="228" y="4566"/>
                  </a:lnTo>
                  <a:lnTo>
                    <a:pt x="240" y="4561"/>
                  </a:lnTo>
                  <a:lnTo>
                    <a:pt x="247" y="4549"/>
                  </a:lnTo>
                  <a:lnTo>
                    <a:pt x="261" y="4548"/>
                  </a:lnTo>
                  <a:lnTo>
                    <a:pt x="274" y="4538"/>
                  </a:lnTo>
                  <a:lnTo>
                    <a:pt x="270" y="4525"/>
                  </a:lnTo>
                  <a:lnTo>
                    <a:pt x="267" y="4513"/>
                  </a:lnTo>
                  <a:lnTo>
                    <a:pt x="267" y="4499"/>
                  </a:lnTo>
                  <a:lnTo>
                    <a:pt x="265" y="4499"/>
                  </a:lnTo>
                  <a:lnTo>
                    <a:pt x="264" y="4496"/>
                  </a:lnTo>
                  <a:lnTo>
                    <a:pt x="260" y="4490"/>
                  </a:lnTo>
                  <a:lnTo>
                    <a:pt x="257" y="4480"/>
                  </a:lnTo>
                  <a:lnTo>
                    <a:pt x="254" y="4475"/>
                  </a:lnTo>
                  <a:lnTo>
                    <a:pt x="254" y="4466"/>
                  </a:lnTo>
                  <a:lnTo>
                    <a:pt x="250" y="4462"/>
                  </a:lnTo>
                  <a:lnTo>
                    <a:pt x="244" y="4456"/>
                  </a:lnTo>
                  <a:lnTo>
                    <a:pt x="238" y="4447"/>
                  </a:lnTo>
                  <a:lnTo>
                    <a:pt x="231" y="4446"/>
                  </a:lnTo>
                  <a:lnTo>
                    <a:pt x="228" y="4442"/>
                  </a:lnTo>
                  <a:lnTo>
                    <a:pt x="219" y="4437"/>
                  </a:lnTo>
                  <a:lnTo>
                    <a:pt x="218" y="4435"/>
                  </a:lnTo>
                  <a:lnTo>
                    <a:pt x="218" y="4432"/>
                  </a:lnTo>
                  <a:lnTo>
                    <a:pt x="221" y="4430"/>
                  </a:lnTo>
                  <a:lnTo>
                    <a:pt x="222" y="4427"/>
                  </a:lnTo>
                  <a:lnTo>
                    <a:pt x="222" y="4423"/>
                  </a:lnTo>
                  <a:lnTo>
                    <a:pt x="222" y="4417"/>
                  </a:lnTo>
                  <a:lnTo>
                    <a:pt x="217" y="4413"/>
                  </a:lnTo>
                  <a:lnTo>
                    <a:pt x="215" y="4412"/>
                  </a:lnTo>
                  <a:lnTo>
                    <a:pt x="215" y="4406"/>
                  </a:lnTo>
                  <a:lnTo>
                    <a:pt x="215" y="4403"/>
                  </a:lnTo>
                  <a:lnTo>
                    <a:pt x="217" y="4399"/>
                  </a:lnTo>
                  <a:lnTo>
                    <a:pt x="229" y="4402"/>
                  </a:lnTo>
                  <a:lnTo>
                    <a:pt x="232" y="4393"/>
                  </a:lnTo>
                  <a:lnTo>
                    <a:pt x="235" y="4393"/>
                  </a:lnTo>
                  <a:lnTo>
                    <a:pt x="237" y="4393"/>
                  </a:lnTo>
                  <a:lnTo>
                    <a:pt x="237" y="4392"/>
                  </a:lnTo>
                  <a:lnTo>
                    <a:pt x="237" y="4389"/>
                  </a:lnTo>
                  <a:lnTo>
                    <a:pt x="232" y="4387"/>
                  </a:lnTo>
                  <a:lnTo>
                    <a:pt x="231" y="4386"/>
                  </a:lnTo>
                  <a:lnTo>
                    <a:pt x="232" y="4382"/>
                  </a:lnTo>
                  <a:lnTo>
                    <a:pt x="235" y="4370"/>
                  </a:lnTo>
                  <a:lnTo>
                    <a:pt x="238" y="4357"/>
                  </a:lnTo>
                  <a:lnTo>
                    <a:pt x="240" y="4349"/>
                  </a:lnTo>
                  <a:lnTo>
                    <a:pt x="247" y="4331"/>
                  </a:lnTo>
                  <a:lnTo>
                    <a:pt x="225" y="4327"/>
                  </a:lnTo>
                  <a:lnTo>
                    <a:pt x="228" y="4321"/>
                  </a:lnTo>
                  <a:lnTo>
                    <a:pt x="232" y="4320"/>
                  </a:lnTo>
                  <a:lnTo>
                    <a:pt x="235" y="4311"/>
                  </a:lnTo>
                  <a:lnTo>
                    <a:pt x="238" y="4311"/>
                  </a:lnTo>
                  <a:lnTo>
                    <a:pt x="247" y="4313"/>
                  </a:lnTo>
                  <a:lnTo>
                    <a:pt x="252" y="4311"/>
                  </a:lnTo>
                  <a:lnTo>
                    <a:pt x="268" y="4273"/>
                  </a:lnTo>
                  <a:lnTo>
                    <a:pt x="274" y="4276"/>
                  </a:lnTo>
                  <a:lnTo>
                    <a:pt x="278" y="4277"/>
                  </a:lnTo>
                  <a:lnTo>
                    <a:pt x="287" y="4270"/>
                  </a:lnTo>
                  <a:lnTo>
                    <a:pt x="304" y="4271"/>
                  </a:lnTo>
                  <a:lnTo>
                    <a:pt x="300" y="4263"/>
                  </a:lnTo>
                  <a:lnTo>
                    <a:pt x="297" y="4260"/>
                  </a:lnTo>
                  <a:lnTo>
                    <a:pt x="297" y="4258"/>
                  </a:lnTo>
                  <a:lnTo>
                    <a:pt x="295" y="4254"/>
                  </a:lnTo>
                  <a:lnTo>
                    <a:pt x="297" y="4251"/>
                  </a:lnTo>
                  <a:lnTo>
                    <a:pt x="300" y="4253"/>
                  </a:lnTo>
                  <a:lnTo>
                    <a:pt x="304" y="4256"/>
                  </a:lnTo>
                  <a:lnTo>
                    <a:pt x="308" y="4256"/>
                  </a:lnTo>
                  <a:lnTo>
                    <a:pt x="313" y="4253"/>
                  </a:lnTo>
                  <a:lnTo>
                    <a:pt x="317" y="4250"/>
                  </a:lnTo>
                  <a:lnTo>
                    <a:pt x="320" y="4243"/>
                  </a:lnTo>
                  <a:lnTo>
                    <a:pt x="320" y="4234"/>
                  </a:lnTo>
                  <a:lnTo>
                    <a:pt x="320" y="4227"/>
                  </a:lnTo>
                  <a:lnTo>
                    <a:pt x="323" y="4214"/>
                  </a:lnTo>
                  <a:lnTo>
                    <a:pt x="314" y="4207"/>
                  </a:lnTo>
                  <a:lnTo>
                    <a:pt x="303" y="4203"/>
                  </a:lnTo>
                  <a:lnTo>
                    <a:pt x="291" y="4201"/>
                  </a:lnTo>
                  <a:lnTo>
                    <a:pt x="281" y="4195"/>
                  </a:lnTo>
                  <a:lnTo>
                    <a:pt x="271" y="4184"/>
                  </a:lnTo>
                  <a:lnTo>
                    <a:pt x="254" y="4171"/>
                  </a:lnTo>
                  <a:lnTo>
                    <a:pt x="227" y="4162"/>
                  </a:lnTo>
                  <a:lnTo>
                    <a:pt x="222" y="4157"/>
                  </a:lnTo>
                  <a:lnTo>
                    <a:pt x="222" y="4147"/>
                  </a:lnTo>
                  <a:lnTo>
                    <a:pt x="217" y="4141"/>
                  </a:lnTo>
                  <a:lnTo>
                    <a:pt x="218" y="4108"/>
                  </a:lnTo>
                  <a:lnTo>
                    <a:pt x="218" y="4092"/>
                  </a:lnTo>
                  <a:lnTo>
                    <a:pt x="224" y="4084"/>
                  </a:lnTo>
                  <a:lnTo>
                    <a:pt x="245" y="4058"/>
                  </a:lnTo>
                  <a:lnTo>
                    <a:pt x="262" y="4036"/>
                  </a:lnTo>
                  <a:lnTo>
                    <a:pt x="272" y="4032"/>
                  </a:lnTo>
                  <a:lnTo>
                    <a:pt x="313" y="4025"/>
                  </a:lnTo>
                  <a:lnTo>
                    <a:pt x="311" y="4021"/>
                  </a:lnTo>
                  <a:lnTo>
                    <a:pt x="297" y="3996"/>
                  </a:lnTo>
                  <a:lnTo>
                    <a:pt x="291" y="3986"/>
                  </a:lnTo>
                  <a:lnTo>
                    <a:pt x="291" y="3982"/>
                  </a:lnTo>
                  <a:lnTo>
                    <a:pt x="291" y="3976"/>
                  </a:lnTo>
                  <a:lnTo>
                    <a:pt x="237" y="3973"/>
                  </a:lnTo>
                  <a:lnTo>
                    <a:pt x="231" y="3955"/>
                  </a:lnTo>
                  <a:lnTo>
                    <a:pt x="222" y="3905"/>
                  </a:lnTo>
                  <a:lnTo>
                    <a:pt x="219" y="3900"/>
                  </a:lnTo>
                  <a:lnTo>
                    <a:pt x="191" y="3892"/>
                  </a:lnTo>
                  <a:lnTo>
                    <a:pt x="189" y="3859"/>
                  </a:lnTo>
                  <a:lnTo>
                    <a:pt x="156" y="3842"/>
                  </a:lnTo>
                  <a:lnTo>
                    <a:pt x="112" y="3830"/>
                  </a:lnTo>
                  <a:lnTo>
                    <a:pt x="98" y="3832"/>
                  </a:lnTo>
                  <a:lnTo>
                    <a:pt x="65" y="3832"/>
                  </a:lnTo>
                  <a:lnTo>
                    <a:pt x="18" y="3820"/>
                  </a:lnTo>
                  <a:lnTo>
                    <a:pt x="0" y="3813"/>
                  </a:lnTo>
                  <a:lnTo>
                    <a:pt x="0" y="3804"/>
                  </a:lnTo>
                  <a:lnTo>
                    <a:pt x="0" y="3793"/>
                  </a:lnTo>
                  <a:lnTo>
                    <a:pt x="5" y="3789"/>
                  </a:lnTo>
                  <a:lnTo>
                    <a:pt x="6" y="3780"/>
                  </a:lnTo>
                  <a:lnTo>
                    <a:pt x="9" y="3769"/>
                  </a:lnTo>
                  <a:lnTo>
                    <a:pt x="29" y="3744"/>
                  </a:lnTo>
                  <a:lnTo>
                    <a:pt x="7" y="3658"/>
                  </a:lnTo>
                  <a:lnTo>
                    <a:pt x="132" y="3611"/>
                  </a:lnTo>
                  <a:lnTo>
                    <a:pt x="135" y="3610"/>
                  </a:lnTo>
                  <a:lnTo>
                    <a:pt x="132" y="3600"/>
                  </a:lnTo>
                  <a:lnTo>
                    <a:pt x="134" y="3595"/>
                  </a:lnTo>
                  <a:lnTo>
                    <a:pt x="135" y="3592"/>
                  </a:lnTo>
                  <a:lnTo>
                    <a:pt x="149" y="3588"/>
                  </a:lnTo>
                  <a:lnTo>
                    <a:pt x="156" y="3587"/>
                  </a:lnTo>
                  <a:lnTo>
                    <a:pt x="159" y="3584"/>
                  </a:lnTo>
                  <a:lnTo>
                    <a:pt x="162" y="3580"/>
                  </a:lnTo>
                  <a:lnTo>
                    <a:pt x="154" y="3567"/>
                  </a:lnTo>
                  <a:lnTo>
                    <a:pt x="141" y="3565"/>
                  </a:lnTo>
                  <a:lnTo>
                    <a:pt x="128" y="3547"/>
                  </a:lnTo>
                  <a:lnTo>
                    <a:pt x="121" y="3545"/>
                  </a:lnTo>
                  <a:lnTo>
                    <a:pt x="109" y="3542"/>
                  </a:lnTo>
                  <a:lnTo>
                    <a:pt x="102" y="3528"/>
                  </a:lnTo>
                  <a:lnTo>
                    <a:pt x="95" y="3522"/>
                  </a:lnTo>
                  <a:lnTo>
                    <a:pt x="91" y="3521"/>
                  </a:lnTo>
                  <a:lnTo>
                    <a:pt x="81" y="3518"/>
                  </a:lnTo>
                  <a:lnTo>
                    <a:pt x="78" y="3515"/>
                  </a:lnTo>
                  <a:lnTo>
                    <a:pt x="71" y="3502"/>
                  </a:lnTo>
                  <a:lnTo>
                    <a:pt x="66" y="3488"/>
                  </a:lnTo>
                  <a:lnTo>
                    <a:pt x="66" y="3474"/>
                  </a:lnTo>
                  <a:lnTo>
                    <a:pt x="71" y="3452"/>
                  </a:lnTo>
                  <a:lnTo>
                    <a:pt x="78" y="3435"/>
                  </a:lnTo>
                  <a:lnTo>
                    <a:pt x="86" y="3428"/>
                  </a:lnTo>
                  <a:lnTo>
                    <a:pt x="99" y="3419"/>
                  </a:lnTo>
                  <a:lnTo>
                    <a:pt x="112" y="3412"/>
                  </a:lnTo>
                  <a:lnTo>
                    <a:pt x="115" y="3400"/>
                  </a:lnTo>
                  <a:lnTo>
                    <a:pt x="119" y="3395"/>
                  </a:lnTo>
                  <a:lnTo>
                    <a:pt x="122" y="3393"/>
                  </a:lnTo>
                  <a:lnTo>
                    <a:pt x="128" y="3393"/>
                  </a:lnTo>
                  <a:lnTo>
                    <a:pt x="131" y="3388"/>
                  </a:lnTo>
                  <a:lnTo>
                    <a:pt x="134" y="3379"/>
                  </a:lnTo>
                  <a:lnTo>
                    <a:pt x="148" y="3362"/>
                  </a:lnTo>
                  <a:lnTo>
                    <a:pt x="156" y="3356"/>
                  </a:lnTo>
                  <a:lnTo>
                    <a:pt x="161" y="3356"/>
                  </a:lnTo>
                  <a:lnTo>
                    <a:pt x="168" y="3355"/>
                  </a:lnTo>
                  <a:lnTo>
                    <a:pt x="178" y="3343"/>
                  </a:lnTo>
                  <a:lnTo>
                    <a:pt x="182" y="3337"/>
                  </a:lnTo>
                  <a:lnTo>
                    <a:pt x="184" y="3333"/>
                  </a:lnTo>
                  <a:lnTo>
                    <a:pt x="187" y="3310"/>
                  </a:lnTo>
                  <a:lnTo>
                    <a:pt x="198" y="3293"/>
                  </a:lnTo>
                  <a:lnTo>
                    <a:pt x="187" y="3279"/>
                  </a:lnTo>
                  <a:lnTo>
                    <a:pt x="188" y="3262"/>
                  </a:lnTo>
                  <a:lnTo>
                    <a:pt x="175" y="3246"/>
                  </a:lnTo>
                  <a:lnTo>
                    <a:pt x="192" y="3226"/>
                  </a:lnTo>
                  <a:lnTo>
                    <a:pt x="192" y="3214"/>
                  </a:lnTo>
                  <a:lnTo>
                    <a:pt x="194" y="3203"/>
                  </a:lnTo>
                  <a:lnTo>
                    <a:pt x="235" y="3180"/>
                  </a:lnTo>
                  <a:lnTo>
                    <a:pt x="244" y="3177"/>
                  </a:lnTo>
                  <a:lnTo>
                    <a:pt x="242" y="3166"/>
                  </a:lnTo>
                  <a:lnTo>
                    <a:pt x="247" y="3160"/>
                  </a:lnTo>
                  <a:lnTo>
                    <a:pt x="251" y="3154"/>
                  </a:lnTo>
                  <a:lnTo>
                    <a:pt x="248" y="3133"/>
                  </a:lnTo>
                  <a:lnTo>
                    <a:pt x="245" y="3114"/>
                  </a:lnTo>
                  <a:lnTo>
                    <a:pt x="248" y="3105"/>
                  </a:lnTo>
                  <a:lnTo>
                    <a:pt x="254" y="3097"/>
                  </a:lnTo>
                  <a:lnTo>
                    <a:pt x="255" y="3090"/>
                  </a:lnTo>
                  <a:lnTo>
                    <a:pt x="254" y="3083"/>
                  </a:lnTo>
                  <a:lnTo>
                    <a:pt x="255" y="3071"/>
                  </a:lnTo>
                  <a:lnTo>
                    <a:pt x="254" y="3061"/>
                  </a:lnTo>
                  <a:lnTo>
                    <a:pt x="248" y="3052"/>
                  </a:lnTo>
                  <a:lnTo>
                    <a:pt x="245" y="3051"/>
                  </a:lnTo>
                  <a:lnTo>
                    <a:pt x="241" y="3048"/>
                  </a:lnTo>
                  <a:lnTo>
                    <a:pt x="222" y="3051"/>
                  </a:lnTo>
                  <a:lnTo>
                    <a:pt x="212" y="3041"/>
                  </a:lnTo>
                  <a:lnTo>
                    <a:pt x="204" y="3020"/>
                  </a:lnTo>
                  <a:lnTo>
                    <a:pt x="172" y="3017"/>
                  </a:lnTo>
                  <a:lnTo>
                    <a:pt x="168" y="2988"/>
                  </a:lnTo>
                  <a:lnTo>
                    <a:pt x="169" y="2989"/>
                  </a:lnTo>
                  <a:lnTo>
                    <a:pt x="194" y="2969"/>
                  </a:lnTo>
                  <a:lnTo>
                    <a:pt x="194" y="2944"/>
                  </a:lnTo>
                  <a:lnTo>
                    <a:pt x="197" y="2934"/>
                  </a:lnTo>
                  <a:lnTo>
                    <a:pt x="194" y="2918"/>
                  </a:lnTo>
                  <a:lnTo>
                    <a:pt x="181" y="2909"/>
                  </a:lnTo>
                  <a:lnTo>
                    <a:pt x="189" y="2906"/>
                  </a:lnTo>
                  <a:lnTo>
                    <a:pt x="191" y="2899"/>
                  </a:lnTo>
                  <a:lnTo>
                    <a:pt x="187" y="2895"/>
                  </a:lnTo>
                  <a:lnTo>
                    <a:pt x="181" y="2885"/>
                  </a:lnTo>
                  <a:lnTo>
                    <a:pt x="172" y="2875"/>
                  </a:lnTo>
                  <a:lnTo>
                    <a:pt x="161" y="2872"/>
                  </a:lnTo>
                  <a:lnTo>
                    <a:pt x="146" y="2873"/>
                  </a:lnTo>
                  <a:lnTo>
                    <a:pt x="148" y="2866"/>
                  </a:lnTo>
                  <a:lnTo>
                    <a:pt x="149" y="2856"/>
                  </a:lnTo>
                  <a:lnTo>
                    <a:pt x="148" y="2845"/>
                  </a:lnTo>
                  <a:lnTo>
                    <a:pt x="145" y="2839"/>
                  </a:lnTo>
                  <a:lnTo>
                    <a:pt x="141" y="2830"/>
                  </a:lnTo>
                  <a:lnTo>
                    <a:pt x="142" y="2826"/>
                  </a:lnTo>
                  <a:lnTo>
                    <a:pt x="146" y="2823"/>
                  </a:lnTo>
                  <a:lnTo>
                    <a:pt x="151" y="2818"/>
                  </a:lnTo>
                  <a:lnTo>
                    <a:pt x="158" y="2812"/>
                  </a:lnTo>
                  <a:lnTo>
                    <a:pt x="161" y="2809"/>
                  </a:lnTo>
                  <a:lnTo>
                    <a:pt x="161" y="2792"/>
                  </a:lnTo>
                  <a:lnTo>
                    <a:pt x="161" y="2777"/>
                  </a:lnTo>
                  <a:lnTo>
                    <a:pt x="158" y="2773"/>
                  </a:lnTo>
                  <a:lnTo>
                    <a:pt x="154" y="2767"/>
                  </a:lnTo>
                  <a:lnTo>
                    <a:pt x="149" y="2763"/>
                  </a:lnTo>
                  <a:lnTo>
                    <a:pt x="148" y="2756"/>
                  </a:lnTo>
                  <a:lnTo>
                    <a:pt x="148" y="2752"/>
                  </a:lnTo>
                  <a:lnTo>
                    <a:pt x="149" y="2745"/>
                  </a:lnTo>
                  <a:lnTo>
                    <a:pt x="151" y="2736"/>
                  </a:lnTo>
                  <a:lnTo>
                    <a:pt x="155" y="2732"/>
                  </a:lnTo>
                  <a:lnTo>
                    <a:pt x="159" y="2729"/>
                  </a:lnTo>
                  <a:lnTo>
                    <a:pt x="165" y="2727"/>
                  </a:lnTo>
                  <a:lnTo>
                    <a:pt x="169" y="2726"/>
                  </a:lnTo>
                  <a:lnTo>
                    <a:pt x="171" y="2722"/>
                  </a:lnTo>
                  <a:lnTo>
                    <a:pt x="172" y="2719"/>
                  </a:lnTo>
                  <a:lnTo>
                    <a:pt x="168" y="2706"/>
                  </a:lnTo>
                  <a:lnTo>
                    <a:pt x="164" y="2690"/>
                  </a:lnTo>
                  <a:lnTo>
                    <a:pt x="156" y="2676"/>
                  </a:lnTo>
                  <a:lnTo>
                    <a:pt x="141" y="2650"/>
                  </a:lnTo>
                  <a:lnTo>
                    <a:pt x="122" y="2620"/>
                  </a:lnTo>
                  <a:lnTo>
                    <a:pt x="119" y="2614"/>
                  </a:lnTo>
                  <a:lnTo>
                    <a:pt x="136" y="2601"/>
                  </a:lnTo>
                  <a:lnTo>
                    <a:pt x="136" y="2586"/>
                  </a:lnTo>
                  <a:lnTo>
                    <a:pt x="145" y="2570"/>
                  </a:lnTo>
                  <a:lnTo>
                    <a:pt x="138" y="2555"/>
                  </a:lnTo>
                  <a:lnTo>
                    <a:pt x="135" y="2531"/>
                  </a:lnTo>
                  <a:lnTo>
                    <a:pt x="125" y="2502"/>
                  </a:lnTo>
                  <a:lnTo>
                    <a:pt x="128" y="2497"/>
                  </a:lnTo>
                  <a:lnTo>
                    <a:pt x="131" y="2497"/>
                  </a:lnTo>
                  <a:lnTo>
                    <a:pt x="134" y="2498"/>
                  </a:lnTo>
                  <a:lnTo>
                    <a:pt x="138" y="2500"/>
                  </a:lnTo>
                  <a:lnTo>
                    <a:pt x="144" y="2500"/>
                  </a:lnTo>
                  <a:lnTo>
                    <a:pt x="145" y="2501"/>
                  </a:lnTo>
                  <a:lnTo>
                    <a:pt x="146" y="2504"/>
                  </a:lnTo>
                  <a:lnTo>
                    <a:pt x="149" y="2505"/>
                  </a:lnTo>
                  <a:lnTo>
                    <a:pt x="152" y="2505"/>
                  </a:lnTo>
                  <a:lnTo>
                    <a:pt x="161" y="2508"/>
                  </a:lnTo>
                  <a:lnTo>
                    <a:pt x="166" y="2507"/>
                  </a:lnTo>
                  <a:lnTo>
                    <a:pt x="169" y="2502"/>
                  </a:lnTo>
                  <a:lnTo>
                    <a:pt x="171" y="2500"/>
                  </a:lnTo>
                  <a:lnTo>
                    <a:pt x="171" y="2492"/>
                  </a:lnTo>
                  <a:lnTo>
                    <a:pt x="171" y="2487"/>
                  </a:lnTo>
                  <a:lnTo>
                    <a:pt x="172" y="2481"/>
                  </a:lnTo>
                  <a:lnTo>
                    <a:pt x="175" y="2478"/>
                  </a:lnTo>
                  <a:lnTo>
                    <a:pt x="178" y="2478"/>
                  </a:lnTo>
                  <a:lnTo>
                    <a:pt x="184" y="2477"/>
                  </a:lnTo>
                  <a:lnTo>
                    <a:pt x="185" y="2475"/>
                  </a:lnTo>
                  <a:lnTo>
                    <a:pt x="187" y="2470"/>
                  </a:lnTo>
                  <a:lnTo>
                    <a:pt x="188" y="2464"/>
                  </a:lnTo>
                  <a:lnTo>
                    <a:pt x="189" y="2460"/>
                  </a:lnTo>
                  <a:lnTo>
                    <a:pt x="195" y="2460"/>
                  </a:lnTo>
                  <a:lnTo>
                    <a:pt x="199" y="2458"/>
                  </a:lnTo>
                  <a:lnTo>
                    <a:pt x="201" y="2457"/>
                  </a:lnTo>
                  <a:lnTo>
                    <a:pt x="204" y="2449"/>
                  </a:lnTo>
                  <a:lnTo>
                    <a:pt x="207" y="2439"/>
                  </a:lnTo>
                  <a:lnTo>
                    <a:pt x="207" y="2424"/>
                  </a:lnTo>
                  <a:lnTo>
                    <a:pt x="207" y="2417"/>
                  </a:lnTo>
                  <a:lnTo>
                    <a:pt x="209" y="2412"/>
                  </a:lnTo>
                  <a:lnTo>
                    <a:pt x="217" y="2408"/>
                  </a:lnTo>
                  <a:lnTo>
                    <a:pt x="224" y="2405"/>
                  </a:lnTo>
                  <a:lnTo>
                    <a:pt x="227" y="2402"/>
                  </a:lnTo>
                  <a:lnTo>
                    <a:pt x="229" y="2395"/>
                  </a:lnTo>
                  <a:lnTo>
                    <a:pt x="229" y="2388"/>
                  </a:lnTo>
                  <a:lnTo>
                    <a:pt x="225" y="2379"/>
                  </a:lnTo>
                  <a:lnTo>
                    <a:pt x="222" y="2376"/>
                  </a:lnTo>
                  <a:lnTo>
                    <a:pt x="217" y="2371"/>
                  </a:lnTo>
                  <a:lnTo>
                    <a:pt x="215" y="2365"/>
                  </a:lnTo>
                  <a:lnTo>
                    <a:pt x="215" y="2361"/>
                  </a:lnTo>
                  <a:lnTo>
                    <a:pt x="217" y="2352"/>
                  </a:lnTo>
                  <a:lnTo>
                    <a:pt x="218" y="2345"/>
                  </a:lnTo>
                  <a:lnTo>
                    <a:pt x="215" y="2338"/>
                  </a:lnTo>
                  <a:lnTo>
                    <a:pt x="214" y="2333"/>
                  </a:lnTo>
                  <a:lnTo>
                    <a:pt x="214" y="2329"/>
                  </a:lnTo>
                  <a:lnTo>
                    <a:pt x="215" y="2326"/>
                  </a:lnTo>
                  <a:lnTo>
                    <a:pt x="221" y="2325"/>
                  </a:lnTo>
                  <a:lnTo>
                    <a:pt x="227" y="2322"/>
                  </a:lnTo>
                  <a:lnTo>
                    <a:pt x="222" y="2306"/>
                  </a:lnTo>
                  <a:lnTo>
                    <a:pt x="218" y="2306"/>
                  </a:lnTo>
                  <a:lnTo>
                    <a:pt x="209" y="2308"/>
                  </a:lnTo>
                  <a:lnTo>
                    <a:pt x="195" y="2291"/>
                  </a:lnTo>
                  <a:lnTo>
                    <a:pt x="192" y="2293"/>
                  </a:lnTo>
                  <a:lnTo>
                    <a:pt x="185" y="2285"/>
                  </a:lnTo>
                  <a:lnTo>
                    <a:pt x="197" y="2278"/>
                  </a:lnTo>
                  <a:lnTo>
                    <a:pt x="208" y="2279"/>
                  </a:lnTo>
                  <a:lnTo>
                    <a:pt x="207" y="2266"/>
                  </a:lnTo>
                  <a:lnTo>
                    <a:pt x="202" y="2260"/>
                  </a:lnTo>
                  <a:lnTo>
                    <a:pt x="199" y="2256"/>
                  </a:lnTo>
                  <a:lnTo>
                    <a:pt x="195" y="2256"/>
                  </a:lnTo>
                  <a:lnTo>
                    <a:pt x="192" y="2258"/>
                  </a:lnTo>
                  <a:lnTo>
                    <a:pt x="189" y="2265"/>
                  </a:lnTo>
                  <a:lnTo>
                    <a:pt x="187" y="2273"/>
                  </a:lnTo>
                  <a:lnTo>
                    <a:pt x="185" y="2276"/>
                  </a:lnTo>
                  <a:lnTo>
                    <a:pt x="181" y="2280"/>
                  </a:lnTo>
                  <a:lnTo>
                    <a:pt x="176" y="2282"/>
                  </a:lnTo>
                  <a:lnTo>
                    <a:pt x="172" y="2280"/>
                  </a:lnTo>
                  <a:lnTo>
                    <a:pt x="169" y="2282"/>
                  </a:lnTo>
                  <a:lnTo>
                    <a:pt x="169" y="2282"/>
                  </a:lnTo>
                  <a:lnTo>
                    <a:pt x="169" y="2278"/>
                  </a:lnTo>
                  <a:lnTo>
                    <a:pt x="168" y="2273"/>
                  </a:lnTo>
                  <a:lnTo>
                    <a:pt x="165" y="2270"/>
                  </a:lnTo>
                  <a:lnTo>
                    <a:pt x="162" y="2269"/>
                  </a:lnTo>
                  <a:lnTo>
                    <a:pt x="154" y="2265"/>
                  </a:lnTo>
                  <a:lnTo>
                    <a:pt x="142" y="2262"/>
                  </a:lnTo>
                  <a:lnTo>
                    <a:pt x="115" y="2255"/>
                  </a:lnTo>
                  <a:lnTo>
                    <a:pt x="102" y="2250"/>
                  </a:lnTo>
                  <a:lnTo>
                    <a:pt x="91" y="2243"/>
                  </a:lnTo>
                  <a:lnTo>
                    <a:pt x="91" y="2243"/>
                  </a:lnTo>
                  <a:lnTo>
                    <a:pt x="88" y="2240"/>
                  </a:lnTo>
                  <a:lnTo>
                    <a:pt x="85" y="2236"/>
                  </a:lnTo>
                  <a:lnTo>
                    <a:pt x="85" y="2225"/>
                  </a:lnTo>
                  <a:lnTo>
                    <a:pt x="83" y="2213"/>
                  </a:lnTo>
                  <a:lnTo>
                    <a:pt x="82" y="2202"/>
                  </a:lnTo>
                  <a:lnTo>
                    <a:pt x="82" y="2202"/>
                  </a:lnTo>
                  <a:lnTo>
                    <a:pt x="78" y="2190"/>
                  </a:lnTo>
                  <a:lnTo>
                    <a:pt x="72" y="2180"/>
                  </a:lnTo>
                  <a:lnTo>
                    <a:pt x="66" y="2172"/>
                  </a:lnTo>
                  <a:lnTo>
                    <a:pt x="65" y="2167"/>
                  </a:lnTo>
                  <a:lnTo>
                    <a:pt x="65" y="2163"/>
                  </a:lnTo>
                  <a:lnTo>
                    <a:pt x="62" y="2144"/>
                  </a:lnTo>
                  <a:lnTo>
                    <a:pt x="93" y="2117"/>
                  </a:lnTo>
                  <a:lnTo>
                    <a:pt x="154" y="2084"/>
                  </a:lnTo>
                  <a:lnTo>
                    <a:pt x="158" y="2087"/>
                  </a:lnTo>
                  <a:lnTo>
                    <a:pt x="159" y="2079"/>
                  </a:lnTo>
                  <a:lnTo>
                    <a:pt x="162" y="2076"/>
                  </a:lnTo>
                  <a:lnTo>
                    <a:pt x="166" y="2080"/>
                  </a:lnTo>
                  <a:lnTo>
                    <a:pt x="171" y="2077"/>
                  </a:lnTo>
                  <a:lnTo>
                    <a:pt x="174" y="2077"/>
                  </a:lnTo>
                  <a:lnTo>
                    <a:pt x="181" y="2079"/>
                  </a:lnTo>
                  <a:lnTo>
                    <a:pt x="198" y="2071"/>
                  </a:lnTo>
                  <a:lnTo>
                    <a:pt x="205" y="2017"/>
                  </a:lnTo>
                  <a:lnTo>
                    <a:pt x="207" y="2001"/>
                  </a:lnTo>
                  <a:lnTo>
                    <a:pt x="208" y="1991"/>
                  </a:lnTo>
                  <a:lnTo>
                    <a:pt x="208" y="1985"/>
                  </a:lnTo>
                  <a:lnTo>
                    <a:pt x="208" y="1981"/>
                  </a:lnTo>
                  <a:lnTo>
                    <a:pt x="205" y="1980"/>
                  </a:lnTo>
                  <a:lnTo>
                    <a:pt x="201" y="1978"/>
                  </a:lnTo>
                  <a:lnTo>
                    <a:pt x="198" y="1977"/>
                  </a:lnTo>
                  <a:lnTo>
                    <a:pt x="189" y="1971"/>
                  </a:lnTo>
                  <a:lnTo>
                    <a:pt x="184" y="1967"/>
                  </a:lnTo>
                  <a:lnTo>
                    <a:pt x="176" y="1957"/>
                  </a:lnTo>
                  <a:lnTo>
                    <a:pt x="175" y="1947"/>
                  </a:lnTo>
                  <a:lnTo>
                    <a:pt x="172" y="1937"/>
                  </a:lnTo>
                  <a:lnTo>
                    <a:pt x="168" y="1931"/>
                  </a:lnTo>
                  <a:lnTo>
                    <a:pt x="165" y="1928"/>
                  </a:lnTo>
                  <a:lnTo>
                    <a:pt x="158" y="1924"/>
                  </a:lnTo>
                  <a:lnTo>
                    <a:pt x="156" y="1922"/>
                  </a:lnTo>
                  <a:lnTo>
                    <a:pt x="156" y="1918"/>
                  </a:lnTo>
                  <a:lnTo>
                    <a:pt x="158" y="1911"/>
                  </a:lnTo>
                  <a:lnTo>
                    <a:pt x="162" y="1907"/>
                  </a:lnTo>
                  <a:lnTo>
                    <a:pt x="168" y="1902"/>
                  </a:lnTo>
                  <a:lnTo>
                    <a:pt x="171" y="1900"/>
                  </a:lnTo>
                  <a:lnTo>
                    <a:pt x="172" y="1894"/>
                  </a:lnTo>
                  <a:lnTo>
                    <a:pt x="172" y="1887"/>
                  </a:lnTo>
                  <a:lnTo>
                    <a:pt x="174" y="1884"/>
                  </a:lnTo>
                  <a:lnTo>
                    <a:pt x="176" y="1882"/>
                  </a:lnTo>
                  <a:lnTo>
                    <a:pt x="181" y="1881"/>
                  </a:lnTo>
                  <a:lnTo>
                    <a:pt x="198" y="1891"/>
                  </a:lnTo>
                  <a:lnTo>
                    <a:pt x="218" y="1875"/>
                  </a:lnTo>
                  <a:lnTo>
                    <a:pt x="231" y="1844"/>
                  </a:lnTo>
                  <a:lnTo>
                    <a:pt x="201" y="1815"/>
                  </a:lnTo>
                  <a:lnTo>
                    <a:pt x="168" y="1781"/>
                  </a:lnTo>
                  <a:lnTo>
                    <a:pt x="168" y="1749"/>
                  </a:lnTo>
                  <a:lnTo>
                    <a:pt x="171" y="1748"/>
                  </a:lnTo>
                  <a:lnTo>
                    <a:pt x="171" y="1743"/>
                  </a:lnTo>
                  <a:lnTo>
                    <a:pt x="172" y="1743"/>
                  </a:lnTo>
                  <a:lnTo>
                    <a:pt x="175" y="1745"/>
                  </a:lnTo>
                  <a:lnTo>
                    <a:pt x="178" y="1746"/>
                  </a:lnTo>
                  <a:lnTo>
                    <a:pt x="187" y="1751"/>
                  </a:lnTo>
                  <a:lnTo>
                    <a:pt x="197" y="1755"/>
                  </a:lnTo>
                  <a:lnTo>
                    <a:pt x="204" y="1758"/>
                  </a:lnTo>
                  <a:lnTo>
                    <a:pt x="209" y="1761"/>
                  </a:lnTo>
                  <a:lnTo>
                    <a:pt x="214" y="1761"/>
                  </a:lnTo>
                  <a:lnTo>
                    <a:pt x="218" y="1762"/>
                  </a:lnTo>
                  <a:lnTo>
                    <a:pt x="222" y="1768"/>
                  </a:lnTo>
                  <a:lnTo>
                    <a:pt x="225" y="1776"/>
                  </a:lnTo>
                  <a:lnTo>
                    <a:pt x="228" y="1784"/>
                  </a:lnTo>
                  <a:lnTo>
                    <a:pt x="232" y="1794"/>
                  </a:lnTo>
                  <a:lnTo>
                    <a:pt x="237" y="1801"/>
                  </a:lnTo>
                  <a:lnTo>
                    <a:pt x="242" y="1808"/>
                  </a:lnTo>
                  <a:lnTo>
                    <a:pt x="248" y="1812"/>
                  </a:lnTo>
                  <a:lnTo>
                    <a:pt x="261" y="1822"/>
                  </a:lnTo>
                  <a:lnTo>
                    <a:pt x="267" y="1826"/>
                  </a:lnTo>
                  <a:lnTo>
                    <a:pt x="270" y="1829"/>
                  </a:lnTo>
                  <a:lnTo>
                    <a:pt x="270" y="1835"/>
                  </a:lnTo>
                  <a:lnTo>
                    <a:pt x="268" y="1838"/>
                  </a:lnTo>
                  <a:lnTo>
                    <a:pt x="267" y="1838"/>
                  </a:lnTo>
                  <a:lnTo>
                    <a:pt x="267" y="1835"/>
                  </a:lnTo>
                  <a:lnTo>
                    <a:pt x="267" y="1831"/>
                  </a:lnTo>
                  <a:lnTo>
                    <a:pt x="267" y="1829"/>
                  </a:lnTo>
                  <a:lnTo>
                    <a:pt x="264" y="1829"/>
                  </a:lnTo>
                  <a:lnTo>
                    <a:pt x="262" y="1832"/>
                  </a:lnTo>
                  <a:lnTo>
                    <a:pt x="262" y="1834"/>
                  </a:lnTo>
                  <a:lnTo>
                    <a:pt x="265" y="1839"/>
                  </a:lnTo>
                  <a:lnTo>
                    <a:pt x="270" y="1848"/>
                  </a:lnTo>
                  <a:lnTo>
                    <a:pt x="272" y="1854"/>
                  </a:lnTo>
                  <a:lnTo>
                    <a:pt x="275" y="1862"/>
                  </a:lnTo>
                  <a:lnTo>
                    <a:pt x="280" y="1868"/>
                  </a:lnTo>
                  <a:lnTo>
                    <a:pt x="281" y="1872"/>
                  </a:lnTo>
                  <a:lnTo>
                    <a:pt x="281" y="1878"/>
                  </a:lnTo>
                  <a:lnTo>
                    <a:pt x="282" y="1885"/>
                  </a:lnTo>
                  <a:lnTo>
                    <a:pt x="285" y="1890"/>
                  </a:lnTo>
                  <a:lnTo>
                    <a:pt x="290" y="1894"/>
                  </a:lnTo>
                  <a:lnTo>
                    <a:pt x="297" y="1901"/>
                  </a:lnTo>
                  <a:lnTo>
                    <a:pt x="304" y="1904"/>
                  </a:lnTo>
                  <a:lnTo>
                    <a:pt x="321" y="1907"/>
                  </a:lnTo>
                  <a:lnTo>
                    <a:pt x="330" y="1908"/>
                  </a:lnTo>
                  <a:lnTo>
                    <a:pt x="338" y="1905"/>
                  </a:lnTo>
                  <a:lnTo>
                    <a:pt x="347" y="1904"/>
                  </a:lnTo>
                  <a:lnTo>
                    <a:pt x="350" y="1902"/>
                  </a:lnTo>
                  <a:lnTo>
                    <a:pt x="360" y="1902"/>
                  </a:lnTo>
                  <a:lnTo>
                    <a:pt x="363" y="1904"/>
                  </a:lnTo>
                  <a:lnTo>
                    <a:pt x="364" y="1907"/>
                  </a:lnTo>
                  <a:lnTo>
                    <a:pt x="364" y="1911"/>
                  </a:lnTo>
                  <a:lnTo>
                    <a:pt x="366" y="1912"/>
                  </a:lnTo>
                  <a:lnTo>
                    <a:pt x="370" y="1914"/>
                  </a:lnTo>
                  <a:lnTo>
                    <a:pt x="376" y="1917"/>
                  </a:lnTo>
                  <a:lnTo>
                    <a:pt x="377" y="1921"/>
                  </a:lnTo>
                  <a:lnTo>
                    <a:pt x="377" y="1925"/>
                  </a:lnTo>
                  <a:lnTo>
                    <a:pt x="374" y="1931"/>
                  </a:lnTo>
                  <a:lnTo>
                    <a:pt x="370" y="1934"/>
                  </a:lnTo>
                  <a:lnTo>
                    <a:pt x="367" y="1938"/>
                  </a:lnTo>
                  <a:lnTo>
                    <a:pt x="366" y="1942"/>
                  </a:lnTo>
                  <a:lnTo>
                    <a:pt x="360" y="1945"/>
                  </a:lnTo>
                  <a:lnTo>
                    <a:pt x="356" y="1945"/>
                  </a:lnTo>
                  <a:lnTo>
                    <a:pt x="353" y="1947"/>
                  </a:lnTo>
                  <a:lnTo>
                    <a:pt x="351" y="1950"/>
                  </a:lnTo>
                  <a:lnTo>
                    <a:pt x="351" y="1955"/>
                  </a:lnTo>
                  <a:lnTo>
                    <a:pt x="351" y="1965"/>
                  </a:lnTo>
                  <a:lnTo>
                    <a:pt x="350" y="1967"/>
                  </a:lnTo>
                  <a:lnTo>
                    <a:pt x="345" y="1967"/>
                  </a:lnTo>
                  <a:lnTo>
                    <a:pt x="333" y="1968"/>
                  </a:lnTo>
                  <a:lnTo>
                    <a:pt x="321" y="1971"/>
                  </a:lnTo>
                  <a:lnTo>
                    <a:pt x="314" y="1974"/>
                  </a:lnTo>
                  <a:lnTo>
                    <a:pt x="305" y="1977"/>
                  </a:lnTo>
                  <a:lnTo>
                    <a:pt x="304" y="1980"/>
                  </a:lnTo>
                  <a:lnTo>
                    <a:pt x="303" y="1983"/>
                  </a:lnTo>
                  <a:lnTo>
                    <a:pt x="301" y="1985"/>
                  </a:lnTo>
                  <a:lnTo>
                    <a:pt x="301" y="1988"/>
                  </a:lnTo>
                  <a:lnTo>
                    <a:pt x="303" y="1997"/>
                  </a:lnTo>
                  <a:lnTo>
                    <a:pt x="301" y="2004"/>
                  </a:lnTo>
                  <a:lnTo>
                    <a:pt x="300" y="2010"/>
                  </a:lnTo>
                  <a:lnTo>
                    <a:pt x="297" y="2013"/>
                  </a:lnTo>
                  <a:lnTo>
                    <a:pt x="293" y="2016"/>
                  </a:lnTo>
                  <a:lnTo>
                    <a:pt x="290" y="2018"/>
                  </a:lnTo>
                  <a:lnTo>
                    <a:pt x="288" y="2024"/>
                  </a:lnTo>
                  <a:lnTo>
                    <a:pt x="288" y="2037"/>
                  </a:lnTo>
                  <a:lnTo>
                    <a:pt x="290" y="2048"/>
                  </a:lnTo>
                  <a:lnTo>
                    <a:pt x="291" y="2056"/>
                  </a:lnTo>
                  <a:lnTo>
                    <a:pt x="291" y="2060"/>
                  </a:lnTo>
                  <a:lnTo>
                    <a:pt x="290" y="2063"/>
                  </a:lnTo>
                  <a:lnTo>
                    <a:pt x="288" y="2066"/>
                  </a:lnTo>
                  <a:lnTo>
                    <a:pt x="284" y="2067"/>
                  </a:lnTo>
                  <a:lnTo>
                    <a:pt x="280" y="2069"/>
                  </a:lnTo>
                  <a:lnTo>
                    <a:pt x="277" y="2071"/>
                  </a:lnTo>
                  <a:lnTo>
                    <a:pt x="275" y="2077"/>
                  </a:lnTo>
                  <a:lnTo>
                    <a:pt x="274" y="2080"/>
                  </a:lnTo>
                  <a:lnTo>
                    <a:pt x="272" y="2081"/>
                  </a:lnTo>
                  <a:lnTo>
                    <a:pt x="270" y="2083"/>
                  </a:lnTo>
                  <a:lnTo>
                    <a:pt x="267" y="2086"/>
                  </a:lnTo>
                  <a:lnTo>
                    <a:pt x="265" y="2087"/>
                  </a:lnTo>
                  <a:lnTo>
                    <a:pt x="264" y="2090"/>
                  </a:lnTo>
                  <a:lnTo>
                    <a:pt x="264" y="2091"/>
                  </a:lnTo>
                  <a:lnTo>
                    <a:pt x="265" y="2093"/>
                  </a:lnTo>
                  <a:lnTo>
                    <a:pt x="267" y="2093"/>
                  </a:lnTo>
                  <a:lnTo>
                    <a:pt x="268" y="2090"/>
                  </a:lnTo>
                  <a:lnTo>
                    <a:pt x="270" y="2089"/>
                  </a:lnTo>
                  <a:lnTo>
                    <a:pt x="271" y="2089"/>
                  </a:lnTo>
                  <a:lnTo>
                    <a:pt x="274" y="2089"/>
                  </a:lnTo>
                  <a:lnTo>
                    <a:pt x="277" y="2089"/>
                  </a:lnTo>
                  <a:lnTo>
                    <a:pt x="280" y="2087"/>
                  </a:lnTo>
                  <a:lnTo>
                    <a:pt x="282" y="2087"/>
                  </a:lnTo>
                  <a:lnTo>
                    <a:pt x="285" y="2089"/>
                  </a:lnTo>
                  <a:lnTo>
                    <a:pt x="287" y="2093"/>
                  </a:lnTo>
                  <a:lnTo>
                    <a:pt x="288" y="2097"/>
                  </a:lnTo>
                  <a:lnTo>
                    <a:pt x="288" y="2099"/>
                  </a:lnTo>
                  <a:lnTo>
                    <a:pt x="290" y="2100"/>
                  </a:lnTo>
                  <a:lnTo>
                    <a:pt x="290" y="2100"/>
                  </a:lnTo>
                  <a:lnTo>
                    <a:pt x="291" y="2099"/>
                  </a:lnTo>
                  <a:lnTo>
                    <a:pt x="291" y="2094"/>
                  </a:lnTo>
                  <a:lnTo>
                    <a:pt x="291" y="2091"/>
                  </a:lnTo>
                  <a:lnTo>
                    <a:pt x="288" y="2090"/>
                  </a:lnTo>
                  <a:lnTo>
                    <a:pt x="287" y="2087"/>
                  </a:lnTo>
                  <a:lnTo>
                    <a:pt x="287" y="2083"/>
                  </a:lnTo>
                  <a:lnTo>
                    <a:pt x="288" y="2079"/>
                  </a:lnTo>
                  <a:lnTo>
                    <a:pt x="291" y="2074"/>
                  </a:lnTo>
                  <a:lnTo>
                    <a:pt x="293" y="2073"/>
                  </a:lnTo>
                  <a:lnTo>
                    <a:pt x="294" y="2070"/>
                  </a:lnTo>
                  <a:lnTo>
                    <a:pt x="295" y="2069"/>
                  </a:lnTo>
                  <a:lnTo>
                    <a:pt x="297" y="2069"/>
                  </a:lnTo>
                  <a:lnTo>
                    <a:pt x="300" y="2070"/>
                  </a:lnTo>
                  <a:lnTo>
                    <a:pt x="301" y="2069"/>
                  </a:lnTo>
                  <a:lnTo>
                    <a:pt x="301" y="2066"/>
                  </a:lnTo>
                  <a:lnTo>
                    <a:pt x="303" y="2063"/>
                  </a:lnTo>
                  <a:lnTo>
                    <a:pt x="303" y="2063"/>
                  </a:lnTo>
                  <a:lnTo>
                    <a:pt x="307" y="2056"/>
                  </a:lnTo>
                  <a:lnTo>
                    <a:pt x="311" y="2051"/>
                  </a:lnTo>
                  <a:lnTo>
                    <a:pt x="317" y="2046"/>
                  </a:lnTo>
                  <a:lnTo>
                    <a:pt x="317" y="2043"/>
                  </a:lnTo>
                  <a:lnTo>
                    <a:pt x="318" y="2043"/>
                  </a:lnTo>
                  <a:lnTo>
                    <a:pt x="320" y="2044"/>
                  </a:lnTo>
                  <a:lnTo>
                    <a:pt x="323" y="2047"/>
                  </a:lnTo>
                  <a:lnTo>
                    <a:pt x="327" y="2048"/>
                  </a:lnTo>
                  <a:lnTo>
                    <a:pt x="331" y="2051"/>
                  </a:lnTo>
                  <a:lnTo>
                    <a:pt x="331" y="2057"/>
                  </a:lnTo>
                  <a:lnTo>
                    <a:pt x="331" y="2064"/>
                  </a:lnTo>
                  <a:lnTo>
                    <a:pt x="330" y="2066"/>
                  </a:lnTo>
                  <a:lnTo>
                    <a:pt x="328" y="2069"/>
                  </a:lnTo>
                  <a:lnTo>
                    <a:pt x="328" y="2070"/>
                  </a:lnTo>
                  <a:lnTo>
                    <a:pt x="328" y="2073"/>
                  </a:lnTo>
                  <a:lnTo>
                    <a:pt x="327" y="2079"/>
                  </a:lnTo>
                  <a:lnTo>
                    <a:pt x="325" y="2081"/>
                  </a:lnTo>
                  <a:lnTo>
                    <a:pt x="323" y="2084"/>
                  </a:lnTo>
                  <a:lnTo>
                    <a:pt x="320" y="2087"/>
                  </a:lnTo>
                  <a:lnTo>
                    <a:pt x="320" y="2091"/>
                  </a:lnTo>
                  <a:lnTo>
                    <a:pt x="320" y="2094"/>
                  </a:lnTo>
                  <a:lnTo>
                    <a:pt x="317" y="2097"/>
                  </a:lnTo>
                  <a:lnTo>
                    <a:pt x="315" y="2100"/>
                  </a:lnTo>
                  <a:lnTo>
                    <a:pt x="314" y="2103"/>
                  </a:lnTo>
                  <a:lnTo>
                    <a:pt x="314" y="2103"/>
                  </a:lnTo>
                  <a:lnTo>
                    <a:pt x="314" y="2106"/>
                  </a:lnTo>
                  <a:lnTo>
                    <a:pt x="311" y="2110"/>
                  </a:lnTo>
                  <a:lnTo>
                    <a:pt x="310" y="2119"/>
                  </a:lnTo>
                  <a:lnTo>
                    <a:pt x="307" y="2124"/>
                  </a:lnTo>
                  <a:lnTo>
                    <a:pt x="307" y="2127"/>
                  </a:lnTo>
                  <a:lnTo>
                    <a:pt x="305" y="2129"/>
                  </a:lnTo>
                  <a:lnTo>
                    <a:pt x="304" y="2129"/>
                  </a:lnTo>
                  <a:lnTo>
                    <a:pt x="301" y="2127"/>
                  </a:lnTo>
                  <a:lnTo>
                    <a:pt x="300" y="2129"/>
                  </a:lnTo>
                  <a:lnTo>
                    <a:pt x="298" y="2132"/>
                  </a:lnTo>
                  <a:lnTo>
                    <a:pt x="295" y="2134"/>
                  </a:lnTo>
                  <a:lnTo>
                    <a:pt x="291" y="2139"/>
                  </a:lnTo>
                  <a:lnTo>
                    <a:pt x="288" y="2140"/>
                  </a:lnTo>
                  <a:lnTo>
                    <a:pt x="287" y="2142"/>
                  </a:lnTo>
                  <a:lnTo>
                    <a:pt x="284" y="2144"/>
                  </a:lnTo>
                  <a:lnTo>
                    <a:pt x="281" y="2146"/>
                  </a:lnTo>
                  <a:lnTo>
                    <a:pt x="280" y="2147"/>
                  </a:lnTo>
                  <a:lnTo>
                    <a:pt x="278" y="2150"/>
                  </a:lnTo>
                  <a:lnTo>
                    <a:pt x="278" y="2154"/>
                  </a:lnTo>
                  <a:lnTo>
                    <a:pt x="278" y="2156"/>
                  </a:lnTo>
                  <a:lnTo>
                    <a:pt x="275" y="2156"/>
                  </a:lnTo>
                  <a:lnTo>
                    <a:pt x="274" y="2159"/>
                  </a:lnTo>
                  <a:lnTo>
                    <a:pt x="277" y="2162"/>
                  </a:lnTo>
                  <a:lnTo>
                    <a:pt x="280" y="2166"/>
                  </a:lnTo>
                  <a:lnTo>
                    <a:pt x="282" y="2170"/>
                  </a:lnTo>
                  <a:lnTo>
                    <a:pt x="282" y="2173"/>
                  </a:lnTo>
                  <a:lnTo>
                    <a:pt x="284" y="2175"/>
                  </a:lnTo>
                  <a:lnTo>
                    <a:pt x="287" y="2175"/>
                  </a:lnTo>
                  <a:lnTo>
                    <a:pt x="291" y="2176"/>
                  </a:lnTo>
                  <a:lnTo>
                    <a:pt x="293" y="2179"/>
                  </a:lnTo>
                  <a:lnTo>
                    <a:pt x="295" y="2182"/>
                  </a:lnTo>
                  <a:lnTo>
                    <a:pt x="298" y="2182"/>
                  </a:lnTo>
                  <a:lnTo>
                    <a:pt x="300" y="2180"/>
                  </a:lnTo>
                  <a:lnTo>
                    <a:pt x="300" y="2176"/>
                  </a:lnTo>
                  <a:lnTo>
                    <a:pt x="303" y="2173"/>
                  </a:lnTo>
                  <a:lnTo>
                    <a:pt x="304" y="2170"/>
                  </a:lnTo>
                  <a:lnTo>
                    <a:pt x="303" y="2164"/>
                  </a:lnTo>
                  <a:lnTo>
                    <a:pt x="303" y="2156"/>
                  </a:lnTo>
                  <a:lnTo>
                    <a:pt x="301" y="2150"/>
                  </a:lnTo>
                  <a:lnTo>
                    <a:pt x="301" y="2144"/>
                  </a:lnTo>
                  <a:lnTo>
                    <a:pt x="303" y="2139"/>
                  </a:lnTo>
                  <a:lnTo>
                    <a:pt x="304" y="2137"/>
                  </a:lnTo>
                  <a:lnTo>
                    <a:pt x="307" y="2137"/>
                  </a:lnTo>
                  <a:lnTo>
                    <a:pt x="310" y="2140"/>
                  </a:lnTo>
                  <a:lnTo>
                    <a:pt x="314" y="2143"/>
                  </a:lnTo>
                  <a:lnTo>
                    <a:pt x="318" y="2146"/>
                  </a:lnTo>
                  <a:lnTo>
                    <a:pt x="323" y="2146"/>
                  </a:lnTo>
                  <a:lnTo>
                    <a:pt x="327" y="2146"/>
                  </a:lnTo>
                  <a:lnTo>
                    <a:pt x="331" y="2146"/>
                  </a:lnTo>
                  <a:lnTo>
                    <a:pt x="334" y="2143"/>
                  </a:lnTo>
                  <a:lnTo>
                    <a:pt x="343" y="2137"/>
                  </a:lnTo>
                  <a:lnTo>
                    <a:pt x="347" y="2133"/>
                  </a:lnTo>
                  <a:lnTo>
                    <a:pt x="350" y="2129"/>
                  </a:lnTo>
                  <a:lnTo>
                    <a:pt x="350" y="2124"/>
                  </a:lnTo>
                  <a:lnTo>
                    <a:pt x="351" y="2122"/>
                  </a:lnTo>
                  <a:lnTo>
                    <a:pt x="354" y="2120"/>
                  </a:lnTo>
                  <a:lnTo>
                    <a:pt x="354" y="2116"/>
                  </a:lnTo>
                  <a:lnTo>
                    <a:pt x="354" y="2113"/>
                  </a:lnTo>
                  <a:lnTo>
                    <a:pt x="353" y="2110"/>
                  </a:lnTo>
                  <a:lnTo>
                    <a:pt x="353" y="2109"/>
                  </a:lnTo>
                  <a:lnTo>
                    <a:pt x="351" y="2100"/>
                  </a:lnTo>
                  <a:lnTo>
                    <a:pt x="351" y="2087"/>
                  </a:lnTo>
                  <a:lnTo>
                    <a:pt x="353" y="2067"/>
                  </a:lnTo>
                  <a:lnTo>
                    <a:pt x="353" y="2059"/>
                  </a:lnTo>
                  <a:lnTo>
                    <a:pt x="353" y="2051"/>
                  </a:lnTo>
                  <a:lnTo>
                    <a:pt x="354" y="2046"/>
                  </a:lnTo>
                  <a:lnTo>
                    <a:pt x="353" y="2038"/>
                  </a:lnTo>
                  <a:lnTo>
                    <a:pt x="353" y="2033"/>
                  </a:lnTo>
                  <a:lnTo>
                    <a:pt x="351" y="2030"/>
                  </a:lnTo>
                  <a:lnTo>
                    <a:pt x="348" y="2028"/>
                  </a:lnTo>
                  <a:lnTo>
                    <a:pt x="347" y="2026"/>
                  </a:lnTo>
                  <a:lnTo>
                    <a:pt x="344" y="2021"/>
                  </a:lnTo>
                  <a:lnTo>
                    <a:pt x="344" y="2018"/>
                  </a:lnTo>
                  <a:lnTo>
                    <a:pt x="344" y="2016"/>
                  </a:lnTo>
                  <a:lnTo>
                    <a:pt x="345" y="2014"/>
                  </a:lnTo>
                  <a:lnTo>
                    <a:pt x="345" y="2016"/>
                  </a:lnTo>
                  <a:lnTo>
                    <a:pt x="347" y="2017"/>
                  </a:lnTo>
                  <a:lnTo>
                    <a:pt x="348" y="2017"/>
                  </a:lnTo>
                  <a:lnTo>
                    <a:pt x="350" y="2016"/>
                  </a:lnTo>
                  <a:lnTo>
                    <a:pt x="351" y="2010"/>
                  </a:lnTo>
                  <a:lnTo>
                    <a:pt x="351" y="2000"/>
                  </a:lnTo>
                  <a:lnTo>
                    <a:pt x="351" y="1995"/>
                  </a:lnTo>
                  <a:lnTo>
                    <a:pt x="353" y="1991"/>
                  </a:lnTo>
                  <a:lnTo>
                    <a:pt x="357" y="1988"/>
                  </a:lnTo>
                  <a:lnTo>
                    <a:pt x="361" y="1987"/>
                  </a:lnTo>
                  <a:lnTo>
                    <a:pt x="366" y="1983"/>
                  </a:lnTo>
                  <a:lnTo>
                    <a:pt x="368" y="1980"/>
                  </a:lnTo>
                  <a:lnTo>
                    <a:pt x="370" y="1971"/>
                  </a:lnTo>
                  <a:lnTo>
                    <a:pt x="371" y="1964"/>
                  </a:lnTo>
                  <a:lnTo>
                    <a:pt x="374" y="1961"/>
                  </a:lnTo>
                  <a:lnTo>
                    <a:pt x="380" y="1960"/>
                  </a:lnTo>
                  <a:lnTo>
                    <a:pt x="383" y="1958"/>
                  </a:lnTo>
                  <a:lnTo>
                    <a:pt x="386" y="1953"/>
                  </a:lnTo>
                  <a:lnTo>
                    <a:pt x="391" y="1944"/>
                  </a:lnTo>
                  <a:lnTo>
                    <a:pt x="391" y="1938"/>
                  </a:lnTo>
                  <a:lnTo>
                    <a:pt x="391" y="1931"/>
                  </a:lnTo>
                  <a:lnTo>
                    <a:pt x="388" y="1925"/>
                  </a:lnTo>
                  <a:lnTo>
                    <a:pt x="387" y="1922"/>
                  </a:lnTo>
                  <a:lnTo>
                    <a:pt x="387" y="1918"/>
                  </a:lnTo>
                  <a:lnTo>
                    <a:pt x="388" y="1911"/>
                  </a:lnTo>
                  <a:lnTo>
                    <a:pt x="387" y="1904"/>
                  </a:lnTo>
                  <a:lnTo>
                    <a:pt x="384" y="1898"/>
                  </a:lnTo>
                  <a:lnTo>
                    <a:pt x="380" y="1894"/>
                  </a:lnTo>
                  <a:lnTo>
                    <a:pt x="373" y="1890"/>
                  </a:lnTo>
                  <a:lnTo>
                    <a:pt x="368" y="1888"/>
                  </a:lnTo>
                  <a:lnTo>
                    <a:pt x="364" y="1887"/>
                  </a:lnTo>
                  <a:lnTo>
                    <a:pt x="361" y="1884"/>
                  </a:lnTo>
                  <a:lnTo>
                    <a:pt x="360" y="1884"/>
                  </a:lnTo>
                  <a:lnTo>
                    <a:pt x="356" y="1884"/>
                  </a:lnTo>
                  <a:lnTo>
                    <a:pt x="354" y="1885"/>
                  </a:lnTo>
                  <a:lnTo>
                    <a:pt x="353" y="1882"/>
                  </a:lnTo>
                  <a:lnTo>
                    <a:pt x="353" y="1874"/>
                  </a:lnTo>
                  <a:lnTo>
                    <a:pt x="354" y="1867"/>
                  </a:lnTo>
                  <a:lnTo>
                    <a:pt x="353" y="1862"/>
                  </a:lnTo>
                  <a:lnTo>
                    <a:pt x="350" y="1855"/>
                  </a:lnTo>
                  <a:lnTo>
                    <a:pt x="347" y="1852"/>
                  </a:lnTo>
                  <a:lnTo>
                    <a:pt x="341" y="1848"/>
                  </a:lnTo>
                  <a:lnTo>
                    <a:pt x="340" y="1845"/>
                  </a:lnTo>
                  <a:lnTo>
                    <a:pt x="341" y="1844"/>
                  </a:lnTo>
                  <a:lnTo>
                    <a:pt x="341" y="1842"/>
                  </a:lnTo>
                  <a:lnTo>
                    <a:pt x="345" y="1842"/>
                  </a:lnTo>
                  <a:lnTo>
                    <a:pt x="348" y="1841"/>
                  </a:lnTo>
                  <a:lnTo>
                    <a:pt x="350" y="1835"/>
                  </a:lnTo>
                  <a:lnTo>
                    <a:pt x="351" y="1829"/>
                  </a:lnTo>
                  <a:lnTo>
                    <a:pt x="350" y="1824"/>
                  </a:lnTo>
                  <a:lnTo>
                    <a:pt x="348" y="1819"/>
                  </a:lnTo>
                  <a:lnTo>
                    <a:pt x="348" y="1819"/>
                  </a:lnTo>
                  <a:lnTo>
                    <a:pt x="344" y="1816"/>
                  </a:lnTo>
                  <a:lnTo>
                    <a:pt x="340" y="1812"/>
                  </a:lnTo>
                  <a:lnTo>
                    <a:pt x="335" y="1806"/>
                  </a:lnTo>
                  <a:lnTo>
                    <a:pt x="330" y="1802"/>
                  </a:lnTo>
                  <a:lnTo>
                    <a:pt x="324" y="1799"/>
                  </a:lnTo>
                  <a:lnTo>
                    <a:pt x="315" y="1796"/>
                  </a:lnTo>
                  <a:lnTo>
                    <a:pt x="307" y="1792"/>
                  </a:lnTo>
                  <a:lnTo>
                    <a:pt x="301" y="1788"/>
                  </a:lnTo>
                  <a:lnTo>
                    <a:pt x="298" y="1785"/>
                  </a:lnTo>
                  <a:lnTo>
                    <a:pt x="297" y="1781"/>
                  </a:lnTo>
                  <a:lnTo>
                    <a:pt x="295" y="1778"/>
                  </a:lnTo>
                  <a:lnTo>
                    <a:pt x="291" y="1775"/>
                  </a:lnTo>
                  <a:lnTo>
                    <a:pt x="290" y="1773"/>
                  </a:lnTo>
                  <a:lnTo>
                    <a:pt x="288" y="1771"/>
                  </a:lnTo>
                  <a:lnTo>
                    <a:pt x="288" y="1768"/>
                  </a:lnTo>
                  <a:lnTo>
                    <a:pt x="288" y="1763"/>
                  </a:lnTo>
                  <a:lnTo>
                    <a:pt x="287" y="1761"/>
                  </a:lnTo>
                  <a:lnTo>
                    <a:pt x="287" y="1758"/>
                  </a:lnTo>
                  <a:lnTo>
                    <a:pt x="287" y="1755"/>
                  </a:lnTo>
                  <a:lnTo>
                    <a:pt x="288" y="1755"/>
                  </a:lnTo>
                  <a:lnTo>
                    <a:pt x="291" y="1755"/>
                  </a:lnTo>
                  <a:lnTo>
                    <a:pt x="291" y="1753"/>
                  </a:lnTo>
                  <a:lnTo>
                    <a:pt x="293" y="1749"/>
                  </a:lnTo>
                  <a:lnTo>
                    <a:pt x="295" y="1748"/>
                  </a:lnTo>
                  <a:lnTo>
                    <a:pt x="297" y="1745"/>
                  </a:lnTo>
                  <a:lnTo>
                    <a:pt x="298" y="1743"/>
                  </a:lnTo>
                  <a:lnTo>
                    <a:pt x="298" y="1741"/>
                  </a:lnTo>
                  <a:lnTo>
                    <a:pt x="297" y="1741"/>
                  </a:lnTo>
                  <a:lnTo>
                    <a:pt x="294" y="1741"/>
                  </a:lnTo>
                  <a:lnTo>
                    <a:pt x="293" y="1739"/>
                  </a:lnTo>
                  <a:lnTo>
                    <a:pt x="291" y="1738"/>
                  </a:lnTo>
                  <a:lnTo>
                    <a:pt x="291" y="1733"/>
                  </a:lnTo>
                  <a:lnTo>
                    <a:pt x="293" y="1723"/>
                  </a:lnTo>
                  <a:lnTo>
                    <a:pt x="295" y="1721"/>
                  </a:lnTo>
                  <a:lnTo>
                    <a:pt x="300" y="1716"/>
                  </a:lnTo>
                  <a:lnTo>
                    <a:pt x="307" y="1708"/>
                  </a:lnTo>
                  <a:lnTo>
                    <a:pt x="313" y="1690"/>
                  </a:lnTo>
                  <a:lnTo>
                    <a:pt x="314" y="1680"/>
                  </a:lnTo>
                  <a:lnTo>
                    <a:pt x="314" y="1675"/>
                  </a:lnTo>
                  <a:lnTo>
                    <a:pt x="313" y="1670"/>
                  </a:lnTo>
                  <a:lnTo>
                    <a:pt x="308" y="1668"/>
                  </a:lnTo>
                  <a:lnTo>
                    <a:pt x="304" y="1665"/>
                  </a:lnTo>
                  <a:lnTo>
                    <a:pt x="304" y="1663"/>
                  </a:lnTo>
                  <a:lnTo>
                    <a:pt x="305" y="1662"/>
                  </a:lnTo>
                  <a:lnTo>
                    <a:pt x="308" y="1663"/>
                  </a:lnTo>
                  <a:lnTo>
                    <a:pt x="310" y="1662"/>
                  </a:lnTo>
                  <a:lnTo>
                    <a:pt x="310" y="1657"/>
                  </a:lnTo>
                  <a:lnTo>
                    <a:pt x="308" y="1655"/>
                  </a:lnTo>
                  <a:lnTo>
                    <a:pt x="305" y="1653"/>
                  </a:lnTo>
                  <a:lnTo>
                    <a:pt x="304" y="1650"/>
                  </a:lnTo>
                  <a:lnTo>
                    <a:pt x="303" y="1649"/>
                  </a:lnTo>
                  <a:lnTo>
                    <a:pt x="301" y="1646"/>
                  </a:lnTo>
                  <a:lnTo>
                    <a:pt x="300" y="1645"/>
                  </a:lnTo>
                  <a:lnTo>
                    <a:pt x="298" y="1645"/>
                  </a:lnTo>
                  <a:lnTo>
                    <a:pt x="297" y="1643"/>
                  </a:lnTo>
                  <a:lnTo>
                    <a:pt x="298" y="1642"/>
                  </a:lnTo>
                  <a:lnTo>
                    <a:pt x="301" y="1642"/>
                  </a:lnTo>
                  <a:lnTo>
                    <a:pt x="307" y="1643"/>
                  </a:lnTo>
                  <a:lnTo>
                    <a:pt x="308" y="1645"/>
                  </a:lnTo>
                  <a:lnTo>
                    <a:pt x="311" y="1645"/>
                  </a:lnTo>
                  <a:lnTo>
                    <a:pt x="313" y="1643"/>
                  </a:lnTo>
                  <a:lnTo>
                    <a:pt x="313" y="1640"/>
                  </a:lnTo>
                  <a:lnTo>
                    <a:pt x="311" y="1633"/>
                  </a:lnTo>
                  <a:lnTo>
                    <a:pt x="307" y="1627"/>
                  </a:lnTo>
                  <a:lnTo>
                    <a:pt x="305" y="1626"/>
                  </a:lnTo>
                  <a:lnTo>
                    <a:pt x="305" y="1623"/>
                  </a:lnTo>
                  <a:lnTo>
                    <a:pt x="308" y="1619"/>
                  </a:lnTo>
                  <a:lnTo>
                    <a:pt x="311" y="1616"/>
                  </a:lnTo>
                  <a:lnTo>
                    <a:pt x="313" y="1616"/>
                  </a:lnTo>
                  <a:lnTo>
                    <a:pt x="314" y="1616"/>
                  </a:lnTo>
                  <a:lnTo>
                    <a:pt x="317" y="1616"/>
                  </a:lnTo>
                  <a:lnTo>
                    <a:pt x="318" y="1616"/>
                  </a:lnTo>
                  <a:lnTo>
                    <a:pt x="320" y="1613"/>
                  </a:lnTo>
                  <a:lnTo>
                    <a:pt x="323" y="1612"/>
                  </a:lnTo>
                  <a:lnTo>
                    <a:pt x="325" y="1612"/>
                  </a:lnTo>
                  <a:lnTo>
                    <a:pt x="327" y="1610"/>
                  </a:lnTo>
                  <a:lnTo>
                    <a:pt x="327" y="1604"/>
                  </a:lnTo>
                  <a:lnTo>
                    <a:pt x="327" y="1602"/>
                  </a:lnTo>
                  <a:lnTo>
                    <a:pt x="330" y="1599"/>
                  </a:lnTo>
                  <a:lnTo>
                    <a:pt x="330" y="1597"/>
                  </a:lnTo>
                  <a:lnTo>
                    <a:pt x="328" y="1597"/>
                  </a:lnTo>
                  <a:lnTo>
                    <a:pt x="325" y="1599"/>
                  </a:lnTo>
                  <a:lnTo>
                    <a:pt x="324" y="1599"/>
                  </a:lnTo>
                  <a:lnTo>
                    <a:pt x="323" y="1597"/>
                  </a:lnTo>
                  <a:lnTo>
                    <a:pt x="325" y="1587"/>
                  </a:lnTo>
                  <a:lnTo>
                    <a:pt x="328" y="1584"/>
                  </a:lnTo>
                  <a:lnTo>
                    <a:pt x="331" y="1583"/>
                  </a:lnTo>
                  <a:lnTo>
                    <a:pt x="335" y="1584"/>
                  </a:lnTo>
                  <a:lnTo>
                    <a:pt x="340" y="1586"/>
                  </a:lnTo>
                  <a:lnTo>
                    <a:pt x="341" y="1589"/>
                  </a:lnTo>
                  <a:lnTo>
                    <a:pt x="341" y="1590"/>
                  </a:lnTo>
                  <a:lnTo>
                    <a:pt x="344" y="1592"/>
                  </a:lnTo>
                  <a:lnTo>
                    <a:pt x="345" y="1590"/>
                  </a:lnTo>
                  <a:lnTo>
                    <a:pt x="347" y="1589"/>
                  </a:lnTo>
                  <a:lnTo>
                    <a:pt x="348" y="1589"/>
                  </a:lnTo>
                  <a:lnTo>
                    <a:pt x="353" y="1589"/>
                  </a:lnTo>
                  <a:lnTo>
                    <a:pt x="356" y="1589"/>
                  </a:lnTo>
                  <a:lnTo>
                    <a:pt x="358" y="1589"/>
                  </a:lnTo>
                  <a:lnTo>
                    <a:pt x="364" y="1592"/>
                  </a:lnTo>
                  <a:lnTo>
                    <a:pt x="367" y="1592"/>
                  </a:lnTo>
                  <a:lnTo>
                    <a:pt x="371" y="1590"/>
                  </a:lnTo>
                  <a:lnTo>
                    <a:pt x="377" y="1589"/>
                  </a:lnTo>
                  <a:lnTo>
                    <a:pt x="384" y="1589"/>
                  </a:lnTo>
                  <a:lnTo>
                    <a:pt x="398" y="1592"/>
                  </a:lnTo>
                  <a:lnTo>
                    <a:pt x="414" y="1594"/>
                  </a:lnTo>
                  <a:lnTo>
                    <a:pt x="439" y="1602"/>
                  </a:lnTo>
                  <a:lnTo>
                    <a:pt x="462" y="1606"/>
                  </a:lnTo>
                  <a:lnTo>
                    <a:pt x="474" y="1607"/>
                  </a:lnTo>
                  <a:lnTo>
                    <a:pt x="492" y="1606"/>
                  </a:lnTo>
                  <a:lnTo>
                    <a:pt x="504" y="1604"/>
                  </a:lnTo>
                  <a:lnTo>
                    <a:pt x="520" y="1606"/>
                  </a:lnTo>
                  <a:lnTo>
                    <a:pt x="530" y="1604"/>
                  </a:lnTo>
                  <a:lnTo>
                    <a:pt x="535" y="1604"/>
                  </a:lnTo>
                  <a:lnTo>
                    <a:pt x="536" y="1604"/>
                  </a:lnTo>
                  <a:lnTo>
                    <a:pt x="537" y="1606"/>
                  </a:lnTo>
                  <a:lnTo>
                    <a:pt x="539" y="1610"/>
                  </a:lnTo>
                  <a:lnTo>
                    <a:pt x="540" y="1613"/>
                  </a:lnTo>
                  <a:lnTo>
                    <a:pt x="542" y="1615"/>
                  </a:lnTo>
                  <a:lnTo>
                    <a:pt x="545" y="1615"/>
                  </a:lnTo>
                  <a:lnTo>
                    <a:pt x="546" y="1616"/>
                  </a:lnTo>
                  <a:lnTo>
                    <a:pt x="549" y="1617"/>
                  </a:lnTo>
                  <a:lnTo>
                    <a:pt x="555" y="1619"/>
                  </a:lnTo>
                  <a:lnTo>
                    <a:pt x="557" y="1617"/>
                  </a:lnTo>
                  <a:lnTo>
                    <a:pt x="563" y="1613"/>
                  </a:lnTo>
                  <a:lnTo>
                    <a:pt x="567" y="1607"/>
                  </a:lnTo>
                  <a:lnTo>
                    <a:pt x="570" y="1604"/>
                  </a:lnTo>
                  <a:lnTo>
                    <a:pt x="576" y="1602"/>
                  </a:lnTo>
                  <a:lnTo>
                    <a:pt x="579" y="1603"/>
                  </a:lnTo>
                  <a:lnTo>
                    <a:pt x="583" y="1603"/>
                  </a:lnTo>
                  <a:lnTo>
                    <a:pt x="585" y="1604"/>
                  </a:lnTo>
                  <a:lnTo>
                    <a:pt x="586" y="1604"/>
                  </a:lnTo>
                  <a:lnTo>
                    <a:pt x="589" y="1603"/>
                  </a:lnTo>
                  <a:lnTo>
                    <a:pt x="592" y="1600"/>
                  </a:lnTo>
                  <a:lnTo>
                    <a:pt x="595" y="1600"/>
                  </a:lnTo>
                  <a:lnTo>
                    <a:pt x="598" y="1600"/>
                  </a:lnTo>
                  <a:lnTo>
                    <a:pt x="598" y="1600"/>
                  </a:lnTo>
                  <a:lnTo>
                    <a:pt x="598" y="1600"/>
                  </a:lnTo>
                  <a:close/>
                  <a:moveTo>
                    <a:pt x="764" y="95"/>
                  </a:moveTo>
                  <a:lnTo>
                    <a:pt x="762" y="95"/>
                  </a:lnTo>
                  <a:lnTo>
                    <a:pt x="761" y="95"/>
                  </a:lnTo>
                  <a:lnTo>
                    <a:pt x="761" y="96"/>
                  </a:lnTo>
                  <a:lnTo>
                    <a:pt x="762" y="98"/>
                  </a:lnTo>
                  <a:lnTo>
                    <a:pt x="764" y="99"/>
                  </a:lnTo>
                  <a:lnTo>
                    <a:pt x="765" y="98"/>
                  </a:lnTo>
                  <a:lnTo>
                    <a:pt x="765" y="96"/>
                  </a:lnTo>
                  <a:lnTo>
                    <a:pt x="764" y="95"/>
                  </a:lnTo>
                  <a:lnTo>
                    <a:pt x="764" y="95"/>
                  </a:lnTo>
                  <a:close/>
                  <a:moveTo>
                    <a:pt x="658" y="66"/>
                  </a:moveTo>
                  <a:lnTo>
                    <a:pt x="656" y="66"/>
                  </a:lnTo>
                  <a:lnTo>
                    <a:pt x="655" y="66"/>
                  </a:lnTo>
                  <a:lnTo>
                    <a:pt x="655" y="69"/>
                  </a:lnTo>
                  <a:lnTo>
                    <a:pt x="656" y="69"/>
                  </a:lnTo>
                  <a:lnTo>
                    <a:pt x="658" y="71"/>
                  </a:lnTo>
                  <a:lnTo>
                    <a:pt x="659" y="69"/>
                  </a:lnTo>
                  <a:lnTo>
                    <a:pt x="659" y="68"/>
                  </a:lnTo>
                  <a:lnTo>
                    <a:pt x="658" y="66"/>
                  </a:lnTo>
                  <a:lnTo>
                    <a:pt x="658" y="66"/>
                  </a:lnTo>
                  <a:close/>
                  <a:moveTo>
                    <a:pt x="858" y="2"/>
                  </a:moveTo>
                  <a:lnTo>
                    <a:pt x="858" y="2"/>
                  </a:lnTo>
                  <a:lnTo>
                    <a:pt x="857" y="2"/>
                  </a:lnTo>
                  <a:lnTo>
                    <a:pt x="857" y="3"/>
                  </a:lnTo>
                  <a:lnTo>
                    <a:pt x="857" y="5"/>
                  </a:lnTo>
                  <a:lnTo>
                    <a:pt x="860" y="5"/>
                  </a:lnTo>
                  <a:lnTo>
                    <a:pt x="860" y="3"/>
                  </a:lnTo>
                  <a:lnTo>
                    <a:pt x="861" y="2"/>
                  </a:lnTo>
                  <a:lnTo>
                    <a:pt x="858" y="2"/>
                  </a:lnTo>
                  <a:lnTo>
                    <a:pt x="858" y="2"/>
                  </a:lnTo>
                  <a:close/>
                  <a:moveTo>
                    <a:pt x="851" y="240"/>
                  </a:moveTo>
                  <a:lnTo>
                    <a:pt x="850" y="240"/>
                  </a:lnTo>
                  <a:lnTo>
                    <a:pt x="848" y="241"/>
                  </a:lnTo>
                  <a:lnTo>
                    <a:pt x="848" y="242"/>
                  </a:lnTo>
                  <a:lnTo>
                    <a:pt x="850" y="244"/>
                  </a:lnTo>
                  <a:lnTo>
                    <a:pt x="851" y="244"/>
                  </a:lnTo>
                  <a:lnTo>
                    <a:pt x="852" y="242"/>
                  </a:lnTo>
                  <a:lnTo>
                    <a:pt x="852" y="241"/>
                  </a:lnTo>
                  <a:lnTo>
                    <a:pt x="851" y="240"/>
                  </a:lnTo>
                  <a:lnTo>
                    <a:pt x="851" y="240"/>
                  </a:lnTo>
                  <a:close/>
                  <a:moveTo>
                    <a:pt x="880" y="228"/>
                  </a:moveTo>
                  <a:lnTo>
                    <a:pt x="877" y="228"/>
                  </a:lnTo>
                  <a:lnTo>
                    <a:pt x="874" y="228"/>
                  </a:lnTo>
                  <a:lnTo>
                    <a:pt x="873" y="228"/>
                  </a:lnTo>
                  <a:lnTo>
                    <a:pt x="873" y="231"/>
                  </a:lnTo>
                  <a:lnTo>
                    <a:pt x="874" y="231"/>
                  </a:lnTo>
                  <a:lnTo>
                    <a:pt x="877" y="231"/>
                  </a:lnTo>
                  <a:lnTo>
                    <a:pt x="878" y="232"/>
                  </a:lnTo>
                  <a:lnTo>
                    <a:pt x="880" y="232"/>
                  </a:lnTo>
                  <a:lnTo>
                    <a:pt x="881" y="232"/>
                  </a:lnTo>
                  <a:lnTo>
                    <a:pt x="881" y="231"/>
                  </a:lnTo>
                  <a:lnTo>
                    <a:pt x="881" y="228"/>
                  </a:lnTo>
                  <a:lnTo>
                    <a:pt x="880" y="228"/>
                  </a:lnTo>
                  <a:lnTo>
                    <a:pt x="880" y="228"/>
                  </a:lnTo>
                  <a:close/>
                  <a:moveTo>
                    <a:pt x="830" y="240"/>
                  </a:moveTo>
                  <a:lnTo>
                    <a:pt x="828" y="238"/>
                  </a:lnTo>
                  <a:lnTo>
                    <a:pt x="827" y="237"/>
                  </a:lnTo>
                  <a:lnTo>
                    <a:pt x="825" y="237"/>
                  </a:lnTo>
                  <a:lnTo>
                    <a:pt x="825" y="238"/>
                  </a:lnTo>
                  <a:lnTo>
                    <a:pt x="824" y="240"/>
                  </a:lnTo>
                  <a:lnTo>
                    <a:pt x="822" y="240"/>
                  </a:lnTo>
                  <a:lnTo>
                    <a:pt x="821" y="240"/>
                  </a:lnTo>
                  <a:lnTo>
                    <a:pt x="821" y="241"/>
                  </a:lnTo>
                  <a:lnTo>
                    <a:pt x="821" y="242"/>
                  </a:lnTo>
                  <a:lnTo>
                    <a:pt x="824" y="244"/>
                  </a:lnTo>
                  <a:lnTo>
                    <a:pt x="827" y="244"/>
                  </a:lnTo>
                  <a:lnTo>
                    <a:pt x="830" y="244"/>
                  </a:lnTo>
                  <a:lnTo>
                    <a:pt x="830" y="242"/>
                  </a:lnTo>
                  <a:lnTo>
                    <a:pt x="830" y="240"/>
                  </a:lnTo>
                  <a:lnTo>
                    <a:pt x="830" y="240"/>
                  </a:lnTo>
                  <a:close/>
                  <a:moveTo>
                    <a:pt x="695" y="95"/>
                  </a:moveTo>
                  <a:lnTo>
                    <a:pt x="698" y="95"/>
                  </a:lnTo>
                  <a:lnTo>
                    <a:pt x="699" y="94"/>
                  </a:lnTo>
                  <a:lnTo>
                    <a:pt x="699" y="92"/>
                  </a:lnTo>
                  <a:lnTo>
                    <a:pt x="699" y="91"/>
                  </a:lnTo>
                  <a:lnTo>
                    <a:pt x="695" y="91"/>
                  </a:lnTo>
                  <a:lnTo>
                    <a:pt x="694" y="91"/>
                  </a:lnTo>
                  <a:lnTo>
                    <a:pt x="692" y="91"/>
                  </a:lnTo>
                  <a:lnTo>
                    <a:pt x="692" y="92"/>
                  </a:lnTo>
                  <a:lnTo>
                    <a:pt x="694" y="94"/>
                  </a:lnTo>
                  <a:lnTo>
                    <a:pt x="694" y="95"/>
                  </a:lnTo>
                  <a:lnTo>
                    <a:pt x="695" y="95"/>
                  </a:lnTo>
                  <a:lnTo>
                    <a:pt x="695" y="95"/>
                  </a:lnTo>
                  <a:close/>
                  <a:moveTo>
                    <a:pt x="844" y="8"/>
                  </a:moveTo>
                  <a:lnTo>
                    <a:pt x="844" y="5"/>
                  </a:lnTo>
                  <a:lnTo>
                    <a:pt x="844" y="2"/>
                  </a:lnTo>
                  <a:lnTo>
                    <a:pt x="844" y="0"/>
                  </a:lnTo>
                  <a:lnTo>
                    <a:pt x="842" y="0"/>
                  </a:lnTo>
                  <a:lnTo>
                    <a:pt x="841" y="5"/>
                  </a:lnTo>
                  <a:lnTo>
                    <a:pt x="840" y="8"/>
                  </a:lnTo>
                  <a:lnTo>
                    <a:pt x="840" y="9"/>
                  </a:lnTo>
                  <a:lnTo>
                    <a:pt x="840" y="10"/>
                  </a:lnTo>
                  <a:lnTo>
                    <a:pt x="841" y="10"/>
                  </a:lnTo>
                  <a:lnTo>
                    <a:pt x="842" y="10"/>
                  </a:lnTo>
                  <a:lnTo>
                    <a:pt x="844" y="8"/>
                  </a:lnTo>
                  <a:lnTo>
                    <a:pt x="844" y="8"/>
                  </a:lnTo>
                  <a:close/>
                  <a:moveTo>
                    <a:pt x="320" y="1593"/>
                  </a:moveTo>
                  <a:lnTo>
                    <a:pt x="321" y="1592"/>
                  </a:lnTo>
                  <a:lnTo>
                    <a:pt x="321" y="1590"/>
                  </a:lnTo>
                  <a:lnTo>
                    <a:pt x="320" y="1586"/>
                  </a:lnTo>
                  <a:lnTo>
                    <a:pt x="315" y="1583"/>
                  </a:lnTo>
                  <a:lnTo>
                    <a:pt x="314" y="1583"/>
                  </a:lnTo>
                  <a:lnTo>
                    <a:pt x="313" y="1584"/>
                  </a:lnTo>
                  <a:lnTo>
                    <a:pt x="313" y="1586"/>
                  </a:lnTo>
                  <a:lnTo>
                    <a:pt x="311" y="1586"/>
                  </a:lnTo>
                  <a:lnTo>
                    <a:pt x="308" y="1586"/>
                  </a:lnTo>
                  <a:lnTo>
                    <a:pt x="308" y="1587"/>
                  </a:lnTo>
                  <a:lnTo>
                    <a:pt x="310" y="1590"/>
                  </a:lnTo>
                  <a:lnTo>
                    <a:pt x="314" y="1596"/>
                  </a:lnTo>
                  <a:lnTo>
                    <a:pt x="315" y="1597"/>
                  </a:lnTo>
                  <a:lnTo>
                    <a:pt x="318" y="1597"/>
                  </a:lnTo>
                  <a:lnTo>
                    <a:pt x="318" y="1596"/>
                  </a:lnTo>
                  <a:lnTo>
                    <a:pt x="318" y="1594"/>
                  </a:lnTo>
                  <a:lnTo>
                    <a:pt x="320" y="1593"/>
                  </a:lnTo>
                  <a:lnTo>
                    <a:pt x="320" y="1593"/>
                  </a:lnTo>
                  <a:close/>
                  <a:moveTo>
                    <a:pt x="938" y="1294"/>
                  </a:moveTo>
                  <a:lnTo>
                    <a:pt x="940" y="1291"/>
                  </a:lnTo>
                  <a:lnTo>
                    <a:pt x="938" y="1289"/>
                  </a:lnTo>
                  <a:lnTo>
                    <a:pt x="937" y="1289"/>
                  </a:lnTo>
                  <a:lnTo>
                    <a:pt x="934" y="1291"/>
                  </a:lnTo>
                  <a:lnTo>
                    <a:pt x="933" y="1295"/>
                  </a:lnTo>
                  <a:lnTo>
                    <a:pt x="934" y="1297"/>
                  </a:lnTo>
                  <a:lnTo>
                    <a:pt x="936" y="1298"/>
                  </a:lnTo>
                  <a:lnTo>
                    <a:pt x="937" y="1297"/>
                  </a:lnTo>
                  <a:lnTo>
                    <a:pt x="938" y="1294"/>
                  </a:lnTo>
                  <a:lnTo>
                    <a:pt x="938" y="1294"/>
                  </a:lnTo>
                  <a:close/>
                  <a:moveTo>
                    <a:pt x="908" y="1278"/>
                  </a:moveTo>
                  <a:lnTo>
                    <a:pt x="905" y="1278"/>
                  </a:lnTo>
                  <a:lnTo>
                    <a:pt x="904" y="1279"/>
                  </a:lnTo>
                  <a:lnTo>
                    <a:pt x="903" y="1281"/>
                  </a:lnTo>
                  <a:lnTo>
                    <a:pt x="904" y="1282"/>
                  </a:lnTo>
                  <a:lnTo>
                    <a:pt x="907" y="1282"/>
                  </a:lnTo>
                  <a:lnTo>
                    <a:pt x="910" y="1281"/>
                  </a:lnTo>
                  <a:lnTo>
                    <a:pt x="910" y="1279"/>
                  </a:lnTo>
                  <a:lnTo>
                    <a:pt x="908" y="1278"/>
                  </a:lnTo>
                  <a:lnTo>
                    <a:pt x="908" y="1278"/>
                  </a:lnTo>
                  <a:close/>
                  <a:moveTo>
                    <a:pt x="764" y="1317"/>
                  </a:moveTo>
                  <a:lnTo>
                    <a:pt x="762" y="1317"/>
                  </a:lnTo>
                  <a:lnTo>
                    <a:pt x="762" y="1318"/>
                  </a:lnTo>
                  <a:lnTo>
                    <a:pt x="762" y="1319"/>
                  </a:lnTo>
                  <a:lnTo>
                    <a:pt x="765" y="1321"/>
                  </a:lnTo>
                  <a:lnTo>
                    <a:pt x="767" y="1321"/>
                  </a:lnTo>
                  <a:lnTo>
                    <a:pt x="767" y="1319"/>
                  </a:lnTo>
                  <a:lnTo>
                    <a:pt x="768" y="1318"/>
                  </a:lnTo>
                  <a:lnTo>
                    <a:pt x="767" y="1317"/>
                  </a:lnTo>
                  <a:lnTo>
                    <a:pt x="764" y="1317"/>
                  </a:lnTo>
                  <a:lnTo>
                    <a:pt x="764" y="1317"/>
                  </a:lnTo>
                  <a:close/>
                  <a:moveTo>
                    <a:pt x="769" y="1325"/>
                  </a:moveTo>
                  <a:lnTo>
                    <a:pt x="769" y="1324"/>
                  </a:lnTo>
                  <a:lnTo>
                    <a:pt x="768" y="1324"/>
                  </a:lnTo>
                  <a:lnTo>
                    <a:pt x="767" y="1324"/>
                  </a:lnTo>
                  <a:lnTo>
                    <a:pt x="767" y="1325"/>
                  </a:lnTo>
                  <a:lnTo>
                    <a:pt x="765" y="1328"/>
                  </a:lnTo>
                  <a:lnTo>
                    <a:pt x="767" y="1328"/>
                  </a:lnTo>
                  <a:lnTo>
                    <a:pt x="769" y="1328"/>
                  </a:lnTo>
                  <a:lnTo>
                    <a:pt x="769" y="1325"/>
                  </a:lnTo>
                  <a:lnTo>
                    <a:pt x="769" y="1325"/>
                  </a:lnTo>
                  <a:close/>
                  <a:moveTo>
                    <a:pt x="738" y="1322"/>
                  </a:moveTo>
                  <a:lnTo>
                    <a:pt x="735" y="1322"/>
                  </a:lnTo>
                  <a:lnTo>
                    <a:pt x="731" y="1322"/>
                  </a:lnTo>
                  <a:lnTo>
                    <a:pt x="731" y="1324"/>
                  </a:lnTo>
                  <a:lnTo>
                    <a:pt x="732" y="1325"/>
                  </a:lnTo>
                  <a:lnTo>
                    <a:pt x="735" y="1327"/>
                  </a:lnTo>
                  <a:lnTo>
                    <a:pt x="738" y="1327"/>
                  </a:lnTo>
                  <a:lnTo>
                    <a:pt x="739" y="1325"/>
                  </a:lnTo>
                  <a:lnTo>
                    <a:pt x="739" y="1324"/>
                  </a:lnTo>
                  <a:lnTo>
                    <a:pt x="739" y="1322"/>
                  </a:lnTo>
                  <a:lnTo>
                    <a:pt x="738" y="1322"/>
                  </a:lnTo>
                  <a:lnTo>
                    <a:pt x="738" y="1322"/>
                  </a:lnTo>
                  <a:close/>
                  <a:moveTo>
                    <a:pt x="801" y="1350"/>
                  </a:moveTo>
                  <a:lnTo>
                    <a:pt x="798" y="1350"/>
                  </a:lnTo>
                  <a:lnTo>
                    <a:pt x="795" y="1350"/>
                  </a:lnTo>
                  <a:lnTo>
                    <a:pt x="794" y="1350"/>
                  </a:lnTo>
                  <a:lnTo>
                    <a:pt x="794" y="1351"/>
                  </a:lnTo>
                  <a:lnTo>
                    <a:pt x="795" y="1352"/>
                  </a:lnTo>
                  <a:lnTo>
                    <a:pt x="800" y="1354"/>
                  </a:lnTo>
                  <a:lnTo>
                    <a:pt x="801" y="1354"/>
                  </a:lnTo>
                  <a:lnTo>
                    <a:pt x="802" y="1354"/>
                  </a:lnTo>
                  <a:lnTo>
                    <a:pt x="802" y="1351"/>
                  </a:lnTo>
                  <a:lnTo>
                    <a:pt x="801" y="1350"/>
                  </a:lnTo>
                  <a:lnTo>
                    <a:pt x="801" y="1350"/>
                  </a:lnTo>
                  <a:close/>
                  <a:moveTo>
                    <a:pt x="808" y="1345"/>
                  </a:moveTo>
                  <a:lnTo>
                    <a:pt x="810" y="1345"/>
                  </a:lnTo>
                  <a:lnTo>
                    <a:pt x="812" y="1345"/>
                  </a:lnTo>
                  <a:lnTo>
                    <a:pt x="814" y="1342"/>
                  </a:lnTo>
                  <a:lnTo>
                    <a:pt x="814" y="1341"/>
                  </a:lnTo>
                  <a:lnTo>
                    <a:pt x="814" y="1340"/>
                  </a:lnTo>
                  <a:lnTo>
                    <a:pt x="811" y="1341"/>
                  </a:lnTo>
                  <a:lnTo>
                    <a:pt x="808" y="1341"/>
                  </a:lnTo>
                  <a:lnTo>
                    <a:pt x="808" y="1341"/>
                  </a:lnTo>
                  <a:lnTo>
                    <a:pt x="807" y="1341"/>
                  </a:lnTo>
                  <a:lnTo>
                    <a:pt x="805" y="1341"/>
                  </a:lnTo>
                  <a:lnTo>
                    <a:pt x="807" y="1342"/>
                  </a:lnTo>
                  <a:lnTo>
                    <a:pt x="808" y="1345"/>
                  </a:lnTo>
                  <a:lnTo>
                    <a:pt x="808" y="1345"/>
                  </a:lnTo>
                  <a:close/>
                  <a:moveTo>
                    <a:pt x="1301" y="1027"/>
                  </a:moveTo>
                  <a:lnTo>
                    <a:pt x="1298" y="1027"/>
                  </a:lnTo>
                  <a:lnTo>
                    <a:pt x="1296" y="1027"/>
                  </a:lnTo>
                  <a:lnTo>
                    <a:pt x="1295" y="1029"/>
                  </a:lnTo>
                  <a:lnTo>
                    <a:pt x="1296" y="1030"/>
                  </a:lnTo>
                  <a:lnTo>
                    <a:pt x="1299" y="1032"/>
                  </a:lnTo>
                  <a:lnTo>
                    <a:pt x="1301" y="1030"/>
                  </a:lnTo>
                  <a:lnTo>
                    <a:pt x="1301" y="1030"/>
                  </a:lnTo>
                  <a:lnTo>
                    <a:pt x="1301" y="1029"/>
                  </a:lnTo>
                  <a:lnTo>
                    <a:pt x="1301" y="1027"/>
                  </a:lnTo>
                  <a:lnTo>
                    <a:pt x="1301" y="1027"/>
                  </a:lnTo>
                  <a:close/>
                  <a:moveTo>
                    <a:pt x="1294" y="1027"/>
                  </a:moveTo>
                  <a:lnTo>
                    <a:pt x="1295" y="1026"/>
                  </a:lnTo>
                  <a:lnTo>
                    <a:pt x="1296" y="1024"/>
                  </a:lnTo>
                  <a:lnTo>
                    <a:pt x="1296" y="1023"/>
                  </a:lnTo>
                  <a:lnTo>
                    <a:pt x="1294" y="1023"/>
                  </a:lnTo>
                  <a:lnTo>
                    <a:pt x="1291" y="1024"/>
                  </a:lnTo>
                  <a:lnTo>
                    <a:pt x="1291" y="1027"/>
                  </a:lnTo>
                  <a:lnTo>
                    <a:pt x="1291" y="1029"/>
                  </a:lnTo>
                  <a:lnTo>
                    <a:pt x="1292" y="1030"/>
                  </a:lnTo>
                  <a:lnTo>
                    <a:pt x="1294" y="1029"/>
                  </a:lnTo>
                  <a:lnTo>
                    <a:pt x="1294" y="1027"/>
                  </a:lnTo>
                  <a:lnTo>
                    <a:pt x="1294" y="1027"/>
                  </a:lnTo>
                  <a:lnTo>
                    <a:pt x="1294" y="1027"/>
                  </a:lnTo>
                  <a:close/>
                  <a:moveTo>
                    <a:pt x="1285" y="1016"/>
                  </a:moveTo>
                  <a:lnTo>
                    <a:pt x="1284" y="1016"/>
                  </a:lnTo>
                  <a:lnTo>
                    <a:pt x="1282" y="1017"/>
                  </a:lnTo>
                  <a:lnTo>
                    <a:pt x="1282" y="1019"/>
                  </a:lnTo>
                  <a:lnTo>
                    <a:pt x="1284" y="1019"/>
                  </a:lnTo>
                  <a:lnTo>
                    <a:pt x="1286" y="1019"/>
                  </a:lnTo>
                  <a:lnTo>
                    <a:pt x="1286" y="1017"/>
                  </a:lnTo>
                  <a:lnTo>
                    <a:pt x="1288" y="1017"/>
                  </a:lnTo>
                  <a:lnTo>
                    <a:pt x="1285" y="1016"/>
                  </a:lnTo>
                  <a:lnTo>
                    <a:pt x="1285" y="1016"/>
                  </a:lnTo>
                  <a:close/>
                  <a:moveTo>
                    <a:pt x="1252" y="1100"/>
                  </a:moveTo>
                  <a:lnTo>
                    <a:pt x="1254" y="1099"/>
                  </a:lnTo>
                  <a:lnTo>
                    <a:pt x="1252" y="1099"/>
                  </a:lnTo>
                  <a:lnTo>
                    <a:pt x="1249" y="1099"/>
                  </a:lnTo>
                  <a:lnTo>
                    <a:pt x="1249" y="1100"/>
                  </a:lnTo>
                  <a:lnTo>
                    <a:pt x="1249" y="1100"/>
                  </a:lnTo>
                  <a:lnTo>
                    <a:pt x="1252" y="1100"/>
                  </a:lnTo>
                  <a:lnTo>
                    <a:pt x="1252" y="1100"/>
                  </a:lnTo>
                  <a:close/>
                  <a:moveTo>
                    <a:pt x="1249" y="1103"/>
                  </a:moveTo>
                  <a:lnTo>
                    <a:pt x="1248" y="1105"/>
                  </a:lnTo>
                  <a:lnTo>
                    <a:pt x="1248" y="1106"/>
                  </a:lnTo>
                  <a:lnTo>
                    <a:pt x="1249" y="1106"/>
                  </a:lnTo>
                  <a:lnTo>
                    <a:pt x="1251" y="1106"/>
                  </a:lnTo>
                  <a:lnTo>
                    <a:pt x="1251" y="1105"/>
                  </a:lnTo>
                  <a:lnTo>
                    <a:pt x="1251" y="1103"/>
                  </a:lnTo>
                  <a:lnTo>
                    <a:pt x="1249" y="1103"/>
                  </a:lnTo>
                  <a:lnTo>
                    <a:pt x="1249" y="1103"/>
                  </a:lnTo>
                  <a:close/>
                  <a:moveTo>
                    <a:pt x="1243" y="1108"/>
                  </a:moveTo>
                  <a:lnTo>
                    <a:pt x="1242" y="1109"/>
                  </a:lnTo>
                  <a:lnTo>
                    <a:pt x="1243" y="1110"/>
                  </a:lnTo>
                  <a:lnTo>
                    <a:pt x="1245" y="1110"/>
                  </a:lnTo>
                  <a:lnTo>
                    <a:pt x="1246" y="1109"/>
                  </a:lnTo>
                  <a:lnTo>
                    <a:pt x="1246" y="1108"/>
                  </a:lnTo>
                  <a:lnTo>
                    <a:pt x="1245" y="1108"/>
                  </a:lnTo>
                  <a:lnTo>
                    <a:pt x="1243" y="1108"/>
                  </a:lnTo>
                  <a:lnTo>
                    <a:pt x="1243" y="1108"/>
                  </a:lnTo>
                  <a:close/>
                  <a:moveTo>
                    <a:pt x="633" y="1567"/>
                  </a:moveTo>
                  <a:lnTo>
                    <a:pt x="635" y="1567"/>
                  </a:lnTo>
                  <a:lnTo>
                    <a:pt x="631" y="1564"/>
                  </a:lnTo>
                  <a:lnTo>
                    <a:pt x="628" y="1564"/>
                  </a:lnTo>
                  <a:lnTo>
                    <a:pt x="628" y="1566"/>
                  </a:lnTo>
                  <a:lnTo>
                    <a:pt x="629" y="1569"/>
                  </a:lnTo>
                  <a:lnTo>
                    <a:pt x="631" y="1570"/>
                  </a:lnTo>
                  <a:lnTo>
                    <a:pt x="632" y="1570"/>
                  </a:lnTo>
                  <a:lnTo>
                    <a:pt x="633" y="1569"/>
                  </a:lnTo>
                  <a:lnTo>
                    <a:pt x="633" y="1567"/>
                  </a:lnTo>
                  <a:lnTo>
                    <a:pt x="633" y="1567"/>
                  </a:lnTo>
                  <a:close/>
                  <a:moveTo>
                    <a:pt x="678" y="1434"/>
                  </a:moveTo>
                  <a:lnTo>
                    <a:pt x="678" y="1430"/>
                  </a:lnTo>
                  <a:lnTo>
                    <a:pt x="676" y="1425"/>
                  </a:lnTo>
                  <a:lnTo>
                    <a:pt x="675" y="1424"/>
                  </a:lnTo>
                  <a:lnTo>
                    <a:pt x="673" y="1421"/>
                  </a:lnTo>
                  <a:lnTo>
                    <a:pt x="671" y="1421"/>
                  </a:lnTo>
                  <a:lnTo>
                    <a:pt x="668" y="1423"/>
                  </a:lnTo>
                  <a:lnTo>
                    <a:pt x="663" y="1424"/>
                  </a:lnTo>
                  <a:lnTo>
                    <a:pt x="659" y="1427"/>
                  </a:lnTo>
                  <a:lnTo>
                    <a:pt x="658" y="1427"/>
                  </a:lnTo>
                  <a:lnTo>
                    <a:pt x="656" y="1424"/>
                  </a:lnTo>
                  <a:lnTo>
                    <a:pt x="659" y="1423"/>
                  </a:lnTo>
                  <a:lnTo>
                    <a:pt x="659" y="1421"/>
                  </a:lnTo>
                  <a:lnTo>
                    <a:pt x="658" y="1420"/>
                  </a:lnTo>
                  <a:lnTo>
                    <a:pt x="655" y="1418"/>
                  </a:lnTo>
                  <a:lnTo>
                    <a:pt x="653" y="1420"/>
                  </a:lnTo>
                  <a:lnTo>
                    <a:pt x="652" y="1424"/>
                  </a:lnTo>
                  <a:lnTo>
                    <a:pt x="652" y="1428"/>
                  </a:lnTo>
                  <a:lnTo>
                    <a:pt x="652" y="1431"/>
                  </a:lnTo>
                  <a:lnTo>
                    <a:pt x="655" y="1433"/>
                  </a:lnTo>
                  <a:lnTo>
                    <a:pt x="653" y="1434"/>
                  </a:lnTo>
                  <a:lnTo>
                    <a:pt x="649" y="1434"/>
                  </a:lnTo>
                  <a:lnTo>
                    <a:pt x="648" y="1433"/>
                  </a:lnTo>
                  <a:lnTo>
                    <a:pt x="648" y="1431"/>
                  </a:lnTo>
                  <a:lnTo>
                    <a:pt x="646" y="1430"/>
                  </a:lnTo>
                  <a:lnTo>
                    <a:pt x="642" y="1428"/>
                  </a:lnTo>
                  <a:lnTo>
                    <a:pt x="641" y="1425"/>
                  </a:lnTo>
                  <a:lnTo>
                    <a:pt x="641" y="1424"/>
                  </a:lnTo>
                  <a:lnTo>
                    <a:pt x="639" y="1425"/>
                  </a:lnTo>
                  <a:lnTo>
                    <a:pt x="639" y="1428"/>
                  </a:lnTo>
                  <a:lnTo>
                    <a:pt x="638" y="1430"/>
                  </a:lnTo>
                  <a:lnTo>
                    <a:pt x="636" y="1431"/>
                  </a:lnTo>
                  <a:lnTo>
                    <a:pt x="636" y="1434"/>
                  </a:lnTo>
                  <a:lnTo>
                    <a:pt x="638" y="1435"/>
                  </a:lnTo>
                  <a:lnTo>
                    <a:pt x="638" y="1438"/>
                  </a:lnTo>
                  <a:lnTo>
                    <a:pt x="639" y="1440"/>
                  </a:lnTo>
                  <a:lnTo>
                    <a:pt x="643" y="1441"/>
                  </a:lnTo>
                  <a:lnTo>
                    <a:pt x="651" y="1441"/>
                  </a:lnTo>
                  <a:lnTo>
                    <a:pt x="652" y="1443"/>
                  </a:lnTo>
                  <a:lnTo>
                    <a:pt x="653" y="1444"/>
                  </a:lnTo>
                  <a:lnTo>
                    <a:pt x="656" y="1446"/>
                  </a:lnTo>
                  <a:lnTo>
                    <a:pt x="661" y="1447"/>
                  </a:lnTo>
                  <a:lnTo>
                    <a:pt x="662" y="1448"/>
                  </a:lnTo>
                  <a:lnTo>
                    <a:pt x="663" y="1451"/>
                  </a:lnTo>
                  <a:lnTo>
                    <a:pt x="665" y="1451"/>
                  </a:lnTo>
                  <a:lnTo>
                    <a:pt x="668" y="1448"/>
                  </a:lnTo>
                  <a:lnTo>
                    <a:pt x="669" y="1447"/>
                  </a:lnTo>
                  <a:lnTo>
                    <a:pt x="668" y="1446"/>
                  </a:lnTo>
                  <a:lnTo>
                    <a:pt x="666" y="1446"/>
                  </a:lnTo>
                  <a:lnTo>
                    <a:pt x="663" y="1446"/>
                  </a:lnTo>
                  <a:lnTo>
                    <a:pt x="661" y="1446"/>
                  </a:lnTo>
                  <a:lnTo>
                    <a:pt x="661" y="1443"/>
                  </a:lnTo>
                  <a:lnTo>
                    <a:pt x="661" y="1440"/>
                  </a:lnTo>
                  <a:lnTo>
                    <a:pt x="659" y="1435"/>
                  </a:lnTo>
                  <a:lnTo>
                    <a:pt x="659" y="1433"/>
                  </a:lnTo>
                  <a:lnTo>
                    <a:pt x="661" y="1433"/>
                  </a:lnTo>
                  <a:lnTo>
                    <a:pt x="662" y="1433"/>
                  </a:lnTo>
                  <a:lnTo>
                    <a:pt x="665" y="1434"/>
                  </a:lnTo>
                  <a:lnTo>
                    <a:pt x="665" y="1438"/>
                  </a:lnTo>
                  <a:lnTo>
                    <a:pt x="668" y="1441"/>
                  </a:lnTo>
                  <a:lnTo>
                    <a:pt x="671" y="1441"/>
                  </a:lnTo>
                  <a:lnTo>
                    <a:pt x="672" y="1441"/>
                  </a:lnTo>
                  <a:lnTo>
                    <a:pt x="675" y="1438"/>
                  </a:lnTo>
                  <a:lnTo>
                    <a:pt x="678" y="1434"/>
                  </a:lnTo>
                  <a:lnTo>
                    <a:pt x="678" y="1434"/>
                  </a:lnTo>
                  <a:close/>
                  <a:moveTo>
                    <a:pt x="656" y="1456"/>
                  </a:moveTo>
                  <a:lnTo>
                    <a:pt x="659" y="1453"/>
                  </a:lnTo>
                  <a:lnTo>
                    <a:pt x="661" y="1451"/>
                  </a:lnTo>
                  <a:lnTo>
                    <a:pt x="659" y="1450"/>
                  </a:lnTo>
                  <a:lnTo>
                    <a:pt x="658" y="1450"/>
                  </a:lnTo>
                  <a:lnTo>
                    <a:pt x="655" y="1448"/>
                  </a:lnTo>
                  <a:lnTo>
                    <a:pt x="652" y="1447"/>
                  </a:lnTo>
                  <a:lnTo>
                    <a:pt x="651" y="1444"/>
                  </a:lnTo>
                  <a:lnTo>
                    <a:pt x="648" y="1444"/>
                  </a:lnTo>
                  <a:lnTo>
                    <a:pt x="646" y="1446"/>
                  </a:lnTo>
                  <a:lnTo>
                    <a:pt x="646" y="1447"/>
                  </a:lnTo>
                  <a:lnTo>
                    <a:pt x="645" y="1448"/>
                  </a:lnTo>
                  <a:lnTo>
                    <a:pt x="645" y="1450"/>
                  </a:lnTo>
                  <a:lnTo>
                    <a:pt x="643" y="1451"/>
                  </a:lnTo>
                  <a:lnTo>
                    <a:pt x="645" y="1453"/>
                  </a:lnTo>
                  <a:lnTo>
                    <a:pt x="646" y="1454"/>
                  </a:lnTo>
                  <a:lnTo>
                    <a:pt x="648" y="1458"/>
                  </a:lnTo>
                  <a:lnTo>
                    <a:pt x="649" y="1460"/>
                  </a:lnTo>
                  <a:lnTo>
                    <a:pt x="651" y="1460"/>
                  </a:lnTo>
                  <a:lnTo>
                    <a:pt x="655" y="1458"/>
                  </a:lnTo>
                  <a:lnTo>
                    <a:pt x="656" y="1456"/>
                  </a:lnTo>
                  <a:lnTo>
                    <a:pt x="656" y="1456"/>
                  </a:lnTo>
                  <a:close/>
                  <a:moveTo>
                    <a:pt x="620" y="1434"/>
                  </a:moveTo>
                  <a:lnTo>
                    <a:pt x="622" y="1431"/>
                  </a:lnTo>
                  <a:lnTo>
                    <a:pt x="620" y="1430"/>
                  </a:lnTo>
                  <a:lnTo>
                    <a:pt x="619" y="1430"/>
                  </a:lnTo>
                  <a:lnTo>
                    <a:pt x="618" y="1433"/>
                  </a:lnTo>
                  <a:lnTo>
                    <a:pt x="616" y="1435"/>
                  </a:lnTo>
                  <a:lnTo>
                    <a:pt x="615" y="1440"/>
                  </a:lnTo>
                  <a:lnTo>
                    <a:pt x="613" y="1441"/>
                  </a:lnTo>
                  <a:lnTo>
                    <a:pt x="612" y="1443"/>
                  </a:lnTo>
                  <a:lnTo>
                    <a:pt x="618" y="1444"/>
                  </a:lnTo>
                  <a:lnTo>
                    <a:pt x="622" y="1444"/>
                  </a:lnTo>
                  <a:lnTo>
                    <a:pt x="623" y="1443"/>
                  </a:lnTo>
                  <a:lnTo>
                    <a:pt x="623" y="1441"/>
                  </a:lnTo>
                  <a:lnTo>
                    <a:pt x="620" y="1440"/>
                  </a:lnTo>
                  <a:lnTo>
                    <a:pt x="619" y="1438"/>
                  </a:lnTo>
                  <a:lnTo>
                    <a:pt x="620" y="1434"/>
                  </a:lnTo>
                  <a:lnTo>
                    <a:pt x="620" y="1434"/>
                  </a:lnTo>
                  <a:close/>
                  <a:moveTo>
                    <a:pt x="596" y="1443"/>
                  </a:moveTo>
                  <a:lnTo>
                    <a:pt x="595" y="1443"/>
                  </a:lnTo>
                  <a:lnTo>
                    <a:pt x="590" y="1443"/>
                  </a:lnTo>
                  <a:lnTo>
                    <a:pt x="590" y="1443"/>
                  </a:lnTo>
                  <a:lnTo>
                    <a:pt x="588" y="1444"/>
                  </a:lnTo>
                  <a:lnTo>
                    <a:pt x="585" y="1443"/>
                  </a:lnTo>
                  <a:lnTo>
                    <a:pt x="585" y="1444"/>
                  </a:lnTo>
                  <a:lnTo>
                    <a:pt x="586" y="1447"/>
                  </a:lnTo>
                  <a:lnTo>
                    <a:pt x="589" y="1447"/>
                  </a:lnTo>
                  <a:lnTo>
                    <a:pt x="592" y="1448"/>
                  </a:lnTo>
                  <a:lnTo>
                    <a:pt x="595" y="1447"/>
                  </a:lnTo>
                  <a:lnTo>
                    <a:pt x="598" y="1448"/>
                  </a:lnTo>
                  <a:lnTo>
                    <a:pt x="598" y="1453"/>
                  </a:lnTo>
                  <a:lnTo>
                    <a:pt x="600" y="1454"/>
                  </a:lnTo>
                  <a:lnTo>
                    <a:pt x="602" y="1454"/>
                  </a:lnTo>
                  <a:lnTo>
                    <a:pt x="603" y="1450"/>
                  </a:lnTo>
                  <a:lnTo>
                    <a:pt x="605" y="1450"/>
                  </a:lnTo>
                  <a:lnTo>
                    <a:pt x="605" y="1451"/>
                  </a:lnTo>
                  <a:lnTo>
                    <a:pt x="605" y="1456"/>
                  </a:lnTo>
                  <a:lnTo>
                    <a:pt x="606" y="1457"/>
                  </a:lnTo>
                  <a:lnTo>
                    <a:pt x="608" y="1457"/>
                  </a:lnTo>
                  <a:lnTo>
                    <a:pt x="608" y="1453"/>
                  </a:lnTo>
                  <a:lnTo>
                    <a:pt x="608" y="1450"/>
                  </a:lnTo>
                  <a:lnTo>
                    <a:pt x="608" y="1448"/>
                  </a:lnTo>
                  <a:lnTo>
                    <a:pt x="609" y="1444"/>
                  </a:lnTo>
                  <a:lnTo>
                    <a:pt x="608" y="1443"/>
                  </a:lnTo>
                  <a:lnTo>
                    <a:pt x="606" y="1443"/>
                  </a:lnTo>
                  <a:lnTo>
                    <a:pt x="603" y="1443"/>
                  </a:lnTo>
                  <a:lnTo>
                    <a:pt x="603" y="1441"/>
                  </a:lnTo>
                  <a:lnTo>
                    <a:pt x="602" y="1438"/>
                  </a:lnTo>
                  <a:lnTo>
                    <a:pt x="600" y="1438"/>
                  </a:lnTo>
                  <a:lnTo>
                    <a:pt x="599" y="1440"/>
                  </a:lnTo>
                  <a:lnTo>
                    <a:pt x="598" y="1441"/>
                  </a:lnTo>
                  <a:lnTo>
                    <a:pt x="596" y="1443"/>
                  </a:lnTo>
                  <a:lnTo>
                    <a:pt x="596" y="1443"/>
                  </a:lnTo>
                  <a:close/>
                  <a:moveTo>
                    <a:pt x="592" y="1546"/>
                  </a:moveTo>
                  <a:lnTo>
                    <a:pt x="586" y="1543"/>
                  </a:lnTo>
                  <a:lnTo>
                    <a:pt x="579" y="1540"/>
                  </a:lnTo>
                  <a:lnTo>
                    <a:pt x="576" y="1539"/>
                  </a:lnTo>
                  <a:lnTo>
                    <a:pt x="576" y="1540"/>
                  </a:lnTo>
                  <a:lnTo>
                    <a:pt x="579" y="1541"/>
                  </a:lnTo>
                  <a:lnTo>
                    <a:pt x="585" y="1544"/>
                  </a:lnTo>
                  <a:lnTo>
                    <a:pt x="585" y="1547"/>
                  </a:lnTo>
                  <a:lnTo>
                    <a:pt x="582" y="1547"/>
                  </a:lnTo>
                  <a:lnTo>
                    <a:pt x="579" y="1547"/>
                  </a:lnTo>
                  <a:lnTo>
                    <a:pt x="578" y="1549"/>
                  </a:lnTo>
                  <a:lnTo>
                    <a:pt x="578" y="1550"/>
                  </a:lnTo>
                  <a:lnTo>
                    <a:pt x="579" y="1552"/>
                  </a:lnTo>
                  <a:lnTo>
                    <a:pt x="582" y="1552"/>
                  </a:lnTo>
                  <a:lnTo>
                    <a:pt x="588" y="1550"/>
                  </a:lnTo>
                  <a:lnTo>
                    <a:pt x="589" y="1550"/>
                  </a:lnTo>
                  <a:lnTo>
                    <a:pt x="592" y="1549"/>
                  </a:lnTo>
                  <a:lnTo>
                    <a:pt x="592" y="1547"/>
                  </a:lnTo>
                  <a:lnTo>
                    <a:pt x="592" y="1546"/>
                  </a:lnTo>
                  <a:lnTo>
                    <a:pt x="592" y="1546"/>
                  </a:lnTo>
                  <a:close/>
                  <a:moveTo>
                    <a:pt x="572" y="1468"/>
                  </a:moveTo>
                  <a:lnTo>
                    <a:pt x="567" y="1471"/>
                  </a:lnTo>
                  <a:lnTo>
                    <a:pt x="565" y="1474"/>
                  </a:lnTo>
                  <a:lnTo>
                    <a:pt x="563" y="1476"/>
                  </a:lnTo>
                  <a:lnTo>
                    <a:pt x="563" y="1477"/>
                  </a:lnTo>
                  <a:lnTo>
                    <a:pt x="565" y="1477"/>
                  </a:lnTo>
                  <a:lnTo>
                    <a:pt x="566" y="1478"/>
                  </a:lnTo>
                  <a:lnTo>
                    <a:pt x="567" y="1477"/>
                  </a:lnTo>
                  <a:lnTo>
                    <a:pt x="567" y="1474"/>
                  </a:lnTo>
                  <a:lnTo>
                    <a:pt x="570" y="1473"/>
                  </a:lnTo>
                  <a:lnTo>
                    <a:pt x="573" y="1471"/>
                  </a:lnTo>
                  <a:lnTo>
                    <a:pt x="575" y="1473"/>
                  </a:lnTo>
                  <a:lnTo>
                    <a:pt x="578" y="1473"/>
                  </a:lnTo>
                  <a:lnTo>
                    <a:pt x="579" y="1471"/>
                  </a:lnTo>
                  <a:lnTo>
                    <a:pt x="576" y="1468"/>
                  </a:lnTo>
                  <a:lnTo>
                    <a:pt x="572" y="1468"/>
                  </a:lnTo>
                  <a:lnTo>
                    <a:pt x="572" y="1468"/>
                  </a:lnTo>
                  <a:close/>
                  <a:moveTo>
                    <a:pt x="586" y="1476"/>
                  </a:moveTo>
                  <a:lnTo>
                    <a:pt x="580" y="1478"/>
                  </a:lnTo>
                  <a:lnTo>
                    <a:pt x="578" y="1481"/>
                  </a:lnTo>
                  <a:lnTo>
                    <a:pt x="576" y="1486"/>
                  </a:lnTo>
                  <a:lnTo>
                    <a:pt x="578" y="1488"/>
                  </a:lnTo>
                  <a:lnTo>
                    <a:pt x="580" y="1491"/>
                  </a:lnTo>
                  <a:lnTo>
                    <a:pt x="583" y="1494"/>
                  </a:lnTo>
                  <a:lnTo>
                    <a:pt x="586" y="1496"/>
                  </a:lnTo>
                  <a:lnTo>
                    <a:pt x="589" y="1496"/>
                  </a:lnTo>
                  <a:lnTo>
                    <a:pt x="589" y="1494"/>
                  </a:lnTo>
                  <a:lnTo>
                    <a:pt x="589" y="1493"/>
                  </a:lnTo>
                  <a:lnTo>
                    <a:pt x="592" y="1488"/>
                  </a:lnTo>
                  <a:lnTo>
                    <a:pt x="593" y="1488"/>
                  </a:lnTo>
                  <a:lnTo>
                    <a:pt x="598" y="1488"/>
                  </a:lnTo>
                  <a:lnTo>
                    <a:pt x="600" y="1488"/>
                  </a:lnTo>
                  <a:lnTo>
                    <a:pt x="600" y="1487"/>
                  </a:lnTo>
                  <a:lnTo>
                    <a:pt x="600" y="1486"/>
                  </a:lnTo>
                  <a:lnTo>
                    <a:pt x="600" y="1484"/>
                  </a:lnTo>
                  <a:lnTo>
                    <a:pt x="598" y="1483"/>
                  </a:lnTo>
                  <a:lnTo>
                    <a:pt x="596" y="1480"/>
                  </a:lnTo>
                  <a:lnTo>
                    <a:pt x="595" y="1477"/>
                  </a:lnTo>
                  <a:lnTo>
                    <a:pt x="592" y="1476"/>
                  </a:lnTo>
                  <a:lnTo>
                    <a:pt x="589" y="1476"/>
                  </a:lnTo>
                  <a:lnTo>
                    <a:pt x="586" y="1476"/>
                  </a:lnTo>
                  <a:lnTo>
                    <a:pt x="586" y="1476"/>
                  </a:lnTo>
                  <a:close/>
                  <a:moveTo>
                    <a:pt x="593" y="1500"/>
                  </a:moveTo>
                  <a:lnTo>
                    <a:pt x="589" y="1499"/>
                  </a:lnTo>
                  <a:lnTo>
                    <a:pt x="583" y="1499"/>
                  </a:lnTo>
                  <a:lnTo>
                    <a:pt x="578" y="1497"/>
                  </a:lnTo>
                  <a:lnTo>
                    <a:pt x="575" y="1499"/>
                  </a:lnTo>
                  <a:lnTo>
                    <a:pt x="575" y="1500"/>
                  </a:lnTo>
                  <a:lnTo>
                    <a:pt x="576" y="1500"/>
                  </a:lnTo>
                  <a:lnTo>
                    <a:pt x="580" y="1501"/>
                  </a:lnTo>
                  <a:lnTo>
                    <a:pt x="583" y="1503"/>
                  </a:lnTo>
                  <a:lnTo>
                    <a:pt x="588" y="1504"/>
                  </a:lnTo>
                  <a:lnTo>
                    <a:pt x="592" y="1506"/>
                  </a:lnTo>
                  <a:lnTo>
                    <a:pt x="593" y="1506"/>
                  </a:lnTo>
                  <a:lnTo>
                    <a:pt x="595" y="1504"/>
                  </a:lnTo>
                  <a:lnTo>
                    <a:pt x="595" y="1503"/>
                  </a:lnTo>
                  <a:lnTo>
                    <a:pt x="593" y="1500"/>
                  </a:lnTo>
                  <a:lnTo>
                    <a:pt x="593" y="1500"/>
                  </a:lnTo>
                  <a:close/>
                  <a:moveTo>
                    <a:pt x="547" y="1481"/>
                  </a:moveTo>
                  <a:lnTo>
                    <a:pt x="545" y="1481"/>
                  </a:lnTo>
                  <a:lnTo>
                    <a:pt x="542" y="1483"/>
                  </a:lnTo>
                  <a:lnTo>
                    <a:pt x="542" y="1484"/>
                  </a:lnTo>
                  <a:lnTo>
                    <a:pt x="542" y="1486"/>
                  </a:lnTo>
                  <a:lnTo>
                    <a:pt x="543" y="1488"/>
                  </a:lnTo>
                  <a:lnTo>
                    <a:pt x="546" y="1490"/>
                  </a:lnTo>
                  <a:lnTo>
                    <a:pt x="549" y="1491"/>
                  </a:lnTo>
                  <a:lnTo>
                    <a:pt x="553" y="1493"/>
                  </a:lnTo>
                  <a:lnTo>
                    <a:pt x="555" y="1494"/>
                  </a:lnTo>
                  <a:lnTo>
                    <a:pt x="557" y="1497"/>
                  </a:lnTo>
                  <a:lnTo>
                    <a:pt x="559" y="1497"/>
                  </a:lnTo>
                  <a:lnTo>
                    <a:pt x="559" y="1494"/>
                  </a:lnTo>
                  <a:lnTo>
                    <a:pt x="559" y="1494"/>
                  </a:lnTo>
                  <a:lnTo>
                    <a:pt x="555" y="1490"/>
                  </a:lnTo>
                  <a:lnTo>
                    <a:pt x="552" y="1488"/>
                  </a:lnTo>
                  <a:lnTo>
                    <a:pt x="550" y="1487"/>
                  </a:lnTo>
                  <a:lnTo>
                    <a:pt x="547" y="1486"/>
                  </a:lnTo>
                  <a:lnTo>
                    <a:pt x="547" y="1484"/>
                  </a:lnTo>
                  <a:lnTo>
                    <a:pt x="552" y="1486"/>
                  </a:lnTo>
                  <a:lnTo>
                    <a:pt x="556" y="1486"/>
                  </a:lnTo>
                  <a:lnTo>
                    <a:pt x="557" y="1486"/>
                  </a:lnTo>
                  <a:lnTo>
                    <a:pt x="560" y="1487"/>
                  </a:lnTo>
                  <a:lnTo>
                    <a:pt x="560" y="1487"/>
                  </a:lnTo>
                  <a:lnTo>
                    <a:pt x="563" y="1488"/>
                  </a:lnTo>
                  <a:lnTo>
                    <a:pt x="565" y="1487"/>
                  </a:lnTo>
                  <a:lnTo>
                    <a:pt x="567" y="1486"/>
                  </a:lnTo>
                  <a:lnTo>
                    <a:pt x="567" y="1486"/>
                  </a:lnTo>
                  <a:lnTo>
                    <a:pt x="569" y="1483"/>
                  </a:lnTo>
                  <a:lnTo>
                    <a:pt x="569" y="1481"/>
                  </a:lnTo>
                  <a:lnTo>
                    <a:pt x="567" y="1480"/>
                  </a:lnTo>
                  <a:lnTo>
                    <a:pt x="566" y="1483"/>
                  </a:lnTo>
                  <a:lnTo>
                    <a:pt x="563" y="1483"/>
                  </a:lnTo>
                  <a:lnTo>
                    <a:pt x="563" y="1481"/>
                  </a:lnTo>
                  <a:lnTo>
                    <a:pt x="560" y="1481"/>
                  </a:lnTo>
                  <a:lnTo>
                    <a:pt x="557" y="1481"/>
                  </a:lnTo>
                  <a:lnTo>
                    <a:pt x="555" y="1481"/>
                  </a:lnTo>
                  <a:lnTo>
                    <a:pt x="553" y="1480"/>
                  </a:lnTo>
                  <a:lnTo>
                    <a:pt x="552" y="1478"/>
                  </a:lnTo>
                  <a:lnTo>
                    <a:pt x="550" y="1478"/>
                  </a:lnTo>
                  <a:lnTo>
                    <a:pt x="550" y="1480"/>
                  </a:lnTo>
                  <a:lnTo>
                    <a:pt x="549" y="1480"/>
                  </a:lnTo>
                  <a:lnTo>
                    <a:pt x="547" y="1481"/>
                  </a:lnTo>
                  <a:lnTo>
                    <a:pt x="547" y="1481"/>
                  </a:lnTo>
                  <a:close/>
                  <a:moveTo>
                    <a:pt x="622" y="1486"/>
                  </a:moveTo>
                  <a:lnTo>
                    <a:pt x="618" y="1480"/>
                  </a:lnTo>
                  <a:lnTo>
                    <a:pt x="616" y="1478"/>
                  </a:lnTo>
                  <a:lnTo>
                    <a:pt x="613" y="1478"/>
                  </a:lnTo>
                  <a:lnTo>
                    <a:pt x="609" y="1478"/>
                  </a:lnTo>
                  <a:lnTo>
                    <a:pt x="606" y="1480"/>
                  </a:lnTo>
                  <a:lnTo>
                    <a:pt x="605" y="1483"/>
                  </a:lnTo>
                  <a:lnTo>
                    <a:pt x="603" y="1487"/>
                  </a:lnTo>
                  <a:lnTo>
                    <a:pt x="603" y="1490"/>
                  </a:lnTo>
                  <a:lnTo>
                    <a:pt x="600" y="1491"/>
                  </a:lnTo>
                  <a:lnTo>
                    <a:pt x="599" y="1493"/>
                  </a:lnTo>
                  <a:lnTo>
                    <a:pt x="598" y="1494"/>
                  </a:lnTo>
                  <a:lnTo>
                    <a:pt x="598" y="1497"/>
                  </a:lnTo>
                  <a:lnTo>
                    <a:pt x="600" y="1499"/>
                  </a:lnTo>
                  <a:lnTo>
                    <a:pt x="603" y="1500"/>
                  </a:lnTo>
                  <a:lnTo>
                    <a:pt x="606" y="1499"/>
                  </a:lnTo>
                  <a:lnTo>
                    <a:pt x="608" y="1497"/>
                  </a:lnTo>
                  <a:lnTo>
                    <a:pt x="612" y="1497"/>
                  </a:lnTo>
                  <a:lnTo>
                    <a:pt x="613" y="1497"/>
                  </a:lnTo>
                  <a:lnTo>
                    <a:pt x="615" y="1497"/>
                  </a:lnTo>
                  <a:lnTo>
                    <a:pt x="616" y="1494"/>
                  </a:lnTo>
                  <a:lnTo>
                    <a:pt x="613" y="1491"/>
                  </a:lnTo>
                  <a:lnTo>
                    <a:pt x="613" y="1488"/>
                  </a:lnTo>
                  <a:lnTo>
                    <a:pt x="615" y="1488"/>
                  </a:lnTo>
                  <a:lnTo>
                    <a:pt x="616" y="1490"/>
                  </a:lnTo>
                  <a:lnTo>
                    <a:pt x="618" y="1491"/>
                  </a:lnTo>
                  <a:lnTo>
                    <a:pt x="619" y="1493"/>
                  </a:lnTo>
                  <a:lnTo>
                    <a:pt x="619" y="1494"/>
                  </a:lnTo>
                  <a:lnTo>
                    <a:pt x="618" y="1497"/>
                  </a:lnTo>
                  <a:lnTo>
                    <a:pt x="619" y="1499"/>
                  </a:lnTo>
                  <a:lnTo>
                    <a:pt x="620" y="1497"/>
                  </a:lnTo>
                  <a:lnTo>
                    <a:pt x="622" y="1496"/>
                  </a:lnTo>
                  <a:lnTo>
                    <a:pt x="622" y="1493"/>
                  </a:lnTo>
                  <a:lnTo>
                    <a:pt x="623" y="1490"/>
                  </a:lnTo>
                  <a:lnTo>
                    <a:pt x="622" y="1486"/>
                  </a:lnTo>
                  <a:lnTo>
                    <a:pt x="622" y="1486"/>
                  </a:lnTo>
                  <a:close/>
                  <a:moveTo>
                    <a:pt x="623" y="1477"/>
                  </a:moveTo>
                  <a:lnTo>
                    <a:pt x="620" y="1476"/>
                  </a:lnTo>
                  <a:lnTo>
                    <a:pt x="619" y="1477"/>
                  </a:lnTo>
                  <a:lnTo>
                    <a:pt x="619" y="1478"/>
                  </a:lnTo>
                  <a:lnTo>
                    <a:pt x="620" y="1480"/>
                  </a:lnTo>
                  <a:lnTo>
                    <a:pt x="622" y="1480"/>
                  </a:lnTo>
                  <a:lnTo>
                    <a:pt x="623" y="1480"/>
                  </a:lnTo>
                  <a:lnTo>
                    <a:pt x="623" y="1477"/>
                  </a:lnTo>
                  <a:lnTo>
                    <a:pt x="623" y="1477"/>
                  </a:lnTo>
                  <a:lnTo>
                    <a:pt x="623" y="1477"/>
                  </a:lnTo>
                  <a:close/>
                  <a:moveTo>
                    <a:pt x="225" y="1653"/>
                  </a:moveTo>
                  <a:lnTo>
                    <a:pt x="217" y="1659"/>
                  </a:lnTo>
                  <a:lnTo>
                    <a:pt x="207" y="1665"/>
                  </a:lnTo>
                  <a:lnTo>
                    <a:pt x="202" y="1669"/>
                  </a:lnTo>
                  <a:lnTo>
                    <a:pt x="199" y="1673"/>
                  </a:lnTo>
                  <a:lnTo>
                    <a:pt x="199" y="1676"/>
                  </a:lnTo>
                  <a:lnTo>
                    <a:pt x="202" y="1680"/>
                  </a:lnTo>
                  <a:lnTo>
                    <a:pt x="207" y="1685"/>
                  </a:lnTo>
                  <a:lnTo>
                    <a:pt x="209" y="1690"/>
                  </a:lnTo>
                  <a:lnTo>
                    <a:pt x="212" y="1695"/>
                  </a:lnTo>
                  <a:lnTo>
                    <a:pt x="215" y="1698"/>
                  </a:lnTo>
                  <a:lnTo>
                    <a:pt x="221" y="1699"/>
                  </a:lnTo>
                  <a:lnTo>
                    <a:pt x="227" y="1703"/>
                  </a:lnTo>
                  <a:lnTo>
                    <a:pt x="231" y="1705"/>
                  </a:lnTo>
                  <a:lnTo>
                    <a:pt x="237" y="1706"/>
                  </a:lnTo>
                  <a:lnTo>
                    <a:pt x="240" y="1705"/>
                  </a:lnTo>
                  <a:lnTo>
                    <a:pt x="241" y="1702"/>
                  </a:lnTo>
                  <a:lnTo>
                    <a:pt x="242" y="1696"/>
                  </a:lnTo>
                  <a:lnTo>
                    <a:pt x="242" y="1689"/>
                  </a:lnTo>
                  <a:lnTo>
                    <a:pt x="245" y="1683"/>
                  </a:lnTo>
                  <a:lnTo>
                    <a:pt x="247" y="1676"/>
                  </a:lnTo>
                  <a:lnTo>
                    <a:pt x="247" y="1676"/>
                  </a:lnTo>
                  <a:lnTo>
                    <a:pt x="250" y="1673"/>
                  </a:lnTo>
                  <a:lnTo>
                    <a:pt x="250" y="1668"/>
                  </a:lnTo>
                  <a:lnTo>
                    <a:pt x="245" y="1650"/>
                  </a:lnTo>
                  <a:lnTo>
                    <a:pt x="244" y="1643"/>
                  </a:lnTo>
                  <a:lnTo>
                    <a:pt x="241" y="1642"/>
                  </a:lnTo>
                  <a:lnTo>
                    <a:pt x="238" y="1642"/>
                  </a:lnTo>
                  <a:lnTo>
                    <a:pt x="235" y="1643"/>
                  </a:lnTo>
                  <a:lnTo>
                    <a:pt x="232" y="1647"/>
                  </a:lnTo>
                  <a:lnTo>
                    <a:pt x="225" y="1653"/>
                  </a:lnTo>
                  <a:lnTo>
                    <a:pt x="225" y="1653"/>
                  </a:lnTo>
                  <a:close/>
                  <a:moveTo>
                    <a:pt x="234" y="1609"/>
                  </a:moveTo>
                  <a:lnTo>
                    <a:pt x="231" y="1612"/>
                  </a:lnTo>
                  <a:lnTo>
                    <a:pt x="228" y="1616"/>
                  </a:lnTo>
                  <a:lnTo>
                    <a:pt x="228" y="1619"/>
                  </a:lnTo>
                  <a:lnTo>
                    <a:pt x="229" y="1619"/>
                  </a:lnTo>
                  <a:lnTo>
                    <a:pt x="231" y="1619"/>
                  </a:lnTo>
                  <a:lnTo>
                    <a:pt x="232" y="1615"/>
                  </a:lnTo>
                  <a:lnTo>
                    <a:pt x="234" y="1613"/>
                  </a:lnTo>
                  <a:lnTo>
                    <a:pt x="237" y="1613"/>
                  </a:lnTo>
                  <a:lnTo>
                    <a:pt x="240" y="1613"/>
                  </a:lnTo>
                  <a:lnTo>
                    <a:pt x="241" y="1612"/>
                  </a:lnTo>
                  <a:lnTo>
                    <a:pt x="241" y="1610"/>
                  </a:lnTo>
                  <a:lnTo>
                    <a:pt x="238" y="1609"/>
                  </a:lnTo>
                  <a:lnTo>
                    <a:pt x="234" y="1609"/>
                  </a:lnTo>
                  <a:lnTo>
                    <a:pt x="234" y="1609"/>
                  </a:lnTo>
                  <a:close/>
                  <a:moveTo>
                    <a:pt x="1105" y="1246"/>
                  </a:moveTo>
                  <a:lnTo>
                    <a:pt x="1102" y="1246"/>
                  </a:lnTo>
                  <a:lnTo>
                    <a:pt x="1097" y="1248"/>
                  </a:lnTo>
                  <a:lnTo>
                    <a:pt x="1097" y="1248"/>
                  </a:lnTo>
                  <a:lnTo>
                    <a:pt x="1097" y="1249"/>
                  </a:lnTo>
                  <a:lnTo>
                    <a:pt x="1099" y="1249"/>
                  </a:lnTo>
                  <a:lnTo>
                    <a:pt x="1103" y="1251"/>
                  </a:lnTo>
                  <a:lnTo>
                    <a:pt x="1106" y="1252"/>
                  </a:lnTo>
                  <a:lnTo>
                    <a:pt x="1107" y="1252"/>
                  </a:lnTo>
                  <a:lnTo>
                    <a:pt x="1107" y="1255"/>
                  </a:lnTo>
                  <a:lnTo>
                    <a:pt x="1109" y="1255"/>
                  </a:lnTo>
                  <a:lnTo>
                    <a:pt x="1109" y="1255"/>
                  </a:lnTo>
                  <a:lnTo>
                    <a:pt x="1110" y="1252"/>
                  </a:lnTo>
                  <a:lnTo>
                    <a:pt x="1112" y="1251"/>
                  </a:lnTo>
                  <a:lnTo>
                    <a:pt x="1113" y="1249"/>
                  </a:lnTo>
                  <a:lnTo>
                    <a:pt x="1113" y="1248"/>
                  </a:lnTo>
                  <a:lnTo>
                    <a:pt x="1112" y="1248"/>
                  </a:lnTo>
                  <a:lnTo>
                    <a:pt x="1110" y="1246"/>
                  </a:lnTo>
                  <a:lnTo>
                    <a:pt x="1107" y="1246"/>
                  </a:lnTo>
                  <a:lnTo>
                    <a:pt x="1106" y="1246"/>
                  </a:lnTo>
                  <a:lnTo>
                    <a:pt x="1105" y="1248"/>
                  </a:lnTo>
                  <a:lnTo>
                    <a:pt x="1105" y="1246"/>
                  </a:lnTo>
                  <a:lnTo>
                    <a:pt x="1105" y="1246"/>
                  </a:lnTo>
                  <a:close/>
                  <a:moveTo>
                    <a:pt x="1086" y="1245"/>
                  </a:moveTo>
                  <a:lnTo>
                    <a:pt x="1085" y="1245"/>
                  </a:lnTo>
                  <a:lnTo>
                    <a:pt x="1083" y="1246"/>
                  </a:lnTo>
                  <a:lnTo>
                    <a:pt x="1085" y="1248"/>
                  </a:lnTo>
                  <a:lnTo>
                    <a:pt x="1086" y="1248"/>
                  </a:lnTo>
                  <a:lnTo>
                    <a:pt x="1089" y="1249"/>
                  </a:lnTo>
                  <a:lnTo>
                    <a:pt x="1090" y="1248"/>
                  </a:lnTo>
                  <a:lnTo>
                    <a:pt x="1090" y="1246"/>
                  </a:lnTo>
                  <a:lnTo>
                    <a:pt x="1090" y="1245"/>
                  </a:lnTo>
                  <a:lnTo>
                    <a:pt x="1089" y="1245"/>
                  </a:lnTo>
                  <a:lnTo>
                    <a:pt x="1086" y="1245"/>
                  </a:lnTo>
                  <a:lnTo>
                    <a:pt x="1086" y="1245"/>
                  </a:lnTo>
                  <a:close/>
                  <a:moveTo>
                    <a:pt x="1102" y="1266"/>
                  </a:moveTo>
                  <a:lnTo>
                    <a:pt x="1102" y="1271"/>
                  </a:lnTo>
                  <a:lnTo>
                    <a:pt x="1102" y="1279"/>
                  </a:lnTo>
                  <a:lnTo>
                    <a:pt x="1102" y="1282"/>
                  </a:lnTo>
                  <a:lnTo>
                    <a:pt x="1102" y="1284"/>
                  </a:lnTo>
                  <a:lnTo>
                    <a:pt x="1103" y="1282"/>
                  </a:lnTo>
                  <a:lnTo>
                    <a:pt x="1105" y="1281"/>
                  </a:lnTo>
                  <a:lnTo>
                    <a:pt x="1105" y="1278"/>
                  </a:lnTo>
                  <a:lnTo>
                    <a:pt x="1105" y="1274"/>
                  </a:lnTo>
                  <a:lnTo>
                    <a:pt x="1105" y="1271"/>
                  </a:lnTo>
                  <a:lnTo>
                    <a:pt x="1106" y="1269"/>
                  </a:lnTo>
                  <a:lnTo>
                    <a:pt x="1107" y="1269"/>
                  </a:lnTo>
                  <a:lnTo>
                    <a:pt x="1107" y="1268"/>
                  </a:lnTo>
                  <a:lnTo>
                    <a:pt x="1109" y="1266"/>
                  </a:lnTo>
                  <a:lnTo>
                    <a:pt x="1109" y="1265"/>
                  </a:lnTo>
                  <a:lnTo>
                    <a:pt x="1107" y="1262"/>
                  </a:lnTo>
                  <a:lnTo>
                    <a:pt x="1105" y="1258"/>
                  </a:lnTo>
                  <a:lnTo>
                    <a:pt x="1102" y="1258"/>
                  </a:lnTo>
                  <a:lnTo>
                    <a:pt x="1102" y="1259"/>
                  </a:lnTo>
                  <a:lnTo>
                    <a:pt x="1102" y="1264"/>
                  </a:lnTo>
                  <a:lnTo>
                    <a:pt x="1102" y="1266"/>
                  </a:lnTo>
                  <a:lnTo>
                    <a:pt x="1102" y="1266"/>
                  </a:lnTo>
                  <a:close/>
                  <a:moveTo>
                    <a:pt x="1043" y="1269"/>
                  </a:moveTo>
                  <a:lnTo>
                    <a:pt x="1040" y="1272"/>
                  </a:lnTo>
                  <a:lnTo>
                    <a:pt x="1039" y="1274"/>
                  </a:lnTo>
                  <a:lnTo>
                    <a:pt x="1039" y="1275"/>
                  </a:lnTo>
                  <a:lnTo>
                    <a:pt x="1040" y="1278"/>
                  </a:lnTo>
                  <a:lnTo>
                    <a:pt x="1043" y="1278"/>
                  </a:lnTo>
                  <a:lnTo>
                    <a:pt x="1046" y="1278"/>
                  </a:lnTo>
                  <a:lnTo>
                    <a:pt x="1047" y="1278"/>
                  </a:lnTo>
                  <a:lnTo>
                    <a:pt x="1047" y="1277"/>
                  </a:lnTo>
                  <a:lnTo>
                    <a:pt x="1047" y="1275"/>
                  </a:lnTo>
                  <a:lnTo>
                    <a:pt x="1047" y="1275"/>
                  </a:lnTo>
                  <a:lnTo>
                    <a:pt x="1044" y="1274"/>
                  </a:lnTo>
                  <a:lnTo>
                    <a:pt x="1044" y="1274"/>
                  </a:lnTo>
                  <a:lnTo>
                    <a:pt x="1046" y="1272"/>
                  </a:lnTo>
                  <a:lnTo>
                    <a:pt x="1046" y="1271"/>
                  </a:lnTo>
                  <a:lnTo>
                    <a:pt x="1047" y="1269"/>
                  </a:lnTo>
                  <a:lnTo>
                    <a:pt x="1047" y="1268"/>
                  </a:lnTo>
                  <a:lnTo>
                    <a:pt x="1046" y="1266"/>
                  </a:lnTo>
                  <a:lnTo>
                    <a:pt x="1044" y="1268"/>
                  </a:lnTo>
                  <a:lnTo>
                    <a:pt x="1043" y="1269"/>
                  </a:lnTo>
                  <a:lnTo>
                    <a:pt x="1043" y="1269"/>
                  </a:lnTo>
                  <a:close/>
                  <a:moveTo>
                    <a:pt x="1032" y="1261"/>
                  </a:moveTo>
                  <a:lnTo>
                    <a:pt x="1032" y="1262"/>
                  </a:lnTo>
                  <a:lnTo>
                    <a:pt x="1032" y="1264"/>
                  </a:lnTo>
                  <a:lnTo>
                    <a:pt x="1030" y="1265"/>
                  </a:lnTo>
                  <a:lnTo>
                    <a:pt x="1029" y="1265"/>
                  </a:lnTo>
                  <a:lnTo>
                    <a:pt x="1027" y="1265"/>
                  </a:lnTo>
                  <a:lnTo>
                    <a:pt x="1026" y="1264"/>
                  </a:lnTo>
                  <a:lnTo>
                    <a:pt x="1024" y="1264"/>
                  </a:lnTo>
                  <a:lnTo>
                    <a:pt x="1023" y="1262"/>
                  </a:lnTo>
                  <a:lnTo>
                    <a:pt x="1021" y="1264"/>
                  </a:lnTo>
                  <a:lnTo>
                    <a:pt x="1019" y="1264"/>
                  </a:lnTo>
                  <a:lnTo>
                    <a:pt x="1019" y="1264"/>
                  </a:lnTo>
                  <a:lnTo>
                    <a:pt x="1017" y="1264"/>
                  </a:lnTo>
                  <a:lnTo>
                    <a:pt x="1017" y="1265"/>
                  </a:lnTo>
                  <a:lnTo>
                    <a:pt x="1016" y="1266"/>
                  </a:lnTo>
                  <a:lnTo>
                    <a:pt x="1016" y="1268"/>
                  </a:lnTo>
                  <a:lnTo>
                    <a:pt x="1016" y="1269"/>
                  </a:lnTo>
                  <a:lnTo>
                    <a:pt x="1017" y="1269"/>
                  </a:lnTo>
                  <a:lnTo>
                    <a:pt x="1019" y="1269"/>
                  </a:lnTo>
                  <a:lnTo>
                    <a:pt x="1020" y="1268"/>
                  </a:lnTo>
                  <a:lnTo>
                    <a:pt x="1021" y="1268"/>
                  </a:lnTo>
                  <a:lnTo>
                    <a:pt x="1024" y="1269"/>
                  </a:lnTo>
                  <a:lnTo>
                    <a:pt x="1027" y="1269"/>
                  </a:lnTo>
                  <a:lnTo>
                    <a:pt x="1029" y="1269"/>
                  </a:lnTo>
                  <a:lnTo>
                    <a:pt x="1030" y="1269"/>
                  </a:lnTo>
                  <a:lnTo>
                    <a:pt x="1032" y="1271"/>
                  </a:lnTo>
                  <a:lnTo>
                    <a:pt x="1033" y="1271"/>
                  </a:lnTo>
                  <a:lnTo>
                    <a:pt x="1034" y="1269"/>
                  </a:lnTo>
                  <a:lnTo>
                    <a:pt x="1034" y="1268"/>
                  </a:lnTo>
                  <a:lnTo>
                    <a:pt x="1036" y="1266"/>
                  </a:lnTo>
                  <a:lnTo>
                    <a:pt x="1036" y="1265"/>
                  </a:lnTo>
                  <a:lnTo>
                    <a:pt x="1034" y="1264"/>
                  </a:lnTo>
                  <a:lnTo>
                    <a:pt x="1034" y="1264"/>
                  </a:lnTo>
                  <a:lnTo>
                    <a:pt x="1034" y="1261"/>
                  </a:lnTo>
                  <a:lnTo>
                    <a:pt x="1034" y="1261"/>
                  </a:lnTo>
                  <a:lnTo>
                    <a:pt x="1037" y="1259"/>
                  </a:lnTo>
                  <a:lnTo>
                    <a:pt x="1039" y="1259"/>
                  </a:lnTo>
                  <a:lnTo>
                    <a:pt x="1039" y="1258"/>
                  </a:lnTo>
                  <a:lnTo>
                    <a:pt x="1042" y="1256"/>
                  </a:lnTo>
                  <a:lnTo>
                    <a:pt x="1042" y="1255"/>
                  </a:lnTo>
                  <a:lnTo>
                    <a:pt x="1039" y="1255"/>
                  </a:lnTo>
                  <a:lnTo>
                    <a:pt x="1037" y="1255"/>
                  </a:lnTo>
                  <a:lnTo>
                    <a:pt x="1037" y="1256"/>
                  </a:lnTo>
                  <a:lnTo>
                    <a:pt x="1036" y="1258"/>
                  </a:lnTo>
                  <a:lnTo>
                    <a:pt x="1036" y="1258"/>
                  </a:lnTo>
                  <a:lnTo>
                    <a:pt x="1033" y="1258"/>
                  </a:lnTo>
                  <a:lnTo>
                    <a:pt x="1032" y="1259"/>
                  </a:lnTo>
                  <a:lnTo>
                    <a:pt x="1032" y="1261"/>
                  </a:lnTo>
                  <a:lnTo>
                    <a:pt x="1032" y="1261"/>
                  </a:lnTo>
                  <a:close/>
                  <a:moveTo>
                    <a:pt x="1116" y="1258"/>
                  </a:moveTo>
                  <a:lnTo>
                    <a:pt x="1113" y="1265"/>
                  </a:lnTo>
                  <a:lnTo>
                    <a:pt x="1110" y="1271"/>
                  </a:lnTo>
                  <a:lnTo>
                    <a:pt x="1110" y="1272"/>
                  </a:lnTo>
                  <a:lnTo>
                    <a:pt x="1109" y="1274"/>
                  </a:lnTo>
                  <a:lnTo>
                    <a:pt x="1109" y="1275"/>
                  </a:lnTo>
                  <a:lnTo>
                    <a:pt x="1110" y="1278"/>
                  </a:lnTo>
                  <a:lnTo>
                    <a:pt x="1112" y="1279"/>
                  </a:lnTo>
                  <a:lnTo>
                    <a:pt x="1113" y="1279"/>
                  </a:lnTo>
                  <a:lnTo>
                    <a:pt x="1115" y="1278"/>
                  </a:lnTo>
                  <a:lnTo>
                    <a:pt x="1116" y="1275"/>
                  </a:lnTo>
                  <a:lnTo>
                    <a:pt x="1119" y="1272"/>
                  </a:lnTo>
                  <a:lnTo>
                    <a:pt x="1122" y="1269"/>
                  </a:lnTo>
                  <a:lnTo>
                    <a:pt x="1125" y="1269"/>
                  </a:lnTo>
                  <a:lnTo>
                    <a:pt x="1126" y="1268"/>
                  </a:lnTo>
                  <a:lnTo>
                    <a:pt x="1126" y="1266"/>
                  </a:lnTo>
                  <a:lnTo>
                    <a:pt x="1125" y="1265"/>
                  </a:lnTo>
                  <a:lnTo>
                    <a:pt x="1123" y="1265"/>
                  </a:lnTo>
                  <a:lnTo>
                    <a:pt x="1120" y="1264"/>
                  </a:lnTo>
                  <a:lnTo>
                    <a:pt x="1119" y="1264"/>
                  </a:lnTo>
                  <a:lnTo>
                    <a:pt x="1117" y="1266"/>
                  </a:lnTo>
                  <a:lnTo>
                    <a:pt x="1115" y="1271"/>
                  </a:lnTo>
                  <a:lnTo>
                    <a:pt x="1115" y="1272"/>
                  </a:lnTo>
                  <a:lnTo>
                    <a:pt x="1113" y="1272"/>
                  </a:lnTo>
                  <a:lnTo>
                    <a:pt x="1113" y="1269"/>
                  </a:lnTo>
                  <a:lnTo>
                    <a:pt x="1119" y="1261"/>
                  </a:lnTo>
                  <a:lnTo>
                    <a:pt x="1120" y="1259"/>
                  </a:lnTo>
                  <a:lnTo>
                    <a:pt x="1122" y="1259"/>
                  </a:lnTo>
                  <a:lnTo>
                    <a:pt x="1122" y="1261"/>
                  </a:lnTo>
                  <a:lnTo>
                    <a:pt x="1122" y="1262"/>
                  </a:lnTo>
                  <a:lnTo>
                    <a:pt x="1123" y="1259"/>
                  </a:lnTo>
                  <a:lnTo>
                    <a:pt x="1126" y="1258"/>
                  </a:lnTo>
                  <a:lnTo>
                    <a:pt x="1126" y="1256"/>
                  </a:lnTo>
                  <a:lnTo>
                    <a:pt x="1127" y="1256"/>
                  </a:lnTo>
                  <a:lnTo>
                    <a:pt x="1126" y="1254"/>
                  </a:lnTo>
                  <a:lnTo>
                    <a:pt x="1126" y="1254"/>
                  </a:lnTo>
                  <a:lnTo>
                    <a:pt x="1126" y="1252"/>
                  </a:lnTo>
                  <a:lnTo>
                    <a:pt x="1126" y="1251"/>
                  </a:lnTo>
                  <a:lnTo>
                    <a:pt x="1125" y="1249"/>
                  </a:lnTo>
                  <a:lnTo>
                    <a:pt x="1122" y="1249"/>
                  </a:lnTo>
                  <a:lnTo>
                    <a:pt x="1120" y="1249"/>
                  </a:lnTo>
                  <a:lnTo>
                    <a:pt x="1119" y="1246"/>
                  </a:lnTo>
                  <a:lnTo>
                    <a:pt x="1119" y="1245"/>
                  </a:lnTo>
                  <a:lnTo>
                    <a:pt x="1117" y="1245"/>
                  </a:lnTo>
                  <a:lnTo>
                    <a:pt x="1116" y="1246"/>
                  </a:lnTo>
                  <a:lnTo>
                    <a:pt x="1116" y="1248"/>
                  </a:lnTo>
                  <a:lnTo>
                    <a:pt x="1117" y="1249"/>
                  </a:lnTo>
                  <a:lnTo>
                    <a:pt x="1117" y="1251"/>
                  </a:lnTo>
                  <a:lnTo>
                    <a:pt x="1119" y="1252"/>
                  </a:lnTo>
                  <a:lnTo>
                    <a:pt x="1117" y="1255"/>
                  </a:lnTo>
                  <a:lnTo>
                    <a:pt x="1116" y="1258"/>
                  </a:lnTo>
                  <a:lnTo>
                    <a:pt x="1116" y="1258"/>
                  </a:lnTo>
                  <a:close/>
                  <a:moveTo>
                    <a:pt x="1083" y="1279"/>
                  </a:moveTo>
                  <a:lnTo>
                    <a:pt x="1086" y="1279"/>
                  </a:lnTo>
                  <a:lnTo>
                    <a:pt x="1089" y="1281"/>
                  </a:lnTo>
                  <a:lnTo>
                    <a:pt x="1090" y="1281"/>
                  </a:lnTo>
                  <a:lnTo>
                    <a:pt x="1090" y="1284"/>
                  </a:lnTo>
                  <a:lnTo>
                    <a:pt x="1090" y="1285"/>
                  </a:lnTo>
                  <a:lnTo>
                    <a:pt x="1092" y="1287"/>
                  </a:lnTo>
                  <a:lnTo>
                    <a:pt x="1092" y="1288"/>
                  </a:lnTo>
                  <a:lnTo>
                    <a:pt x="1095" y="1288"/>
                  </a:lnTo>
                  <a:lnTo>
                    <a:pt x="1095" y="1288"/>
                  </a:lnTo>
                  <a:lnTo>
                    <a:pt x="1096" y="1287"/>
                  </a:lnTo>
                  <a:lnTo>
                    <a:pt x="1095" y="1285"/>
                  </a:lnTo>
                  <a:lnTo>
                    <a:pt x="1095" y="1284"/>
                  </a:lnTo>
                  <a:lnTo>
                    <a:pt x="1096" y="1282"/>
                  </a:lnTo>
                  <a:lnTo>
                    <a:pt x="1097" y="1279"/>
                  </a:lnTo>
                  <a:lnTo>
                    <a:pt x="1097" y="1278"/>
                  </a:lnTo>
                  <a:lnTo>
                    <a:pt x="1097" y="1275"/>
                  </a:lnTo>
                  <a:lnTo>
                    <a:pt x="1095" y="1274"/>
                  </a:lnTo>
                  <a:lnTo>
                    <a:pt x="1095" y="1272"/>
                  </a:lnTo>
                  <a:lnTo>
                    <a:pt x="1093" y="1271"/>
                  </a:lnTo>
                  <a:lnTo>
                    <a:pt x="1090" y="1271"/>
                  </a:lnTo>
                  <a:lnTo>
                    <a:pt x="1090" y="1269"/>
                  </a:lnTo>
                  <a:lnTo>
                    <a:pt x="1092" y="1269"/>
                  </a:lnTo>
                  <a:lnTo>
                    <a:pt x="1093" y="1269"/>
                  </a:lnTo>
                  <a:lnTo>
                    <a:pt x="1095" y="1269"/>
                  </a:lnTo>
                  <a:lnTo>
                    <a:pt x="1096" y="1271"/>
                  </a:lnTo>
                  <a:lnTo>
                    <a:pt x="1097" y="1271"/>
                  </a:lnTo>
                  <a:lnTo>
                    <a:pt x="1097" y="1268"/>
                  </a:lnTo>
                  <a:lnTo>
                    <a:pt x="1095" y="1266"/>
                  </a:lnTo>
                  <a:lnTo>
                    <a:pt x="1096" y="1264"/>
                  </a:lnTo>
                  <a:lnTo>
                    <a:pt x="1096" y="1261"/>
                  </a:lnTo>
                  <a:lnTo>
                    <a:pt x="1096" y="1259"/>
                  </a:lnTo>
                  <a:lnTo>
                    <a:pt x="1097" y="1258"/>
                  </a:lnTo>
                  <a:lnTo>
                    <a:pt x="1099" y="1258"/>
                  </a:lnTo>
                  <a:lnTo>
                    <a:pt x="1099" y="1252"/>
                  </a:lnTo>
                  <a:lnTo>
                    <a:pt x="1096" y="1252"/>
                  </a:lnTo>
                  <a:lnTo>
                    <a:pt x="1096" y="1252"/>
                  </a:lnTo>
                  <a:lnTo>
                    <a:pt x="1093" y="1252"/>
                  </a:lnTo>
                  <a:lnTo>
                    <a:pt x="1093" y="1254"/>
                  </a:lnTo>
                  <a:lnTo>
                    <a:pt x="1090" y="1255"/>
                  </a:lnTo>
                  <a:lnTo>
                    <a:pt x="1089" y="1256"/>
                  </a:lnTo>
                  <a:lnTo>
                    <a:pt x="1087" y="1259"/>
                  </a:lnTo>
                  <a:lnTo>
                    <a:pt x="1087" y="1261"/>
                  </a:lnTo>
                  <a:lnTo>
                    <a:pt x="1086" y="1264"/>
                  </a:lnTo>
                  <a:lnTo>
                    <a:pt x="1085" y="1265"/>
                  </a:lnTo>
                  <a:lnTo>
                    <a:pt x="1083" y="1264"/>
                  </a:lnTo>
                  <a:lnTo>
                    <a:pt x="1085" y="1262"/>
                  </a:lnTo>
                  <a:lnTo>
                    <a:pt x="1085" y="1258"/>
                  </a:lnTo>
                  <a:lnTo>
                    <a:pt x="1085" y="1258"/>
                  </a:lnTo>
                  <a:lnTo>
                    <a:pt x="1085" y="1256"/>
                  </a:lnTo>
                  <a:lnTo>
                    <a:pt x="1083" y="1255"/>
                  </a:lnTo>
                  <a:lnTo>
                    <a:pt x="1080" y="1255"/>
                  </a:lnTo>
                  <a:lnTo>
                    <a:pt x="1079" y="1256"/>
                  </a:lnTo>
                  <a:lnTo>
                    <a:pt x="1077" y="1258"/>
                  </a:lnTo>
                  <a:lnTo>
                    <a:pt x="1077" y="1256"/>
                  </a:lnTo>
                  <a:lnTo>
                    <a:pt x="1077" y="1251"/>
                  </a:lnTo>
                  <a:lnTo>
                    <a:pt x="1077" y="1249"/>
                  </a:lnTo>
                  <a:lnTo>
                    <a:pt x="1076" y="1249"/>
                  </a:lnTo>
                  <a:lnTo>
                    <a:pt x="1073" y="1252"/>
                  </a:lnTo>
                  <a:lnTo>
                    <a:pt x="1072" y="1252"/>
                  </a:lnTo>
                  <a:lnTo>
                    <a:pt x="1070" y="1254"/>
                  </a:lnTo>
                  <a:lnTo>
                    <a:pt x="1069" y="1255"/>
                  </a:lnTo>
                  <a:lnTo>
                    <a:pt x="1067" y="1256"/>
                  </a:lnTo>
                  <a:lnTo>
                    <a:pt x="1066" y="1259"/>
                  </a:lnTo>
                  <a:lnTo>
                    <a:pt x="1066" y="1261"/>
                  </a:lnTo>
                  <a:lnTo>
                    <a:pt x="1064" y="1262"/>
                  </a:lnTo>
                  <a:lnTo>
                    <a:pt x="1062" y="1262"/>
                  </a:lnTo>
                  <a:lnTo>
                    <a:pt x="1062" y="1259"/>
                  </a:lnTo>
                  <a:lnTo>
                    <a:pt x="1063" y="1256"/>
                  </a:lnTo>
                  <a:lnTo>
                    <a:pt x="1062" y="1255"/>
                  </a:lnTo>
                  <a:lnTo>
                    <a:pt x="1059" y="1254"/>
                  </a:lnTo>
                  <a:lnTo>
                    <a:pt x="1056" y="1255"/>
                  </a:lnTo>
                  <a:lnTo>
                    <a:pt x="1054" y="1256"/>
                  </a:lnTo>
                  <a:lnTo>
                    <a:pt x="1053" y="1256"/>
                  </a:lnTo>
                  <a:lnTo>
                    <a:pt x="1054" y="1259"/>
                  </a:lnTo>
                  <a:lnTo>
                    <a:pt x="1056" y="1261"/>
                  </a:lnTo>
                  <a:lnTo>
                    <a:pt x="1054" y="1262"/>
                  </a:lnTo>
                  <a:lnTo>
                    <a:pt x="1053" y="1262"/>
                  </a:lnTo>
                  <a:lnTo>
                    <a:pt x="1052" y="1264"/>
                  </a:lnTo>
                  <a:lnTo>
                    <a:pt x="1053" y="1265"/>
                  </a:lnTo>
                  <a:lnTo>
                    <a:pt x="1056" y="1265"/>
                  </a:lnTo>
                  <a:lnTo>
                    <a:pt x="1057" y="1265"/>
                  </a:lnTo>
                  <a:lnTo>
                    <a:pt x="1059" y="1268"/>
                  </a:lnTo>
                  <a:lnTo>
                    <a:pt x="1060" y="1269"/>
                  </a:lnTo>
                  <a:lnTo>
                    <a:pt x="1060" y="1271"/>
                  </a:lnTo>
                  <a:lnTo>
                    <a:pt x="1062" y="1271"/>
                  </a:lnTo>
                  <a:lnTo>
                    <a:pt x="1064" y="1269"/>
                  </a:lnTo>
                  <a:lnTo>
                    <a:pt x="1067" y="1269"/>
                  </a:lnTo>
                  <a:lnTo>
                    <a:pt x="1069" y="1271"/>
                  </a:lnTo>
                  <a:lnTo>
                    <a:pt x="1069" y="1272"/>
                  </a:lnTo>
                  <a:lnTo>
                    <a:pt x="1069" y="1274"/>
                  </a:lnTo>
                  <a:lnTo>
                    <a:pt x="1067" y="1275"/>
                  </a:lnTo>
                  <a:lnTo>
                    <a:pt x="1066" y="1275"/>
                  </a:lnTo>
                  <a:lnTo>
                    <a:pt x="1066" y="1277"/>
                  </a:lnTo>
                  <a:lnTo>
                    <a:pt x="1067" y="1278"/>
                  </a:lnTo>
                  <a:lnTo>
                    <a:pt x="1070" y="1279"/>
                  </a:lnTo>
                  <a:lnTo>
                    <a:pt x="1076" y="1281"/>
                  </a:lnTo>
                  <a:lnTo>
                    <a:pt x="1080" y="1279"/>
                  </a:lnTo>
                  <a:lnTo>
                    <a:pt x="1083" y="1279"/>
                  </a:lnTo>
                  <a:lnTo>
                    <a:pt x="1083" y="1279"/>
                  </a:lnTo>
                  <a:close/>
                  <a:moveTo>
                    <a:pt x="1501" y="1047"/>
                  </a:moveTo>
                  <a:lnTo>
                    <a:pt x="1501" y="1045"/>
                  </a:lnTo>
                  <a:lnTo>
                    <a:pt x="1503" y="1043"/>
                  </a:lnTo>
                  <a:lnTo>
                    <a:pt x="1503" y="1040"/>
                  </a:lnTo>
                  <a:lnTo>
                    <a:pt x="1501" y="1040"/>
                  </a:lnTo>
                  <a:lnTo>
                    <a:pt x="1500" y="1042"/>
                  </a:lnTo>
                  <a:lnTo>
                    <a:pt x="1500" y="1042"/>
                  </a:lnTo>
                  <a:lnTo>
                    <a:pt x="1498" y="1042"/>
                  </a:lnTo>
                  <a:lnTo>
                    <a:pt x="1497" y="1042"/>
                  </a:lnTo>
                  <a:lnTo>
                    <a:pt x="1496" y="1040"/>
                  </a:lnTo>
                  <a:lnTo>
                    <a:pt x="1494" y="1042"/>
                  </a:lnTo>
                  <a:lnTo>
                    <a:pt x="1493" y="1043"/>
                  </a:lnTo>
                  <a:lnTo>
                    <a:pt x="1493" y="1045"/>
                  </a:lnTo>
                  <a:lnTo>
                    <a:pt x="1493" y="1046"/>
                  </a:lnTo>
                  <a:lnTo>
                    <a:pt x="1493" y="1047"/>
                  </a:lnTo>
                  <a:lnTo>
                    <a:pt x="1491" y="1047"/>
                  </a:lnTo>
                  <a:lnTo>
                    <a:pt x="1490" y="1049"/>
                  </a:lnTo>
                  <a:lnTo>
                    <a:pt x="1488" y="1050"/>
                  </a:lnTo>
                  <a:lnTo>
                    <a:pt x="1487" y="1059"/>
                  </a:lnTo>
                  <a:lnTo>
                    <a:pt x="1487" y="1059"/>
                  </a:lnTo>
                  <a:lnTo>
                    <a:pt x="1488" y="1060"/>
                  </a:lnTo>
                  <a:lnTo>
                    <a:pt x="1491" y="1057"/>
                  </a:lnTo>
                  <a:lnTo>
                    <a:pt x="1494" y="1057"/>
                  </a:lnTo>
                  <a:lnTo>
                    <a:pt x="1496" y="1057"/>
                  </a:lnTo>
                  <a:lnTo>
                    <a:pt x="1497" y="1056"/>
                  </a:lnTo>
                  <a:lnTo>
                    <a:pt x="1497" y="1055"/>
                  </a:lnTo>
                  <a:lnTo>
                    <a:pt x="1497" y="1050"/>
                  </a:lnTo>
                  <a:lnTo>
                    <a:pt x="1497" y="1049"/>
                  </a:lnTo>
                  <a:lnTo>
                    <a:pt x="1498" y="1049"/>
                  </a:lnTo>
                  <a:lnTo>
                    <a:pt x="1500" y="1050"/>
                  </a:lnTo>
                  <a:lnTo>
                    <a:pt x="1501" y="1049"/>
                  </a:lnTo>
                  <a:lnTo>
                    <a:pt x="1501" y="1047"/>
                  </a:lnTo>
                  <a:lnTo>
                    <a:pt x="1501" y="1047"/>
                  </a:lnTo>
                  <a:close/>
                  <a:moveTo>
                    <a:pt x="1536" y="1065"/>
                  </a:moveTo>
                  <a:lnTo>
                    <a:pt x="1536" y="1063"/>
                  </a:lnTo>
                  <a:lnTo>
                    <a:pt x="1536" y="1060"/>
                  </a:lnTo>
                  <a:lnTo>
                    <a:pt x="1534" y="1060"/>
                  </a:lnTo>
                  <a:lnTo>
                    <a:pt x="1533" y="1060"/>
                  </a:lnTo>
                  <a:lnTo>
                    <a:pt x="1530" y="1062"/>
                  </a:lnTo>
                  <a:lnTo>
                    <a:pt x="1530" y="1063"/>
                  </a:lnTo>
                  <a:lnTo>
                    <a:pt x="1528" y="1065"/>
                  </a:lnTo>
                  <a:lnTo>
                    <a:pt x="1527" y="1065"/>
                  </a:lnTo>
                  <a:lnTo>
                    <a:pt x="1526" y="1062"/>
                  </a:lnTo>
                  <a:lnTo>
                    <a:pt x="1524" y="1060"/>
                  </a:lnTo>
                  <a:lnTo>
                    <a:pt x="1521" y="1059"/>
                  </a:lnTo>
                  <a:lnTo>
                    <a:pt x="1520" y="1060"/>
                  </a:lnTo>
                  <a:lnTo>
                    <a:pt x="1518" y="1062"/>
                  </a:lnTo>
                  <a:lnTo>
                    <a:pt x="1518" y="1066"/>
                  </a:lnTo>
                  <a:lnTo>
                    <a:pt x="1518" y="1069"/>
                  </a:lnTo>
                  <a:lnTo>
                    <a:pt x="1518" y="1070"/>
                  </a:lnTo>
                  <a:lnTo>
                    <a:pt x="1520" y="1072"/>
                  </a:lnTo>
                  <a:lnTo>
                    <a:pt x="1521" y="1070"/>
                  </a:lnTo>
                  <a:lnTo>
                    <a:pt x="1524" y="1070"/>
                  </a:lnTo>
                  <a:lnTo>
                    <a:pt x="1524" y="1072"/>
                  </a:lnTo>
                  <a:lnTo>
                    <a:pt x="1524" y="1076"/>
                  </a:lnTo>
                  <a:lnTo>
                    <a:pt x="1521" y="1077"/>
                  </a:lnTo>
                  <a:lnTo>
                    <a:pt x="1520" y="1077"/>
                  </a:lnTo>
                  <a:lnTo>
                    <a:pt x="1518" y="1079"/>
                  </a:lnTo>
                  <a:lnTo>
                    <a:pt x="1518" y="1080"/>
                  </a:lnTo>
                  <a:lnTo>
                    <a:pt x="1517" y="1082"/>
                  </a:lnTo>
                  <a:lnTo>
                    <a:pt x="1517" y="1083"/>
                  </a:lnTo>
                  <a:lnTo>
                    <a:pt x="1517" y="1083"/>
                  </a:lnTo>
                  <a:lnTo>
                    <a:pt x="1520" y="1083"/>
                  </a:lnTo>
                  <a:lnTo>
                    <a:pt x="1524" y="1082"/>
                  </a:lnTo>
                  <a:lnTo>
                    <a:pt x="1530" y="1077"/>
                  </a:lnTo>
                  <a:lnTo>
                    <a:pt x="1531" y="1076"/>
                  </a:lnTo>
                  <a:lnTo>
                    <a:pt x="1533" y="1075"/>
                  </a:lnTo>
                  <a:lnTo>
                    <a:pt x="1533" y="1073"/>
                  </a:lnTo>
                  <a:lnTo>
                    <a:pt x="1533" y="1069"/>
                  </a:lnTo>
                  <a:lnTo>
                    <a:pt x="1534" y="1067"/>
                  </a:lnTo>
                  <a:lnTo>
                    <a:pt x="1536" y="1065"/>
                  </a:lnTo>
                  <a:lnTo>
                    <a:pt x="1536" y="1065"/>
                  </a:lnTo>
                  <a:close/>
                  <a:moveTo>
                    <a:pt x="1554" y="1116"/>
                  </a:moveTo>
                  <a:lnTo>
                    <a:pt x="1554" y="1113"/>
                  </a:lnTo>
                  <a:lnTo>
                    <a:pt x="1553" y="1113"/>
                  </a:lnTo>
                  <a:lnTo>
                    <a:pt x="1550" y="1115"/>
                  </a:lnTo>
                  <a:lnTo>
                    <a:pt x="1547" y="1118"/>
                  </a:lnTo>
                  <a:lnTo>
                    <a:pt x="1547" y="1119"/>
                  </a:lnTo>
                  <a:lnTo>
                    <a:pt x="1550" y="1120"/>
                  </a:lnTo>
                  <a:lnTo>
                    <a:pt x="1551" y="1120"/>
                  </a:lnTo>
                  <a:lnTo>
                    <a:pt x="1551" y="1119"/>
                  </a:lnTo>
                  <a:lnTo>
                    <a:pt x="1554" y="1119"/>
                  </a:lnTo>
                  <a:lnTo>
                    <a:pt x="1554" y="1116"/>
                  </a:lnTo>
                  <a:lnTo>
                    <a:pt x="1554" y="1116"/>
                  </a:lnTo>
                  <a:close/>
                  <a:moveTo>
                    <a:pt x="1736" y="1165"/>
                  </a:moveTo>
                  <a:lnTo>
                    <a:pt x="1735" y="1163"/>
                  </a:lnTo>
                  <a:lnTo>
                    <a:pt x="1733" y="1161"/>
                  </a:lnTo>
                  <a:lnTo>
                    <a:pt x="1733" y="1159"/>
                  </a:lnTo>
                  <a:lnTo>
                    <a:pt x="1732" y="1161"/>
                  </a:lnTo>
                  <a:lnTo>
                    <a:pt x="1730" y="1162"/>
                  </a:lnTo>
                  <a:lnTo>
                    <a:pt x="1728" y="1162"/>
                  </a:lnTo>
                  <a:lnTo>
                    <a:pt x="1725" y="1161"/>
                  </a:lnTo>
                  <a:lnTo>
                    <a:pt x="1722" y="1159"/>
                  </a:lnTo>
                  <a:lnTo>
                    <a:pt x="1720" y="1159"/>
                  </a:lnTo>
                  <a:lnTo>
                    <a:pt x="1718" y="1161"/>
                  </a:lnTo>
                  <a:lnTo>
                    <a:pt x="1716" y="1163"/>
                  </a:lnTo>
                  <a:lnTo>
                    <a:pt x="1718" y="1163"/>
                  </a:lnTo>
                  <a:lnTo>
                    <a:pt x="1719" y="1163"/>
                  </a:lnTo>
                  <a:lnTo>
                    <a:pt x="1719" y="1165"/>
                  </a:lnTo>
                  <a:lnTo>
                    <a:pt x="1718" y="1166"/>
                  </a:lnTo>
                  <a:lnTo>
                    <a:pt x="1718" y="1168"/>
                  </a:lnTo>
                  <a:lnTo>
                    <a:pt x="1719" y="1168"/>
                  </a:lnTo>
                  <a:lnTo>
                    <a:pt x="1720" y="1171"/>
                  </a:lnTo>
                  <a:lnTo>
                    <a:pt x="1719" y="1173"/>
                  </a:lnTo>
                  <a:lnTo>
                    <a:pt x="1720" y="1173"/>
                  </a:lnTo>
                  <a:lnTo>
                    <a:pt x="1723" y="1175"/>
                  </a:lnTo>
                  <a:lnTo>
                    <a:pt x="1726" y="1175"/>
                  </a:lnTo>
                  <a:lnTo>
                    <a:pt x="1728" y="1173"/>
                  </a:lnTo>
                  <a:lnTo>
                    <a:pt x="1730" y="1175"/>
                  </a:lnTo>
                  <a:lnTo>
                    <a:pt x="1732" y="1176"/>
                  </a:lnTo>
                  <a:lnTo>
                    <a:pt x="1733" y="1181"/>
                  </a:lnTo>
                  <a:lnTo>
                    <a:pt x="1736" y="1182"/>
                  </a:lnTo>
                  <a:lnTo>
                    <a:pt x="1738" y="1183"/>
                  </a:lnTo>
                  <a:lnTo>
                    <a:pt x="1738" y="1185"/>
                  </a:lnTo>
                  <a:lnTo>
                    <a:pt x="1736" y="1188"/>
                  </a:lnTo>
                  <a:lnTo>
                    <a:pt x="1742" y="1188"/>
                  </a:lnTo>
                  <a:lnTo>
                    <a:pt x="1742" y="1188"/>
                  </a:lnTo>
                  <a:lnTo>
                    <a:pt x="1743" y="1186"/>
                  </a:lnTo>
                  <a:lnTo>
                    <a:pt x="1742" y="1183"/>
                  </a:lnTo>
                  <a:lnTo>
                    <a:pt x="1742" y="1182"/>
                  </a:lnTo>
                  <a:lnTo>
                    <a:pt x="1742" y="1179"/>
                  </a:lnTo>
                  <a:lnTo>
                    <a:pt x="1742" y="1178"/>
                  </a:lnTo>
                  <a:lnTo>
                    <a:pt x="1745" y="1176"/>
                  </a:lnTo>
                  <a:lnTo>
                    <a:pt x="1748" y="1176"/>
                  </a:lnTo>
                  <a:lnTo>
                    <a:pt x="1748" y="1175"/>
                  </a:lnTo>
                  <a:lnTo>
                    <a:pt x="1748" y="1173"/>
                  </a:lnTo>
                  <a:lnTo>
                    <a:pt x="1745" y="1173"/>
                  </a:lnTo>
                  <a:lnTo>
                    <a:pt x="1740" y="1175"/>
                  </a:lnTo>
                  <a:lnTo>
                    <a:pt x="1739" y="1175"/>
                  </a:lnTo>
                  <a:lnTo>
                    <a:pt x="1738" y="1175"/>
                  </a:lnTo>
                  <a:lnTo>
                    <a:pt x="1738" y="1173"/>
                  </a:lnTo>
                  <a:lnTo>
                    <a:pt x="1739" y="1172"/>
                  </a:lnTo>
                  <a:lnTo>
                    <a:pt x="1739" y="1171"/>
                  </a:lnTo>
                  <a:lnTo>
                    <a:pt x="1739" y="1169"/>
                  </a:lnTo>
                  <a:lnTo>
                    <a:pt x="1740" y="1168"/>
                  </a:lnTo>
                  <a:lnTo>
                    <a:pt x="1738" y="1168"/>
                  </a:lnTo>
                  <a:lnTo>
                    <a:pt x="1738" y="1168"/>
                  </a:lnTo>
                  <a:lnTo>
                    <a:pt x="1736" y="1165"/>
                  </a:lnTo>
                  <a:lnTo>
                    <a:pt x="1736" y="1165"/>
                  </a:lnTo>
                  <a:close/>
                  <a:moveTo>
                    <a:pt x="1768" y="1191"/>
                  </a:moveTo>
                  <a:lnTo>
                    <a:pt x="1768" y="1193"/>
                  </a:lnTo>
                  <a:lnTo>
                    <a:pt x="1769" y="1195"/>
                  </a:lnTo>
                  <a:lnTo>
                    <a:pt x="1771" y="1196"/>
                  </a:lnTo>
                  <a:lnTo>
                    <a:pt x="1775" y="1196"/>
                  </a:lnTo>
                  <a:lnTo>
                    <a:pt x="1778" y="1195"/>
                  </a:lnTo>
                  <a:lnTo>
                    <a:pt x="1781" y="1195"/>
                  </a:lnTo>
                  <a:lnTo>
                    <a:pt x="1782" y="1195"/>
                  </a:lnTo>
                  <a:lnTo>
                    <a:pt x="1782" y="1193"/>
                  </a:lnTo>
                  <a:lnTo>
                    <a:pt x="1782" y="1192"/>
                  </a:lnTo>
                  <a:lnTo>
                    <a:pt x="1781" y="1192"/>
                  </a:lnTo>
                  <a:lnTo>
                    <a:pt x="1778" y="1192"/>
                  </a:lnTo>
                  <a:lnTo>
                    <a:pt x="1776" y="1191"/>
                  </a:lnTo>
                  <a:lnTo>
                    <a:pt x="1773" y="1191"/>
                  </a:lnTo>
                  <a:lnTo>
                    <a:pt x="1772" y="1189"/>
                  </a:lnTo>
                  <a:lnTo>
                    <a:pt x="1772" y="1188"/>
                  </a:lnTo>
                  <a:lnTo>
                    <a:pt x="1773" y="1185"/>
                  </a:lnTo>
                  <a:lnTo>
                    <a:pt x="1773" y="1183"/>
                  </a:lnTo>
                  <a:lnTo>
                    <a:pt x="1772" y="1183"/>
                  </a:lnTo>
                  <a:lnTo>
                    <a:pt x="1771" y="1182"/>
                  </a:lnTo>
                  <a:lnTo>
                    <a:pt x="1771" y="1183"/>
                  </a:lnTo>
                  <a:lnTo>
                    <a:pt x="1769" y="1185"/>
                  </a:lnTo>
                  <a:lnTo>
                    <a:pt x="1768" y="1191"/>
                  </a:lnTo>
                  <a:lnTo>
                    <a:pt x="1768" y="1191"/>
                  </a:lnTo>
                  <a:close/>
                  <a:moveTo>
                    <a:pt x="1730" y="1152"/>
                  </a:moveTo>
                  <a:lnTo>
                    <a:pt x="1726" y="1150"/>
                  </a:lnTo>
                  <a:lnTo>
                    <a:pt x="1725" y="1152"/>
                  </a:lnTo>
                  <a:lnTo>
                    <a:pt x="1725" y="1153"/>
                  </a:lnTo>
                  <a:lnTo>
                    <a:pt x="1726" y="1158"/>
                  </a:lnTo>
                  <a:lnTo>
                    <a:pt x="1728" y="1158"/>
                  </a:lnTo>
                  <a:lnTo>
                    <a:pt x="1728" y="1158"/>
                  </a:lnTo>
                  <a:lnTo>
                    <a:pt x="1729" y="1155"/>
                  </a:lnTo>
                  <a:lnTo>
                    <a:pt x="1730" y="1155"/>
                  </a:lnTo>
                  <a:lnTo>
                    <a:pt x="1732" y="1155"/>
                  </a:lnTo>
                  <a:lnTo>
                    <a:pt x="1733" y="1156"/>
                  </a:lnTo>
                  <a:lnTo>
                    <a:pt x="1733" y="1155"/>
                  </a:lnTo>
                  <a:lnTo>
                    <a:pt x="1735" y="1153"/>
                  </a:lnTo>
                  <a:lnTo>
                    <a:pt x="1733" y="1152"/>
                  </a:lnTo>
                  <a:lnTo>
                    <a:pt x="1733" y="1152"/>
                  </a:lnTo>
                  <a:lnTo>
                    <a:pt x="1730" y="1152"/>
                  </a:lnTo>
                  <a:lnTo>
                    <a:pt x="1730" y="1152"/>
                  </a:lnTo>
                  <a:close/>
                  <a:moveTo>
                    <a:pt x="1471" y="1070"/>
                  </a:moveTo>
                  <a:lnTo>
                    <a:pt x="1473" y="1067"/>
                  </a:lnTo>
                  <a:lnTo>
                    <a:pt x="1471" y="1066"/>
                  </a:lnTo>
                  <a:lnTo>
                    <a:pt x="1470" y="1067"/>
                  </a:lnTo>
                  <a:lnTo>
                    <a:pt x="1468" y="1070"/>
                  </a:lnTo>
                  <a:lnTo>
                    <a:pt x="1468" y="1073"/>
                  </a:lnTo>
                  <a:lnTo>
                    <a:pt x="1470" y="1075"/>
                  </a:lnTo>
                  <a:lnTo>
                    <a:pt x="1471" y="1075"/>
                  </a:lnTo>
                  <a:lnTo>
                    <a:pt x="1473" y="1073"/>
                  </a:lnTo>
                  <a:lnTo>
                    <a:pt x="1471" y="1070"/>
                  </a:lnTo>
                  <a:lnTo>
                    <a:pt x="1471" y="1070"/>
                  </a:lnTo>
                  <a:close/>
                  <a:moveTo>
                    <a:pt x="1484" y="1067"/>
                  </a:moveTo>
                  <a:lnTo>
                    <a:pt x="1483" y="1067"/>
                  </a:lnTo>
                  <a:lnTo>
                    <a:pt x="1481" y="1069"/>
                  </a:lnTo>
                  <a:lnTo>
                    <a:pt x="1481" y="1070"/>
                  </a:lnTo>
                  <a:lnTo>
                    <a:pt x="1483" y="1072"/>
                  </a:lnTo>
                  <a:lnTo>
                    <a:pt x="1484" y="1072"/>
                  </a:lnTo>
                  <a:lnTo>
                    <a:pt x="1487" y="1072"/>
                  </a:lnTo>
                  <a:lnTo>
                    <a:pt x="1487" y="1069"/>
                  </a:lnTo>
                  <a:lnTo>
                    <a:pt x="1487" y="1067"/>
                  </a:lnTo>
                  <a:lnTo>
                    <a:pt x="1484" y="1067"/>
                  </a:lnTo>
                  <a:lnTo>
                    <a:pt x="1484" y="1067"/>
                  </a:lnTo>
                  <a:close/>
                  <a:moveTo>
                    <a:pt x="1467" y="1082"/>
                  </a:moveTo>
                  <a:lnTo>
                    <a:pt x="1468" y="1080"/>
                  </a:lnTo>
                  <a:lnTo>
                    <a:pt x="1468" y="1079"/>
                  </a:lnTo>
                  <a:lnTo>
                    <a:pt x="1468" y="1077"/>
                  </a:lnTo>
                  <a:lnTo>
                    <a:pt x="1465" y="1076"/>
                  </a:lnTo>
                  <a:lnTo>
                    <a:pt x="1463" y="1077"/>
                  </a:lnTo>
                  <a:lnTo>
                    <a:pt x="1461" y="1080"/>
                  </a:lnTo>
                  <a:lnTo>
                    <a:pt x="1463" y="1082"/>
                  </a:lnTo>
                  <a:lnTo>
                    <a:pt x="1465" y="1083"/>
                  </a:lnTo>
                  <a:lnTo>
                    <a:pt x="1467" y="1082"/>
                  </a:lnTo>
                  <a:lnTo>
                    <a:pt x="1467" y="108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06" name="Freeform 54"/>
            <p:cNvSpPr>
              <a:spLocks/>
            </p:cNvSpPr>
            <p:nvPr/>
          </p:nvSpPr>
          <p:spPr bwMode="auto">
            <a:xfrm>
              <a:off x="4845527" y="2647933"/>
              <a:ext cx="1168633" cy="2796619"/>
            </a:xfrm>
            <a:custGeom>
              <a:avLst/>
              <a:gdLst>
                <a:gd name="T0" fmla="*/ 651 w 1914"/>
                <a:gd name="T1" fmla="*/ 613 h 4228"/>
                <a:gd name="T2" fmla="*/ 623 w 1914"/>
                <a:gd name="T3" fmla="*/ 503 h 4228"/>
                <a:gd name="T4" fmla="*/ 653 w 1914"/>
                <a:gd name="T5" fmla="*/ 487 h 4228"/>
                <a:gd name="T6" fmla="*/ 639 w 1914"/>
                <a:gd name="T7" fmla="*/ 459 h 4228"/>
                <a:gd name="T8" fmla="*/ 706 w 1914"/>
                <a:gd name="T9" fmla="*/ 420 h 4228"/>
                <a:gd name="T10" fmla="*/ 759 w 1914"/>
                <a:gd name="T11" fmla="*/ 364 h 4228"/>
                <a:gd name="T12" fmla="*/ 870 w 1914"/>
                <a:gd name="T13" fmla="*/ 337 h 4228"/>
                <a:gd name="T14" fmla="*/ 974 w 1914"/>
                <a:gd name="T15" fmla="*/ 300 h 4228"/>
                <a:gd name="T16" fmla="*/ 963 w 1914"/>
                <a:gd name="T17" fmla="*/ 280 h 4228"/>
                <a:gd name="T18" fmla="*/ 1013 w 1914"/>
                <a:gd name="T19" fmla="*/ 274 h 4228"/>
                <a:gd name="T20" fmla="*/ 1077 w 1914"/>
                <a:gd name="T21" fmla="*/ 295 h 4228"/>
                <a:gd name="T22" fmla="*/ 1125 w 1914"/>
                <a:gd name="T23" fmla="*/ 303 h 4228"/>
                <a:gd name="T24" fmla="*/ 1150 w 1914"/>
                <a:gd name="T25" fmla="*/ 287 h 4228"/>
                <a:gd name="T26" fmla="*/ 1208 w 1914"/>
                <a:gd name="T27" fmla="*/ 283 h 4228"/>
                <a:gd name="T28" fmla="*/ 1239 w 1914"/>
                <a:gd name="T29" fmla="*/ 305 h 4228"/>
                <a:gd name="T30" fmla="*/ 1291 w 1914"/>
                <a:gd name="T31" fmla="*/ 228 h 4228"/>
                <a:gd name="T32" fmla="*/ 1285 w 1914"/>
                <a:gd name="T33" fmla="*/ 136 h 4228"/>
                <a:gd name="T34" fmla="*/ 1392 w 1914"/>
                <a:gd name="T35" fmla="*/ 2 h 4228"/>
                <a:gd name="T36" fmla="*/ 1433 w 1914"/>
                <a:gd name="T37" fmla="*/ 95 h 4228"/>
                <a:gd name="T38" fmla="*/ 1463 w 1914"/>
                <a:gd name="T39" fmla="*/ 125 h 4228"/>
                <a:gd name="T40" fmla="*/ 1524 w 1914"/>
                <a:gd name="T41" fmla="*/ 142 h 4228"/>
                <a:gd name="T42" fmla="*/ 1559 w 1914"/>
                <a:gd name="T43" fmla="*/ 171 h 4228"/>
                <a:gd name="T44" fmla="*/ 1699 w 1914"/>
                <a:gd name="T45" fmla="*/ 151 h 4228"/>
                <a:gd name="T46" fmla="*/ 1763 w 1914"/>
                <a:gd name="T47" fmla="*/ 244 h 4228"/>
                <a:gd name="T48" fmla="*/ 1813 w 1914"/>
                <a:gd name="T49" fmla="*/ 323 h 4228"/>
                <a:gd name="T50" fmla="*/ 1793 w 1914"/>
                <a:gd name="T51" fmla="*/ 307 h 4228"/>
                <a:gd name="T52" fmla="*/ 1680 w 1914"/>
                <a:gd name="T53" fmla="*/ 559 h 4228"/>
                <a:gd name="T54" fmla="*/ 1536 w 1914"/>
                <a:gd name="T55" fmla="*/ 767 h 4228"/>
                <a:gd name="T56" fmla="*/ 1402 w 1914"/>
                <a:gd name="T57" fmla="*/ 933 h 4228"/>
                <a:gd name="T58" fmla="*/ 1524 w 1914"/>
                <a:gd name="T59" fmla="*/ 833 h 4228"/>
                <a:gd name="T60" fmla="*/ 1649 w 1914"/>
                <a:gd name="T61" fmla="*/ 745 h 4228"/>
                <a:gd name="T62" fmla="*/ 1736 w 1914"/>
                <a:gd name="T63" fmla="*/ 665 h 4228"/>
                <a:gd name="T64" fmla="*/ 1762 w 1914"/>
                <a:gd name="T65" fmla="*/ 600 h 4228"/>
                <a:gd name="T66" fmla="*/ 1768 w 1914"/>
                <a:gd name="T67" fmla="*/ 800 h 4228"/>
                <a:gd name="T68" fmla="*/ 1905 w 1914"/>
                <a:gd name="T69" fmla="*/ 1049 h 4228"/>
                <a:gd name="T70" fmla="*/ 1799 w 1914"/>
                <a:gd name="T71" fmla="*/ 1202 h 4228"/>
                <a:gd name="T72" fmla="*/ 1620 w 1914"/>
                <a:gd name="T73" fmla="*/ 1365 h 4228"/>
                <a:gd name="T74" fmla="*/ 1640 w 1914"/>
                <a:gd name="T75" fmla="*/ 1825 h 4228"/>
                <a:gd name="T76" fmla="*/ 1639 w 1914"/>
                <a:gd name="T77" fmla="*/ 2170 h 4228"/>
                <a:gd name="T78" fmla="*/ 1718 w 1914"/>
                <a:gd name="T79" fmla="*/ 2318 h 4228"/>
                <a:gd name="T80" fmla="*/ 1669 w 1914"/>
                <a:gd name="T81" fmla="*/ 2670 h 4228"/>
                <a:gd name="T82" fmla="*/ 1636 w 1914"/>
                <a:gd name="T83" fmla="*/ 2965 h 4228"/>
                <a:gd name="T84" fmla="*/ 1491 w 1914"/>
                <a:gd name="T85" fmla="*/ 3045 h 4228"/>
                <a:gd name="T86" fmla="*/ 1254 w 1914"/>
                <a:gd name="T87" fmla="*/ 3284 h 4228"/>
                <a:gd name="T88" fmla="*/ 1024 w 1914"/>
                <a:gd name="T89" fmla="*/ 3526 h 4228"/>
                <a:gd name="T90" fmla="*/ 828 w 1914"/>
                <a:gd name="T91" fmla="*/ 3853 h 4228"/>
                <a:gd name="T92" fmla="*/ 685 w 1914"/>
                <a:gd name="T93" fmla="*/ 4066 h 4228"/>
                <a:gd name="T94" fmla="*/ 301 w 1914"/>
                <a:gd name="T95" fmla="*/ 4127 h 4228"/>
                <a:gd name="T96" fmla="*/ 436 w 1914"/>
                <a:gd name="T97" fmla="*/ 3830 h 4228"/>
                <a:gd name="T98" fmla="*/ 195 w 1914"/>
                <a:gd name="T99" fmla="*/ 3594 h 4228"/>
                <a:gd name="T100" fmla="*/ 222 w 1914"/>
                <a:gd name="T101" fmla="*/ 3419 h 4228"/>
                <a:gd name="T102" fmla="*/ 262 w 1914"/>
                <a:gd name="T103" fmla="*/ 3032 h 4228"/>
                <a:gd name="T104" fmla="*/ 148 w 1914"/>
                <a:gd name="T105" fmla="*/ 2358 h 4228"/>
                <a:gd name="T106" fmla="*/ 161 w 1914"/>
                <a:gd name="T107" fmla="*/ 1773 h 4228"/>
                <a:gd name="T108" fmla="*/ 229 w 1914"/>
                <a:gd name="T109" fmla="*/ 1391 h 4228"/>
                <a:gd name="T110" fmla="*/ 158 w 1914"/>
                <a:gd name="T111" fmla="*/ 1083 h 4228"/>
                <a:gd name="T112" fmla="*/ 267 w 1914"/>
                <a:gd name="T113" fmla="*/ 822 h 4228"/>
                <a:gd name="T114" fmla="*/ 297 w 1914"/>
                <a:gd name="T115" fmla="*/ 1009 h 4228"/>
                <a:gd name="T116" fmla="*/ 327 w 1914"/>
                <a:gd name="T117" fmla="*/ 1044 h 4228"/>
                <a:gd name="T118" fmla="*/ 307 w 1914"/>
                <a:gd name="T119" fmla="*/ 1133 h 4228"/>
                <a:gd name="T120" fmla="*/ 380 w 1914"/>
                <a:gd name="T121" fmla="*/ 890 h 4228"/>
                <a:gd name="T122" fmla="*/ 307 w 1914"/>
                <a:gd name="T123" fmla="*/ 704 h 4228"/>
                <a:gd name="T124" fmla="*/ 353 w 1914"/>
                <a:gd name="T125" fmla="*/ 585 h 4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14" h="4228">
                  <a:moveTo>
                    <a:pt x="598" y="596"/>
                  </a:moveTo>
                  <a:lnTo>
                    <a:pt x="603" y="598"/>
                  </a:lnTo>
                  <a:lnTo>
                    <a:pt x="610" y="598"/>
                  </a:lnTo>
                  <a:lnTo>
                    <a:pt x="615" y="598"/>
                  </a:lnTo>
                  <a:lnTo>
                    <a:pt x="622" y="599"/>
                  </a:lnTo>
                  <a:lnTo>
                    <a:pt x="626" y="600"/>
                  </a:lnTo>
                  <a:lnTo>
                    <a:pt x="631" y="599"/>
                  </a:lnTo>
                  <a:lnTo>
                    <a:pt x="633" y="596"/>
                  </a:lnTo>
                  <a:lnTo>
                    <a:pt x="635" y="595"/>
                  </a:lnTo>
                  <a:lnTo>
                    <a:pt x="639" y="599"/>
                  </a:lnTo>
                  <a:lnTo>
                    <a:pt x="642" y="606"/>
                  </a:lnTo>
                  <a:lnTo>
                    <a:pt x="642" y="611"/>
                  </a:lnTo>
                  <a:lnTo>
                    <a:pt x="642" y="613"/>
                  </a:lnTo>
                  <a:lnTo>
                    <a:pt x="639" y="615"/>
                  </a:lnTo>
                  <a:lnTo>
                    <a:pt x="635" y="621"/>
                  </a:lnTo>
                  <a:lnTo>
                    <a:pt x="633" y="622"/>
                  </a:lnTo>
                  <a:lnTo>
                    <a:pt x="631" y="625"/>
                  </a:lnTo>
                  <a:lnTo>
                    <a:pt x="626" y="626"/>
                  </a:lnTo>
                  <a:lnTo>
                    <a:pt x="622" y="625"/>
                  </a:lnTo>
                  <a:lnTo>
                    <a:pt x="618" y="628"/>
                  </a:lnTo>
                  <a:lnTo>
                    <a:pt x="615" y="631"/>
                  </a:lnTo>
                  <a:lnTo>
                    <a:pt x="612" y="631"/>
                  </a:lnTo>
                  <a:lnTo>
                    <a:pt x="609" y="631"/>
                  </a:lnTo>
                  <a:lnTo>
                    <a:pt x="606" y="631"/>
                  </a:lnTo>
                  <a:lnTo>
                    <a:pt x="606" y="632"/>
                  </a:lnTo>
                  <a:lnTo>
                    <a:pt x="603" y="635"/>
                  </a:lnTo>
                  <a:lnTo>
                    <a:pt x="600" y="641"/>
                  </a:lnTo>
                  <a:lnTo>
                    <a:pt x="596" y="642"/>
                  </a:lnTo>
                  <a:lnTo>
                    <a:pt x="596" y="642"/>
                  </a:lnTo>
                  <a:lnTo>
                    <a:pt x="592" y="642"/>
                  </a:lnTo>
                  <a:lnTo>
                    <a:pt x="588" y="643"/>
                  </a:lnTo>
                  <a:lnTo>
                    <a:pt x="583" y="646"/>
                  </a:lnTo>
                  <a:lnTo>
                    <a:pt x="579" y="651"/>
                  </a:lnTo>
                  <a:lnTo>
                    <a:pt x="580" y="655"/>
                  </a:lnTo>
                  <a:lnTo>
                    <a:pt x="585" y="655"/>
                  </a:lnTo>
                  <a:lnTo>
                    <a:pt x="586" y="652"/>
                  </a:lnTo>
                  <a:lnTo>
                    <a:pt x="586" y="652"/>
                  </a:lnTo>
                  <a:lnTo>
                    <a:pt x="589" y="649"/>
                  </a:lnTo>
                  <a:lnTo>
                    <a:pt x="592" y="649"/>
                  </a:lnTo>
                  <a:lnTo>
                    <a:pt x="599" y="648"/>
                  </a:lnTo>
                  <a:lnTo>
                    <a:pt x="603" y="646"/>
                  </a:lnTo>
                  <a:lnTo>
                    <a:pt x="606" y="646"/>
                  </a:lnTo>
                  <a:lnTo>
                    <a:pt x="610" y="648"/>
                  </a:lnTo>
                  <a:lnTo>
                    <a:pt x="616" y="648"/>
                  </a:lnTo>
                  <a:lnTo>
                    <a:pt x="619" y="646"/>
                  </a:lnTo>
                  <a:lnTo>
                    <a:pt x="623" y="645"/>
                  </a:lnTo>
                  <a:lnTo>
                    <a:pt x="628" y="645"/>
                  </a:lnTo>
                  <a:lnTo>
                    <a:pt x="633" y="646"/>
                  </a:lnTo>
                  <a:lnTo>
                    <a:pt x="638" y="645"/>
                  </a:lnTo>
                  <a:lnTo>
                    <a:pt x="641" y="643"/>
                  </a:lnTo>
                  <a:lnTo>
                    <a:pt x="645" y="638"/>
                  </a:lnTo>
                  <a:lnTo>
                    <a:pt x="643" y="636"/>
                  </a:lnTo>
                  <a:lnTo>
                    <a:pt x="645" y="632"/>
                  </a:lnTo>
                  <a:lnTo>
                    <a:pt x="645" y="629"/>
                  </a:lnTo>
                  <a:lnTo>
                    <a:pt x="648" y="626"/>
                  </a:lnTo>
                  <a:lnTo>
                    <a:pt x="651" y="625"/>
                  </a:lnTo>
                  <a:lnTo>
                    <a:pt x="653" y="622"/>
                  </a:lnTo>
                  <a:lnTo>
                    <a:pt x="653" y="619"/>
                  </a:lnTo>
                  <a:lnTo>
                    <a:pt x="653" y="616"/>
                  </a:lnTo>
                  <a:lnTo>
                    <a:pt x="651" y="613"/>
                  </a:lnTo>
                  <a:lnTo>
                    <a:pt x="651" y="612"/>
                  </a:lnTo>
                  <a:lnTo>
                    <a:pt x="648" y="608"/>
                  </a:lnTo>
                  <a:lnTo>
                    <a:pt x="646" y="603"/>
                  </a:lnTo>
                  <a:lnTo>
                    <a:pt x="646" y="599"/>
                  </a:lnTo>
                  <a:lnTo>
                    <a:pt x="646" y="590"/>
                  </a:lnTo>
                  <a:lnTo>
                    <a:pt x="645" y="588"/>
                  </a:lnTo>
                  <a:lnTo>
                    <a:pt x="643" y="582"/>
                  </a:lnTo>
                  <a:lnTo>
                    <a:pt x="642" y="579"/>
                  </a:lnTo>
                  <a:lnTo>
                    <a:pt x="642" y="576"/>
                  </a:lnTo>
                  <a:lnTo>
                    <a:pt x="643" y="573"/>
                  </a:lnTo>
                  <a:lnTo>
                    <a:pt x="645" y="573"/>
                  </a:lnTo>
                  <a:lnTo>
                    <a:pt x="649" y="575"/>
                  </a:lnTo>
                  <a:lnTo>
                    <a:pt x="653" y="576"/>
                  </a:lnTo>
                  <a:lnTo>
                    <a:pt x="655" y="575"/>
                  </a:lnTo>
                  <a:lnTo>
                    <a:pt x="655" y="573"/>
                  </a:lnTo>
                  <a:lnTo>
                    <a:pt x="651" y="572"/>
                  </a:lnTo>
                  <a:lnTo>
                    <a:pt x="648" y="570"/>
                  </a:lnTo>
                  <a:lnTo>
                    <a:pt x="645" y="569"/>
                  </a:lnTo>
                  <a:lnTo>
                    <a:pt x="642" y="569"/>
                  </a:lnTo>
                  <a:lnTo>
                    <a:pt x="638" y="569"/>
                  </a:lnTo>
                  <a:lnTo>
                    <a:pt x="638" y="569"/>
                  </a:lnTo>
                  <a:lnTo>
                    <a:pt x="636" y="568"/>
                  </a:lnTo>
                  <a:lnTo>
                    <a:pt x="638" y="565"/>
                  </a:lnTo>
                  <a:lnTo>
                    <a:pt x="639" y="563"/>
                  </a:lnTo>
                  <a:lnTo>
                    <a:pt x="639" y="562"/>
                  </a:lnTo>
                  <a:lnTo>
                    <a:pt x="633" y="558"/>
                  </a:lnTo>
                  <a:lnTo>
                    <a:pt x="635" y="552"/>
                  </a:lnTo>
                  <a:lnTo>
                    <a:pt x="638" y="548"/>
                  </a:lnTo>
                  <a:lnTo>
                    <a:pt x="638" y="543"/>
                  </a:lnTo>
                  <a:lnTo>
                    <a:pt x="638" y="540"/>
                  </a:lnTo>
                  <a:lnTo>
                    <a:pt x="635" y="537"/>
                  </a:lnTo>
                  <a:lnTo>
                    <a:pt x="633" y="536"/>
                  </a:lnTo>
                  <a:lnTo>
                    <a:pt x="629" y="536"/>
                  </a:lnTo>
                  <a:lnTo>
                    <a:pt x="626" y="535"/>
                  </a:lnTo>
                  <a:lnTo>
                    <a:pt x="623" y="530"/>
                  </a:lnTo>
                  <a:lnTo>
                    <a:pt x="620" y="529"/>
                  </a:lnTo>
                  <a:lnTo>
                    <a:pt x="616" y="527"/>
                  </a:lnTo>
                  <a:lnTo>
                    <a:pt x="610" y="527"/>
                  </a:lnTo>
                  <a:lnTo>
                    <a:pt x="608" y="526"/>
                  </a:lnTo>
                  <a:lnTo>
                    <a:pt x="605" y="522"/>
                  </a:lnTo>
                  <a:lnTo>
                    <a:pt x="603" y="517"/>
                  </a:lnTo>
                  <a:lnTo>
                    <a:pt x="605" y="512"/>
                  </a:lnTo>
                  <a:lnTo>
                    <a:pt x="606" y="509"/>
                  </a:lnTo>
                  <a:lnTo>
                    <a:pt x="609" y="506"/>
                  </a:lnTo>
                  <a:lnTo>
                    <a:pt x="613" y="507"/>
                  </a:lnTo>
                  <a:lnTo>
                    <a:pt x="618" y="509"/>
                  </a:lnTo>
                  <a:lnTo>
                    <a:pt x="619" y="513"/>
                  </a:lnTo>
                  <a:lnTo>
                    <a:pt x="620" y="519"/>
                  </a:lnTo>
                  <a:lnTo>
                    <a:pt x="620" y="520"/>
                  </a:lnTo>
                  <a:lnTo>
                    <a:pt x="622" y="522"/>
                  </a:lnTo>
                  <a:lnTo>
                    <a:pt x="622" y="517"/>
                  </a:lnTo>
                  <a:lnTo>
                    <a:pt x="622" y="510"/>
                  </a:lnTo>
                  <a:lnTo>
                    <a:pt x="620" y="507"/>
                  </a:lnTo>
                  <a:lnTo>
                    <a:pt x="615" y="505"/>
                  </a:lnTo>
                  <a:lnTo>
                    <a:pt x="615" y="503"/>
                  </a:lnTo>
                  <a:lnTo>
                    <a:pt x="615" y="502"/>
                  </a:lnTo>
                  <a:lnTo>
                    <a:pt x="618" y="500"/>
                  </a:lnTo>
                  <a:lnTo>
                    <a:pt x="620" y="502"/>
                  </a:lnTo>
                  <a:lnTo>
                    <a:pt x="622" y="502"/>
                  </a:lnTo>
                  <a:lnTo>
                    <a:pt x="623" y="503"/>
                  </a:lnTo>
                  <a:lnTo>
                    <a:pt x="625" y="503"/>
                  </a:lnTo>
                  <a:lnTo>
                    <a:pt x="625" y="502"/>
                  </a:lnTo>
                  <a:lnTo>
                    <a:pt x="626" y="499"/>
                  </a:lnTo>
                  <a:lnTo>
                    <a:pt x="631" y="497"/>
                  </a:lnTo>
                  <a:lnTo>
                    <a:pt x="635" y="497"/>
                  </a:lnTo>
                  <a:lnTo>
                    <a:pt x="641" y="503"/>
                  </a:lnTo>
                  <a:lnTo>
                    <a:pt x="642" y="505"/>
                  </a:lnTo>
                  <a:lnTo>
                    <a:pt x="641" y="507"/>
                  </a:lnTo>
                  <a:lnTo>
                    <a:pt x="639" y="509"/>
                  </a:lnTo>
                  <a:lnTo>
                    <a:pt x="638" y="510"/>
                  </a:lnTo>
                  <a:lnTo>
                    <a:pt x="638" y="510"/>
                  </a:lnTo>
                  <a:lnTo>
                    <a:pt x="639" y="512"/>
                  </a:lnTo>
                  <a:lnTo>
                    <a:pt x="648" y="513"/>
                  </a:lnTo>
                  <a:lnTo>
                    <a:pt x="651" y="513"/>
                  </a:lnTo>
                  <a:lnTo>
                    <a:pt x="651" y="516"/>
                  </a:lnTo>
                  <a:lnTo>
                    <a:pt x="651" y="517"/>
                  </a:lnTo>
                  <a:lnTo>
                    <a:pt x="648" y="522"/>
                  </a:lnTo>
                  <a:lnTo>
                    <a:pt x="642" y="525"/>
                  </a:lnTo>
                  <a:lnTo>
                    <a:pt x="641" y="527"/>
                  </a:lnTo>
                  <a:lnTo>
                    <a:pt x="642" y="529"/>
                  </a:lnTo>
                  <a:lnTo>
                    <a:pt x="643" y="529"/>
                  </a:lnTo>
                  <a:lnTo>
                    <a:pt x="646" y="527"/>
                  </a:lnTo>
                  <a:lnTo>
                    <a:pt x="648" y="525"/>
                  </a:lnTo>
                  <a:lnTo>
                    <a:pt x="651" y="525"/>
                  </a:lnTo>
                  <a:lnTo>
                    <a:pt x="652" y="526"/>
                  </a:lnTo>
                  <a:lnTo>
                    <a:pt x="652" y="530"/>
                  </a:lnTo>
                  <a:lnTo>
                    <a:pt x="652" y="533"/>
                  </a:lnTo>
                  <a:lnTo>
                    <a:pt x="653" y="535"/>
                  </a:lnTo>
                  <a:lnTo>
                    <a:pt x="655" y="535"/>
                  </a:lnTo>
                  <a:lnTo>
                    <a:pt x="655" y="529"/>
                  </a:lnTo>
                  <a:lnTo>
                    <a:pt x="656" y="522"/>
                  </a:lnTo>
                  <a:lnTo>
                    <a:pt x="656" y="517"/>
                  </a:lnTo>
                  <a:lnTo>
                    <a:pt x="658" y="517"/>
                  </a:lnTo>
                  <a:lnTo>
                    <a:pt x="658" y="513"/>
                  </a:lnTo>
                  <a:lnTo>
                    <a:pt x="658" y="510"/>
                  </a:lnTo>
                  <a:lnTo>
                    <a:pt x="661" y="510"/>
                  </a:lnTo>
                  <a:lnTo>
                    <a:pt x="663" y="509"/>
                  </a:lnTo>
                  <a:lnTo>
                    <a:pt x="663" y="507"/>
                  </a:lnTo>
                  <a:lnTo>
                    <a:pt x="662" y="507"/>
                  </a:lnTo>
                  <a:lnTo>
                    <a:pt x="658" y="509"/>
                  </a:lnTo>
                  <a:lnTo>
                    <a:pt x="655" y="509"/>
                  </a:lnTo>
                  <a:lnTo>
                    <a:pt x="649" y="509"/>
                  </a:lnTo>
                  <a:lnTo>
                    <a:pt x="648" y="509"/>
                  </a:lnTo>
                  <a:lnTo>
                    <a:pt x="645" y="506"/>
                  </a:lnTo>
                  <a:lnTo>
                    <a:pt x="643" y="503"/>
                  </a:lnTo>
                  <a:lnTo>
                    <a:pt x="643" y="500"/>
                  </a:lnTo>
                  <a:lnTo>
                    <a:pt x="646" y="500"/>
                  </a:lnTo>
                  <a:lnTo>
                    <a:pt x="648" y="500"/>
                  </a:lnTo>
                  <a:lnTo>
                    <a:pt x="648" y="499"/>
                  </a:lnTo>
                  <a:lnTo>
                    <a:pt x="643" y="493"/>
                  </a:lnTo>
                  <a:lnTo>
                    <a:pt x="641" y="493"/>
                  </a:lnTo>
                  <a:lnTo>
                    <a:pt x="639" y="493"/>
                  </a:lnTo>
                  <a:lnTo>
                    <a:pt x="639" y="492"/>
                  </a:lnTo>
                  <a:lnTo>
                    <a:pt x="641" y="489"/>
                  </a:lnTo>
                  <a:lnTo>
                    <a:pt x="643" y="489"/>
                  </a:lnTo>
                  <a:lnTo>
                    <a:pt x="651" y="490"/>
                  </a:lnTo>
                  <a:lnTo>
                    <a:pt x="655" y="490"/>
                  </a:lnTo>
                  <a:lnTo>
                    <a:pt x="656" y="489"/>
                  </a:lnTo>
                  <a:lnTo>
                    <a:pt x="656" y="487"/>
                  </a:lnTo>
                  <a:lnTo>
                    <a:pt x="653" y="487"/>
                  </a:lnTo>
                  <a:lnTo>
                    <a:pt x="646" y="486"/>
                  </a:lnTo>
                  <a:lnTo>
                    <a:pt x="639" y="484"/>
                  </a:lnTo>
                  <a:lnTo>
                    <a:pt x="636" y="482"/>
                  </a:lnTo>
                  <a:lnTo>
                    <a:pt x="636" y="480"/>
                  </a:lnTo>
                  <a:lnTo>
                    <a:pt x="636" y="477"/>
                  </a:lnTo>
                  <a:lnTo>
                    <a:pt x="635" y="476"/>
                  </a:lnTo>
                  <a:lnTo>
                    <a:pt x="632" y="476"/>
                  </a:lnTo>
                  <a:lnTo>
                    <a:pt x="629" y="474"/>
                  </a:lnTo>
                  <a:lnTo>
                    <a:pt x="626" y="473"/>
                  </a:lnTo>
                  <a:lnTo>
                    <a:pt x="625" y="470"/>
                  </a:lnTo>
                  <a:lnTo>
                    <a:pt x="623" y="470"/>
                  </a:lnTo>
                  <a:lnTo>
                    <a:pt x="622" y="470"/>
                  </a:lnTo>
                  <a:lnTo>
                    <a:pt x="620" y="469"/>
                  </a:lnTo>
                  <a:lnTo>
                    <a:pt x="618" y="469"/>
                  </a:lnTo>
                  <a:lnTo>
                    <a:pt x="616" y="469"/>
                  </a:lnTo>
                  <a:lnTo>
                    <a:pt x="615" y="469"/>
                  </a:lnTo>
                  <a:lnTo>
                    <a:pt x="613" y="469"/>
                  </a:lnTo>
                  <a:lnTo>
                    <a:pt x="612" y="466"/>
                  </a:lnTo>
                  <a:lnTo>
                    <a:pt x="609" y="463"/>
                  </a:lnTo>
                  <a:lnTo>
                    <a:pt x="608" y="462"/>
                  </a:lnTo>
                  <a:lnTo>
                    <a:pt x="608" y="460"/>
                  </a:lnTo>
                  <a:lnTo>
                    <a:pt x="610" y="459"/>
                  </a:lnTo>
                  <a:lnTo>
                    <a:pt x="613" y="460"/>
                  </a:lnTo>
                  <a:lnTo>
                    <a:pt x="615" y="457"/>
                  </a:lnTo>
                  <a:lnTo>
                    <a:pt x="615" y="457"/>
                  </a:lnTo>
                  <a:lnTo>
                    <a:pt x="613" y="453"/>
                  </a:lnTo>
                  <a:lnTo>
                    <a:pt x="613" y="450"/>
                  </a:lnTo>
                  <a:lnTo>
                    <a:pt x="616" y="449"/>
                  </a:lnTo>
                  <a:lnTo>
                    <a:pt x="619" y="450"/>
                  </a:lnTo>
                  <a:lnTo>
                    <a:pt x="622" y="452"/>
                  </a:lnTo>
                  <a:lnTo>
                    <a:pt x="625" y="452"/>
                  </a:lnTo>
                  <a:lnTo>
                    <a:pt x="626" y="452"/>
                  </a:lnTo>
                  <a:lnTo>
                    <a:pt x="628" y="449"/>
                  </a:lnTo>
                  <a:lnTo>
                    <a:pt x="629" y="446"/>
                  </a:lnTo>
                  <a:lnTo>
                    <a:pt x="629" y="446"/>
                  </a:lnTo>
                  <a:lnTo>
                    <a:pt x="628" y="443"/>
                  </a:lnTo>
                  <a:lnTo>
                    <a:pt x="625" y="442"/>
                  </a:lnTo>
                  <a:lnTo>
                    <a:pt x="626" y="437"/>
                  </a:lnTo>
                  <a:lnTo>
                    <a:pt x="626" y="436"/>
                  </a:lnTo>
                  <a:lnTo>
                    <a:pt x="629" y="436"/>
                  </a:lnTo>
                  <a:lnTo>
                    <a:pt x="631" y="437"/>
                  </a:lnTo>
                  <a:lnTo>
                    <a:pt x="631" y="440"/>
                  </a:lnTo>
                  <a:lnTo>
                    <a:pt x="631" y="442"/>
                  </a:lnTo>
                  <a:lnTo>
                    <a:pt x="632" y="443"/>
                  </a:lnTo>
                  <a:lnTo>
                    <a:pt x="636" y="443"/>
                  </a:lnTo>
                  <a:lnTo>
                    <a:pt x="638" y="446"/>
                  </a:lnTo>
                  <a:lnTo>
                    <a:pt x="638" y="449"/>
                  </a:lnTo>
                  <a:lnTo>
                    <a:pt x="638" y="450"/>
                  </a:lnTo>
                  <a:lnTo>
                    <a:pt x="636" y="450"/>
                  </a:lnTo>
                  <a:lnTo>
                    <a:pt x="635" y="449"/>
                  </a:lnTo>
                  <a:lnTo>
                    <a:pt x="635" y="447"/>
                  </a:lnTo>
                  <a:lnTo>
                    <a:pt x="633" y="447"/>
                  </a:lnTo>
                  <a:lnTo>
                    <a:pt x="633" y="449"/>
                  </a:lnTo>
                  <a:lnTo>
                    <a:pt x="633" y="450"/>
                  </a:lnTo>
                  <a:lnTo>
                    <a:pt x="635" y="453"/>
                  </a:lnTo>
                  <a:lnTo>
                    <a:pt x="635" y="457"/>
                  </a:lnTo>
                  <a:lnTo>
                    <a:pt x="635" y="460"/>
                  </a:lnTo>
                  <a:lnTo>
                    <a:pt x="635" y="462"/>
                  </a:lnTo>
                  <a:lnTo>
                    <a:pt x="636" y="462"/>
                  </a:lnTo>
                  <a:lnTo>
                    <a:pt x="639" y="459"/>
                  </a:lnTo>
                  <a:lnTo>
                    <a:pt x="641" y="456"/>
                  </a:lnTo>
                  <a:lnTo>
                    <a:pt x="643" y="456"/>
                  </a:lnTo>
                  <a:lnTo>
                    <a:pt x="648" y="459"/>
                  </a:lnTo>
                  <a:lnTo>
                    <a:pt x="649" y="463"/>
                  </a:lnTo>
                  <a:lnTo>
                    <a:pt x="649" y="466"/>
                  </a:lnTo>
                  <a:lnTo>
                    <a:pt x="646" y="469"/>
                  </a:lnTo>
                  <a:lnTo>
                    <a:pt x="646" y="470"/>
                  </a:lnTo>
                  <a:lnTo>
                    <a:pt x="648" y="470"/>
                  </a:lnTo>
                  <a:lnTo>
                    <a:pt x="651" y="470"/>
                  </a:lnTo>
                  <a:lnTo>
                    <a:pt x="652" y="470"/>
                  </a:lnTo>
                  <a:lnTo>
                    <a:pt x="652" y="472"/>
                  </a:lnTo>
                  <a:lnTo>
                    <a:pt x="652" y="473"/>
                  </a:lnTo>
                  <a:lnTo>
                    <a:pt x="651" y="474"/>
                  </a:lnTo>
                  <a:lnTo>
                    <a:pt x="649" y="476"/>
                  </a:lnTo>
                  <a:lnTo>
                    <a:pt x="649" y="477"/>
                  </a:lnTo>
                  <a:lnTo>
                    <a:pt x="652" y="477"/>
                  </a:lnTo>
                  <a:lnTo>
                    <a:pt x="655" y="474"/>
                  </a:lnTo>
                  <a:lnTo>
                    <a:pt x="659" y="473"/>
                  </a:lnTo>
                  <a:lnTo>
                    <a:pt x="662" y="472"/>
                  </a:lnTo>
                  <a:lnTo>
                    <a:pt x="662" y="470"/>
                  </a:lnTo>
                  <a:lnTo>
                    <a:pt x="661" y="469"/>
                  </a:lnTo>
                  <a:lnTo>
                    <a:pt x="658" y="469"/>
                  </a:lnTo>
                  <a:lnTo>
                    <a:pt x="655" y="467"/>
                  </a:lnTo>
                  <a:lnTo>
                    <a:pt x="653" y="464"/>
                  </a:lnTo>
                  <a:lnTo>
                    <a:pt x="655" y="463"/>
                  </a:lnTo>
                  <a:lnTo>
                    <a:pt x="656" y="462"/>
                  </a:lnTo>
                  <a:lnTo>
                    <a:pt x="659" y="462"/>
                  </a:lnTo>
                  <a:lnTo>
                    <a:pt x="658" y="459"/>
                  </a:lnTo>
                  <a:lnTo>
                    <a:pt x="658" y="457"/>
                  </a:lnTo>
                  <a:lnTo>
                    <a:pt x="661" y="456"/>
                  </a:lnTo>
                  <a:lnTo>
                    <a:pt x="662" y="456"/>
                  </a:lnTo>
                  <a:lnTo>
                    <a:pt x="665" y="459"/>
                  </a:lnTo>
                  <a:lnTo>
                    <a:pt x="666" y="459"/>
                  </a:lnTo>
                  <a:lnTo>
                    <a:pt x="668" y="459"/>
                  </a:lnTo>
                  <a:lnTo>
                    <a:pt x="669" y="457"/>
                  </a:lnTo>
                  <a:lnTo>
                    <a:pt x="671" y="447"/>
                  </a:lnTo>
                  <a:lnTo>
                    <a:pt x="672" y="442"/>
                  </a:lnTo>
                  <a:lnTo>
                    <a:pt x="676" y="437"/>
                  </a:lnTo>
                  <a:lnTo>
                    <a:pt x="683" y="434"/>
                  </a:lnTo>
                  <a:lnTo>
                    <a:pt x="685" y="431"/>
                  </a:lnTo>
                  <a:lnTo>
                    <a:pt x="685" y="430"/>
                  </a:lnTo>
                  <a:lnTo>
                    <a:pt x="682" y="424"/>
                  </a:lnTo>
                  <a:lnTo>
                    <a:pt x="682" y="420"/>
                  </a:lnTo>
                  <a:lnTo>
                    <a:pt x="682" y="419"/>
                  </a:lnTo>
                  <a:lnTo>
                    <a:pt x="688" y="417"/>
                  </a:lnTo>
                  <a:lnTo>
                    <a:pt x="692" y="419"/>
                  </a:lnTo>
                  <a:lnTo>
                    <a:pt x="694" y="421"/>
                  </a:lnTo>
                  <a:lnTo>
                    <a:pt x="694" y="429"/>
                  </a:lnTo>
                  <a:lnTo>
                    <a:pt x="695" y="431"/>
                  </a:lnTo>
                  <a:lnTo>
                    <a:pt x="696" y="433"/>
                  </a:lnTo>
                  <a:lnTo>
                    <a:pt x="698" y="433"/>
                  </a:lnTo>
                  <a:lnTo>
                    <a:pt x="698" y="433"/>
                  </a:lnTo>
                  <a:lnTo>
                    <a:pt x="696" y="430"/>
                  </a:lnTo>
                  <a:lnTo>
                    <a:pt x="698" y="427"/>
                  </a:lnTo>
                  <a:lnTo>
                    <a:pt x="699" y="426"/>
                  </a:lnTo>
                  <a:lnTo>
                    <a:pt x="702" y="426"/>
                  </a:lnTo>
                  <a:lnTo>
                    <a:pt x="704" y="426"/>
                  </a:lnTo>
                  <a:lnTo>
                    <a:pt x="705" y="424"/>
                  </a:lnTo>
                  <a:lnTo>
                    <a:pt x="705" y="421"/>
                  </a:lnTo>
                  <a:lnTo>
                    <a:pt x="706" y="420"/>
                  </a:lnTo>
                  <a:lnTo>
                    <a:pt x="708" y="419"/>
                  </a:lnTo>
                  <a:lnTo>
                    <a:pt x="708" y="417"/>
                  </a:lnTo>
                  <a:lnTo>
                    <a:pt x="706" y="416"/>
                  </a:lnTo>
                  <a:lnTo>
                    <a:pt x="704" y="416"/>
                  </a:lnTo>
                  <a:lnTo>
                    <a:pt x="701" y="416"/>
                  </a:lnTo>
                  <a:lnTo>
                    <a:pt x="699" y="416"/>
                  </a:lnTo>
                  <a:lnTo>
                    <a:pt x="698" y="414"/>
                  </a:lnTo>
                  <a:lnTo>
                    <a:pt x="695" y="414"/>
                  </a:lnTo>
                  <a:lnTo>
                    <a:pt x="694" y="416"/>
                  </a:lnTo>
                  <a:lnTo>
                    <a:pt x="692" y="416"/>
                  </a:lnTo>
                  <a:lnTo>
                    <a:pt x="689" y="413"/>
                  </a:lnTo>
                  <a:lnTo>
                    <a:pt x="683" y="406"/>
                  </a:lnTo>
                  <a:lnTo>
                    <a:pt x="679" y="403"/>
                  </a:lnTo>
                  <a:lnTo>
                    <a:pt x="676" y="403"/>
                  </a:lnTo>
                  <a:lnTo>
                    <a:pt x="676" y="404"/>
                  </a:lnTo>
                  <a:lnTo>
                    <a:pt x="675" y="406"/>
                  </a:lnTo>
                  <a:lnTo>
                    <a:pt x="675" y="406"/>
                  </a:lnTo>
                  <a:lnTo>
                    <a:pt x="672" y="404"/>
                  </a:lnTo>
                  <a:lnTo>
                    <a:pt x="672" y="401"/>
                  </a:lnTo>
                  <a:lnTo>
                    <a:pt x="673" y="399"/>
                  </a:lnTo>
                  <a:lnTo>
                    <a:pt x="678" y="393"/>
                  </a:lnTo>
                  <a:lnTo>
                    <a:pt x="683" y="390"/>
                  </a:lnTo>
                  <a:lnTo>
                    <a:pt x="689" y="391"/>
                  </a:lnTo>
                  <a:lnTo>
                    <a:pt x="698" y="397"/>
                  </a:lnTo>
                  <a:lnTo>
                    <a:pt x="705" y="401"/>
                  </a:lnTo>
                  <a:lnTo>
                    <a:pt x="711" y="403"/>
                  </a:lnTo>
                  <a:lnTo>
                    <a:pt x="714" y="404"/>
                  </a:lnTo>
                  <a:lnTo>
                    <a:pt x="715" y="407"/>
                  </a:lnTo>
                  <a:lnTo>
                    <a:pt x="718" y="409"/>
                  </a:lnTo>
                  <a:lnTo>
                    <a:pt x="722" y="410"/>
                  </a:lnTo>
                  <a:lnTo>
                    <a:pt x="724" y="410"/>
                  </a:lnTo>
                  <a:lnTo>
                    <a:pt x="724" y="409"/>
                  </a:lnTo>
                  <a:lnTo>
                    <a:pt x="724" y="407"/>
                  </a:lnTo>
                  <a:lnTo>
                    <a:pt x="722" y="406"/>
                  </a:lnTo>
                  <a:lnTo>
                    <a:pt x="724" y="404"/>
                  </a:lnTo>
                  <a:lnTo>
                    <a:pt x="725" y="403"/>
                  </a:lnTo>
                  <a:lnTo>
                    <a:pt x="726" y="401"/>
                  </a:lnTo>
                  <a:lnTo>
                    <a:pt x="728" y="400"/>
                  </a:lnTo>
                  <a:lnTo>
                    <a:pt x="729" y="401"/>
                  </a:lnTo>
                  <a:lnTo>
                    <a:pt x="731" y="403"/>
                  </a:lnTo>
                  <a:lnTo>
                    <a:pt x="734" y="401"/>
                  </a:lnTo>
                  <a:lnTo>
                    <a:pt x="735" y="399"/>
                  </a:lnTo>
                  <a:lnTo>
                    <a:pt x="735" y="397"/>
                  </a:lnTo>
                  <a:lnTo>
                    <a:pt x="735" y="396"/>
                  </a:lnTo>
                  <a:lnTo>
                    <a:pt x="734" y="396"/>
                  </a:lnTo>
                  <a:lnTo>
                    <a:pt x="731" y="397"/>
                  </a:lnTo>
                  <a:lnTo>
                    <a:pt x="729" y="399"/>
                  </a:lnTo>
                  <a:lnTo>
                    <a:pt x="728" y="399"/>
                  </a:lnTo>
                  <a:lnTo>
                    <a:pt x="728" y="396"/>
                  </a:lnTo>
                  <a:lnTo>
                    <a:pt x="729" y="393"/>
                  </a:lnTo>
                  <a:lnTo>
                    <a:pt x="732" y="391"/>
                  </a:lnTo>
                  <a:lnTo>
                    <a:pt x="735" y="393"/>
                  </a:lnTo>
                  <a:lnTo>
                    <a:pt x="739" y="390"/>
                  </a:lnTo>
                  <a:lnTo>
                    <a:pt x="752" y="377"/>
                  </a:lnTo>
                  <a:lnTo>
                    <a:pt x="758" y="371"/>
                  </a:lnTo>
                  <a:lnTo>
                    <a:pt x="761" y="368"/>
                  </a:lnTo>
                  <a:lnTo>
                    <a:pt x="761" y="367"/>
                  </a:lnTo>
                  <a:lnTo>
                    <a:pt x="761" y="366"/>
                  </a:lnTo>
                  <a:lnTo>
                    <a:pt x="759" y="366"/>
                  </a:lnTo>
                  <a:lnTo>
                    <a:pt x="759" y="364"/>
                  </a:lnTo>
                  <a:lnTo>
                    <a:pt x="765" y="363"/>
                  </a:lnTo>
                  <a:lnTo>
                    <a:pt x="771" y="360"/>
                  </a:lnTo>
                  <a:lnTo>
                    <a:pt x="777" y="358"/>
                  </a:lnTo>
                  <a:lnTo>
                    <a:pt x="779" y="357"/>
                  </a:lnTo>
                  <a:lnTo>
                    <a:pt x="781" y="351"/>
                  </a:lnTo>
                  <a:lnTo>
                    <a:pt x="784" y="350"/>
                  </a:lnTo>
                  <a:lnTo>
                    <a:pt x="787" y="350"/>
                  </a:lnTo>
                  <a:lnTo>
                    <a:pt x="792" y="350"/>
                  </a:lnTo>
                  <a:lnTo>
                    <a:pt x="795" y="351"/>
                  </a:lnTo>
                  <a:lnTo>
                    <a:pt x="795" y="353"/>
                  </a:lnTo>
                  <a:lnTo>
                    <a:pt x="792" y="353"/>
                  </a:lnTo>
                  <a:lnTo>
                    <a:pt x="788" y="353"/>
                  </a:lnTo>
                  <a:lnTo>
                    <a:pt x="785" y="354"/>
                  </a:lnTo>
                  <a:lnTo>
                    <a:pt x="785" y="356"/>
                  </a:lnTo>
                  <a:lnTo>
                    <a:pt x="785" y="357"/>
                  </a:lnTo>
                  <a:lnTo>
                    <a:pt x="787" y="358"/>
                  </a:lnTo>
                  <a:lnTo>
                    <a:pt x="791" y="358"/>
                  </a:lnTo>
                  <a:lnTo>
                    <a:pt x="791" y="360"/>
                  </a:lnTo>
                  <a:lnTo>
                    <a:pt x="791" y="361"/>
                  </a:lnTo>
                  <a:lnTo>
                    <a:pt x="789" y="363"/>
                  </a:lnTo>
                  <a:lnTo>
                    <a:pt x="789" y="364"/>
                  </a:lnTo>
                  <a:lnTo>
                    <a:pt x="791" y="366"/>
                  </a:lnTo>
                  <a:lnTo>
                    <a:pt x="792" y="364"/>
                  </a:lnTo>
                  <a:lnTo>
                    <a:pt x="795" y="363"/>
                  </a:lnTo>
                  <a:lnTo>
                    <a:pt x="797" y="363"/>
                  </a:lnTo>
                  <a:lnTo>
                    <a:pt x="800" y="364"/>
                  </a:lnTo>
                  <a:lnTo>
                    <a:pt x="801" y="364"/>
                  </a:lnTo>
                  <a:lnTo>
                    <a:pt x="802" y="363"/>
                  </a:lnTo>
                  <a:lnTo>
                    <a:pt x="802" y="360"/>
                  </a:lnTo>
                  <a:lnTo>
                    <a:pt x="804" y="356"/>
                  </a:lnTo>
                  <a:lnTo>
                    <a:pt x="808" y="354"/>
                  </a:lnTo>
                  <a:lnTo>
                    <a:pt x="812" y="356"/>
                  </a:lnTo>
                  <a:lnTo>
                    <a:pt x="818" y="356"/>
                  </a:lnTo>
                  <a:lnTo>
                    <a:pt x="818" y="354"/>
                  </a:lnTo>
                  <a:lnTo>
                    <a:pt x="817" y="353"/>
                  </a:lnTo>
                  <a:lnTo>
                    <a:pt x="814" y="350"/>
                  </a:lnTo>
                  <a:lnTo>
                    <a:pt x="814" y="347"/>
                  </a:lnTo>
                  <a:lnTo>
                    <a:pt x="815" y="346"/>
                  </a:lnTo>
                  <a:lnTo>
                    <a:pt x="820" y="346"/>
                  </a:lnTo>
                  <a:lnTo>
                    <a:pt x="825" y="346"/>
                  </a:lnTo>
                  <a:lnTo>
                    <a:pt x="830" y="343"/>
                  </a:lnTo>
                  <a:lnTo>
                    <a:pt x="835" y="344"/>
                  </a:lnTo>
                  <a:lnTo>
                    <a:pt x="838" y="344"/>
                  </a:lnTo>
                  <a:lnTo>
                    <a:pt x="844" y="343"/>
                  </a:lnTo>
                  <a:lnTo>
                    <a:pt x="845" y="341"/>
                  </a:lnTo>
                  <a:lnTo>
                    <a:pt x="847" y="340"/>
                  </a:lnTo>
                  <a:lnTo>
                    <a:pt x="848" y="338"/>
                  </a:lnTo>
                  <a:lnTo>
                    <a:pt x="852" y="338"/>
                  </a:lnTo>
                  <a:lnTo>
                    <a:pt x="857" y="336"/>
                  </a:lnTo>
                  <a:lnTo>
                    <a:pt x="857" y="334"/>
                  </a:lnTo>
                  <a:lnTo>
                    <a:pt x="860" y="336"/>
                  </a:lnTo>
                  <a:lnTo>
                    <a:pt x="858" y="337"/>
                  </a:lnTo>
                  <a:lnTo>
                    <a:pt x="857" y="340"/>
                  </a:lnTo>
                  <a:lnTo>
                    <a:pt x="858" y="344"/>
                  </a:lnTo>
                  <a:lnTo>
                    <a:pt x="858" y="346"/>
                  </a:lnTo>
                  <a:lnTo>
                    <a:pt x="860" y="346"/>
                  </a:lnTo>
                  <a:lnTo>
                    <a:pt x="863" y="344"/>
                  </a:lnTo>
                  <a:lnTo>
                    <a:pt x="865" y="340"/>
                  </a:lnTo>
                  <a:lnTo>
                    <a:pt x="868" y="337"/>
                  </a:lnTo>
                  <a:lnTo>
                    <a:pt x="870" y="337"/>
                  </a:lnTo>
                  <a:lnTo>
                    <a:pt x="871" y="338"/>
                  </a:lnTo>
                  <a:lnTo>
                    <a:pt x="871" y="341"/>
                  </a:lnTo>
                  <a:lnTo>
                    <a:pt x="873" y="343"/>
                  </a:lnTo>
                  <a:lnTo>
                    <a:pt x="875" y="343"/>
                  </a:lnTo>
                  <a:lnTo>
                    <a:pt x="877" y="343"/>
                  </a:lnTo>
                  <a:lnTo>
                    <a:pt x="880" y="340"/>
                  </a:lnTo>
                  <a:lnTo>
                    <a:pt x="883" y="340"/>
                  </a:lnTo>
                  <a:lnTo>
                    <a:pt x="884" y="340"/>
                  </a:lnTo>
                  <a:lnTo>
                    <a:pt x="887" y="343"/>
                  </a:lnTo>
                  <a:lnTo>
                    <a:pt x="888" y="344"/>
                  </a:lnTo>
                  <a:lnTo>
                    <a:pt x="890" y="344"/>
                  </a:lnTo>
                  <a:lnTo>
                    <a:pt x="888" y="340"/>
                  </a:lnTo>
                  <a:lnTo>
                    <a:pt x="888" y="336"/>
                  </a:lnTo>
                  <a:lnTo>
                    <a:pt x="888" y="331"/>
                  </a:lnTo>
                  <a:lnTo>
                    <a:pt x="893" y="330"/>
                  </a:lnTo>
                  <a:lnTo>
                    <a:pt x="895" y="330"/>
                  </a:lnTo>
                  <a:lnTo>
                    <a:pt x="900" y="331"/>
                  </a:lnTo>
                  <a:lnTo>
                    <a:pt x="904" y="330"/>
                  </a:lnTo>
                  <a:lnTo>
                    <a:pt x="905" y="331"/>
                  </a:lnTo>
                  <a:lnTo>
                    <a:pt x="907" y="331"/>
                  </a:lnTo>
                  <a:lnTo>
                    <a:pt x="908" y="333"/>
                  </a:lnTo>
                  <a:lnTo>
                    <a:pt x="910" y="331"/>
                  </a:lnTo>
                  <a:lnTo>
                    <a:pt x="911" y="330"/>
                  </a:lnTo>
                  <a:lnTo>
                    <a:pt x="914" y="330"/>
                  </a:lnTo>
                  <a:lnTo>
                    <a:pt x="918" y="330"/>
                  </a:lnTo>
                  <a:lnTo>
                    <a:pt x="921" y="330"/>
                  </a:lnTo>
                  <a:lnTo>
                    <a:pt x="923" y="330"/>
                  </a:lnTo>
                  <a:lnTo>
                    <a:pt x="926" y="327"/>
                  </a:lnTo>
                  <a:lnTo>
                    <a:pt x="926" y="324"/>
                  </a:lnTo>
                  <a:lnTo>
                    <a:pt x="927" y="323"/>
                  </a:lnTo>
                  <a:lnTo>
                    <a:pt x="931" y="326"/>
                  </a:lnTo>
                  <a:lnTo>
                    <a:pt x="933" y="326"/>
                  </a:lnTo>
                  <a:lnTo>
                    <a:pt x="938" y="324"/>
                  </a:lnTo>
                  <a:lnTo>
                    <a:pt x="941" y="323"/>
                  </a:lnTo>
                  <a:lnTo>
                    <a:pt x="947" y="323"/>
                  </a:lnTo>
                  <a:lnTo>
                    <a:pt x="953" y="320"/>
                  </a:lnTo>
                  <a:lnTo>
                    <a:pt x="956" y="320"/>
                  </a:lnTo>
                  <a:lnTo>
                    <a:pt x="960" y="320"/>
                  </a:lnTo>
                  <a:lnTo>
                    <a:pt x="963" y="320"/>
                  </a:lnTo>
                  <a:lnTo>
                    <a:pt x="969" y="317"/>
                  </a:lnTo>
                  <a:lnTo>
                    <a:pt x="974" y="314"/>
                  </a:lnTo>
                  <a:lnTo>
                    <a:pt x="980" y="313"/>
                  </a:lnTo>
                  <a:lnTo>
                    <a:pt x="984" y="313"/>
                  </a:lnTo>
                  <a:lnTo>
                    <a:pt x="986" y="311"/>
                  </a:lnTo>
                  <a:lnTo>
                    <a:pt x="987" y="310"/>
                  </a:lnTo>
                  <a:lnTo>
                    <a:pt x="991" y="307"/>
                  </a:lnTo>
                  <a:lnTo>
                    <a:pt x="994" y="305"/>
                  </a:lnTo>
                  <a:lnTo>
                    <a:pt x="997" y="303"/>
                  </a:lnTo>
                  <a:lnTo>
                    <a:pt x="997" y="300"/>
                  </a:lnTo>
                  <a:lnTo>
                    <a:pt x="997" y="298"/>
                  </a:lnTo>
                  <a:lnTo>
                    <a:pt x="996" y="301"/>
                  </a:lnTo>
                  <a:lnTo>
                    <a:pt x="993" y="304"/>
                  </a:lnTo>
                  <a:lnTo>
                    <a:pt x="989" y="305"/>
                  </a:lnTo>
                  <a:lnTo>
                    <a:pt x="983" y="308"/>
                  </a:lnTo>
                  <a:lnTo>
                    <a:pt x="979" y="311"/>
                  </a:lnTo>
                  <a:lnTo>
                    <a:pt x="976" y="311"/>
                  </a:lnTo>
                  <a:lnTo>
                    <a:pt x="974" y="311"/>
                  </a:lnTo>
                  <a:lnTo>
                    <a:pt x="973" y="310"/>
                  </a:lnTo>
                  <a:lnTo>
                    <a:pt x="973" y="305"/>
                  </a:lnTo>
                  <a:lnTo>
                    <a:pt x="974" y="300"/>
                  </a:lnTo>
                  <a:lnTo>
                    <a:pt x="973" y="300"/>
                  </a:lnTo>
                  <a:lnTo>
                    <a:pt x="971" y="300"/>
                  </a:lnTo>
                  <a:lnTo>
                    <a:pt x="971" y="304"/>
                  </a:lnTo>
                  <a:lnTo>
                    <a:pt x="971" y="307"/>
                  </a:lnTo>
                  <a:lnTo>
                    <a:pt x="970" y="313"/>
                  </a:lnTo>
                  <a:lnTo>
                    <a:pt x="970" y="313"/>
                  </a:lnTo>
                  <a:lnTo>
                    <a:pt x="969" y="313"/>
                  </a:lnTo>
                  <a:lnTo>
                    <a:pt x="967" y="310"/>
                  </a:lnTo>
                  <a:lnTo>
                    <a:pt x="964" y="304"/>
                  </a:lnTo>
                  <a:lnTo>
                    <a:pt x="963" y="303"/>
                  </a:lnTo>
                  <a:lnTo>
                    <a:pt x="963" y="298"/>
                  </a:lnTo>
                  <a:lnTo>
                    <a:pt x="964" y="295"/>
                  </a:lnTo>
                  <a:lnTo>
                    <a:pt x="964" y="293"/>
                  </a:lnTo>
                  <a:lnTo>
                    <a:pt x="963" y="293"/>
                  </a:lnTo>
                  <a:lnTo>
                    <a:pt x="961" y="293"/>
                  </a:lnTo>
                  <a:lnTo>
                    <a:pt x="961" y="293"/>
                  </a:lnTo>
                  <a:lnTo>
                    <a:pt x="961" y="295"/>
                  </a:lnTo>
                  <a:lnTo>
                    <a:pt x="960" y="297"/>
                  </a:lnTo>
                  <a:lnTo>
                    <a:pt x="957" y="297"/>
                  </a:lnTo>
                  <a:lnTo>
                    <a:pt x="957" y="297"/>
                  </a:lnTo>
                  <a:lnTo>
                    <a:pt x="956" y="298"/>
                  </a:lnTo>
                  <a:lnTo>
                    <a:pt x="954" y="300"/>
                  </a:lnTo>
                  <a:lnTo>
                    <a:pt x="953" y="298"/>
                  </a:lnTo>
                  <a:lnTo>
                    <a:pt x="951" y="300"/>
                  </a:lnTo>
                  <a:lnTo>
                    <a:pt x="951" y="303"/>
                  </a:lnTo>
                  <a:lnTo>
                    <a:pt x="953" y="303"/>
                  </a:lnTo>
                  <a:lnTo>
                    <a:pt x="954" y="304"/>
                  </a:lnTo>
                  <a:lnTo>
                    <a:pt x="956" y="305"/>
                  </a:lnTo>
                  <a:lnTo>
                    <a:pt x="956" y="307"/>
                  </a:lnTo>
                  <a:lnTo>
                    <a:pt x="954" y="307"/>
                  </a:lnTo>
                  <a:lnTo>
                    <a:pt x="951" y="307"/>
                  </a:lnTo>
                  <a:lnTo>
                    <a:pt x="948" y="307"/>
                  </a:lnTo>
                  <a:lnTo>
                    <a:pt x="947" y="305"/>
                  </a:lnTo>
                  <a:lnTo>
                    <a:pt x="946" y="308"/>
                  </a:lnTo>
                  <a:lnTo>
                    <a:pt x="944" y="307"/>
                  </a:lnTo>
                  <a:lnTo>
                    <a:pt x="944" y="305"/>
                  </a:lnTo>
                  <a:lnTo>
                    <a:pt x="946" y="300"/>
                  </a:lnTo>
                  <a:lnTo>
                    <a:pt x="946" y="297"/>
                  </a:lnTo>
                  <a:lnTo>
                    <a:pt x="946" y="294"/>
                  </a:lnTo>
                  <a:lnTo>
                    <a:pt x="946" y="291"/>
                  </a:lnTo>
                  <a:lnTo>
                    <a:pt x="948" y="290"/>
                  </a:lnTo>
                  <a:lnTo>
                    <a:pt x="950" y="288"/>
                  </a:lnTo>
                  <a:lnTo>
                    <a:pt x="951" y="285"/>
                  </a:lnTo>
                  <a:lnTo>
                    <a:pt x="950" y="284"/>
                  </a:lnTo>
                  <a:lnTo>
                    <a:pt x="948" y="281"/>
                  </a:lnTo>
                  <a:lnTo>
                    <a:pt x="950" y="280"/>
                  </a:lnTo>
                  <a:lnTo>
                    <a:pt x="951" y="280"/>
                  </a:lnTo>
                  <a:lnTo>
                    <a:pt x="953" y="280"/>
                  </a:lnTo>
                  <a:lnTo>
                    <a:pt x="954" y="277"/>
                  </a:lnTo>
                  <a:lnTo>
                    <a:pt x="956" y="278"/>
                  </a:lnTo>
                  <a:lnTo>
                    <a:pt x="957" y="280"/>
                  </a:lnTo>
                  <a:lnTo>
                    <a:pt x="956" y="281"/>
                  </a:lnTo>
                  <a:lnTo>
                    <a:pt x="956" y="283"/>
                  </a:lnTo>
                  <a:lnTo>
                    <a:pt x="956" y="285"/>
                  </a:lnTo>
                  <a:lnTo>
                    <a:pt x="958" y="287"/>
                  </a:lnTo>
                  <a:lnTo>
                    <a:pt x="961" y="287"/>
                  </a:lnTo>
                  <a:lnTo>
                    <a:pt x="964" y="284"/>
                  </a:lnTo>
                  <a:lnTo>
                    <a:pt x="964" y="283"/>
                  </a:lnTo>
                  <a:lnTo>
                    <a:pt x="963" y="281"/>
                  </a:lnTo>
                  <a:lnTo>
                    <a:pt x="963" y="280"/>
                  </a:lnTo>
                  <a:lnTo>
                    <a:pt x="963" y="278"/>
                  </a:lnTo>
                  <a:lnTo>
                    <a:pt x="964" y="278"/>
                  </a:lnTo>
                  <a:lnTo>
                    <a:pt x="966" y="277"/>
                  </a:lnTo>
                  <a:lnTo>
                    <a:pt x="964" y="275"/>
                  </a:lnTo>
                  <a:lnTo>
                    <a:pt x="960" y="274"/>
                  </a:lnTo>
                  <a:lnTo>
                    <a:pt x="960" y="273"/>
                  </a:lnTo>
                  <a:lnTo>
                    <a:pt x="961" y="271"/>
                  </a:lnTo>
                  <a:lnTo>
                    <a:pt x="964" y="270"/>
                  </a:lnTo>
                  <a:lnTo>
                    <a:pt x="966" y="271"/>
                  </a:lnTo>
                  <a:lnTo>
                    <a:pt x="967" y="273"/>
                  </a:lnTo>
                  <a:lnTo>
                    <a:pt x="969" y="273"/>
                  </a:lnTo>
                  <a:lnTo>
                    <a:pt x="970" y="271"/>
                  </a:lnTo>
                  <a:lnTo>
                    <a:pt x="973" y="271"/>
                  </a:lnTo>
                  <a:lnTo>
                    <a:pt x="976" y="273"/>
                  </a:lnTo>
                  <a:lnTo>
                    <a:pt x="976" y="274"/>
                  </a:lnTo>
                  <a:lnTo>
                    <a:pt x="974" y="277"/>
                  </a:lnTo>
                  <a:lnTo>
                    <a:pt x="973" y="277"/>
                  </a:lnTo>
                  <a:lnTo>
                    <a:pt x="970" y="278"/>
                  </a:lnTo>
                  <a:lnTo>
                    <a:pt x="970" y="278"/>
                  </a:lnTo>
                  <a:lnTo>
                    <a:pt x="969" y="280"/>
                  </a:lnTo>
                  <a:lnTo>
                    <a:pt x="971" y="281"/>
                  </a:lnTo>
                  <a:lnTo>
                    <a:pt x="973" y="283"/>
                  </a:lnTo>
                  <a:lnTo>
                    <a:pt x="971" y="284"/>
                  </a:lnTo>
                  <a:lnTo>
                    <a:pt x="970" y="287"/>
                  </a:lnTo>
                  <a:lnTo>
                    <a:pt x="970" y="290"/>
                  </a:lnTo>
                  <a:lnTo>
                    <a:pt x="973" y="290"/>
                  </a:lnTo>
                  <a:lnTo>
                    <a:pt x="974" y="287"/>
                  </a:lnTo>
                  <a:lnTo>
                    <a:pt x="976" y="285"/>
                  </a:lnTo>
                  <a:lnTo>
                    <a:pt x="976" y="283"/>
                  </a:lnTo>
                  <a:lnTo>
                    <a:pt x="976" y="281"/>
                  </a:lnTo>
                  <a:lnTo>
                    <a:pt x="977" y="281"/>
                  </a:lnTo>
                  <a:lnTo>
                    <a:pt x="979" y="283"/>
                  </a:lnTo>
                  <a:lnTo>
                    <a:pt x="980" y="284"/>
                  </a:lnTo>
                  <a:lnTo>
                    <a:pt x="981" y="283"/>
                  </a:lnTo>
                  <a:lnTo>
                    <a:pt x="983" y="280"/>
                  </a:lnTo>
                  <a:lnTo>
                    <a:pt x="983" y="280"/>
                  </a:lnTo>
                  <a:lnTo>
                    <a:pt x="986" y="281"/>
                  </a:lnTo>
                  <a:lnTo>
                    <a:pt x="986" y="283"/>
                  </a:lnTo>
                  <a:lnTo>
                    <a:pt x="989" y="283"/>
                  </a:lnTo>
                  <a:lnTo>
                    <a:pt x="990" y="283"/>
                  </a:lnTo>
                  <a:lnTo>
                    <a:pt x="990" y="281"/>
                  </a:lnTo>
                  <a:lnTo>
                    <a:pt x="990" y="280"/>
                  </a:lnTo>
                  <a:lnTo>
                    <a:pt x="990" y="278"/>
                  </a:lnTo>
                  <a:lnTo>
                    <a:pt x="990" y="277"/>
                  </a:lnTo>
                  <a:lnTo>
                    <a:pt x="986" y="275"/>
                  </a:lnTo>
                  <a:lnTo>
                    <a:pt x="983" y="275"/>
                  </a:lnTo>
                  <a:lnTo>
                    <a:pt x="984" y="273"/>
                  </a:lnTo>
                  <a:lnTo>
                    <a:pt x="984" y="271"/>
                  </a:lnTo>
                  <a:lnTo>
                    <a:pt x="989" y="273"/>
                  </a:lnTo>
                  <a:lnTo>
                    <a:pt x="994" y="274"/>
                  </a:lnTo>
                  <a:lnTo>
                    <a:pt x="997" y="274"/>
                  </a:lnTo>
                  <a:lnTo>
                    <a:pt x="999" y="271"/>
                  </a:lnTo>
                  <a:lnTo>
                    <a:pt x="1000" y="271"/>
                  </a:lnTo>
                  <a:lnTo>
                    <a:pt x="1001" y="273"/>
                  </a:lnTo>
                  <a:lnTo>
                    <a:pt x="1000" y="275"/>
                  </a:lnTo>
                  <a:lnTo>
                    <a:pt x="1003" y="275"/>
                  </a:lnTo>
                  <a:lnTo>
                    <a:pt x="1006" y="274"/>
                  </a:lnTo>
                  <a:lnTo>
                    <a:pt x="1010" y="273"/>
                  </a:lnTo>
                  <a:lnTo>
                    <a:pt x="1011" y="273"/>
                  </a:lnTo>
                  <a:lnTo>
                    <a:pt x="1013" y="274"/>
                  </a:lnTo>
                  <a:lnTo>
                    <a:pt x="1011" y="274"/>
                  </a:lnTo>
                  <a:lnTo>
                    <a:pt x="1010" y="275"/>
                  </a:lnTo>
                  <a:lnTo>
                    <a:pt x="1013" y="277"/>
                  </a:lnTo>
                  <a:lnTo>
                    <a:pt x="1014" y="277"/>
                  </a:lnTo>
                  <a:lnTo>
                    <a:pt x="1014" y="278"/>
                  </a:lnTo>
                  <a:lnTo>
                    <a:pt x="1014" y="281"/>
                  </a:lnTo>
                  <a:lnTo>
                    <a:pt x="1014" y="283"/>
                  </a:lnTo>
                  <a:lnTo>
                    <a:pt x="1016" y="283"/>
                  </a:lnTo>
                  <a:lnTo>
                    <a:pt x="1017" y="281"/>
                  </a:lnTo>
                  <a:lnTo>
                    <a:pt x="1020" y="281"/>
                  </a:lnTo>
                  <a:lnTo>
                    <a:pt x="1021" y="283"/>
                  </a:lnTo>
                  <a:lnTo>
                    <a:pt x="1023" y="281"/>
                  </a:lnTo>
                  <a:lnTo>
                    <a:pt x="1020" y="278"/>
                  </a:lnTo>
                  <a:lnTo>
                    <a:pt x="1020" y="277"/>
                  </a:lnTo>
                  <a:lnTo>
                    <a:pt x="1023" y="277"/>
                  </a:lnTo>
                  <a:lnTo>
                    <a:pt x="1026" y="277"/>
                  </a:lnTo>
                  <a:lnTo>
                    <a:pt x="1026" y="277"/>
                  </a:lnTo>
                  <a:lnTo>
                    <a:pt x="1027" y="275"/>
                  </a:lnTo>
                  <a:lnTo>
                    <a:pt x="1027" y="273"/>
                  </a:lnTo>
                  <a:lnTo>
                    <a:pt x="1024" y="273"/>
                  </a:lnTo>
                  <a:lnTo>
                    <a:pt x="1020" y="273"/>
                  </a:lnTo>
                  <a:lnTo>
                    <a:pt x="1017" y="273"/>
                  </a:lnTo>
                  <a:lnTo>
                    <a:pt x="1017" y="271"/>
                  </a:lnTo>
                  <a:lnTo>
                    <a:pt x="1017" y="270"/>
                  </a:lnTo>
                  <a:lnTo>
                    <a:pt x="1019" y="268"/>
                  </a:lnTo>
                  <a:lnTo>
                    <a:pt x="1027" y="268"/>
                  </a:lnTo>
                  <a:lnTo>
                    <a:pt x="1032" y="268"/>
                  </a:lnTo>
                  <a:lnTo>
                    <a:pt x="1033" y="271"/>
                  </a:lnTo>
                  <a:lnTo>
                    <a:pt x="1033" y="275"/>
                  </a:lnTo>
                  <a:lnTo>
                    <a:pt x="1034" y="277"/>
                  </a:lnTo>
                  <a:lnTo>
                    <a:pt x="1037" y="280"/>
                  </a:lnTo>
                  <a:lnTo>
                    <a:pt x="1037" y="281"/>
                  </a:lnTo>
                  <a:lnTo>
                    <a:pt x="1039" y="281"/>
                  </a:lnTo>
                  <a:lnTo>
                    <a:pt x="1042" y="278"/>
                  </a:lnTo>
                  <a:lnTo>
                    <a:pt x="1044" y="277"/>
                  </a:lnTo>
                  <a:lnTo>
                    <a:pt x="1046" y="277"/>
                  </a:lnTo>
                  <a:lnTo>
                    <a:pt x="1047" y="278"/>
                  </a:lnTo>
                  <a:lnTo>
                    <a:pt x="1049" y="278"/>
                  </a:lnTo>
                  <a:lnTo>
                    <a:pt x="1050" y="277"/>
                  </a:lnTo>
                  <a:lnTo>
                    <a:pt x="1050" y="274"/>
                  </a:lnTo>
                  <a:lnTo>
                    <a:pt x="1053" y="273"/>
                  </a:lnTo>
                  <a:lnTo>
                    <a:pt x="1053" y="270"/>
                  </a:lnTo>
                  <a:lnTo>
                    <a:pt x="1054" y="268"/>
                  </a:lnTo>
                  <a:lnTo>
                    <a:pt x="1056" y="270"/>
                  </a:lnTo>
                  <a:lnTo>
                    <a:pt x="1059" y="271"/>
                  </a:lnTo>
                  <a:lnTo>
                    <a:pt x="1072" y="277"/>
                  </a:lnTo>
                  <a:lnTo>
                    <a:pt x="1079" y="281"/>
                  </a:lnTo>
                  <a:lnTo>
                    <a:pt x="1085" y="284"/>
                  </a:lnTo>
                  <a:lnTo>
                    <a:pt x="1085" y="285"/>
                  </a:lnTo>
                  <a:lnTo>
                    <a:pt x="1085" y="287"/>
                  </a:lnTo>
                  <a:lnTo>
                    <a:pt x="1082" y="288"/>
                  </a:lnTo>
                  <a:lnTo>
                    <a:pt x="1077" y="287"/>
                  </a:lnTo>
                  <a:lnTo>
                    <a:pt x="1077" y="287"/>
                  </a:lnTo>
                  <a:lnTo>
                    <a:pt x="1077" y="288"/>
                  </a:lnTo>
                  <a:lnTo>
                    <a:pt x="1077" y="290"/>
                  </a:lnTo>
                  <a:lnTo>
                    <a:pt x="1079" y="291"/>
                  </a:lnTo>
                  <a:lnTo>
                    <a:pt x="1083" y="291"/>
                  </a:lnTo>
                  <a:lnTo>
                    <a:pt x="1083" y="293"/>
                  </a:lnTo>
                  <a:lnTo>
                    <a:pt x="1080" y="293"/>
                  </a:lnTo>
                  <a:lnTo>
                    <a:pt x="1077" y="295"/>
                  </a:lnTo>
                  <a:lnTo>
                    <a:pt x="1077" y="297"/>
                  </a:lnTo>
                  <a:lnTo>
                    <a:pt x="1077" y="300"/>
                  </a:lnTo>
                  <a:lnTo>
                    <a:pt x="1076" y="301"/>
                  </a:lnTo>
                  <a:lnTo>
                    <a:pt x="1074" y="304"/>
                  </a:lnTo>
                  <a:lnTo>
                    <a:pt x="1072" y="304"/>
                  </a:lnTo>
                  <a:lnTo>
                    <a:pt x="1069" y="304"/>
                  </a:lnTo>
                  <a:lnTo>
                    <a:pt x="1063" y="310"/>
                  </a:lnTo>
                  <a:lnTo>
                    <a:pt x="1063" y="313"/>
                  </a:lnTo>
                  <a:lnTo>
                    <a:pt x="1062" y="315"/>
                  </a:lnTo>
                  <a:lnTo>
                    <a:pt x="1057" y="317"/>
                  </a:lnTo>
                  <a:lnTo>
                    <a:pt x="1057" y="318"/>
                  </a:lnTo>
                  <a:lnTo>
                    <a:pt x="1059" y="323"/>
                  </a:lnTo>
                  <a:lnTo>
                    <a:pt x="1060" y="324"/>
                  </a:lnTo>
                  <a:lnTo>
                    <a:pt x="1062" y="326"/>
                  </a:lnTo>
                  <a:lnTo>
                    <a:pt x="1063" y="326"/>
                  </a:lnTo>
                  <a:lnTo>
                    <a:pt x="1064" y="323"/>
                  </a:lnTo>
                  <a:lnTo>
                    <a:pt x="1067" y="315"/>
                  </a:lnTo>
                  <a:lnTo>
                    <a:pt x="1072" y="310"/>
                  </a:lnTo>
                  <a:lnTo>
                    <a:pt x="1072" y="310"/>
                  </a:lnTo>
                  <a:lnTo>
                    <a:pt x="1076" y="310"/>
                  </a:lnTo>
                  <a:lnTo>
                    <a:pt x="1077" y="310"/>
                  </a:lnTo>
                  <a:lnTo>
                    <a:pt x="1079" y="308"/>
                  </a:lnTo>
                  <a:lnTo>
                    <a:pt x="1082" y="308"/>
                  </a:lnTo>
                  <a:lnTo>
                    <a:pt x="1083" y="310"/>
                  </a:lnTo>
                  <a:lnTo>
                    <a:pt x="1085" y="311"/>
                  </a:lnTo>
                  <a:lnTo>
                    <a:pt x="1089" y="310"/>
                  </a:lnTo>
                  <a:lnTo>
                    <a:pt x="1089" y="308"/>
                  </a:lnTo>
                  <a:lnTo>
                    <a:pt x="1089" y="307"/>
                  </a:lnTo>
                  <a:lnTo>
                    <a:pt x="1087" y="307"/>
                  </a:lnTo>
                  <a:lnTo>
                    <a:pt x="1089" y="305"/>
                  </a:lnTo>
                  <a:lnTo>
                    <a:pt x="1090" y="304"/>
                  </a:lnTo>
                  <a:lnTo>
                    <a:pt x="1093" y="303"/>
                  </a:lnTo>
                  <a:lnTo>
                    <a:pt x="1096" y="300"/>
                  </a:lnTo>
                  <a:lnTo>
                    <a:pt x="1097" y="300"/>
                  </a:lnTo>
                  <a:lnTo>
                    <a:pt x="1099" y="300"/>
                  </a:lnTo>
                  <a:lnTo>
                    <a:pt x="1097" y="301"/>
                  </a:lnTo>
                  <a:lnTo>
                    <a:pt x="1096" y="304"/>
                  </a:lnTo>
                  <a:lnTo>
                    <a:pt x="1096" y="305"/>
                  </a:lnTo>
                  <a:lnTo>
                    <a:pt x="1099" y="305"/>
                  </a:lnTo>
                  <a:lnTo>
                    <a:pt x="1102" y="307"/>
                  </a:lnTo>
                  <a:lnTo>
                    <a:pt x="1103" y="308"/>
                  </a:lnTo>
                  <a:lnTo>
                    <a:pt x="1102" y="311"/>
                  </a:lnTo>
                  <a:lnTo>
                    <a:pt x="1097" y="317"/>
                  </a:lnTo>
                  <a:lnTo>
                    <a:pt x="1096" y="320"/>
                  </a:lnTo>
                  <a:lnTo>
                    <a:pt x="1096" y="321"/>
                  </a:lnTo>
                  <a:lnTo>
                    <a:pt x="1097" y="323"/>
                  </a:lnTo>
                  <a:lnTo>
                    <a:pt x="1099" y="323"/>
                  </a:lnTo>
                  <a:lnTo>
                    <a:pt x="1100" y="323"/>
                  </a:lnTo>
                  <a:lnTo>
                    <a:pt x="1102" y="320"/>
                  </a:lnTo>
                  <a:lnTo>
                    <a:pt x="1105" y="318"/>
                  </a:lnTo>
                  <a:lnTo>
                    <a:pt x="1106" y="320"/>
                  </a:lnTo>
                  <a:lnTo>
                    <a:pt x="1109" y="320"/>
                  </a:lnTo>
                  <a:lnTo>
                    <a:pt x="1110" y="320"/>
                  </a:lnTo>
                  <a:lnTo>
                    <a:pt x="1112" y="315"/>
                  </a:lnTo>
                  <a:lnTo>
                    <a:pt x="1115" y="314"/>
                  </a:lnTo>
                  <a:lnTo>
                    <a:pt x="1116" y="311"/>
                  </a:lnTo>
                  <a:lnTo>
                    <a:pt x="1117" y="308"/>
                  </a:lnTo>
                  <a:lnTo>
                    <a:pt x="1123" y="305"/>
                  </a:lnTo>
                  <a:lnTo>
                    <a:pt x="1125" y="304"/>
                  </a:lnTo>
                  <a:lnTo>
                    <a:pt x="1125" y="303"/>
                  </a:lnTo>
                  <a:lnTo>
                    <a:pt x="1122" y="303"/>
                  </a:lnTo>
                  <a:lnTo>
                    <a:pt x="1116" y="303"/>
                  </a:lnTo>
                  <a:lnTo>
                    <a:pt x="1110" y="305"/>
                  </a:lnTo>
                  <a:lnTo>
                    <a:pt x="1106" y="305"/>
                  </a:lnTo>
                  <a:lnTo>
                    <a:pt x="1103" y="305"/>
                  </a:lnTo>
                  <a:lnTo>
                    <a:pt x="1103" y="303"/>
                  </a:lnTo>
                  <a:lnTo>
                    <a:pt x="1105" y="300"/>
                  </a:lnTo>
                  <a:lnTo>
                    <a:pt x="1113" y="295"/>
                  </a:lnTo>
                  <a:lnTo>
                    <a:pt x="1120" y="291"/>
                  </a:lnTo>
                  <a:lnTo>
                    <a:pt x="1122" y="288"/>
                  </a:lnTo>
                  <a:lnTo>
                    <a:pt x="1126" y="287"/>
                  </a:lnTo>
                  <a:lnTo>
                    <a:pt x="1129" y="285"/>
                  </a:lnTo>
                  <a:lnTo>
                    <a:pt x="1130" y="285"/>
                  </a:lnTo>
                  <a:lnTo>
                    <a:pt x="1130" y="288"/>
                  </a:lnTo>
                  <a:lnTo>
                    <a:pt x="1130" y="290"/>
                  </a:lnTo>
                  <a:lnTo>
                    <a:pt x="1125" y="294"/>
                  </a:lnTo>
                  <a:lnTo>
                    <a:pt x="1123" y="297"/>
                  </a:lnTo>
                  <a:lnTo>
                    <a:pt x="1123" y="298"/>
                  </a:lnTo>
                  <a:lnTo>
                    <a:pt x="1123" y="300"/>
                  </a:lnTo>
                  <a:lnTo>
                    <a:pt x="1125" y="300"/>
                  </a:lnTo>
                  <a:lnTo>
                    <a:pt x="1127" y="300"/>
                  </a:lnTo>
                  <a:lnTo>
                    <a:pt x="1130" y="298"/>
                  </a:lnTo>
                  <a:lnTo>
                    <a:pt x="1130" y="300"/>
                  </a:lnTo>
                  <a:lnTo>
                    <a:pt x="1130" y="301"/>
                  </a:lnTo>
                  <a:lnTo>
                    <a:pt x="1130" y="303"/>
                  </a:lnTo>
                  <a:lnTo>
                    <a:pt x="1127" y="305"/>
                  </a:lnTo>
                  <a:lnTo>
                    <a:pt x="1126" y="305"/>
                  </a:lnTo>
                  <a:lnTo>
                    <a:pt x="1126" y="307"/>
                  </a:lnTo>
                  <a:lnTo>
                    <a:pt x="1126" y="308"/>
                  </a:lnTo>
                  <a:lnTo>
                    <a:pt x="1126" y="310"/>
                  </a:lnTo>
                  <a:lnTo>
                    <a:pt x="1123" y="314"/>
                  </a:lnTo>
                  <a:lnTo>
                    <a:pt x="1123" y="315"/>
                  </a:lnTo>
                  <a:lnTo>
                    <a:pt x="1125" y="315"/>
                  </a:lnTo>
                  <a:lnTo>
                    <a:pt x="1127" y="315"/>
                  </a:lnTo>
                  <a:lnTo>
                    <a:pt x="1129" y="313"/>
                  </a:lnTo>
                  <a:lnTo>
                    <a:pt x="1130" y="310"/>
                  </a:lnTo>
                  <a:lnTo>
                    <a:pt x="1130" y="308"/>
                  </a:lnTo>
                  <a:lnTo>
                    <a:pt x="1133" y="307"/>
                  </a:lnTo>
                  <a:lnTo>
                    <a:pt x="1138" y="305"/>
                  </a:lnTo>
                  <a:lnTo>
                    <a:pt x="1140" y="305"/>
                  </a:lnTo>
                  <a:lnTo>
                    <a:pt x="1143" y="307"/>
                  </a:lnTo>
                  <a:lnTo>
                    <a:pt x="1145" y="308"/>
                  </a:lnTo>
                  <a:lnTo>
                    <a:pt x="1149" y="308"/>
                  </a:lnTo>
                  <a:lnTo>
                    <a:pt x="1150" y="308"/>
                  </a:lnTo>
                  <a:lnTo>
                    <a:pt x="1152" y="307"/>
                  </a:lnTo>
                  <a:lnTo>
                    <a:pt x="1152" y="305"/>
                  </a:lnTo>
                  <a:lnTo>
                    <a:pt x="1149" y="304"/>
                  </a:lnTo>
                  <a:lnTo>
                    <a:pt x="1148" y="303"/>
                  </a:lnTo>
                  <a:lnTo>
                    <a:pt x="1148" y="300"/>
                  </a:lnTo>
                  <a:lnTo>
                    <a:pt x="1148" y="298"/>
                  </a:lnTo>
                  <a:lnTo>
                    <a:pt x="1148" y="298"/>
                  </a:lnTo>
                  <a:lnTo>
                    <a:pt x="1145" y="298"/>
                  </a:lnTo>
                  <a:lnTo>
                    <a:pt x="1142" y="298"/>
                  </a:lnTo>
                  <a:lnTo>
                    <a:pt x="1139" y="297"/>
                  </a:lnTo>
                  <a:lnTo>
                    <a:pt x="1139" y="295"/>
                  </a:lnTo>
                  <a:lnTo>
                    <a:pt x="1139" y="294"/>
                  </a:lnTo>
                  <a:lnTo>
                    <a:pt x="1140" y="294"/>
                  </a:lnTo>
                  <a:lnTo>
                    <a:pt x="1145" y="293"/>
                  </a:lnTo>
                  <a:lnTo>
                    <a:pt x="1148" y="290"/>
                  </a:lnTo>
                  <a:lnTo>
                    <a:pt x="1150" y="287"/>
                  </a:lnTo>
                  <a:lnTo>
                    <a:pt x="1152" y="287"/>
                  </a:lnTo>
                  <a:lnTo>
                    <a:pt x="1152" y="290"/>
                  </a:lnTo>
                  <a:lnTo>
                    <a:pt x="1150" y="290"/>
                  </a:lnTo>
                  <a:lnTo>
                    <a:pt x="1150" y="291"/>
                  </a:lnTo>
                  <a:lnTo>
                    <a:pt x="1152" y="293"/>
                  </a:lnTo>
                  <a:lnTo>
                    <a:pt x="1152" y="294"/>
                  </a:lnTo>
                  <a:lnTo>
                    <a:pt x="1152" y="295"/>
                  </a:lnTo>
                  <a:lnTo>
                    <a:pt x="1153" y="297"/>
                  </a:lnTo>
                  <a:lnTo>
                    <a:pt x="1156" y="294"/>
                  </a:lnTo>
                  <a:lnTo>
                    <a:pt x="1158" y="294"/>
                  </a:lnTo>
                  <a:lnTo>
                    <a:pt x="1160" y="293"/>
                  </a:lnTo>
                  <a:lnTo>
                    <a:pt x="1162" y="291"/>
                  </a:lnTo>
                  <a:lnTo>
                    <a:pt x="1165" y="291"/>
                  </a:lnTo>
                  <a:lnTo>
                    <a:pt x="1166" y="294"/>
                  </a:lnTo>
                  <a:lnTo>
                    <a:pt x="1168" y="294"/>
                  </a:lnTo>
                  <a:lnTo>
                    <a:pt x="1169" y="293"/>
                  </a:lnTo>
                  <a:lnTo>
                    <a:pt x="1170" y="291"/>
                  </a:lnTo>
                  <a:lnTo>
                    <a:pt x="1173" y="291"/>
                  </a:lnTo>
                  <a:lnTo>
                    <a:pt x="1173" y="290"/>
                  </a:lnTo>
                  <a:lnTo>
                    <a:pt x="1173" y="288"/>
                  </a:lnTo>
                  <a:lnTo>
                    <a:pt x="1172" y="287"/>
                  </a:lnTo>
                  <a:lnTo>
                    <a:pt x="1169" y="287"/>
                  </a:lnTo>
                  <a:lnTo>
                    <a:pt x="1166" y="288"/>
                  </a:lnTo>
                  <a:lnTo>
                    <a:pt x="1163" y="287"/>
                  </a:lnTo>
                  <a:lnTo>
                    <a:pt x="1160" y="285"/>
                  </a:lnTo>
                  <a:lnTo>
                    <a:pt x="1159" y="285"/>
                  </a:lnTo>
                  <a:lnTo>
                    <a:pt x="1156" y="285"/>
                  </a:lnTo>
                  <a:lnTo>
                    <a:pt x="1156" y="284"/>
                  </a:lnTo>
                  <a:lnTo>
                    <a:pt x="1159" y="280"/>
                  </a:lnTo>
                  <a:lnTo>
                    <a:pt x="1163" y="277"/>
                  </a:lnTo>
                  <a:lnTo>
                    <a:pt x="1170" y="275"/>
                  </a:lnTo>
                  <a:lnTo>
                    <a:pt x="1178" y="274"/>
                  </a:lnTo>
                  <a:lnTo>
                    <a:pt x="1180" y="271"/>
                  </a:lnTo>
                  <a:lnTo>
                    <a:pt x="1185" y="265"/>
                  </a:lnTo>
                  <a:lnTo>
                    <a:pt x="1186" y="262"/>
                  </a:lnTo>
                  <a:lnTo>
                    <a:pt x="1188" y="261"/>
                  </a:lnTo>
                  <a:lnTo>
                    <a:pt x="1190" y="260"/>
                  </a:lnTo>
                  <a:lnTo>
                    <a:pt x="1190" y="261"/>
                  </a:lnTo>
                  <a:lnTo>
                    <a:pt x="1192" y="264"/>
                  </a:lnTo>
                  <a:lnTo>
                    <a:pt x="1190" y="268"/>
                  </a:lnTo>
                  <a:lnTo>
                    <a:pt x="1192" y="270"/>
                  </a:lnTo>
                  <a:lnTo>
                    <a:pt x="1196" y="270"/>
                  </a:lnTo>
                  <a:lnTo>
                    <a:pt x="1196" y="270"/>
                  </a:lnTo>
                  <a:lnTo>
                    <a:pt x="1196" y="267"/>
                  </a:lnTo>
                  <a:lnTo>
                    <a:pt x="1202" y="267"/>
                  </a:lnTo>
                  <a:lnTo>
                    <a:pt x="1205" y="268"/>
                  </a:lnTo>
                  <a:lnTo>
                    <a:pt x="1205" y="270"/>
                  </a:lnTo>
                  <a:lnTo>
                    <a:pt x="1208" y="271"/>
                  </a:lnTo>
                  <a:lnTo>
                    <a:pt x="1209" y="270"/>
                  </a:lnTo>
                  <a:lnTo>
                    <a:pt x="1212" y="268"/>
                  </a:lnTo>
                  <a:lnTo>
                    <a:pt x="1213" y="270"/>
                  </a:lnTo>
                  <a:lnTo>
                    <a:pt x="1213" y="271"/>
                  </a:lnTo>
                  <a:lnTo>
                    <a:pt x="1212" y="273"/>
                  </a:lnTo>
                  <a:lnTo>
                    <a:pt x="1211" y="274"/>
                  </a:lnTo>
                  <a:lnTo>
                    <a:pt x="1211" y="275"/>
                  </a:lnTo>
                  <a:lnTo>
                    <a:pt x="1211" y="278"/>
                  </a:lnTo>
                  <a:lnTo>
                    <a:pt x="1208" y="278"/>
                  </a:lnTo>
                  <a:lnTo>
                    <a:pt x="1206" y="278"/>
                  </a:lnTo>
                  <a:lnTo>
                    <a:pt x="1206" y="280"/>
                  </a:lnTo>
                  <a:lnTo>
                    <a:pt x="1208" y="283"/>
                  </a:lnTo>
                  <a:lnTo>
                    <a:pt x="1211" y="284"/>
                  </a:lnTo>
                  <a:lnTo>
                    <a:pt x="1212" y="283"/>
                  </a:lnTo>
                  <a:lnTo>
                    <a:pt x="1216" y="283"/>
                  </a:lnTo>
                  <a:lnTo>
                    <a:pt x="1219" y="283"/>
                  </a:lnTo>
                  <a:lnTo>
                    <a:pt x="1221" y="280"/>
                  </a:lnTo>
                  <a:lnTo>
                    <a:pt x="1222" y="278"/>
                  </a:lnTo>
                  <a:lnTo>
                    <a:pt x="1223" y="278"/>
                  </a:lnTo>
                  <a:lnTo>
                    <a:pt x="1225" y="281"/>
                  </a:lnTo>
                  <a:lnTo>
                    <a:pt x="1222" y="284"/>
                  </a:lnTo>
                  <a:lnTo>
                    <a:pt x="1221" y="284"/>
                  </a:lnTo>
                  <a:lnTo>
                    <a:pt x="1219" y="285"/>
                  </a:lnTo>
                  <a:lnTo>
                    <a:pt x="1216" y="287"/>
                  </a:lnTo>
                  <a:lnTo>
                    <a:pt x="1216" y="288"/>
                  </a:lnTo>
                  <a:lnTo>
                    <a:pt x="1219" y="288"/>
                  </a:lnTo>
                  <a:lnTo>
                    <a:pt x="1222" y="290"/>
                  </a:lnTo>
                  <a:lnTo>
                    <a:pt x="1223" y="291"/>
                  </a:lnTo>
                  <a:lnTo>
                    <a:pt x="1225" y="291"/>
                  </a:lnTo>
                  <a:lnTo>
                    <a:pt x="1226" y="290"/>
                  </a:lnTo>
                  <a:lnTo>
                    <a:pt x="1229" y="291"/>
                  </a:lnTo>
                  <a:lnTo>
                    <a:pt x="1231" y="295"/>
                  </a:lnTo>
                  <a:lnTo>
                    <a:pt x="1232" y="298"/>
                  </a:lnTo>
                  <a:lnTo>
                    <a:pt x="1233" y="301"/>
                  </a:lnTo>
                  <a:lnTo>
                    <a:pt x="1232" y="304"/>
                  </a:lnTo>
                  <a:lnTo>
                    <a:pt x="1231" y="307"/>
                  </a:lnTo>
                  <a:lnTo>
                    <a:pt x="1228" y="310"/>
                  </a:lnTo>
                  <a:lnTo>
                    <a:pt x="1226" y="313"/>
                  </a:lnTo>
                  <a:lnTo>
                    <a:pt x="1225" y="313"/>
                  </a:lnTo>
                  <a:lnTo>
                    <a:pt x="1225" y="317"/>
                  </a:lnTo>
                  <a:lnTo>
                    <a:pt x="1226" y="318"/>
                  </a:lnTo>
                  <a:lnTo>
                    <a:pt x="1226" y="321"/>
                  </a:lnTo>
                  <a:lnTo>
                    <a:pt x="1226" y="323"/>
                  </a:lnTo>
                  <a:lnTo>
                    <a:pt x="1226" y="326"/>
                  </a:lnTo>
                  <a:lnTo>
                    <a:pt x="1226" y="328"/>
                  </a:lnTo>
                  <a:lnTo>
                    <a:pt x="1228" y="330"/>
                  </a:lnTo>
                  <a:lnTo>
                    <a:pt x="1228" y="331"/>
                  </a:lnTo>
                  <a:lnTo>
                    <a:pt x="1228" y="333"/>
                  </a:lnTo>
                  <a:lnTo>
                    <a:pt x="1225" y="334"/>
                  </a:lnTo>
                  <a:lnTo>
                    <a:pt x="1218" y="337"/>
                  </a:lnTo>
                  <a:lnTo>
                    <a:pt x="1211" y="341"/>
                  </a:lnTo>
                  <a:lnTo>
                    <a:pt x="1208" y="344"/>
                  </a:lnTo>
                  <a:lnTo>
                    <a:pt x="1209" y="346"/>
                  </a:lnTo>
                  <a:lnTo>
                    <a:pt x="1209" y="347"/>
                  </a:lnTo>
                  <a:lnTo>
                    <a:pt x="1212" y="346"/>
                  </a:lnTo>
                  <a:lnTo>
                    <a:pt x="1213" y="343"/>
                  </a:lnTo>
                  <a:lnTo>
                    <a:pt x="1216" y="341"/>
                  </a:lnTo>
                  <a:lnTo>
                    <a:pt x="1221" y="341"/>
                  </a:lnTo>
                  <a:lnTo>
                    <a:pt x="1223" y="341"/>
                  </a:lnTo>
                  <a:lnTo>
                    <a:pt x="1226" y="340"/>
                  </a:lnTo>
                  <a:lnTo>
                    <a:pt x="1228" y="338"/>
                  </a:lnTo>
                  <a:lnTo>
                    <a:pt x="1231" y="337"/>
                  </a:lnTo>
                  <a:lnTo>
                    <a:pt x="1232" y="336"/>
                  </a:lnTo>
                  <a:lnTo>
                    <a:pt x="1232" y="336"/>
                  </a:lnTo>
                  <a:lnTo>
                    <a:pt x="1231" y="331"/>
                  </a:lnTo>
                  <a:lnTo>
                    <a:pt x="1231" y="330"/>
                  </a:lnTo>
                  <a:lnTo>
                    <a:pt x="1233" y="326"/>
                  </a:lnTo>
                  <a:lnTo>
                    <a:pt x="1238" y="320"/>
                  </a:lnTo>
                  <a:lnTo>
                    <a:pt x="1239" y="317"/>
                  </a:lnTo>
                  <a:lnTo>
                    <a:pt x="1239" y="314"/>
                  </a:lnTo>
                  <a:lnTo>
                    <a:pt x="1239" y="310"/>
                  </a:lnTo>
                  <a:lnTo>
                    <a:pt x="1239" y="305"/>
                  </a:lnTo>
                  <a:lnTo>
                    <a:pt x="1238" y="304"/>
                  </a:lnTo>
                  <a:lnTo>
                    <a:pt x="1235" y="300"/>
                  </a:lnTo>
                  <a:lnTo>
                    <a:pt x="1235" y="295"/>
                  </a:lnTo>
                  <a:lnTo>
                    <a:pt x="1236" y="290"/>
                  </a:lnTo>
                  <a:lnTo>
                    <a:pt x="1232" y="283"/>
                  </a:lnTo>
                  <a:lnTo>
                    <a:pt x="1231" y="277"/>
                  </a:lnTo>
                  <a:lnTo>
                    <a:pt x="1229" y="274"/>
                  </a:lnTo>
                  <a:lnTo>
                    <a:pt x="1226" y="273"/>
                  </a:lnTo>
                  <a:lnTo>
                    <a:pt x="1223" y="271"/>
                  </a:lnTo>
                  <a:lnTo>
                    <a:pt x="1223" y="267"/>
                  </a:lnTo>
                  <a:lnTo>
                    <a:pt x="1223" y="265"/>
                  </a:lnTo>
                  <a:lnTo>
                    <a:pt x="1225" y="261"/>
                  </a:lnTo>
                  <a:lnTo>
                    <a:pt x="1223" y="260"/>
                  </a:lnTo>
                  <a:lnTo>
                    <a:pt x="1223" y="258"/>
                  </a:lnTo>
                  <a:lnTo>
                    <a:pt x="1222" y="261"/>
                  </a:lnTo>
                  <a:lnTo>
                    <a:pt x="1221" y="260"/>
                  </a:lnTo>
                  <a:lnTo>
                    <a:pt x="1218" y="258"/>
                  </a:lnTo>
                  <a:lnTo>
                    <a:pt x="1216" y="254"/>
                  </a:lnTo>
                  <a:lnTo>
                    <a:pt x="1215" y="248"/>
                  </a:lnTo>
                  <a:lnTo>
                    <a:pt x="1212" y="247"/>
                  </a:lnTo>
                  <a:lnTo>
                    <a:pt x="1211" y="245"/>
                  </a:lnTo>
                  <a:lnTo>
                    <a:pt x="1208" y="245"/>
                  </a:lnTo>
                  <a:lnTo>
                    <a:pt x="1203" y="245"/>
                  </a:lnTo>
                  <a:lnTo>
                    <a:pt x="1202" y="240"/>
                  </a:lnTo>
                  <a:lnTo>
                    <a:pt x="1201" y="234"/>
                  </a:lnTo>
                  <a:lnTo>
                    <a:pt x="1195" y="228"/>
                  </a:lnTo>
                  <a:lnTo>
                    <a:pt x="1195" y="224"/>
                  </a:lnTo>
                  <a:lnTo>
                    <a:pt x="1195" y="221"/>
                  </a:lnTo>
                  <a:lnTo>
                    <a:pt x="1195" y="220"/>
                  </a:lnTo>
                  <a:lnTo>
                    <a:pt x="1198" y="218"/>
                  </a:lnTo>
                  <a:lnTo>
                    <a:pt x="1199" y="218"/>
                  </a:lnTo>
                  <a:lnTo>
                    <a:pt x="1206" y="221"/>
                  </a:lnTo>
                  <a:lnTo>
                    <a:pt x="1213" y="225"/>
                  </a:lnTo>
                  <a:lnTo>
                    <a:pt x="1221" y="227"/>
                  </a:lnTo>
                  <a:lnTo>
                    <a:pt x="1225" y="227"/>
                  </a:lnTo>
                  <a:lnTo>
                    <a:pt x="1231" y="227"/>
                  </a:lnTo>
                  <a:lnTo>
                    <a:pt x="1235" y="225"/>
                  </a:lnTo>
                  <a:lnTo>
                    <a:pt x="1241" y="224"/>
                  </a:lnTo>
                  <a:lnTo>
                    <a:pt x="1243" y="224"/>
                  </a:lnTo>
                  <a:lnTo>
                    <a:pt x="1246" y="224"/>
                  </a:lnTo>
                  <a:lnTo>
                    <a:pt x="1254" y="225"/>
                  </a:lnTo>
                  <a:lnTo>
                    <a:pt x="1261" y="224"/>
                  </a:lnTo>
                  <a:lnTo>
                    <a:pt x="1268" y="221"/>
                  </a:lnTo>
                  <a:lnTo>
                    <a:pt x="1272" y="218"/>
                  </a:lnTo>
                  <a:lnTo>
                    <a:pt x="1276" y="215"/>
                  </a:lnTo>
                  <a:lnTo>
                    <a:pt x="1278" y="212"/>
                  </a:lnTo>
                  <a:lnTo>
                    <a:pt x="1278" y="220"/>
                  </a:lnTo>
                  <a:lnTo>
                    <a:pt x="1279" y="220"/>
                  </a:lnTo>
                  <a:lnTo>
                    <a:pt x="1281" y="221"/>
                  </a:lnTo>
                  <a:lnTo>
                    <a:pt x="1282" y="221"/>
                  </a:lnTo>
                  <a:lnTo>
                    <a:pt x="1284" y="222"/>
                  </a:lnTo>
                  <a:lnTo>
                    <a:pt x="1284" y="224"/>
                  </a:lnTo>
                  <a:lnTo>
                    <a:pt x="1284" y="225"/>
                  </a:lnTo>
                  <a:lnTo>
                    <a:pt x="1282" y="227"/>
                  </a:lnTo>
                  <a:lnTo>
                    <a:pt x="1281" y="228"/>
                  </a:lnTo>
                  <a:lnTo>
                    <a:pt x="1282" y="228"/>
                  </a:lnTo>
                  <a:lnTo>
                    <a:pt x="1282" y="230"/>
                  </a:lnTo>
                  <a:lnTo>
                    <a:pt x="1286" y="231"/>
                  </a:lnTo>
                  <a:lnTo>
                    <a:pt x="1289" y="230"/>
                  </a:lnTo>
                  <a:lnTo>
                    <a:pt x="1291" y="228"/>
                  </a:lnTo>
                  <a:lnTo>
                    <a:pt x="1292" y="225"/>
                  </a:lnTo>
                  <a:lnTo>
                    <a:pt x="1294" y="224"/>
                  </a:lnTo>
                  <a:lnTo>
                    <a:pt x="1295" y="225"/>
                  </a:lnTo>
                  <a:lnTo>
                    <a:pt x="1296" y="227"/>
                  </a:lnTo>
                  <a:lnTo>
                    <a:pt x="1298" y="230"/>
                  </a:lnTo>
                  <a:lnTo>
                    <a:pt x="1299" y="231"/>
                  </a:lnTo>
                  <a:lnTo>
                    <a:pt x="1305" y="231"/>
                  </a:lnTo>
                  <a:lnTo>
                    <a:pt x="1308" y="231"/>
                  </a:lnTo>
                  <a:lnTo>
                    <a:pt x="1314" y="232"/>
                  </a:lnTo>
                  <a:lnTo>
                    <a:pt x="1315" y="235"/>
                  </a:lnTo>
                  <a:lnTo>
                    <a:pt x="1318" y="240"/>
                  </a:lnTo>
                  <a:lnTo>
                    <a:pt x="1321" y="241"/>
                  </a:lnTo>
                  <a:lnTo>
                    <a:pt x="1324" y="242"/>
                  </a:lnTo>
                  <a:lnTo>
                    <a:pt x="1328" y="245"/>
                  </a:lnTo>
                  <a:lnTo>
                    <a:pt x="1329" y="247"/>
                  </a:lnTo>
                  <a:lnTo>
                    <a:pt x="1332" y="247"/>
                  </a:lnTo>
                  <a:lnTo>
                    <a:pt x="1334" y="247"/>
                  </a:lnTo>
                  <a:lnTo>
                    <a:pt x="1334" y="244"/>
                  </a:lnTo>
                  <a:lnTo>
                    <a:pt x="1334" y="241"/>
                  </a:lnTo>
                  <a:lnTo>
                    <a:pt x="1332" y="240"/>
                  </a:lnTo>
                  <a:lnTo>
                    <a:pt x="1331" y="238"/>
                  </a:lnTo>
                  <a:lnTo>
                    <a:pt x="1329" y="237"/>
                  </a:lnTo>
                  <a:lnTo>
                    <a:pt x="1327" y="237"/>
                  </a:lnTo>
                  <a:lnTo>
                    <a:pt x="1324" y="235"/>
                  </a:lnTo>
                  <a:lnTo>
                    <a:pt x="1321" y="234"/>
                  </a:lnTo>
                  <a:lnTo>
                    <a:pt x="1317" y="231"/>
                  </a:lnTo>
                  <a:lnTo>
                    <a:pt x="1315" y="230"/>
                  </a:lnTo>
                  <a:lnTo>
                    <a:pt x="1314" y="225"/>
                  </a:lnTo>
                  <a:lnTo>
                    <a:pt x="1312" y="225"/>
                  </a:lnTo>
                  <a:lnTo>
                    <a:pt x="1311" y="225"/>
                  </a:lnTo>
                  <a:lnTo>
                    <a:pt x="1309" y="227"/>
                  </a:lnTo>
                  <a:lnTo>
                    <a:pt x="1307" y="227"/>
                  </a:lnTo>
                  <a:lnTo>
                    <a:pt x="1304" y="225"/>
                  </a:lnTo>
                  <a:lnTo>
                    <a:pt x="1299" y="220"/>
                  </a:lnTo>
                  <a:lnTo>
                    <a:pt x="1298" y="218"/>
                  </a:lnTo>
                  <a:lnTo>
                    <a:pt x="1295" y="218"/>
                  </a:lnTo>
                  <a:lnTo>
                    <a:pt x="1291" y="218"/>
                  </a:lnTo>
                  <a:lnTo>
                    <a:pt x="1286" y="217"/>
                  </a:lnTo>
                  <a:lnTo>
                    <a:pt x="1284" y="215"/>
                  </a:lnTo>
                  <a:lnTo>
                    <a:pt x="1282" y="214"/>
                  </a:lnTo>
                  <a:lnTo>
                    <a:pt x="1281" y="211"/>
                  </a:lnTo>
                  <a:lnTo>
                    <a:pt x="1284" y="205"/>
                  </a:lnTo>
                  <a:lnTo>
                    <a:pt x="1285" y="198"/>
                  </a:lnTo>
                  <a:lnTo>
                    <a:pt x="1286" y="191"/>
                  </a:lnTo>
                  <a:lnTo>
                    <a:pt x="1285" y="185"/>
                  </a:lnTo>
                  <a:lnTo>
                    <a:pt x="1285" y="182"/>
                  </a:lnTo>
                  <a:lnTo>
                    <a:pt x="1285" y="181"/>
                  </a:lnTo>
                  <a:lnTo>
                    <a:pt x="1288" y="178"/>
                  </a:lnTo>
                  <a:lnTo>
                    <a:pt x="1288" y="177"/>
                  </a:lnTo>
                  <a:lnTo>
                    <a:pt x="1288" y="175"/>
                  </a:lnTo>
                  <a:lnTo>
                    <a:pt x="1286" y="174"/>
                  </a:lnTo>
                  <a:lnTo>
                    <a:pt x="1282" y="174"/>
                  </a:lnTo>
                  <a:lnTo>
                    <a:pt x="1279" y="169"/>
                  </a:lnTo>
                  <a:lnTo>
                    <a:pt x="1275" y="159"/>
                  </a:lnTo>
                  <a:lnTo>
                    <a:pt x="1275" y="155"/>
                  </a:lnTo>
                  <a:lnTo>
                    <a:pt x="1278" y="146"/>
                  </a:lnTo>
                  <a:lnTo>
                    <a:pt x="1279" y="139"/>
                  </a:lnTo>
                  <a:lnTo>
                    <a:pt x="1279" y="138"/>
                  </a:lnTo>
                  <a:lnTo>
                    <a:pt x="1281" y="136"/>
                  </a:lnTo>
                  <a:lnTo>
                    <a:pt x="1285" y="136"/>
                  </a:lnTo>
                  <a:lnTo>
                    <a:pt x="1288" y="136"/>
                  </a:lnTo>
                  <a:lnTo>
                    <a:pt x="1289" y="135"/>
                  </a:lnTo>
                  <a:lnTo>
                    <a:pt x="1289" y="134"/>
                  </a:lnTo>
                  <a:lnTo>
                    <a:pt x="1289" y="132"/>
                  </a:lnTo>
                  <a:lnTo>
                    <a:pt x="1288" y="129"/>
                  </a:lnTo>
                  <a:lnTo>
                    <a:pt x="1289" y="126"/>
                  </a:lnTo>
                  <a:lnTo>
                    <a:pt x="1291" y="125"/>
                  </a:lnTo>
                  <a:lnTo>
                    <a:pt x="1291" y="124"/>
                  </a:lnTo>
                  <a:lnTo>
                    <a:pt x="1289" y="122"/>
                  </a:lnTo>
                  <a:lnTo>
                    <a:pt x="1288" y="121"/>
                  </a:lnTo>
                  <a:lnTo>
                    <a:pt x="1288" y="119"/>
                  </a:lnTo>
                  <a:lnTo>
                    <a:pt x="1289" y="115"/>
                  </a:lnTo>
                  <a:lnTo>
                    <a:pt x="1296" y="104"/>
                  </a:lnTo>
                  <a:lnTo>
                    <a:pt x="1307" y="88"/>
                  </a:lnTo>
                  <a:lnTo>
                    <a:pt x="1312" y="81"/>
                  </a:lnTo>
                  <a:lnTo>
                    <a:pt x="1318" y="76"/>
                  </a:lnTo>
                  <a:lnTo>
                    <a:pt x="1319" y="73"/>
                  </a:lnTo>
                  <a:lnTo>
                    <a:pt x="1319" y="71"/>
                  </a:lnTo>
                  <a:lnTo>
                    <a:pt x="1319" y="69"/>
                  </a:lnTo>
                  <a:lnTo>
                    <a:pt x="1318" y="68"/>
                  </a:lnTo>
                  <a:lnTo>
                    <a:pt x="1317" y="66"/>
                  </a:lnTo>
                  <a:lnTo>
                    <a:pt x="1318" y="65"/>
                  </a:lnTo>
                  <a:lnTo>
                    <a:pt x="1319" y="65"/>
                  </a:lnTo>
                  <a:lnTo>
                    <a:pt x="1321" y="65"/>
                  </a:lnTo>
                  <a:lnTo>
                    <a:pt x="1322" y="63"/>
                  </a:lnTo>
                  <a:lnTo>
                    <a:pt x="1324" y="63"/>
                  </a:lnTo>
                  <a:lnTo>
                    <a:pt x="1325" y="63"/>
                  </a:lnTo>
                  <a:lnTo>
                    <a:pt x="1325" y="65"/>
                  </a:lnTo>
                  <a:lnTo>
                    <a:pt x="1325" y="65"/>
                  </a:lnTo>
                  <a:lnTo>
                    <a:pt x="1327" y="66"/>
                  </a:lnTo>
                  <a:lnTo>
                    <a:pt x="1328" y="66"/>
                  </a:lnTo>
                  <a:lnTo>
                    <a:pt x="1329" y="66"/>
                  </a:lnTo>
                  <a:lnTo>
                    <a:pt x="1329" y="61"/>
                  </a:lnTo>
                  <a:lnTo>
                    <a:pt x="1331" y="56"/>
                  </a:lnTo>
                  <a:lnTo>
                    <a:pt x="1337" y="48"/>
                  </a:lnTo>
                  <a:lnTo>
                    <a:pt x="1341" y="41"/>
                  </a:lnTo>
                  <a:lnTo>
                    <a:pt x="1348" y="36"/>
                  </a:lnTo>
                  <a:lnTo>
                    <a:pt x="1352" y="33"/>
                  </a:lnTo>
                  <a:lnTo>
                    <a:pt x="1354" y="32"/>
                  </a:lnTo>
                  <a:lnTo>
                    <a:pt x="1354" y="30"/>
                  </a:lnTo>
                  <a:lnTo>
                    <a:pt x="1352" y="28"/>
                  </a:lnTo>
                  <a:lnTo>
                    <a:pt x="1354" y="26"/>
                  </a:lnTo>
                  <a:lnTo>
                    <a:pt x="1357" y="25"/>
                  </a:lnTo>
                  <a:lnTo>
                    <a:pt x="1359" y="22"/>
                  </a:lnTo>
                  <a:lnTo>
                    <a:pt x="1362" y="18"/>
                  </a:lnTo>
                  <a:lnTo>
                    <a:pt x="1365" y="16"/>
                  </a:lnTo>
                  <a:lnTo>
                    <a:pt x="1367" y="16"/>
                  </a:lnTo>
                  <a:lnTo>
                    <a:pt x="1368" y="19"/>
                  </a:lnTo>
                  <a:lnTo>
                    <a:pt x="1370" y="20"/>
                  </a:lnTo>
                  <a:lnTo>
                    <a:pt x="1372" y="22"/>
                  </a:lnTo>
                  <a:lnTo>
                    <a:pt x="1375" y="19"/>
                  </a:lnTo>
                  <a:lnTo>
                    <a:pt x="1378" y="18"/>
                  </a:lnTo>
                  <a:lnTo>
                    <a:pt x="1384" y="12"/>
                  </a:lnTo>
                  <a:lnTo>
                    <a:pt x="1385" y="9"/>
                  </a:lnTo>
                  <a:lnTo>
                    <a:pt x="1385" y="9"/>
                  </a:lnTo>
                  <a:lnTo>
                    <a:pt x="1387" y="8"/>
                  </a:lnTo>
                  <a:lnTo>
                    <a:pt x="1390" y="8"/>
                  </a:lnTo>
                  <a:lnTo>
                    <a:pt x="1391" y="5"/>
                  </a:lnTo>
                  <a:lnTo>
                    <a:pt x="1391" y="2"/>
                  </a:lnTo>
                  <a:lnTo>
                    <a:pt x="1392" y="2"/>
                  </a:lnTo>
                  <a:lnTo>
                    <a:pt x="1395" y="2"/>
                  </a:lnTo>
                  <a:lnTo>
                    <a:pt x="1398" y="0"/>
                  </a:lnTo>
                  <a:lnTo>
                    <a:pt x="1400" y="0"/>
                  </a:lnTo>
                  <a:lnTo>
                    <a:pt x="1402" y="0"/>
                  </a:lnTo>
                  <a:lnTo>
                    <a:pt x="1401" y="3"/>
                  </a:lnTo>
                  <a:lnTo>
                    <a:pt x="1400" y="5"/>
                  </a:lnTo>
                  <a:lnTo>
                    <a:pt x="1400" y="6"/>
                  </a:lnTo>
                  <a:lnTo>
                    <a:pt x="1401" y="9"/>
                  </a:lnTo>
                  <a:lnTo>
                    <a:pt x="1402" y="10"/>
                  </a:lnTo>
                  <a:lnTo>
                    <a:pt x="1405" y="10"/>
                  </a:lnTo>
                  <a:lnTo>
                    <a:pt x="1410" y="10"/>
                  </a:lnTo>
                  <a:lnTo>
                    <a:pt x="1412" y="8"/>
                  </a:lnTo>
                  <a:lnTo>
                    <a:pt x="1417" y="8"/>
                  </a:lnTo>
                  <a:lnTo>
                    <a:pt x="1420" y="9"/>
                  </a:lnTo>
                  <a:lnTo>
                    <a:pt x="1421" y="10"/>
                  </a:lnTo>
                  <a:lnTo>
                    <a:pt x="1420" y="15"/>
                  </a:lnTo>
                  <a:lnTo>
                    <a:pt x="1420" y="16"/>
                  </a:lnTo>
                  <a:lnTo>
                    <a:pt x="1423" y="19"/>
                  </a:lnTo>
                  <a:lnTo>
                    <a:pt x="1424" y="22"/>
                  </a:lnTo>
                  <a:lnTo>
                    <a:pt x="1424" y="25"/>
                  </a:lnTo>
                  <a:lnTo>
                    <a:pt x="1427" y="26"/>
                  </a:lnTo>
                  <a:lnTo>
                    <a:pt x="1428" y="26"/>
                  </a:lnTo>
                  <a:lnTo>
                    <a:pt x="1428" y="23"/>
                  </a:lnTo>
                  <a:lnTo>
                    <a:pt x="1430" y="22"/>
                  </a:lnTo>
                  <a:lnTo>
                    <a:pt x="1434" y="23"/>
                  </a:lnTo>
                  <a:lnTo>
                    <a:pt x="1438" y="26"/>
                  </a:lnTo>
                  <a:lnTo>
                    <a:pt x="1443" y="28"/>
                  </a:lnTo>
                  <a:lnTo>
                    <a:pt x="1447" y="28"/>
                  </a:lnTo>
                  <a:lnTo>
                    <a:pt x="1450" y="28"/>
                  </a:lnTo>
                  <a:lnTo>
                    <a:pt x="1453" y="25"/>
                  </a:lnTo>
                  <a:lnTo>
                    <a:pt x="1457" y="25"/>
                  </a:lnTo>
                  <a:lnTo>
                    <a:pt x="1461" y="23"/>
                  </a:lnTo>
                  <a:lnTo>
                    <a:pt x="1463" y="23"/>
                  </a:lnTo>
                  <a:lnTo>
                    <a:pt x="1464" y="23"/>
                  </a:lnTo>
                  <a:lnTo>
                    <a:pt x="1464" y="25"/>
                  </a:lnTo>
                  <a:lnTo>
                    <a:pt x="1464" y="26"/>
                  </a:lnTo>
                  <a:lnTo>
                    <a:pt x="1463" y="30"/>
                  </a:lnTo>
                  <a:lnTo>
                    <a:pt x="1465" y="38"/>
                  </a:lnTo>
                  <a:lnTo>
                    <a:pt x="1467" y="45"/>
                  </a:lnTo>
                  <a:lnTo>
                    <a:pt x="1470" y="49"/>
                  </a:lnTo>
                  <a:lnTo>
                    <a:pt x="1475" y="55"/>
                  </a:lnTo>
                  <a:lnTo>
                    <a:pt x="1478" y="58"/>
                  </a:lnTo>
                  <a:lnTo>
                    <a:pt x="1478" y="59"/>
                  </a:lnTo>
                  <a:lnTo>
                    <a:pt x="1477" y="61"/>
                  </a:lnTo>
                  <a:lnTo>
                    <a:pt x="1474" y="61"/>
                  </a:lnTo>
                  <a:lnTo>
                    <a:pt x="1465" y="58"/>
                  </a:lnTo>
                  <a:lnTo>
                    <a:pt x="1463" y="58"/>
                  </a:lnTo>
                  <a:lnTo>
                    <a:pt x="1461" y="59"/>
                  </a:lnTo>
                  <a:lnTo>
                    <a:pt x="1461" y="61"/>
                  </a:lnTo>
                  <a:lnTo>
                    <a:pt x="1458" y="69"/>
                  </a:lnTo>
                  <a:lnTo>
                    <a:pt x="1455" y="73"/>
                  </a:lnTo>
                  <a:lnTo>
                    <a:pt x="1453" y="73"/>
                  </a:lnTo>
                  <a:lnTo>
                    <a:pt x="1453" y="75"/>
                  </a:lnTo>
                  <a:lnTo>
                    <a:pt x="1454" y="76"/>
                  </a:lnTo>
                  <a:lnTo>
                    <a:pt x="1454" y="79"/>
                  </a:lnTo>
                  <a:lnTo>
                    <a:pt x="1451" y="82"/>
                  </a:lnTo>
                  <a:lnTo>
                    <a:pt x="1447" y="85"/>
                  </a:lnTo>
                  <a:lnTo>
                    <a:pt x="1441" y="89"/>
                  </a:lnTo>
                  <a:lnTo>
                    <a:pt x="1437" y="92"/>
                  </a:lnTo>
                  <a:lnTo>
                    <a:pt x="1433" y="95"/>
                  </a:lnTo>
                  <a:lnTo>
                    <a:pt x="1430" y="95"/>
                  </a:lnTo>
                  <a:lnTo>
                    <a:pt x="1424" y="93"/>
                  </a:lnTo>
                  <a:lnTo>
                    <a:pt x="1421" y="93"/>
                  </a:lnTo>
                  <a:lnTo>
                    <a:pt x="1420" y="96"/>
                  </a:lnTo>
                  <a:lnTo>
                    <a:pt x="1418" y="99"/>
                  </a:lnTo>
                  <a:lnTo>
                    <a:pt x="1417" y="102"/>
                  </a:lnTo>
                  <a:lnTo>
                    <a:pt x="1414" y="104"/>
                  </a:lnTo>
                  <a:lnTo>
                    <a:pt x="1411" y="104"/>
                  </a:lnTo>
                  <a:lnTo>
                    <a:pt x="1407" y="106"/>
                  </a:lnTo>
                  <a:lnTo>
                    <a:pt x="1404" y="108"/>
                  </a:lnTo>
                  <a:lnTo>
                    <a:pt x="1404" y="111"/>
                  </a:lnTo>
                  <a:lnTo>
                    <a:pt x="1407" y="112"/>
                  </a:lnTo>
                  <a:lnTo>
                    <a:pt x="1412" y="111"/>
                  </a:lnTo>
                  <a:lnTo>
                    <a:pt x="1418" y="111"/>
                  </a:lnTo>
                  <a:lnTo>
                    <a:pt x="1421" y="109"/>
                  </a:lnTo>
                  <a:lnTo>
                    <a:pt x="1423" y="106"/>
                  </a:lnTo>
                  <a:lnTo>
                    <a:pt x="1424" y="105"/>
                  </a:lnTo>
                  <a:lnTo>
                    <a:pt x="1425" y="105"/>
                  </a:lnTo>
                  <a:lnTo>
                    <a:pt x="1427" y="105"/>
                  </a:lnTo>
                  <a:lnTo>
                    <a:pt x="1427" y="109"/>
                  </a:lnTo>
                  <a:lnTo>
                    <a:pt x="1431" y="112"/>
                  </a:lnTo>
                  <a:lnTo>
                    <a:pt x="1434" y="114"/>
                  </a:lnTo>
                  <a:lnTo>
                    <a:pt x="1437" y="114"/>
                  </a:lnTo>
                  <a:lnTo>
                    <a:pt x="1438" y="112"/>
                  </a:lnTo>
                  <a:lnTo>
                    <a:pt x="1438" y="111"/>
                  </a:lnTo>
                  <a:lnTo>
                    <a:pt x="1440" y="108"/>
                  </a:lnTo>
                  <a:lnTo>
                    <a:pt x="1441" y="105"/>
                  </a:lnTo>
                  <a:lnTo>
                    <a:pt x="1441" y="105"/>
                  </a:lnTo>
                  <a:lnTo>
                    <a:pt x="1443" y="108"/>
                  </a:lnTo>
                  <a:lnTo>
                    <a:pt x="1445" y="109"/>
                  </a:lnTo>
                  <a:lnTo>
                    <a:pt x="1448" y="109"/>
                  </a:lnTo>
                  <a:lnTo>
                    <a:pt x="1455" y="105"/>
                  </a:lnTo>
                  <a:lnTo>
                    <a:pt x="1458" y="104"/>
                  </a:lnTo>
                  <a:lnTo>
                    <a:pt x="1463" y="104"/>
                  </a:lnTo>
                  <a:lnTo>
                    <a:pt x="1464" y="105"/>
                  </a:lnTo>
                  <a:lnTo>
                    <a:pt x="1465" y="104"/>
                  </a:lnTo>
                  <a:lnTo>
                    <a:pt x="1467" y="98"/>
                  </a:lnTo>
                  <a:lnTo>
                    <a:pt x="1467" y="95"/>
                  </a:lnTo>
                  <a:lnTo>
                    <a:pt x="1468" y="93"/>
                  </a:lnTo>
                  <a:lnTo>
                    <a:pt x="1470" y="93"/>
                  </a:lnTo>
                  <a:lnTo>
                    <a:pt x="1470" y="96"/>
                  </a:lnTo>
                  <a:lnTo>
                    <a:pt x="1468" y="105"/>
                  </a:lnTo>
                  <a:lnTo>
                    <a:pt x="1468" y="108"/>
                  </a:lnTo>
                  <a:lnTo>
                    <a:pt x="1465" y="111"/>
                  </a:lnTo>
                  <a:lnTo>
                    <a:pt x="1464" y="112"/>
                  </a:lnTo>
                  <a:lnTo>
                    <a:pt x="1464" y="115"/>
                  </a:lnTo>
                  <a:lnTo>
                    <a:pt x="1463" y="118"/>
                  </a:lnTo>
                  <a:lnTo>
                    <a:pt x="1461" y="118"/>
                  </a:lnTo>
                  <a:lnTo>
                    <a:pt x="1457" y="118"/>
                  </a:lnTo>
                  <a:lnTo>
                    <a:pt x="1454" y="118"/>
                  </a:lnTo>
                  <a:lnTo>
                    <a:pt x="1454" y="121"/>
                  </a:lnTo>
                  <a:lnTo>
                    <a:pt x="1453" y="125"/>
                  </a:lnTo>
                  <a:lnTo>
                    <a:pt x="1453" y="128"/>
                  </a:lnTo>
                  <a:lnTo>
                    <a:pt x="1454" y="128"/>
                  </a:lnTo>
                  <a:lnTo>
                    <a:pt x="1455" y="128"/>
                  </a:lnTo>
                  <a:lnTo>
                    <a:pt x="1455" y="125"/>
                  </a:lnTo>
                  <a:lnTo>
                    <a:pt x="1458" y="125"/>
                  </a:lnTo>
                  <a:lnTo>
                    <a:pt x="1460" y="126"/>
                  </a:lnTo>
                  <a:lnTo>
                    <a:pt x="1461" y="126"/>
                  </a:lnTo>
                  <a:lnTo>
                    <a:pt x="1463" y="125"/>
                  </a:lnTo>
                  <a:lnTo>
                    <a:pt x="1464" y="124"/>
                  </a:lnTo>
                  <a:lnTo>
                    <a:pt x="1467" y="124"/>
                  </a:lnTo>
                  <a:lnTo>
                    <a:pt x="1471" y="122"/>
                  </a:lnTo>
                  <a:lnTo>
                    <a:pt x="1475" y="118"/>
                  </a:lnTo>
                  <a:lnTo>
                    <a:pt x="1478" y="114"/>
                  </a:lnTo>
                  <a:lnTo>
                    <a:pt x="1480" y="111"/>
                  </a:lnTo>
                  <a:lnTo>
                    <a:pt x="1483" y="111"/>
                  </a:lnTo>
                  <a:lnTo>
                    <a:pt x="1486" y="111"/>
                  </a:lnTo>
                  <a:lnTo>
                    <a:pt x="1490" y="111"/>
                  </a:lnTo>
                  <a:lnTo>
                    <a:pt x="1491" y="112"/>
                  </a:lnTo>
                  <a:lnTo>
                    <a:pt x="1493" y="115"/>
                  </a:lnTo>
                  <a:lnTo>
                    <a:pt x="1493" y="118"/>
                  </a:lnTo>
                  <a:lnTo>
                    <a:pt x="1494" y="118"/>
                  </a:lnTo>
                  <a:lnTo>
                    <a:pt x="1494" y="116"/>
                  </a:lnTo>
                  <a:lnTo>
                    <a:pt x="1496" y="114"/>
                  </a:lnTo>
                  <a:lnTo>
                    <a:pt x="1497" y="115"/>
                  </a:lnTo>
                  <a:lnTo>
                    <a:pt x="1500" y="118"/>
                  </a:lnTo>
                  <a:lnTo>
                    <a:pt x="1503" y="119"/>
                  </a:lnTo>
                  <a:lnTo>
                    <a:pt x="1504" y="118"/>
                  </a:lnTo>
                  <a:lnTo>
                    <a:pt x="1504" y="118"/>
                  </a:lnTo>
                  <a:lnTo>
                    <a:pt x="1503" y="116"/>
                  </a:lnTo>
                  <a:lnTo>
                    <a:pt x="1500" y="115"/>
                  </a:lnTo>
                  <a:lnTo>
                    <a:pt x="1498" y="114"/>
                  </a:lnTo>
                  <a:lnTo>
                    <a:pt x="1501" y="109"/>
                  </a:lnTo>
                  <a:lnTo>
                    <a:pt x="1503" y="108"/>
                  </a:lnTo>
                  <a:lnTo>
                    <a:pt x="1504" y="108"/>
                  </a:lnTo>
                  <a:lnTo>
                    <a:pt x="1508" y="111"/>
                  </a:lnTo>
                  <a:lnTo>
                    <a:pt x="1510" y="112"/>
                  </a:lnTo>
                  <a:lnTo>
                    <a:pt x="1511" y="112"/>
                  </a:lnTo>
                  <a:lnTo>
                    <a:pt x="1513" y="114"/>
                  </a:lnTo>
                  <a:lnTo>
                    <a:pt x="1513" y="114"/>
                  </a:lnTo>
                  <a:lnTo>
                    <a:pt x="1511" y="116"/>
                  </a:lnTo>
                  <a:lnTo>
                    <a:pt x="1513" y="118"/>
                  </a:lnTo>
                  <a:lnTo>
                    <a:pt x="1514" y="118"/>
                  </a:lnTo>
                  <a:lnTo>
                    <a:pt x="1517" y="114"/>
                  </a:lnTo>
                  <a:lnTo>
                    <a:pt x="1521" y="112"/>
                  </a:lnTo>
                  <a:lnTo>
                    <a:pt x="1524" y="114"/>
                  </a:lnTo>
                  <a:lnTo>
                    <a:pt x="1523" y="116"/>
                  </a:lnTo>
                  <a:lnTo>
                    <a:pt x="1521" y="118"/>
                  </a:lnTo>
                  <a:lnTo>
                    <a:pt x="1523" y="119"/>
                  </a:lnTo>
                  <a:lnTo>
                    <a:pt x="1524" y="119"/>
                  </a:lnTo>
                  <a:lnTo>
                    <a:pt x="1526" y="121"/>
                  </a:lnTo>
                  <a:lnTo>
                    <a:pt x="1524" y="124"/>
                  </a:lnTo>
                  <a:lnTo>
                    <a:pt x="1526" y="125"/>
                  </a:lnTo>
                  <a:lnTo>
                    <a:pt x="1530" y="126"/>
                  </a:lnTo>
                  <a:lnTo>
                    <a:pt x="1533" y="126"/>
                  </a:lnTo>
                  <a:lnTo>
                    <a:pt x="1534" y="126"/>
                  </a:lnTo>
                  <a:lnTo>
                    <a:pt x="1536" y="129"/>
                  </a:lnTo>
                  <a:lnTo>
                    <a:pt x="1534" y="131"/>
                  </a:lnTo>
                  <a:lnTo>
                    <a:pt x="1530" y="134"/>
                  </a:lnTo>
                  <a:lnTo>
                    <a:pt x="1527" y="134"/>
                  </a:lnTo>
                  <a:lnTo>
                    <a:pt x="1524" y="134"/>
                  </a:lnTo>
                  <a:lnTo>
                    <a:pt x="1523" y="134"/>
                  </a:lnTo>
                  <a:lnTo>
                    <a:pt x="1523" y="135"/>
                  </a:lnTo>
                  <a:lnTo>
                    <a:pt x="1524" y="136"/>
                  </a:lnTo>
                  <a:lnTo>
                    <a:pt x="1527" y="136"/>
                  </a:lnTo>
                  <a:lnTo>
                    <a:pt x="1528" y="138"/>
                  </a:lnTo>
                  <a:lnTo>
                    <a:pt x="1527" y="141"/>
                  </a:lnTo>
                  <a:lnTo>
                    <a:pt x="1524" y="141"/>
                  </a:lnTo>
                  <a:lnTo>
                    <a:pt x="1524" y="142"/>
                  </a:lnTo>
                  <a:lnTo>
                    <a:pt x="1527" y="144"/>
                  </a:lnTo>
                  <a:lnTo>
                    <a:pt x="1527" y="146"/>
                  </a:lnTo>
                  <a:lnTo>
                    <a:pt x="1527" y="149"/>
                  </a:lnTo>
                  <a:lnTo>
                    <a:pt x="1526" y="151"/>
                  </a:lnTo>
                  <a:lnTo>
                    <a:pt x="1521" y="151"/>
                  </a:lnTo>
                  <a:lnTo>
                    <a:pt x="1520" y="154"/>
                  </a:lnTo>
                  <a:lnTo>
                    <a:pt x="1518" y="157"/>
                  </a:lnTo>
                  <a:lnTo>
                    <a:pt x="1518" y="159"/>
                  </a:lnTo>
                  <a:lnTo>
                    <a:pt x="1518" y="161"/>
                  </a:lnTo>
                  <a:lnTo>
                    <a:pt x="1516" y="164"/>
                  </a:lnTo>
                  <a:lnTo>
                    <a:pt x="1513" y="165"/>
                  </a:lnTo>
                  <a:lnTo>
                    <a:pt x="1510" y="164"/>
                  </a:lnTo>
                  <a:lnTo>
                    <a:pt x="1508" y="167"/>
                  </a:lnTo>
                  <a:lnTo>
                    <a:pt x="1508" y="169"/>
                  </a:lnTo>
                  <a:lnTo>
                    <a:pt x="1510" y="171"/>
                  </a:lnTo>
                  <a:lnTo>
                    <a:pt x="1511" y="172"/>
                  </a:lnTo>
                  <a:lnTo>
                    <a:pt x="1511" y="174"/>
                  </a:lnTo>
                  <a:lnTo>
                    <a:pt x="1511" y="177"/>
                  </a:lnTo>
                  <a:lnTo>
                    <a:pt x="1511" y="178"/>
                  </a:lnTo>
                  <a:lnTo>
                    <a:pt x="1511" y="181"/>
                  </a:lnTo>
                  <a:lnTo>
                    <a:pt x="1510" y="185"/>
                  </a:lnTo>
                  <a:lnTo>
                    <a:pt x="1510" y="187"/>
                  </a:lnTo>
                  <a:lnTo>
                    <a:pt x="1510" y="191"/>
                  </a:lnTo>
                  <a:lnTo>
                    <a:pt x="1508" y="195"/>
                  </a:lnTo>
                  <a:lnTo>
                    <a:pt x="1507" y="198"/>
                  </a:lnTo>
                  <a:lnTo>
                    <a:pt x="1506" y="198"/>
                  </a:lnTo>
                  <a:lnTo>
                    <a:pt x="1504" y="198"/>
                  </a:lnTo>
                  <a:lnTo>
                    <a:pt x="1504" y="197"/>
                  </a:lnTo>
                  <a:lnTo>
                    <a:pt x="1504" y="192"/>
                  </a:lnTo>
                  <a:lnTo>
                    <a:pt x="1503" y="189"/>
                  </a:lnTo>
                  <a:lnTo>
                    <a:pt x="1501" y="189"/>
                  </a:lnTo>
                  <a:lnTo>
                    <a:pt x="1498" y="191"/>
                  </a:lnTo>
                  <a:lnTo>
                    <a:pt x="1497" y="191"/>
                  </a:lnTo>
                  <a:lnTo>
                    <a:pt x="1497" y="194"/>
                  </a:lnTo>
                  <a:lnTo>
                    <a:pt x="1498" y="195"/>
                  </a:lnTo>
                  <a:lnTo>
                    <a:pt x="1500" y="201"/>
                  </a:lnTo>
                  <a:lnTo>
                    <a:pt x="1501" y="204"/>
                  </a:lnTo>
                  <a:lnTo>
                    <a:pt x="1503" y="205"/>
                  </a:lnTo>
                  <a:lnTo>
                    <a:pt x="1507" y="205"/>
                  </a:lnTo>
                  <a:lnTo>
                    <a:pt x="1510" y="205"/>
                  </a:lnTo>
                  <a:lnTo>
                    <a:pt x="1513" y="205"/>
                  </a:lnTo>
                  <a:lnTo>
                    <a:pt x="1514" y="207"/>
                  </a:lnTo>
                  <a:lnTo>
                    <a:pt x="1516" y="210"/>
                  </a:lnTo>
                  <a:lnTo>
                    <a:pt x="1517" y="210"/>
                  </a:lnTo>
                  <a:lnTo>
                    <a:pt x="1517" y="208"/>
                  </a:lnTo>
                  <a:lnTo>
                    <a:pt x="1517" y="205"/>
                  </a:lnTo>
                  <a:lnTo>
                    <a:pt x="1518" y="204"/>
                  </a:lnTo>
                  <a:lnTo>
                    <a:pt x="1520" y="204"/>
                  </a:lnTo>
                  <a:lnTo>
                    <a:pt x="1524" y="201"/>
                  </a:lnTo>
                  <a:lnTo>
                    <a:pt x="1528" y="199"/>
                  </a:lnTo>
                  <a:lnTo>
                    <a:pt x="1533" y="198"/>
                  </a:lnTo>
                  <a:lnTo>
                    <a:pt x="1536" y="197"/>
                  </a:lnTo>
                  <a:lnTo>
                    <a:pt x="1540" y="199"/>
                  </a:lnTo>
                  <a:lnTo>
                    <a:pt x="1546" y="201"/>
                  </a:lnTo>
                  <a:lnTo>
                    <a:pt x="1550" y="199"/>
                  </a:lnTo>
                  <a:lnTo>
                    <a:pt x="1557" y="192"/>
                  </a:lnTo>
                  <a:lnTo>
                    <a:pt x="1559" y="188"/>
                  </a:lnTo>
                  <a:lnTo>
                    <a:pt x="1560" y="179"/>
                  </a:lnTo>
                  <a:lnTo>
                    <a:pt x="1560" y="174"/>
                  </a:lnTo>
                  <a:lnTo>
                    <a:pt x="1559" y="171"/>
                  </a:lnTo>
                  <a:lnTo>
                    <a:pt x="1556" y="171"/>
                  </a:lnTo>
                  <a:lnTo>
                    <a:pt x="1554" y="168"/>
                  </a:lnTo>
                  <a:lnTo>
                    <a:pt x="1553" y="162"/>
                  </a:lnTo>
                  <a:lnTo>
                    <a:pt x="1553" y="159"/>
                  </a:lnTo>
                  <a:lnTo>
                    <a:pt x="1554" y="158"/>
                  </a:lnTo>
                  <a:lnTo>
                    <a:pt x="1559" y="158"/>
                  </a:lnTo>
                  <a:lnTo>
                    <a:pt x="1564" y="158"/>
                  </a:lnTo>
                  <a:lnTo>
                    <a:pt x="1567" y="157"/>
                  </a:lnTo>
                  <a:lnTo>
                    <a:pt x="1567" y="155"/>
                  </a:lnTo>
                  <a:lnTo>
                    <a:pt x="1570" y="155"/>
                  </a:lnTo>
                  <a:lnTo>
                    <a:pt x="1570" y="157"/>
                  </a:lnTo>
                  <a:lnTo>
                    <a:pt x="1570" y="159"/>
                  </a:lnTo>
                  <a:lnTo>
                    <a:pt x="1569" y="162"/>
                  </a:lnTo>
                  <a:lnTo>
                    <a:pt x="1569" y="164"/>
                  </a:lnTo>
                  <a:lnTo>
                    <a:pt x="1571" y="164"/>
                  </a:lnTo>
                  <a:lnTo>
                    <a:pt x="1573" y="161"/>
                  </a:lnTo>
                  <a:lnTo>
                    <a:pt x="1576" y="161"/>
                  </a:lnTo>
                  <a:lnTo>
                    <a:pt x="1579" y="161"/>
                  </a:lnTo>
                  <a:lnTo>
                    <a:pt x="1586" y="159"/>
                  </a:lnTo>
                  <a:lnTo>
                    <a:pt x="1594" y="157"/>
                  </a:lnTo>
                  <a:lnTo>
                    <a:pt x="1600" y="157"/>
                  </a:lnTo>
                  <a:lnTo>
                    <a:pt x="1604" y="155"/>
                  </a:lnTo>
                  <a:lnTo>
                    <a:pt x="1607" y="154"/>
                  </a:lnTo>
                  <a:lnTo>
                    <a:pt x="1609" y="149"/>
                  </a:lnTo>
                  <a:lnTo>
                    <a:pt x="1612" y="148"/>
                  </a:lnTo>
                  <a:lnTo>
                    <a:pt x="1613" y="148"/>
                  </a:lnTo>
                  <a:lnTo>
                    <a:pt x="1613" y="149"/>
                  </a:lnTo>
                  <a:lnTo>
                    <a:pt x="1614" y="151"/>
                  </a:lnTo>
                  <a:lnTo>
                    <a:pt x="1614" y="151"/>
                  </a:lnTo>
                  <a:lnTo>
                    <a:pt x="1617" y="151"/>
                  </a:lnTo>
                  <a:lnTo>
                    <a:pt x="1620" y="151"/>
                  </a:lnTo>
                  <a:lnTo>
                    <a:pt x="1623" y="152"/>
                  </a:lnTo>
                  <a:lnTo>
                    <a:pt x="1627" y="155"/>
                  </a:lnTo>
                  <a:lnTo>
                    <a:pt x="1630" y="157"/>
                  </a:lnTo>
                  <a:lnTo>
                    <a:pt x="1633" y="157"/>
                  </a:lnTo>
                  <a:lnTo>
                    <a:pt x="1644" y="149"/>
                  </a:lnTo>
                  <a:lnTo>
                    <a:pt x="1653" y="144"/>
                  </a:lnTo>
                  <a:lnTo>
                    <a:pt x="1656" y="142"/>
                  </a:lnTo>
                  <a:lnTo>
                    <a:pt x="1659" y="142"/>
                  </a:lnTo>
                  <a:lnTo>
                    <a:pt x="1662" y="145"/>
                  </a:lnTo>
                  <a:lnTo>
                    <a:pt x="1663" y="146"/>
                  </a:lnTo>
                  <a:lnTo>
                    <a:pt x="1670" y="146"/>
                  </a:lnTo>
                  <a:lnTo>
                    <a:pt x="1673" y="146"/>
                  </a:lnTo>
                  <a:lnTo>
                    <a:pt x="1675" y="144"/>
                  </a:lnTo>
                  <a:lnTo>
                    <a:pt x="1675" y="141"/>
                  </a:lnTo>
                  <a:lnTo>
                    <a:pt x="1676" y="139"/>
                  </a:lnTo>
                  <a:lnTo>
                    <a:pt x="1680" y="139"/>
                  </a:lnTo>
                  <a:lnTo>
                    <a:pt x="1682" y="141"/>
                  </a:lnTo>
                  <a:lnTo>
                    <a:pt x="1682" y="142"/>
                  </a:lnTo>
                  <a:lnTo>
                    <a:pt x="1680" y="145"/>
                  </a:lnTo>
                  <a:lnTo>
                    <a:pt x="1679" y="146"/>
                  </a:lnTo>
                  <a:lnTo>
                    <a:pt x="1679" y="149"/>
                  </a:lnTo>
                  <a:lnTo>
                    <a:pt x="1682" y="151"/>
                  </a:lnTo>
                  <a:lnTo>
                    <a:pt x="1683" y="151"/>
                  </a:lnTo>
                  <a:lnTo>
                    <a:pt x="1686" y="148"/>
                  </a:lnTo>
                  <a:lnTo>
                    <a:pt x="1687" y="148"/>
                  </a:lnTo>
                  <a:lnTo>
                    <a:pt x="1690" y="148"/>
                  </a:lnTo>
                  <a:lnTo>
                    <a:pt x="1695" y="148"/>
                  </a:lnTo>
                  <a:lnTo>
                    <a:pt x="1697" y="149"/>
                  </a:lnTo>
                  <a:lnTo>
                    <a:pt x="1699" y="151"/>
                  </a:lnTo>
                  <a:lnTo>
                    <a:pt x="1699" y="154"/>
                  </a:lnTo>
                  <a:lnTo>
                    <a:pt x="1697" y="158"/>
                  </a:lnTo>
                  <a:lnTo>
                    <a:pt x="1697" y="161"/>
                  </a:lnTo>
                  <a:lnTo>
                    <a:pt x="1699" y="162"/>
                  </a:lnTo>
                  <a:lnTo>
                    <a:pt x="1702" y="161"/>
                  </a:lnTo>
                  <a:lnTo>
                    <a:pt x="1708" y="161"/>
                  </a:lnTo>
                  <a:lnTo>
                    <a:pt x="1712" y="164"/>
                  </a:lnTo>
                  <a:lnTo>
                    <a:pt x="1716" y="169"/>
                  </a:lnTo>
                  <a:lnTo>
                    <a:pt x="1718" y="172"/>
                  </a:lnTo>
                  <a:lnTo>
                    <a:pt x="1719" y="174"/>
                  </a:lnTo>
                  <a:lnTo>
                    <a:pt x="1722" y="175"/>
                  </a:lnTo>
                  <a:lnTo>
                    <a:pt x="1725" y="178"/>
                  </a:lnTo>
                  <a:lnTo>
                    <a:pt x="1728" y="182"/>
                  </a:lnTo>
                  <a:lnTo>
                    <a:pt x="1728" y="185"/>
                  </a:lnTo>
                  <a:lnTo>
                    <a:pt x="1726" y="188"/>
                  </a:lnTo>
                  <a:lnTo>
                    <a:pt x="1725" y="191"/>
                  </a:lnTo>
                  <a:lnTo>
                    <a:pt x="1725" y="192"/>
                  </a:lnTo>
                  <a:lnTo>
                    <a:pt x="1723" y="195"/>
                  </a:lnTo>
                  <a:lnTo>
                    <a:pt x="1722" y="198"/>
                  </a:lnTo>
                  <a:lnTo>
                    <a:pt x="1722" y="201"/>
                  </a:lnTo>
                  <a:lnTo>
                    <a:pt x="1725" y="201"/>
                  </a:lnTo>
                  <a:lnTo>
                    <a:pt x="1728" y="198"/>
                  </a:lnTo>
                  <a:lnTo>
                    <a:pt x="1728" y="194"/>
                  </a:lnTo>
                  <a:lnTo>
                    <a:pt x="1729" y="188"/>
                  </a:lnTo>
                  <a:lnTo>
                    <a:pt x="1730" y="185"/>
                  </a:lnTo>
                  <a:lnTo>
                    <a:pt x="1732" y="184"/>
                  </a:lnTo>
                  <a:lnTo>
                    <a:pt x="1735" y="184"/>
                  </a:lnTo>
                  <a:lnTo>
                    <a:pt x="1738" y="188"/>
                  </a:lnTo>
                  <a:lnTo>
                    <a:pt x="1740" y="192"/>
                  </a:lnTo>
                  <a:lnTo>
                    <a:pt x="1745" y="195"/>
                  </a:lnTo>
                  <a:lnTo>
                    <a:pt x="1752" y="198"/>
                  </a:lnTo>
                  <a:lnTo>
                    <a:pt x="1755" y="199"/>
                  </a:lnTo>
                  <a:lnTo>
                    <a:pt x="1756" y="201"/>
                  </a:lnTo>
                  <a:lnTo>
                    <a:pt x="1756" y="202"/>
                  </a:lnTo>
                  <a:lnTo>
                    <a:pt x="1756" y="202"/>
                  </a:lnTo>
                  <a:lnTo>
                    <a:pt x="1755" y="204"/>
                  </a:lnTo>
                  <a:lnTo>
                    <a:pt x="1755" y="207"/>
                  </a:lnTo>
                  <a:lnTo>
                    <a:pt x="1755" y="212"/>
                  </a:lnTo>
                  <a:lnTo>
                    <a:pt x="1756" y="218"/>
                  </a:lnTo>
                  <a:lnTo>
                    <a:pt x="1755" y="220"/>
                  </a:lnTo>
                  <a:lnTo>
                    <a:pt x="1750" y="217"/>
                  </a:lnTo>
                  <a:lnTo>
                    <a:pt x="1749" y="217"/>
                  </a:lnTo>
                  <a:lnTo>
                    <a:pt x="1748" y="218"/>
                  </a:lnTo>
                  <a:lnTo>
                    <a:pt x="1749" y="218"/>
                  </a:lnTo>
                  <a:lnTo>
                    <a:pt x="1750" y="221"/>
                  </a:lnTo>
                  <a:lnTo>
                    <a:pt x="1752" y="222"/>
                  </a:lnTo>
                  <a:lnTo>
                    <a:pt x="1750" y="224"/>
                  </a:lnTo>
                  <a:lnTo>
                    <a:pt x="1752" y="225"/>
                  </a:lnTo>
                  <a:lnTo>
                    <a:pt x="1753" y="224"/>
                  </a:lnTo>
                  <a:lnTo>
                    <a:pt x="1755" y="225"/>
                  </a:lnTo>
                  <a:lnTo>
                    <a:pt x="1758" y="225"/>
                  </a:lnTo>
                  <a:lnTo>
                    <a:pt x="1759" y="224"/>
                  </a:lnTo>
                  <a:lnTo>
                    <a:pt x="1761" y="224"/>
                  </a:lnTo>
                  <a:lnTo>
                    <a:pt x="1761" y="227"/>
                  </a:lnTo>
                  <a:lnTo>
                    <a:pt x="1762" y="230"/>
                  </a:lnTo>
                  <a:lnTo>
                    <a:pt x="1765" y="234"/>
                  </a:lnTo>
                  <a:lnTo>
                    <a:pt x="1765" y="235"/>
                  </a:lnTo>
                  <a:lnTo>
                    <a:pt x="1765" y="238"/>
                  </a:lnTo>
                  <a:lnTo>
                    <a:pt x="1763" y="241"/>
                  </a:lnTo>
                  <a:lnTo>
                    <a:pt x="1763" y="244"/>
                  </a:lnTo>
                  <a:lnTo>
                    <a:pt x="1765" y="244"/>
                  </a:lnTo>
                  <a:lnTo>
                    <a:pt x="1768" y="242"/>
                  </a:lnTo>
                  <a:lnTo>
                    <a:pt x="1771" y="242"/>
                  </a:lnTo>
                  <a:lnTo>
                    <a:pt x="1772" y="240"/>
                  </a:lnTo>
                  <a:lnTo>
                    <a:pt x="1773" y="237"/>
                  </a:lnTo>
                  <a:lnTo>
                    <a:pt x="1773" y="234"/>
                  </a:lnTo>
                  <a:lnTo>
                    <a:pt x="1772" y="234"/>
                  </a:lnTo>
                  <a:lnTo>
                    <a:pt x="1771" y="231"/>
                  </a:lnTo>
                  <a:lnTo>
                    <a:pt x="1771" y="230"/>
                  </a:lnTo>
                  <a:lnTo>
                    <a:pt x="1772" y="227"/>
                  </a:lnTo>
                  <a:lnTo>
                    <a:pt x="1776" y="227"/>
                  </a:lnTo>
                  <a:lnTo>
                    <a:pt x="1779" y="227"/>
                  </a:lnTo>
                  <a:lnTo>
                    <a:pt x="1782" y="228"/>
                  </a:lnTo>
                  <a:lnTo>
                    <a:pt x="1783" y="230"/>
                  </a:lnTo>
                  <a:lnTo>
                    <a:pt x="1785" y="227"/>
                  </a:lnTo>
                  <a:lnTo>
                    <a:pt x="1781" y="224"/>
                  </a:lnTo>
                  <a:lnTo>
                    <a:pt x="1776" y="221"/>
                  </a:lnTo>
                  <a:lnTo>
                    <a:pt x="1771" y="220"/>
                  </a:lnTo>
                  <a:lnTo>
                    <a:pt x="1768" y="218"/>
                  </a:lnTo>
                  <a:lnTo>
                    <a:pt x="1766" y="214"/>
                  </a:lnTo>
                  <a:lnTo>
                    <a:pt x="1766" y="212"/>
                  </a:lnTo>
                  <a:lnTo>
                    <a:pt x="1772" y="211"/>
                  </a:lnTo>
                  <a:lnTo>
                    <a:pt x="1775" y="210"/>
                  </a:lnTo>
                  <a:lnTo>
                    <a:pt x="1778" y="210"/>
                  </a:lnTo>
                  <a:lnTo>
                    <a:pt x="1779" y="210"/>
                  </a:lnTo>
                  <a:lnTo>
                    <a:pt x="1781" y="211"/>
                  </a:lnTo>
                  <a:lnTo>
                    <a:pt x="1781" y="214"/>
                  </a:lnTo>
                  <a:lnTo>
                    <a:pt x="1781" y="215"/>
                  </a:lnTo>
                  <a:lnTo>
                    <a:pt x="1783" y="217"/>
                  </a:lnTo>
                  <a:lnTo>
                    <a:pt x="1785" y="218"/>
                  </a:lnTo>
                  <a:lnTo>
                    <a:pt x="1788" y="221"/>
                  </a:lnTo>
                  <a:lnTo>
                    <a:pt x="1789" y="230"/>
                  </a:lnTo>
                  <a:lnTo>
                    <a:pt x="1791" y="235"/>
                  </a:lnTo>
                  <a:lnTo>
                    <a:pt x="1792" y="240"/>
                  </a:lnTo>
                  <a:lnTo>
                    <a:pt x="1795" y="242"/>
                  </a:lnTo>
                  <a:lnTo>
                    <a:pt x="1795" y="247"/>
                  </a:lnTo>
                  <a:lnTo>
                    <a:pt x="1795" y="250"/>
                  </a:lnTo>
                  <a:lnTo>
                    <a:pt x="1796" y="252"/>
                  </a:lnTo>
                  <a:lnTo>
                    <a:pt x="1795" y="254"/>
                  </a:lnTo>
                  <a:lnTo>
                    <a:pt x="1793" y="257"/>
                  </a:lnTo>
                  <a:lnTo>
                    <a:pt x="1792" y="257"/>
                  </a:lnTo>
                  <a:lnTo>
                    <a:pt x="1792" y="260"/>
                  </a:lnTo>
                  <a:lnTo>
                    <a:pt x="1793" y="261"/>
                  </a:lnTo>
                  <a:lnTo>
                    <a:pt x="1796" y="260"/>
                  </a:lnTo>
                  <a:lnTo>
                    <a:pt x="1798" y="260"/>
                  </a:lnTo>
                  <a:lnTo>
                    <a:pt x="1799" y="261"/>
                  </a:lnTo>
                  <a:lnTo>
                    <a:pt x="1801" y="262"/>
                  </a:lnTo>
                  <a:lnTo>
                    <a:pt x="1805" y="261"/>
                  </a:lnTo>
                  <a:lnTo>
                    <a:pt x="1806" y="261"/>
                  </a:lnTo>
                  <a:lnTo>
                    <a:pt x="1806" y="258"/>
                  </a:lnTo>
                  <a:lnTo>
                    <a:pt x="1806" y="257"/>
                  </a:lnTo>
                  <a:lnTo>
                    <a:pt x="1809" y="257"/>
                  </a:lnTo>
                  <a:lnTo>
                    <a:pt x="1813" y="261"/>
                  </a:lnTo>
                  <a:lnTo>
                    <a:pt x="1816" y="268"/>
                  </a:lnTo>
                  <a:lnTo>
                    <a:pt x="1816" y="281"/>
                  </a:lnTo>
                  <a:lnTo>
                    <a:pt x="1815" y="294"/>
                  </a:lnTo>
                  <a:lnTo>
                    <a:pt x="1813" y="311"/>
                  </a:lnTo>
                  <a:lnTo>
                    <a:pt x="1813" y="323"/>
                  </a:lnTo>
                  <a:lnTo>
                    <a:pt x="1813" y="323"/>
                  </a:lnTo>
                  <a:lnTo>
                    <a:pt x="1813" y="323"/>
                  </a:lnTo>
                  <a:lnTo>
                    <a:pt x="1811" y="326"/>
                  </a:lnTo>
                  <a:lnTo>
                    <a:pt x="1808" y="327"/>
                  </a:lnTo>
                  <a:lnTo>
                    <a:pt x="1806" y="326"/>
                  </a:lnTo>
                  <a:lnTo>
                    <a:pt x="1805" y="324"/>
                  </a:lnTo>
                  <a:lnTo>
                    <a:pt x="1805" y="321"/>
                  </a:lnTo>
                  <a:lnTo>
                    <a:pt x="1808" y="311"/>
                  </a:lnTo>
                  <a:lnTo>
                    <a:pt x="1809" y="307"/>
                  </a:lnTo>
                  <a:lnTo>
                    <a:pt x="1806" y="304"/>
                  </a:lnTo>
                  <a:lnTo>
                    <a:pt x="1805" y="301"/>
                  </a:lnTo>
                  <a:lnTo>
                    <a:pt x="1799" y="301"/>
                  </a:lnTo>
                  <a:lnTo>
                    <a:pt x="1795" y="301"/>
                  </a:lnTo>
                  <a:lnTo>
                    <a:pt x="1791" y="304"/>
                  </a:lnTo>
                  <a:lnTo>
                    <a:pt x="1789" y="304"/>
                  </a:lnTo>
                  <a:lnTo>
                    <a:pt x="1788" y="301"/>
                  </a:lnTo>
                  <a:lnTo>
                    <a:pt x="1786" y="297"/>
                  </a:lnTo>
                  <a:lnTo>
                    <a:pt x="1785" y="294"/>
                  </a:lnTo>
                  <a:lnTo>
                    <a:pt x="1782" y="294"/>
                  </a:lnTo>
                  <a:lnTo>
                    <a:pt x="1778" y="294"/>
                  </a:lnTo>
                  <a:lnTo>
                    <a:pt x="1773" y="290"/>
                  </a:lnTo>
                  <a:lnTo>
                    <a:pt x="1763" y="284"/>
                  </a:lnTo>
                  <a:lnTo>
                    <a:pt x="1756" y="283"/>
                  </a:lnTo>
                  <a:lnTo>
                    <a:pt x="1753" y="281"/>
                  </a:lnTo>
                  <a:lnTo>
                    <a:pt x="1750" y="283"/>
                  </a:lnTo>
                  <a:lnTo>
                    <a:pt x="1750" y="283"/>
                  </a:lnTo>
                  <a:lnTo>
                    <a:pt x="1750" y="284"/>
                  </a:lnTo>
                  <a:lnTo>
                    <a:pt x="1752" y="284"/>
                  </a:lnTo>
                  <a:lnTo>
                    <a:pt x="1756" y="285"/>
                  </a:lnTo>
                  <a:lnTo>
                    <a:pt x="1758" y="285"/>
                  </a:lnTo>
                  <a:lnTo>
                    <a:pt x="1759" y="290"/>
                  </a:lnTo>
                  <a:lnTo>
                    <a:pt x="1761" y="291"/>
                  </a:lnTo>
                  <a:lnTo>
                    <a:pt x="1761" y="293"/>
                  </a:lnTo>
                  <a:lnTo>
                    <a:pt x="1766" y="293"/>
                  </a:lnTo>
                  <a:lnTo>
                    <a:pt x="1771" y="293"/>
                  </a:lnTo>
                  <a:lnTo>
                    <a:pt x="1775" y="295"/>
                  </a:lnTo>
                  <a:lnTo>
                    <a:pt x="1778" y="298"/>
                  </a:lnTo>
                  <a:lnTo>
                    <a:pt x="1778" y="301"/>
                  </a:lnTo>
                  <a:lnTo>
                    <a:pt x="1778" y="304"/>
                  </a:lnTo>
                  <a:lnTo>
                    <a:pt x="1778" y="305"/>
                  </a:lnTo>
                  <a:lnTo>
                    <a:pt x="1776" y="307"/>
                  </a:lnTo>
                  <a:lnTo>
                    <a:pt x="1776" y="308"/>
                  </a:lnTo>
                  <a:lnTo>
                    <a:pt x="1776" y="310"/>
                  </a:lnTo>
                  <a:lnTo>
                    <a:pt x="1778" y="313"/>
                  </a:lnTo>
                  <a:lnTo>
                    <a:pt x="1781" y="314"/>
                  </a:lnTo>
                  <a:lnTo>
                    <a:pt x="1781" y="317"/>
                  </a:lnTo>
                  <a:lnTo>
                    <a:pt x="1781" y="317"/>
                  </a:lnTo>
                  <a:lnTo>
                    <a:pt x="1779" y="321"/>
                  </a:lnTo>
                  <a:lnTo>
                    <a:pt x="1779" y="324"/>
                  </a:lnTo>
                  <a:lnTo>
                    <a:pt x="1781" y="327"/>
                  </a:lnTo>
                  <a:lnTo>
                    <a:pt x="1783" y="328"/>
                  </a:lnTo>
                  <a:lnTo>
                    <a:pt x="1786" y="328"/>
                  </a:lnTo>
                  <a:lnTo>
                    <a:pt x="1789" y="327"/>
                  </a:lnTo>
                  <a:lnTo>
                    <a:pt x="1789" y="326"/>
                  </a:lnTo>
                  <a:lnTo>
                    <a:pt x="1789" y="323"/>
                  </a:lnTo>
                  <a:lnTo>
                    <a:pt x="1786" y="321"/>
                  </a:lnTo>
                  <a:lnTo>
                    <a:pt x="1785" y="320"/>
                  </a:lnTo>
                  <a:lnTo>
                    <a:pt x="1785" y="318"/>
                  </a:lnTo>
                  <a:lnTo>
                    <a:pt x="1785" y="315"/>
                  </a:lnTo>
                  <a:lnTo>
                    <a:pt x="1786" y="314"/>
                  </a:lnTo>
                  <a:lnTo>
                    <a:pt x="1792" y="308"/>
                  </a:lnTo>
                  <a:lnTo>
                    <a:pt x="1793" y="307"/>
                  </a:lnTo>
                  <a:lnTo>
                    <a:pt x="1796" y="308"/>
                  </a:lnTo>
                  <a:lnTo>
                    <a:pt x="1799" y="308"/>
                  </a:lnTo>
                  <a:lnTo>
                    <a:pt x="1799" y="311"/>
                  </a:lnTo>
                  <a:lnTo>
                    <a:pt x="1799" y="315"/>
                  </a:lnTo>
                  <a:lnTo>
                    <a:pt x="1799" y="321"/>
                  </a:lnTo>
                  <a:lnTo>
                    <a:pt x="1801" y="326"/>
                  </a:lnTo>
                  <a:lnTo>
                    <a:pt x="1806" y="328"/>
                  </a:lnTo>
                  <a:lnTo>
                    <a:pt x="1811" y="330"/>
                  </a:lnTo>
                  <a:lnTo>
                    <a:pt x="1815" y="328"/>
                  </a:lnTo>
                  <a:lnTo>
                    <a:pt x="1816" y="328"/>
                  </a:lnTo>
                  <a:lnTo>
                    <a:pt x="1821" y="328"/>
                  </a:lnTo>
                  <a:lnTo>
                    <a:pt x="1822" y="331"/>
                  </a:lnTo>
                  <a:lnTo>
                    <a:pt x="1822" y="337"/>
                  </a:lnTo>
                  <a:lnTo>
                    <a:pt x="1824" y="348"/>
                  </a:lnTo>
                  <a:lnTo>
                    <a:pt x="1825" y="361"/>
                  </a:lnTo>
                  <a:lnTo>
                    <a:pt x="1824" y="371"/>
                  </a:lnTo>
                  <a:lnTo>
                    <a:pt x="1816" y="390"/>
                  </a:lnTo>
                  <a:lnTo>
                    <a:pt x="1809" y="404"/>
                  </a:lnTo>
                  <a:lnTo>
                    <a:pt x="1806" y="409"/>
                  </a:lnTo>
                  <a:lnTo>
                    <a:pt x="1798" y="426"/>
                  </a:lnTo>
                  <a:lnTo>
                    <a:pt x="1795" y="429"/>
                  </a:lnTo>
                  <a:lnTo>
                    <a:pt x="1789" y="433"/>
                  </a:lnTo>
                  <a:lnTo>
                    <a:pt x="1781" y="439"/>
                  </a:lnTo>
                  <a:lnTo>
                    <a:pt x="1776" y="443"/>
                  </a:lnTo>
                  <a:lnTo>
                    <a:pt x="1773" y="450"/>
                  </a:lnTo>
                  <a:lnTo>
                    <a:pt x="1771" y="462"/>
                  </a:lnTo>
                  <a:lnTo>
                    <a:pt x="1769" y="466"/>
                  </a:lnTo>
                  <a:lnTo>
                    <a:pt x="1766" y="477"/>
                  </a:lnTo>
                  <a:lnTo>
                    <a:pt x="1763" y="482"/>
                  </a:lnTo>
                  <a:lnTo>
                    <a:pt x="1761" y="482"/>
                  </a:lnTo>
                  <a:lnTo>
                    <a:pt x="1750" y="482"/>
                  </a:lnTo>
                  <a:lnTo>
                    <a:pt x="1746" y="482"/>
                  </a:lnTo>
                  <a:lnTo>
                    <a:pt x="1743" y="486"/>
                  </a:lnTo>
                  <a:lnTo>
                    <a:pt x="1739" y="493"/>
                  </a:lnTo>
                  <a:lnTo>
                    <a:pt x="1738" y="499"/>
                  </a:lnTo>
                  <a:lnTo>
                    <a:pt x="1733" y="506"/>
                  </a:lnTo>
                  <a:lnTo>
                    <a:pt x="1729" y="509"/>
                  </a:lnTo>
                  <a:lnTo>
                    <a:pt x="1723" y="513"/>
                  </a:lnTo>
                  <a:lnTo>
                    <a:pt x="1719" y="517"/>
                  </a:lnTo>
                  <a:lnTo>
                    <a:pt x="1715" y="519"/>
                  </a:lnTo>
                  <a:lnTo>
                    <a:pt x="1709" y="519"/>
                  </a:lnTo>
                  <a:lnTo>
                    <a:pt x="1706" y="520"/>
                  </a:lnTo>
                  <a:lnTo>
                    <a:pt x="1708" y="522"/>
                  </a:lnTo>
                  <a:lnTo>
                    <a:pt x="1710" y="525"/>
                  </a:lnTo>
                  <a:lnTo>
                    <a:pt x="1710" y="530"/>
                  </a:lnTo>
                  <a:lnTo>
                    <a:pt x="1708" y="535"/>
                  </a:lnTo>
                  <a:lnTo>
                    <a:pt x="1706" y="539"/>
                  </a:lnTo>
                  <a:lnTo>
                    <a:pt x="1702" y="540"/>
                  </a:lnTo>
                  <a:lnTo>
                    <a:pt x="1696" y="543"/>
                  </a:lnTo>
                  <a:lnTo>
                    <a:pt x="1693" y="546"/>
                  </a:lnTo>
                  <a:lnTo>
                    <a:pt x="1690" y="549"/>
                  </a:lnTo>
                  <a:lnTo>
                    <a:pt x="1687" y="550"/>
                  </a:lnTo>
                  <a:lnTo>
                    <a:pt x="1683" y="552"/>
                  </a:lnTo>
                  <a:lnTo>
                    <a:pt x="1680" y="552"/>
                  </a:lnTo>
                  <a:lnTo>
                    <a:pt x="1679" y="552"/>
                  </a:lnTo>
                  <a:lnTo>
                    <a:pt x="1676" y="553"/>
                  </a:lnTo>
                  <a:lnTo>
                    <a:pt x="1675" y="556"/>
                  </a:lnTo>
                  <a:lnTo>
                    <a:pt x="1675" y="558"/>
                  </a:lnTo>
                  <a:lnTo>
                    <a:pt x="1679" y="559"/>
                  </a:lnTo>
                  <a:lnTo>
                    <a:pt x="1680" y="559"/>
                  </a:lnTo>
                  <a:lnTo>
                    <a:pt x="1683" y="559"/>
                  </a:lnTo>
                  <a:lnTo>
                    <a:pt x="1686" y="558"/>
                  </a:lnTo>
                  <a:lnTo>
                    <a:pt x="1689" y="553"/>
                  </a:lnTo>
                  <a:lnTo>
                    <a:pt x="1690" y="553"/>
                  </a:lnTo>
                  <a:lnTo>
                    <a:pt x="1693" y="553"/>
                  </a:lnTo>
                  <a:lnTo>
                    <a:pt x="1695" y="559"/>
                  </a:lnTo>
                  <a:lnTo>
                    <a:pt x="1695" y="569"/>
                  </a:lnTo>
                  <a:lnTo>
                    <a:pt x="1693" y="576"/>
                  </a:lnTo>
                  <a:lnTo>
                    <a:pt x="1692" y="582"/>
                  </a:lnTo>
                  <a:lnTo>
                    <a:pt x="1689" y="585"/>
                  </a:lnTo>
                  <a:lnTo>
                    <a:pt x="1685" y="590"/>
                  </a:lnTo>
                  <a:lnTo>
                    <a:pt x="1682" y="595"/>
                  </a:lnTo>
                  <a:lnTo>
                    <a:pt x="1677" y="598"/>
                  </a:lnTo>
                  <a:lnTo>
                    <a:pt x="1672" y="600"/>
                  </a:lnTo>
                  <a:lnTo>
                    <a:pt x="1663" y="603"/>
                  </a:lnTo>
                  <a:lnTo>
                    <a:pt x="1657" y="608"/>
                  </a:lnTo>
                  <a:lnTo>
                    <a:pt x="1652" y="619"/>
                  </a:lnTo>
                  <a:lnTo>
                    <a:pt x="1644" y="636"/>
                  </a:lnTo>
                  <a:lnTo>
                    <a:pt x="1636" y="659"/>
                  </a:lnTo>
                  <a:lnTo>
                    <a:pt x="1629" y="675"/>
                  </a:lnTo>
                  <a:lnTo>
                    <a:pt x="1626" y="681"/>
                  </a:lnTo>
                  <a:lnTo>
                    <a:pt x="1626" y="682"/>
                  </a:lnTo>
                  <a:lnTo>
                    <a:pt x="1624" y="682"/>
                  </a:lnTo>
                  <a:lnTo>
                    <a:pt x="1624" y="681"/>
                  </a:lnTo>
                  <a:lnTo>
                    <a:pt x="1626" y="678"/>
                  </a:lnTo>
                  <a:lnTo>
                    <a:pt x="1624" y="676"/>
                  </a:lnTo>
                  <a:lnTo>
                    <a:pt x="1620" y="675"/>
                  </a:lnTo>
                  <a:lnTo>
                    <a:pt x="1617" y="675"/>
                  </a:lnTo>
                  <a:lnTo>
                    <a:pt x="1616" y="679"/>
                  </a:lnTo>
                  <a:lnTo>
                    <a:pt x="1613" y="682"/>
                  </a:lnTo>
                  <a:lnTo>
                    <a:pt x="1609" y="682"/>
                  </a:lnTo>
                  <a:lnTo>
                    <a:pt x="1603" y="681"/>
                  </a:lnTo>
                  <a:lnTo>
                    <a:pt x="1599" y="681"/>
                  </a:lnTo>
                  <a:lnTo>
                    <a:pt x="1594" y="682"/>
                  </a:lnTo>
                  <a:lnTo>
                    <a:pt x="1593" y="685"/>
                  </a:lnTo>
                  <a:lnTo>
                    <a:pt x="1592" y="685"/>
                  </a:lnTo>
                  <a:lnTo>
                    <a:pt x="1589" y="691"/>
                  </a:lnTo>
                  <a:lnTo>
                    <a:pt x="1586" y="694"/>
                  </a:lnTo>
                  <a:lnTo>
                    <a:pt x="1584" y="698"/>
                  </a:lnTo>
                  <a:lnTo>
                    <a:pt x="1583" y="701"/>
                  </a:lnTo>
                  <a:lnTo>
                    <a:pt x="1583" y="706"/>
                  </a:lnTo>
                  <a:lnTo>
                    <a:pt x="1580" y="711"/>
                  </a:lnTo>
                  <a:lnTo>
                    <a:pt x="1576" y="714"/>
                  </a:lnTo>
                  <a:lnTo>
                    <a:pt x="1574" y="715"/>
                  </a:lnTo>
                  <a:lnTo>
                    <a:pt x="1571" y="718"/>
                  </a:lnTo>
                  <a:lnTo>
                    <a:pt x="1570" y="722"/>
                  </a:lnTo>
                  <a:lnTo>
                    <a:pt x="1571" y="732"/>
                  </a:lnTo>
                  <a:lnTo>
                    <a:pt x="1571" y="737"/>
                  </a:lnTo>
                  <a:lnTo>
                    <a:pt x="1570" y="741"/>
                  </a:lnTo>
                  <a:lnTo>
                    <a:pt x="1566" y="744"/>
                  </a:lnTo>
                  <a:lnTo>
                    <a:pt x="1561" y="745"/>
                  </a:lnTo>
                  <a:lnTo>
                    <a:pt x="1554" y="744"/>
                  </a:lnTo>
                  <a:lnTo>
                    <a:pt x="1549" y="742"/>
                  </a:lnTo>
                  <a:lnTo>
                    <a:pt x="1544" y="742"/>
                  </a:lnTo>
                  <a:lnTo>
                    <a:pt x="1543" y="744"/>
                  </a:lnTo>
                  <a:lnTo>
                    <a:pt x="1541" y="747"/>
                  </a:lnTo>
                  <a:lnTo>
                    <a:pt x="1539" y="751"/>
                  </a:lnTo>
                  <a:lnTo>
                    <a:pt x="1537" y="755"/>
                  </a:lnTo>
                  <a:lnTo>
                    <a:pt x="1537" y="761"/>
                  </a:lnTo>
                  <a:lnTo>
                    <a:pt x="1536" y="767"/>
                  </a:lnTo>
                  <a:lnTo>
                    <a:pt x="1536" y="772"/>
                  </a:lnTo>
                  <a:lnTo>
                    <a:pt x="1534" y="775"/>
                  </a:lnTo>
                  <a:lnTo>
                    <a:pt x="1530" y="780"/>
                  </a:lnTo>
                  <a:lnTo>
                    <a:pt x="1528" y="782"/>
                  </a:lnTo>
                  <a:lnTo>
                    <a:pt x="1528" y="787"/>
                  </a:lnTo>
                  <a:lnTo>
                    <a:pt x="1530" y="791"/>
                  </a:lnTo>
                  <a:lnTo>
                    <a:pt x="1530" y="795"/>
                  </a:lnTo>
                  <a:lnTo>
                    <a:pt x="1530" y="798"/>
                  </a:lnTo>
                  <a:lnTo>
                    <a:pt x="1528" y="801"/>
                  </a:lnTo>
                  <a:lnTo>
                    <a:pt x="1524" y="807"/>
                  </a:lnTo>
                  <a:lnTo>
                    <a:pt x="1520" y="815"/>
                  </a:lnTo>
                  <a:lnTo>
                    <a:pt x="1518" y="821"/>
                  </a:lnTo>
                  <a:lnTo>
                    <a:pt x="1513" y="827"/>
                  </a:lnTo>
                  <a:lnTo>
                    <a:pt x="1506" y="831"/>
                  </a:lnTo>
                  <a:lnTo>
                    <a:pt x="1501" y="835"/>
                  </a:lnTo>
                  <a:lnTo>
                    <a:pt x="1498" y="837"/>
                  </a:lnTo>
                  <a:lnTo>
                    <a:pt x="1497" y="837"/>
                  </a:lnTo>
                  <a:lnTo>
                    <a:pt x="1493" y="837"/>
                  </a:lnTo>
                  <a:lnTo>
                    <a:pt x="1491" y="837"/>
                  </a:lnTo>
                  <a:lnTo>
                    <a:pt x="1490" y="837"/>
                  </a:lnTo>
                  <a:lnTo>
                    <a:pt x="1487" y="838"/>
                  </a:lnTo>
                  <a:lnTo>
                    <a:pt x="1486" y="840"/>
                  </a:lnTo>
                  <a:lnTo>
                    <a:pt x="1481" y="841"/>
                  </a:lnTo>
                  <a:lnTo>
                    <a:pt x="1477" y="843"/>
                  </a:lnTo>
                  <a:lnTo>
                    <a:pt x="1475" y="845"/>
                  </a:lnTo>
                  <a:lnTo>
                    <a:pt x="1475" y="847"/>
                  </a:lnTo>
                  <a:lnTo>
                    <a:pt x="1475" y="848"/>
                  </a:lnTo>
                  <a:lnTo>
                    <a:pt x="1477" y="851"/>
                  </a:lnTo>
                  <a:lnTo>
                    <a:pt x="1477" y="853"/>
                  </a:lnTo>
                  <a:lnTo>
                    <a:pt x="1475" y="854"/>
                  </a:lnTo>
                  <a:lnTo>
                    <a:pt x="1471" y="855"/>
                  </a:lnTo>
                  <a:lnTo>
                    <a:pt x="1467" y="857"/>
                  </a:lnTo>
                  <a:lnTo>
                    <a:pt x="1464" y="861"/>
                  </a:lnTo>
                  <a:lnTo>
                    <a:pt x="1463" y="865"/>
                  </a:lnTo>
                  <a:lnTo>
                    <a:pt x="1460" y="870"/>
                  </a:lnTo>
                  <a:lnTo>
                    <a:pt x="1455" y="871"/>
                  </a:lnTo>
                  <a:lnTo>
                    <a:pt x="1450" y="874"/>
                  </a:lnTo>
                  <a:lnTo>
                    <a:pt x="1445" y="878"/>
                  </a:lnTo>
                  <a:lnTo>
                    <a:pt x="1438" y="887"/>
                  </a:lnTo>
                  <a:lnTo>
                    <a:pt x="1430" y="893"/>
                  </a:lnTo>
                  <a:lnTo>
                    <a:pt x="1420" y="894"/>
                  </a:lnTo>
                  <a:lnTo>
                    <a:pt x="1415" y="896"/>
                  </a:lnTo>
                  <a:lnTo>
                    <a:pt x="1412" y="897"/>
                  </a:lnTo>
                  <a:lnTo>
                    <a:pt x="1405" y="904"/>
                  </a:lnTo>
                  <a:lnTo>
                    <a:pt x="1400" y="910"/>
                  </a:lnTo>
                  <a:lnTo>
                    <a:pt x="1397" y="914"/>
                  </a:lnTo>
                  <a:lnTo>
                    <a:pt x="1392" y="923"/>
                  </a:lnTo>
                  <a:lnTo>
                    <a:pt x="1392" y="926"/>
                  </a:lnTo>
                  <a:lnTo>
                    <a:pt x="1392" y="926"/>
                  </a:lnTo>
                  <a:lnTo>
                    <a:pt x="1395" y="926"/>
                  </a:lnTo>
                  <a:lnTo>
                    <a:pt x="1395" y="928"/>
                  </a:lnTo>
                  <a:lnTo>
                    <a:pt x="1394" y="933"/>
                  </a:lnTo>
                  <a:lnTo>
                    <a:pt x="1391" y="936"/>
                  </a:lnTo>
                  <a:lnTo>
                    <a:pt x="1388" y="937"/>
                  </a:lnTo>
                  <a:lnTo>
                    <a:pt x="1387" y="938"/>
                  </a:lnTo>
                  <a:lnTo>
                    <a:pt x="1387" y="944"/>
                  </a:lnTo>
                  <a:lnTo>
                    <a:pt x="1394" y="946"/>
                  </a:lnTo>
                  <a:lnTo>
                    <a:pt x="1397" y="944"/>
                  </a:lnTo>
                  <a:lnTo>
                    <a:pt x="1401" y="937"/>
                  </a:lnTo>
                  <a:lnTo>
                    <a:pt x="1402" y="933"/>
                  </a:lnTo>
                  <a:lnTo>
                    <a:pt x="1402" y="928"/>
                  </a:lnTo>
                  <a:lnTo>
                    <a:pt x="1404" y="923"/>
                  </a:lnTo>
                  <a:lnTo>
                    <a:pt x="1407" y="916"/>
                  </a:lnTo>
                  <a:lnTo>
                    <a:pt x="1408" y="914"/>
                  </a:lnTo>
                  <a:lnTo>
                    <a:pt x="1410" y="911"/>
                  </a:lnTo>
                  <a:lnTo>
                    <a:pt x="1411" y="910"/>
                  </a:lnTo>
                  <a:lnTo>
                    <a:pt x="1412" y="907"/>
                  </a:lnTo>
                  <a:lnTo>
                    <a:pt x="1415" y="906"/>
                  </a:lnTo>
                  <a:lnTo>
                    <a:pt x="1420" y="906"/>
                  </a:lnTo>
                  <a:lnTo>
                    <a:pt x="1425" y="907"/>
                  </a:lnTo>
                  <a:lnTo>
                    <a:pt x="1428" y="907"/>
                  </a:lnTo>
                  <a:lnTo>
                    <a:pt x="1430" y="907"/>
                  </a:lnTo>
                  <a:lnTo>
                    <a:pt x="1433" y="906"/>
                  </a:lnTo>
                  <a:lnTo>
                    <a:pt x="1435" y="906"/>
                  </a:lnTo>
                  <a:lnTo>
                    <a:pt x="1440" y="904"/>
                  </a:lnTo>
                  <a:lnTo>
                    <a:pt x="1441" y="904"/>
                  </a:lnTo>
                  <a:lnTo>
                    <a:pt x="1444" y="901"/>
                  </a:lnTo>
                  <a:lnTo>
                    <a:pt x="1448" y="896"/>
                  </a:lnTo>
                  <a:lnTo>
                    <a:pt x="1453" y="894"/>
                  </a:lnTo>
                  <a:lnTo>
                    <a:pt x="1457" y="891"/>
                  </a:lnTo>
                  <a:lnTo>
                    <a:pt x="1460" y="890"/>
                  </a:lnTo>
                  <a:lnTo>
                    <a:pt x="1460" y="886"/>
                  </a:lnTo>
                  <a:lnTo>
                    <a:pt x="1458" y="880"/>
                  </a:lnTo>
                  <a:lnTo>
                    <a:pt x="1458" y="877"/>
                  </a:lnTo>
                  <a:lnTo>
                    <a:pt x="1460" y="875"/>
                  </a:lnTo>
                  <a:lnTo>
                    <a:pt x="1461" y="873"/>
                  </a:lnTo>
                  <a:lnTo>
                    <a:pt x="1465" y="871"/>
                  </a:lnTo>
                  <a:lnTo>
                    <a:pt x="1471" y="873"/>
                  </a:lnTo>
                  <a:lnTo>
                    <a:pt x="1473" y="873"/>
                  </a:lnTo>
                  <a:lnTo>
                    <a:pt x="1473" y="870"/>
                  </a:lnTo>
                  <a:lnTo>
                    <a:pt x="1474" y="870"/>
                  </a:lnTo>
                  <a:lnTo>
                    <a:pt x="1475" y="871"/>
                  </a:lnTo>
                  <a:lnTo>
                    <a:pt x="1477" y="871"/>
                  </a:lnTo>
                  <a:lnTo>
                    <a:pt x="1478" y="868"/>
                  </a:lnTo>
                  <a:lnTo>
                    <a:pt x="1484" y="860"/>
                  </a:lnTo>
                  <a:lnTo>
                    <a:pt x="1486" y="857"/>
                  </a:lnTo>
                  <a:lnTo>
                    <a:pt x="1490" y="857"/>
                  </a:lnTo>
                  <a:lnTo>
                    <a:pt x="1491" y="854"/>
                  </a:lnTo>
                  <a:lnTo>
                    <a:pt x="1493" y="851"/>
                  </a:lnTo>
                  <a:lnTo>
                    <a:pt x="1494" y="850"/>
                  </a:lnTo>
                  <a:lnTo>
                    <a:pt x="1496" y="850"/>
                  </a:lnTo>
                  <a:lnTo>
                    <a:pt x="1497" y="851"/>
                  </a:lnTo>
                  <a:lnTo>
                    <a:pt x="1497" y="854"/>
                  </a:lnTo>
                  <a:lnTo>
                    <a:pt x="1497" y="855"/>
                  </a:lnTo>
                  <a:lnTo>
                    <a:pt x="1498" y="855"/>
                  </a:lnTo>
                  <a:lnTo>
                    <a:pt x="1500" y="855"/>
                  </a:lnTo>
                  <a:lnTo>
                    <a:pt x="1500" y="851"/>
                  </a:lnTo>
                  <a:lnTo>
                    <a:pt x="1498" y="848"/>
                  </a:lnTo>
                  <a:lnTo>
                    <a:pt x="1500" y="847"/>
                  </a:lnTo>
                  <a:lnTo>
                    <a:pt x="1500" y="844"/>
                  </a:lnTo>
                  <a:lnTo>
                    <a:pt x="1500" y="843"/>
                  </a:lnTo>
                  <a:lnTo>
                    <a:pt x="1498" y="843"/>
                  </a:lnTo>
                  <a:lnTo>
                    <a:pt x="1497" y="843"/>
                  </a:lnTo>
                  <a:lnTo>
                    <a:pt x="1497" y="841"/>
                  </a:lnTo>
                  <a:lnTo>
                    <a:pt x="1498" y="840"/>
                  </a:lnTo>
                  <a:lnTo>
                    <a:pt x="1503" y="841"/>
                  </a:lnTo>
                  <a:lnTo>
                    <a:pt x="1510" y="843"/>
                  </a:lnTo>
                  <a:lnTo>
                    <a:pt x="1514" y="841"/>
                  </a:lnTo>
                  <a:lnTo>
                    <a:pt x="1518" y="840"/>
                  </a:lnTo>
                  <a:lnTo>
                    <a:pt x="1524" y="833"/>
                  </a:lnTo>
                  <a:lnTo>
                    <a:pt x="1527" y="824"/>
                  </a:lnTo>
                  <a:lnTo>
                    <a:pt x="1530" y="821"/>
                  </a:lnTo>
                  <a:lnTo>
                    <a:pt x="1536" y="818"/>
                  </a:lnTo>
                  <a:lnTo>
                    <a:pt x="1537" y="815"/>
                  </a:lnTo>
                  <a:lnTo>
                    <a:pt x="1539" y="810"/>
                  </a:lnTo>
                  <a:lnTo>
                    <a:pt x="1540" y="808"/>
                  </a:lnTo>
                  <a:lnTo>
                    <a:pt x="1541" y="807"/>
                  </a:lnTo>
                  <a:lnTo>
                    <a:pt x="1543" y="808"/>
                  </a:lnTo>
                  <a:lnTo>
                    <a:pt x="1544" y="811"/>
                  </a:lnTo>
                  <a:lnTo>
                    <a:pt x="1547" y="812"/>
                  </a:lnTo>
                  <a:lnTo>
                    <a:pt x="1554" y="815"/>
                  </a:lnTo>
                  <a:lnTo>
                    <a:pt x="1560" y="815"/>
                  </a:lnTo>
                  <a:lnTo>
                    <a:pt x="1566" y="815"/>
                  </a:lnTo>
                  <a:lnTo>
                    <a:pt x="1567" y="815"/>
                  </a:lnTo>
                  <a:lnTo>
                    <a:pt x="1570" y="817"/>
                  </a:lnTo>
                  <a:lnTo>
                    <a:pt x="1574" y="818"/>
                  </a:lnTo>
                  <a:lnTo>
                    <a:pt x="1579" y="818"/>
                  </a:lnTo>
                  <a:lnTo>
                    <a:pt x="1584" y="818"/>
                  </a:lnTo>
                  <a:lnTo>
                    <a:pt x="1589" y="820"/>
                  </a:lnTo>
                  <a:lnTo>
                    <a:pt x="1592" y="821"/>
                  </a:lnTo>
                  <a:lnTo>
                    <a:pt x="1592" y="817"/>
                  </a:lnTo>
                  <a:lnTo>
                    <a:pt x="1590" y="817"/>
                  </a:lnTo>
                  <a:lnTo>
                    <a:pt x="1589" y="814"/>
                  </a:lnTo>
                  <a:lnTo>
                    <a:pt x="1587" y="811"/>
                  </a:lnTo>
                  <a:lnTo>
                    <a:pt x="1584" y="811"/>
                  </a:lnTo>
                  <a:lnTo>
                    <a:pt x="1581" y="811"/>
                  </a:lnTo>
                  <a:lnTo>
                    <a:pt x="1576" y="811"/>
                  </a:lnTo>
                  <a:lnTo>
                    <a:pt x="1570" y="811"/>
                  </a:lnTo>
                  <a:lnTo>
                    <a:pt x="1567" y="810"/>
                  </a:lnTo>
                  <a:lnTo>
                    <a:pt x="1561" y="807"/>
                  </a:lnTo>
                  <a:lnTo>
                    <a:pt x="1556" y="804"/>
                  </a:lnTo>
                  <a:lnTo>
                    <a:pt x="1550" y="801"/>
                  </a:lnTo>
                  <a:lnTo>
                    <a:pt x="1547" y="797"/>
                  </a:lnTo>
                  <a:lnTo>
                    <a:pt x="1544" y="788"/>
                  </a:lnTo>
                  <a:lnTo>
                    <a:pt x="1544" y="782"/>
                  </a:lnTo>
                  <a:lnTo>
                    <a:pt x="1544" y="777"/>
                  </a:lnTo>
                  <a:lnTo>
                    <a:pt x="1546" y="774"/>
                  </a:lnTo>
                  <a:lnTo>
                    <a:pt x="1549" y="768"/>
                  </a:lnTo>
                  <a:lnTo>
                    <a:pt x="1553" y="764"/>
                  </a:lnTo>
                  <a:lnTo>
                    <a:pt x="1556" y="765"/>
                  </a:lnTo>
                  <a:lnTo>
                    <a:pt x="1563" y="768"/>
                  </a:lnTo>
                  <a:lnTo>
                    <a:pt x="1569" y="771"/>
                  </a:lnTo>
                  <a:lnTo>
                    <a:pt x="1574" y="772"/>
                  </a:lnTo>
                  <a:lnTo>
                    <a:pt x="1577" y="771"/>
                  </a:lnTo>
                  <a:lnTo>
                    <a:pt x="1581" y="767"/>
                  </a:lnTo>
                  <a:lnTo>
                    <a:pt x="1584" y="765"/>
                  </a:lnTo>
                  <a:lnTo>
                    <a:pt x="1592" y="765"/>
                  </a:lnTo>
                  <a:lnTo>
                    <a:pt x="1602" y="764"/>
                  </a:lnTo>
                  <a:lnTo>
                    <a:pt x="1609" y="762"/>
                  </a:lnTo>
                  <a:lnTo>
                    <a:pt x="1617" y="762"/>
                  </a:lnTo>
                  <a:lnTo>
                    <a:pt x="1622" y="759"/>
                  </a:lnTo>
                  <a:lnTo>
                    <a:pt x="1626" y="754"/>
                  </a:lnTo>
                  <a:lnTo>
                    <a:pt x="1627" y="751"/>
                  </a:lnTo>
                  <a:lnTo>
                    <a:pt x="1630" y="747"/>
                  </a:lnTo>
                  <a:lnTo>
                    <a:pt x="1634" y="747"/>
                  </a:lnTo>
                  <a:lnTo>
                    <a:pt x="1640" y="748"/>
                  </a:lnTo>
                  <a:lnTo>
                    <a:pt x="1643" y="749"/>
                  </a:lnTo>
                  <a:lnTo>
                    <a:pt x="1647" y="748"/>
                  </a:lnTo>
                  <a:lnTo>
                    <a:pt x="1649" y="747"/>
                  </a:lnTo>
                  <a:lnTo>
                    <a:pt x="1649" y="745"/>
                  </a:lnTo>
                  <a:lnTo>
                    <a:pt x="1647" y="744"/>
                  </a:lnTo>
                  <a:lnTo>
                    <a:pt x="1644" y="744"/>
                  </a:lnTo>
                  <a:lnTo>
                    <a:pt x="1642" y="744"/>
                  </a:lnTo>
                  <a:lnTo>
                    <a:pt x="1637" y="744"/>
                  </a:lnTo>
                  <a:lnTo>
                    <a:pt x="1636" y="744"/>
                  </a:lnTo>
                  <a:lnTo>
                    <a:pt x="1636" y="742"/>
                  </a:lnTo>
                  <a:lnTo>
                    <a:pt x="1636" y="739"/>
                  </a:lnTo>
                  <a:lnTo>
                    <a:pt x="1640" y="737"/>
                  </a:lnTo>
                  <a:lnTo>
                    <a:pt x="1653" y="731"/>
                  </a:lnTo>
                  <a:lnTo>
                    <a:pt x="1669" y="725"/>
                  </a:lnTo>
                  <a:lnTo>
                    <a:pt x="1675" y="721"/>
                  </a:lnTo>
                  <a:lnTo>
                    <a:pt x="1680" y="718"/>
                  </a:lnTo>
                  <a:lnTo>
                    <a:pt x="1685" y="715"/>
                  </a:lnTo>
                  <a:lnTo>
                    <a:pt x="1686" y="714"/>
                  </a:lnTo>
                  <a:lnTo>
                    <a:pt x="1686" y="712"/>
                  </a:lnTo>
                  <a:lnTo>
                    <a:pt x="1685" y="711"/>
                  </a:lnTo>
                  <a:lnTo>
                    <a:pt x="1682" y="708"/>
                  </a:lnTo>
                  <a:lnTo>
                    <a:pt x="1682" y="705"/>
                  </a:lnTo>
                  <a:lnTo>
                    <a:pt x="1682" y="702"/>
                  </a:lnTo>
                  <a:lnTo>
                    <a:pt x="1685" y="702"/>
                  </a:lnTo>
                  <a:lnTo>
                    <a:pt x="1687" y="704"/>
                  </a:lnTo>
                  <a:lnTo>
                    <a:pt x="1690" y="708"/>
                  </a:lnTo>
                  <a:lnTo>
                    <a:pt x="1692" y="708"/>
                  </a:lnTo>
                  <a:lnTo>
                    <a:pt x="1692" y="708"/>
                  </a:lnTo>
                  <a:lnTo>
                    <a:pt x="1692" y="705"/>
                  </a:lnTo>
                  <a:lnTo>
                    <a:pt x="1685" y="699"/>
                  </a:lnTo>
                  <a:lnTo>
                    <a:pt x="1683" y="698"/>
                  </a:lnTo>
                  <a:lnTo>
                    <a:pt x="1682" y="698"/>
                  </a:lnTo>
                  <a:lnTo>
                    <a:pt x="1680" y="698"/>
                  </a:lnTo>
                  <a:lnTo>
                    <a:pt x="1679" y="698"/>
                  </a:lnTo>
                  <a:lnTo>
                    <a:pt x="1677" y="696"/>
                  </a:lnTo>
                  <a:lnTo>
                    <a:pt x="1679" y="689"/>
                  </a:lnTo>
                  <a:lnTo>
                    <a:pt x="1682" y="688"/>
                  </a:lnTo>
                  <a:lnTo>
                    <a:pt x="1683" y="689"/>
                  </a:lnTo>
                  <a:lnTo>
                    <a:pt x="1690" y="698"/>
                  </a:lnTo>
                  <a:lnTo>
                    <a:pt x="1695" y="704"/>
                  </a:lnTo>
                  <a:lnTo>
                    <a:pt x="1699" y="705"/>
                  </a:lnTo>
                  <a:lnTo>
                    <a:pt x="1703" y="705"/>
                  </a:lnTo>
                  <a:lnTo>
                    <a:pt x="1709" y="704"/>
                  </a:lnTo>
                  <a:lnTo>
                    <a:pt x="1712" y="701"/>
                  </a:lnTo>
                  <a:lnTo>
                    <a:pt x="1715" y="698"/>
                  </a:lnTo>
                  <a:lnTo>
                    <a:pt x="1716" y="694"/>
                  </a:lnTo>
                  <a:lnTo>
                    <a:pt x="1722" y="688"/>
                  </a:lnTo>
                  <a:lnTo>
                    <a:pt x="1722" y="686"/>
                  </a:lnTo>
                  <a:lnTo>
                    <a:pt x="1723" y="685"/>
                  </a:lnTo>
                  <a:lnTo>
                    <a:pt x="1722" y="685"/>
                  </a:lnTo>
                  <a:lnTo>
                    <a:pt x="1720" y="685"/>
                  </a:lnTo>
                  <a:lnTo>
                    <a:pt x="1719" y="684"/>
                  </a:lnTo>
                  <a:lnTo>
                    <a:pt x="1719" y="681"/>
                  </a:lnTo>
                  <a:lnTo>
                    <a:pt x="1720" y="678"/>
                  </a:lnTo>
                  <a:lnTo>
                    <a:pt x="1726" y="676"/>
                  </a:lnTo>
                  <a:lnTo>
                    <a:pt x="1732" y="675"/>
                  </a:lnTo>
                  <a:lnTo>
                    <a:pt x="1733" y="674"/>
                  </a:lnTo>
                  <a:lnTo>
                    <a:pt x="1733" y="672"/>
                  </a:lnTo>
                  <a:lnTo>
                    <a:pt x="1733" y="671"/>
                  </a:lnTo>
                  <a:lnTo>
                    <a:pt x="1730" y="669"/>
                  </a:lnTo>
                  <a:lnTo>
                    <a:pt x="1730" y="668"/>
                  </a:lnTo>
                  <a:lnTo>
                    <a:pt x="1733" y="665"/>
                  </a:lnTo>
                  <a:lnTo>
                    <a:pt x="1735" y="665"/>
                  </a:lnTo>
                  <a:lnTo>
                    <a:pt x="1736" y="665"/>
                  </a:lnTo>
                  <a:lnTo>
                    <a:pt x="1738" y="665"/>
                  </a:lnTo>
                  <a:lnTo>
                    <a:pt x="1742" y="659"/>
                  </a:lnTo>
                  <a:lnTo>
                    <a:pt x="1745" y="658"/>
                  </a:lnTo>
                  <a:lnTo>
                    <a:pt x="1750" y="656"/>
                  </a:lnTo>
                  <a:lnTo>
                    <a:pt x="1753" y="651"/>
                  </a:lnTo>
                  <a:lnTo>
                    <a:pt x="1750" y="646"/>
                  </a:lnTo>
                  <a:lnTo>
                    <a:pt x="1749" y="639"/>
                  </a:lnTo>
                  <a:lnTo>
                    <a:pt x="1746" y="639"/>
                  </a:lnTo>
                  <a:lnTo>
                    <a:pt x="1742" y="639"/>
                  </a:lnTo>
                  <a:lnTo>
                    <a:pt x="1740" y="638"/>
                  </a:lnTo>
                  <a:lnTo>
                    <a:pt x="1740" y="638"/>
                  </a:lnTo>
                  <a:lnTo>
                    <a:pt x="1739" y="638"/>
                  </a:lnTo>
                  <a:lnTo>
                    <a:pt x="1739" y="641"/>
                  </a:lnTo>
                  <a:lnTo>
                    <a:pt x="1738" y="643"/>
                  </a:lnTo>
                  <a:lnTo>
                    <a:pt x="1732" y="646"/>
                  </a:lnTo>
                  <a:lnTo>
                    <a:pt x="1729" y="651"/>
                  </a:lnTo>
                  <a:lnTo>
                    <a:pt x="1728" y="655"/>
                  </a:lnTo>
                  <a:lnTo>
                    <a:pt x="1725" y="658"/>
                  </a:lnTo>
                  <a:lnTo>
                    <a:pt x="1720" y="658"/>
                  </a:lnTo>
                  <a:lnTo>
                    <a:pt x="1715" y="658"/>
                  </a:lnTo>
                  <a:lnTo>
                    <a:pt x="1709" y="659"/>
                  </a:lnTo>
                  <a:lnTo>
                    <a:pt x="1702" y="661"/>
                  </a:lnTo>
                  <a:lnTo>
                    <a:pt x="1702" y="661"/>
                  </a:lnTo>
                  <a:lnTo>
                    <a:pt x="1702" y="664"/>
                  </a:lnTo>
                  <a:lnTo>
                    <a:pt x="1703" y="666"/>
                  </a:lnTo>
                  <a:lnTo>
                    <a:pt x="1702" y="668"/>
                  </a:lnTo>
                  <a:lnTo>
                    <a:pt x="1699" y="668"/>
                  </a:lnTo>
                  <a:lnTo>
                    <a:pt x="1695" y="664"/>
                  </a:lnTo>
                  <a:lnTo>
                    <a:pt x="1686" y="646"/>
                  </a:lnTo>
                  <a:lnTo>
                    <a:pt x="1686" y="641"/>
                  </a:lnTo>
                  <a:lnTo>
                    <a:pt x="1686" y="638"/>
                  </a:lnTo>
                  <a:lnTo>
                    <a:pt x="1692" y="635"/>
                  </a:lnTo>
                  <a:lnTo>
                    <a:pt x="1697" y="629"/>
                  </a:lnTo>
                  <a:lnTo>
                    <a:pt x="1699" y="623"/>
                  </a:lnTo>
                  <a:lnTo>
                    <a:pt x="1700" y="613"/>
                  </a:lnTo>
                  <a:lnTo>
                    <a:pt x="1703" y="606"/>
                  </a:lnTo>
                  <a:lnTo>
                    <a:pt x="1709" y="603"/>
                  </a:lnTo>
                  <a:lnTo>
                    <a:pt x="1718" y="602"/>
                  </a:lnTo>
                  <a:lnTo>
                    <a:pt x="1728" y="603"/>
                  </a:lnTo>
                  <a:lnTo>
                    <a:pt x="1736" y="606"/>
                  </a:lnTo>
                  <a:lnTo>
                    <a:pt x="1745" y="613"/>
                  </a:lnTo>
                  <a:lnTo>
                    <a:pt x="1749" y="615"/>
                  </a:lnTo>
                  <a:lnTo>
                    <a:pt x="1752" y="615"/>
                  </a:lnTo>
                  <a:lnTo>
                    <a:pt x="1755" y="609"/>
                  </a:lnTo>
                  <a:lnTo>
                    <a:pt x="1755" y="608"/>
                  </a:lnTo>
                  <a:lnTo>
                    <a:pt x="1753" y="602"/>
                  </a:lnTo>
                  <a:lnTo>
                    <a:pt x="1753" y="595"/>
                  </a:lnTo>
                  <a:lnTo>
                    <a:pt x="1758" y="590"/>
                  </a:lnTo>
                  <a:lnTo>
                    <a:pt x="1765" y="586"/>
                  </a:lnTo>
                  <a:lnTo>
                    <a:pt x="1771" y="586"/>
                  </a:lnTo>
                  <a:lnTo>
                    <a:pt x="1773" y="589"/>
                  </a:lnTo>
                  <a:lnTo>
                    <a:pt x="1775" y="590"/>
                  </a:lnTo>
                  <a:lnTo>
                    <a:pt x="1775" y="592"/>
                  </a:lnTo>
                  <a:lnTo>
                    <a:pt x="1772" y="595"/>
                  </a:lnTo>
                  <a:lnTo>
                    <a:pt x="1769" y="596"/>
                  </a:lnTo>
                  <a:lnTo>
                    <a:pt x="1768" y="599"/>
                  </a:lnTo>
                  <a:lnTo>
                    <a:pt x="1765" y="599"/>
                  </a:lnTo>
                  <a:lnTo>
                    <a:pt x="1765" y="599"/>
                  </a:lnTo>
                  <a:lnTo>
                    <a:pt x="1762" y="598"/>
                  </a:lnTo>
                  <a:lnTo>
                    <a:pt x="1762" y="600"/>
                  </a:lnTo>
                  <a:lnTo>
                    <a:pt x="1761" y="606"/>
                  </a:lnTo>
                  <a:lnTo>
                    <a:pt x="1768" y="621"/>
                  </a:lnTo>
                  <a:lnTo>
                    <a:pt x="1771" y="626"/>
                  </a:lnTo>
                  <a:lnTo>
                    <a:pt x="1776" y="632"/>
                  </a:lnTo>
                  <a:lnTo>
                    <a:pt x="1776" y="632"/>
                  </a:lnTo>
                  <a:lnTo>
                    <a:pt x="1768" y="635"/>
                  </a:lnTo>
                  <a:lnTo>
                    <a:pt x="1763" y="639"/>
                  </a:lnTo>
                  <a:lnTo>
                    <a:pt x="1763" y="642"/>
                  </a:lnTo>
                  <a:lnTo>
                    <a:pt x="1763" y="643"/>
                  </a:lnTo>
                  <a:lnTo>
                    <a:pt x="1763" y="643"/>
                  </a:lnTo>
                  <a:lnTo>
                    <a:pt x="1775" y="661"/>
                  </a:lnTo>
                  <a:lnTo>
                    <a:pt x="1778" y="668"/>
                  </a:lnTo>
                  <a:lnTo>
                    <a:pt x="1778" y="669"/>
                  </a:lnTo>
                  <a:lnTo>
                    <a:pt x="1776" y="671"/>
                  </a:lnTo>
                  <a:lnTo>
                    <a:pt x="1776" y="671"/>
                  </a:lnTo>
                  <a:lnTo>
                    <a:pt x="1771" y="671"/>
                  </a:lnTo>
                  <a:lnTo>
                    <a:pt x="1763" y="669"/>
                  </a:lnTo>
                  <a:lnTo>
                    <a:pt x="1758" y="669"/>
                  </a:lnTo>
                  <a:lnTo>
                    <a:pt x="1755" y="671"/>
                  </a:lnTo>
                  <a:lnTo>
                    <a:pt x="1755" y="671"/>
                  </a:lnTo>
                  <a:lnTo>
                    <a:pt x="1753" y="678"/>
                  </a:lnTo>
                  <a:lnTo>
                    <a:pt x="1750" y="681"/>
                  </a:lnTo>
                  <a:lnTo>
                    <a:pt x="1748" y="682"/>
                  </a:lnTo>
                  <a:lnTo>
                    <a:pt x="1748" y="682"/>
                  </a:lnTo>
                  <a:lnTo>
                    <a:pt x="1745" y="684"/>
                  </a:lnTo>
                  <a:lnTo>
                    <a:pt x="1742" y="685"/>
                  </a:lnTo>
                  <a:lnTo>
                    <a:pt x="1742" y="692"/>
                  </a:lnTo>
                  <a:lnTo>
                    <a:pt x="1742" y="692"/>
                  </a:lnTo>
                  <a:lnTo>
                    <a:pt x="1740" y="696"/>
                  </a:lnTo>
                  <a:lnTo>
                    <a:pt x="1739" y="698"/>
                  </a:lnTo>
                  <a:lnTo>
                    <a:pt x="1735" y="699"/>
                  </a:lnTo>
                  <a:lnTo>
                    <a:pt x="1735" y="699"/>
                  </a:lnTo>
                  <a:lnTo>
                    <a:pt x="1732" y="704"/>
                  </a:lnTo>
                  <a:lnTo>
                    <a:pt x="1730" y="709"/>
                  </a:lnTo>
                  <a:lnTo>
                    <a:pt x="1746" y="722"/>
                  </a:lnTo>
                  <a:lnTo>
                    <a:pt x="1742" y="735"/>
                  </a:lnTo>
                  <a:lnTo>
                    <a:pt x="1745" y="739"/>
                  </a:lnTo>
                  <a:lnTo>
                    <a:pt x="1745" y="742"/>
                  </a:lnTo>
                  <a:lnTo>
                    <a:pt x="1748" y="744"/>
                  </a:lnTo>
                  <a:lnTo>
                    <a:pt x="1752" y="744"/>
                  </a:lnTo>
                  <a:lnTo>
                    <a:pt x="1761" y="742"/>
                  </a:lnTo>
                  <a:lnTo>
                    <a:pt x="1763" y="744"/>
                  </a:lnTo>
                  <a:lnTo>
                    <a:pt x="1762" y="747"/>
                  </a:lnTo>
                  <a:lnTo>
                    <a:pt x="1761" y="749"/>
                  </a:lnTo>
                  <a:lnTo>
                    <a:pt x="1759" y="751"/>
                  </a:lnTo>
                  <a:lnTo>
                    <a:pt x="1759" y="754"/>
                  </a:lnTo>
                  <a:lnTo>
                    <a:pt x="1763" y="758"/>
                  </a:lnTo>
                  <a:lnTo>
                    <a:pt x="1762" y="761"/>
                  </a:lnTo>
                  <a:lnTo>
                    <a:pt x="1762" y="764"/>
                  </a:lnTo>
                  <a:lnTo>
                    <a:pt x="1758" y="768"/>
                  </a:lnTo>
                  <a:lnTo>
                    <a:pt x="1755" y="769"/>
                  </a:lnTo>
                  <a:lnTo>
                    <a:pt x="1756" y="774"/>
                  </a:lnTo>
                  <a:lnTo>
                    <a:pt x="1765" y="782"/>
                  </a:lnTo>
                  <a:lnTo>
                    <a:pt x="1765" y="788"/>
                  </a:lnTo>
                  <a:lnTo>
                    <a:pt x="1765" y="792"/>
                  </a:lnTo>
                  <a:lnTo>
                    <a:pt x="1765" y="795"/>
                  </a:lnTo>
                  <a:lnTo>
                    <a:pt x="1768" y="795"/>
                  </a:lnTo>
                  <a:lnTo>
                    <a:pt x="1769" y="797"/>
                  </a:lnTo>
                  <a:lnTo>
                    <a:pt x="1769" y="798"/>
                  </a:lnTo>
                  <a:lnTo>
                    <a:pt x="1768" y="800"/>
                  </a:lnTo>
                  <a:lnTo>
                    <a:pt x="1765" y="802"/>
                  </a:lnTo>
                  <a:lnTo>
                    <a:pt x="1765" y="805"/>
                  </a:lnTo>
                  <a:lnTo>
                    <a:pt x="1771" y="817"/>
                  </a:lnTo>
                  <a:lnTo>
                    <a:pt x="1773" y="822"/>
                  </a:lnTo>
                  <a:lnTo>
                    <a:pt x="1776" y="824"/>
                  </a:lnTo>
                  <a:lnTo>
                    <a:pt x="1779" y="824"/>
                  </a:lnTo>
                  <a:lnTo>
                    <a:pt x="1781" y="827"/>
                  </a:lnTo>
                  <a:lnTo>
                    <a:pt x="1778" y="835"/>
                  </a:lnTo>
                  <a:lnTo>
                    <a:pt x="1779" y="837"/>
                  </a:lnTo>
                  <a:lnTo>
                    <a:pt x="1782" y="837"/>
                  </a:lnTo>
                  <a:lnTo>
                    <a:pt x="1786" y="837"/>
                  </a:lnTo>
                  <a:lnTo>
                    <a:pt x="1791" y="838"/>
                  </a:lnTo>
                  <a:lnTo>
                    <a:pt x="1796" y="841"/>
                  </a:lnTo>
                  <a:lnTo>
                    <a:pt x="1806" y="847"/>
                  </a:lnTo>
                  <a:lnTo>
                    <a:pt x="1805" y="848"/>
                  </a:lnTo>
                  <a:lnTo>
                    <a:pt x="1803" y="848"/>
                  </a:lnTo>
                  <a:lnTo>
                    <a:pt x="1801" y="851"/>
                  </a:lnTo>
                  <a:lnTo>
                    <a:pt x="1799" y="854"/>
                  </a:lnTo>
                  <a:lnTo>
                    <a:pt x="1796" y="863"/>
                  </a:lnTo>
                  <a:lnTo>
                    <a:pt x="1796" y="867"/>
                  </a:lnTo>
                  <a:lnTo>
                    <a:pt x="1798" y="870"/>
                  </a:lnTo>
                  <a:lnTo>
                    <a:pt x="1805" y="878"/>
                  </a:lnTo>
                  <a:lnTo>
                    <a:pt x="1809" y="878"/>
                  </a:lnTo>
                  <a:lnTo>
                    <a:pt x="1813" y="875"/>
                  </a:lnTo>
                  <a:lnTo>
                    <a:pt x="1818" y="871"/>
                  </a:lnTo>
                  <a:lnTo>
                    <a:pt x="1821" y="871"/>
                  </a:lnTo>
                  <a:lnTo>
                    <a:pt x="1822" y="873"/>
                  </a:lnTo>
                  <a:lnTo>
                    <a:pt x="1828" y="877"/>
                  </a:lnTo>
                  <a:lnTo>
                    <a:pt x="1828" y="880"/>
                  </a:lnTo>
                  <a:lnTo>
                    <a:pt x="1826" y="887"/>
                  </a:lnTo>
                  <a:lnTo>
                    <a:pt x="1826" y="888"/>
                  </a:lnTo>
                  <a:lnTo>
                    <a:pt x="1828" y="891"/>
                  </a:lnTo>
                  <a:lnTo>
                    <a:pt x="1829" y="891"/>
                  </a:lnTo>
                  <a:lnTo>
                    <a:pt x="1834" y="890"/>
                  </a:lnTo>
                  <a:lnTo>
                    <a:pt x="1836" y="888"/>
                  </a:lnTo>
                  <a:lnTo>
                    <a:pt x="1838" y="890"/>
                  </a:lnTo>
                  <a:lnTo>
                    <a:pt x="1838" y="891"/>
                  </a:lnTo>
                  <a:lnTo>
                    <a:pt x="1838" y="896"/>
                  </a:lnTo>
                  <a:lnTo>
                    <a:pt x="1838" y="897"/>
                  </a:lnTo>
                  <a:lnTo>
                    <a:pt x="1842" y="898"/>
                  </a:lnTo>
                  <a:lnTo>
                    <a:pt x="1849" y="900"/>
                  </a:lnTo>
                  <a:lnTo>
                    <a:pt x="1851" y="900"/>
                  </a:lnTo>
                  <a:lnTo>
                    <a:pt x="1861" y="957"/>
                  </a:lnTo>
                  <a:lnTo>
                    <a:pt x="1871" y="1009"/>
                  </a:lnTo>
                  <a:lnTo>
                    <a:pt x="1874" y="1013"/>
                  </a:lnTo>
                  <a:lnTo>
                    <a:pt x="1875" y="1016"/>
                  </a:lnTo>
                  <a:lnTo>
                    <a:pt x="1881" y="1017"/>
                  </a:lnTo>
                  <a:lnTo>
                    <a:pt x="1885" y="1017"/>
                  </a:lnTo>
                  <a:lnTo>
                    <a:pt x="1889" y="1022"/>
                  </a:lnTo>
                  <a:lnTo>
                    <a:pt x="1892" y="1026"/>
                  </a:lnTo>
                  <a:lnTo>
                    <a:pt x="1899" y="1036"/>
                  </a:lnTo>
                  <a:lnTo>
                    <a:pt x="1902" y="1036"/>
                  </a:lnTo>
                  <a:lnTo>
                    <a:pt x="1905" y="1033"/>
                  </a:lnTo>
                  <a:lnTo>
                    <a:pt x="1907" y="1032"/>
                  </a:lnTo>
                  <a:lnTo>
                    <a:pt x="1909" y="1032"/>
                  </a:lnTo>
                  <a:lnTo>
                    <a:pt x="1912" y="1033"/>
                  </a:lnTo>
                  <a:lnTo>
                    <a:pt x="1914" y="1036"/>
                  </a:lnTo>
                  <a:lnTo>
                    <a:pt x="1912" y="1042"/>
                  </a:lnTo>
                  <a:lnTo>
                    <a:pt x="1911" y="1046"/>
                  </a:lnTo>
                  <a:lnTo>
                    <a:pt x="1905" y="1049"/>
                  </a:lnTo>
                  <a:lnTo>
                    <a:pt x="1902" y="1049"/>
                  </a:lnTo>
                  <a:lnTo>
                    <a:pt x="1901" y="1049"/>
                  </a:lnTo>
                  <a:lnTo>
                    <a:pt x="1901" y="1052"/>
                  </a:lnTo>
                  <a:lnTo>
                    <a:pt x="1905" y="1055"/>
                  </a:lnTo>
                  <a:lnTo>
                    <a:pt x="1911" y="1057"/>
                  </a:lnTo>
                  <a:lnTo>
                    <a:pt x="1912" y="1059"/>
                  </a:lnTo>
                  <a:lnTo>
                    <a:pt x="1912" y="1062"/>
                  </a:lnTo>
                  <a:lnTo>
                    <a:pt x="1911" y="1063"/>
                  </a:lnTo>
                  <a:lnTo>
                    <a:pt x="1904" y="1067"/>
                  </a:lnTo>
                  <a:lnTo>
                    <a:pt x="1902" y="1072"/>
                  </a:lnTo>
                  <a:lnTo>
                    <a:pt x="1901" y="1077"/>
                  </a:lnTo>
                  <a:lnTo>
                    <a:pt x="1899" y="1080"/>
                  </a:lnTo>
                  <a:lnTo>
                    <a:pt x="1897" y="1080"/>
                  </a:lnTo>
                  <a:lnTo>
                    <a:pt x="1892" y="1079"/>
                  </a:lnTo>
                  <a:lnTo>
                    <a:pt x="1888" y="1077"/>
                  </a:lnTo>
                  <a:lnTo>
                    <a:pt x="1885" y="1077"/>
                  </a:lnTo>
                  <a:lnTo>
                    <a:pt x="1884" y="1082"/>
                  </a:lnTo>
                  <a:lnTo>
                    <a:pt x="1884" y="1085"/>
                  </a:lnTo>
                  <a:lnTo>
                    <a:pt x="1884" y="1087"/>
                  </a:lnTo>
                  <a:lnTo>
                    <a:pt x="1882" y="1090"/>
                  </a:lnTo>
                  <a:lnTo>
                    <a:pt x="1878" y="1093"/>
                  </a:lnTo>
                  <a:lnTo>
                    <a:pt x="1871" y="1095"/>
                  </a:lnTo>
                  <a:lnTo>
                    <a:pt x="1866" y="1096"/>
                  </a:lnTo>
                  <a:lnTo>
                    <a:pt x="1862" y="1100"/>
                  </a:lnTo>
                  <a:lnTo>
                    <a:pt x="1859" y="1105"/>
                  </a:lnTo>
                  <a:lnTo>
                    <a:pt x="1858" y="1110"/>
                  </a:lnTo>
                  <a:lnTo>
                    <a:pt x="1856" y="1113"/>
                  </a:lnTo>
                  <a:lnTo>
                    <a:pt x="1849" y="1115"/>
                  </a:lnTo>
                  <a:lnTo>
                    <a:pt x="1846" y="1115"/>
                  </a:lnTo>
                  <a:lnTo>
                    <a:pt x="1842" y="1118"/>
                  </a:lnTo>
                  <a:lnTo>
                    <a:pt x="1838" y="1122"/>
                  </a:lnTo>
                  <a:lnTo>
                    <a:pt x="1832" y="1130"/>
                  </a:lnTo>
                  <a:lnTo>
                    <a:pt x="1831" y="1135"/>
                  </a:lnTo>
                  <a:lnTo>
                    <a:pt x="1831" y="1135"/>
                  </a:lnTo>
                  <a:lnTo>
                    <a:pt x="1828" y="1135"/>
                  </a:lnTo>
                  <a:lnTo>
                    <a:pt x="1825" y="1132"/>
                  </a:lnTo>
                  <a:lnTo>
                    <a:pt x="1821" y="1133"/>
                  </a:lnTo>
                  <a:lnTo>
                    <a:pt x="1818" y="1133"/>
                  </a:lnTo>
                  <a:lnTo>
                    <a:pt x="1815" y="1138"/>
                  </a:lnTo>
                  <a:lnTo>
                    <a:pt x="1813" y="1142"/>
                  </a:lnTo>
                  <a:lnTo>
                    <a:pt x="1815" y="1148"/>
                  </a:lnTo>
                  <a:lnTo>
                    <a:pt x="1815" y="1149"/>
                  </a:lnTo>
                  <a:lnTo>
                    <a:pt x="1812" y="1150"/>
                  </a:lnTo>
                  <a:lnTo>
                    <a:pt x="1806" y="1153"/>
                  </a:lnTo>
                  <a:lnTo>
                    <a:pt x="1801" y="1155"/>
                  </a:lnTo>
                  <a:lnTo>
                    <a:pt x="1796" y="1158"/>
                  </a:lnTo>
                  <a:lnTo>
                    <a:pt x="1795" y="1162"/>
                  </a:lnTo>
                  <a:lnTo>
                    <a:pt x="1795" y="1168"/>
                  </a:lnTo>
                  <a:lnTo>
                    <a:pt x="1796" y="1172"/>
                  </a:lnTo>
                  <a:lnTo>
                    <a:pt x="1799" y="1175"/>
                  </a:lnTo>
                  <a:lnTo>
                    <a:pt x="1799" y="1176"/>
                  </a:lnTo>
                  <a:lnTo>
                    <a:pt x="1798" y="1181"/>
                  </a:lnTo>
                  <a:lnTo>
                    <a:pt x="1796" y="1183"/>
                  </a:lnTo>
                  <a:lnTo>
                    <a:pt x="1799" y="1189"/>
                  </a:lnTo>
                  <a:lnTo>
                    <a:pt x="1803" y="1192"/>
                  </a:lnTo>
                  <a:lnTo>
                    <a:pt x="1806" y="1192"/>
                  </a:lnTo>
                  <a:lnTo>
                    <a:pt x="1808" y="1193"/>
                  </a:lnTo>
                  <a:lnTo>
                    <a:pt x="1808" y="1195"/>
                  </a:lnTo>
                  <a:lnTo>
                    <a:pt x="1806" y="1198"/>
                  </a:lnTo>
                  <a:lnTo>
                    <a:pt x="1799" y="1202"/>
                  </a:lnTo>
                  <a:lnTo>
                    <a:pt x="1792" y="1202"/>
                  </a:lnTo>
                  <a:lnTo>
                    <a:pt x="1791" y="1199"/>
                  </a:lnTo>
                  <a:lnTo>
                    <a:pt x="1788" y="1199"/>
                  </a:lnTo>
                  <a:lnTo>
                    <a:pt x="1786" y="1201"/>
                  </a:lnTo>
                  <a:lnTo>
                    <a:pt x="1786" y="1203"/>
                  </a:lnTo>
                  <a:lnTo>
                    <a:pt x="1783" y="1205"/>
                  </a:lnTo>
                  <a:lnTo>
                    <a:pt x="1776" y="1205"/>
                  </a:lnTo>
                  <a:lnTo>
                    <a:pt x="1773" y="1206"/>
                  </a:lnTo>
                  <a:lnTo>
                    <a:pt x="1771" y="1208"/>
                  </a:lnTo>
                  <a:lnTo>
                    <a:pt x="1771" y="1211"/>
                  </a:lnTo>
                  <a:lnTo>
                    <a:pt x="1772" y="1212"/>
                  </a:lnTo>
                  <a:lnTo>
                    <a:pt x="1776" y="1218"/>
                  </a:lnTo>
                  <a:lnTo>
                    <a:pt x="1778" y="1221"/>
                  </a:lnTo>
                  <a:lnTo>
                    <a:pt x="1778" y="1224"/>
                  </a:lnTo>
                  <a:lnTo>
                    <a:pt x="1775" y="1229"/>
                  </a:lnTo>
                  <a:lnTo>
                    <a:pt x="1768" y="1236"/>
                  </a:lnTo>
                  <a:lnTo>
                    <a:pt x="1765" y="1238"/>
                  </a:lnTo>
                  <a:lnTo>
                    <a:pt x="1763" y="1244"/>
                  </a:lnTo>
                  <a:lnTo>
                    <a:pt x="1768" y="1246"/>
                  </a:lnTo>
                  <a:lnTo>
                    <a:pt x="1768" y="1254"/>
                  </a:lnTo>
                  <a:lnTo>
                    <a:pt x="1771" y="1259"/>
                  </a:lnTo>
                  <a:lnTo>
                    <a:pt x="1775" y="1262"/>
                  </a:lnTo>
                  <a:lnTo>
                    <a:pt x="1778" y="1264"/>
                  </a:lnTo>
                  <a:lnTo>
                    <a:pt x="1779" y="1266"/>
                  </a:lnTo>
                  <a:lnTo>
                    <a:pt x="1778" y="1269"/>
                  </a:lnTo>
                  <a:lnTo>
                    <a:pt x="1775" y="1274"/>
                  </a:lnTo>
                  <a:lnTo>
                    <a:pt x="1773" y="1279"/>
                  </a:lnTo>
                  <a:lnTo>
                    <a:pt x="1773" y="1292"/>
                  </a:lnTo>
                  <a:lnTo>
                    <a:pt x="1772" y="1302"/>
                  </a:lnTo>
                  <a:lnTo>
                    <a:pt x="1766" y="1314"/>
                  </a:lnTo>
                  <a:lnTo>
                    <a:pt x="1763" y="1315"/>
                  </a:lnTo>
                  <a:lnTo>
                    <a:pt x="1750" y="1314"/>
                  </a:lnTo>
                  <a:lnTo>
                    <a:pt x="1746" y="1312"/>
                  </a:lnTo>
                  <a:lnTo>
                    <a:pt x="1745" y="1309"/>
                  </a:lnTo>
                  <a:lnTo>
                    <a:pt x="1745" y="1307"/>
                  </a:lnTo>
                  <a:lnTo>
                    <a:pt x="1745" y="1304"/>
                  </a:lnTo>
                  <a:lnTo>
                    <a:pt x="1743" y="1302"/>
                  </a:lnTo>
                  <a:lnTo>
                    <a:pt x="1742" y="1302"/>
                  </a:lnTo>
                  <a:lnTo>
                    <a:pt x="1732" y="1305"/>
                  </a:lnTo>
                  <a:lnTo>
                    <a:pt x="1726" y="1308"/>
                  </a:lnTo>
                  <a:lnTo>
                    <a:pt x="1722" y="1308"/>
                  </a:lnTo>
                  <a:lnTo>
                    <a:pt x="1713" y="1305"/>
                  </a:lnTo>
                  <a:lnTo>
                    <a:pt x="1712" y="1305"/>
                  </a:lnTo>
                  <a:lnTo>
                    <a:pt x="1708" y="1308"/>
                  </a:lnTo>
                  <a:lnTo>
                    <a:pt x="1702" y="1314"/>
                  </a:lnTo>
                  <a:lnTo>
                    <a:pt x="1700" y="1317"/>
                  </a:lnTo>
                  <a:lnTo>
                    <a:pt x="1700" y="1324"/>
                  </a:lnTo>
                  <a:lnTo>
                    <a:pt x="1699" y="1329"/>
                  </a:lnTo>
                  <a:lnTo>
                    <a:pt x="1695" y="1335"/>
                  </a:lnTo>
                  <a:lnTo>
                    <a:pt x="1690" y="1337"/>
                  </a:lnTo>
                  <a:lnTo>
                    <a:pt x="1686" y="1335"/>
                  </a:lnTo>
                  <a:lnTo>
                    <a:pt x="1676" y="1338"/>
                  </a:lnTo>
                  <a:lnTo>
                    <a:pt x="1669" y="1341"/>
                  </a:lnTo>
                  <a:lnTo>
                    <a:pt x="1662" y="1345"/>
                  </a:lnTo>
                  <a:lnTo>
                    <a:pt x="1639" y="1367"/>
                  </a:lnTo>
                  <a:lnTo>
                    <a:pt x="1633" y="1371"/>
                  </a:lnTo>
                  <a:lnTo>
                    <a:pt x="1626" y="1371"/>
                  </a:lnTo>
                  <a:lnTo>
                    <a:pt x="1622" y="1370"/>
                  </a:lnTo>
                  <a:lnTo>
                    <a:pt x="1620" y="1368"/>
                  </a:lnTo>
                  <a:lnTo>
                    <a:pt x="1620" y="1365"/>
                  </a:lnTo>
                  <a:lnTo>
                    <a:pt x="1620" y="1362"/>
                  </a:lnTo>
                  <a:lnTo>
                    <a:pt x="1617" y="1362"/>
                  </a:lnTo>
                  <a:lnTo>
                    <a:pt x="1613" y="1362"/>
                  </a:lnTo>
                  <a:lnTo>
                    <a:pt x="1609" y="1367"/>
                  </a:lnTo>
                  <a:lnTo>
                    <a:pt x="1609" y="1377"/>
                  </a:lnTo>
                  <a:lnTo>
                    <a:pt x="1607" y="1382"/>
                  </a:lnTo>
                  <a:lnTo>
                    <a:pt x="1604" y="1384"/>
                  </a:lnTo>
                  <a:lnTo>
                    <a:pt x="1599" y="1384"/>
                  </a:lnTo>
                  <a:lnTo>
                    <a:pt x="1597" y="1387"/>
                  </a:lnTo>
                  <a:lnTo>
                    <a:pt x="1596" y="1391"/>
                  </a:lnTo>
                  <a:lnTo>
                    <a:pt x="1594" y="1395"/>
                  </a:lnTo>
                  <a:lnTo>
                    <a:pt x="1650" y="1473"/>
                  </a:lnTo>
                  <a:lnTo>
                    <a:pt x="1650" y="1484"/>
                  </a:lnTo>
                  <a:lnTo>
                    <a:pt x="1656" y="1540"/>
                  </a:lnTo>
                  <a:lnTo>
                    <a:pt x="1665" y="1617"/>
                  </a:lnTo>
                  <a:lnTo>
                    <a:pt x="1666" y="1663"/>
                  </a:lnTo>
                  <a:lnTo>
                    <a:pt x="1670" y="1710"/>
                  </a:lnTo>
                  <a:lnTo>
                    <a:pt x="1670" y="1723"/>
                  </a:lnTo>
                  <a:lnTo>
                    <a:pt x="1669" y="1728"/>
                  </a:lnTo>
                  <a:lnTo>
                    <a:pt x="1666" y="1733"/>
                  </a:lnTo>
                  <a:lnTo>
                    <a:pt x="1665" y="1739"/>
                  </a:lnTo>
                  <a:lnTo>
                    <a:pt x="1662" y="1743"/>
                  </a:lnTo>
                  <a:lnTo>
                    <a:pt x="1659" y="1742"/>
                  </a:lnTo>
                  <a:lnTo>
                    <a:pt x="1657" y="1741"/>
                  </a:lnTo>
                  <a:lnTo>
                    <a:pt x="1656" y="1738"/>
                  </a:lnTo>
                  <a:lnTo>
                    <a:pt x="1655" y="1736"/>
                  </a:lnTo>
                  <a:lnTo>
                    <a:pt x="1652" y="1739"/>
                  </a:lnTo>
                  <a:lnTo>
                    <a:pt x="1646" y="1748"/>
                  </a:lnTo>
                  <a:lnTo>
                    <a:pt x="1639" y="1753"/>
                  </a:lnTo>
                  <a:lnTo>
                    <a:pt x="1632" y="1758"/>
                  </a:lnTo>
                  <a:lnTo>
                    <a:pt x="1627" y="1758"/>
                  </a:lnTo>
                  <a:lnTo>
                    <a:pt x="1626" y="1762"/>
                  </a:lnTo>
                  <a:lnTo>
                    <a:pt x="1626" y="1768"/>
                  </a:lnTo>
                  <a:lnTo>
                    <a:pt x="1624" y="1773"/>
                  </a:lnTo>
                  <a:lnTo>
                    <a:pt x="1622" y="1778"/>
                  </a:lnTo>
                  <a:lnTo>
                    <a:pt x="1614" y="1783"/>
                  </a:lnTo>
                  <a:lnTo>
                    <a:pt x="1609" y="1785"/>
                  </a:lnTo>
                  <a:lnTo>
                    <a:pt x="1602" y="1786"/>
                  </a:lnTo>
                  <a:lnTo>
                    <a:pt x="1599" y="1789"/>
                  </a:lnTo>
                  <a:lnTo>
                    <a:pt x="1599" y="1794"/>
                  </a:lnTo>
                  <a:lnTo>
                    <a:pt x="1600" y="1799"/>
                  </a:lnTo>
                  <a:lnTo>
                    <a:pt x="1604" y="1802"/>
                  </a:lnTo>
                  <a:lnTo>
                    <a:pt x="1607" y="1801"/>
                  </a:lnTo>
                  <a:lnTo>
                    <a:pt x="1612" y="1798"/>
                  </a:lnTo>
                  <a:lnTo>
                    <a:pt x="1613" y="1798"/>
                  </a:lnTo>
                  <a:lnTo>
                    <a:pt x="1614" y="1801"/>
                  </a:lnTo>
                  <a:lnTo>
                    <a:pt x="1617" y="1802"/>
                  </a:lnTo>
                  <a:lnTo>
                    <a:pt x="1622" y="1804"/>
                  </a:lnTo>
                  <a:lnTo>
                    <a:pt x="1627" y="1804"/>
                  </a:lnTo>
                  <a:lnTo>
                    <a:pt x="1632" y="1806"/>
                  </a:lnTo>
                  <a:lnTo>
                    <a:pt x="1632" y="1811"/>
                  </a:lnTo>
                  <a:lnTo>
                    <a:pt x="1629" y="1815"/>
                  </a:lnTo>
                  <a:lnTo>
                    <a:pt x="1626" y="1819"/>
                  </a:lnTo>
                  <a:lnTo>
                    <a:pt x="1627" y="1822"/>
                  </a:lnTo>
                  <a:lnTo>
                    <a:pt x="1630" y="1824"/>
                  </a:lnTo>
                  <a:lnTo>
                    <a:pt x="1637" y="1821"/>
                  </a:lnTo>
                  <a:lnTo>
                    <a:pt x="1643" y="1818"/>
                  </a:lnTo>
                  <a:lnTo>
                    <a:pt x="1644" y="1822"/>
                  </a:lnTo>
                  <a:lnTo>
                    <a:pt x="1644" y="1824"/>
                  </a:lnTo>
                  <a:lnTo>
                    <a:pt x="1640" y="1825"/>
                  </a:lnTo>
                  <a:lnTo>
                    <a:pt x="1640" y="1828"/>
                  </a:lnTo>
                  <a:lnTo>
                    <a:pt x="1643" y="1834"/>
                  </a:lnTo>
                  <a:lnTo>
                    <a:pt x="1647" y="1852"/>
                  </a:lnTo>
                  <a:lnTo>
                    <a:pt x="1650" y="1865"/>
                  </a:lnTo>
                  <a:lnTo>
                    <a:pt x="1652" y="1872"/>
                  </a:lnTo>
                  <a:lnTo>
                    <a:pt x="1650" y="1878"/>
                  </a:lnTo>
                  <a:lnTo>
                    <a:pt x="1646" y="1892"/>
                  </a:lnTo>
                  <a:lnTo>
                    <a:pt x="1646" y="1918"/>
                  </a:lnTo>
                  <a:lnTo>
                    <a:pt x="1656" y="1925"/>
                  </a:lnTo>
                  <a:lnTo>
                    <a:pt x="1676" y="1948"/>
                  </a:lnTo>
                  <a:lnTo>
                    <a:pt x="1679" y="1995"/>
                  </a:lnTo>
                  <a:lnTo>
                    <a:pt x="1696" y="2011"/>
                  </a:lnTo>
                  <a:lnTo>
                    <a:pt x="1706" y="2016"/>
                  </a:lnTo>
                  <a:lnTo>
                    <a:pt x="1710" y="2016"/>
                  </a:lnTo>
                  <a:lnTo>
                    <a:pt x="1712" y="2018"/>
                  </a:lnTo>
                  <a:lnTo>
                    <a:pt x="1710" y="2024"/>
                  </a:lnTo>
                  <a:lnTo>
                    <a:pt x="1703" y="2034"/>
                  </a:lnTo>
                  <a:lnTo>
                    <a:pt x="1703" y="2043"/>
                  </a:lnTo>
                  <a:lnTo>
                    <a:pt x="1695" y="2041"/>
                  </a:lnTo>
                  <a:lnTo>
                    <a:pt x="1690" y="2041"/>
                  </a:lnTo>
                  <a:lnTo>
                    <a:pt x="1683" y="2046"/>
                  </a:lnTo>
                  <a:lnTo>
                    <a:pt x="1679" y="2051"/>
                  </a:lnTo>
                  <a:lnTo>
                    <a:pt x="1677" y="2058"/>
                  </a:lnTo>
                  <a:lnTo>
                    <a:pt x="1677" y="2061"/>
                  </a:lnTo>
                  <a:lnTo>
                    <a:pt x="1679" y="2064"/>
                  </a:lnTo>
                  <a:lnTo>
                    <a:pt x="1685" y="2067"/>
                  </a:lnTo>
                  <a:lnTo>
                    <a:pt x="1686" y="2070"/>
                  </a:lnTo>
                  <a:lnTo>
                    <a:pt x="1686" y="2073"/>
                  </a:lnTo>
                  <a:lnTo>
                    <a:pt x="1682" y="2073"/>
                  </a:lnTo>
                  <a:lnTo>
                    <a:pt x="1677" y="2071"/>
                  </a:lnTo>
                  <a:lnTo>
                    <a:pt x="1675" y="2074"/>
                  </a:lnTo>
                  <a:lnTo>
                    <a:pt x="1676" y="2079"/>
                  </a:lnTo>
                  <a:lnTo>
                    <a:pt x="1676" y="2080"/>
                  </a:lnTo>
                  <a:lnTo>
                    <a:pt x="1676" y="2083"/>
                  </a:lnTo>
                  <a:lnTo>
                    <a:pt x="1670" y="2086"/>
                  </a:lnTo>
                  <a:lnTo>
                    <a:pt x="1665" y="2093"/>
                  </a:lnTo>
                  <a:lnTo>
                    <a:pt x="1659" y="2094"/>
                  </a:lnTo>
                  <a:lnTo>
                    <a:pt x="1652" y="2099"/>
                  </a:lnTo>
                  <a:lnTo>
                    <a:pt x="1652" y="2100"/>
                  </a:lnTo>
                  <a:lnTo>
                    <a:pt x="1652" y="2103"/>
                  </a:lnTo>
                  <a:lnTo>
                    <a:pt x="1657" y="2106"/>
                  </a:lnTo>
                  <a:lnTo>
                    <a:pt x="1662" y="2114"/>
                  </a:lnTo>
                  <a:lnTo>
                    <a:pt x="1669" y="2124"/>
                  </a:lnTo>
                  <a:lnTo>
                    <a:pt x="1665" y="2127"/>
                  </a:lnTo>
                  <a:lnTo>
                    <a:pt x="1660" y="2127"/>
                  </a:lnTo>
                  <a:lnTo>
                    <a:pt x="1655" y="2120"/>
                  </a:lnTo>
                  <a:lnTo>
                    <a:pt x="1649" y="2120"/>
                  </a:lnTo>
                  <a:lnTo>
                    <a:pt x="1647" y="2121"/>
                  </a:lnTo>
                  <a:lnTo>
                    <a:pt x="1650" y="2129"/>
                  </a:lnTo>
                  <a:lnTo>
                    <a:pt x="1655" y="2136"/>
                  </a:lnTo>
                  <a:lnTo>
                    <a:pt x="1650" y="2137"/>
                  </a:lnTo>
                  <a:lnTo>
                    <a:pt x="1647" y="2142"/>
                  </a:lnTo>
                  <a:lnTo>
                    <a:pt x="1647" y="2149"/>
                  </a:lnTo>
                  <a:lnTo>
                    <a:pt x="1649" y="2156"/>
                  </a:lnTo>
                  <a:lnTo>
                    <a:pt x="1646" y="2160"/>
                  </a:lnTo>
                  <a:lnTo>
                    <a:pt x="1644" y="2159"/>
                  </a:lnTo>
                  <a:lnTo>
                    <a:pt x="1639" y="2157"/>
                  </a:lnTo>
                  <a:lnTo>
                    <a:pt x="1637" y="2162"/>
                  </a:lnTo>
                  <a:lnTo>
                    <a:pt x="1639" y="2166"/>
                  </a:lnTo>
                  <a:lnTo>
                    <a:pt x="1639" y="2170"/>
                  </a:lnTo>
                  <a:lnTo>
                    <a:pt x="1642" y="2173"/>
                  </a:lnTo>
                  <a:lnTo>
                    <a:pt x="1643" y="2177"/>
                  </a:lnTo>
                  <a:lnTo>
                    <a:pt x="1643" y="2183"/>
                  </a:lnTo>
                  <a:lnTo>
                    <a:pt x="1643" y="2189"/>
                  </a:lnTo>
                  <a:lnTo>
                    <a:pt x="1647" y="2190"/>
                  </a:lnTo>
                  <a:lnTo>
                    <a:pt x="1653" y="2189"/>
                  </a:lnTo>
                  <a:lnTo>
                    <a:pt x="1655" y="2186"/>
                  </a:lnTo>
                  <a:lnTo>
                    <a:pt x="1660" y="2179"/>
                  </a:lnTo>
                  <a:lnTo>
                    <a:pt x="1670" y="2182"/>
                  </a:lnTo>
                  <a:lnTo>
                    <a:pt x="1672" y="2187"/>
                  </a:lnTo>
                  <a:lnTo>
                    <a:pt x="1669" y="2195"/>
                  </a:lnTo>
                  <a:lnTo>
                    <a:pt x="1669" y="2197"/>
                  </a:lnTo>
                  <a:lnTo>
                    <a:pt x="1677" y="2197"/>
                  </a:lnTo>
                  <a:lnTo>
                    <a:pt x="1695" y="2193"/>
                  </a:lnTo>
                  <a:lnTo>
                    <a:pt x="1700" y="2190"/>
                  </a:lnTo>
                  <a:lnTo>
                    <a:pt x="1703" y="2187"/>
                  </a:lnTo>
                  <a:lnTo>
                    <a:pt x="1702" y="2182"/>
                  </a:lnTo>
                  <a:lnTo>
                    <a:pt x="1702" y="2177"/>
                  </a:lnTo>
                  <a:lnTo>
                    <a:pt x="1703" y="2179"/>
                  </a:lnTo>
                  <a:lnTo>
                    <a:pt x="1706" y="2182"/>
                  </a:lnTo>
                  <a:lnTo>
                    <a:pt x="1709" y="2189"/>
                  </a:lnTo>
                  <a:lnTo>
                    <a:pt x="1712" y="2193"/>
                  </a:lnTo>
                  <a:lnTo>
                    <a:pt x="1720" y="2193"/>
                  </a:lnTo>
                  <a:lnTo>
                    <a:pt x="1723" y="2193"/>
                  </a:lnTo>
                  <a:lnTo>
                    <a:pt x="1726" y="2193"/>
                  </a:lnTo>
                  <a:lnTo>
                    <a:pt x="1735" y="2197"/>
                  </a:lnTo>
                  <a:lnTo>
                    <a:pt x="1739" y="2200"/>
                  </a:lnTo>
                  <a:lnTo>
                    <a:pt x="1746" y="2202"/>
                  </a:lnTo>
                  <a:lnTo>
                    <a:pt x="1749" y="2200"/>
                  </a:lnTo>
                  <a:lnTo>
                    <a:pt x="1750" y="2207"/>
                  </a:lnTo>
                  <a:lnTo>
                    <a:pt x="1752" y="2213"/>
                  </a:lnTo>
                  <a:lnTo>
                    <a:pt x="1755" y="2217"/>
                  </a:lnTo>
                  <a:lnTo>
                    <a:pt x="1762" y="2215"/>
                  </a:lnTo>
                  <a:lnTo>
                    <a:pt x="1765" y="2209"/>
                  </a:lnTo>
                  <a:lnTo>
                    <a:pt x="1769" y="2206"/>
                  </a:lnTo>
                  <a:lnTo>
                    <a:pt x="1776" y="2206"/>
                  </a:lnTo>
                  <a:lnTo>
                    <a:pt x="1779" y="2207"/>
                  </a:lnTo>
                  <a:lnTo>
                    <a:pt x="1783" y="2210"/>
                  </a:lnTo>
                  <a:lnTo>
                    <a:pt x="1793" y="2217"/>
                  </a:lnTo>
                  <a:lnTo>
                    <a:pt x="1796" y="2222"/>
                  </a:lnTo>
                  <a:lnTo>
                    <a:pt x="1816" y="2209"/>
                  </a:lnTo>
                  <a:lnTo>
                    <a:pt x="1828" y="2229"/>
                  </a:lnTo>
                  <a:lnTo>
                    <a:pt x="1832" y="2249"/>
                  </a:lnTo>
                  <a:lnTo>
                    <a:pt x="1813" y="2252"/>
                  </a:lnTo>
                  <a:lnTo>
                    <a:pt x="1793" y="2255"/>
                  </a:lnTo>
                  <a:lnTo>
                    <a:pt x="1788" y="2260"/>
                  </a:lnTo>
                  <a:lnTo>
                    <a:pt x="1783" y="2278"/>
                  </a:lnTo>
                  <a:lnTo>
                    <a:pt x="1771" y="2276"/>
                  </a:lnTo>
                  <a:lnTo>
                    <a:pt x="1759" y="2265"/>
                  </a:lnTo>
                  <a:lnTo>
                    <a:pt x="1745" y="2273"/>
                  </a:lnTo>
                  <a:lnTo>
                    <a:pt x="1723" y="2260"/>
                  </a:lnTo>
                  <a:lnTo>
                    <a:pt x="1715" y="2266"/>
                  </a:lnTo>
                  <a:lnTo>
                    <a:pt x="1718" y="2268"/>
                  </a:lnTo>
                  <a:lnTo>
                    <a:pt x="1722" y="2275"/>
                  </a:lnTo>
                  <a:lnTo>
                    <a:pt x="1726" y="2282"/>
                  </a:lnTo>
                  <a:lnTo>
                    <a:pt x="1728" y="2286"/>
                  </a:lnTo>
                  <a:lnTo>
                    <a:pt x="1726" y="2296"/>
                  </a:lnTo>
                  <a:lnTo>
                    <a:pt x="1720" y="2303"/>
                  </a:lnTo>
                  <a:lnTo>
                    <a:pt x="1718" y="2311"/>
                  </a:lnTo>
                  <a:lnTo>
                    <a:pt x="1718" y="2318"/>
                  </a:lnTo>
                  <a:lnTo>
                    <a:pt x="1722" y="2326"/>
                  </a:lnTo>
                  <a:lnTo>
                    <a:pt x="1722" y="2333"/>
                  </a:lnTo>
                  <a:lnTo>
                    <a:pt x="1710" y="2348"/>
                  </a:lnTo>
                  <a:lnTo>
                    <a:pt x="1723" y="2362"/>
                  </a:lnTo>
                  <a:lnTo>
                    <a:pt x="1725" y="2366"/>
                  </a:lnTo>
                  <a:lnTo>
                    <a:pt x="1725" y="2369"/>
                  </a:lnTo>
                  <a:lnTo>
                    <a:pt x="1725" y="2375"/>
                  </a:lnTo>
                  <a:lnTo>
                    <a:pt x="1720" y="2376"/>
                  </a:lnTo>
                  <a:lnTo>
                    <a:pt x="1718" y="2376"/>
                  </a:lnTo>
                  <a:lnTo>
                    <a:pt x="1712" y="2376"/>
                  </a:lnTo>
                  <a:lnTo>
                    <a:pt x="1708" y="2376"/>
                  </a:lnTo>
                  <a:lnTo>
                    <a:pt x="1706" y="2378"/>
                  </a:lnTo>
                  <a:lnTo>
                    <a:pt x="1706" y="2381"/>
                  </a:lnTo>
                  <a:lnTo>
                    <a:pt x="1706" y="2388"/>
                  </a:lnTo>
                  <a:lnTo>
                    <a:pt x="1706" y="2391"/>
                  </a:lnTo>
                  <a:lnTo>
                    <a:pt x="1709" y="2395"/>
                  </a:lnTo>
                  <a:lnTo>
                    <a:pt x="1710" y="2396"/>
                  </a:lnTo>
                  <a:lnTo>
                    <a:pt x="1710" y="2401"/>
                  </a:lnTo>
                  <a:lnTo>
                    <a:pt x="1709" y="2405"/>
                  </a:lnTo>
                  <a:lnTo>
                    <a:pt x="1708" y="2412"/>
                  </a:lnTo>
                  <a:lnTo>
                    <a:pt x="1703" y="2415"/>
                  </a:lnTo>
                  <a:lnTo>
                    <a:pt x="1695" y="2418"/>
                  </a:lnTo>
                  <a:lnTo>
                    <a:pt x="1695" y="2425"/>
                  </a:lnTo>
                  <a:lnTo>
                    <a:pt x="1695" y="2431"/>
                  </a:lnTo>
                  <a:lnTo>
                    <a:pt x="1696" y="2435"/>
                  </a:lnTo>
                  <a:lnTo>
                    <a:pt x="1699" y="2441"/>
                  </a:lnTo>
                  <a:lnTo>
                    <a:pt x="1710" y="2448"/>
                  </a:lnTo>
                  <a:lnTo>
                    <a:pt x="1719" y="2454"/>
                  </a:lnTo>
                  <a:lnTo>
                    <a:pt x="1723" y="2458"/>
                  </a:lnTo>
                  <a:lnTo>
                    <a:pt x="1725" y="2467"/>
                  </a:lnTo>
                  <a:lnTo>
                    <a:pt x="1725" y="2475"/>
                  </a:lnTo>
                  <a:lnTo>
                    <a:pt x="1723" y="2480"/>
                  </a:lnTo>
                  <a:lnTo>
                    <a:pt x="1726" y="2480"/>
                  </a:lnTo>
                  <a:lnTo>
                    <a:pt x="1730" y="2481"/>
                  </a:lnTo>
                  <a:lnTo>
                    <a:pt x="1736" y="2481"/>
                  </a:lnTo>
                  <a:lnTo>
                    <a:pt x="1743" y="2484"/>
                  </a:lnTo>
                  <a:lnTo>
                    <a:pt x="1748" y="2490"/>
                  </a:lnTo>
                  <a:lnTo>
                    <a:pt x="1746" y="2492"/>
                  </a:lnTo>
                  <a:lnTo>
                    <a:pt x="1742" y="2497"/>
                  </a:lnTo>
                  <a:lnTo>
                    <a:pt x="1742" y="2501"/>
                  </a:lnTo>
                  <a:lnTo>
                    <a:pt x="1743" y="2505"/>
                  </a:lnTo>
                  <a:lnTo>
                    <a:pt x="1743" y="2511"/>
                  </a:lnTo>
                  <a:lnTo>
                    <a:pt x="1735" y="2518"/>
                  </a:lnTo>
                  <a:lnTo>
                    <a:pt x="1726" y="2527"/>
                  </a:lnTo>
                  <a:lnTo>
                    <a:pt x="1729" y="2537"/>
                  </a:lnTo>
                  <a:lnTo>
                    <a:pt x="1725" y="2537"/>
                  </a:lnTo>
                  <a:lnTo>
                    <a:pt x="1719" y="2540"/>
                  </a:lnTo>
                  <a:lnTo>
                    <a:pt x="1718" y="2547"/>
                  </a:lnTo>
                  <a:lnTo>
                    <a:pt x="1725" y="2553"/>
                  </a:lnTo>
                  <a:lnTo>
                    <a:pt x="1726" y="2560"/>
                  </a:lnTo>
                  <a:lnTo>
                    <a:pt x="1729" y="2567"/>
                  </a:lnTo>
                  <a:lnTo>
                    <a:pt x="1728" y="2580"/>
                  </a:lnTo>
                  <a:lnTo>
                    <a:pt x="1719" y="2593"/>
                  </a:lnTo>
                  <a:lnTo>
                    <a:pt x="1692" y="2626"/>
                  </a:lnTo>
                  <a:lnTo>
                    <a:pt x="1699" y="2649"/>
                  </a:lnTo>
                  <a:lnTo>
                    <a:pt x="1690" y="2656"/>
                  </a:lnTo>
                  <a:lnTo>
                    <a:pt x="1685" y="2661"/>
                  </a:lnTo>
                  <a:lnTo>
                    <a:pt x="1679" y="2657"/>
                  </a:lnTo>
                  <a:lnTo>
                    <a:pt x="1675" y="2660"/>
                  </a:lnTo>
                  <a:lnTo>
                    <a:pt x="1669" y="2670"/>
                  </a:lnTo>
                  <a:lnTo>
                    <a:pt x="1657" y="2676"/>
                  </a:lnTo>
                  <a:lnTo>
                    <a:pt x="1650" y="2681"/>
                  </a:lnTo>
                  <a:lnTo>
                    <a:pt x="1649" y="2687"/>
                  </a:lnTo>
                  <a:lnTo>
                    <a:pt x="1649" y="2692"/>
                  </a:lnTo>
                  <a:lnTo>
                    <a:pt x="1646" y="2697"/>
                  </a:lnTo>
                  <a:lnTo>
                    <a:pt x="1640" y="2700"/>
                  </a:lnTo>
                  <a:lnTo>
                    <a:pt x="1626" y="2706"/>
                  </a:lnTo>
                  <a:lnTo>
                    <a:pt x="1623" y="2707"/>
                  </a:lnTo>
                  <a:lnTo>
                    <a:pt x="1617" y="2712"/>
                  </a:lnTo>
                  <a:lnTo>
                    <a:pt x="1616" y="2714"/>
                  </a:lnTo>
                  <a:lnTo>
                    <a:pt x="1617" y="2716"/>
                  </a:lnTo>
                  <a:lnTo>
                    <a:pt x="1626" y="2717"/>
                  </a:lnTo>
                  <a:lnTo>
                    <a:pt x="1630" y="2733"/>
                  </a:lnTo>
                  <a:lnTo>
                    <a:pt x="1613" y="2749"/>
                  </a:lnTo>
                  <a:lnTo>
                    <a:pt x="1612" y="2752"/>
                  </a:lnTo>
                  <a:lnTo>
                    <a:pt x="1612" y="2756"/>
                  </a:lnTo>
                  <a:lnTo>
                    <a:pt x="1606" y="2759"/>
                  </a:lnTo>
                  <a:lnTo>
                    <a:pt x="1603" y="2763"/>
                  </a:lnTo>
                  <a:lnTo>
                    <a:pt x="1602" y="2770"/>
                  </a:lnTo>
                  <a:lnTo>
                    <a:pt x="1602" y="2779"/>
                  </a:lnTo>
                  <a:lnTo>
                    <a:pt x="1600" y="2783"/>
                  </a:lnTo>
                  <a:lnTo>
                    <a:pt x="1600" y="2787"/>
                  </a:lnTo>
                  <a:lnTo>
                    <a:pt x="1600" y="2787"/>
                  </a:lnTo>
                  <a:lnTo>
                    <a:pt x="1599" y="2789"/>
                  </a:lnTo>
                  <a:lnTo>
                    <a:pt x="1596" y="2792"/>
                  </a:lnTo>
                  <a:lnTo>
                    <a:pt x="1593" y="2796"/>
                  </a:lnTo>
                  <a:lnTo>
                    <a:pt x="1593" y="2799"/>
                  </a:lnTo>
                  <a:lnTo>
                    <a:pt x="1596" y="2803"/>
                  </a:lnTo>
                  <a:lnTo>
                    <a:pt x="1600" y="2806"/>
                  </a:lnTo>
                  <a:lnTo>
                    <a:pt x="1603" y="2809"/>
                  </a:lnTo>
                  <a:lnTo>
                    <a:pt x="1604" y="2813"/>
                  </a:lnTo>
                  <a:lnTo>
                    <a:pt x="1604" y="2818"/>
                  </a:lnTo>
                  <a:lnTo>
                    <a:pt x="1603" y="2832"/>
                  </a:lnTo>
                  <a:lnTo>
                    <a:pt x="1604" y="2835"/>
                  </a:lnTo>
                  <a:lnTo>
                    <a:pt x="1609" y="2839"/>
                  </a:lnTo>
                  <a:lnTo>
                    <a:pt x="1614" y="2848"/>
                  </a:lnTo>
                  <a:lnTo>
                    <a:pt x="1616" y="2862"/>
                  </a:lnTo>
                  <a:lnTo>
                    <a:pt x="1629" y="2868"/>
                  </a:lnTo>
                  <a:lnTo>
                    <a:pt x="1639" y="2878"/>
                  </a:lnTo>
                  <a:lnTo>
                    <a:pt x="1669" y="2878"/>
                  </a:lnTo>
                  <a:lnTo>
                    <a:pt x="1683" y="2882"/>
                  </a:lnTo>
                  <a:lnTo>
                    <a:pt x="1680" y="2891"/>
                  </a:lnTo>
                  <a:lnTo>
                    <a:pt x="1680" y="2896"/>
                  </a:lnTo>
                  <a:lnTo>
                    <a:pt x="1679" y="2903"/>
                  </a:lnTo>
                  <a:lnTo>
                    <a:pt x="1680" y="2909"/>
                  </a:lnTo>
                  <a:lnTo>
                    <a:pt x="1682" y="2916"/>
                  </a:lnTo>
                  <a:lnTo>
                    <a:pt x="1677" y="2928"/>
                  </a:lnTo>
                  <a:lnTo>
                    <a:pt x="1679" y="2934"/>
                  </a:lnTo>
                  <a:lnTo>
                    <a:pt x="1682" y="2939"/>
                  </a:lnTo>
                  <a:lnTo>
                    <a:pt x="1685" y="2944"/>
                  </a:lnTo>
                  <a:lnTo>
                    <a:pt x="1685" y="2946"/>
                  </a:lnTo>
                  <a:lnTo>
                    <a:pt x="1683" y="2948"/>
                  </a:lnTo>
                  <a:lnTo>
                    <a:pt x="1680" y="2949"/>
                  </a:lnTo>
                  <a:lnTo>
                    <a:pt x="1675" y="2948"/>
                  </a:lnTo>
                  <a:lnTo>
                    <a:pt x="1655" y="2948"/>
                  </a:lnTo>
                  <a:lnTo>
                    <a:pt x="1653" y="2951"/>
                  </a:lnTo>
                  <a:lnTo>
                    <a:pt x="1649" y="2955"/>
                  </a:lnTo>
                  <a:lnTo>
                    <a:pt x="1647" y="2958"/>
                  </a:lnTo>
                  <a:lnTo>
                    <a:pt x="1639" y="2964"/>
                  </a:lnTo>
                  <a:lnTo>
                    <a:pt x="1636" y="2965"/>
                  </a:lnTo>
                  <a:lnTo>
                    <a:pt x="1630" y="2972"/>
                  </a:lnTo>
                  <a:lnTo>
                    <a:pt x="1629" y="2979"/>
                  </a:lnTo>
                  <a:lnTo>
                    <a:pt x="1633" y="2987"/>
                  </a:lnTo>
                  <a:lnTo>
                    <a:pt x="1636" y="2992"/>
                  </a:lnTo>
                  <a:lnTo>
                    <a:pt x="1639" y="3002"/>
                  </a:lnTo>
                  <a:lnTo>
                    <a:pt x="1647" y="3011"/>
                  </a:lnTo>
                  <a:lnTo>
                    <a:pt x="1657" y="3011"/>
                  </a:lnTo>
                  <a:lnTo>
                    <a:pt x="1665" y="3012"/>
                  </a:lnTo>
                  <a:lnTo>
                    <a:pt x="1667" y="3012"/>
                  </a:lnTo>
                  <a:lnTo>
                    <a:pt x="1670" y="3021"/>
                  </a:lnTo>
                  <a:lnTo>
                    <a:pt x="1670" y="3028"/>
                  </a:lnTo>
                  <a:lnTo>
                    <a:pt x="1667" y="3032"/>
                  </a:lnTo>
                  <a:lnTo>
                    <a:pt x="1667" y="3040"/>
                  </a:lnTo>
                  <a:lnTo>
                    <a:pt x="1670" y="3044"/>
                  </a:lnTo>
                  <a:lnTo>
                    <a:pt x="1677" y="3045"/>
                  </a:lnTo>
                  <a:lnTo>
                    <a:pt x="1677" y="3045"/>
                  </a:lnTo>
                  <a:lnTo>
                    <a:pt x="1680" y="3052"/>
                  </a:lnTo>
                  <a:lnTo>
                    <a:pt x="1680" y="3060"/>
                  </a:lnTo>
                  <a:lnTo>
                    <a:pt x="1683" y="3064"/>
                  </a:lnTo>
                  <a:lnTo>
                    <a:pt x="1685" y="3070"/>
                  </a:lnTo>
                  <a:lnTo>
                    <a:pt x="1685" y="3074"/>
                  </a:lnTo>
                  <a:lnTo>
                    <a:pt x="1673" y="3077"/>
                  </a:lnTo>
                  <a:lnTo>
                    <a:pt x="1665" y="3087"/>
                  </a:lnTo>
                  <a:lnTo>
                    <a:pt x="1644" y="3105"/>
                  </a:lnTo>
                  <a:lnTo>
                    <a:pt x="1640" y="3118"/>
                  </a:lnTo>
                  <a:lnTo>
                    <a:pt x="1644" y="3124"/>
                  </a:lnTo>
                  <a:lnTo>
                    <a:pt x="1652" y="3128"/>
                  </a:lnTo>
                  <a:lnTo>
                    <a:pt x="1652" y="3135"/>
                  </a:lnTo>
                  <a:lnTo>
                    <a:pt x="1640" y="3143"/>
                  </a:lnTo>
                  <a:lnTo>
                    <a:pt x="1622" y="3150"/>
                  </a:lnTo>
                  <a:lnTo>
                    <a:pt x="1614" y="3146"/>
                  </a:lnTo>
                  <a:lnTo>
                    <a:pt x="1612" y="3134"/>
                  </a:lnTo>
                  <a:lnTo>
                    <a:pt x="1596" y="3128"/>
                  </a:lnTo>
                  <a:lnTo>
                    <a:pt x="1593" y="3128"/>
                  </a:lnTo>
                  <a:lnTo>
                    <a:pt x="1586" y="3128"/>
                  </a:lnTo>
                  <a:lnTo>
                    <a:pt x="1580" y="3130"/>
                  </a:lnTo>
                  <a:lnTo>
                    <a:pt x="1579" y="3133"/>
                  </a:lnTo>
                  <a:lnTo>
                    <a:pt x="1576" y="3135"/>
                  </a:lnTo>
                  <a:lnTo>
                    <a:pt x="1573" y="3135"/>
                  </a:lnTo>
                  <a:lnTo>
                    <a:pt x="1570" y="3134"/>
                  </a:lnTo>
                  <a:lnTo>
                    <a:pt x="1570" y="3133"/>
                  </a:lnTo>
                  <a:lnTo>
                    <a:pt x="1573" y="3128"/>
                  </a:lnTo>
                  <a:lnTo>
                    <a:pt x="1574" y="3120"/>
                  </a:lnTo>
                  <a:lnTo>
                    <a:pt x="1573" y="3113"/>
                  </a:lnTo>
                  <a:lnTo>
                    <a:pt x="1567" y="3104"/>
                  </a:lnTo>
                  <a:lnTo>
                    <a:pt x="1560" y="3103"/>
                  </a:lnTo>
                  <a:lnTo>
                    <a:pt x="1546" y="3100"/>
                  </a:lnTo>
                  <a:lnTo>
                    <a:pt x="1540" y="3093"/>
                  </a:lnTo>
                  <a:lnTo>
                    <a:pt x="1527" y="3081"/>
                  </a:lnTo>
                  <a:lnTo>
                    <a:pt x="1514" y="3064"/>
                  </a:lnTo>
                  <a:lnTo>
                    <a:pt x="1514" y="3054"/>
                  </a:lnTo>
                  <a:lnTo>
                    <a:pt x="1514" y="3054"/>
                  </a:lnTo>
                  <a:lnTo>
                    <a:pt x="1516" y="3054"/>
                  </a:lnTo>
                  <a:lnTo>
                    <a:pt x="1517" y="3052"/>
                  </a:lnTo>
                  <a:lnTo>
                    <a:pt x="1517" y="3051"/>
                  </a:lnTo>
                  <a:lnTo>
                    <a:pt x="1514" y="3048"/>
                  </a:lnTo>
                  <a:lnTo>
                    <a:pt x="1504" y="3048"/>
                  </a:lnTo>
                  <a:lnTo>
                    <a:pt x="1501" y="3050"/>
                  </a:lnTo>
                  <a:lnTo>
                    <a:pt x="1498" y="3048"/>
                  </a:lnTo>
                  <a:lnTo>
                    <a:pt x="1491" y="3045"/>
                  </a:lnTo>
                  <a:lnTo>
                    <a:pt x="1486" y="3045"/>
                  </a:lnTo>
                  <a:lnTo>
                    <a:pt x="1477" y="3054"/>
                  </a:lnTo>
                  <a:lnTo>
                    <a:pt x="1470" y="3064"/>
                  </a:lnTo>
                  <a:lnTo>
                    <a:pt x="1457" y="3064"/>
                  </a:lnTo>
                  <a:lnTo>
                    <a:pt x="1450" y="3070"/>
                  </a:lnTo>
                  <a:lnTo>
                    <a:pt x="1444" y="3071"/>
                  </a:lnTo>
                  <a:lnTo>
                    <a:pt x="1441" y="3084"/>
                  </a:lnTo>
                  <a:lnTo>
                    <a:pt x="1443" y="3091"/>
                  </a:lnTo>
                  <a:lnTo>
                    <a:pt x="1443" y="3105"/>
                  </a:lnTo>
                  <a:lnTo>
                    <a:pt x="1445" y="3108"/>
                  </a:lnTo>
                  <a:lnTo>
                    <a:pt x="1454" y="3115"/>
                  </a:lnTo>
                  <a:lnTo>
                    <a:pt x="1458" y="3125"/>
                  </a:lnTo>
                  <a:lnTo>
                    <a:pt x="1460" y="3137"/>
                  </a:lnTo>
                  <a:lnTo>
                    <a:pt x="1443" y="3153"/>
                  </a:lnTo>
                  <a:lnTo>
                    <a:pt x="1431" y="3173"/>
                  </a:lnTo>
                  <a:lnTo>
                    <a:pt x="1415" y="3181"/>
                  </a:lnTo>
                  <a:lnTo>
                    <a:pt x="1391" y="3190"/>
                  </a:lnTo>
                  <a:lnTo>
                    <a:pt x="1384" y="3210"/>
                  </a:lnTo>
                  <a:lnTo>
                    <a:pt x="1377" y="3223"/>
                  </a:lnTo>
                  <a:lnTo>
                    <a:pt x="1357" y="3223"/>
                  </a:lnTo>
                  <a:lnTo>
                    <a:pt x="1349" y="3236"/>
                  </a:lnTo>
                  <a:lnTo>
                    <a:pt x="1347" y="3237"/>
                  </a:lnTo>
                  <a:lnTo>
                    <a:pt x="1342" y="3239"/>
                  </a:lnTo>
                  <a:lnTo>
                    <a:pt x="1341" y="3240"/>
                  </a:lnTo>
                  <a:lnTo>
                    <a:pt x="1339" y="3243"/>
                  </a:lnTo>
                  <a:lnTo>
                    <a:pt x="1339" y="3247"/>
                  </a:lnTo>
                  <a:lnTo>
                    <a:pt x="1339" y="3253"/>
                  </a:lnTo>
                  <a:lnTo>
                    <a:pt x="1339" y="3260"/>
                  </a:lnTo>
                  <a:lnTo>
                    <a:pt x="1335" y="3267"/>
                  </a:lnTo>
                  <a:lnTo>
                    <a:pt x="1332" y="3274"/>
                  </a:lnTo>
                  <a:lnTo>
                    <a:pt x="1328" y="3282"/>
                  </a:lnTo>
                  <a:lnTo>
                    <a:pt x="1327" y="3283"/>
                  </a:lnTo>
                  <a:lnTo>
                    <a:pt x="1324" y="3284"/>
                  </a:lnTo>
                  <a:lnTo>
                    <a:pt x="1321" y="3283"/>
                  </a:lnTo>
                  <a:lnTo>
                    <a:pt x="1317" y="3282"/>
                  </a:lnTo>
                  <a:lnTo>
                    <a:pt x="1314" y="3282"/>
                  </a:lnTo>
                  <a:lnTo>
                    <a:pt x="1312" y="3282"/>
                  </a:lnTo>
                  <a:lnTo>
                    <a:pt x="1312" y="3284"/>
                  </a:lnTo>
                  <a:lnTo>
                    <a:pt x="1319" y="3293"/>
                  </a:lnTo>
                  <a:lnTo>
                    <a:pt x="1318" y="3313"/>
                  </a:lnTo>
                  <a:lnTo>
                    <a:pt x="1318" y="3322"/>
                  </a:lnTo>
                  <a:lnTo>
                    <a:pt x="1325" y="3330"/>
                  </a:lnTo>
                  <a:lnTo>
                    <a:pt x="1327" y="3335"/>
                  </a:lnTo>
                  <a:lnTo>
                    <a:pt x="1328" y="3345"/>
                  </a:lnTo>
                  <a:lnTo>
                    <a:pt x="1321" y="3352"/>
                  </a:lnTo>
                  <a:lnTo>
                    <a:pt x="1312" y="3353"/>
                  </a:lnTo>
                  <a:lnTo>
                    <a:pt x="1305" y="3350"/>
                  </a:lnTo>
                  <a:lnTo>
                    <a:pt x="1294" y="3345"/>
                  </a:lnTo>
                  <a:lnTo>
                    <a:pt x="1278" y="3337"/>
                  </a:lnTo>
                  <a:lnTo>
                    <a:pt x="1278" y="3333"/>
                  </a:lnTo>
                  <a:lnTo>
                    <a:pt x="1278" y="3326"/>
                  </a:lnTo>
                  <a:lnTo>
                    <a:pt x="1275" y="3320"/>
                  </a:lnTo>
                  <a:lnTo>
                    <a:pt x="1272" y="3315"/>
                  </a:lnTo>
                  <a:lnTo>
                    <a:pt x="1272" y="3310"/>
                  </a:lnTo>
                  <a:lnTo>
                    <a:pt x="1274" y="3303"/>
                  </a:lnTo>
                  <a:lnTo>
                    <a:pt x="1269" y="3299"/>
                  </a:lnTo>
                  <a:lnTo>
                    <a:pt x="1269" y="3293"/>
                  </a:lnTo>
                  <a:lnTo>
                    <a:pt x="1261" y="3289"/>
                  </a:lnTo>
                  <a:lnTo>
                    <a:pt x="1255" y="3286"/>
                  </a:lnTo>
                  <a:lnTo>
                    <a:pt x="1254" y="3284"/>
                  </a:lnTo>
                  <a:lnTo>
                    <a:pt x="1254" y="3282"/>
                  </a:lnTo>
                  <a:lnTo>
                    <a:pt x="1252" y="3276"/>
                  </a:lnTo>
                  <a:lnTo>
                    <a:pt x="1249" y="3270"/>
                  </a:lnTo>
                  <a:lnTo>
                    <a:pt x="1249" y="3264"/>
                  </a:lnTo>
                  <a:lnTo>
                    <a:pt x="1249" y="3253"/>
                  </a:lnTo>
                  <a:lnTo>
                    <a:pt x="1245" y="3252"/>
                  </a:lnTo>
                  <a:lnTo>
                    <a:pt x="1239" y="3252"/>
                  </a:lnTo>
                  <a:lnTo>
                    <a:pt x="1232" y="3252"/>
                  </a:lnTo>
                  <a:lnTo>
                    <a:pt x="1231" y="3253"/>
                  </a:lnTo>
                  <a:lnTo>
                    <a:pt x="1226" y="3256"/>
                  </a:lnTo>
                  <a:lnTo>
                    <a:pt x="1225" y="3256"/>
                  </a:lnTo>
                  <a:lnTo>
                    <a:pt x="1222" y="3250"/>
                  </a:lnTo>
                  <a:lnTo>
                    <a:pt x="1221" y="3249"/>
                  </a:lnTo>
                  <a:lnTo>
                    <a:pt x="1218" y="3247"/>
                  </a:lnTo>
                  <a:lnTo>
                    <a:pt x="1216" y="3249"/>
                  </a:lnTo>
                  <a:lnTo>
                    <a:pt x="1215" y="3250"/>
                  </a:lnTo>
                  <a:lnTo>
                    <a:pt x="1212" y="3257"/>
                  </a:lnTo>
                  <a:lnTo>
                    <a:pt x="1211" y="3264"/>
                  </a:lnTo>
                  <a:lnTo>
                    <a:pt x="1209" y="3267"/>
                  </a:lnTo>
                  <a:lnTo>
                    <a:pt x="1205" y="3273"/>
                  </a:lnTo>
                  <a:lnTo>
                    <a:pt x="1198" y="3280"/>
                  </a:lnTo>
                  <a:lnTo>
                    <a:pt x="1196" y="3289"/>
                  </a:lnTo>
                  <a:lnTo>
                    <a:pt x="1195" y="3300"/>
                  </a:lnTo>
                  <a:lnTo>
                    <a:pt x="1185" y="3299"/>
                  </a:lnTo>
                  <a:lnTo>
                    <a:pt x="1179" y="3300"/>
                  </a:lnTo>
                  <a:lnTo>
                    <a:pt x="1176" y="3302"/>
                  </a:lnTo>
                  <a:lnTo>
                    <a:pt x="1163" y="3300"/>
                  </a:lnTo>
                  <a:lnTo>
                    <a:pt x="1155" y="3307"/>
                  </a:lnTo>
                  <a:lnTo>
                    <a:pt x="1149" y="3310"/>
                  </a:lnTo>
                  <a:lnTo>
                    <a:pt x="1146" y="3310"/>
                  </a:lnTo>
                  <a:lnTo>
                    <a:pt x="1138" y="3302"/>
                  </a:lnTo>
                  <a:lnTo>
                    <a:pt x="1135" y="3297"/>
                  </a:lnTo>
                  <a:lnTo>
                    <a:pt x="1103" y="3290"/>
                  </a:lnTo>
                  <a:lnTo>
                    <a:pt x="1073" y="3289"/>
                  </a:lnTo>
                  <a:lnTo>
                    <a:pt x="1066" y="3290"/>
                  </a:lnTo>
                  <a:lnTo>
                    <a:pt x="1063" y="3290"/>
                  </a:lnTo>
                  <a:lnTo>
                    <a:pt x="1057" y="3306"/>
                  </a:lnTo>
                  <a:lnTo>
                    <a:pt x="1029" y="3362"/>
                  </a:lnTo>
                  <a:lnTo>
                    <a:pt x="1019" y="3385"/>
                  </a:lnTo>
                  <a:lnTo>
                    <a:pt x="1006" y="3409"/>
                  </a:lnTo>
                  <a:lnTo>
                    <a:pt x="1003" y="3416"/>
                  </a:lnTo>
                  <a:lnTo>
                    <a:pt x="1026" y="3418"/>
                  </a:lnTo>
                  <a:lnTo>
                    <a:pt x="1024" y="3425"/>
                  </a:lnTo>
                  <a:lnTo>
                    <a:pt x="1021" y="3433"/>
                  </a:lnTo>
                  <a:lnTo>
                    <a:pt x="1017" y="3439"/>
                  </a:lnTo>
                  <a:lnTo>
                    <a:pt x="1017" y="3445"/>
                  </a:lnTo>
                  <a:lnTo>
                    <a:pt x="1021" y="3449"/>
                  </a:lnTo>
                  <a:lnTo>
                    <a:pt x="1029" y="3452"/>
                  </a:lnTo>
                  <a:lnTo>
                    <a:pt x="1037" y="3453"/>
                  </a:lnTo>
                  <a:lnTo>
                    <a:pt x="1043" y="3452"/>
                  </a:lnTo>
                  <a:lnTo>
                    <a:pt x="1047" y="3452"/>
                  </a:lnTo>
                  <a:lnTo>
                    <a:pt x="1046" y="3471"/>
                  </a:lnTo>
                  <a:lnTo>
                    <a:pt x="1046" y="3486"/>
                  </a:lnTo>
                  <a:lnTo>
                    <a:pt x="1043" y="3496"/>
                  </a:lnTo>
                  <a:lnTo>
                    <a:pt x="1052" y="3496"/>
                  </a:lnTo>
                  <a:lnTo>
                    <a:pt x="1050" y="3522"/>
                  </a:lnTo>
                  <a:lnTo>
                    <a:pt x="1037" y="3521"/>
                  </a:lnTo>
                  <a:lnTo>
                    <a:pt x="1032" y="3521"/>
                  </a:lnTo>
                  <a:lnTo>
                    <a:pt x="1027" y="3522"/>
                  </a:lnTo>
                  <a:lnTo>
                    <a:pt x="1024" y="3526"/>
                  </a:lnTo>
                  <a:lnTo>
                    <a:pt x="1023" y="3531"/>
                  </a:lnTo>
                  <a:lnTo>
                    <a:pt x="1023" y="3534"/>
                  </a:lnTo>
                  <a:lnTo>
                    <a:pt x="1023" y="3544"/>
                  </a:lnTo>
                  <a:lnTo>
                    <a:pt x="1021" y="3549"/>
                  </a:lnTo>
                  <a:lnTo>
                    <a:pt x="1021" y="3552"/>
                  </a:lnTo>
                  <a:lnTo>
                    <a:pt x="1020" y="3552"/>
                  </a:lnTo>
                  <a:lnTo>
                    <a:pt x="1013" y="3549"/>
                  </a:lnTo>
                  <a:lnTo>
                    <a:pt x="1007" y="3558"/>
                  </a:lnTo>
                  <a:lnTo>
                    <a:pt x="1004" y="3569"/>
                  </a:lnTo>
                  <a:lnTo>
                    <a:pt x="1001" y="3572"/>
                  </a:lnTo>
                  <a:lnTo>
                    <a:pt x="1000" y="3574"/>
                  </a:lnTo>
                  <a:lnTo>
                    <a:pt x="997" y="3574"/>
                  </a:lnTo>
                  <a:lnTo>
                    <a:pt x="996" y="3571"/>
                  </a:lnTo>
                  <a:lnTo>
                    <a:pt x="994" y="3568"/>
                  </a:lnTo>
                  <a:lnTo>
                    <a:pt x="981" y="3562"/>
                  </a:lnTo>
                  <a:lnTo>
                    <a:pt x="973" y="3579"/>
                  </a:lnTo>
                  <a:lnTo>
                    <a:pt x="964" y="3579"/>
                  </a:lnTo>
                  <a:lnTo>
                    <a:pt x="963" y="3605"/>
                  </a:lnTo>
                  <a:lnTo>
                    <a:pt x="961" y="3608"/>
                  </a:lnTo>
                  <a:lnTo>
                    <a:pt x="950" y="3611"/>
                  </a:lnTo>
                  <a:lnTo>
                    <a:pt x="941" y="3628"/>
                  </a:lnTo>
                  <a:lnTo>
                    <a:pt x="946" y="3631"/>
                  </a:lnTo>
                  <a:lnTo>
                    <a:pt x="941" y="3638"/>
                  </a:lnTo>
                  <a:lnTo>
                    <a:pt x="947" y="3641"/>
                  </a:lnTo>
                  <a:lnTo>
                    <a:pt x="951" y="3642"/>
                  </a:lnTo>
                  <a:lnTo>
                    <a:pt x="951" y="3647"/>
                  </a:lnTo>
                  <a:lnTo>
                    <a:pt x="948" y="3648"/>
                  </a:lnTo>
                  <a:lnTo>
                    <a:pt x="947" y="3650"/>
                  </a:lnTo>
                  <a:lnTo>
                    <a:pt x="947" y="3653"/>
                  </a:lnTo>
                  <a:lnTo>
                    <a:pt x="946" y="3654"/>
                  </a:lnTo>
                  <a:lnTo>
                    <a:pt x="947" y="3674"/>
                  </a:lnTo>
                  <a:lnTo>
                    <a:pt x="951" y="3684"/>
                  </a:lnTo>
                  <a:lnTo>
                    <a:pt x="954" y="3693"/>
                  </a:lnTo>
                  <a:lnTo>
                    <a:pt x="954" y="3695"/>
                  </a:lnTo>
                  <a:lnTo>
                    <a:pt x="951" y="3695"/>
                  </a:lnTo>
                  <a:lnTo>
                    <a:pt x="947" y="3695"/>
                  </a:lnTo>
                  <a:lnTo>
                    <a:pt x="941" y="3695"/>
                  </a:lnTo>
                  <a:lnTo>
                    <a:pt x="934" y="3698"/>
                  </a:lnTo>
                  <a:lnTo>
                    <a:pt x="931" y="3701"/>
                  </a:lnTo>
                  <a:lnTo>
                    <a:pt x="931" y="3706"/>
                  </a:lnTo>
                  <a:lnTo>
                    <a:pt x="931" y="3723"/>
                  </a:lnTo>
                  <a:lnTo>
                    <a:pt x="930" y="3731"/>
                  </a:lnTo>
                  <a:lnTo>
                    <a:pt x="927" y="3736"/>
                  </a:lnTo>
                  <a:lnTo>
                    <a:pt x="923" y="3738"/>
                  </a:lnTo>
                  <a:lnTo>
                    <a:pt x="921" y="3740"/>
                  </a:lnTo>
                  <a:lnTo>
                    <a:pt x="923" y="3743"/>
                  </a:lnTo>
                  <a:lnTo>
                    <a:pt x="924" y="3744"/>
                  </a:lnTo>
                  <a:lnTo>
                    <a:pt x="928" y="3748"/>
                  </a:lnTo>
                  <a:lnTo>
                    <a:pt x="930" y="3754"/>
                  </a:lnTo>
                  <a:lnTo>
                    <a:pt x="930" y="3760"/>
                  </a:lnTo>
                  <a:lnTo>
                    <a:pt x="930" y="3764"/>
                  </a:lnTo>
                  <a:lnTo>
                    <a:pt x="928" y="3771"/>
                  </a:lnTo>
                  <a:lnTo>
                    <a:pt x="913" y="3807"/>
                  </a:lnTo>
                  <a:lnTo>
                    <a:pt x="908" y="3820"/>
                  </a:lnTo>
                  <a:lnTo>
                    <a:pt x="874" y="3816"/>
                  </a:lnTo>
                  <a:lnTo>
                    <a:pt x="850" y="3832"/>
                  </a:lnTo>
                  <a:lnTo>
                    <a:pt x="841" y="3832"/>
                  </a:lnTo>
                  <a:lnTo>
                    <a:pt x="834" y="3834"/>
                  </a:lnTo>
                  <a:lnTo>
                    <a:pt x="828" y="3846"/>
                  </a:lnTo>
                  <a:lnTo>
                    <a:pt x="828" y="3853"/>
                  </a:lnTo>
                  <a:lnTo>
                    <a:pt x="828" y="3859"/>
                  </a:lnTo>
                  <a:lnTo>
                    <a:pt x="832" y="3863"/>
                  </a:lnTo>
                  <a:lnTo>
                    <a:pt x="838" y="3864"/>
                  </a:lnTo>
                  <a:lnTo>
                    <a:pt x="842" y="3864"/>
                  </a:lnTo>
                  <a:lnTo>
                    <a:pt x="860" y="3892"/>
                  </a:lnTo>
                  <a:lnTo>
                    <a:pt x="861" y="3897"/>
                  </a:lnTo>
                  <a:lnTo>
                    <a:pt x="863" y="3903"/>
                  </a:lnTo>
                  <a:lnTo>
                    <a:pt x="877" y="3920"/>
                  </a:lnTo>
                  <a:lnTo>
                    <a:pt x="888" y="3936"/>
                  </a:lnTo>
                  <a:lnTo>
                    <a:pt x="893" y="3945"/>
                  </a:lnTo>
                  <a:lnTo>
                    <a:pt x="901" y="3950"/>
                  </a:lnTo>
                  <a:lnTo>
                    <a:pt x="903" y="3958"/>
                  </a:lnTo>
                  <a:lnTo>
                    <a:pt x="907" y="3962"/>
                  </a:lnTo>
                  <a:lnTo>
                    <a:pt x="910" y="3963"/>
                  </a:lnTo>
                  <a:lnTo>
                    <a:pt x="914" y="3962"/>
                  </a:lnTo>
                  <a:lnTo>
                    <a:pt x="921" y="3960"/>
                  </a:lnTo>
                  <a:lnTo>
                    <a:pt x="921" y="3966"/>
                  </a:lnTo>
                  <a:lnTo>
                    <a:pt x="918" y="3970"/>
                  </a:lnTo>
                  <a:lnTo>
                    <a:pt x="914" y="3976"/>
                  </a:lnTo>
                  <a:lnTo>
                    <a:pt x="907" y="3979"/>
                  </a:lnTo>
                  <a:lnTo>
                    <a:pt x="891" y="3982"/>
                  </a:lnTo>
                  <a:lnTo>
                    <a:pt x="890" y="3978"/>
                  </a:lnTo>
                  <a:lnTo>
                    <a:pt x="885" y="3973"/>
                  </a:lnTo>
                  <a:lnTo>
                    <a:pt x="881" y="3970"/>
                  </a:lnTo>
                  <a:lnTo>
                    <a:pt x="873" y="3969"/>
                  </a:lnTo>
                  <a:lnTo>
                    <a:pt x="870" y="3972"/>
                  </a:lnTo>
                  <a:lnTo>
                    <a:pt x="868" y="3975"/>
                  </a:lnTo>
                  <a:lnTo>
                    <a:pt x="867" y="3980"/>
                  </a:lnTo>
                  <a:lnTo>
                    <a:pt x="865" y="3983"/>
                  </a:lnTo>
                  <a:lnTo>
                    <a:pt x="861" y="3988"/>
                  </a:lnTo>
                  <a:lnTo>
                    <a:pt x="857" y="3989"/>
                  </a:lnTo>
                  <a:lnTo>
                    <a:pt x="855" y="3989"/>
                  </a:lnTo>
                  <a:lnTo>
                    <a:pt x="847" y="3986"/>
                  </a:lnTo>
                  <a:lnTo>
                    <a:pt x="835" y="3982"/>
                  </a:lnTo>
                  <a:lnTo>
                    <a:pt x="828" y="3980"/>
                  </a:lnTo>
                  <a:lnTo>
                    <a:pt x="822" y="3979"/>
                  </a:lnTo>
                  <a:lnTo>
                    <a:pt x="820" y="3982"/>
                  </a:lnTo>
                  <a:lnTo>
                    <a:pt x="804" y="3995"/>
                  </a:lnTo>
                  <a:lnTo>
                    <a:pt x="798" y="3996"/>
                  </a:lnTo>
                  <a:lnTo>
                    <a:pt x="791" y="3996"/>
                  </a:lnTo>
                  <a:lnTo>
                    <a:pt x="788" y="3993"/>
                  </a:lnTo>
                  <a:lnTo>
                    <a:pt x="784" y="3982"/>
                  </a:lnTo>
                  <a:lnTo>
                    <a:pt x="772" y="3985"/>
                  </a:lnTo>
                  <a:lnTo>
                    <a:pt x="751" y="3992"/>
                  </a:lnTo>
                  <a:lnTo>
                    <a:pt x="731" y="3995"/>
                  </a:lnTo>
                  <a:lnTo>
                    <a:pt x="721" y="3999"/>
                  </a:lnTo>
                  <a:lnTo>
                    <a:pt x="715" y="4002"/>
                  </a:lnTo>
                  <a:lnTo>
                    <a:pt x="715" y="4006"/>
                  </a:lnTo>
                  <a:lnTo>
                    <a:pt x="718" y="4009"/>
                  </a:lnTo>
                  <a:lnTo>
                    <a:pt x="725" y="4011"/>
                  </a:lnTo>
                  <a:lnTo>
                    <a:pt x="725" y="4013"/>
                  </a:lnTo>
                  <a:lnTo>
                    <a:pt x="715" y="4028"/>
                  </a:lnTo>
                  <a:lnTo>
                    <a:pt x="712" y="4041"/>
                  </a:lnTo>
                  <a:lnTo>
                    <a:pt x="709" y="4051"/>
                  </a:lnTo>
                  <a:lnTo>
                    <a:pt x="702" y="4059"/>
                  </a:lnTo>
                  <a:lnTo>
                    <a:pt x="702" y="4066"/>
                  </a:lnTo>
                  <a:lnTo>
                    <a:pt x="701" y="4069"/>
                  </a:lnTo>
                  <a:lnTo>
                    <a:pt x="699" y="4069"/>
                  </a:lnTo>
                  <a:lnTo>
                    <a:pt x="692" y="4066"/>
                  </a:lnTo>
                  <a:lnTo>
                    <a:pt x="685" y="4066"/>
                  </a:lnTo>
                  <a:lnTo>
                    <a:pt x="676" y="4071"/>
                  </a:lnTo>
                  <a:lnTo>
                    <a:pt x="659" y="4085"/>
                  </a:lnTo>
                  <a:lnTo>
                    <a:pt x="648" y="4095"/>
                  </a:lnTo>
                  <a:lnTo>
                    <a:pt x="643" y="4102"/>
                  </a:lnTo>
                  <a:lnTo>
                    <a:pt x="643" y="4112"/>
                  </a:lnTo>
                  <a:lnTo>
                    <a:pt x="638" y="4119"/>
                  </a:lnTo>
                  <a:lnTo>
                    <a:pt x="631" y="4131"/>
                  </a:lnTo>
                  <a:lnTo>
                    <a:pt x="623" y="4138"/>
                  </a:lnTo>
                  <a:lnTo>
                    <a:pt x="622" y="4138"/>
                  </a:lnTo>
                  <a:lnTo>
                    <a:pt x="620" y="4142"/>
                  </a:lnTo>
                  <a:lnTo>
                    <a:pt x="620" y="4147"/>
                  </a:lnTo>
                  <a:lnTo>
                    <a:pt x="619" y="4152"/>
                  </a:lnTo>
                  <a:lnTo>
                    <a:pt x="616" y="4155"/>
                  </a:lnTo>
                  <a:lnTo>
                    <a:pt x="610" y="4162"/>
                  </a:lnTo>
                  <a:lnTo>
                    <a:pt x="606" y="4174"/>
                  </a:lnTo>
                  <a:lnTo>
                    <a:pt x="605" y="4178"/>
                  </a:lnTo>
                  <a:lnTo>
                    <a:pt x="592" y="4181"/>
                  </a:lnTo>
                  <a:lnTo>
                    <a:pt x="580" y="4182"/>
                  </a:lnTo>
                  <a:lnTo>
                    <a:pt x="575" y="4184"/>
                  </a:lnTo>
                  <a:lnTo>
                    <a:pt x="552" y="4201"/>
                  </a:lnTo>
                  <a:lnTo>
                    <a:pt x="537" y="4210"/>
                  </a:lnTo>
                  <a:lnTo>
                    <a:pt x="523" y="4225"/>
                  </a:lnTo>
                  <a:lnTo>
                    <a:pt x="517" y="4225"/>
                  </a:lnTo>
                  <a:lnTo>
                    <a:pt x="512" y="4221"/>
                  </a:lnTo>
                  <a:lnTo>
                    <a:pt x="504" y="4220"/>
                  </a:lnTo>
                  <a:lnTo>
                    <a:pt x="494" y="4227"/>
                  </a:lnTo>
                  <a:lnTo>
                    <a:pt x="487" y="4228"/>
                  </a:lnTo>
                  <a:lnTo>
                    <a:pt x="476" y="4225"/>
                  </a:lnTo>
                  <a:lnTo>
                    <a:pt x="464" y="4224"/>
                  </a:lnTo>
                  <a:lnTo>
                    <a:pt x="457" y="4224"/>
                  </a:lnTo>
                  <a:lnTo>
                    <a:pt x="444" y="4225"/>
                  </a:lnTo>
                  <a:lnTo>
                    <a:pt x="434" y="4225"/>
                  </a:lnTo>
                  <a:lnTo>
                    <a:pt x="431" y="4224"/>
                  </a:lnTo>
                  <a:lnTo>
                    <a:pt x="430" y="4224"/>
                  </a:lnTo>
                  <a:lnTo>
                    <a:pt x="426" y="4218"/>
                  </a:lnTo>
                  <a:lnTo>
                    <a:pt x="420" y="4211"/>
                  </a:lnTo>
                  <a:lnTo>
                    <a:pt x="413" y="4210"/>
                  </a:lnTo>
                  <a:lnTo>
                    <a:pt x="406" y="4210"/>
                  </a:lnTo>
                  <a:lnTo>
                    <a:pt x="397" y="4205"/>
                  </a:lnTo>
                  <a:lnTo>
                    <a:pt x="390" y="4201"/>
                  </a:lnTo>
                  <a:lnTo>
                    <a:pt x="374" y="4200"/>
                  </a:lnTo>
                  <a:lnTo>
                    <a:pt x="361" y="4200"/>
                  </a:lnTo>
                  <a:lnTo>
                    <a:pt x="356" y="4198"/>
                  </a:lnTo>
                  <a:lnTo>
                    <a:pt x="351" y="4195"/>
                  </a:lnTo>
                  <a:lnTo>
                    <a:pt x="348" y="4191"/>
                  </a:lnTo>
                  <a:lnTo>
                    <a:pt x="345" y="4188"/>
                  </a:lnTo>
                  <a:lnTo>
                    <a:pt x="338" y="4187"/>
                  </a:lnTo>
                  <a:lnTo>
                    <a:pt x="334" y="4188"/>
                  </a:lnTo>
                  <a:lnTo>
                    <a:pt x="328" y="4190"/>
                  </a:lnTo>
                  <a:lnTo>
                    <a:pt x="321" y="4190"/>
                  </a:lnTo>
                  <a:lnTo>
                    <a:pt x="317" y="4188"/>
                  </a:lnTo>
                  <a:lnTo>
                    <a:pt x="315" y="4184"/>
                  </a:lnTo>
                  <a:lnTo>
                    <a:pt x="314" y="4174"/>
                  </a:lnTo>
                  <a:lnTo>
                    <a:pt x="313" y="4167"/>
                  </a:lnTo>
                  <a:lnTo>
                    <a:pt x="308" y="4160"/>
                  </a:lnTo>
                  <a:lnTo>
                    <a:pt x="298" y="4152"/>
                  </a:lnTo>
                  <a:lnTo>
                    <a:pt x="290" y="4144"/>
                  </a:lnTo>
                  <a:lnTo>
                    <a:pt x="291" y="4138"/>
                  </a:lnTo>
                  <a:lnTo>
                    <a:pt x="294" y="4134"/>
                  </a:lnTo>
                  <a:lnTo>
                    <a:pt x="301" y="4127"/>
                  </a:lnTo>
                  <a:lnTo>
                    <a:pt x="311" y="4117"/>
                  </a:lnTo>
                  <a:lnTo>
                    <a:pt x="318" y="4104"/>
                  </a:lnTo>
                  <a:lnTo>
                    <a:pt x="330" y="4089"/>
                  </a:lnTo>
                  <a:lnTo>
                    <a:pt x="344" y="4082"/>
                  </a:lnTo>
                  <a:lnTo>
                    <a:pt x="353" y="4079"/>
                  </a:lnTo>
                  <a:lnTo>
                    <a:pt x="358" y="4079"/>
                  </a:lnTo>
                  <a:lnTo>
                    <a:pt x="368" y="4079"/>
                  </a:lnTo>
                  <a:lnTo>
                    <a:pt x="367" y="4078"/>
                  </a:lnTo>
                  <a:lnTo>
                    <a:pt x="367" y="4078"/>
                  </a:lnTo>
                  <a:lnTo>
                    <a:pt x="390" y="4046"/>
                  </a:lnTo>
                  <a:lnTo>
                    <a:pt x="396" y="4038"/>
                  </a:lnTo>
                  <a:lnTo>
                    <a:pt x="398" y="4036"/>
                  </a:lnTo>
                  <a:lnTo>
                    <a:pt x="398" y="4036"/>
                  </a:lnTo>
                  <a:lnTo>
                    <a:pt x="403" y="4033"/>
                  </a:lnTo>
                  <a:lnTo>
                    <a:pt x="406" y="4031"/>
                  </a:lnTo>
                  <a:lnTo>
                    <a:pt x="409" y="4028"/>
                  </a:lnTo>
                  <a:lnTo>
                    <a:pt x="409" y="4023"/>
                  </a:lnTo>
                  <a:lnTo>
                    <a:pt x="410" y="4019"/>
                  </a:lnTo>
                  <a:lnTo>
                    <a:pt x="409" y="4015"/>
                  </a:lnTo>
                  <a:lnTo>
                    <a:pt x="404" y="4003"/>
                  </a:lnTo>
                  <a:lnTo>
                    <a:pt x="404" y="4003"/>
                  </a:lnTo>
                  <a:lnTo>
                    <a:pt x="403" y="3999"/>
                  </a:lnTo>
                  <a:lnTo>
                    <a:pt x="404" y="3999"/>
                  </a:lnTo>
                  <a:lnTo>
                    <a:pt x="406" y="3998"/>
                  </a:lnTo>
                  <a:lnTo>
                    <a:pt x="410" y="3998"/>
                  </a:lnTo>
                  <a:lnTo>
                    <a:pt x="417" y="4001"/>
                  </a:lnTo>
                  <a:lnTo>
                    <a:pt x="417" y="4001"/>
                  </a:lnTo>
                  <a:lnTo>
                    <a:pt x="421" y="4001"/>
                  </a:lnTo>
                  <a:lnTo>
                    <a:pt x="429" y="3996"/>
                  </a:lnTo>
                  <a:lnTo>
                    <a:pt x="437" y="3991"/>
                  </a:lnTo>
                  <a:lnTo>
                    <a:pt x="447" y="3982"/>
                  </a:lnTo>
                  <a:lnTo>
                    <a:pt x="447" y="3982"/>
                  </a:lnTo>
                  <a:lnTo>
                    <a:pt x="454" y="3972"/>
                  </a:lnTo>
                  <a:lnTo>
                    <a:pt x="457" y="3963"/>
                  </a:lnTo>
                  <a:lnTo>
                    <a:pt x="459" y="3958"/>
                  </a:lnTo>
                  <a:lnTo>
                    <a:pt x="456" y="3952"/>
                  </a:lnTo>
                  <a:lnTo>
                    <a:pt x="456" y="3952"/>
                  </a:lnTo>
                  <a:lnTo>
                    <a:pt x="443" y="3938"/>
                  </a:lnTo>
                  <a:lnTo>
                    <a:pt x="437" y="3935"/>
                  </a:lnTo>
                  <a:lnTo>
                    <a:pt x="434" y="3933"/>
                  </a:lnTo>
                  <a:lnTo>
                    <a:pt x="434" y="3933"/>
                  </a:lnTo>
                  <a:lnTo>
                    <a:pt x="436" y="3919"/>
                  </a:lnTo>
                  <a:lnTo>
                    <a:pt x="434" y="3907"/>
                  </a:lnTo>
                  <a:lnTo>
                    <a:pt x="433" y="3905"/>
                  </a:lnTo>
                  <a:lnTo>
                    <a:pt x="431" y="3902"/>
                  </a:lnTo>
                  <a:lnTo>
                    <a:pt x="429" y="3899"/>
                  </a:lnTo>
                  <a:lnTo>
                    <a:pt x="426" y="3899"/>
                  </a:lnTo>
                  <a:lnTo>
                    <a:pt x="426" y="3899"/>
                  </a:lnTo>
                  <a:lnTo>
                    <a:pt x="421" y="3897"/>
                  </a:lnTo>
                  <a:lnTo>
                    <a:pt x="420" y="3896"/>
                  </a:lnTo>
                  <a:lnTo>
                    <a:pt x="419" y="3893"/>
                  </a:lnTo>
                  <a:lnTo>
                    <a:pt x="419" y="3889"/>
                  </a:lnTo>
                  <a:lnTo>
                    <a:pt x="423" y="3879"/>
                  </a:lnTo>
                  <a:lnTo>
                    <a:pt x="431" y="3863"/>
                  </a:lnTo>
                  <a:lnTo>
                    <a:pt x="431" y="3863"/>
                  </a:lnTo>
                  <a:lnTo>
                    <a:pt x="436" y="3857"/>
                  </a:lnTo>
                  <a:lnTo>
                    <a:pt x="437" y="3852"/>
                  </a:lnTo>
                  <a:lnTo>
                    <a:pt x="439" y="3844"/>
                  </a:lnTo>
                  <a:lnTo>
                    <a:pt x="437" y="3839"/>
                  </a:lnTo>
                  <a:lnTo>
                    <a:pt x="436" y="3830"/>
                  </a:lnTo>
                  <a:lnTo>
                    <a:pt x="433" y="3823"/>
                  </a:lnTo>
                  <a:lnTo>
                    <a:pt x="429" y="3814"/>
                  </a:lnTo>
                  <a:lnTo>
                    <a:pt x="423" y="3806"/>
                  </a:lnTo>
                  <a:lnTo>
                    <a:pt x="423" y="3806"/>
                  </a:lnTo>
                  <a:lnTo>
                    <a:pt x="419" y="3787"/>
                  </a:lnTo>
                  <a:lnTo>
                    <a:pt x="414" y="3774"/>
                  </a:lnTo>
                  <a:lnTo>
                    <a:pt x="411" y="3766"/>
                  </a:lnTo>
                  <a:lnTo>
                    <a:pt x="410" y="3764"/>
                  </a:lnTo>
                  <a:lnTo>
                    <a:pt x="409" y="3763"/>
                  </a:lnTo>
                  <a:lnTo>
                    <a:pt x="409" y="3763"/>
                  </a:lnTo>
                  <a:lnTo>
                    <a:pt x="391" y="3750"/>
                  </a:lnTo>
                  <a:lnTo>
                    <a:pt x="388" y="3747"/>
                  </a:lnTo>
                  <a:lnTo>
                    <a:pt x="387" y="3746"/>
                  </a:lnTo>
                  <a:lnTo>
                    <a:pt x="387" y="3746"/>
                  </a:lnTo>
                  <a:lnTo>
                    <a:pt x="391" y="3733"/>
                  </a:lnTo>
                  <a:lnTo>
                    <a:pt x="393" y="3724"/>
                  </a:lnTo>
                  <a:lnTo>
                    <a:pt x="393" y="3717"/>
                  </a:lnTo>
                  <a:lnTo>
                    <a:pt x="393" y="3711"/>
                  </a:lnTo>
                  <a:lnTo>
                    <a:pt x="393" y="3711"/>
                  </a:lnTo>
                  <a:lnTo>
                    <a:pt x="390" y="3707"/>
                  </a:lnTo>
                  <a:lnTo>
                    <a:pt x="371" y="3703"/>
                  </a:lnTo>
                  <a:lnTo>
                    <a:pt x="358" y="3694"/>
                  </a:lnTo>
                  <a:lnTo>
                    <a:pt x="360" y="3680"/>
                  </a:lnTo>
                  <a:lnTo>
                    <a:pt x="353" y="3674"/>
                  </a:lnTo>
                  <a:lnTo>
                    <a:pt x="323" y="3663"/>
                  </a:lnTo>
                  <a:lnTo>
                    <a:pt x="305" y="3661"/>
                  </a:lnTo>
                  <a:lnTo>
                    <a:pt x="295" y="3667"/>
                  </a:lnTo>
                  <a:lnTo>
                    <a:pt x="287" y="3670"/>
                  </a:lnTo>
                  <a:lnTo>
                    <a:pt x="278" y="3670"/>
                  </a:lnTo>
                  <a:lnTo>
                    <a:pt x="277" y="3668"/>
                  </a:lnTo>
                  <a:lnTo>
                    <a:pt x="275" y="3665"/>
                  </a:lnTo>
                  <a:lnTo>
                    <a:pt x="272" y="3663"/>
                  </a:lnTo>
                  <a:lnTo>
                    <a:pt x="270" y="3663"/>
                  </a:lnTo>
                  <a:lnTo>
                    <a:pt x="261" y="3663"/>
                  </a:lnTo>
                  <a:lnTo>
                    <a:pt x="258" y="3664"/>
                  </a:lnTo>
                  <a:lnTo>
                    <a:pt x="258" y="3667"/>
                  </a:lnTo>
                  <a:lnTo>
                    <a:pt x="258" y="3673"/>
                  </a:lnTo>
                  <a:lnTo>
                    <a:pt x="255" y="3673"/>
                  </a:lnTo>
                  <a:lnTo>
                    <a:pt x="252" y="3671"/>
                  </a:lnTo>
                  <a:lnTo>
                    <a:pt x="252" y="3667"/>
                  </a:lnTo>
                  <a:lnTo>
                    <a:pt x="250" y="3665"/>
                  </a:lnTo>
                  <a:lnTo>
                    <a:pt x="245" y="3665"/>
                  </a:lnTo>
                  <a:lnTo>
                    <a:pt x="241" y="3664"/>
                  </a:lnTo>
                  <a:lnTo>
                    <a:pt x="241" y="3663"/>
                  </a:lnTo>
                  <a:lnTo>
                    <a:pt x="241" y="3654"/>
                  </a:lnTo>
                  <a:lnTo>
                    <a:pt x="242" y="3651"/>
                  </a:lnTo>
                  <a:lnTo>
                    <a:pt x="242" y="3648"/>
                  </a:lnTo>
                  <a:lnTo>
                    <a:pt x="240" y="3651"/>
                  </a:lnTo>
                  <a:lnTo>
                    <a:pt x="237" y="3651"/>
                  </a:lnTo>
                  <a:lnTo>
                    <a:pt x="229" y="3650"/>
                  </a:lnTo>
                  <a:lnTo>
                    <a:pt x="227" y="3647"/>
                  </a:lnTo>
                  <a:lnTo>
                    <a:pt x="227" y="3642"/>
                  </a:lnTo>
                  <a:lnTo>
                    <a:pt x="231" y="3640"/>
                  </a:lnTo>
                  <a:lnTo>
                    <a:pt x="231" y="3635"/>
                  </a:lnTo>
                  <a:lnTo>
                    <a:pt x="225" y="3630"/>
                  </a:lnTo>
                  <a:lnTo>
                    <a:pt x="224" y="3622"/>
                  </a:lnTo>
                  <a:lnTo>
                    <a:pt x="219" y="3614"/>
                  </a:lnTo>
                  <a:lnTo>
                    <a:pt x="217" y="3607"/>
                  </a:lnTo>
                  <a:lnTo>
                    <a:pt x="208" y="3601"/>
                  </a:lnTo>
                  <a:lnTo>
                    <a:pt x="195" y="3594"/>
                  </a:lnTo>
                  <a:lnTo>
                    <a:pt x="199" y="3595"/>
                  </a:lnTo>
                  <a:lnTo>
                    <a:pt x="192" y="3595"/>
                  </a:lnTo>
                  <a:lnTo>
                    <a:pt x="189" y="3600"/>
                  </a:lnTo>
                  <a:lnTo>
                    <a:pt x="189" y="3600"/>
                  </a:lnTo>
                  <a:lnTo>
                    <a:pt x="188" y="3592"/>
                  </a:lnTo>
                  <a:lnTo>
                    <a:pt x="188" y="3585"/>
                  </a:lnTo>
                  <a:lnTo>
                    <a:pt x="188" y="3585"/>
                  </a:lnTo>
                  <a:lnTo>
                    <a:pt x="188" y="3584"/>
                  </a:lnTo>
                  <a:lnTo>
                    <a:pt x="188" y="3584"/>
                  </a:lnTo>
                  <a:lnTo>
                    <a:pt x="188" y="3582"/>
                  </a:lnTo>
                  <a:lnTo>
                    <a:pt x="188" y="3582"/>
                  </a:lnTo>
                  <a:lnTo>
                    <a:pt x="188" y="3582"/>
                  </a:lnTo>
                  <a:lnTo>
                    <a:pt x="189" y="3581"/>
                  </a:lnTo>
                  <a:lnTo>
                    <a:pt x="189" y="3581"/>
                  </a:lnTo>
                  <a:lnTo>
                    <a:pt x="191" y="3581"/>
                  </a:lnTo>
                  <a:lnTo>
                    <a:pt x="191" y="3581"/>
                  </a:lnTo>
                  <a:lnTo>
                    <a:pt x="191" y="3579"/>
                  </a:lnTo>
                  <a:lnTo>
                    <a:pt x="192" y="3579"/>
                  </a:lnTo>
                  <a:lnTo>
                    <a:pt x="192" y="3579"/>
                  </a:lnTo>
                  <a:lnTo>
                    <a:pt x="194" y="3575"/>
                  </a:lnTo>
                  <a:lnTo>
                    <a:pt x="195" y="3574"/>
                  </a:lnTo>
                  <a:lnTo>
                    <a:pt x="195" y="3574"/>
                  </a:lnTo>
                  <a:lnTo>
                    <a:pt x="195" y="3572"/>
                  </a:lnTo>
                  <a:lnTo>
                    <a:pt x="195" y="3572"/>
                  </a:lnTo>
                  <a:lnTo>
                    <a:pt x="197" y="3572"/>
                  </a:lnTo>
                  <a:lnTo>
                    <a:pt x="197" y="3571"/>
                  </a:lnTo>
                  <a:lnTo>
                    <a:pt x="197" y="3571"/>
                  </a:lnTo>
                  <a:lnTo>
                    <a:pt x="197" y="3569"/>
                  </a:lnTo>
                  <a:lnTo>
                    <a:pt x="197" y="3569"/>
                  </a:lnTo>
                  <a:lnTo>
                    <a:pt x="198" y="3569"/>
                  </a:lnTo>
                  <a:lnTo>
                    <a:pt x="198" y="3568"/>
                  </a:lnTo>
                  <a:lnTo>
                    <a:pt x="199" y="3567"/>
                  </a:lnTo>
                  <a:lnTo>
                    <a:pt x="199" y="3567"/>
                  </a:lnTo>
                  <a:lnTo>
                    <a:pt x="212" y="3567"/>
                  </a:lnTo>
                  <a:lnTo>
                    <a:pt x="221" y="3567"/>
                  </a:lnTo>
                  <a:lnTo>
                    <a:pt x="228" y="3562"/>
                  </a:lnTo>
                  <a:lnTo>
                    <a:pt x="240" y="3557"/>
                  </a:lnTo>
                  <a:lnTo>
                    <a:pt x="247" y="3545"/>
                  </a:lnTo>
                  <a:lnTo>
                    <a:pt x="261" y="3544"/>
                  </a:lnTo>
                  <a:lnTo>
                    <a:pt x="274" y="3534"/>
                  </a:lnTo>
                  <a:lnTo>
                    <a:pt x="270" y="3521"/>
                  </a:lnTo>
                  <a:lnTo>
                    <a:pt x="267" y="3509"/>
                  </a:lnTo>
                  <a:lnTo>
                    <a:pt x="267" y="3495"/>
                  </a:lnTo>
                  <a:lnTo>
                    <a:pt x="265" y="3495"/>
                  </a:lnTo>
                  <a:lnTo>
                    <a:pt x="264" y="3492"/>
                  </a:lnTo>
                  <a:lnTo>
                    <a:pt x="260" y="3486"/>
                  </a:lnTo>
                  <a:lnTo>
                    <a:pt x="257" y="3476"/>
                  </a:lnTo>
                  <a:lnTo>
                    <a:pt x="254" y="3471"/>
                  </a:lnTo>
                  <a:lnTo>
                    <a:pt x="254" y="3462"/>
                  </a:lnTo>
                  <a:lnTo>
                    <a:pt x="250" y="3458"/>
                  </a:lnTo>
                  <a:lnTo>
                    <a:pt x="244" y="3452"/>
                  </a:lnTo>
                  <a:lnTo>
                    <a:pt x="238" y="3443"/>
                  </a:lnTo>
                  <a:lnTo>
                    <a:pt x="231" y="3442"/>
                  </a:lnTo>
                  <a:lnTo>
                    <a:pt x="228" y="3438"/>
                  </a:lnTo>
                  <a:lnTo>
                    <a:pt x="219" y="3433"/>
                  </a:lnTo>
                  <a:lnTo>
                    <a:pt x="218" y="3431"/>
                  </a:lnTo>
                  <a:lnTo>
                    <a:pt x="218" y="3428"/>
                  </a:lnTo>
                  <a:lnTo>
                    <a:pt x="221" y="3426"/>
                  </a:lnTo>
                  <a:lnTo>
                    <a:pt x="222" y="3423"/>
                  </a:lnTo>
                  <a:lnTo>
                    <a:pt x="222" y="3419"/>
                  </a:lnTo>
                  <a:lnTo>
                    <a:pt x="222" y="3413"/>
                  </a:lnTo>
                  <a:lnTo>
                    <a:pt x="217" y="3409"/>
                  </a:lnTo>
                  <a:lnTo>
                    <a:pt x="215" y="3408"/>
                  </a:lnTo>
                  <a:lnTo>
                    <a:pt x="215" y="3402"/>
                  </a:lnTo>
                  <a:lnTo>
                    <a:pt x="215" y="3399"/>
                  </a:lnTo>
                  <a:lnTo>
                    <a:pt x="217" y="3395"/>
                  </a:lnTo>
                  <a:lnTo>
                    <a:pt x="229" y="3398"/>
                  </a:lnTo>
                  <a:lnTo>
                    <a:pt x="232" y="3389"/>
                  </a:lnTo>
                  <a:lnTo>
                    <a:pt x="235" y="3389"/>
                  </a:lnTo>
                  <a:lnTo>
                    <a:pt x="237" y="3389"/>
                  </a:lnTo>
                  <a:lnTo>
                    <a:pt x="237" y="3388"/>
                  </a:lnTo>
                  <a:lnTo>
                    <a:pt x="237" y="3385"/>
                  </a:lnTo>
                  <a:lnTo>
                    <a:pt x="232" y="3383"/>
                  </a:lnTo>
                  <a:lnTo>
                    <a:pt x="231" y="3382"/>
                  </a:lnTo>
                  <a:lnTo>
                    <a:pt x="232" y="3378"/>
                  </a:lnTo>
                  <a:lnTo>
                    <a:pt x="235" y="3366"/>
                  </a:lnTo>
                  <a:lnTo>
                    <a:pt x="238" y="3353"/>
                  </a:lnTo>
                  <a:lnTo>
                    <a:pt x="240" y="3345"/>
                  </a:lnTo>
                  <a:lnTo>
                    <a:pt x="247" y="3327"/>
                  </a:lnTo>
                  <a:lnTo>
                    <a:pt x="225" y="3323"/>
                  </a:lnTo>
                  <a:lnTo>
                    <a:pt x="228" y="3317"/>
                  </a:lnTo>
                  <a:lnTo>
                    <a:pt x="232" y="3316"/>
                  </a:lnTo>
                  <a:lnTo>
                    <a:pt x="235" y="3307"/>
                  </a:lnTo>
                  <a:lnTo>
                    <a:pt x="238" y="3307"/>
                  </a:lnTo>
                  <a:lnTo>
                    <a:pt x="247" y="3309"/>
                  </a:lnTo>
                  <a:lnTo>
                    <a:pt x="252" y="3307"/>
                  </a:lnTo>
                  <a:lnTo>
                    <a:pt x="268" y="3269"/>
                  </a:lnTo>
                  <a:lnTo>
                    <a:pt x="274" y="3272"/>
                  </a:lnTo>
                  <a:lnTo>
                    <a:pt x="278" y="3273"/>
                  </a:lnTo>
                  <a:lnTo>
                    <a:pt x="287" y="3266"/>
                  </a:lnTo>
                  <a:lnTo>
                    <a:pt x="304" y="3267"/>
                  </a:lnTo>
                  <a:lnTo>
                    <a:pt x="300" y="3259"/>
                  </a:lnTo>
                  <a:lnTo>
                    <a:pt x="297" y="3256"/>
                  </a:lnTo>
                  <a:lnTo>
                    <a:pt x="297" y="3254"/>
                  </a:lnTo>
                  <a:lnTo>
                    <a:pt x="295" y="3250"/>
                  </a:lnTo>
                  <a:lnTo>
                    <a:pt x="297" y="3247"/>
                  </a:lnTo>
                  <a:lnTo>
                    <a:pt x="300" y="3249"/>
                  </a:lnTo>
                  <a:lnTo>
                    <a:pt x="304" y="3252"/>
                  </a:lnTo>
                  <a:lnTo>
                    <a:pt x="308" y="3252"/>
                  </a:lnTo>
                  <a:lnTo>
                    <a:pt x="313" y="3249"/>
                  </a:lnTo>
                  <a:lnTo>
                    <a:pt x="317" y="3246"/>
                  </a:lnTo>
                  <a:lnTo>
                    <a:pt x="320" y="3239"/>
                  </a:lnTo>
                  <a:lnTo>
                    <a:pt x="320" y="3230"/>
                  </a:lnTo>
                  <a:lnTo>
                    <a:pt x="320" y="3223"/>
                  </a:lnTo>
                  <a:lnTo>
                    <a:pt x="323" y="3210"/>
                  </a:lnTo>
                  <a:lnTo>
                    <a:pt x="314" y="3203"/>
                  </a:lnTo>
                  <a:lnTo>
                    <a:pt x="303" y="3199"/>
                  </a:lnTo>
                  <a:lnTo>
                    <a:pt x="291" y="3197"/>
                  </a:lnTo>
                  <a:lnTo>
                    <a:pt x="281" y="3191"/>
                  </a:lnTo>
                  <a:lnTo>
                    <a:pt x="271" y="3180"/>
                  </a:lnTo>
                  <a:lnTo>
                    <a:pt x="254" y="3167"/>
                  </a:lnTo>
                  <a:lnTo>
                    <a:pt x="227" y="3158"/>
                  </a:lnTo>
                  <a:lnTo>
                    <a:pt x="222" y="3153"/>
                  </a:lnTo>
                  <a:lnTo>
                    <a:pt x="222" y="3143"/>
                  </a:lnTo>
                  <a:lnTo>
                    <a:pt x="217" y="3137"/>
                  </a:lnTo>
                  <a:lnTo>
                    <a:pt x="218" y="3104"/>
                  </a:lnTo>
                  <a:lnTo>
                    <a:pt x="218" y="3088"/>
                  </a:lnTo>
                  <a:lnTo>
                    <a:pt x="224" y="3080"/>
                  </a:lnTo>
                  <a:lnTo>
                    <a:pt x="245" y="3054"/>
                  </a:lnTo>
                  <a:lnTo>
                    <a:pt x="262" y="3032"/>
                  </a:lnTo>
                  <a:lnTo>
                    <a:pt x="272" y="3028"/>
                  </a:lnTo>
                  <a:lnTo>
                    <a:pt x="313" y="3021"/>
                  </a:lnTo>
                  <a:lnTo>
                    <a:pt x="311" y="3017"/>
                  </a:lnTo>
                  <a:lnTo>
                    <a:pt x="297" y="2992"/>
                  </a:lnTo>
                  <a:lnTo>
                    <a:pt x="291" y="2982"/>
                  </a:lnTo>
                  <a:lnTo>
                    <a:pt x="291" y="2978"/>
                  </a:lnTo>
                  <a:lnTo>
                    <a:pt x="291" y="2972"/>
                  </a:lnTo>
                  <a:lnTo>
                    <a:pt x="237" y="2969"/>
                  </a:lnTo>
                  <a:lnTo>
                    <a:pt x="231" y="2951"/>
                  </a:lnTo>
                  <a:lnTo>
                    <a:pt x="222" y="2901"/>
                  </a:lnTo>
                  <a:lnTo>
                    <a:pt x="219" y="2896"/>
                  </a:lnTo>
                  <a:lnTo>
                    <a:pt x="191" y="2888"/>
                  </a:lnTo>
                  <a:lnTo>
                    <a:pt x="189" y="2855"/>
                  </a:lnTo>
                  <a:lnTo>
                    <a:pt x="156" y="2838"/>
                  </a:lnTo>
                  <a:lnTo>
                    <a:pt x="112" y="2826"/>
                  </a:lnTo>
                  <a:lnTo>
                    <a:pt x="98" y="2828"/>
                  </a:lnTo>
                  <a:lnTo>
                    <a:pt x="65" y="2828"/>
                  </a:lnTo>
                  <a:lnTo>
                    <a:pt x="18" y="2816"/>
                  </a:lnTo>
                  <a:lnTo>
                    <a:pt x="0" y="2809"/>
                  </a:lnTo>
                  <a:lnTo>
                    <a:pt x="0" y="2800"/>
                  </a:lnTo>
                  <a:lnTo>
                    <a:pt x="0" y="2789"/>
                  </a:lnTo>
                  <a:lnTo>
                    <a:pt x="5" y="2785"/>
                  </a:lnTo>
                  <a:lnTo>
                    <a:pt x="6" y="2776"/>
                  </a:lnTo>
                  <a:lnTo>
                    <a:pt x="9" y="2765"/>
                  </a:lnTo>
                  <a:lnTo>
                    <a:pt x="29" y="2740"/>
                  </a:lnTo>
                  <a:lnTo>
                    <a:pt x="7" y="2654"/>
                  </a:lnTo>
                  <a:lnTo>
                    <a:pt x="132" y="2607"/>
                  </a:lnTo>
                  <a:lnTo>
                    <a:pt x="135" y="2606"/>
                  </a:lnTo>
                  <a:lnTo>
                    <a:pt x="132" y="2596"/>
                  </a:lnTo>
                  <a:lnTo>
                    <a:pt x="134" y="2591"/>
                  </a:lnTo>
                  <a:lnTo>
                    <a:pt x="135" y="2588"/>
                  </a:lnTo>
                  <a:lnTo>
                    <a:pt x="149" y="2584"/>
                  </a:lnTo>
                  <a:lnTo>
                    <a:pt x="156" y="2583"/>
                  </a:lnTo>
                  <a:lnTo>
                    <a:pt x="159" y="2580"/>
                  </a:lnTo>
                  <a:lnTo>
                    <a:pt x="162" y="2576"/>
                  </a:lnTo>
                  <a:lnTo>
                    <a:pt x="154" y="2563"/>
                  </a:lnTo>
                  <a:lnTo>
                    <a:pt x="141" y="2561"/>
                  </a:lnTo>
                  <a:lnTo>
                    <a:pt x="128" y="2543"/>
                  </a:lnTo>
                  <a:lnTo>
                    <a:pt x="121" y="2541"/>
                  </a:lnTo>
                  <a:lnTo>
                    <a:pt x="109" y="2538"/>
                  </a:lnTo>
                  <a:lnTo>
                    <a:pt x="102" y="2524"/>
                  </a:lnTo>
                  <a:lnTo>
                    <a:pt x="95" y="2518"/>
                  </a:lnTo>
                  <a:lnTo>
                    <a:pt x="91" y="2517"/>
                  </a:lnTo>
                  <a:lnTo>
                    <a:pt x="81" y="2514"/>
                  </a:lnTo>
                  <a:lnTo>
                    <a:pt x="78" y="2511"/>
                  </a:lnTo>
                  <a:lnTo>
                    <a:pt x="71" y="2498"/>
                  </a:lnTo>
                  <a:lnTo>
                    <a:pt x="66" y="2484"/>
                  </a:lnTo>
                  <a:lnTo>
                    <a:pt x="66" y="2470"/>
                  </a:lnTo>
                  <a:lnTo>
                    <a:pt x="71" y="2448"/>
                  </a:lnTo>
                  <a:lnTo>
                    <a:pt x="78" y="2431"/>
                  </a:lnTo>
                  <a:lnTo>
                    <a:pt x="86" y="2424"/>
                  </a:lnTo>
                  <a:lnTo>
                    <a:pt x="99" y="2415"/>
                  </a:lnTo>
                  <a:lnTo>
                    <a:pt x="112" y="2408"/>
                  </a:lnTo>
                  <a:lnTo>
                    <a:pt x="115" y="2396"/>
                  </a:lnTo>
                  <a:lnTo>
                    <a:pt x="119" y="2391"/>
                  </a:lnTo>
                  <a:lnTo>
                    <a:pt x="122" y="2389"/>
                  </a:lnTo>
                  <a:lnTo>
                    <a:pt x="128" y="2389"/>
                  </a:lnTo>
                  <a:lnTo>
                    <a:pt x="131" y="2384"/>
                  </a:lnTo>
                  <a:lnTo>
                    <a:pt x="134" y="2375"/>
                  </a:lnTo>
                  <a:lnTo>
                    <a:pt x="148" y="2358"/>
                  </a:lnTo>
                  <a:lnTo>
                    <a:pt x="156" y="2352"/>
                  </a:lnTo>
                  <a:lnTo>
                    <a:pt x="161" y="2352"/>
                  </a:lnTo>
                  <a:lnTo>
                    <a:pt x="168" y="2351"/>
                  </a:lnTo>
                  <a:lnTo>
                    <a:pt x="178" y="2339"/>
                  </a:lnTo>
                  <a:lnTo>
                    <a:pt x="182" y="2333"/>
                  </a:lnTo>
                  <a:lnTo>
                    <a:pt x="184" y="2329"/>
                  </a:lnTo>
                  <a:lnTo>
                    <a:pt x="187" y="2306"/>
                  </a:lnTo>
                  <a:lnTo>
                    <a:pt x="198" y="2289"/>
                  </a:lnTo>
                  <a:lnTo>
                    <a:pt x="187" y="2275"/>
                  </a:lnTo>
                  <a:lnTo>
                    <a:pt x="188" y="2258"/>
                  </a:lnTo>
                  <a:lnTo>
                    <a:pt x="175" y="2242"/>
                  </a:lnTo>
                  <a:lnTo>
                    <a:pt x="192" y="2222"/>
                  </a:lnTo>
                  <a:lnTo>
                    <a:pt x="192" y="2210"/>
                  </a:lnTo>
                  <a:lnTo>
                    <a:pt x="194" y="2199"/>
                  </a:lnTo>
                  <a:lnTo>
                    <a:pt x="235" y="2176"/>
                  </a:lnTo>
                  <a:lnTo>
                    <a:pt x="244" y="2173"/>
                  </a:lnTo>
                  <a:lnTo>
                    <a:pt x="242" y="2162"/>
                  </a:lnTo>
                  <a:lnTo>
                    <a:pt x="247" y="2156"/>
                  </a:lnTo>
                  <a:lnTo>
                    <a:pt x="251" y="2150"/>
                  </a:lnTo>
                  <a:lnTo>
                    <a:pt x="248" y="2129"/>
                  </a:lnTo>
                  <a:lnTo>
                    <a:pt x="245" y="2110"/>
                  </a:lnTo>
                  <a:lnTo>
                    <a:pt x="248" y="2101"/>
                  </a:lnTo>
                  <a:lnTo>
                    <a:pt x="254" y="2093"/>
                  </a:lnTo>
                  <a:lnTo>
                    <a:pt x="255" y="2086"/>
                  </a:lnTo>
                  <a:lnTo>
                    <a:pt x="254" y="2079"/>
                  </a:lnTo>
                  <a:lnTo>
                    <a:pt x="255" y="2067"/>
                  </a:lnTo>
                  <a:lnTo>
                    <a:pt x="254" y="2057"/>
                  </a:lnTo>
                  <a:lnTo>
                    <a:pt x="248" y="2048"/>
                  </a:lnTo>
                  <a:lnTo>
                    <a:pt x="245" y="2047"/>
                  </a:lnTo>
                  <a:lnTo>
                    <a:pt x="241" y="2044"/>
                  </a:lnTo>
                  <a:lnTo>
                    <a:pt x="222" y="2047"/>
                  </a:lnTo>
                  <a:lnTo>
                    <a:pt x="212" y="2037"/>
                  </a:lnTo>
                  <a:lnTo>
                    <a:pt x="204" y="2016"/>
                  </a:lnTo>
                  <a:lnTo>
                    <a:pt x="172" y="2013"/>
                  </a:lnTo>
                  <a:lnTo>
                    <a:pt x="168" y="1984"/>
                  </a:lnTo>
                  <a:lnTo>
                    <a:pt x="169" y="1985"/>
                  </a:lnTo>
                  <a:lnTo>
                    <a:pt x="194" y="1965"/>
                  </a:lnTo>
                  <a:lnTo>
                    <a:pt x="194" y="1940"/>
                  </a:lnTo>
                  <a:lnTo>
                    <a:pt x="197" y="1930"/>
                  </a:lnTo>
                  <a:lnTo>
                    <a:pt x="194" y="1914"/>
                  </a:lnTo>
                  <a:lnTo>
                    <a:pt x="181" y="1905"/>
                  </a:lnTo>
                  <a:lnTo>
                    <a:pt x="189" y="1902"/>
                  </a:lnTo>
                  <a:lnTo>
                    <a:pt x="191" y="1895"/>
                  </a:lnTo>
                  <a:lnTo>
                    <a:pt x="187" y="1891"/>
                  </a:lnTo>
                  <a:lnTo>
                    <a:pt x="181" y="1881"/>
                  </a:lnTo>
                  <a:lnTo>
                    <a:pt x="172" y="1871"/>
                  </a:lnTo>
                  <a:lnTo>
                    <a:pt x="161" y="1868"/>
                  </a:lnTo>
                  <a:lnTo>
                    <a:pt x="146" y="1869"/>
                  </a:lnTo>
                  <a:lnTo>
                    <a:pt x="148" y="1862"/>
                  </a:lnTo>
                  <a:lnTo>
                    <a:pt x="149" y="1852"/>
                  </a:lnTo>
                  <a:lnTo>
                    <a:pt x="148" y="1841"/>
                  </a:lnTo>
                  <a:lnTo>
                    <a:pt x="145" y="1835"/>
                  </a:lnTo>
                  <a:lnTo>
                    <a:pt x="141" y="1826"/>
                  </a:lnTo>
                  <a:lnTo>
                    <a:pt x="142" y="1822"/>
                  </a:lnTo>
                  <a:lnTo>
                    <a:pt x="146" y="1819"/>
                  </a:lnTo>
                  <a:lnTo>
                    <a:pt x="151" y="1814"/>
                  </a:lnTo>
                  <a:lnTo>
                    <a:pt x="158" y="1808"/>
                  </a:lnTo>
                  <a:lnTo>
                    <a:pt x="161" y="1805"/>
                  </a:lnTo>
                  <a:lnTo>
                    <a:pt x="161" y="1788"/>
                  </a:lnTo>
                  <a:lnTo>
                    <a:pt x="161" y="1773"/>
                  </a:lnTo>
                  <a:lnTo>
                    <a:pt x="158" y="1769"/>
                  </a:lnTo>
                  <a:lnTo>
                    <a:pt x="154" y="1763"/>
                  </a:lnTo>
                  <a:lnTo>
                    <a:pt x="149" y="1759"/>
                  </a:lnTo>
                  <a:lnTo>
                    <a:pt x="148" y="1752"/>
                  </a:lnTo>
                  <a:lnTo>
                    <a:pt x="148" y="1748"/>
                  </a:lnTo>
                  <a:lnTo>
                    <a:pt x="149" y="1741"/>
                  </a:lnTo>
                  <a:lnTo>
                    <a:pt x="151" y="1732"/>
                  </a:lnTo>
                  <a:lnTo>
                    <a:pt x="155" y="1728"/>
                  </a:lnTo>
                  <a:lnTo>
                    <a:pt x="159" y="1725"/>
                  </a:lnTo>
                  <a:lnTo>
                    <a:pt x="165" y="1723"/>
                  </a:lnTo>
                  <a:lnTo>
                    <a:pt x="169" y="1722"/>
                  </a:lnTo>
                  <a:lnTo>
                    <a:pt x="171" y="1718"/>
                  </a:lnTo>
                  <a:lnTo>
                    <a:pt x="172" y="1715"/>
                  </a:lnTo>
                  <a:lnTo>
                    <a:pt x="168" y="1702"/>
                  </a:lnTo>
                  <a:lnTo>
                    <a:pt x="164" y="1686"/>
                  </a:lnTo>
                  <a:lnTo>
                    <a:pt x="156" y="1672"/>
                  </a:lnTo>
                  <a:lnTo>
                    <a:pt x="141" y="1646"/>
                  </a:lnTo>
                  <a:lnTo>
                    <a:pt x="122" y="1616"/>
                  </a:lnTo>
                  <a:lnTo>
                    <a:pt x="119" y="1610"/>
                  </a:lnTo>
                  <a:lnTo>
                    <a:pt x="136" y="1597"/>
                  </a:lnTo>
                  <a:lnTo>
                    <a:pt x="136" y="1582"/>
                  </a:lnTo>
                  <a:lnTo>
                    <a:pt x="145" y="1566"/>
                  </a:lnTo>
                  <a:lnTo>
                    <a:pt x="138" y="1551"/>
                  </a:lnTo>
                  <a:lnTo>
                    <a:pt x="135" y="1527"/>
                  </a:lnTo>
                  <a:lnTo>
                    <a:pt x="125" y="1498"/>
                  </a:lnTo>
                  <a:lnTo>
                    <a:pt x="128" y="1493"/>
                  </a:lnTo>
                  <a:lnTo>
                    <a:pt x="131" y="1493"/>
                  </a:lnTo>
                  <a:lnTo>
                    <a:pt x="134" y="1494"/>
                  </a:lnTo>
                  <a:lnTo>
                    <a:pt x="138" y="1496"/>
                  </a:lnTo>
                  <a:lnTo>
                    <a:pt x="144" y="1496"/>
                  </a:lnTo>
                  <a:lnTo>
                    <a:pt x="145" y="1497"/>
                  </a:lnTo>
                  <a:lnTo>
                    <a:pt x="146" y="1500"/>
                  </a:lnTo>
                  <a:lnTo>
                    <a:pt x="149" y="1501"/>
                  </a:lnTo>
                  <a:lnTo>
                    <a:pt x="152" y="1501"/>
                  </a:lnTo>
                  <a:lnTo>
                    <a:pt x="161" y="1504"/>
                  </a:lnTo>
                  <a:lnTo>
                    <a:pt x="166" y="1503"/>
                  </a:lnTo>
                  <a:lnTo>
                    <a:pt x="169" y="1498"/>
                  </a:lnTo>
                  <a:lnTo>
                    <a:pt x="171" y="1496"/>
                  </a:lnTo>
                  <a:lnTo>
                    <a:pt x="171" y="1488"/>
                  </a:lnTo>
                  <a:lnTo>
                    <a:pt x="171" y="1483"/>
                  </a:lnTo>
                  <a:lnTo>
                    <a:pt x="172" y="1477"/>
                  </a:lnTo>
                  <a:lnTo>
                    <a:pt x="175" y="1474"/>
                  </a:lnTo>
                  <a:lnTo>
                    <a:pt x="178" y="1474"/>
                  </a:lnTo>
                  <a:lnTo>
                    <a:pt x="184" y="1473"/>
                  </a:lnTo>
                  <a:lnTo>
                    <a:pt x="185" y="1471"/>
                  </a:lnTo>
                  <a:lnTo>
                    <a:pt x="187" y="1466"/>
                  </a:lnTo>
                  <a:lnTo>
                    <a:pt x="188" y="1460"/>
                  </a:lnTo>
                  <a:lnTo>
                    <a:pt x="189" y="1456"/>
                  </a:lnTo>
                  <a:lnTo>
                    <a:pt x="195" y="1456"/>
                  </a:lnTo>
                  <a:lnTo>
                    <a:pt x="199" y="1454"/>
                  </a:lnTo>
                  <a:lnTo>
                    <a:pt x="201" y="1453"/>
                  </a:lnTo>
                  <a:lnTo>
                    <a:pt x="204" y="1445"/>
                  </a:lnTo>
                  <a:lnTo>
                    <a:pt x="207" y="1435"/>
                  </a:lnTo>
                  <a:lnTo>
                    <a:pt x="207" y="1420"/>
                  </a:lnTo>
                  <a:lnTo>
                    <a:pt x="207" y="1413"/>
                  </a:lnTo>
                  <a:lnTo>
                    <a:pt x="209" y="1408"/>
                  </a:lnTo>
                  <a:lnTo>
                    <a:pt x="217" y="1404"/>
                  </a:lnTo>
                  <a:lnTo>
                    <a:pt x="224" y="1401"/>
                  </a:lnTo>
                  <a:lnTo>
                    <a:pt x="227" y="1398"/>
                  </a:lnTo>
                  <a:lnTo>
                    <a:pt x="229" y="1391"/>
                  </a:lnTo>
                  <a:lnTo>
                    <a:pt x="229" y="1384"/>
                  </a:lnTo>
                  <a:lnTo>
                    <a:pt x="225" y="1375"/>
                  </a:lnTo>
                  <a:lnTo>
                    <a:pt x="222" y="1372"/>
                  </a:lnTo>
                  <a:lnTo>
                    <a:pt x="217" y="1367"/>
                  </a:lnTo>
                  <a:lnTo>
                    <a:pt x="215" y="1361"/>
                  </a:lnTo>
                  <a:lnTo>
                    <a:pt x="215" y="1357"/>
                  </a:lnTo>
                  <a:lnTo>
                    <a:pt x="217" y="1348"/>
                  </a:lnTo>
                  <a:lnTo>
                    <a:pt x="218" y="1341"/>
                  </a:lnTo>
                  <a:lnTo>
                    <a:pt x="215" y="1334"/>
                  </a:lnTo>
                  <a:lnTo>
                    <a:pt x="214" y="1329"/>
                  </a:lnTo>
                  <a:lnTo>
                    <a:pt x="214" y="1325"/>
                  </a:lnTo>
                  <a:lnTo>
                    <a:pt x="215" y="1322"/>
                  </a:lnTo>
                  <a:lnTo>
                    <a:pt x="221" y="1321"/>
                  </a:lnTo>
                  <a:lnTo>
                    <a:pt x="227" y="1318"/>
                  </a:lnTo>
                  <a:lnTo>
                    <a:pt x="222" y="1302"/>
                  </a:lnTo>
                  <a:lnTo>
                    <a:pt x="218" y="1302"/>
                  </a:lnTo>
                  <a:lnTo>
                    <a:pt x="209" y="1304"/>
                  </a:lnTo>
                  <a:lnTo>
                    <a:pt x="195" y="1287"/>
                  </a:lnTo>
                  <a:lnTo>
                    <a:pt x="192" y="1289"/>
                  </a:lnTo>
                  <a:lnTo>
                    <a:pt x="185" y="1281"/>
                  </a:lnTo>
                  <a:lnTo>
                    <a:pt x="197" y="1274"/>
                  </a:lnTo>
                  <a:lnTo>
                    <a:pt x="208" y="1275"/>
                  </a:lnTo>
                  <a:lnTo>
                    <a:pt x="207" y="1262"/>
                  </a:lnTo>
                  <a:lnTo>
                    <a:pt x="202" y="1256"/>
                  </a:lnTo>
                  <a:lnTo>
                    <a:pt x="199" y="1252"/>
                  </a:lnTo>
                  <a:lnTo>
                    <a:pt x="195" y="1252"/>
                  </a:lnTo>
                  <a:lnTo>
                    <a:pt x="192" y="1254"/>
                  </a:lnTo>
                  <a:lnTo>
                    <a:pt x="189" y="1261"/>
                  </a:lnTo>
                  <a:lnTo>
                    <a:pt x="187" y="1269"/>
                  </a:lnTo>
                  <a:lnTo>
                    <a:pt x="185" y="1272"/>
                  </a:lnTo>
                  <a:lnTo>
                    <a:pt x="181" y="1276"/>
                  </a:lnTo>
                  <a:lnTo>
                    <a:pt x="176" y="1278"/>
                  </a:lnTo>
                  <a:lnTo>
                    <a:pt x="172" y="1276"/>
                  </a:lnTo>
                  <a:lnTo>
                    <a:pt x="169" y="1278"/>
                  </a:lnTo>
                  <a:lnTo>
                    <a:pt x="169" y="1278"/>
                  </a:lnTo>
                  <a:lnTo>
                    <a:pt x="169" y="1274"/>
                  </a:lnTo>
                  <a:lnTo>
                    <a:pt x="168" y="1269"/>
                  </a:lnTo>
                  <a:lnTo>
                    <a:pt x="165" y="1266"/>
                  </a:lnTo>
                  <a:lnTo>
                    <a:pt x="162" y="1265"/>
                  </a:lnTo>
                  <a:lnTo>
                    <a:pt x="154" y="1261"/>
                  </a:lnTo>
                  <a:lnTo>
                    <a:pt x="142" y="1258"/>
                  </a:lnTo>
                  <a:lnTo>
                    <a:pt x="115" y="1251"/>
                  </a:lnTo>
                  <a:lnTo>
                    <a:pt x="102" y="1246"/>
                  </a:lnTo>
                  <a:lnTo>
                    <a:pt x="91" y="1239"/>
                  </a:lnTo>
                  <a:lnTo>
                    <a:pt x="91" y="1239"/>
                  </a:lnTo>
                  <a:lnTo>
                    <a:pt x="88" y="1236"/>
                  </a:lnTo>
                  <a:lnTo>
                    <a:pt x="85" y="1232"/>
                  </a:lnTo>
                  <a:lnTo>
                    <a:pt x="85" y="1221"/>
                  </a:lnTo>
                  <a:lnTo>
                    <a:pt x="83" y="1209"/>
                  </a:lnTo>
                  <a:lnTo>
                    <a:pt x="82" y="1198"/>
                  </a:lnTo>
                  <a:lnTo>
                    <a:pt x="82" y="1198"/>
                  </a:lnTo>
                  <a:lnTo>
                    <a:pt x="78" y="1186"/>
                  </a:lnTo>
                  <a:lnTo>
                    <a:pt x="72" y="1176"/>
                  </a:lnTo>
                  <a:lnTo>
                    <a:pt x="66" y="1168"/>
                  </a:lnTo>
                  <a:lnTo>
                    <a:pt x="65" y="1163"/>
                  </a:lnTo>
                  <a:lnTo>
                    <a:pt x="65" y="1159"/>
                  </a:lnTo>
                  <a:lnTo>
                    <a:pt x="62" y="1140"/>
                  </a:lnTo>
                  <a:lnTo>
                    <a:pt x="93" y="1113"/>
                  </a:lnTo>
                  <a:lnTo>
                    <a:pt x="154" y="1080"/>
                  </a:lnTo>
                  <a:lnTo>
                    <a:pt x="158" y="1083"/>
                  </a:lnTo>
                  <a:lnTo>
                    <a:pt x="159" y="1075"/>
                  </a:lnTo>
                  <a:lnTo>
                    <a:pt x="162" y="1072"/>
                  </a:lnTo>
                  <a:lnTo>
                    <a:pt x="166" y="1076"/>
                  </a:lnTo>
                  <a:lnTo>
                    <a:pt x="171" y="1073"/>
                  </a:lnTo>
                  <a:lnTo>
                    <a:pt x="174" y="1073"/>
                  </a:lnTo>
                  <a:lnTo>
                    <a:pt x="181" y="1075"/>
                  </a:lnTo>
                  <a:lnTo>
                    <a:pt x="198" y="1067"/>
                  </a:lnTo>
                  <a:lnTo>
                    <a:pt x="205" y="1013"/>
                  </a:lnTo>
                  <a:lnTo>
                    <a:pt x="207" y="997"/>
                  </a:lnTo>
                  <a:lnTo>
                    <a:pt x="208" y="987"/>
                  </a:lnTo>
                  <a:lnTo>
                    <a:pt x="208" y="981"/>
                  </a:lnTo>
                  <a:lnTo>
                    <a:pt x="208" y="977"/>
                  </a:lnTo>
                  <a:lnTo>
                    <a:pt x="205" y="976"/>
                  </a:lnTo>
                  <a:lnTo>
                    <a:pt x="201" y="974"/>
                  </a:lnTo>
                  <a:lnTo>
                    <a:pt x="198" y="973"/>
                  </a:lnTo>
                  <a:lnTo>
                    <a:pt x="189" y="967"/>
                  </a:lnTo>
                  <a:lnTo>
                    <a:pt x="184" y="963"/>
                  </a:lnTo>
                  <a:lnTo>
                    <a:pt x="176" y="953"/>
                  </a:lnTo>
                  <a:lnTo>
                    <a:pt x="175" y="943"/>
                  </a:lnTo>
                  <a:lnTo>
                    <a:pt x="172" y="933"/>
                  </a:lnTo>
                  <a:lnTo>
                    <a:pt x="168" y="927"/>
                  </a:lnTo>
                  <a:lnTo>
                    <a:pt x="165" y="924"/>
                  </a:lnTo>
                  <a:lnTo>
                    <a:pt x="158" y="920"/>
                  </a:lnTo>
                  <a:lnTo>
                    <a:pt x="156" y="918"/>
                  </a:lnTo>
                  <a:lnTo>
                    <a:pt x="156" y="914"/>
                  </a:lnTo>
                  <a:lnTo>
                    <a:pt x="158" y="907"/>
                  </a:lnTo>
                  <a:lnTo>
                    <a:pt x="162" y="903"/>
                  </a:lnTo>
                  <a:lnTo>
                    <a:pt x="168" y="898"/>
                  </a:lnTo>
                  <a:lnTo>
                    <a:pt x="171" y="896"/>
                  </a:lnTo>
                  <a:lnTo>
                    <a:pt x="172" y="890"/>
                  </a:lnTo>
                  <a:lnTo>
                    <a:pt x="172" y="883"/>
                  </a:lnTo>
                  <a:lnTo>
                    <a:pt x="174" y="880"/>
                  </a:lnTo>
                  <a:lnTo>
                    <a:pt x="176" y="878"/>
                  </a:lnTo>
                  <a:lnTo>
                    <a:pt x="181" y="877"/>
                  </a:lnTo>
                  <a:lnTo>
                    <a:pt x="198" y="887"/>
                  </a:lnTo>
                  <a:lnTo>
                    <a:pt x="218" y="871"/>
                  </a:lnTo>
                  <a:lnTo>
                    <a:pt x="231" y="840"/>
                  </a:lnTo>
                  <a:lnTo>
                    <a:pt x="201" y="811"/>
                  </a:lnTo>
                  <a:lnTo>
                    <a:pt x="168" y="777"/>
                  </a:lnTo>
                  <a:lnTo>
                    <a:pt x="168" y="745"/>
                  </a:lnTo>
                  <a:lnTo>
                    <a:pt x="171" y="744"/>
                  </a:lnTo>
                  <a:lnTo>
                    <a:pt x="171" y="739"/>
                  </a:lnTo>
                  <a:lnTo>
                    <a:pt x="172" y="739"/>
                  </a:lnTo>
                  <a:lnTo>
                    <a:pt x="175" y="741"/>
                  </a:lnTo>
                  <a:lnTo>
                    <a:pt x="178" y="742"/>
                  </a:lnTo>
                  <a:lnTo>
                    <a:pt x="187" y="747"/>
                  </a:lnTo>
                  <a:lnTo>
                    <a:pt x="197" y="751"/>
                  </a:lnTo>
                  <a:lnTo>
                    <a:pt x="204" y="754"/>
                  </a:lnTo>
                  <a:lnTo>
                    <a:pt x="209" y="757"/>
                  </a:lnTo>
                  <a:lnTo>
                    <a:pt x="214" y="757"/>
                  </a:lnTo>
                  <a:lnTo>
                    <a:pt x="218" y="758"/>
                  </a:lnTo>
                  <a:lnTo>
                    <a:pt x="222" y="764"/>
                  </a:lnTo>
                  <a:lnTo>
                    <a:pt x="225" y="772"/>
                  </a:lnTo>
                  <a:lnTo>
                    <a:pt x="228" y="780"/>
                  </a:lnTo>
                  <a:lnTo>
                    <a:pt x="232" y="790"/>
                  </a:lnTo>
                  <a:lnTo>
                    <a:pt x="237" y="797"/>
                  </a:lnTo>
                  <a:lnTo>
                    <a:pt x="242" y="804"/>
                  </a:lnTo>
                  <a:lnTo>
                    <a:pt x="248" y="808"/>
                  </a:lnTo>
                  <a:lnTo>
                    <a:pt x="261" y="818"/>
                  </a:lnTo>
                  <a:lnTo>
                    <a:pt x="267" y="822"/>
                  </a:lnTo>
                  <a:lnTo>
                    <a:pt x="270" y="825"/>
                  </a:lnTo>
                  <a:lnTo>
                    <a:pt x="270" y="831"/>
                  </a:lnTo>
                  <a:lnTo>
                    <a:pt x="268" y="834"/>
                  </a:lnTo>
                  <a:lnTo>
                    <a:pt x="267" y="834"/>
                  </a:lnTo>
                  <a:lnTo>
                    <a:pt x="267" y="831"/>
                  </a:lnTo>
                  <a:lnTo>
                    <a:pt x="267" y="827"/>
                  </a:lnTo>
                  <a:lnTo>
                    <a:pt x="267" y="825"/>
                  </a:lnTo>
                  <a:lnTo>
                    <a:pt x="264" y="825"/>
                  </a:lnTo>
                  <a:lnTo>
                    <a:pt x="262" y="828"/>
                  </a:lnTo>
                  <a:lnTo>
                    <a:pt x="262" y="830"/>
                  </a:lnTo>
                  <a:lnTo>
                    <a:pt x="265" y="835"/>
                  </a:lnTo>
                  <a:lnTo>
                    <a:pt x="270" y="844"/>
                  </a:lnTo>
                  <a:lnTo>
                    <a:pt x="272" y="850"/>
                  </a:lnTo>
                  <a:lnTo>
                    <a:pt x="275" y="858"/>
                  </a:lnTo>
                  <a:lnTo>
                    <a:pt x="280" y="864"/>
                  </a:lnTo>
                  <a:lnTo>
                    <a:pt x="281" y="868"/>
                  </a:lnTo>
                  <a:lnTo>
                    <a:pt x="281" y="874"/>
                  </a:lnTo>
                  <a:lnTo>
                    <a:pt x="282" y="881"/>
                  </a:lnTo>
                  <a:lnTo>
                    <a:pt x="285" y="886"/>
                  </a:lnTo>
                  <a:lnTo>
                    <a:pt x="290" y="890"/>
                  </a:lnTo>
                  <a:lnTo>
                    <a:pt x="297" y="897"/>
                  </a:lnTo>
                  <a:lnTo>
                    <a:pt x="304" y="900"/>
                  </a:lnTo>
                  <a:lnTo>
                    <a:pt x="321" y="903"/>
                  </a:lnTo>
                  <a:lnTo>
                    <a:pt x="330" y="904"/>
                  </a:lnTo>
                  <a:lnTo>
                    <a:pt x="338" y="901"/>
                  </a:lnTo>
                  <a:lnTo>
                    <a:pt x="347" y="900"/>
                  </a:lnTo>
                  <a:lnTo>
                    <a:pt x="350" y="898"/>
                  </a:lnTo>
                  <a:lnTo>
                    <a:pt x="360" y="898"/>
                  </a:lnTo>
                  <a:lnTo>
                    <a:pt x="363" y="900"/>
                  </a:lnTo>
                  <a:lnTo>
                    <a:pt x="364" y="903"/>
                  </a:lnTo>
                  <a:lnTo>
                    <a:pt x="364" y="907"/>
                  </a:lnTo>
                  <a:lnTo>
                    <a:pt x="366" y="908"/>
                  </a:lnTo>
                  <a:lnTo>
                    <a:pt x="370" y="910"/>
                  </a:lnTo>
                  <a:lnTo>
                    <a:pt x="376" y="913"/>
                  </a:lnTo>
                  <a:lnTo>
                    <a:pt x="377" y="917"/>
                  </a:lnTo>
                  <a:lnTo>
                    <a:pt x="377" y="921"/>
                  </a:lnTo>
                  <a:lnTo>
                    <a:pt x="374" y="927"/>
                  </a:lnTo>
                  <a:lnTo>
                    <a:pt x="370" y="930"/>
                  </a:lnTo>
                  <a:lnTo>
                    <a:pt x="367" y="934"/>
                  </a:lnTo>
                  <a:lnTo>
                    <a:pt x="366" y="938"/>
                  </a:lnTo>
                  <a:lnTo>
                    <a:pt x="360" y="941"/>
                  </a:lnTo>
                  <a:lnTo>
                    <a:pt x="356" y="941"/>
                  </a:lnTo>
                  <a:lnTo>
                    <a:pt x="353" y="943"/>
                  </a:lnTo>
                  <a:lnTo>
                    <a:pt x="351" y="946"/>
                  </a:lnTo>
                  <a:lnTo>
                    <a:pt x="351" y="951"/>
                  </a:lnTo>
                  <a:lnTo>
                    <a:pt x="351" y="961"/>
                  </a:lnTo>
                  <a:lnTo>
                    <a:pt x="350" y="963"/>
                  </a:lnTo>
                  <a:lnTo>
                    <a:pt x="345" y="963"/>
                  </a:lnTo>
                  <a:lnTo>
                    <a:pt x="333" y="964"/>
                  </a:lnTo>
                  <a:lnTo>
                    <a:pt x="321" y="967"/>
                  </a:lnTo>
                  <a:lnTo>
                    <a:pt x="314" y="970"/>
                  </a:lnTo>
                  <a:lnTo>
                    <a:pt x="305" y="973"/>
                  </a:lnTo>
                  <a:lnTo>
                    <a:pt x="304" y="976"/>
                  </a:lnTo>
                  <a:lnTo>
                    <a:pt x="303" y="979"/>
                  </a:lnTo>
                  <a:lnTo>
                    <a:pt x="301" y="981"/>
                  </a:lnTo>
                  <a:lnTo>
                    <a:pt x="301" y="984"/>
                  </a:lnTo>
                  <a:lnTo>
                    <a:pt x="303" y="993"/>
                  </a:lnTo>
                  <a:lnTo>
                    <a:pt x="301" y="1000"/>
                  </a:lnTo>
                  <a:lnTo>
                    <a:pt x="300" y="1006"/>
                  </a:lnTo>
                  <a:lnTo>
                    <a:pt x="297" y="1009"/>
                  </a:lnTo>
                  <a:lnTo>
                    <a:pt x="293" y="1012"/>
                  </a:lnTo>
                  <a:lnTo>
                    <a:pt x="290" y="1014"/>
                  </a:lnTo>
                  <a:lnTo>
                    <a:pt x="288" y="1020"/>
                  </a:lnTo>
                  <a:lnTo>
                    <a:pt x="288" y="1033"/>
                  </a:lnTo>
                  <a:lnTo>
                    <a:pt x="290" y="1044"/>
                  </a:lnTo>
                  <a:lnTo>
                    <a:pt x="291" y="1052"/>
                  </a:lnTo>
                  <a:lnTo>
                    <a:pt x="291" y="1056"/>
                  </a:lnTo>
                  <a:lnTo>
                    <a:pt x="290" y="1059"/>
                  </a:lnTo>
                  <a:lnTo>
                    <a:pt x="288" y="1062"/>
                  </a:lnTo>
                  <a:lnTo>
                    <a:pt x="284" y="1063"/>
                  </a:lnTo>
                  <a:lnTo>
                    <a:pt x="280" y="1065"/>
                  </a:lnTo>
                  <a:lnTo>
                    <a:pt x="277" y="1067"/>
                  </a:lnTo>
                  <a:lnTo>
                    <a:pt x="275" y="1073"/>
                  </a:lnTo>
                  <a:lnTo>
                    <a:pt x="274" y="1076"/>
                  </a:lnTo>
                  <a:lnTo>
                    <a:pt x="272" y="1077"/>
                  </a:lnTo>
                  <a:lnTo>
                    <a:pt x="270" y="1079"/>
                  </a:lnTo>
                  <a:lnTo>
                    <a:pt x="267" y="1082"/>
                  </a:lnTo>
                  <a:lnTo>
                    <a:pt x="265" y="1083"/>
                  </a:lnTo>
                  <a:lnTo>
                    <a:pt x="264" y="1086"/>
                  </a:lnTo>
                  <a:lnTo>
                    <a:pt x="264" y="1087"/>
                  </a:lnTo>
                  <a:lnTo>
                    <a:pt x="265" y="1089"/>
                  </a:lnTo>
                  <a:lnTo>
                    <a:pt x="267" y="1089"/>
                  </a:lnTo>
                  <a:lnTo>
                    <a:pt x="268" y="1086"/>
                  </a:lnTo>
                  <a:lnTo>
                    <a:pt x="270" y="1085"/>
                  </a:lnTo>
                  <a:lnTo>
                    <a:pt x="271" y="1085"/>
                  </a:lnTo>
                  <a:lnTo>
                    <a:pt x="274" y="1085"/>
                  </a:lnTo>
                  <a:lnTo>
                    <a:pt x="277" y="1085"/>
                  </a:lnTo>
                  <a:lnTo>
                    <a:pt x="280" y="1083"/>
                  </a:lnTo>
                  <a:lnTo>
                    <a:pt x="282" y="1083"/>
                  </a:lnTo>
                  <a:lnTo>
                    <a:pt x="285" y="1085"/>
                  </a:lnTo>
                  <a:lnTo>
                    <a:pt x="287" y="1089"/>
                  </a:lnTo>
                  <a:lnTo>
                    <a:pt x="288" y="1093"/>
                  </a:lnTo>
                  <a:lnTo>
                    <a:pt x="288" y="1095"/>
                  </a:lnTo>
                  <a:lnTo>
                    <a:pt x="290" y="1096"/>
                  </a:lnTo>
                  <a:lnTo>
                    <a:pt x="290" y="1096"/>
                  </a:lnTo>
                  <a:lnTo>
                    <a:pt x="291" y="1095"/>
                  </a:lnTo>
                  <a:lnTo>
                    <a:pt x="291" y="1090"/>
                  </a:lnTo>
                  <a:lnTo>
                    <a:pt x="291" y="1087"/>
                  </a:lnTo>
                  <a:lnTo>
                    <a:pt x="288" y="1086"/>
                  </a:lnTo>
                  <a:lnTo>
                    <a:pt x="287" y="1083"/>
                  </a:lnTo>
                  <a:lnTo>
                    <a:pt x="287" y="1079"/>
                  </a:lnTo>
                  <a:lnTo>
                    <a:pt x="288" y="1075"/>
                  </a:lnTo>
                  <a:lnTo>
                    <a:pt x="291" y="1070"/>
                  </a:lnTo>
                  <a:lnTo>
                    <a:pt x="293" y="1069"/>
                  </a:lnTo>
                  <a:lnTo>
                    <a:pt x="294" y="1066"/>
                  </a:lnTo>
                  <a:lnTo>
                    <a:pt x="295" y="1065"/>
                  </a:lnTo>
                  <a:lnTo>
                    <a:pt x="297" y="1065"/>
                  </a:lnTo>
                  <a:lnTo>
                    <a:pt x="300" y="1066"/>
                  </a:lnTo>
                  <a:lnTo>
                    <a:pt x="301" y="1065"/>
                  </a:lnTo>
                  <a:lnTo>
                    <a:pt x="301" y="1062"/>
                  </a:lnTo>
                  <a:lnTo>
                    <a:pt x="303" y="1059"/>
                  </a:lnTo>
                  <a:lnTo>
                    <a:pt x="303" y="1059"/>
                  </a:lnTo>
                  <a:lnTo>
                    <a:pt x="307" y="1052"/>
                  </a:lnTo>
                  <a:lnTo>
                    <a:pt x="311" y="1047"/>
                  </a:lnTo>
                  <a:lnTo>
                    <a:pt x="317" y="1042"/>
                  </a:lnTo>
                  <a:lnTo>
                    <a:pt x="317" y="1039"/>
                  </a:lnTo>
                  <a:lnTo>
                    <a:pt x="318" y="1039"/>
                  </a:lnTo>
                  <a:lnTo>
                    <a:pt x="320" y="1040"/>
                  </a:lnTo>
                  <a:lnTo>
                    <a:pt x="323" y="1043"/>
                  </a:lnTo>
                  <a:lnTo>
                    <a:pt x="327" y="1044"/>
                  </a:lnTo>
                  <a:lnTo>
                    <a:pt x="331" y="1047"/>
                  </a:lnTo>
                  <a:lnTo>
                    <a:pt x="331" y="1053"/>
                  </a:lnTo>
                  <a:lnTo>
                    <a:pt x="331" y="1060"/>
                  </a:lnTo>
                  <a:lnTo>
                    <a:pt x="330" y="1062"/>
                  </a:lnTo>
                  <a:lnTo>
                    <a:pt x="328" y="1065"/>
                  </a:lnTo>
                  <a:lnTo>
                    <a:pt x="328" y="1066"/>
                  </a:lnTo>
                  <a:lnTo>
                    <a:pt x="328" y="1069"/>
                  </a:lnTo>
                  <a:lnTo>
                    <a:pt x="327" y="1075"/>
                  </a:lnTo>
                  <a:lnTo>
                    <a:pt x="325" y="1077"/>
                  </a:lnTo>
                  <a:lnTo>
                    <a:pt x="323" y="1080"/>
                  </a:lnTo>
                  <a:lnTo>
                    <a:pt x="320" y="1083"/>
                  </a:lnTo>
                  <a:lnTo>
                    <a:pt x="320" y="1087"/>
                  </a:lnTo>
                  <a:lnTo>
                    <a:pt x="320" y="1090"/>
                  </a:lnTo>
                  <a:lnTo>
                    <a:pt x="317" y="1093"/>
                  </a:lnTo>
                  <a:lnTo>
                    <a:pt x="315" y="1096"/>
                  </a:lnTo>
                  <a:lnTo>
                    <a:pt x="314" y="1099"/>
                  </a:lnTo>
                  <a:lnTo>
                    <a:pt x="314" y="1099"/>
                  </a:lnTo>
                  <a:lnTo>
                    <a:pt x="314" y="1102"/>
                  </a:lnTo>
                  <a:lnTo>
                    <a:pt x="311" y="1106"/>
                  </a:lnTo>
                  <a:lnTo>
                    <a:pt x="310" y="1115"/>
                  </a:lnTo>
                  <a:lnTo>
                    <a:pt x="307" y="1120"/>
                  </a:lnTo>
                  <a:lnTo>
                    <a:pt x="307" y="1123"/>
                  </a:lnTo>
                  <a:lnTo>
                    <a:pt x="305" y="1125"/>
                  </a:lnTo>
                  <a:lnTo>
                    <a:pt x="304" y="1125"/>
                  </a:lnTo>
                  <a:lnTo>
                    <a:pt x="301" y="1123"/>
                  </a:lnTo>
                  <a:lnTo>
                    <a:pt x="300" y="1125"/>
                  </a:lnTo>
                  <a:lnTo>
                    <a:pt x="298" y="1128"/>
                  </a:lnTo>
                  <a:lnTo>
                    <a:pt x="295" y="1130"/>
                  </a:lnTo>
                  <a:lnTo>
                    <a:pt x="291" y="1135"/>
                  </a:lnTo>
                  <a:lnTo>
                    <a:pt x="288" y="1136"/>
                  </a:lnTo>
                  <a:lnTo>
                    <a:pt x="287" y="1138"/>
                  </a:lnTo>
                  <a:lnTo>
                    <a:pt x="284" y="1140"/>
                  </a:lnTo>
                  <a:lnTo>
                    <a:pt x="281" y="1142"/>
                  </a:lnTo>
                  <a:lnTo>
                    <a:pt x="280" y="1143"/>
                  </a:lnTo>
                  <a:lnTo>
                    <a:pt x="278" y="1146"/>
                  </a:lnTo>
                  <a:lnTo>
                    <a:pt x="278" y="1150"/>
                  </a:lnTo>
                  <a:lnTo>
                    <a:pt x="278" y="1152"/>
                  </a:lnTo>
                  <a:lnTo>
                    <a:pt x="275" y="1152"/>
                  </a:lnTo>
                  <a:lnTo>
                    <a:pt x="274" y="1155"/>
                  </a:lnTo>
                  <a:lnTo>
                    <a:pt x="277" y="1158"/>
                  </a:lnTo>
                  <a:lnTo>
                    <a:pt x="280" y="1162"/>
                  </a:lnTo>
                  <a:lnTo>
                    <a:pt x="282" y="1166"/>
                  </a:lnTo>
                  <a:lnTo>
                    <a:pt x="282" y="1169"/>
                  </a:lnTo>
                  <a:lnTo>
                    <a:pt x="284" y="1171"/>
                  </a:lnTo>
                  <a:lnTo>
                    <a:pt x="287" y="1171"/>
                  </a:lnTo>
                  <a:lnTo>
                    <a:pt x="291" y="1172"/>
                  </a:lnTo>
                  <a:lnTo>
                    <a:pt x="293" y="1175"/>
                  </a:lnTo>
                  <a:lnTo>
                    <a:pt x="295" y="1178"/>
                  </a:lnTo>
                  <a:lnTo>
                    <a:pt x="298" y="1178"/>
                  </a:lnTo>
                  <a:lnTo>
                    <a:pt x="300" y="1176"/>
                  </a:lnTo>
                  <a:lnTo>
                    <a:pt x="300" y="1172"/>
                  </a:lnTo>
                  <a:lnTo>
                    <a:pt x="303" y="1169"/>
                  </a:lnTo>
                  <a:lnTo>
                    <a:pt x="304" y="1166"/>
                  </a:lnTo>
                  <a:lnTo>
                    <a:pt x="303" y="1160"/>
                  </a:lnTo>
                  <a:lnTo>
                    <a:pt x="303" y="1152"/>
                  </a:lnTo>
                  <a:lnTo>
                    <a:pt x="301" y="1146"/>
                  </a:lnTo>
                  <a:lnTo>
                    <a:pt x="301" y="1140"/>
                  </a:lnTo>
                  <a:lnTo>
                    <a:pt x="303" y="1135"/>
                  </a:lnTo>
                  <a:lnTo>
                    <a:pt x="304" y="1133"/>
                  </a:lnTo>
                  <a:lnTo>
                    <a:pt x="307" y="1133"/>
                  </a:lnTo>
                  <a:lnTo>
                    <a:pt x="310" y="1136"/>
                  </a:lnTo>
                  <a:lnTo>
                    <a:pt x="314" y="1139"/>
                  </a:lnTo>
                  <a:lnTo>
                    <a:pt x="318" y="1142"/>
                  </a:lnTo>
                  <a:lnTo>
                    <a:pt x="323" y="1142"/>
                  </a:lnTo>
                  <a:lnTo>
                    <a:pt x="327" y="1142"/>
                  </a:lnTo>
                  <a:lnTo>
                    <a:pt x="331" y="1142"/>
                  </a:lnTo>
                  <a:lnTo>
                    <a:pt x="334" y="1139"/>
                  </a:lnTo>
                  <a:lnTo>
                    <a:pt x="343" y="1133"/>
                  </a:lnTo>
                  <a:lnTo>
                    <a:pt x="347" y="1129"/>
                  </a:lnTo>
                  <a:lnTo>
                    <a:pt x="350" y="1125"/>
                  </a:lnTo>
                  <a:lnTo>
                    <a:pt x="350" y="1120"/>
                  </a:lnTo>
                  <a:lnTo>
                    <a:pt x="351" y="1118"/>
                  </a:lnTo>
                  <a:lnTo>
                    <a:pt x="354" y="1116"/>
                  </a:lnTo>
                  <a:lnTo>
                    <a:pt x="354" y="1112"/>
                  </a:lnTo>
                  <a:lnTo>
                    <a:pt x="354" y="1109"/>
                  </a:lnTo>
                  <a:lnTo>
                    <a:pt x="353" y="1106"/>
                  </a:lnTo>
                  <a:lnTo>
                    <a:pt x="353" y="1105"/>
                  </a:lnTo>
                  <a:lnTo>
                    <a:pt x="351" y="1096"/>
                  </a:lnTo>
                  <a:lnTo>
                    <a:pt x="351" y="1083"/>
                  </a:lnTo>
                  <a:lnTo>
                    <a:pt x="353" y="1063"/>
                  </a:lnTo>
                  <a:lnTo>
                    <a:pt x="353" y="1055"/>
                  </a:lnTo>
                  <a:lnTo>
                    <a:pt x="353" y="1047"/>
                  </a:lnTo>
                  <a:lnTo>
                    <a:pt x="354" y="1042"/>
                  </a:lnTo>
                  <a:lnTo>
                    <a:pt x="353" y="1034"/>
                  </a:lnTo>
                  <a:lnTo>
                    <a:pt x="353" y="1029"/>
                  </a:lnTo>
                  <a:lnTo>
                    <a:pt x="351" y="1026"/>
                  </a:lnTo>
                  <a:lnTo>
                    <a:pt x="348" y="1024"/>
                  </a:lnTo>
                  <a:lnTo>
                    <a:pt x="347" y="1022"/>
                  </a:lnTo>
                  <a:lnTo>
                    <a:pt x="344" y="1017"/>
                  </a:lnTo>
                  <a:lnTo>
                    <a:pt x="344" y="1014"/>
                  </a:lnTo>
                  <a:lnTo>
                    <a:pt x="344" y="1012"/>
                  </a:lnTo>
                  <a:lnTo>
                    <a:pt x="345" y="1010"/>
                  </a:lnTo>
                  <a:lnTo>
                    <a:pt x="345" y="1012"/>
                  </a:lnTo>
                  <a:lnTo>
                    <a:pt x="347" y="1013"/>
                  </a:lnTo>
                  <a:lnTo>
                    <a:pt x="348" y="1013"/>
                  </a:lnTo>
                  <a:lnTo>
                    <a:pt x="350" y="1012"/>
                  </a:lnTo>
                  <a:lnTo>
                    <a:pt x="351" y="1006"/>
                  </a:lnTo>
                  <a:lnTo>
                    <a:pt x="351" y="996"/>
                  </a:lnTo>
                  <a:lnTo>
                    <a:pt x="351" y="991"/>
                  </a:lnTo>
                  <a:lnTo>
                    <a:pt x="353" y="987"/>
                  </a:lnTo>
                  <a:lnTo>
                    <a:pt x="357" y="984"/>
                  </a:lnTo>
                  <a:lnTo>
                    <a:pt x="361" y="983"/>
                  </a:lnTo>
                  <a:lnTo>
                    <a:pt x="366" y="979"/>
                  </a:lnTo>
                  <a:lnTo>
                    <a:pt x="368" y="976"/>
                  </a:lnTo>
                  <a:lnTo>
                    <a:pt x="370" y="967"/>
                  </a:lnTo>
                  <a:lnTo>
                    <a:pt x="371" y="960"/>
                  </a:lnTo>
                  <a:lnTo>
                    <a:pt x="374" y="957"/>
                  </a:lnTo>
                  <a:lnTo>
                    <a:pt x="380" y="956"/>
                  </a:lnTo>
                  <a:lnTo>
                    <a:pt x="383" y="954"/>
                  </a:lnTo>
                  <a:lnTo>
                    <a:pt x="386" y="949"/>
                  </a:lnTo>
                  <a:lnTo>
                    <a:pt x="391" y="940"/>
                  </a:lnTo>
                  <a:lnTo>
                    <a:pt x="391" y="934"/>
                  </a:lnTo>
                  <a:lnTo>
                    <a:pt x="391" y="927"/>
                  </a:lnTo>
                  <a:lnTo>
                    <a:pt x="388" y="921"/>
                  </a:lnTo>
                  <a:lnTo>
                    <a:pt x="387" y="918"/>
                  </a:lnTo>
                  <a:lnTo>
                    <a:pt x="387" y="914"/>
                  </a:lnTo>
                  <a:lnTo>
                    <a:pt x="388" y="907"/>
                  </a:lnTo>
                  <a:lnTo>
                    <a:pt x="387" y="900"/>
                  </a:lnTo>
                  <a:lnTo>
                    <a:pt x="384" y="894"/>
                  </a:lnTo>
                  <a:lnTo>
                    <a:pt x="380" y="890"/>
                  </a:lnTo>
                  <a:lnTo>
                    <a:pt x="373" y="886"/>
                  </a:lnTo>
                  <a:lnTo>
                    <a:pt x="368" y="884"/>
                  </a:lnTo>
                  <a:lnTo>
                    <a:pt x="364" y="883"/>
                  </a:lnTo>
                  <a:lnTo>
                    <a:pt x="361" y="880"/>
                  </a:lnTo>
                  <a:lnTo>
                    <a:pt x="360" y="880"/>
                  </a:lnTo>
                  <a:lnTo>
                    <a:pt x="356" y="880"/>
                  </a:lnTo>
                  <a:lnTo>
                    <a:pt x="354" y="881"/>
                  </a:lnTo>
                  <a:lnTo>
                    <a:pt x="353" y="878"/>
                  </a:lnTo>
                  <a:lnTo>
                    <a:pt x="353" y="870"/>
                  </a:lnTo>
                  <a:lnTo>
                    <a:pt x="354" y="863"/>
                  </a:lnTo>
                  <a:lnTo>
                    <a:pt x="353" y="858"/>
                  </a:lnTo>
                  <a:lnTo>
                    <a:pt x="350" y="851"/>
                  </a:lnTo>
                  <a:lnTo>
                    <a:pt x="347" y="848"/>
                  </a:lnTo>
                  <a:lnTo>
                    <a:pt x="341" y="844"/>
                  </a:lnTo>
                  <a:lnTo>
                    <a:pt x="340" y="841"/>
                  </a:lnTo>
                  <a:lnTo>
                    <a:pt x="341" y="840"/>
                  </a:lnTo>
                  <a:lnTo>
                    <a:pt x="341" y="838"/>
                  </a:lnTo>
                  <a:lnTo>
                    <a:pt x="345" y="838"/>
                  </a:lnTo>
                  <a:lnTo>
                    <a:pt x="348" y="837"/>
                  </a:lnTo>
                  <a:lnTo>
                    <a:pt x="350" y="831"/>
                  </a:lnTo>
                  <a:lnTo>
                    <a:pt x="351" y="825"/>
                  </a:lnTo>
                  <a:lnTo>
                    <a:pt x="350" y="820"/>
                  </a:lnTo>
                  <a:lnTo>
                    <a:pt x="348" y="815"/>
                  </a:lnTo>
                  <a:lnTo>
                    <a:pt x="348" y="815"/>
                  </a:lnTo>
                  <a:lnTo>
                    <a:pt x="344" y="812"/>
                  </a:lnTo>
                  <a:lnTo>
                    <a:pt x="340" y="808"/>
                  </a:lnTo>
                  <a:lnTo>
                    <a:pt x="335" y="802"/>
                  </a:lnTo>
                  <a:lnTo>
                    <a:pt x="330" y="798"/>
                  </a:lnTo>
                  <a:lnTo>
                    <a:pt x="324" y="795"/>
                  </a:lnTo>
                  <a:lnTo>
                    <a:pt x="315" y="792"/>
                  </a:lnTo>
                  <a:lnTo>
                    <a:pt x="307" y="788"/>
                  </a:lnTo>
                  <a:lnTo>
                    <a:pt x="301" y="784"/>
                  </a:lnTo>
                  <a:lnTo>
                    <a:pt x="298" y="781"/>
                  </a:lnTo>
                  <a:lnTo>
                    <a:pt x="297" y="777"/>
                  </a:lnTo>
                  <a:lnTo>
                    <a:pt x="295" y="774"/>
                  </a:lnTo>
                  <a:lnTo>
                    <a:pt x="291" y="771"/>
                  </a:lnTo>
                  <a:lnTo>
                    <a:pt x="290" y="769"/>
                  </a:lnTo>
                  <a:lnTo>
                    <a:pt x="288" y="767"/>
                  </a:lnTo>
                  <a:lnTo>
                    <a:pt x="288" y="764"/>
                  </a:lnTo>
                  <a:lnTo>
                    <a:pt x="288" y="759"/>
                  </a:lnTo>
                  <a:lnTo>
                    <a:pt x="287" y="757"/>
                  </a:lnTo>
                  <a:lnTo>
                    <a:pt x="287" y="754"/>
                  </a:lnTo>
                  <a:lnTo>
                    <a:pt x="287" y="751"/>
                  </a:lnTo>
                  <a:lnTo>
                    <a:pt x="288" y="751"/>
                  </a:lnTo>
                  <a:lnTo>
                    <a:pt x="291" y="751"/>
                  </a:lnTo>
                  <a:lnTo>
                    <a:pt x="291" y="749"/>
                  </a:lnTo>
                  <a:lnTo>
                    <a:pt x="293" y="745"/>
                  </a:lnTo>
                  <a:lnTo>
                    <a:pt x="295" y="744"/>
                  </a:lnTo>
                  <a:lnTo>
                    <a:pt x="297" y="741"/>
                  </a:lnTo>
                  <a:lnTo>
                    <a:pt x="298" y="739"/>
                  </a:lnTo>
                  <a:lnTo>
                    <a:pt x="298" y="737"/>
                  </a:lnTo>
                  <a:lnTo>
                    <a:pt x="297" y="737"/>
                  </a:lnTo>
                  <a:lnTo>
                    <a:pt x="294" y="737"/>
                  </a:lnTo>
                  <a:lnTo>
                    <a:pt x="293" y="735"/>
                  </a:lnTo>
                  <a:lnTo>
                    <a:pt x="291" y="734"/>
                  </a:lnTo>
                  <a:lnTo>
                    <a:pt x="291" y="729"/>
                  </a:lnTo>
                  <a:lnTo>
                    <a:pt x="293" y="719"/>
                  </a:lnTo>
                  <a:lnTo>
                    <a:pt x="295" y="717"/>
                  </a:lnTo>
                  <a:lnTo>
                    <a:pt x="300" y="712"/>
                  </a:lnTo>
                  <a:lnTo>
                    <a:pt x="307" y="704"/>
                  </a:lnTo>
                  <a:lnTo>
                    <a:pt x="313" y="686"/>
                  </a:lnTo>
                  <a:lnTo>
                    <a:pt x="314" y="676"/>
                  </a:lnTo>
                  <a:lnTo>
                    <a:pt x="314" y="671"/>
                  </a:lnTo>
                  <a:lnTo>
                    <a:pt x="313" y="666"/>
                  </a:lnTo>
                  <a:lnTo>
                    <a:pt x="308" y="664"/>
                  </a:lnTo>
                  <a:lnTo>
                    <a:pt x="304" y="661"/>
                  </a:lnTo>
                  <a:lnTo>
                    <a:pt x="304" y="659"/>
                  </a:lnTo>
                  <a:lnTo>
                    <a:pt x="305" y="658"/>
                  </a:lnTo>
                  <a:lnTo>
                    <a:pt x="308" y="659"/>
                  </a:lnTo>
                  <a:lnTo>
                    <a:pt x="310" y="658"/>
                  </a:lnTo>
                  <a:lnTo>
                    <a:pt x="310" y="653"/>
                  </a:lnTo>
                  <a:lnTo>
                    <a:pt x="308" y="651"/>
                  </a:lnTo>
                  <a:lnTo>
                    <a:pt x="305" y="649"/>
                  </a:lnTo>
                  <a:lnTo>
                    <a:pt x="304" y="646"/>
                  </a:lnTo>
                  <a:lnTo>
                    <a:pt x="303" y="645"/>
                  </a:lnTo>
                  <a:lnTo>
                    <a:pt x="301" y="642"/>
                  </a:lnTo>
                  <a:lnTo>
                    <a:pt x="300" y="641"/>
                  </a:lnTo>
                  <a:lnTo>
                    <a:pt x="298" y="641"/>
                  </a:lnTo>
                  <a:lnTo>
                    <a:pt x="297" y="639"/>
                  </a:lnTo>
                  <a:lnTo>
                    <a:pt x="298" y="638"/>
                  </a:lnTo>
                  <a:lnTo>
                    <a:pt x="301" y="638"/>
                  </a:lnTo>
                  <a:lnTo>
                    <a:pt x="307" y="639"/>
                  </a:lnTo>
                  <a:lnTo>
                    <a:pt x="308" y="641"/>
                  </a:lnTo>
                  <a:lnTo>
                    <a:pt x="311" y="641"/>
                  </a:lnTo>
                  <a:lnTo>
                    <a:pt x="313" y="639"/>
                  </a:lnTo>
                  <a:lnTo>
                    <a:pt x="313" y="636"/>
                  </a:lnTo>
                  <a:lnTo>
                    <a:pt x="311" y="629"/>
                  </a:lnTo>
                  <a:lnTo>
                    <a:pt x="307" y="623"/>
                  </a:lnTo>
                  <a:lnTo>
                    <a:pt x="305" y="622"/>
                  </a:lnTo>
                  <a:lnTo>
                    <a:pt x="305" y="619"/>
                  </a:lnTo>
                  <a:lnTo>
                    <a:pt x="308" y="615"/>
                  </a:lnTo>
                  <a:lnTo>
                    <a:pt x="311" y="612"/>
                  </a:lnTo>
                  <a:lnTo>
                    <a:pt x="313" y="612"/>
                  </a:lnTo>
                  <a:lnTo>
                    <a:pt x="314" y="612"/>
                  </a:lnTo>
                  <a:lnTo>
                    <a:pt x="317" y="612"/>
                  </a:lnTo>
                  <a:lnTo>
                    <a:pt x="318" y="612"/>
                  </a:lnTo>
                  <a:lnTo>
                    <a:pt x="320" y="609"/>
                  </a:lnTo>
                  <a:lnTo>
                    <a:pt x="323" y="608"/>
                  </a:lnTo>
                  <a:lnTo>
                    <a:pt x="325" y="608"/>
                  </a:lnTo>
                  <a:lnTo>
                    <a:pt x="327" y="606"/>
                  </a:lnTo>
                  <a:lnTo>
                    <a:pt x="327" y="600"/>
                  </a:lnTo>
                  <a:lnTo>
                    <a:pt x="327" y="598"/>
                  </a:lnTo>
                  <a:lnTo>
                    <a:pt x="330" y="595"/>
                  </a:lnTo>
                  <a:lnTo>
                    <a:pt x="330" y="593"/>
                  </a:lnTo>
                  <a:lnTo>
                    <a:pt x="328" y="593"/>
                  </a:lnTo>
                  <a:lnTo>
                    <a:pt x="325" y="595"/>
                  </a:lnTo>
                  <a:lnTo>
                    <a:pt x="324" y="595"/>
                  </a:lnTo>
                  <a:lnTo>
                    <a:pt x="323" y="593"/>
                  </a:lnTo>
                  <a:lnTo>
                    <a:pt x="325" y="583"/>
                  </a:lnTo>
                  <a:lnTo>
                    <a:pt x="328" y="580"/>
                  </a:lnTo>
                  <a:lnTo>
                    <a:pt x="331" y="579"/>
                  </a:lnTo>
                  <a:lnTo>
                    <a:pt x="335" y="580"/>
                  </a:lnTo>
                  <a:lnTo>
                    <a:pt x="340" y="582"/>
                  </a:lnTo>
                  <a:lnTo>
                    <a:pt x="341" y="585"/>
                  </a:lnTo>
                  <a:lnTo>
                    <a:pt x="341" y="586"/>
                  </a:lnTo>
                  <a:lnTo>
                    <a:pt x="344" y="588"/>
                  </a:lnTo>
                  <a:lnTo>
                    <a:pt x="345" y="586"/>
                  </a:lnTo>
                  <a:lnTo>
                    <a:pt x="347" y="585"/>
                  </a:lnTo>
                  <a:lnTo>
                    <a:pt x="348" y="585"/>
                  </a:lnTo>
                  <a:lnTo>
                    <a:pt x="353" y="585"/>
                  </a:lnTo>
                  <a:lnTo>
                    <a:pt x="356" y="585"/>
                  </a:lnTo>
                  <a:lnTo>
                    <a:pt x="358" y="585"/>
                  </a:lnTo>
                  <a:lnTo>
                    <a:pt x="364" y="588"/>
                  </a:lnTo>
                  <a:lnTo>
                    <a:pt x="367" y="588"/>
                  </a:lnTo>
                  <a:lnTo>
                    <a:pt x="371" y="586"/>
                  </a:lnTo>
                  <a:lnTo>
                    <a:pt x="377" y="585"/>
                  </a:lnTo>
                  <a:lnTo>
                    <a:pt x="384" y="585"/>
                  </a:lnTo>
                  <a:lnTo>
                    <a:pt x="398" y="588"/>
                  </a:lnTo>
                  <a:lnTo>
                    <a:pt x="414" y="590"/>
                  </a:lnTo>
                  <a:lnTo>
                    <a:pt x="439" y="598"/>
                  </a:lnTo>
                  <a:lnTo>
                    <a:pt x="462" y="602"/>
                  </a:lnTo>
                  <a:lnTo>
                    <a:pt x="474" y="603"/>
                  </a:lnTo>
                  <a:lnTo>
                    <a:pt x="492" y="602"/>
                  </a:lnTo>
                  <a:lnTo>
                    <a:pt x="504" y="600"/>
                  </a:lnTo>
                  <a:lnTo>
                    <a:pt x="520" y="602"/>
                  </a:lnTo>
                  <a:lnTo>
                    <a:pt x="530" y="600"/>
                  </a:lnTo>
                  <a:lnTo>
                    <a:pt x="535" y="600"/>
                  </a:lnTo>
                  <a:lnTo>
                    <a:pt x="536" y="600"/>
                  </a:lnTo>
                  <a:lnTo>
                    <a:pt x="537" y="602"/>
                  </a:lnTo>
                  <a:lnTo>
                    <a:pt x="539" y="606"/>
                  </a:lnTo>
                  <a:lnTo>
                    <a:pt x="540" y="609"/>
                  </a:lnTo>
                  <a:lnTo>
                    <a:pt x="542" y="611"/>
                  </a:lnTo>
                  <a:lnTo>
                    <a:pt x="545" y="611"/>
                  </a:lnTo>
                  <a:lnTo>
                    <a:pt x="546" y="612"/>
                  </a:lnTo>
                  <a:lnTo>
                    <a:pt x="549" y="613"/>
                  </a:lnTo>
                  <a:lnTo>
                    <a:pt x="555" y="615"/>
                  </a:lnTo>
                  <a:lnTo>
                    <a:pt x="557" y="613"/>
                  </a:lnTo>
                  <a:lnTo>
                    <a:pt x="563" y="609"/>
                  </a:lnTo>
                  <a:lnTo>
                    <a:pt x="567" y="603"/>
                  </a:lnTo>
                  <a:lnTo>
                    <a:pt x="570" y="600"/>
                  </a:lnTo>
                  <a:lnTo>
                    <a:pt x="576" y="598"/>
                  </a:lnTo>
                  <a:lnTo>
                    <a:pt x="579" y="599"/>
                  </a:lnTo>
                  <a:lnTo>
                    <a:pt x="583" y="599"/>
                  </a:lnTo>
                  <a:lnTo>
                    <a:pt x="585" y="600"/>
                  </a:lnTo>
                  <a:lnTo>
                    <a:pt x="586" y="600"/>
                  </a:lnTo>
                  <a:lnTo>
                    <a:pt x="589" y="599"/>
                  </a:lnTo>
                  <a:lnTo>
                    <a:pt x="592" y="596"/>
                  </a:lnTo>
                  <a:lnTo>
                    <a:pt x="595" y="596"/>
                  </a:lnTo>
                  <a:lnTo>
                    <a:pt x="598" y="596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07" name="Freeform 55"/>
            <p:cNvSpPr>
              <a:spLocks/>
            </p:cNvSpPr>
            <p:nvPr/>
          </p:nvSpPr>
          <p:spPr bwMode="auto">
            <a:xfrm>
              <a:off x="5309561" y="2046011"/>
              <a:ext cx="3663" cy="2646"/>
            </a:xfrm>
            <a:custGeom>
              <a:avLst/>
              <a:gdLst>
                <a:gd name="T0" fmla="*/ 3 w 4"/>
                <a:gd name="T1" fmla="*/ 0 h 4"/>
                <a:gd name="T2" fmla="*/ 1 w 4"/>
                <a:gd name="T3" fmla="*/ 0 h 4"/>
                <a:gd name="T4" fmla="*/ 0 w 4"/>
                <a:gd name="T5" fmla="*/ 0 h 4"/>
                <a:gd name="T6" fmla="*/ 0 w 4"/>
                <a:gd name="T7" fmla="*/ 1 h 4"/>
                <a:gd name="T8" fmla="*/ 1 w 4"/>
                <a:gd name="T9" fmla="*/ 3 h 4"/>
                <a:gd name="T10" fmla="*/ 3 w 4"/>
                <a:gd name="T11" fmla="*/ 4 h 4"/>
                <a:gd name="T12" fmla="*/ 4 w 4"/>
                <a:gd name="T13" fmla="*/ 3 h 4"/>
                <a:gd name="T14" fmla="*/ 4 w 4"/>
                <a:gd name="T15" fmla="*/ 1 h 4"/>
                <a:gd name="T16" fmla="*/ 3 w 4"/>
                <a:gd name="T17" fmla="*/ 0 h 4"/>
                <a:gd name="T18" fmla="*/ 3 w 4"/>
                <a:gd name="T1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3"/>
                  </a:lnTo>
                  <a:lnTo>
                    <a:pt x="3" y="4"/>
                  </a:lnTo>
                  <a:lnTo>
                    <a:pt x="4" y="3"/>
                  </a:lnTo>
                  <a:lnTo>
                    <a:pt x="4" y="1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08" name="Freeform 56"/>
            <p:cNvSpPr>
              <a:spLocks/>
            </p:cNvSpPr>
            <p:nvPr/>
          </p:nvSpPr>
          <p:spPr bwMode="auto">
            <a:xfrm>
              <a:off x="5244841" y="2027491"/>
              <a:ext cx="3663" cy="2646"/>
            </a:xfrm>
            <a:custGeom>
              <a:avLst/>
              <a:gdLst>
                <a:gd name="T0" fmla="*/ 3 w 4"/>
                <a:gd name="T1" fmla="*/ 0 h 5"/>
                <a:gd name="T2" fmla="*/ 1 w 4"/>
                <a:gd name="T3" fmla="*/ 0 h 5"/>
                <a:gd name="T4" fmla="*/ 0 w 4"/>
                <a:gd name="T5" fmla="*/ 0 h 5"/>
                <a:gd name="T6" fmla="*/ 0 w 4"/>
                <a:gd name="T7" fmla="*/ 3 h 5"/>
                <a:gd name="T8" fmla="*/ 1 w 4"/>
                <a:gd name="T9" fmla="*/ 3 h 5"/>
                <a:gd name="T10" fmla="*/ 3 w 4"/>
                <a:gd name="T11" fmla="*/ 5 h 5"/>
                <a:gd name="T12" fmla="*/ 4 w 4"/>
                <a:gd name="T13" fmla="*/ 3 h 5"/>
                <a:gd name="T14" fmla="*/ 4 w 4"/>
                <a:gd name="T15" fmla="*/ 2 h 5"/>
                <a:gd name="T16" fmla="*/ 3 w 4"/>
                <a:gd name="T17" fmla="*/ 0 h 5"/>
                <a:gd name="T18" fmla="*/ 3 w 4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5">
                  <a:moveTo>
                    <a:pt x="3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1" y="3"/>
                  </a:lnTo>
                  <a:lnTo>
                    <a:pt x="3" y="5"/>
                  </a:lnTo>
                  <a:lnTo>
                    <a:pt x="4" y="3"/>
                  </a:lnTo>
                  <a:lnTo>
                    <a:pt x="4" y="2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09" name="Freeform 57"/>
            <p:cNvSpPr>
              <a:spLocks/>
            </p:cNvSpPr>
            <p:nvPr/>
          </p:nvSpPr>
          <p:spPr bwMode="auto">
            <a:xfrm>
              <a:off x="5368176" y="1983835"/>
              <a:ext cx="3663" cy="2646"/>
            </a:xfrm>
            <a:custGeom>
              <a:avLst/>
              <a:gdLst>
                <a:gd name="T0" fmla="*/ 1 w 4"/>
                <a:gd name="T1" fmla="*/ 0 h 3"/>
                <a:gd name="T2" fmla="*/ 1 w 4"/>
                <a:gd name="T3" fmla="*/ 0 h 3"/>
                <a:gd name="T4" fmla="*/ 0 w 4"/>
                <a:gd name="T5" fmla="*/ 0 h 3"/>
                <a:gd name="T6" fmla="*/ 0 w 4"/>
                <a:gd name="T7" fmla="*/ 1 h 3"/>
                <a:gd name="T8" fmla="*/ 0 w 4"/>
                <a:gd name="T9" fmla="*/ 3 h 3"/>
                <a:gd name="T10" fmla="*/ 3 w 4"/>
                <a:gd name="T11" fmla="*/ 3 h 3"/>
                <a:gd name="T12" fmla="*/ 3 w 4"/>
                <a:gd name="T13" fmla="*/ 1 h 3"/>
                <a:gd name="T14" fmla="*/ 4 w 4"/>
                <a:gd name="T15" fmla="*/ 0 h 3"/>
                <a:gd name="T16" fmla="*/ 1 w 4"/>
                <a:gd name="T17" fmla="*/ 0 h 3"/>
                <a:gd name="T18" fmla="*/ 1 w 4"/>
                <a:gd name="T1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3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10" name="Freeform 58"/>
            <p:cNvSpPr>
              <a:spLocks/>
            </p:cNvSpPr>
            <p:nvPr/>
          </p:nvSpPr>
          <p:spPr bwMode="auto">
            <a:xfrm>
              <a:off x="5363292" y="2141261"/>
              <a:ext cx="2442" cy="2646"/>
            </a:xfrm>
            <a:custGeom>
              <a:avLst/>
              <a:gdLst>
                <a:gd name="T0" fmla="*/ 3 w 4"/>
                <a:gd name="T1" fmla="*/ 0 h 4"/>
                <a:gd name="T2" fmla="*/ 2 w 4"/>
                <a:gd name="T3" fmla="*/ 0 h 4"/>
                <a:gd name="T4" fmla="*/ 0 w 4"/>
                <a:gd name="T5" fmla="*/ 1 h 4"/>
                <a:gd name="T6" fmla="*/ 0 w 4"/>
                <a:gd name="T7" fmla="*/ 2 h 4"/>
                <a:gd name="T8" fmla="*/ 2 w 4"/>
                <a:gd name="T9" fmla="*/ 4 h 4"/>
                <a:gd name="T10" fmla="*/ 3 w 4"/>
                <a:gd name="T11" fmla="*/ 4 h 4"/>
                <a:gd name="T12" fmla="*/ 4 w 4"/>
                <a:gd name="T13" fmla="*/ 2 h 4"/>
                <a:gd name="T14" fmla="*/ 4 w 4"/>
                <a:gd name="T15" fmla="*/ 1 h 4"/>
                <a:gd name="T16" fmla="*/ 3 w 4"/>
                <a:gd name="T17" fmla="*/ 0 h 4"/>
                <a:gd name="T18" fmla="*/ 3 w 4"/>
                <a:gd name="T1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2" y="4"/>
                  </a:lnTo>
                  <a:lnTo>
                    <a:pt x="3" y="4"/>
                  </a:lnTo>
                  <a:lnTo>
                    <a:pt x="4" y="2"/>
                  </a:lnTo>
                  <a:lnTo>
                    <a:pt x="4" y="1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11" name="Freeform 59"/>
            <p:cNvSpPr>
              <a:spLocks/>
            </p:cNvSpPr>
            <p:nvPr/>
          </p:nvSpPr>
          <p:spPr bwMode="auto">
            <a:xfrm>
              <a:off x="5377945" y="2134646"/>
              <a:ext cx="6106" cy="2646"/>
            </a:xfrm>
            <a:custGeom>
              <a:avLst/>
              <a:gdLst>
                <a:gd name="T0" fmla="*/ 7 w 8"/>
                <a:gd name="T1" fmla="*/ 0 h 4"/>
                <a:gd name="T2" fmla="*/ 4 w 8"/>
                <a:gd name="T3" fmla="*/ 0 h 4"/>
                <a:gd name="T4" fmla="*/ 1 w 8"/>
                <a:gd name="T5" fmla="*/ 0 h 4"/>
                <a:gd name="T6" fmla="*/ 0 w 8"/>
                <a:gd name="T7" fmla="*/ 0 h 4"/>
                <a:gd name="T8" fmla="*/ 0 w 8"/>
                <a:gd name="T9" fmla="*/ 3 h 4"/>
                <a:gd name="T10" fmla="*/ 1 w 8"/>
                <a:gd name="T11" fmla="*/ 3 h 4"/>
                <a:gd name="T12" fmla="*/ 4 w 8"/>
                <a:gd name="T13" fmla="*/ 3 h 4"/>
                <a:gd name="T14" fmla="*/ 5 w 8"/>
                <a:gd name="T15" fmla="*/ 4 h 4"/>
                <a:gd name="T16" fmla="*/ 7 w 8"/>
                <a:gd name="T17" fmla="*/ 4 h 4"/>
                <a:gd name="T18" fmla="*/ 8 w 8"/>
                <a:gd name="T19" fmla="*/ 4 h 4"/>
                <a:gd name="T20" fmla="*/ 8 w 8"/>
                <a:gd name="T21" fmla="*/ 3 h 4"/>
                <a:gd name="T22" fmla="*/ 8 w 8"/>
                <a:gd name="T23" fmla="*/ 0 h 4"/>
                <a:gd name="T24" fmla="*/ 7 w 8"/>
                <a:gd name="T25" fmla="*/ 0 h 4"/>
                <a:gd name="T26" fmla="*/ 7 w 8"/>
                <a:gd name="T2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lnTo>
                    <a:pt x="4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1" y="3"/>
                  </a:lnTo>
                  <a:lnTo>
                    <a:pt x="4" y="3"/>
                  </a:lnTo>
                  <a:lnTo>
                    <a:pt x="5" y="4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8" y="0"/>
                  </a:lnTo>
                  <a:lnTo>
                    <a:pt x="7" y="0"/>
                  </a:lnTo>
                  <a:lnTo>
                    <a:pt x="7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12" name="Freeform 60"/>
            <p:cNvSpPr>
              <a:spLocks/>
            </p:cNvSpPr>
            <p:nvPr/>
          </p:nvSpPr>
          <p:spPr bwMode="auto">
            <a:xfrm>
              <a:off x="5346196" y="2139938"/>
              <a:ext cx="6106" cy="3969"/>
            </a:xfrm>
            <a:custGeom>
              <a:avLst/>
              <a:gdLst>
                <a:gd name="T0" fmla="*/ 9 w 9"/>
                <a:gd name="T1" fmla="*/ 3 h 7"/>
                <a:gd name="T2" fmla="*/ 7 w 9"/>
                <a:gd name="T3" fmla="*/ 1 h 7"/>
                <a:gd name="T4" fmla="*/ 6 w 9"/>
                <a:gd name="T5" fmla="*/ 0 h 7"/>
                <a:gd name="T6" fmla="*/ 4 w 9"/>
                <a:gd name="T7" fmla="*/ 0 h 7"/>
                <a:gd name="T8" fmla="*/ 4 w 9"/>
                <a:gd name="T9" fmla="*/ 1 h 7"/>
                <a:gd name="T10" fmla="*/ 3 w 9"/>
                <a:gd name="T11" fmla="*/ 3 h 7"/>
                <a:gd name="T12" fmla="*/ 1 w 9"/>
                <a:gd name="T13" fmla="*/ 3 h 7"/>
                <a:gd name="T14" fmla="*/ 0 w 9"/>
                <a:gd name="T15" fmla="*/ 3 h 7"/>
                <a:gd name="T16" fmla="*/ 0 w 9"/>
                <a:gd name="T17" fmla="*/ 4 h 7"/>
                <a:gd name="T18" fmla="*/ 0 w 9"/>
                <a:gd name="T19" fmla="*/ 5 h 7"/>
                <a:gd name="T20" fmla="*/ 3 w 9"/>
                <a:gd name="T21" fmla="*/ 7 h 7"/>
                <a:gd name="T22" fmla="*/ 6 w 9"/>
                <a:gd name="T23" fmla="*/ 7 h 7"/>
                <a:gd name="T24" fmla="*/ 9 w 9"/>
                <a:gd name="T25" fmla="*/ 7 h 7"/>
                <a:gd name="T26" fmla="*/ 9 w 9"/>
                <a:gd name="T27" fmla="*/ 5 h 7"/>
                <a:gd name="T28" fmla="*/ 9 w 9"/>
                <a:gd name="T29" fmla="*/ 3 h 7"/>
                <a:gd name="T30" fmla="*/ 9 w 9"/>
                <a:gd name="T3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" h="7">
                  <a:moveTo>
                    <a:pt x="9" y="3"/>
                  </a:moveTo>
                  <a:lnTo>
                    <a:pt x="7" y="1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3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3" y="7"/>
                  </a:lnTo>
                  <a:lnTo>
                    <a:pt x="6" y="7"/>
                  </a:lnTo>
                  <a:lnTo>
                    <a:pt x="9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9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13" name="Freeform 61"/>
            <p:cNvSpPr>
              <a:spLocks/>
            </p:cNvSpPr>
            <p:nvPr/>
          </p:nvSpPr>
          <p:spPr bwMode="auto">
            <a:xfrm>
              <a:off x="5268042" y="2043366"/>
              <a:ext cx="4885" cy="2646"/>
            </a:xfrm>
            <a:custGeom>
              <a:avLst/>
              <a:gdLst>
                <a:gd name="T0" fmla="*/ 3 w 7"/>
                <a:gd name="T1" fmla="*/ 4 h 4"/>
                <a:gd name="T2" fmla="*/ 6 w 7"/>
                <a:gd name="T3" fmla="*/ 4 h 4"/>
                <a:gd name="T4" fmla="*/ 7 w 7"/>
                <a:gd name="T5" fmla="*/ 3 h 4"/>
                <a:gd name="T6" fmla="*/ 7 w 7"/>
                <a:gd name="T7" fmla="*/ 1 h 4"/>
                <a:gd name="T8" fmla="*/ 7 w 7"/>
                <a:gd name="T9" fmla="*/ 0 h 4"/>
                <a:gd name="T10" fmla="*/ 3 w 7"/>
                <a:gd name="T11" fmla="*/ 0 h 4"/>
                <a:gd name="T12" fmla="*/ 2 w 7"/>
                <a:gd name="T13" fmla="*/ 0 h 4"/>
                <a:gd name="T14" fmla="*/ 0 w 7"/>
                <a:gd name="T15" fmla="*/ 0 h 4"/>
                <a:gd name="T16" fmla="*/ 0 w 7"/>
                <a:gd name="T17" fmla="*/ 1 h 4"/>
                <a:gd name="T18" fmla="*/ 2 w 7"/>
                <a:gd name="T19" fmla="*/ 3 h 4"/>
                <a:gd name="T20" fmla="*/ 2 w 7"/>
                <a:gd name="T21" fmla="*/ 4 h 4"/>
                <a:gd name="T22" fmla="*/ 3 w 7"/>
                <a:gd name="T23" fmla="*/ 4 h 4"/>
                <a:gd name="T24" fmla="*/ 3 w 7"/>
                <a:gd name="T2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lnTo>
                    <a:pt x="6" y="4"/>
                  </a:lnTo>
                  <a:lnTo>
                    <a:pt x="7" y="3"/>
                  </a:lnTo>
                  <a:lnTo>
                    <a:pt x="7" y="1"/>
                  </a:lnTo>
                  <a:lnTo>
                    <a:pt x="7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2" y="3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14" name="Freeform 62"/>
            <p:cNvSpPr>
              <a:spLocks/>
            </p:cNvSpPr>
            <p:nvPr/>
          </p:nvSpPr>
          <p:spPr bwMode="auto">
            <a:xfrm>
              <a:off x="5358407" y="1983835"/>
              <a:ext cx="2442" cy="6615"/>
            </a:xfrm>
            <a:custGeom>
              <a:avLst/>
              <a:gdLst>
                <a:gd name="T0" fmla="*/ 4 w 4"/>
                <a:gd name="T1" fmla="*/ 8 h 10"/>
                <a:gd name="T2" fmla="*/ 4 w 4"/>
                <a:gd name="T3" fmla="*/ 5 h 10"/>
                <a:gd name="T4" fmla="*/ 4 w 4"/>
                <a:gd name="T5" fmla="*/ 2 h 10"/>
                <a:gd name="T6" fmla="*/ 4 w 4"/>
                <a:gd name="T7" fmla="*/ 0 h 10"/>
                <a:gd name="T8" fmla="*/ 2 w 4"/>
                <a:gd name="T9" fmla="*/ 0 h 10"/>
                <a:gd name="T10" fmla="*/ 1 w 4"/>
                <a:gd name="T11" fmla="*/ 5 h 10"/>
                <a:gd name="T12" fmla="*/ 0 w 4"/>
                <a:gd name="T13" fmla="*/ 8 h 10"/>
                <a:gd name="T14" fmla="*/ 0 w 4"/>
                <a:gd name="T15" fmla="*/ 9 h 10"/>
                <a:gd name="T16" fmla="*/ 0 w 4"/>
                <a:gd name="T17" fmla="*/ 10 h 10"/>
                <a:gd name="T18" fmla="*/ 1 w 4"/>
                <a:gd name="T19" fmla="*/ 10 h 10"/>
                <a:gd name="T20" fmla="*/ 2 w 4"/>
                <a:gd name="T21" fmla="*/ 10 h 10"/>
                <a:gd name="T22" fmla="*/ 4 w 4"/>
                <a:gd name="T23" fmla="*/ 8 h 10"/>
                <a:gd name="T24" fmla="*/ 4 w 4"/>
                <a:gd name="T2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" h="10">
                  <a:moveTo>
                    <a:pt x="4" y="8"/>
                  </a:moveTo>
                  <a:lnTo>
                    <a:pt x="4" y="5"/>
                  </a:lnTo>
                  <a:lnTo>
                    <a:pt x="4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1" y="5"/>
                  </a:lnTo>
                  <a:lnTo>
                    <a:pt x="0" y="8"/>
                  </a:lnTo>
                  <a:lnTo>
                    <a:pt x="0" y="9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4" y="8"/>
                  </a:lnTo>
                  <a:lnTo>
                    <a:pt x="4" y="8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15" name="Freeform 63"/>
            <p:cNvSpPr>
              <a:spLocks/>
            </p:cNvSpPr>
            <p:nvPr/>
          </p:nvSpPr>
          <p:spPr bwMode="auto">
            <a:xfrm>
              <a:off x="5033583" y="3030252"/>
              <a:ext cx="8548" cy="9260"/>
            </a:xfrm>
            <a:custGeom>
              <a:avLst/>
              <a:gdLst>
                <a:gd name="T0" fmla="*/ 12 w 13"/>
                <a:gd name="T1" fmla="*/ 10 h 14"/>
                <a:gd name="T2" fmla="*/ 13 w 13"/>
                <a:gd name="T3" fmla="*/ 9 h 14"/>
                <a:gd name="T4" fmla="*/ 13 w 13"/>
                <a:gd name="T5" fmla="*/ 7 h 14"/>
                <a:gd name="T6" fmla="*/ 12 w 13"/>
                <a:gd name="T7" fmla="*/ 3 h 14"/>
                <a:gd name="T8" fmla="*/ 7 w 13"/>
                <a:gd name="T9" fmla="*/ 0 h 14"/>
                <a:gd name="T10" fmla="*/ 6 w 13"/>
                <a:gd name="T11" fmla="*/ 0 h 14"/>
                <a:gd name="T12" fmla="*/ 5 w 13"/>
                <a:gd name="T13" fmla="*/ 1 h 14"/>
                <a:gd name="T14" fmla="*/ 5 w 13"/>
                <a:gd name="T15" fmla="*/ 3 h 14"/>
                <a:gd name="T16" fmla="*/ 3 w 13"/>
                <a:gd name="T17" fmla="*/ 3 h 14"/>
                <a:gd name="T18" fmla="*/ 0 w 13"/>
                <a:gd name="T19" fmla="*/ 3 h 14"/>
                <a:gd name="T20" fmla="*/ 0 w 13"/>
                <a:gd name="T21" fmla="*/ 4 h 14"/>
                <a:gd name="T22" fmla="*/ 2 w 13"/>
                <a:gd name="T23" fmla="*/ 7 h 14"/>
                <a:gd name="T24" fmla="*/ 6 w 13"/>
                <a:gd name="T25" fmla="*/ 13 h 14"/>
                <a:gd name="T26" fmla="*/ 7 w 13"/>
                <a:gd name="T27" fmla="*/ 14 h 14"/>
                <a:gd name="T28" fmla="*/ 10 w 13"/>
                <a:gd name="T29" fmla="*/ 14 h 14"/>
                <a:gd name="T30" fmla="*/ 10 w 13"/>
                <a:gd name="T31" fmla="*/ 13 h 14"/>
                <a:gd name="T32" fmla="*/ 10 w 13"/>
                <a:gd name="T33" fmla="*/ 11 h 14"/>
                <a:gd name="T34" fmla="*/ 12 w 13"/>
                <a:gd name="T35" fmla="*/ 10 h 14"/>
                <a:gd name="T36" fmla="*/ 12 w 13"/>
                <a:gd name="T37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" h="14">
                  <a:moveTo>
                    <a:pt x="12" y="10"/>
                  </a:moveTo>
                  <a:lnTo>
                    <a:pt x="13" y="9"/>
                  </a:lnTo>
                  <a:lnTo>
                    <a:pt x="13" y="7"/>
                  </a:lnTo>
                  <a:lnTo>
                    <a:pt x="12" y="3"/>
                  </a:lnTo>
                  <a:lnTo>
                    <a:pt x="7" y="0"/>
                  </a:lnTo>
                  <a:lnTo>
                    <a:pt x="6" y="0"/>
                  </a:lnTo>
                  <a:lnTo>
                    <a:pt x="5" y="1"/>
                  </a:lnTo>
                  <a:lnTo>
                    <a:pt x="5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2" y="7"/>
                  </a:lnTo>
                  <a:lnTo>
                    <a:pt x="6" y="13"/>
                  </a:lnTo>
                  <a:lnTo>
                    <a:pt x="7" y="14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2" y="10"/>
                  </a:lnTo>
                  <a:lnTo>
                    <a:pt x="12" y="1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16" name="Freeform 64"/>
            <p:cNvSpPr>
              <a:spLocks/>
            </p:cNvSpPr>
            <p:nvPr/>
          </p:nvSpPr>
          <p:spPr bwMode="auto">
            <a:xfrm>
              <a:off x="5414579" y="2835785"/>
              <a:ext cx="4885" cy="6615"/>
            </a:xfrm>
            <a:custGeom>
              <a:avLst/>
              <a:gdLst>
                <a:gd name="T0" fmla="*/ 5 w 7"/>
                <a:gd name="T1" fmla="*/ 5 h 9"/>
                <a:gd name="T2" fmla="*/ 7 w 7"/>
                <a:gd name="T3" fmla="*/ 2 h 9"/>
                <a:gd name="T4" fmla="*/ 5 w 7"/>
                <a:gd name="T5" fmla="*/ 0 h 9"/>
                <a:gd name="T6" fmla="*/ 4 w 7"/>
                <a:gd name="T7" fmla="*/ 0 h 9"/>
                <a:gd name="T8" fmla="*/ 1 w 7"/>
                <a:gd name="T9" fmla="*/ 2 h 9"/>
                <a:gd name="T10" fmla="*/ 0 w 7"/>
                <a:gd name="T11" fmla="*/ 6 h 9"/>
                <a:gd name="T12" fmla="*/ 1 w 7"/>
                <a:gd name="T13" fmla="*/ 8 h 9"/>
                <a:gd name="T14" fmla="*/ 3 w 7"/>
                <a:gd name="T15" fmla="*/ 9 h 9"/>
                <a:gd name="T16" fmla="*/ 4 w 7"/>
                <a:gd name="T17" fmla="*/ 8 h 9"/>
                <a:gd name="T18" fmla="*/ 5 w 7"/>
                <a:gd name="T19" fmla="*/ 5 h 9"/>
                <a:gd name="T20" fmla="*/ 5 w 7"/>
                <a:gd name="T21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" h="9">
                  <a:moveTo>
                    <a:pt x="5" y="5"/>
                  </a:moveTo>
                  <a:lnTo>
                    <a:pt x="7" y="2"/>
                  </a:lnTo>
                  <a:lnTo>
                    <a:pt x="5" y="0"/>
                  </a:lnTo>
                  <a:lnTo>
                    <a:pt x="4" y="0"/>
                  </a:lnTo>
                  <a:lnTo>
                    <a:pt x="1" y="2"/>
                  </a:lnTo>
                  <a:lnTo>
                    <a:pt x="0" y="6"/>
                  </a:lnTo>
                  <a:lnTo>
                    <a:pt x="1" y="8"/>
                  </a:lnTo>
                  <a:lnTo>
                    <a:pt x="3" y="9"/>
                  </a:lnTo>
                  <a:lnTo>
                    <a:pt x="4" y="8"/>
                  </a:lnTo>
                  <a:lnTo>
                    <a:pt x="5" y="5"/>
                  </a:lnTo>
                  <a:lnTo>
                    <a:pt x="5" y="5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17" name="Freeform 65"/>
            <p:cNvSpPr>
              <a:spLocks/>
            </p:cNvSpPr>
            <p:nvPr/>
          </p:nvSpPr>
          <p:spPr bwMode="auto">
            <a:xfrm>
              <a:off x="5396262" y="2827848"/>
              <a:ext cx="4885" cy="3969"/>
            </a:xfrm>
            <a:custGeom>
              <a:avLst/>
              <a:gdLst>
                <a:gd name="T0" fmla="*/ 5 w 7"/>
                <a:gd name="T1" fmla="*/ 0 h 4"/>
                <a:gd name="T2" fmla="*/ 2 w 7"/>
                <a:gd name="T3" fmla="*/ 0 h 4"/>
                <a:gd name="T4" fmla="*/ 1 w 7"/>
                <a:gd name="T5" fmla="*/ 1 h 4"/>
                <a:gd name="T6" fmla="*/ 0 w 7"/>
                <a:gd name="T7" fmla="*/ 3 h 4"/>
                <a:gd name="T8" fmla="*/ 1 w 7"/>
                <a:gd name="T9" fmla="*/ 4 h 4"/>
                <a:gd name="T10" fmla="*/ 4 w 7"/>
                <a:gd name="T11" fmla="*/ 4 h 4"/>
                <a:gd name="T12" fmla="*/ 7 w 7"/>
                <a:gd name="T13" fmla="*/ 3 h 4"/>
                <a:gd name="T14" fmla="*/ 7 w 7"/>
                <a:gd name="T15" fmla="*/ 1 h 4"/>
                <a:gd name="T16" fmla="*/ 5 w 7"/>
                <a:gd name="T17" fmla="*/ 0 h 4"/>
                <a:gd name="T18" fmla="*/ 5 w 7"/>
                <a:gd name="T1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4">
                  <a:moveTo>
                    <a:pt x="5" y="0"/>
                  </a:moveTo>
                  <a:lnTo>
                    <a:pt x="2" y="0"/>
                  </a:lnTo>
                  <a:lnTo>
                    <a:pt x="1" y="1"/>
                  </a:lnTo>
                  <a:lnTo>
                    <a:pt x="0" y="3"/>
                  </a:lnTo>
                  <a:lnTo>
                    <a:pt x="1" y="4"/>
                  </a:lnTo>
                  <a:lnTo>
                    <a:pt x="4" y="4"/>
                  </a:lnTo>
                  <a:lnTo>
                    <a:pt x="7" y="3"/>
                  </a:lnTo>
                  <a:lnTo>
                    <a:pt x="7" y="1"/>
                  </a:lnTo>
                  <a:lnTo>
                    <a:pt x="5" y="0"/>
                  </a:lnTo>
                  <a:lnTo>
                    <a:pt x="5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18" name="Freeform 66"/>
            <p:cNvSpPr>
              <a:spLocks/>
            </p:cNvSpPr>
            <p:nvPr/>
          </p:nvSpPr>
          <p:spPr bwMode="auto">
            <a:xfrm>
              <a:off x="5310782" y="2854306"/>
              <a:ext cx="3663" cy="2646"/>
            </a:xfrm>
            <a:custGeom>
              <a:avLst/>
              <a:gdLst>
                <a:gd name="T0" fmla="*/ 2 w 6"/>
                <a:gd name="T1" fmla="*/ 0 h 4"/>
                <a:gd name="T2" fmla="*/ 0 w 6"/>
                <a:gd name="T3" fmla="*/ 0 h 4"/>
                <a:gd name="T4" fmla="*/ 0 w 6"/>
                <a:gd name="T5" fmla="*/ 1 h 4"/>
                <a:gd name="T6" fmla="*/ 0 w 6"/>
                <a:gd name="T7" fmla="*/ 2 h 4"/>
                <a:gd name="T8" fmla="*/ 3 w 6"/>
                <a:gd name="T9" fmla="*/ 4 h 4"/>
                <a:gd name="T10" fmla="*/ 5 w 6"/>
                <a:gd name="T11" fmla="*/ 4 h 4"/>
                <a:gd name="T12" fmla="*/ 5 w 6"/>
                <a:gd name="T13" fmla="*/ 2 h 4"/>
                <a:gd name="T14" fmla="*/ 6 w 6"/>
                <a:gd name="T15" fmla="*/ 1 h 4"/>
                <a:gd name="T16" fmla="*/ 5 w 6"/>
                <a:gd name="T17" fmla="*/ 0 h 4"/>
                <a:gd name="T18" fmla="*/ 2 w 6"/>
                <a:gd name="T19" fmla="*/ 0 h 4"/>
                <a:gd name="T20" fmla="*/ 2 w 6"/>
                <a:gd name="T2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4">
                  <a:moveTo>
                    <a:pt x="2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6" y="1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19" name="Freeform 67"/>
            <p:cNvSpPr>
              <a:spLocks/>
            </p:cNvSpPr>
            <p:nvPr/>
          </p:nvSpPr>
          <p:spPr bwMode="auto">
            <a:xfrm>
              <a:off x="5313225" y="2858275"/>
              <a:ext cx="2442" cy="3969"/>
            </a:xfrm>
            <a:custGeom>
              <a:avLst/>
              <a:gdLst>
                <a:gd name="T0" fmla="*/ 4 w 4"/>
                <a:gd name="T1" fmla="*/ 1 h 4"/>
                <a:gd name="T2" fmla="*/ 4 w 4"/>
                <a:gd name="T3" fmla="*/ 0 h 4"/>
                <a:gd name="T4" fmla="*/ 3 w 4"/>
                <a:gd name="T5" fmla="*/ 0 h 4"/>
                <a:gd name="T6" fmla="*/ 2 w 4"/>
                <a:gd name="T7" fmla="*/ 0 h 4"/>
                <a:gd name="T8" fmla="*/ 2 w 4"/>
                <a:gd name="T9" fmla="*/ 1 h 4"/>
                <a:gd name="T10" fmla="*/ 0 w 4"/>
                <a:gd name="T11" fmla="*/ 4 h 4"/>
                <a:gd name="T12" fmla="*/ 2 w 4"/>
                <a:gd name="T13" fmla="*/ 4 h 4"/>
                <a:gd name="T14" fmla="*/ 4 w 4"/>
                <a:gd name="T15" fmla="*/ 4 h 4"/>
                <a:gd name="T16" fmla="*/ 4 w 4"/>
                <a:gd name="T17" fmla="*/ 1 h 4"/>
                <a:gd name="T18" fmla="*/ 4 w 4"/>
                <a:gd name="T1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4">
                  <a:moveTo>
                    <a:pt x="4" y="1"/>
                  </a:moveTo>
                  <a:lnTo>
                    <a:pt x="4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1"/>
                  </a:lnTo>
                  <a:lnTo>
                    <a:pt x="4" y="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20" name="Freeform 68"/>
            <p:cNvSpPr>
              <a:spLocks/>
            </p:cNvSpPr>
            <p:nvPr/>
          </p:nvSpPr>
          <p:spPr bwMode="auto">
            <a:xfrm>
              <a:off x="5291244" y="2858275"/>
              <a:ext cx="6106" cy="2646"/>
            </a:xfrm>
            <a:custGeom>
              <a:avLst/>
              <a:gdLst>
                <a:gd name="T0" fmla="*/ 7 w 8"/>
                <a:gd name="T1" fmla="*/ 0 h 5"/>
                <a:gd name="T2" fmla="*/ 4 w 8"/>
                <a:gd name="T3" fmla="*/ 0 h 5"/>
                <a:gd name="T4" fmla="*/ 0 w 8"/>
                <a:gd name="T5" fmla="*/ 0 h 5"/>
                <a:gd name="T6" fmla="*/ 0 w 8"/>
                <a:gd name="T7" fmla="*/ 2 h 5"/>
                <a:gd name="T8" fmla="*/ 1 w 8"/>
                <a:gd name="T9" fmla="*/ 3 h 5"/>
                <a:gd name="T10" fmla="*/ 4 w 8"/>
                <a:gd name="T11" fmla="*/ 5 h 5"/>
                <a:gd name="T12" fmla="*/ 7 w 8"/>
                <a:gd name="T13" fmla="*/ 5 h 5"/>
                <a:gd name="T14" fmla="*/ 8 w 8"/>
                <a:gd name="T15" fmla="*/ 3 h 5"/>
                <a:gd name="T16" fmla="*/ 8 w 8"/>
                <a:gd name="T17" fmla="*/ 2 h 5"/>
                <a:gd name="T18" fmla="*/ 8 w 8"/>
                <a:gd name="T19" fmla="*/ 0 h 5"/>
                <a:gd name="T20" fmla="*/ 7 w 8"/>
                <a:gd name="T21" fmla="*/ 0 h 5"/>
                <a:gd name="T22" fmla="*/ 7 w 8"/>
                <a:gd name="T2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5">
                  <a:moveTo>
                    <a:pt x="7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1" y="3"/>
                  </a:lnTo>
                  <a:lnTo>
                    <a:pt x="4" y="5"/>
                  </a:lnTo>
                  <a:lnTo>
                    <a:pt x="7" y="5"/>
                  </a:lnTo>
                  <a:lnTo>
                    <a:pt x="8" y="3"/>
                  </a:lnTo>
                  <a:lnTo>
                    <a:pt x="8" y="2"/>
                  </a:lnTo>
                  <a:lnTo>
                    <a:pt x="8" y="0"/>
                  </a:lnTo>
                  <a:lnTo>
                    <a:pt x="7" y="0"/>
                  </a:lnTo>
                  <a:lnTo>
                    <a:pt x="7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21" name="Freeform 69"/>
            <p:cNvSpPr>
              <a:spLocks/>
            </p:cNvSpPr>
            <p:nvPr/>
          </p:nvSpPr>
          <p:spPr bwMode="auto">
            <a:xfrm>
              <a:off x="5330321" y="2875472"/>
              <a:ext cx="4885" cy="2646"/>
            </a:xfrm>
            <a:custGeom>
              <a:avLst/>
              <a:gdLst>
                <a:gd name="T0" fmla="*/ 7 w 8"/>
                <a:gd name="T1" fmla="*/ 0 h 4"/>
                <a:gd name="T2" fmla="*/ 4 w 8"/>
                <a:gd name="T3" fmla="*/ 0 h 4"/>
                <a:gd name="T4" fmla="*/ 1 w 8"/>
                <a:gd name="T5" fmla="*/ 0 h 4"/>
                <a:gd name="T6" fmla="*/ 0 w 8"/>
                <a:gd name="T7" fmla="*/ 0 h 4"/>
                <a:gd name="T8" fmla="*/ 0 w 8"/>
                <a:gd name="T9" fmla="*/ 1 h 4"/>
                <a:gd name="T10" fmla="*/ 1 w 8"/>
                <a:gd name="T11" fmla="*/ 2 h 4"/>
                <a:gd name="T12" fmla="*/ 6 w 8"/>
                <a:gd name="T13" fmla="*/ 4 h 4"/>
                <a:gd name="T14" fmla="*/ 7 w 8"/>
                <a:gd name="T15" fmla="*/ 4 h 4"/>
                <a:gd name="T16" fmla="*/ 8 w 8"/>
                <a:gd name="T17" fmla="*/ 4 h 4"/>
                <a:gd name="T18" fmla="*/ 8 w 8"/>
                <a:gd name="T19" fmla="*/ 1 h 4"/>
                <a:gd name="T20" fmla="*/ 7 w 8"/>
                <a:gd name="T21" fmla="*/ 0 h 4"/>
                <a:gd name="T22" fmla="*/ 7 w 8"/>
                <a:gd name="T2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lnTo>
                    <a:pt x="4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2"/>
                  </a:lnTo>
                  <a:lnTo>
                    <a:pt x="6" y="4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1"/>
                  </a:lnTo>
                  <a:lnTo>
                    <a:pt x="7" y="0"/>
                  </a:lnTo>
                  <a:lnTo>
                    <a:pt x="7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22" name="Freeform 70"/>
            <p:cNvSpPr>
              <a:spLocks/>
            </p:cNvSpPr>
            <p:nvPr/>
          </p:nvSpPr>
          <p:spPr bwMode="auto">
            <a:xfrm>
              <a:off x="5337648" y="2868858"/>
              <a:ext cx="4885" cy="3969"/>
            </a:xfrm>
            <a:custGeom>
              <a:avLst/>
              <a:gdLst>
                <a:gd name="T0" fmla="*/ 3 w 9"/>
                <a:gd name="T1" fmla="*/ 5 h 5"/>
                <a:gd name="T2" fmla="*/ 5 w 9"/>
                <a:gd name="T3" fmla="*/ 5 h 5"/>
                <a:gd name="T4" fmla="*/ 7 w 9"/>
                <a:gd name="T5" fmla="*/ 5 h 5"/>
                <a:gd name="T6" fmla="*/ 9 w 9"/>
                <a:gd name="T7" fmla="*/ 2 h 5"/>
                <a:gd name="T8" fmla="*/ 9 w 9"/>
                <a:gd name="T9" fmla="*/ 1 h 5"/>
                <a:gd name="T10" fmla="*/ 9 w 9"/>
                <a:gd name="T11" fmla="*/ 0 h 5"/>
                <a:gd name="T12" fmla="*/ 6 w 9"/>
                <a:gd name="T13" fmla="*/ 1 h 5"/>
                <a:gd name="T14" fmla="*/ 3 w 9"/>
                <a:gd name="T15" fmla="*/ 1 h 5"/>
                <a:gd name="T16" fmla="*/ 3 w 9"/>
                <a:gd name="T17" fmla="*/ 1 h 5"/>
                <a:gd name="T18" fmla="*/ 2 w 9"/>
                <a:gd name="T19" fmla="*/ 1 h 5"/>
                <a:gd name="T20" fmla="*/ 0 w 9"/>
                <a:gd name="T21" fmla="*/ 1 h 5"/>
                <a:gd name="T22" fmla="*/ 2 w 9"/>
                <a:gd name="T23" fmla="*/ 2 h 5"/>
                <a:gd name="T24" fmla="*/ 3 w 9"/>
                <a:gd name="T25" fmla="*/ 5 h 5"/>
                <a:gd name="T26" fmla="*/ 3 w 9"/>
                <a:gd name="T2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" h="5">
                  <a:moveTo>
                    <a:pt x="3" y="5"/>
                  </a:moveTo>
                  <a:lnTo>
                    <a:pt x="5" y="5"/>
                  </a:lnTo>
                  <a:lnTo>
                    <a:pt x="7" y="5"/>
                  </a:lnTo>
                  <a:lnTo>
                    <a:pt x="9" y="2"/>
                  </a:lnTo>
                  <a:lnTo>
                    <a:pt x="9" y="1"/>
                  </a:lnTo>
                  <a:lnTo>
                    <a:pt x="9" y="0"/>
                  </a:lnTo>
                  <a:lnTo>
                    <a:pt x="6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1"/>
                  </a:lnTo>
                  <a:lnTo>
                    <a:pt x="2" y="2"/>
                  </a:lnTo>
                  <a:lnTo>
                    <a:pt x="3" y="5"/>
                  </a:lnTo>
                  <a:lnTo>
                    <a:pt x="3" y="5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23" name="Freeform 71"/>
            <p:cNvSpPr>
              <a:spLocks/>
            </p:cNvSpPr>
            <p:nvPr/>
          </p:nvSpPr>
          <p:spPr bwMode="auto">
            <a:xfrm>
              <a:off x="5636827" y="2662485"/>
              <a:ext cx="2442" cy="2646"/>
            </a:xfrm>
            <a:custGeom>
              <a:avLst/>
              <a:gdLst>
                <a:gd name="T0" fmla="*/ 6 w 6"/>
                <a:gd name="T1" fmla="*/ 0 h 5"/>
                <a:gd name="T2" fmla="*/ 3 w 6"/>
                <a:gd name="T3" fmla="*/ 0 h 5"/>
                <a:gd name="T4" fmla="*/ 1 w 6"/>
                <a:gd name="T5" fmla="*/ 0 h 5"/>
                <a:gd name="T6" fmla="*/ 0 w 6"/>
                <a:gd name="T7" fmla="*/ 2 h 5"/>
                <a:gd name="T8" fmla="*/ 1 w 6"/>
                <a:gd name="T9" fmla="*/ 3 h 5"/>
                <a:gd name="T10" fmla="*/ 4 w 6"/>
                <a:gd name="T11" fmla="*/ 5 h 5"/>
                <a:gd name="T12" fmla="*/ 6 w 6"/>
                <a:gd name="T13" fmla="*/ 3 h 5"/>
                <a:gd name="T14" fmla="*/ 6 w 6"/>
                <a:gd name="T15" fmla="*/ 3 h 5"/>
                <a:gd name="T16" fmla="*/ 6 w 6"/>
                <a:gd name="T17" fmla="*/ 2 h 5"/>
                <a:gd name="T18" fmla="*/ 6 w 6"/>
                <a:gd name="T19" fmla="*/ 0 h 5"/>
                <a:gd name="T20" fmla="*/ 6 w 6"/>
                <a:gd name="T2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5">
                  <a:moveTo>
                    <a:pt x="6" y="0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1" y="3"/>
                  </a:lnTo>
                  <a:lnTo>
                    <a:pt x="4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24" name="Freeform 72"/>
            <p:cNvSpPr>
              <a:spLocks/>
            </p:cNvSpPr>
            <p:nvPr/>
          </p:nvSpPr>
          <p:spPr bwMode="auto">
            <a:xfrm>
              <a:off x="5633164" y="2659839"/>
              <a:ext cx="3663" cy="5292"/>
            </a:xfrm>
            <a:custGeom>
              <a:avLst/>
              <a:gdLst>
                <a:gd name="T0" fmla="*/ 3 w 5"/>
                <a:gd name="T1" fmla="*/ 4 h 7"/>
                <a:gd name="T2" fmla="*/ 4 w 5"/>
                <a:gd name="T3" fmla="*/ 3 h 7"/>
                <a:gd name="T4" fmla="*/ 5 w 5"/>
                <a:gd name="T5" fmla="*/ 1 h 7"/>
                <a:gd name="T6" fmla="*/ 5 w 5"/>
                <a:gd name="T7" fmla="*/ 0 h 7"/>
                <a:gd name="T8" fmla="*/ 3 w 5"/>
                <a:gd name="T9" fmla="*/ 0 h 7"/>
                <a:gd name="T10" fmla="*/ 0 w 5"/>
                <a:gd name="T11" fmla="*/ 1 h 7"/>
                <a:gd name="T12" fmla="*/ 0 w 5"/>
                <a:gd name="T13" fmla="*/ 4 h 7"/>
                <a:gd name="T14" fmla="*/ 0 w 5"/>
                <a:gd name="T15" fmla="*/ 6 h 7"/>
                <a:gd name="T16" fmla="*/ 1 w 5"/>
                <a:gd name="T17" fmla="*/ 7 h 7"/>
                <a:gd name="T18" fmla="*/ 3 w 5"/>
                <a:gd name="T19" fmla="*/ 6 h 7"/>
                <a:gd name="T20" fmla="*/ 3 w 5"/>
                <a:gd name="T21" fmla="*/ 4 h 7"/>
                <a:gd name="T22" fmla="*/ 3 w 5"/>
                <a:gd name="T23" fmla="*/ 4 h 7"/>
                <a:gd name="T24" fmla="*/ 3 w 5"/>
                <a:gd name="T25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7">
                  <a:moveTo>
                    <a:pt x="3" y="4"/>
                  </a:moveTo>
                  <a:lnTo>
                    <a:pt x="4" y="3"/>
                  </a:lnTo>
                  <a:lnTo>
                    <a:pt x="5" y="1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0" y="6"/>
                  </a:lnTo>
                  <a:lnTo>
                    <a:pt x="1" y="7"/>
                  </a:lnTo>
                  <a:lnTo>
                    <a:pt x="3" y="6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25" name="Freeform 73"/>
            <p:cNvSpPr>
              <a:spLocks/>
            </p:cNvSpPr>
            <p:nvPr/>
          </p:nvSpPr>
          <p:spPr bwMode="auto">
            <a:xfrm>
              <a:off x="5628279" y="2654547"/>
              <a:ext cx="3663" cy="2646"/>
            </a:xfrm>
            <a:custGeom>
              <a:avLst/>
              <a:gdLst>
                <a:gd name="T0" fmla="*/ 3 w 6"/>
                <a:gd name="T1" fmla="*/ 0 h 3"/>
                <a:gd name="T2" fmla="*/ 2 w 6"/>
                <a:gd name="T3" fmla="*/ 0 h 3"/>
                <a:gd name="T4" fmla="*/ 0 w 6"/>
                <a:gd name="T5" fmla="*/ 1 h 3"/>
                <a:gd name="T6" fmla="*/ 0 w 6"/>
                <a:gd name="T7" fmla="*/ 3 h 3"/>
                <a:gd name="T8" fmla="*/ 2 w 6"/>
                <a:gd name="T9" fmla="*/ 3 h 3"/>
                <a:gd name="T10" fmla="*/ 4 w 6"/>
                <a:gd name="T11" fmla="*/ 3 h 3"/>
                <a:gd name="T12" fmla="*/ 4 w 6"/>
                <a:gd name="T13" fmla="*/ 1 h 3"/>
                <a:gd name="T14" fmla="*/ 6 w 6"/>
                <a:gd name="T15" fmla="*/ 1 h 3"/>
                <a:gd name="T16" fmla="*/ 3 w 6"/>
                <a:gd name="T17" fmla="*/ 0 h 3"/>
                <a:gd name="T18" fmla="*/ 3 w 6"/>
                <a:gd name="T1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3">
                  <a:moveTo>
                    <a:pt x="3" y="0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2" y="3"/>
                  </a:lnTo>
                  <a:lnTo>
                    <a:pt x="4" y="3"/>
                  </a:lnTo>
                  <a:lnTo>
                    <a:pt x="4" y="1"/>
                  </a:lnTo>
                  <a:lnTo>
                    <a:pt x="6" y="1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26" name="Freeform 74"/>
            <p:cNvSpPr>
              <a:spLocks/>
            </p:cNvSpPr>
            <p:nvPr/>
          </p:nvSpPr>
          <p:spPr bwMode="auto">
            <a:xfrm>
              <a:off x="5608741" y="2710109"/>
              <a:ext cx="2442" cy="1323"/>
            </a:xfrm>
            <a:custGeom>
              <a:avLst/>
              <a:gdLst>
                <a:gd name="T0" fmla="*/ 3 w 5"/>
                <a:gd name="T1" fmla="*/ 1 h 1"/>
                <a:gd name="T2" fmla="*/ 5 w 5"/>
                <a:gd name="T3" fmla="*/ 0 h 1"/>
                <a:gd name="T4" fmla="*/ 3 w 5"/>
                <a:gd name="T5" fmla="*/ 0 h 1"/>
                <a:gd name="T6" fmla="*/ 0 w 5"/>
                <a:gd name="T7" fmla="*/ 0 h 1"/>
                <a:gd name="T8" fmla="*/ 0 w 5"/>
                <a:gd name="T9" fmla="*/ 1 h 1"/>
                <a:gd name="T10" fmla="*/ 0 w 5"/>
                <a:gd name="T11" fmla="*/ 1 h 1"/>
                <a:gd name="T12" fmla="*/ 3 w 5"/>
                <a:gd name="T13" fmla="*/ 1 h 1"/>
                <a:gd name="T14" fmla="*/ 3 w 5"/>
                <a:gd name="T1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1">
                  <a:moveTo>
                    <a:pt x="3" y="1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3" y="1"/>
                  </a:lnTo>
                  <a:lnTo>
                    <a:pt x="3" y="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27" name="Freeform 75"/>
            <p:cNvSpPr>
              <a:spLocks/>
            </p:cNvSpPr>
            <p:nvPr/>
          </p:nvSpPr>
          <p:spPr bwMode="auto">
            <a:xfrm>
              <a:off x="5607520" y="2712755"/>
              <a:ext cx="1221" cy="2646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0 w 3"/>
                <a:gd name="T5" fmla="*/ 3 h 3"/>
                <a:gd name="T6" fmla="*/ 1 w 3"/>
                <a:gd name="T7" fmla="*/ 3 h 3"/>
                <a:gd name="T8" fmla="*/ 3 w 3"/>
                <a:gd name="T9" fmla="*/ 3 h 3"/>
                <a:gd name="T10" fmla="*/ 3 w 3"/>
                <a:gd name="T11" fmla="*/ 2 h 3"/>
                <a:gd name="T12" fmla="*/ 3 w 3"/>
                <a:gd name="T13" fmla="*/ 0 h 3"/>
                <a:gd name="T14" fmla="*/ 1 w 3"/>
                <a:gd name="T15" fmla="*/ 0 h 3"/>
                <a:gd name="T16" fmla="*/ 1 w 3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28" name="Freeform 76"/>
            <p:cNvSpPr>
              <a:spLocks/>
            </p:cNvSpPr>
            <p:nvPr/>
          </p:nvSpPr>
          <p:spPr bwMode="auto">
            <a:xfrm>
              <a:off x="5603856" y="2715401"/>
              <a:ext cx="2442" cy="2646"/>
            </a:xfrm>
            <a:custGeom>
              <a:avLst/>
              <a:gdLst>
                <a:gd name="T0" fmla="*/ 1 w 4"/>
                <a:gd name="T1" fmla="*/ 0 h 2"/>
                <a:gd name="T2" fmla="*/ 0 w 4"/>
                <a:gd name="T3" fmla="*/ 1 h 2"/>
                <a:gd name="T4" fmla="*/ 1 w 4"/>
                <a:gd name="T5" fmla="*/ 2 h 2"/>
                <a:gd name="T6" fmla="*/ 3 w 4"/>
                <a:gd name="T7" fmla="*/ 2 h 2"/>
                <a:gd name="T8" fmla="*/ 4 w 4"/>
                <a:gd name="T9" fmla="*/ 1 h 2"/>
                <a:gd name="T10" fmla="*/ 4 w 4"/>
                <a:gd name="T11" fmla="*/ 0 h 2"/>
                <a:gd name="T12" fmla="*/ 3 w 4"/>
                <a:gd name="T13" fmla="*/ 0 h 2"/>
                <a:gd name="T14" fmla="*/ 1 w 4"/>
                <a:gd name="T15" fmla="*/ 0 h 2"/>
                <a:gd name="T16" fmla="*/ 1 w 4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2">
                  <a:moveTo>
                    <a:pt x="1" y="0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3" y="2"/>
                  </a:lnTo>
                  <a:lnTo>
                    <a:pt x="4" y="1"/>
                  </a:lnTo>
                  <a:lnTo>
                    <a:pt x="4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29" name="Freeform 77"/>
            <p:cNvSpPr>
              <a:spLocks/>
            </p:cNvSpPr>
            <p:nvPr/>
          </p:nvSpPr>
          <p:spPr bwMode="auto">
            <a:xfrm>
              <a:off x="5228966" y="3018346"/>
              <a:ext cx="3663" cy="3969"/>
            </a:xfrm>
            <a:custGeom>
              <a:avLst/>
              <a:gdLst>
                <a:gd name="T0" fmla="*/ 5 w 7"/>
                <a:gd name="T1" fmla="*/ 3 h 6"/>
                <a:gd name="T2" fmla="*/ 7 w 7"/>
                <a:gd name="T3" fmla="*/ 3 h 6"/>
                <a:gd name="T4" fmla="*/ 3 w 7"/>
                <a:gd name="T5" fmla="*/ 0 h 6"/>
                <a:gd name="T6" fmla="*/ 0 w 7"/>
                <a:gd name="T7" fmla="*/ 0 h 6"/>
                <a:gd name="T8" fmla="*/ 0 w 7"/>
                <a:gd name="T9" fmla="*/ 2 h 6"/>
                <a:gd name="T10" fmla="*/ 1 w 7"/>
                <a:gd name="T11" fmla="*/ 5 h 6"/>
                <a:gd name="T12" fmla="*/ 3 w 7"/>
                <a:gd name="T13" fmla="*/ 6 h 6"/>
                <a:gd name="T14" fmla="*/ 4 w 7"/>
                <a:gd name="T15" fmla="*/ 6 h 6"/>
                <a:gd name="T16" fmla="*/ 5 w 7"/>
                <a:gd name="T17" fmla="*/ 5 h 6"/>
                <a:gd name="T18" fmla="*/ 5 w 7"/>
                <a:gd name="T19" fmla="*/ 3 h 6"/>
                <a:gd name="T20" fmla="*/ 5 w 7"/>
                <a:gd name="T21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" h="6">
                  <a:moveTo>
                    <a:pt x="5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1" y="5"/>
                  </a:lnTo>
                  <a:lnTo>
                    <a:pt x="3" y="6"/>
                  </a:lnTo>
                  <a:lnTo>
                    <a:pt x="4" y="6"/>
                  </a:lnTo>
                  <a:lnTo>
                    <a:pt x="5" y="5"/>
                  </a:lnTo>
                  <a:lnTo>
                    <a:pt x="5" y="3"/>
                  </a:lnTo>
                  <a:lnTo>
                    <a:pt x="5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30" name="Freeform 78"/>
            <p:cNvSpPr>
              <a:spLocks/>
            </p:cNvSpPr>
            <p:nvPr/>
          </p:nvSpPr>
          <p:spPr bwMode="auto">
            <a:xfrm>
              <a:off x="5233850" y="2921774"/>
              <a:ext cx="25644" cy="21166"/>
            </a:xfrm>
            <a:custGeom>
              <a:avLst/>
              <a:gdLst>
                <a:gd name="T0" fmla="*/ 42 w 42"/>
                <a:gd name="T1" fmla="*/ 12 h 33"/>
                <a:gd name="T2" fmla="*/ 39 w 42"/>
                <a:gd name="T3" fmla="*/ 6 h 33"/>
                <a:gd name="T4" fmla="*/ 35 w 42"/>
                <a:gd name="T5" fmla="*/ 3 h 33"/>
                <a:gd name="T6" fmla="*/ 27 w 42"/>
                <a:gd name="T7" fmla="*/ 6 h 33"/>
                <a:gd name="T8" fmla="*/ 22 w 42"/>
                <a:gd name="T9" fmla="*/ 9 h 33"/>
                <a:gd name="T10" fmla="*/ 23 w 42"/>
                <a:gd name="T11" fmla="*/ 5 h 33"/>
                <a:gd name="T12" fmla="*/ 22 w 42"/>
                <a:gd name="T13" fmla="*/ 2 h 33"/>
                <a:gd name="T14" fmla="*/ 17 w 42"/>
                <a:gd name="T15" fmla="*/ 2 h 33"/>
                <a:gd name="T16" fmla="*/ 16 w 42"/>
                <a:gd name="T17" fmla="*/ 10 h 33"/>
                <a:gd name="T18" fmla="*/ 19 w 42"/>
                <a:gd name="T19" fmla="*/ 15 h 33"/>
                <a:gd name="T20" fmla="*/ 13 w 42"/>
                <a:gd name="T21" fmla="*/ 16 h 33"/>
                <a:gd name="T22" fmla="*/ 12 w 42"/>
                <a:gd name="T23" fmla="*/ 13 h 33"/>
                <a:gd name="T24" fmla="*/ 6 w 42"/>
                <a:gd name="T25" fmla="*/ 10 h 33"/>
                <a:gd name="T26" fmla="*/ 5 w 42"/>
                <a:gd name="T27" fmla="*/ 6 h 33"/>
                <a:gd name="T28" fmla="*/ 3 w 42"/>
                <a:gd name="T29" fmla="*/ 10 h 33"/>
                <a:gd name="T30" fmla="*/ 0 w 42"/>
                <a:gd name="T31" fmla="*/ 13 h 33"/>
                <a:gd name="T32" fmla="*/ 2 w 42"/>
                <a:gd name="T33" fmla="*/ 17 h 33"/>
                <a:gd name="T34" fmla="*/ 3 w 42"/>
                <a:gd name="T35" fmla="*/ 22 h 33"/>
                <a:gd name="T36" fmla="*/ 15 w 42"/>
                <a:gd name="T37" fmla="*/ 23 h 33"/>
                <a:gd name="T38" fmla="*/ 17 w 42"/>
                <a:gd name="T39" fmla="*/ 26 h 33"/>
                <a:gd name="T40" fmla="*/ 25 w 42"/>
                <a:gd name="T41" fmla="*/ 29 h 33"/>
                <a:gd name="T42" fmla="*/ 27 w 42"/>
                <a:gd name="T43" fmla="*/ 33 h 33"/>
                <a:gd name="T44" fmla="*/ 32 w 42"/>
                <a:gd name="T45" fmla="*/ 30 h 33"/>
                <a:gd name="T46" fmla="*/ 32 w 42"/>
                <a:gd name="T47" fmla="*/ 28 h 33"/>
                <a:gd name="T48" fmla="*/ 27 w 42"/>
                <a:gd name="T49" fmla="*/ 28 h 33"/>
                <a:gd name="T50" fmla="*/ 25 w 42"/>
                <a:gd name="T51" fmla="*/ 25 h 33"/>
                <a:gd name="T52" fmla="*/ 23 w 42"/>
                <a:gd name="T53" fmla="*/ 17 h 33"/>
                <a:gd name="T54" fmla="*/ 25 w 42"/>
                <a:gd name="T55" fmla="*/ 15 h 33"/>
                <a:gd name="T56" fmla="*/ 29 w 42"/>
                <a:gd name="T57" fmla="*/ 16 h 33"/>
                <a:gd name="T58" fmla="*/ 32 w 42"/>
                <a:gd name="T59" fmla="*/ 23 h 33"/>
                <a:gd name="T60" fmla="*/ 36 w 42"/>
                <a:gd name="T61" fmla="*/ 23 h 33"/>
                <a:gd name="T62" fmla="*/ 42 w 42"/>
                <a:gd name="T63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2" h="33">
                  <a:moveTo>
                    <a:pt x="42" y="16"/>
                  </a:moveTo>
                  <a:lnTo>
                    <a:pt x="42" y="12"/>
                  </a:lnTo>
                  <a:lnTo>
                    <a:pt x="40" y="7"/>
                  </a:lnTo>
                  <a:lnTo>
                    <a:pt x="39" y="6"/>
                  </a:lnTo>
                  <a:lnTo>
                    <a:pt x="37" y="3"/>
                  </a:lnTo>
                  <a:lnTo>
                    <a:pt x="35" y="3"/>
                  </a:lnTo>
                  <a:lnTo>
                    <a:pt x="32" y="5"/>
                  </a:lnTo>
                  <a:lnTo>
                    <a:pt x="27" y="6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0" y="6"/>
                  </a:lnTo>
                  <a:lnTo>
                    <a:pt x="23" y="5"/>
                  </a:lnTo>
                  <a:lnTo>
                    <a:pt x="23" y="3"/>
                  </a:lnTo>
                  <a:lnTo>
                    <a:pt x="22" y="2"/>
                  </a:lnTo>
                  <a:lnTo>
                    <a:pt x="19" y="0"/>
                  </a:lnTo>
                  <a:lnTo>
                    <a:pt x="17" y="2"/>
                  </a:lnTo>
                  <a:lnTo>
                    <a:pt x="16" y="6"/>
                  </a:lnTo>
                  <a:lnTo>
                    <a:pt x="16" y="10"/>
                  </a:lnTo>
                  <a:lnTo>
                    <a:pt x="16" y="13"/>
                  </a:lnTo>
                  <a:lnTo>
                    <a:pt x="19" y="15"/>
                  </a:lnTo>
                  <a:lnTo>
                    <a:pt x="17" y="16"/>
                  </a:lnTo>
                  <a:lnTo>
                    <a:pt x="13" y="16"/>
                  </a:lnTo>
                  <a:lnTo>
                    <a:pt x="12" y="15"/>
                  </a:lnTo>
                  <a:lnTo>
                    <a:pt x="12" y="13"/>
                  </a:lnTo>
                  <a:lnTo>
                    <a:pt x="10" y="12"/>
                  </a:lnTo>
                  <a:lnTo>
                    <a:pt x="6" y="10"/>
                  </a:lnTo>
                  <a:lnTo>
                    <a:pt x="5" y="7"/>
                  </a:lnTo>
                  <a:lnTo>
                    <a:pt x="5" y="6"/>
                  </a:lnTo>
                  <a:lnTo>
                    <a:pt x="3" y="7"/>
                  </a:lnTo>
                  <a:lnTo>
                    <a:pt x="3" y="10"/>
                  </a:lnTo>
                  <a:lnTo>
                    <a:pt x="2" y="12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2" y="17"/>
                  </a:lnTo>
                  <a:lnTo>
                    <a:pt x="2" y="20"/>
                  </a:lnTo>
                  <a:lnTo>
                    <a:pt x="3" y="22"/>
                  </a:lnTo>
                  <a:lnTo>
                    <a:pt x="7" y="23"/>
                  </a:lnTo>
                  <a:lnTo>
                    <a:pt x="15" y="23"/>
                  </a:lnTo>
                  <a:lnTo>
                    <a:pt x="16" y="25"/>
                  </a:lnTo>
                  <a:lnTo>
                    <a:pt x="17" y="26"/>
                  </a:lnTo>
                  <a:lnTo>
                    <a:pt x="20" y="28"/>
                  </a:lnTo>
                  <a:lnTo>
                    <a:pt x="25" y="29"/>
                  </a:lnTo>
                  <a:lnTo>
                    <a:pt x="26" y="30"/>
                  </a:lnTo>
                  <a:lnTo>
                    <a:pt x="27" y="33"/>
                  </a:lnTo>
                  <a:lnTo>
                    <a:pt x="29" y="33"/>
                  </a:lnTo>
                  <a:lnTo>
                    <a:pt x="32" y="30"/>
                  </a:lnTo>
                  <a:lnTo>
                    <a:pt x="33" y="29"/>
                  </a:lnTo>
                  <a:lnTo>
                    <a:pt x="32" y="28"/>
                  </a:lnTo>
                  <a:lnTo>
                    <a:pt x="30" y="28"/>
                  </a:lnTo>
                  <a:lnTo>
                    <a:pt x="27" y="28"/>
                  </a:lnTo>
                  <a:lnTo>
                    <a:pt x="25" y="28"/>
                  </a:lnTo>
                  <a:lnTo>
                    <a:pt x="25" y="25"/>
                  </a:lnTo>
                  <a:lnTo>
                    <a:pt x="25" y="22"/>
                  </a:lnTo>
                  <a:lnTo>
                    <a:pt x="23" y="17"/>
                  </a:lnTo>
                  <a:lnTo>
                    <a:pt x="23" y="15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9" y="16"/>
                  </a:lnTo>
                  <a:lnTo>
                    <a:pt x="29" y="20"/>
                  </a:lnTo>
                  <a:lnTo>
                    <a:pt x="32" y="23"/>
                  </a:lnTo>
                  <a:lnTo>
                    <a:pt x="35" y="23"/>
                  </a:lnTo>
                  <a:lnTo>
                    <a:pt x="36" y="23"/>
                  </a:lnTo>
                  <a:lnTo>
                    <a:pt x="39" y="20"/>
                  </a:lnTo>
                  <a:lnTo>
                    <a:pt x="42" y="16"/>
                  </a:lnTo>
                  <a:lnTo>
                    <a:pt x="42" y="16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31" name="Freeform 79"/>
            <p:cNvSpPr>
              <a:spLocks/>
            </p:cNvSpPr>
            <p:nvPr/>
          </p:nvSpPr>
          <p:spPr bwMode="auto">
            <a:xfrm>
              <a:off x="5238735" y="2938972"/>
              <a:ext cx="9769" cy="9260"/>
            </a:xfrm>
            <a:custGeom>
              <a:avLst/>
              <a:gdLst>
                <a:gd name="T0" fmla="*/ 13 w 18"/>
                <a:gd name="T1" fmla="*/ 12 h 16"/>
                <a:gd name="T2" fmla="*/ 16 w 18"/>
                <a:gd name="T3" fmla="*/ 9 h 16"/>
                <a:gd name="T4" fmla="*/ 18 w 18"/>
                <a:gd name="T5" fmla="*/ 7 h 16"/>
                <a:gd name="T6" fmla="*/ 16 w 18"/>
                <a:gd name="T7" fmla="*/ 6 h 16"/>
                <a:gd name="T8" fmla="*/ 15 w 18"/>
                <a:gd name="T9" fmla="*/ 6 h 16"/>
                <a:gd name="T10" fmla="*/ 12 w 18"/>
                <a:gd name="T11" fmla="*/ 4 h 16"/>
                <a:gd name="T12" fmla="*/ 9 w 18"/>
                <a:gd name="T13" fmla="*/ 3 h 16"/>
                <a:gd name="T14" fmla="*/ 8 w 18"/>
                <a:gd name="T15" fmla="*/ 0 h 16"/>
                <a:gd name="T16" fmla="*/ 5 w 18"/>
                <a:gd name="T17" fmla="*/ 0 h 16"/>
                <a:gd name="T18" fmla="*/ 3 w 18"/>
                <a:gd name="T19" fmla="*/ 2 h 16"/>
                <a:gd name="T20" fmla="*/ 3 w 18"/>
                <a:gd name="T21" fmla="*/ 3 h 16"/>
                <a:gd name="T22" fmla="*/ 2 w 18"/>
                <a:gd name="T23" fmla="*/ 4 h 16"/>
                <a:gd name="T24" fmla="*/ 2 w 18"/>
                <a:gd name="T25" fmla="*/ 6 h 16"/>
                <a:gd name="T26" fmla="*/ 0 w 18"/>
                <a:gd name="T27" fmla="*/ 7 h 16"/>
                <a:gd name="T28" fmla="*/ 2 w 18"/>
                <a:gd name="T29" fmla="*/ 9 h 16"/>
                <a:gd name="T30" fmla="*/ 3 w 18"/>
                <a:gd name="T31" fmla="*/ 10 h 16"/>
                <a:gd name="T32" fmla="*/ 5 w 18"/>
                <a:gd name="T33" fmla="*/ 14 h 16"/>
                <a:gd name="T34" fmla="*/ 6 w 18"/>
                <a:gd name="T35" fmla="*/ 16 h 16"/>
                <a:gd name="T36" fmla="*/ 8 w 18"/>
                <a:gd name="T37" fmla="*/ 16 h 16"/>
                <a:gd name="T38" fmla="*/ 12 w 18"/>
                <a:gd name="T39" fmla="*/ 14 h 16"/>
                <a:gd name="T40" fmla="*/ 13 w 18"/>
                <a:gd name="T41" fmla="*/ 12 h 16"/>
                <a:gd name="T42" fmla="*/ 13 w 18"/>
                <a:gd name="T43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" h="16">
                  <a:moveTo>
                    <a:pt x="13" y="12"/>
                  </a:moveTo>
                  <a:lnTo>
                    <a:pt x="16" y="9"/>
                  </a:lnTo>
                  <a:lnTo>
                    <a:pt x="18" y="7"/>
                  </a:lnTo>
                  <a:lnTo>
                    <a:pt x="16" y="6"/>
                  </a:lnTo>
                  <a:lnTo>
                    <a:pt x="15" y="6"/>
                  </a:lnTo>
                  <a:lnTo>
                    <a:pt x="12" y="4"/>
                  </a:lnTo>
                  <a:lnTo>
                    <a:pt x="9" y="3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2"/>
                  </a:lnTo>
                  <a:lnTo>
                    <a:pt x="3" y="3"/>
                  </a:lnTo>
                  <a:lnTo>
                    <a:pt x="2" y="4"/>
                  </a:lnTo>
                  <a:lnTo>
                    <a:pt x="2" y="6"/>
                  </a:lnTo>
                  <a:lnTo>
                    <a:pt x="0" y="7"/>
                  </a:lnTo>
                  <a:lnTo>
                    <a:pt x="2" y="9"/>
                  </a:lnTo>
                  <a:lnTo>
                    <a:pt x="3" y="10"/>
                  </a:lnTo>
                  <a:lnTo>
                    <a:pt x="5" y="14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2" y="14"/>
                  </a:lnTo>
                  <a:lnTo>
                    <a:pt x="13" y="12"/>
                  </a:lnTo>
                  <a:lnTo>
                    <a:pt x="13" y="12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32" name="Freeform 80"/>
            <p:cNvSpPr>
              <a:spLocks/>
            </p:cNvSpPr>
            <p:nvPr/>
          </p:nvSpPr>
          <p:spPr bwMode="auto">
            <a:xfrm>
              <a:off x="5219197" y="2928388"/>
              <a:ext cx="7327" cy="10583"/>
            </a:xfrm>
            <a:custGeom>
              <a:avLst/>
              <a:gdLst>
                <a:gd name="T0" fmla="*/ 8 w 11"/>
                <a:gd name="T1" fmla="*/ 4 h 14"/>
                <a:gd name="T2" fmla="*/ 10 w 11"/>
                <a:gd name="T3" fmla="*/ 1 h 14"/>
                <a:gd name="T4" fmla="*/ 8 w 11"/>
                <a:gd name="T5" fmla="*/ 0 h 14"/>
                <a:gd name="T6" fmla="*/ 7 w 11"/>
                <a:gd name="T7" fmla="*/ 0 h 14"/>
                <a:gd name="T8" fmla="*/ 6 w 11"/>
                <a:gd name="T9" fmla="*/ 3 h 14"/>
                <a:gd name="T10" fmla="*/ 4 w 11"/>
                <a:gd name="T11" fmla="*/ 5 h 14"/>
                <a:gd name="T12" fmla="*/ 3 w 11"/>
                <a:gd name="T13" fmla="*/ 10 h 14"/>
                <a:gd name="T14" fmla="*/ 1 w 11"/>
                <a:gd name="T15" fmla="*/ 11 h 14"/>
                <a:gd name="T16" fmla="*/ 0 w 11"/>
                <a:gd name="T17" fmla="*/ 13 h 14"/>
                <a:gd name="T18" fmla="*/ 6 w 11"/>
                <a:gd name="T19" fmla="*/ 14 h 14"/>
                <a:gd name="T20" fmla="*/ 10 w 11"/>
                <a:gd name="T21" fmla="*/ 14 h 14"/>
                <a:gd name="T22" fmla="*/ 11 w 11"/>
                <a:gd name="T23" fmla="*/ 13 h 14"/>
                <a:gd name="T24" fmla="*/ 11 w 11"/>
                <a:gd name="T25" fmla="*/ 11 h 14"/>
                <a:gd name="T26" fmla="*/ 8 w 11"/>
                <a:gd name="T27" fmla="*/ 10 h 14"/>
                <a:gd name="T28" fmla="*/ 7 w 11"/>
                <a:gd name="T29" fmla="*/ 8 h 14"/>
                <a:gd name="T30" fmla="*/ 8 w 11"/>
                <a:gd name="T31" fmla="*/ 4 h 14"/>
                <a:gd name="T32" fmla="*/ 8 w 11"/>
                <a:gd name="T33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4">
                  <a:moveTo>
                    <a:pt x="8" y="4"/>
                  </a:moveTo>
                  <a:lnTo>
                    <a:pt x="10" y="1"/>
                  </a:lnTo>
                  <a:lnTo>
                    <a:pt x="8" y="0"/>
                  </a:lnTo>
                  <a:lnTo>
                    <a:pt x="7" y="0"/>
                  </a:lnTo>
                  <a:lnTo>
                    <a:pt x="6" y="3"/>
                  </a:lnTo>
                  <a:lnTo>
                    <a:pt x="4" y="5"/>
                  </a:lnTo>
                  <a:lnTo>
                    <a:pt x="3" y="10"/>
                  </a:lnTo>
                  <a:lnTo>
                    <a:pt x="1" y="11"/>
                  </a:lnTo>
                  <a:lnTo>
                    <a:pt x="0" y="13"/>
                  </a:lnTo>
                  <a:lnTo>
                    <a:pt x="6" y="14"/>
                  </a:lnTo>
                  <a:lnTo>
                    <a:pt x="10" y="14"/>
                  </a:lnTo>
                  <a:lnTo>
                    <a:pt x="11" y="13"/>
                  </a:lnTo>
                  <a:lnTo>
                    <a:pt x="11" y="11"/>
                  </a:lnTo>
                  <a:lnTo>
                    <a:pt x="8" y="10"/>
                  </a:lnTo>
                  <a:lnTo>
                    <a:pt x="7" y="8"/>
                  </a:lnTo>
                  <a:lnTo>
                    <a:pt x="8" y="4"/>
                  </a:lnTo>
                  <a:lnTo>
                    <a:pt x="8" y="4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33" name="Freeform 81"/>
            <p:cNvSpPr>
              <a:spLocks/>
            </p:cNvSpPr>
            <p:nvPr/>
          </p:nvSpPr>
          <p:spPr bwMode="auto">
            <a:xfrm>
              <a:off x="5202101" y="2935003"/>
              <a:ext cx="15875" cy="11906"/>
            </a:xfrm>
            <a:custGeom>
              <a:avLst/>
              <a:gdLst>
                <a:gd name="T0" fmla="*/ 11 w 24"/>
                <a:gd name="T1" fmla="*/ 5 h 19"/>
                <a:gd name="T2" fmla="*/ 10 w 24"/>
                <a:gd name="T3" fmla="*/ 5 h 19"/>
                <a:gd name="T4" fmla="*/ 5 w 24"/>
                <a:gd name="T5" fmla="*/ 5 h 19"/>
                <a:gd name="T6" fmla="*/ 5 w 24"/>
                <a:gd name="T7" fmla="*/ 5 h 19"/>
                <a:gd name="T8" fmla="*/ 3 w 24"/>
                <a:gd name="T9" fmla="*/ 6 h 19"/>
                <a:gd name="T10" fmla="*/ 0 w 24"/>
                <a:gd name="T11" fmla="*/ 5 h 19"/>
                <a:gd name="T12" fmla="*/ 0 w 24"/>
                <a:gd name="T13" fmla="*/ 6 h 19"/>
                <a:gd name="T14" fmla="*/ 1 w 24"/>
                <a:gd name="T15" fmla="*/ 9 h 19"/>
                <a:gd name="T16" fmla="*/ 4 w 24"/>
                <a:gd name="T17" fmla="*/ 9 h 19"/>
                <a:gd name="T18" fmla="*/ 7 w 24"/>
                <a:gd name="T19" fmla="*/ 10 h 19"/>
                <a:gd name="T20" fmla="*/ 10 w 24"/>
                <a:gd name="T21" fmla="*/ 9 h 19"/>
                <a:gd name="T22" fmla="*/ 13 w 24"/>
                <a:gd name="T23" fmla="*/ 10 h 19"/>
                <a:gd name="T24" fmla="*/ 13 w 24"/>
                <a:gd name="T25" fmla="*/ 15 h 19"/>
                <a:gd name="T26" fmla="*/ 15 w 24"/>
                <a:gd name="T27" fmla="*/ 16 h 19"/>
                <a:gd name="T28" fmla="*/ 17 w 24"/>
                <a:gd name="T29" fmla="*/ 16 h 19"/>
                <a:gd name="T30" fmla="*/ 18 w 24"/>
                <a:gd name="T31" fmla="*/ 12 h 19"/>
                <a:gd name="T32" fmla="*/ 20 w 24"/>
                <a:gd name="T33" fmla="*/ 12 h 19"/>
                <a:gd name="T34" fmla="*/ 20 w 24"/>
                <a:gd name="T35" fmla="*/ 13 h 19"/>
                <a:gd name="T36" fmla="*/ 20 w 24"/>
                <a:gd name="T37" fmla="*/ 18 h 19"/>
                <a:gd name="T38" fmla="*/ 21 w 24"/>
                <a:gd name="T39" fmla="*/ 19 h 19"/>
                <a:gd name="T40" fmla="*/ 23 w 24"/>
                <a:gd name="T41" fmla="*/ 19 h 19"/>
                <a:gd name="T42" fmla="*/ 23 w 24"/>
                <a:gd name="T43" fmla="*/ 15 h 19"/>
                <a:gd name="T44" fmla="*/ 23 w 24"/>
                <a:gd name="T45" fmla="*/ 12 h 19"/>
                <a:gd name="T46" fmla="*/ 23 w 24"/>
                <a:gd name="T47" fmla="*/ 10 h 19"/>
                <a:gd name="T48" fmla="*/ 24 w 24"/>
                <a:gd name="T49" fmla="*/ 6 h 19"/>
                <a:gd name="T50" fmla="*/ 23 w 24"/>
                <a:gd name="T51" fmla="*/ 5 h 19"/>
                <a:gd name="T52" fmla="*/ 21 w 24"/>
                <a:gd name="T53" fmla="*/ 5 h 19"/>
                <a:gd name="T54" fmla="*/ 18 w 24"/>
                <a:gd name="T55" fmla="*/ 5 h 19"/>
                <a:gd name="T56" fmla="*/ 18 w 24"/>
                <a:gd name="T57" fmla="*/ 3 h 19"/>
                <a:gd name="T58" fmla="*/ 17 w 24"/>
                <a:gd name="T59" fmla="*/ 0 h 19"/>
                <a:gd name="T60" fmla="*/ 15 w 24"/>
                <a:gd name="T61" fmla="*/ 0 h 19"/>
                <a:gd name="T62" fmla="*/ 14 w 24"/>
                <a:gd name="T63" fmla="*/ 2 h 19"/>
                <a:gd name="T64" fmla="*/ 13 w 24"/>
                <a:gd name="T65" fmla="*/ 3 h 19"/>
                <a:gd name="T66" fmla="*/ 11 w 24"/>
                <a:gd name="T67" fmla="*/ 5 h 19"/>
                <a:gd name="T68" fmla="*/ 11 w 24"/>
                <a:gd name="T69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" h="19">
                  <a:moveTo>
                    <a:pt x="11" y="5"/>
                  </a:moveTo>
                  <a:lnTo>
                    <a:pt x="10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3" y="6"/>
                  </a:lnTo>
                  <a:lnTo>
                    <a:pt x="0" y="5"/>
                  </a:lnTo>
                  <a:lnTo>
                    <a:pt x="0" y="6"/>
                  </a:lnTo>
                  <a:lnTo>
                    <a:pt x="1" y="9"/>
                  </a:lnTo>
                  <a:lnTo>
                    <a:pt x="4" y="9"/>
                  </a:lnTo>
                  <a:lnTo>
                    <a:pt x="7" y="10"/>
                  </a:lnTo>
                  <a:lnTo>
                    <a:pt x="10" y="9"/>
                  </a:lnTo>
                  <a:lnTo>
                    <a:pt x="13" y="10"/>
                  </a:lnTo>
                  <a:lnTo>
                    <a:pt x="13" y="15"/>
                  </a:lnTo>
                  <a:lnTo>
                    <a:pt x="15" y="16"/>
                  </a:lnTo>
                  <a:lnTo>
                    <a:pt x="17" y="16"/>
                  </a:lnTo>
                  <a:lnTo>
                    <a:pt x="18" y="12"/>
                  </a:lnTo>
                  <a:lnTo>
                    <a:pt x="20" y="12"/>
                  </a:lnTo>
                  <a:lnTo>
                    <a:pt x="20" y="13"/>
                  </a:lnTo>
                  <a:lnTo>
                    <a:pt x="20" y="18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3" y="15"/>
                  </a:lnTo>
                  <a:lnTo>
                    <a:pt x="23" y="12"/>
                  </a:lnTo>
                  <a:lnTo>
                    <a:pt x="23" y="10"/>
                  </a:lnTo>
                  <a:lnTo>
                    <a:pt x="24" y="6"/>
                  </a:lnTo>
                  <a:lnTo>
                    <a:pt x="23" y="5"/>
                  </a:lnTo>
                  <a:lnTo>
                    <a:pt x="21" y="5"/>
                  </a:lnTo>
                  <a:lnTo>
                    <a:pt x="18" y="5"/>
                  </a:lnTo>
                  <a:lnTo>
                    <a:pt x="18" y="3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4" y="2"/>
                  </a:lnTo>
                  <a:lnTo>
                    <a:pt x="13" y="3"/>
                  </a:lnTo>
                  <a:lnTo>
                    <a:pt x="11" y="5"/>
                  </a:lnTo>
                  <a:lnTo>
                    <a:pt x="11" y="5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34" name="Freeform 82"/>
            <p:cNvSpPr>
              <a:spLocks/>
            </p:cNvSpPr>
            <p:nvPr/>
          </p:nvSpPr>
          <p:spPr bwMode="auto">
            <a:xfrm>
              <a:off x="5197216" y="3001148"/>
              <a:ext cx="9769" cy="7937"/>
            </a:xfrm>
            <a:custGeom>
              <a:avLst/>
              <a:gdLst>
                <a:gd name="T0" fmla="*/ 16 w 16"/>
                <a:gd name="T1" fmla="*/ 7 h 13"/>
                <a:gd name="T2" fmla="*/ 10 w 16"/>
                <a:gd name="T3" fmla="*/ 4 h 13"/>
                <a:gd name="T4" fmla="*/ 3 w 16"/>
                <a:gd name="T5" fmla="*/ 1 h 13"/>
                <a:gd name="T6" fmla="*/ 0 w 16"/>
                <a:gd name="T7" fmla="*/ 0 h 13"/>
                <a:gd name="T8" fmla="*/ 0 w 16"/>
                <a:gd name="T9" fmla="*/ 1 h 13"/>
                <a:gd name="T10" fmla="*/ 3 w 16"/>
                <a:gd name="T11" fmla="*/ 2 h 13"/>
                <a:gd name="T12" fmla="*/ 9 w 16"/>
                <a:gd name="T13" fmla="*/ 5 h 13"/>
                <a:gd name="T14" fmla="*/ 9 w 16"/>
                <a:gd name="T15" fmla="*/ 8 h 13"/>
                <a:gd name="T16" fmla="*/ 6 w 16"/>
                <a:gd name="T17" fmla="*/ 8 h 13"/>
                <a:gd name="T18" fmla="*/ 3 w 16"/>
                <a:gd name="T19" fmla="*/ 8 h 13"/>
                <a:gd name="T20" fmla="*/ 2 w 16"/>
                <a:gd name="T21" fmla="*/ 10 h 13"/>
                <a:gd name="T22" fmla="*/ 2 w 16"/>
                <a:gd name="T23" fmla="*/ 11 h 13"/>
                <a:gd name="T24" fmla="*/ 3 w 16"/>
                <a:gd name="T25" fmla="*/ 13 h 13"/>
                <a:gd name="T26" fmla="*/ 6 w 16"/>
                <a:gd name="T27" fmla="*/ 13 h 13"/>
                <a:gd name="T28" fmla="*/ 12 w 16"/>
                <a:gd name="T29" fmla="*/ 11 h 13"/>
                <a:gd name="T30" fmla="*/ 13 w 16"/>
                <a:gd name="T31" fmla="*/ 11 h 13"/>
                <a:gd name="T32" fmla="*/ 16 w 16"/>
                <a:gd name="T33" fmla="*/ 10 h 13"/>
                <a:gd name="T34" fmla="*/ 16 w 16"/>
                <a:gd name="T35" fmla="*/ 8 h 13"/>
                <a:gd name="T36" fmla="*/ 16 w 16"/>
                <a:gd name="T37" fmla="*/ 7 h 13"/>
                <a:gd name="T38" fmla="*/ 16 w 16"/>
                <a:gd name="T39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" h="13">
                  <a:moveTo>
                    <a:pt x="16" y="7"/>
                  </a:moveTo>
                  <a:lnTo>
                    <a:pt x="10" y="4"/>
                  </a:lnTo>
                  <a:lnTo>
                    <a:pt x="3" y="1"/>
                  </a:lnTo>
                  <a:lnTo>
                    <a:pt x="0" y="0"/>
                  </a:lnTo>
                  <a:lnTo>
                    <a:pt x="0" y="1"/>
                  </a:lnTo>
                  <a:lnTo>
                    <a:pt x="3" y="2"/>
                  </a:lnTo>
                  <a:lnTo>
                    <a:pt x="9" y="5"/>
                  </a:lnTo>
                  <a:lnTo>
                    <a:pt x="9" y="8"/>
                  </a:lnTo>
                  <a:lnTo>
                    <a:pt x="6" y="8"/>
                  </a:lnTo>
                  <a:lnTo>
                    <a:pt x="3" y="8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3" y="13"/>
                  </a:lnTo>
                  <a:lnTo>
                    <a:pt x="6" y="13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6" y="7"/>
                  </a:lnTo>
                  <a:lnTo>
                    <a:pt x="16" y="7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35" name="Freeform 83"/>
            <p:cNvSpPr>
              <a:spLocks/>
            </p:cNvSpPr>
            <p:nvPr/>
          </p:nvSpPr>
          <p:spPr bwMode="auto">
            <a:xfrm>
              <a:off x="5189889" y="2954847"/>
              <a:ext cx="8548" cy="6615"/>
            </a:xfrm>
            <a:custGeom>
              <a:avLst/>
              <a:gdLst>
                <a:gd name="T0" fmla="*/ 9 w 16"/>
                <a:gd name="T1" fmla="*/ 0 h 10"/>
                <a:gd name="T2" fmla="*/ 4 w 16"/>
                <a:gd name="T3" fmla="*/ 3 h 10"/>
                <a:gd name="T4" fmla="*/ 2 w 16"/>
                <a:gd name="T5" fmla="*/ 6 h 10"/>
                <a:gd name="T6" fmla="*/ 0 w 16"/>
                <a:gd name="T7" fmla="*/ 8 h 10"/>
                <a:gd name="T8" fmla="*/ 0 w 16"/>
                <a:gd name="T9" fmla="*/ 9 h 10"/>
                <a:gd name="T10" fmla="*/ 2 w 16"/>
                <a:gd name="T11" fmla="*/ 9 h 10"/>
                <a:gd name="T12" fmla="*/ 3 w 16"/>
                <a:gd name="T13" fmla="*/ 10 h 10"/>
                <a:gd name="T14" fmla="*/ 4 w 16"/>
                <a:gd name="T15" fmla="*/ 9 h 10"/>
                <a:gd name="T16" fmla="*/ 4 w 16"/>
                <a:gd name="T17" fmla="*/ 6 h 10"/>
                <a:gd name="T18" fmla="*/ 7 w 16"/>
                <a:gd name="T19" fmla="*/ 5 h 10"/>
                <a:gd name="T20" fmla="*/ 10 w 16"/>
                <a:gd name="T21" fmla="*/ 3 h 10"/>
                <a:gd name="T22" fmla="*/ 12 w 16"/>
                <a:gd name="T23" fmla="*/ 5 h 10"/>
                <a:gd name="T24" fmla="*/ 15 w 16"/>
                <a:gd name="T25" fmla="*/ 5 h 10"/>
                <a:gd name="T26" fmla="*/ 16 w 16"/>
                <a:gd name="T27" fmla="*/ 3 h 10"/>
                <a:gd name="T28" fmla="*/ 13 w 16"/>
                <a:gd name="T29" fmla="*/ 0 h 10"/>
                <a:gd name="T30" fmla="*/ 9 w 16"/>
                <a:gd name="T31" fmla="*/ 0 h 10"/>
                <a:gd name="T32" fmla="*/ 9 w 16"/>
                <a:gd name="T3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10">
                  <a:moveTo>
                    <a:pt x="9" y="0"/>
                  </a:moveTo>
                  <a:lnTo>
                    <a:pt x="4" y="3"/>
                  </a:lnTo>
                  <a:lnTo>
                    <a:pt x="2" y="6"/>
                  </a:lnTo>
                  <a:lnTo>
                    <a:pt x="0" y="8"/>
                  </a:lnTo>
                  <a:lnTo>
                    <a:pt x="0" y="9"/>
                  </a:lnTo>
                  <a:lnTo>
                    <a:pt x="2" y="9"/>
                  </a:lnTo>
                  <a:lnTo>
                    <a:pt x="3" y="10"/>
                  </a:lnTo>
                  <a:lnTo>
                    <a:pt x="4" y="9"/>
                  </a:lnTo>
                  <a:lnTo>
                    <a:pt x="4" y="6"/>
                  </a:lnTo>
                  <a:lnTo>
                    <a:pt x="7" y="5"/>
                  </a:lnTo>
                  <a:lnTo>
                    <a:pt x="10" y="3"/>
                  </a:lnTo>
                  <a:lnTo>
                    <a:pt x="12" y="5"/>
                  </a:lnTo>
                  <a:lnTo>
                    <a:pt x="15" y="5"/>
                  </a:lnTo>
                  <a:lnTo>
                    <a:pt x="16" y="3"/>
                  </a:lnTo>
                  <a:lnTo>
                    <a:pt x="13" y="0"/>
                  </a:lnTo>
                  <a:lnTo>
                    <a:pt x="9" y="0"/>
                  </a:lnTo>
                  <a:lnTo>
                    <a:pt x="9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36" name="Freeform 84"/>
            <p:cNvSpPr>
              <a:spLocks/>
            </p:cNvSpPr>
            <p:nvPr/>
          </p:nvSpPr>
          <p:spPr bwMode="auto">
            <a:xfrm>
              <a:off x="5197216" y="2958815"/>
              <a:ext cx="14654" cy="13229"/>
            </a:xfrm>
            <a:custGeom>
              <a:avLst/>
              <a:gdLst>
                <a:gd name="T0" fmla="*/ 10 w 24"/>
                <a:gd name="T1" fmla="*/ 0 h 20"/>
                <a:gd name="T2" fmla="*/ 4 w 24"/>
                <a:gd name="T3" fmla="*/ 2 h 20"/>
                <a:gd name="T4" fmla="*/ 2 w 24"/>
                <a:gd name="T5" fmla="*/ 5 h 20"/>
                <a:gd name="T6" fmla="*/ 0 w 24"/>
                <a:gd name="T7" fmla="*/ 10 h 20"/>
                <a:gd name="T8" fmla="*/ 2 w 24"/>
                <a:gd name="T9" fmla="*/ 12 h 20"/>
                <a:gd name="T10" fmla="*/ 4 w 24"/>
                <a:gd name="T11" fmla="*/ 15 h 20"/>
                <a:gd name="T12" fmla="*/ 7 w 24"/>
                <a:gd name="T13" fmla="*/ 18 h 20"/>
                <a:gd name="T14" fmla="*/ 10 w 24"/>
                <a:gd name="T15" fmla="*/ 20 h 20"/>
                <a:gd name="T16" fmla="*/ 13 w 24"/>
                <a:gd name="T17" fmla="*/ 20 h 20"/>
                <a:gd name="T18" fmla="*/ 13 w 24"/>
                <a:gd name="T19" fmla="*/ 18 h 20"/>
                <a:gd name="T20" fmla="*/ 13 w 24"/>
                <a:gd name="T21" fmla="*/ 17 h 20"/>
                <a:gd name="T22" fmla="*/ 16 w 24"/>
                <a:gd name="T23" fmla="*/ 12 h 20"/>
                <a:gd name="T24" fmla="*/ 17 w 24"/>
                <a:gd name="T25" fmla="*/ 12 h 20"/>
                <a:gd name="T26" fmla="*/ 22 w 24"/>
                <a:gd name="T27" fmla="*/ 12 h 20"/>
                <a:gd name="T28" fmla="*/ 24 w 24"/>
                <a:gd name="T29" fmla="*/ 12 h 20"/>
                <a:gd name="T30" fmla="*/ 24 w 24"/>
                <a:gd name="T31" fmla="*/ 11 h 20"/>
                <a:gd name="T32" fmla="*/ 24 w 24"/>
                <a:gd name="T33" fmla="*/ 10 h 20"/>
                <a:gd name="T34" fmla="*/ 24 w 24"/>
                <a:gd name="T35" fmla="*/ 8 h 20"/>
                <a:gd name="T36" fmla="*/ 22 w 24"/>
                <a:gd name="T37" fmla="*/ 7 h 20"/>
                <a:gd name="T38" fmla="*/ 20 w 24"/>
                <a:gd name="T39" fmla="*/ 4 h 20"/>
                <a:gd name="T40" fmla="*/ 19 w 24"/>
                <a:gd name="T41" fmla="*/ 1 h 20"/>
                <a:gd name="T42" fmla="*/ 16 w 24"/>
                <a:gd name="T43" fmla="*/ 0 h 20"/>
                <a:gd name="T44" fmla="*/ 13 w 24"/>
                <a:gd name="T45" fmla="*/ 0 h 20"/>
                <a:gd name="T46" fmla="*/ 10 w 24"/>
                <a:gd name="T47" fmla="*/ 0 h 20"/>
                <a:gd name="T48" fmla="*/ 10 w 24"/>
                <a:gd name="T4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" h="20">
                  <a:moveTo>
                    <a:pt x="10" y="0"/>
                  </a:moveTo>
                  <a:lnTo>
                    <a:pt x="4" y="2"/>
                  </a:lnTo>
                  <a:lnTo>
                    <a:pt x="2" y="5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4" y="15"/>
                  </a:lnTo>
                  <a:lnTo>
                    <a:pt x="7" y="18"/>
                  </a:lnTo>
                  <a:lnTo>
                    <a:pt x="10" y="20"/>
                  </a:lnTo>
                  <a:lnTo>
                    <a:pt x="13" y="20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6" y="12"/>
                  </a:lnTo>
                  <a:lnTo>
                    <a:pt x="17" y="12"/>
                  </a:lnTo>
                  <a:lnTo>
                    <a:pt x="22" y="12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4" y="10"/>
                  </a:lnTo>
                  <a:lnTo>
                    <a:pt x="24" y="8"/>
                  </a:lnTo>
                  <a:lnTo>
                    <a:pt x="22" y="7"/>
                  </a:lnTo>
                  <a:lnTo>
                    <a:pt x="20" y="4"/>
                  </a:lnTo>
                  <a:lnTo>
                    <a:pt x="19" y="1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1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37" name="Freeform 85"/>
            <p:cNvSpPr>
              <a:spLocks/>
            </p:cNvSpPr>
            <p:nvPr/>
          </p:nvSpPr>
          <p:spPr bwMode="auto">
            <a:xfrm>
              <a:off x="5195995" y="2973367"/>
              <a:ext cx="12211" cy="5292"/>
            </a:xfrm>
            <a:custGeom>
              <a:avLst/>
              <a:gdLst>
                <a:gd name="T0" fmla="*/ 18 w 20"/>
                <a:gd name="T1" fmla="*/ 3 h 9"/>
                <a:gd name="T2" fmla="*/ 14 w 20"/>
                <a:gd name="T3" fmla="*/ 2 h 9"/>
                <a:gd name="T4" fmla="*/ 8 w 20"/>
                <a:gd name="T5" fmla="*/ 2 h 9"/>
                <a:gd name="T6" fmla="*/ 3 w 20"/>
                <a:gd name="T7" fmla="*/ 0 h 9"/>
                <a:gd name="T8" fmla="*/ 0 w 20"/>
                <a:gd name="T9" fmla="*/ 2 h 9"/>
                <a:gd name="T10" fmla="*/ 0 w 20"/>
                <a:gd name="T11" fmla="*/ 3 h 9"/>
                <a:gd name="T12" fmla="*/ 1 w 20"/>
                <a:gd name="T13" fmla="*/ 3 h 9"/>
                <a:gd name="T14" fmla="*/ 5 w 20"/>
                <a:gd name="T15" fmla="*/ 4 h 9"/>
                <a:gd name="T16" fmla="*/ 8 w 20"/>
                <a:gd name="T17" fmla="*/ 6 h 9"/>
                <a:gd name="T18" fmla="*/ 13 w 20"/>
                <a:gd name="T19" fmla="*/ 7 h 9"/>
                <a:gd name="T20" fmla="*/ 17 w 20"/>
                <a:gd name="T21" fmla="*/ 9 h 9"/>
                <a:gd name="T22" fmla="*/ 18 w 20"/>
                <a:gd name="T23" fmla="*/ 9 h 9"/>
                <a:gd name="T24" fmla="*/ 20 w 20"/>
                <a:gd name="T25" fmla="*/ 7 h 9"/>
                <a:gd name="T26" fmla="*/ 20 w 20"/>
                <a:gd name="T27" fmla="*/ 6 h 9"/>
                <a:gd name="T28" fmla="*/ 18 w 20"/>
                <a:gd name="T29" fmla="*/ 3 h 9"/>
                <a:gd name="T30" fmla="*/ 18 w 20"/>
                <a:gd name="T31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" h="9">
                  <a:moveTo>
                    <a:pt x="18" y="3"/>
                  </a:moveTo>
                  <a:lnTo>
                    <a:pt x="14" y="2"/>
                  </a:lnTo>
                  <a:lnTo>
                    <a:pt x="8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3"/>
                  </a:lnTo>
                  <a:lnTo>
                    <a:pt x="5" y="4"/>
                  </a:lnTo>
                  <a:lnTo>
                    <a:pt x="8" y="6"/>
                  </a:lnTo>
                  <a:lnTo>
                    <a:pt x="13" y="7"/>
                  </a:lnTo>
                  <a:lnTo>
                    <a:pt x="17" y="9"/>
                  </a:lnTo>
                  <a:lnTo>
                    <a:pt x="18" y="9"/>
                  </a:lnTo>
                  <a:lnTo>
                    <a:pt x="20" y="7"/>
                  </a:lnTo>
                  <a:lnTo>
                    <a:pt x="20" y="6"/>
                  </a:lnTo>
                  <a:lnTo>
                    <a:pt x="18" y="3"/>
                  </a:lnTo>
                  <a:lnTo>
                    <a:pt x="18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38" name="Freeform 86"/>
            <p:cNvSpPr>
              <a:spLocks/>
            </p:cNvSpPr>
            <p:nvPr/>
          </p:nvSpPr>
          <p:spPr bwMode="auto">
            <a:xfrm>
              <a:off x="5176457" y="2961461"/>
              <a:ext cx="15875" cy="11906"/>
            </a:xfrm>
            <a:custGeom>
              <a:avLst/>
              <a:gdLst>
                <a:gd name="T0" fmla="*/ 5 w 27"/>
                <a:gd name="T1" fmla="*/ 3 h 19"/>
                <a:gd name="T2" fmla="*/ 3 w 27"/>
                <a:gd name="T3" fmla="*/ 3 h 19"/>
                <a:gd name="T4" fmla="*/ 0 w 27"/>
                <a:gd name="T5" fmla="*/ 5 h 19"/>
                <a:gd name="T6" fmla="*/ 0 w 27"/>
                <a:gd name="T7" fmla="*/ 6 h 19"/>
                <a:gd name="T8" fmla="*/ 0 w 27"/>
                <a:gd name="T9" fmla="*/ 8 h 19"/>
                <a:gd name="T10" fmla="*/ 1 w 27"/>
                <a:gd name="T11" fmla="*/ 10 h 19"/>
                <a:gd name="T12" fmla="*/ 4 w 27"/>
                <a:gd name="T13" fmla="*/ 12 h 19"/>
                <a:gd name="T14" fmla="*/ 7 w 27"/>
                <a:gd name="T15" fmla="*/ 13 h 19"/>
                <a:gd name="T16" fmla="*/ 11 w 27"/>
                <a:gd name="T17" fmla="*/ 15 h 19"/>
                <a:gd name="T18" fmla="*/ 13 w 27"/>
                <a:gd name="T19" fmla="*/ 16 h 19"/>
                <a:gd name="T20" fmla="*/ 15 w 27"/>
                <a:gd name="T21" fmla="*/ 19 h 19"/>
                <a:gd name="T22" fmla="*/ 17 w 27"/>
                <a:gd name="T23" fmla="*/ 19 h 19"/>
                <a:gd name="T24" fmla="*/ 17 w 27"/>
                <a:gd name="T25" fmla="*/ 16 h 19"/>
                <a:gd name="T26" fmla="*/ 17 w 27"/>
                <a:gd name="T27" fmla="*/ 16 h 19"/>
                <a:gd name="T28" fmla="*/ 13 w 27"/>
                <a:gd name="T29" fmla="*/ 12 h 19"/>
                <a:gd name="T30" fmla="*/ 10 w 27"/>
                <a:gd name="T31" fmla="*/ 10 h 19"/>
                <a:gd name="T32" fmla="*/ 8 w 27"/>
                <a:gd name="T33" fmla="*/ 9 h 19"/>
                <a:gd name="T34" fmla="*/ 5 w 27"/>
                <a:gd name="T35" fmla="*/ 8 h 19"/>
                <a:gd name="T36" fmla="*/ 5 w 27"/>
                <a:gd name="T37" fmla="*/ 6 h 19"/>
                <a:gd name="T38" fmla="*/ 10 w 27"/>
                <a:gd name="T39" fmla="*/ 8 h 19"/>
                <a:gd name="T40" fmla="*/ 14 w 27"/>
                <a:gd name="T41" fmla="*/ 8 h 19"/>
                <a:gd name="T42" fmla="*/ 15 w 27"/>
                <a:gd name="T43" fmla="*/ 8 h 19"/>
                <a:gd name="T44" fmla="*/ 18 w 27"/>
                <a:gd name="T45" fmla="*/ 9 h 19"/>
                <a:gd name="T46" fmla="*/ 18 w 27"/>
                <a:gd name="T47" fmla="*/ 9 h 19"/>
                <a:gd name="T48" fmla="*/ 21 w 27"/>
                <a:gd name="T49" fmla="*/ 10 h 19"/>
                <a:gd name="T50" fmla="*/ 23 w 27"/>
                <a:gd name="T51" fmla="*/ 9 h 19"/>
                <a:gd name="T52" fmla="*/ 25 w 27"/>
                <a:gd name="T53" fmla="*/ 8 h 19"/>
                <a:gd name="T54" fmla="*/ 25 w 27"/>
                <a:gd name="T55" fmla="*/ 8 h 19"/>
                <a:gd name="T56" fmla="*/ 27 w 27"/>
                <a:gd name="T57" fmla="*/ 5 h 19"/>
                <a:gd name="T58" fmla="*/ 27 w 27"/>
                <a:gd name="T59" fmla="*/ 3 h 19"/>
                <a:gd name="T60" fmla="*/ 25 w 27"/>
                <a:gd name="T61" fmla="*/ 2 h 19"/>
                <a:gd name="T62" fmla="*/ 24 w 27"/>
                <a:gd name="T63" fmla="*/ 5 h 19"/>
                <a:gd name="T64" fmla="*/ 21 w 27"/>
                <a:gd name="T65" fmla="*/ 5 h 19"/>
                <a:gd name="T66" fmla="*/ 21 w 27"/>
                <a:gd name="T67" fmla="*/ 3 h 19"/>
                <a:gd name="T68" fmla="*/ 18 w 27"/>
                <a:gd name="T69" fmla="*/ 3 h 19"/>
                <a:gd name="T70" fmla="*/ 15 w 27"/>
                <a:gd name="T71" fmla="*/ 3 h 19"/>
                <a:gd name="T72" fmla="*/ 13 w 27"/>
                <a:gd name="T73" fmla="*/ 3 h 19"/>
                <a:gd name="T74" fmla="*/ 11 w 27"/>
                <a:gd name="T75" fmla="*/ 2 h 19"/>
                <a:gd name="T76" fmla="*/ 10 w 27"/>
                <a:gd name="T77" fmla="*/ 0 h 19"/>
                <a:gd name="T78" fmla="*/ 8 w 27"/>
                <a:gd name="T79" fmla="*/ 0 h 19"/>
                <a:gd name="T80" fmla="*/ 8 w 27"/>
                <a:gd name="T81" fmla="*/ 2 h 19"/>
                <a:gd name="T82" fmla="*/ 7 w 27"/>
                <a:gd name="T83" fmla="*/ 2 h 19"/>
                <a:gd name="T84" fmla="*/ 5 w 27"/>
                <a:gd name="T85" fmla="*/ 3 h 19"/>
                <a:gd name="T86" fmla="*/ 5 w 27"/>
                <a:gd name="T87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" h="19">
                  <a:moveTo>
                    <a:pt x="5" y="3"/>
                  </a:moveTo>
                  <a:lnTo>
                    <a:pt x="3" y="3"/>
                  </a:lnTo>
                  <a:lnTo>
                    <a:pt x="0" y="5"/>
                  </a:lnTo>
                  <a:lnTo>
                    <a:pt x="0" y="6"/>
                  </a:lnTo>
                  <a:lnTo>
                    <a:pt x="0" y="8"/>
                  </a:lnTo>
                  <a:lnTo>
                    <a:pt x="1" y="10"/>
                  </a:lnTo>
                  <a:lnTo>
                    <a:pt x="4" y="12"/>
                  </a:lnTo>
                  <a:lnTo>
                    <a:pt x="7" y="13"/>
                  </a:lnTo>
                  <a:lnTo>
                    <a:pt x="11" y="15"/>
                  </a:lnTo>
                  <a:lnTo>
                    <a:pt x="13" y="16"/>
                  </a:lnTo>
                  <a:lnTo>
                    <a:pt x="15" y="19"/>
                  </a:lnTo>
                  <a:lnTo>
                    <a:pt x="17" y="19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3" y="12"/>
                  </a:lnTo>
                  <a:lnTo>
                    <a:pt x="10" y="10"/>
                  </a:lnTo>
                  <a:lnTo>
                    <a:pt x="8" y="9"/>
                  </a:lnTo>
                  <a:lnTo>
                    <a:pt x="5" y="8"/>
                  </a:lnTo>
                  <a:lnTo>
                    <a:pt x="5" y="6"/>
                  </a:lnTo>
                  <a:lnTo>
                    <a:pt x="10" y="8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21" y="10"/>
                  </a:lnTo>
                  <a:lnTo>
                    <a:pt x="23" y="9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7" y="5"/>
                  </a:lnTo>
                  <a:lnTo>
                    <a:pt x="27" y="3"/>
                  </a:lnTo>
                  <a:lnTo>
                    <a:pt x="25" y="2"/>
                  </a:lnTo>
                  <a:lnTo>
                    <a:pt x="24" y="5"/>
                  </a:lnTo>
                  <a:lnTo>
                    <a:pt x="21" y="5"/>
                  </a:lnTo>
                  <a:lnTo>
                    <a:pt x="21" y="3"/>
                  </a:lnTo>
                  <a:lnTo>
                    <a:pt x="18" y="3"/>
                  </a:lnTo>
                  <a:lnTo>
                    <a:pt x="15" y="3"/>
                  </a:lnTo>
                  <a:lnTo>
                    <a:pt x="13" y="3"/>
                  </a:lnTo>
                  <a:lnTo>
                    <a:pt x="11" y="2"/>
                  </a:lnTo>
                  <a:lnTo>
                    <a:pt x="10" y="0"/>
                  </a:lnTo>
                  <a:lnTo>
                    <a:pt x="8" y="0"/>
                  </a:lnTo>
                  <a:lnTo>
                    <a:pt x="8" y="2"/>
                  </a:lnTo>
                  <a:lnTo>
                    <a:pt x="7" y="2"/>
                  </a:lnTo>
                  <a:lnTo>
                    <a:pt x="5" y="3"/>
                  </a:lnTo>
                  <a:lnTo>
                    <a:pt x="5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39" name="Freeform 87"/>
            <p:cNvSpPr>
              <a:spLocks/>
            </p:cNvSpPr>
            <p:nvPr/>
          </p:nvSpPr>
          <p:spPr bwMode="auto">
            <a:xfrm>
              <a:off x="5210649" y="2961461"/>
              <a:ext cx="15875" cy="13229"/>
            </a:xfrm>
            <a:custGeom>
              <a:avLst/>
              <a:gdLst>
                <a:gd name="T0" fmla="*/ 24 w 25"/>
                <a:gd name="T1" fmla="*/ 8 h 22"/>
                <a:gd name="T2" fmla="*/ 20 w 25"/>
                <a:gd name="T3" fmla="*/ 2 h 22"/>
                <a:gd name="T4" fmla="*/ 18 w 25"/>
                <a:gd name="T5" fmla="*/ 0 h 22"/>
                <a:gd name="T6" fmla="*/ 15 w 25"/>
                <a:gd name="T7" fmla="*/ 0 h 22"/>
                <a:gd name="T8" fmla="*/ 11 w 25"/>
                <a:gd name="T9" fmla="*/ 0 h 22"/>
                <a:gd name="T10" fmla="*/ 8 w 25"/>
                <a:gd name="T11" fmla="*/ 2 h 22"/>
                <a:gd name="T12" fmla="*/ 7 w 25"/>
                <a:gd name="T13" fmla="*/ 5 h 22"/>
                <a:gd name="T14" fmla="*/ 5 w 25"/>
                <a:gd name="T15" fmla="*/ 9 h 22"/>
                <a:gd name="T16" fmla="*/ 5 w 25"/>
                <a:gd name="T17" fmla="*/ 12 h 22"/>
                <a:gd name="T18" fmla="*/ 2 w 25"/>
                <a:gd name="T19" fmla="*/ 13 h 22"/>
                <a:gd name="T20" fmla="*/ 1 w 25"/>
                <a:gd name="T21" fmla="*/ 15 h 22"/>
                <a:gd name="T22" fmla="*/ 0 w 25"/>
                <a:gd name="T23" fmla="*/ 16 h 22"/>
                <a:gd name="T24" fmla="*/ 0 w 25"/>
                <a:gd name="T25" fmla="*/ 19 h 22"/>
                <a:gd name="T26" fmla="*/ 2 w 25"/>
                <a:gd name="T27" fmla="*/ 21 h 22"/>
                <a:gd name="T28" fmla="*/ 5 w 25"/>
                <a:gd name="T29" fmla="*/ 22 h 22"/>
                <a:gd name="T30" fmla="*/ 8 w 25"/>
                <a:gd name="T31" fmla="*/ 21 h 22"/>
                <a:gd name="T32" fmla="*/ 10 w 25"/>
                <a:gd name="T33" fmla="*/ 19 h 22"/>
                <a:gd name="T34" fmla="*/ 14 w 25"/>
                <a:gd name="T35" fmla="*/ 19 h 22"/>
                <a:gd name="T36" fmla="*/ 15 w 25"/>
                <a:gd name="T37" fmla="*/ 19 h 22"/>
                <a:gd name="T38" fmla="*/ 17 w 25"/>
                <a:gd name="T39" fmla="*/ 19 h 22"/>
                <a:gd name="T40" fmla="*/ 18 w 25"/>
                <a:gd name="T41" fmla="*/ 16 h 22"/>
                <a:gd name="T42" fmla="*/ 15 w 25"/>
                <a:gd name="T43" fmla="*/ 13 h 22"/>
                <a:gd name="T44" fmla="*/ 15 w 25"/>
                <a:gd name="T45" fmla="*/ 10 h 22"/>
                <a:gd name="T46" fmla="*/ 17 w 25"/>
                <a:gd name="T47" fmla="*/ 10 h 22"/>
                <a:gd name="T48" fmla="*/ 18 w 25"/>
                <a:gd name="T49" fmla="*/ 12 h 22"/>
                <a:gd name="T50" fmla="*/ 20 w 25"/>
                <a:gd name="T51" fmla="*/ 13 h 22"/>
                <a:gd name="T52" fmla="*/ 21 w 25"/>
                <a:gd name="T53" fmla="*/ 15 h 22"/>
                <a:gd name="T54" fmla="*/ 21 w 25"/>
                <a:gd name="T55" fmla="*/ 16 h 22"/>
                <a:gd name="T56" fmla="*/ 20 w 25"/>
                <a:gd name="T57" fmla="*/ 19 h 22"/>
                <a:gd name="T58" fmla="*/ 21 w 25"/>
                <a:gd name="T59" fmla="*/ 21 h 22"/>
                <a:gd name="T60" fmla="*/ 22 w 25"/>
                <a:gd name="T61" fmla="*/ 19 h 22"/>
                <a:gd name="T62" fmla="*/ 24 w 25"/>
                <a:gd name="T63" fmla="*/ 18 h 22"/>
                <a:gd name="T64" fmla="*/ 24 w 25"/>
                <a:gd name="T65" fmla="*/ 15 h 22"/>
                <a:gd name="T66" fmla="*/ 25 w 25"/>
                <a:gd name="T67" fmla="*/ 12 h 22"/>
                <a:gd name="T68" fmla="*/ 24 w 25"/>
                <a:gd name="T69" fmla="*/ 8 h 22"/>
                <a:gd name="T70" fmla="*/ 24 w 25"/>
                <a:gd name="T71" fmla="*/ 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" h="22">
                  <a:moveTo>
                    <a:pt x="24" y="8"/>
                  </a:moveTo>
                  <a:lnTo>
                    <a:pt x="20" y="2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8" y="2"/>
                  </a:lnTo>
                  <a:lnTo>
                    <a:pt x="7" y="5"/>
                  </a:lnTo>
                  <a:lnTo>
                    <a:pt x="5" y="9"/>
                  </a:lnTo>
                  <a:lnTo>
                    <a:pt x="5" y="12"/>
                  </a:lnTo>
                  <a:lnTo>
                    <a:pt x="2" y="13"/>
                  </a:lnTo>
                  <a:lnTo>
                    <a:pt x="1" y="15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2" y="21"/>
                  </a:lnTo>
                  <a:lnTo>
                    <a:pt x="5" y="22"/>
                  </a:lnTo>
                  <a:lnTo>
                    <a:pt x="8" y="21"/>
                  </a:lnTo>
                  <a:lnTo>
                    <a:pt x="10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7" y="19"/>
                  </a:lnTo>
                  <a:lnTo>
                    <a:pt x="18" y="16"/>
                  </a:lnTo>
                  <a:lnTo>
                    <a:pt x="15" y="13"/>
                  </a:lnTo>
                  <a:lnTo>
                    <a:pt x="15" y="10"/>
                  </a:lnTo>
                  <a:lnTo>
                    <a:pt x="17" y="10"/>
                  </a:lnTo>
                  <a:lnTo>
                    <a:pt x="18" y="12"/>
                  </a:lnTo>
                  <a:lnTo>
                    <a:pt x="20" y="13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0" y="19"/>
                  </a:lnTo>
                  <a:lnTo>
                    <a:pt x="21" y="21"/>
                  </a:lnTo>
                  <a:lnTo>
                    <a:pt x="22" y="19"/>
                  </a:lnTo>
                  <a:lnTo>
                    <a:pt x="24" y="18"/>
                  </a:lnTo>
                  <a:lnTo>
                    <a:pt x="24" y="15"/>
                  </a:lnTo>
                  <a:lnTo>
                    <a:pt x="25" y="12"/>
                  </a:lnTo>
                  <a:lnTo>
                    <a:pt x="24" y="8"/>
                  </a:lnTo>
                  <a:lnTo>
                    <a:pt x="24" y="8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40" name="Freeform 88"/>
            <p:cNvSpPr>
              <a:spLocks/>
            </p:cNvSpPr>
            <p:nvPr/>
          </p:nvSpPr>
          <p:spPr bwMode="auto">
            <a:xfrm>
              <a:off x="5224081" y="2958815"/>
              <a:ext cx="2442" cy="2646"/>
            </a:xfrm>
            <a:custGeom>
              <a:avLst/>
              <a:gdLst>
                <a:gd name="T0" fmla="*/ 4 w 4"/>
                <a:gd name="T1" fmla="*/ 1 h 4"/>
                <a:gd name="T2" fmla="*/ 1 w 4"/>
                <a:gd name="T3" fmla="*/ 0 h 4"/>
                <a:gd name="T4" fmla="*/ 0 w 4"/>
                <a:gd name="T5" fmla="*/ 1 h 4"/>
                <a:gd name="T6" fmla="*/ 0 w 4"/>
                <a:gd name="T7" fmla="*/ 2 h 4"/>
                <a:gd name="T8" fmla="*/ 1 w 4"/>
                <a:gd name="T9" fmla="*/ 4 h 4"/>
                <a:gd name="T10" fmla="*/ 3 w 4"/>
                <a:gd name="T11" fmla="*/ 4 h 4"/>
                <a:gd name="T12" fmla="*/ 4 w 4"/>
                <a:gd name="T13" fmla="*/ 4 h 4"/>
                <a:gd name="T14" fmla="*/ 4 w 4"/>
                <a:gd name="T15" fmla="*/ 1 h 4"/>
                <a:gd name="T16" fmla="*/ 4 w 4"/>
                <a:gd name="T17" fmla="*/ 1 h 4"/>
                <a:gd name="T18" fmla="*/ 4 w 4"/>
                <a:gd name="T1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4">
                  <a:moveTo>
                    <a:pt x="4" y="1"/>
                  </a:moveTo>
                  <a:lnTo>
                    <a:pt x="1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41" name="Freeform 89"/>
            <p:cNvSpPr>
              <a:spLocks/>
            </p:cNvSpPr>
            <p:nvPr/>
          </p:nvSpPr>
          <p:spPr bwMode="auto">
            <a:xfrm>
              <a:off x="4967641" y="3068616"/>
              <a:ext cx="30529" cy="43656"/>
            </a:xfrm>
            <a:custGeom>
              <a:avLst/>
              <a:gdLst>
                <a:gd name="T0" fmla="*/ 26 w 51"/>
                <a:gd name="T1" fmla="*/ 11 h 64"/>
                <a:gd name="T2" fmla="*/ 18 w 51"/>
                <a:gd name="T3" fmla="*/ 17 h 64"/>
                <a:gd name="T4" fmla="*/ 8 w 51"/>
                <a:gd name="T5" fmla="*/ 23 h 64"/>
                <a:gd name="T6" fmla="*/ 3 w 51"/>
                <a:gd name="T7" fmla="*/ 27 h 64"/>
                <a:gd name="T8" fmla="*/ 0 w 51"/>
                <a:gd name="T9" fmla="*/ 31 h 64"/>
                <a:gd name="T10" fmla="*/ 0 w 51"/>
                <a:gd name="T11" fmla="*/ 34 h 64"/>
                <a:gd name="T12" fmla="*/ 3 w 51"/>
                <a:gd name="T13" fmla="*/ 38 h 64"/>
                <a:gd name="T14" fmla="*/ 8 w 51"/>
                <a:gd name="T15" fmla="*/ 43 h 64"/>
                <a:gd name="T16" fmla="*/ 10 w 51"/>
                <a:gd name="T17" fmla="*/ 48 h 64"/>
                <a:gd name="T18" fmla="*/ 13 w 51"/>
                <a:gd name="T19" fmla="*/ 53 h 64"/>
                <a:gd name="T20" fmla="*/ 16 w 51"/>
                <a:gd name="T21" fmla="*/ 56 h 64"/>
                <a:gd name="T22" fmla="*/ 22 w 51"/>
                <a:gd name="T23" fmla="*/ 57 h 64"/>
                <a:gd name="T24" fmla="*/ 28 w 51"/>
                <a:gd name="T25" fmla="*/ 61 h 64"/>
                <a:gd name="T26" fmla="*/ 32 w 51"/>
                <a:gd name="T27" fmla="*/ 63 h 64"/>
                <a:gd name="T28" fmla="*/ 38 w 51"/>
                <a:gd name="T29" fmla="*/ 64 h 64"/>
                <a:gd name="T30" fmla="*/ 41 w 51"/>
                <a:gd name="T31" fmla="*/ 63 h 64"/>
                <a:gd name="T32" fmla="*/ 42 w 51"/>
                <a:gd name="T33" fmla="*/ 60 h 64"/>
                <a:gd name="T34" fmla="*/ 43 w 51"/>
                <a:gd name="T35" fmla="*/ 54 h 64"/>
                <a:gd name="T36" fmla="*/ 43 w 51"/>
                <a:gd name="T37" fmla="*/ 47 h 64"/>
                <a:gd name="T38" fmla="*/ 46 w 51"/>
                <a:gd name="T39" fmla="*/ 41 h 64"/>
                <a:gd name="T40" fmla="*/ 48 w 51"/>
                <a:gd name="T41" fmla="*/ 34 h 64"/>
                <a:gd name="T42" fmla="*/ 48 w 51"/>
                <a:gd name="T43" fmla="*/ 34 h 64"/>
                <a:gd name="T44" fmla="*/ 51 w 51"/>
                <a:gd name="T45" fmla="*/ 31 h 64"/>
                <a:gd name="T46" fmla="*/ 51 w 51"/>
                <a:gd name="T47" fmla="*/ 26 h 64"/>
                <a:gd name="T48" fmla="*/ 46 w 51"/>
                <a:gd name="T49" fmla="*/ 8 h 64"/>
                <a:gd name="T50" fmla="*/ 45 w 51"/>
                <a:gd name="T51" fmla="*/ 1 h 64"/>
                <a:gd name="T52" fmla="*/ 42 w 51"/>
                <a:gd name="T53" fmla="*/ 0 h 64"/>
                <a:gd name="T54" fmla="*/ 39 w 51"/>
                <a:gd name="T55" fmla="*/ 0 h 64"/>
                <a:gd name="T56" fmla="*/ 36 w 51"/>
                <a:gd name="T57" fmla="*/ 1 h 64"/>
                <a:gd name="T58" fmla="*/ 33 w 51"/>
                <a:gd name="T59" fmla="*/ 5 h 64"/>
                <a:gd name="T60" fmla="*/ 26 w 51"/>
                <a:gd name="T61" fmla="*/ 11 h 64"/>
                <a:gd name="T62" fmla="*/ 26 w 51"/>
                <a:gd name="T63" fmla="*/ 1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1" h="64">
                  <a:moveTo>
                    <a:pt x="26" y="11"/>
                  </a:moveTo>
                  <a:lnTo>
                    <a:pt x="18" y="17"/>
                  </a:lnTo>
                  <a:lnTo>
                    <a:pt x="8" y="23"/>
                  </a:lnTo>
                  <a:lnTo>
                    <a:pt x="3" y="27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3" y="38"/>
                  </a:lnTo>
                  <a:lnTo>
                    <a:pt x="8" y="43"/>
                  </a:lnTo>
                  <a:lnTo>
                    <a:pt x="10" y="48"/>
                  </a:lnTo>
                  <a:lnTo>
                    <a:pt x="13" y="53"/>
                  </a:lnTo>
                  <a:lnTo>
                    <a:pt x="16" y="56"/>
                  </a:lnTo>
                  <a:lnTo>
                    <a:pt x="22" y="57"/>
                  </a:lnTo>
                  <a:lnTo>
                    <a:pt x="28" y="61"/>
                  </a:lnTo>
                  <a:lnTo>
                    <a:pt x="32" y="63"/>
                  </a:lnTo>
                  <a:lnTo>
                    <a:pt x="38" y="64"/>
                  </a:lnTo>
                  <a:lnTo>
                    <a:pt x="41" y="63"/>
                  </a:lnTo>
                  <a:lnTo>
                    <a:pt x="42" y="60"/>
                  </a:lnTo>
                  <a:lnTo>
                    <a:pt x="43" y="54"/>
                  </a:lnTo>
                  <a:lnTo>
                    <a:pt x="43" y="47"/>
                  </a:lnTo>
                  <a:lnTo>
                    <a:pt x="46" y="41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51" y="31"/>
                  </a:lnTo>
                  <a:lnTo>
                    <a:pt x="51" y="26"/>
                  </a:lnTo>
                  <a:lnTo>
                    <a:pt x="46" y="8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6" y="1"/>
                  </a:lnTo>
                  <a:lnTo>
                    <a:pt x="33" y="5"/>
                  </a:lnTo>
                  <a:lnTo>
                    <a:pt x="26" y="11"/>
                  </a:lnTo>
                  <a:lnTo>
                    <a:pt x="26" y="1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42" name="Freeform 90"/>
            <p:cNvSpPr>
              <a:spLocks/>
            </p:cNvSpPr>
            <p:nvPr/>
          </p:nvSpPr>
          <p:spPr bwMode="auto">
            <a:xfrm>
              <a:off x="4984737" y="3047450"/>
              <a:ext cx="7327" cy="6615"/>
            </a:xfrm>
            <a:custGeom>
              <a:avLst/>
              <a:gdLst>
                <a:gd name="T0" fmla="*/ 6 w 13"/>
                <a:gd name="T1" fmla="*/ 0 h 10"/>
                <a:gd name="T2" fmla="*/ 3 w 13"/>
                <a:gd name="T3" fmla="*/ 3 h 10"/>
                <a:gd name="T4" fmla="*/ 0 w 13"/>
                <a:gd name="T5" fmla="*/ 7 h 10"/>
                <a:gd name="T6" fmla="*/ 0 w 13"/>
                <a:gd name="T7" fmla="*/ 10 h 10"/>
                <a:gd name="T8" fmla="*/ 1 w 13"/>
                <a:gd name="T9" fmla="*/ 10 h 10"/>
                <a:gd name="T10" fmla="*/ 3 w 13"/>
                <a:gd name="T11" fmla="*/ 10 h 10"/>
                <a:gd name="T12" fmla="*/ 4 w 13"/>
                <a:gd name="T13" fmla="*/ 6 h 10"/>
                <a:gd name="T14" fmla="*/ 6 w 13"/>
                <a:gd name="T15" fmla="*/ 4 h 10"/>
                <a:gd name="T16" fmla="*/ 9 w 13"/>
                <a:gd name="T17" fmla="*/ 4 h 10"/>
                <a:gd name="T18" fmla="*/ 12 w 13"/>
                <a:gd name="T19" fmla="*/ 4 h 10"/>
                <a:gd name="T20" fmla="*/ 13 w 13"/>
                <a:gd name="T21" fmla="*/ 3 h 10"/>
                <a:gd name="T22" fmla="*/ 13 w 13"/>
                <a:gd name="T23" fmla="*/ 1 h 10"/>
                <a:gd name="T24" fmla="*/ 10 w 13"/>
                <a:gd name="T25" fmla="*/ 0 h 10"/>
                <a:gd name="T26" fmla="*/ 6 w 13"/>
                <a:gd name="T27" fmla="*/ 0 h 10"/>
                <a:gd name="T28" fmla="*/ 6 w 13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" h="10">
                  <a:moveTo>
                    <a:pt x="6" y="0"/>
                  </a:moveTo>
                  <a:lnTo>
                    <a:pt x="3" y="3"/>
                  </a:lnTo>
                  <a:lnTo>
                    <a:pt x="0" y="7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3" y="10"/>
                  </a:lnTo>
                  <a:lnTo>
                    <a:pt x="4" y="6"/>
                  </a:lnTo>
                  <a:lnTo>
                    <a:pt x="6" y="4"/>
                  </a:lnTo>
                  <a:lnTo>
                    <a:pt x="9" y="4"/>
                  </a:lnTo>
                  <a:lnTo>
                    <a:pt x="12" y="4"/>
                  </a:lnTo>
                  <a:lnTo>
                    <a:pt x="13" y="3"/>
                  </a:lnTo>
                  <a:lnTo>
                    <a:pt x="13" y="1"/>
                  </a:lnTo>
                  <a:lnTo>
                    <a:pt x="10" y="0"/>
                  </a:lnTo>
                  <a:lnTo>
                    <a:pt x="6" y="0"/>
                  </a:lnTo>
                  <a:lnTo>
                    <a:pt x="6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43" name="Freeform 91"/>
            <p:cNvSpPr>
              <a:spLocks/>
            </p:cNvSpPr>
            <p:nvPr/>
          </p:nvSpPr>
          <p:spPr bwMode="auto">
            <a:xfrm>
              <a:off x="5515934" y="2808004"/>
              <a:ext cx="9769" cy="5292"/>
            </a:xfrm>
            <a:custGeom>
              <a:avLst/>
              <a:gdLst>
                <a:gd name="T0" fmla="*/ 8 w 16"/>
                <a:gd name="T1" fmla="*/ 0 h 9"/>
                <a:gd name="T2" fmla="*/ 5 w 16"/>
                <a:gd name="T3" fmla="*/ 0 h 9"/>
                <a:gd name="T4" fmla="*/ 0 w 16"/>
                <a:gd name="T5" fmla="*/ 2 h 9"/>
                <a:gd name="T6" fmla="*/ 0 w 16"/>
                <a:gd name="T7" fmla="*/ 2 h 9"/>
                <a:gd name="T8" fmla="*/ 0 w 16"/>
                <a:gd name="T9" fmla="*/ 3 h 9"/>
                <a:gd name="T10" fmla="*/ 2 w 16"/>
                <a:gd name="T11" fmla="*/ 3 h 9"/>
                <a:gd name="T12" fmla="*/ 6 w 16"/>
                <a:gd name="T13" fmla="*/ 5 h 9"/>
                <a:gd name="T14" fmla="*/ 9 w 16"/>
                <a:gd name="T15" fmla="*/ 6 h 9"/>
                <a:gd name="T16" fmla="*/ 10 w 16"/>
                <a:gd name="T17" fmla="*/ 6 h 9"/>
                <a:gd name="T18" fmla="*/ 10 w 16"/>
                <a:gd name="T19" fmla="*/ 9 h 9"/>
                <a:gd name="T20" fmla="*/ 12 w 16"/>
                <a:gd name="T21" fmla="*/ 9 h 9"/>
                <a:gd name="T22" fmla="*/ 12 w 16"/>
                <a:gd name="T23" fmla="*/ 9 h 9"/>
                <a:gd name="T24" fmla="*/ 13 w 16"/>
                <a:gd name="T25" fmla="*/ 6 h 9"/>
                <a:gd name="T26" fmla="*/ 15 w 16"/>
                <a:gd name="T27" fmla="*/ 5 h 9"/>
                <a:gd name="T28" fmla="*/ 16 w 16"/>
                <a:gd name="T29" fmla="*/ 3 h 9"/>
                <a:gd name="T30" fmla="*/ 16 w 16"/>
                <a:gd name="T31" fmla="*/ 2 h 9"/>
                <a:gd name="T32" fmla="*/ 15 w 16"/>
                <a:gd name="T33" fmla="*/ 2 h 9"/>
                <a:gd name="T34" fmla="*/ 13 w 16"/>
                <a:gd name="T35" fmla="*/ 0 h 9"/>
                <a:gd name="T36" fmla="*/ 10 w 16"/>
                <a:gd name="T37" fmla="*/ 0 h 9"/>
                <a:gd name="T38" fmla="*/ 9 w 16"/>
                <a:gd name="T39" fmla="*/ 0 h 9"/>
                <a:gd name="T40" fmla="*/ 8 w 16"/>
                <a:gd name="T41" fmla="*/ 2 h 9"/>
                <a:gd name="T42" fmla="*/ 8 w 16"/>
                <a:gd name="T43" fmla="*/ 0 h 9"/>
                <a:gd name="T44" fmla="*/ 8 w 16"/>
                <a:gd name="T4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" h="9">
                  <a:moveTo>
                    <a:pt x="8" y="0"/>
                  </a:moveTo>
                  <a:lnTo>
                    <a:pt x="5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2" y="3"/>
                  </a:lnTo>
                  <a:lnTo>
                    <a:pt x="6" y="5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6"/>
                  </a:lnTo>
                  <a:lnTo>
                    <a:pt x="15" y="5"/>
                  </a:lnTo>
                  <a:lnTo>
                    <a:pt x="16" y="3"/>
                  </a:lnTo>
                  <a:lnTo>
                    <a:pt x="16" y="2"/>
                  </a:lnTo>
                  <a:lnTo>
                    <a:pt x="15" y="2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9" y="0"/>
                  </a:lnTo>
                  <a:lnTo>
                    <a:pt x="8" y="2"/>
                  </a:lnTo>
                  <a:lnTo>
                    <a:pt x="8" y="0"/>
                  </a:lnTo>
                  <a:lnTo>
                    <a:pt x="8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44" name="Freeform 92"/>
            <p:cNvSpPr>
              <a:spLocks/>
            </p:cNvSpPr>
            <p:nvPr/>
          </p:nvSpPr>
          <p:spPr bwMode="auto">
            <a:xfrm>
              <a:off x="5507386" y="2806681"/>
              <a:ext cx="3663" cy="2646"/>
            </a:xfrm>
            <a:custGeom>
              <a:avLst/>
              <a:gdLst>
                <a:gd name="T0" fmla="*/ 3 w 7"/>
                <a:gd name="T1" fmla="*/ 0 h 4"/>
                <a:gd name="T2" fmla="*/ 2 w 7"/>
                <a:gd name="T3" fmla="*/ 0 h 4"/>
                <a:gd name="T4" fmla="*/ 0 w 7"/>
                <a:gd name="T5" fmla="*/ 1 h 4"/>
                <a:gd name="T6" fmla="*/ 2 w 7"/>
                <a:gd name="T7" fmla="*/ 3 h 4"/>
                <a:gd name="T8" fmla="*/ 3 w 7"/>
                <a:gd name="T9" fmla="*/ 3 h 4"/>
                <a:gd name="T10" fmla="*/ 6 w 7"/>
                <a:gd name="T11" fmla="*/ 4 h 4"/>
                <a:gd name="T12" fmla="*/ 7 w 7"/>
                <a:gd name="T13" fmla="*/ 3 h 4"/>
                <a:gd name="T14" fmla="*/ 7 w 7"/>
                <a:gd name="T15" fmla="*/ 1 h 4"/>
                <a:gd name="T16" fmla="*/ 7 w 7"/>
                <a:gd name="T17" fmla="*/ 0 h 4"/>
                <a:gd name="T18" fmla="*/ 6 w 7"/>
                <a:gd name="T19" fmla="*/ 0 h 4"/>
                <a:gd name="T20" fmla="*/ 3 w 7"/>
                <a:gd name="T21" fmla="*/ 0 h 4"/>
                <a:gd name="T22" fmla="*/ 3 w 7"/>
                <a:gd name="T2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4">
                  <a:moveTo>
                    <a:pt x="3" y="0"/>
                  </a:moveTo>
                  <a:lnTo>
                    <a:pt x="2" y="0"/>
                  </a:lnTo>
                  <a:lnTo>
                    <a:pt x="0" y="1"/>
                  </a:lnTo>
                  <a:lnTo>
                    <a:pt x="2" y="3"/>
                  </a:lnTo>
                  <a:lnTo>
                    <a:pt x="3" y="3"/>
                  </a:lnTo>
                  <a:lnTo>
                    <a:pt x="6" y="4"/>
                  </a:lnTo>
                  <a:lnTo>
                    <a:pt x="7" y="3"/>
                  </a:lnTo>
                  <a:lnTo>
                    <a:pt x="7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45" name="Freeform 93"/>
            <p:cNvSpPr>
              <a:spLocks/>
            </p:cNvSpPr>
            <p:nvPr/>
          </p:nvSpPr>
          <p:spPr bwMode="auto">
            <a:xfrm>
              <a:off x="5518377" y="2814619"/>
              <a:ext cx="3663" cy="17198"/>
            </a:xfrm>
            <a:custGeom>
              <a:avLst/>
              <a:gdLst>
                <a:gd name="T0" fmla="*/ 0 w 7"/>
                <a:gd name="T1" fmla="*/ 8 h 26"/>
                <a:gd name="T2" fmla="*/ 0 w 7"/>
                <a:gd name="T3" fmla="*/ 13 h 26"/>
                <a:gd name="T4" fmla="*/ 0 w 7"/>
                <a:gd name="T5" fmla="*/ 21 h 26"/>
                <a:gd name="T6" fmla="*/ 0 w 7"/>
                <a:gd name="T7" fmla="*/ 24 h 26"/>
                <a:gd name="T8" fmla="*/ 0 w 7"/>
                <a:gd name="T9" fmla="*/ 26 h 26"/>
                <a:gd name="T10" fmla="*/ 1 w 7"/>
                <a:gd name="T11" fmla="*/ 24 h 26"/>
                <a:gd name="T12" fmla="*/ 3 w 7"/>
                <a:gd name="T13" fmla="*/ 23 h 26"/>
                <a:gd name="T14" fmla="*/ 3 w 7"/>
                <a:gd name="T15" fmla="*/ 20 h 26"/>
                <a:gd name="T16" fmla="*/ 3 w 7"/>
                <a:gd name="T17" fmla="*/ 16 h 26"/>
                <a:gd name="T18" fmla="*/ 3 w 7"/>
                <a:gd name="T19" fmla="*/ 13 h 26"/>
                <a:gd name="T20" fmla="*/ 4 w 7"/>
                <a:gd name="T21" fmla="*/ 11 h 26"/>
                <a:gd name="T22" fmla="*/ 5 w 7"/>
                <a:gd name="T23" fmla="*/ 11 h 26"/>
                <a:gd name="T24" fmla="*/ 5 w 7"/>
                <a:gd name="T25" fmla="*/ 10 h 26"/>
                <a:gd name="T26" fmla="*/ 7 w 7"/>
                <a:gd name="T27" fmla="*/ 8 h 26"/>
                <a:gd name="T28" fmla="*/ 7 w 7"/>
                <a:gd name="T29" fmla="*/ 7 h 26"/>
                <a:gd name="T30" fmla="*/ 5 w 7"/>
                <a:gd name="T31" fmla="*/ 4 h 26"/>
                <a:gd name="T32" fmla="*/ 3 w 7"/>
                <a:gd name="T33" fmla="*/ 0 h 26"/>
                <a:gd name="T34" fmla="*/ 0 w 7"/>
                <a:gd name="T35" fmla="*/ 0 h 26"/>
                <a:gd name="T36" fmla="*/ 0 w 7"/>
                <a:gd name="T37" fmla="*/ 1 h 26"/>
                <a:gd name="T38" fmla="*/ 0 w 7"/>
                <a:gd name="T39" fmla="*/ 6 h 26"/>
                <a:gd name="T40" fmla="*/ 0 w 7"/>
                <a:gd name="T41" fmla="*/ 8 h 26"/>
                <a:gd name="T42" fmla="*/ 0 w 7"/>
                <a:gd name="T43" fmla="*/ 8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" h="26">
                  <a:moveTo>
                    <a:pt x="0" y="8"/>
                  </a:moveTo>
                  <a:lnTo>
                    <a:pt x="0" y="13"/>
                  </a:lnTo>
                  <a:lnTo>
                    <a:pt x="0" y="21"/>
                  </a:lnTo>
                  <a:lnTo>
                    <a:pt x="0" y="24"/>
                  </a:lnTo>
                  <a:lnTo>
                    <a:pt x="0" y="26"/>
                  </a:lnTo>
                  <a:lnTo>
                    <a:pt x="1" y="24"/>
                  </a:lnTo>
                  <a:lnTo>
                    <a:pt x="3" y="23"/>
                  </a:lnTo>
                  <a:lnTo>
                    <a:pt x="3" y="20"/>
                  </a:lnTo>
                  <a:lnTo>
                    <a:pt x="3" y="16"/>
                  </a:lnTo>
                  <a:lnTo>
                    <a:pt x="3" y="13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5" y="10"/>
                  </a:lnTo>
                  <a:lnTo>
                    <a:pt x="7" y="8"/>
                  </a:lnTo>
                  <a:lnTo>
                    <a:pt x="7" y="7"/>
                  </a:lnTo>
                  <a:lnTo>
                    <a:pt x="5" y="4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46" name="Freeform 94"/>
            <p:cNvSpPr>
              <a:spLocks/>
            </p:cNvSpPr>
            <p:nvPr/>
          </p:nvSpPr>
          <p:spPr bwMode="auto">
            <a:xfrm>
              <a:off x="5479300" y="2821233"/>
              <a:ext cx="6106" cy="6615"/>
            </a:xfrm>
            <a:custGeom>
              <a:avLst/>
              <a:gdLst>
                <a:gd name="T0" fmla="*/ 4 w 8"/>
                <a:gd name="T1" fmla="*/ 3 h 12"/>
                <a:gd name="T2" fmla="*/ 1 w 8"/>
                <a:gd name="T3" fmla="*/ 6 h 12"/>
                <a:gd name="T4" fmla="*/ 0 w 8"/>
                <a:gd name="T5" fmla="*/ 8 h 12"/>
                <a:gd name="T6" fmla="*/ 0 w 8"/>
                <a:gd name="T7" fmla="*/ 9 h 12"/>
                <a:gd name="T8" fmla="*/ 1 w 8"/>
                <a:gd name="T9" fmla="*/ 12 h 12"/>
                <a:gd name="T10" fmla="*/ 4 w 8"/>
                <a:gd name="T11" fmla="*/ 12 h 12"/>
                <a:gd name="T12" fmla="*/ 7 w 8"/>
                <a:gd name="T13" fmla="*/ 12 h 12"/>
                <a:gd name="T14" fmla="*/ 8 w 8"/>
                <a:gd name="T15" fmla="*/ 12 h 12"/>
                <a:gd name="T16" fmla="*/ 8 w 8"/>
                <a:gd name="T17" fmla="*/ 11 h 12"/>
                <a:gd name="T18" fmla="*/ 8 w 8"/>
                <a:gd name="T19" fmla="*/ 9 h 12"/>
                <a:gd name="T20" fmla="*/ 8 w 8"/>
                <a:gd name="T21" fmla="*/ 9 h 12"/>
                <a:gd name="T22" fmla="*/ 5 w 8"/>
                <a:gd name="T23" fmla="*/ 8 h 12"/>
                <a:gd name="T24" fmla="*/ 5 w 8"/>
                <a:gd name="T25" fmla="*/ 8 h 12"/>
                <a:gd name="T26" fmla="*/ 7 w 8"/>
                <a:gd name="T27" fmla="*/ 6 h 12"/>
                <a:gd name="T28" fmla="*/ 7 w 8"/>
                <a:gd name="T29" fmla="*/ 5 h 12"/>
                <a:gd name="T30" fmla="*/ 8 w 8"/>
                <a:gd name="T31" fmla="*/ 3 h 12"/>
                <a:gd name="T32" fmla="*/ 8 w 8"/>
                <a:gd name="T33" fmla="*/ 2 h 12"/>
                <a:gd name="T34" fmla="*/ 7 w 8"/>
                <a:gd name="T35" fmla="*/ 0 h 12"/>
                <a:gd name="T36" fmla="*/ 5 w 8"/>
                <a:gd name="T37" fmla="*/ 2 h 12"/>
                <a:gd name="T38" fmla="*/ 4 w 8"/>
                <a:gd name="T39" fmla="*/ 3 h 12"/>
                <a:gd name="T40" fmla="*/ 4 w 8"/>
                <a:gd name="T41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" h="12">
                  <a:moveTo>
                    <a:pt x="4" y="3"/>
                  </a:moveTo>
                  <a:lnTo>
                    <a:pt x="1" y="6"/>
                  </a:lnTo>
                  <a:lnTo>
                    <a:pt x="0" y="8"/>
                  </a:lnTo>
                  <a:lnTo>
                    <a:pt x="0" y="9"/>
                  </a:lnTo>
                  <a:lnTo>
                    <a:pt x="1" y="12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8" y="9"/>
                  </a:lnTo>
                  <a:lnTo>
                    <a:pt x="8" y="9"/>
                  </a:lnTo>
                  <a:lnTo>
                    <a:pt x="5" y="8"/>
                  </a:lnTo>
                  <a:lnTo>
                    <a:pt x="5" y="8"/>
                  </a:lnTo>
                  <a:lnTo>
                    <a:pt x="7" y="6"/>
                  </a:lnTo>
                  <a:lnTo>
                    <a:pt x="7" y="5"/>
                  </a:lnTo>
                  <a:lnTo>
                    <a:pt x="8" y="3"/>
                  </a:lnTo>
                  <a:lnTo>
                    <a:pt x="8" y="2"/>
                  </a:lnTo>
                  <a:lnTo>
                    <a:pt x="7" y="0"/>
                  </a:lnTo>
                  <a:lnTo>
                    <a:pt x="5" y="2"/>
                  </a:lnTo>
                  <a:lnTo>
                    <a:pt x="4" y="3"/>
                  </a:lnTo>
                  <a:lnTo>
                    <a:pt x="4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47" name="Freeform 95"/>
            <p:cNvSpPr>
              <a:spLocks/>
            </p:cNvSpPr>
            <p:nvPr/>
          </p:nvSpPr>
          <p:spPr bwMode="auto">
            <a:xfrm>
              <a:off x="5465867" y="2813296"/>
              <a:ext cx="15875" cy="10583"/>
            </a:xfrm>
            <a:custGeom>
              <a:avLst/>
              <a:gdLst>
                <a:gd name="T0" fmla="*/ 16 w 26"/>
                <a:gd name="T1" fmla="*/ 6 h 16"/>
                <a:gd name="T2" fmla="*/ 16 w 26"/>
                <a:gd name="T3" fmla="*/ 7 h 16"/>
                <a:gd name="T4" fmla="*/ 16 w 26"/>
                <a:gd name="T5" fmla="*/ 9 h 16"/>
                <a:gd name="T6" fmla="*/ 14 w 26"/>
                <a:gd name="T7" fmla="*/ 10 h 16"/>
                <a:gd name="T8" fmla="*/ 13 w 26"/>
                <a:gd name="T9" fmla="*/ 10 h 16"/>
                <a:gd name="T10" fmla="*/ 11 w 26"/>
                <a:gd name="T11" fmla="*/ 10 h 16"/>
                <a:gd name="T12" fmla="*/ 10 w 26"/>
                <a:gd name="T13" fmla="*/ 9 h 16"/>
                <a:gd name="T14" fmla="*/ 8 w 26"/>
                <a:gd name="T15" fmla="*/ 9 h 16"/>
                <a:gd name="T16" fmla="*/ 7 w 26"/>
                <a:gd name="T17" fmla="*/ 7 h 16"/>
                <a:gd name="T18" fmla="*/ 5 w 26"/>
                <a:gd name="T19" fmla="*/ 9 h 16"/>
                <a:gd name="T20" fmla="*/ 3 w 26"/>
                <a:gd name="T21" fmla="*/ 9 h 16"/>
                <a:gd name="T22" fmla="*/ 3 w 26"/>
                <a:gd name="T23" fmla="*/ 9 h 16"/>
                <a:gd name="T24" fmla="*/ 1 w 26"/>
                <a:gd name="T25" fmla="*/ 9 h 16"/>
                <a:gd name="T26" fmla="*/ 1 w 26"/>
                <a:gd name="T27" fmla="*/ 10 h 16"/>
                <a:gd name="T28" fmla="*/ 0 w 26"/>
                <a:gd name="T29" fmla="*/ 11 h 16"/>
                <a:gd name="T30" fmla="*/ 0 w 26"/>
                <a:gd name="T31" fmla="*/ 13 h 16"/>
                <a:gd name="T32" fmla="*/ 0 w 26"/>
                <a:gd name="T33" fmla="*/ 14 h 16"/>
                <a:gd name="T34" fmla="*/ 1 w 26"/>
                <a:gd name="T35" fmla="*/ 14 h 16"/>
                <a:gd name="T36" fmla="*/ 3 w 26"/>
                <a:gd name="T37" fmla="*/ 14 h 16"/>
                <a:gd name="T38" fmla="*/ 4 w 26"/>
                <a:gd name="T39" fmla="*/ 13 h 16"/>
                <a:gd name="T40" fmla="*/ 5 w 26"/>
                <a:gd name="T41" fmla="*/ 13 h 16"/>
                <a:gd name="T42" fmla="*/ 8 w 26"/>
                <a:gd name="T43" fmla="*/ 14 h 16"/>
                <a:gd name="T44" fmla="*/ 11 w 26"/>
                <a:gd name="T45" fmla="*/ 14 h 16"/>
                <a:gd name="T46" fmla="*/ 13 w 26"/>
                <a:gd name="T47" fmla="*/ 14 h 16"/>
                <a:gd name="T48" fmla="*/ 14 w 26"/>
                <a:gd name="T49" fmla="*/ 14 h 16"/>
                <a:gd name="T50" fmla="*/ 16 w 26"/>
                <a:gd name="T51" fmla="*/ 16 h 16"/>
                <a:gd name="T52" fmla="*/ 17 w 26"/>
                <a:gd name="T53" fmla="*/ 16 h 16"/>
                <a:gd name="T54" fmla="*/ 18 w 26"/>
                <a:gd name="T55" fmla="*/ 14 h 16"/>
                <a:gd name="T56" fmla="*/ 18 w 26"/>
                <a:gd name="T57" fmla="*/ 13 h 16"/>
                <a:gd name="T58" fmla="*/ 20 w 26"/>
                <a:gd name="T59" fmla="*/ 11 h 16"/>
                <a:gd name="T60" fmla="*/ 20 w 26"/>
                <a:gd name="T61" fmla="*/ 10 h 16"/>
                <a:gd name="T62" fmla="*/ 18 w 26"/>
                <a:gd name="T63" fmla="*/ 9 h 16"/>
                <a:gd name="T64" fmla="*/ 18 w 26"/>
                <a:gd name="T65" fmla="*/ 9 h 16"/>
                <a:gd name="T66" fmla="*/ 18 w 26"/>
                <a:gd name="T67" fmla="*/ 6 h 16"/>
                <a:gd name="T68" fmla="*/ 18 w 26"/>
                <a:gd name="T69" fmla="*/ 6 h 16"/>
                <a:gd name="T70" fmla="*/ 21 w 26"/>
                <a:gd name="T71" fmla="*/ 4 h 16"/>
                <a:gd name="T72" fmla="*/ 23 w 26"/>
                <a:gd name="T73" fmla="*/ 4 h 16"/>
                <a:gd name="T74" fmla="*/ 23 w 26"/>
                <a:gd name="T75" fmla="*/ 3 h 16"/>
                <a:gd name="T76" fmla="*/ 26 w 26"/>
                <a:gd name="T77" fmla="*/ 1 h 16"/>
                <a:gd name="T78" fmla="*/ 26 w 26"/>
                <a:gd name="T79" fmla="*/ 0 h 16"/>
                <a:gd name="T80" fmla="*/ 23 w 26"/>
                <a:gd name="T81" fmla="*/ 0 h 16"/>
                <a:gd name="T82" fmla="*/ 21 w 26"/>
                <a:gd name="T83" fmla="*/ 0 h 16"/>
                <a:gd name="T84" fmla="*/ 21 w 26"/>
                <a:gd name="T85" fmla="*/ 1 h 16"/>
                <a:gd name="T86" fmla="*/ 20 w 26"/>
                <a:gd name="T87" fmla="*/ 3 h 16"/>
                <a:gd name="T88" fmla="*/ 20 w 26"/>
                <a:gd name="T89" fmla="*/ 3 h 16"/>
                <a:gd name="T90" fmla="*/ 17 w 26"/>
                <a:gd name="T91" fmla="*/ 3 h 16"/>
                <a:gd name="T92" fmla="*/ 16 w 26"/>
                <a:gd name="T93" fmla="*/ 4 h 16"/>
                <a:gd name="T94" fmla="*/ 16 w 26"/>
                <a:gd name="T95" fmla="*/ 6 h 16"/>
                <a:gd name="T96" fmla="*/ 16 w 26"/>
                <a:gd name="T97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" h="16">
                  <a:moveTo>
                    <a:pt x="16" y="6"/>
                  </a:moveTo>
                  <a:lnTo>
                    <a:pt x="16" y="7"/>
                  </a:lnTo>
                  <a:lnTo>
                    <a:pt x="16" y="9"/>
                  </a:lnTo>
                  <a:lnTo>
                    <a:pt x="14" y="10"/>
                  </a:lnTo>
                  <a:lnTo>
                    <a:pt x="13" y="10"/>
                  </a:lnTo>
                  <a:lnTo>
                    <a:pt x="11" y="10"/>
                  </a:lnTo>
                  <a:lnTo>
                    <a:pt x="10" y="9"/>
                  </a:lnTo>
                  <a:lnTo>
                    <a:pt x="8" y="9"/>
                  </a:lnTo>
                  <a:lnTo>
                    <a:pt x="7" y="7"/>
                  </a:lnTo>
                  <a:lnTo>
                    <a:pt x="5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1" y="9"/>
                  </a:lnTo>
                  <a:lnTo>
                    <a:pt x="1" y="10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3" y="14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8" y="14"/>
                  </a:lnTo>
                  <a:lnTo>
                    <a:pt x="11" y="14"/>
                  </a:lnTo>
                  <a:lnTo>
                    <a:pt x="13" y="14"/>
                  </a:lnTo>
                  <a:lnTo>
                    <a:pt x="14" y="14"/>
                  </a:lnTo>
                  <a:lnTo>
                    <a:pt x="16" y="16"/>
                  </a:lnTo>
                  <a:lnTo>
                    <a:pt x="17" y="16"/>
                  </a:lnTo>
                  <a:lnTo>
                    <a:pt x="18" y="14"/>
                  </a:lnTo>
                  <a:lnTo>
                    <a:pt x="18" y="13"/>
                  </a:lnTo>
                  <a:lnTo>
                    <a:pt x="20" y="11"/>
                  </a:lnTo>
                  <a:lnTo>
                    <a:pt x="20" y="10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23" y="3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6" y="6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48" name="Freeform 96"/>
            <p:cNvSpPr>
              <a:spLocks/>
            </p:cNvSpPr>
            <p:nvPr/>
          </p:nvSpPr>
          <p:spPr bwMode="auto">
            <a:xfrm>
              <a:off x="5522040" y="2806681"/>
              <a:ext cx="12211" cy="22489"/>
            </a:xfrm>
            <a:custGeom>
              <a:avLst/>
              <a:gdLst>
                <a:gd name="T0" fmla="*/ 7 w 18"/>
                <a:gd name="T1" fmla="*/ 13 h 34"/>
                <a:gd name="T2" fmla="*/ 4 w 18"/>
                <a:gd name="T3" fmla="*/ 20 h 34"/>
                <a:gd name="T4" fmla="*/ 1 w 18"/>
                <a:gd name="T5" fmla="*/ 26 h 34"/>
                <a:gd name="T6" fmla="*/ 1 w 18"/>
                <a:gd name="T7" fmla="*/ 27 h 34"/>
                <a:gd name="T8" fmla="*/ 0 w 18"/>
                <a:gd name="T9" fmla="*/ 29 h 34"/>
                <a:gd name="T10" fmla="*/ 0 w 18"/>
                <a:gd name="T11" fmla="*/ 30 h 34"/>
                <a:gd name="T12" fmla="*/ 1 w 18"/>
                <a:gd name="T13" fmla="*/ 33 h 34"/>
                <a:gd name="T14" fmla="*/ 3 w 18"/>
                <a:gd name="T15" fmla="*/ 34 h 34"/>
                <a:gd name="T16" fmla="*/ 4 w 18"/>
                <a:gd name="T17" fmla="*/ 34 h 34"/>
                <a:gd name="T18" fmla="*/ 6 w 18"/>
                <a:gd name="T19" fmla="*/ 33 h 34"/>
                <a:gd name="T20" fmla="*/ 7 w 18"/>
                <a:gd name="T21" fmla="*/ 30 h 34"/>
                <a:gd name="T22" fmla="*/ 10 w 18"/>
                <a:gd name="T23" fmla="*/ 27 h 34"/>
                <a:gd name="T24" fmla="*/ 13 w 18"/>
                <a:gd name="T25" fmla="*/ 24 h 34"/>
                <a:gd name="T26" fmla="*/ 16 w 18"/>
                <a:gd name="T27" fmla="*/ 24 h 34"/>
                <a:gd name="T28" fmla="*/ 17 w 18"/>
                <a:gd name="T29" fmla="*/ 23 h 34"/>
                <a:gd name="T30" fmla="*/ 17 w 18"/>
                <a:gd name="T31" fmla="*/ 21 h 34"/>
                <a:gd name="T32" fmla="*/ 16 w 18"/>
                <a:gd name="T33" fmla="*/ 20 h 34"/>
                <a:gd name="T34" fmla="*/ 14 w 18"/>
                <a:gd name="T35" fmla="*/ 20 h 34"/>
                <a:gd name="T36" fmla="*/ 11 w 18"/>
                <a:gd name="T37" fmla="*/ 19 h 34"/>
                <a:gd name="T38" fmla="*/ 10 w 18"/>
                <a:gd name="T39" fmla="*/ 19 h 34"/>
                <a:gd name="T40" fmla="*/ 8 w 18"/>
                <a:gd name="T41" fmla="*/ 21 h 34"/>
                <a:gd name="T42" fmla="*/ 6 w 18"/>
                <a:gd name="T43" fmla="*/ 26 h 34"/>
                <a:gd name="T44" fmla="*/ 6 w 18"/>
                <a:gd name="T45" fmla="*/ 27 h 34"/>
                <a:gd name="T46" fmla="*/ 4 w 18"/>
                <a:gd name="T47" fmla="*/ 27 h 34"/>
                <a:gd name="T48" fmla="*/ 4 w 18"/>
                <a:gd name="T49" fmla="*/ 24 h 34"/>
                <a:gd name="T50" fmla="*/ 10 w 18"/>
                <a:gd name="T51" fmla="*/ 16 h 34"/>
                <a:gd name="T52" fmla="*/ 11 w 18"/>
                <a:gd name="T53" fmla="*/ 14 h 34"/>
                <a:gd name="T54" fmla="*/ 13 w 18"/>
                <a:gd name="T55" fmla="*/ 14 h 34"/>
                <a:gd name="T56" fmla="*/ 13 w 18"/>
                <a:gd name="T57" fmla="*/ 16 h 34"/>
                <a:gd name="T58" fmla="*/ 13 w 18"/>
                <a:gd name="T59" fmla="*/ 17 h 34"/>
                <a:gd name="T60" fmla="*/ 14 w 18"/>
                <a:gd name="T61" fmla="*/ 14 h 34"/>
                <a:gd name="T62" fmla="*/ 17 w 18"/>
                <a:gd name="T63" fmla="*/ 13 h 34"/>
                <a:gd name="T64" fmla="*/ 17 w 18"/>
                <a:gd name="T65" fmla="*/ 11 h 34"/>
                <a:gd name="T66" fmla="*/ 18 w 18"/>
                <a:gd name="T67" fmla="*/ 11 h 34"/>
                <a:gd name="T68" fmla="*/ 17 w 18"/>
                <a:gd name="T69" fmla="*/ 9 h 34"/>
                <a:gd name="T70" fmla="*/ 17 w 18"/>
                <a:gd name="T71" fmla="*/ 9 h 34"/>
                <a:gd name="T72" fmla="*/ 17 w 18"/>
                <a:gd name="T73" fmla="*/ 7 h 34"/>
                <a:gd name="T74" fmla="*/ 17 w 18"/>
                <a:gd name="T75" fmla="*/ 6 h 34"/>
                <a:gd name="T76" fmla="*/ 16 w 18"/>
                <a:gd name="T77" fmla="*/ 4 h 34"/>
                <a:gd name="T78" fmla="*/ 13 w 18"/>
                <a:gd name="T79" fmla="*/ 4 h 34"/>
                <a:gd name="T80" fmla="*/ 11 w 18"/>
                <a:gd name="T81" fmla="*/ 4 h 34"/>
                <a:gd name="T82" fmla="*/ 10 w 18"/>
                <a:gd name="T83" fmla="*/ 1 h 34"/>
                <a:gd name="T84" fmla="*/ 10 w 18"/>
                <a:gd name="T85" fmla="*/ 0 h 34"/>
                <a:gd name="T86" fmla="*/ 8 w 18"/>
                <a:gd name="T87" fmla="*/ 0 h 34"/>
                <a:gd name="T88" fmla="*/ 7 w 18"/>
                <a:gd name="T89" fmla="*/ 1 h 34"/>
                <a:gd name="T90" fmla="*/ 7 w 18"/>
                <a:gd name="T91" fmla="*/ 3 h 34"/>
                <a:gd name="T92" fmla="*/ 8 w 18"/>
                <a:gd name="T93" fmla="*/ 4 h 34"/>
                <a:gd name="T94" fmla="*/ 8 w 18"/>
                <a:gd name="T95" fmla="*/ 6 h 34"/>
                <a:gd name="T96" fmla="*/ 10 w 18"/>
                <a:gd name="T97" fmla="*/ 7 h 34"/>
                <a:gd name="T98" fmla="*/ 8 w 18"/>
                <a:gd name="T99" fmla="*/ 10 h 34"/>
                <a:gd name="T100" fmla="*/ 7 w 18"/>
                <a:gd name="T101" fmla="*/ 13 h 34"/>
                <a:gd name="T102" fmla="*/ 7 w 18"/>
                <a:gd name="T103" fmla="*/ 1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" h="34">
                  <a:moveTo>
                    <a:pt x="7" y="13"/>
                  </a:moveTo>
                  <a:lnTo>
                    <a:pt x="4" y="20"/>
                  </a:lnTo>
                  <a:lnTo>
                    <a:pt x="1" y="26"/>
                  </a:lnTo>
                  <a:lnTo>
                    <a:pt x="1" y="27"/>
                  </a:lnTo>
                  <a:lnTo>
                    <a:pt x="0" y="29"/>
                  </a:lnTo>
                  <a:lnTo>
                    <a:pt x="0" y="30"/>
                  </a:lnTo>
                  <a:lnTo>
                    <a:pt x="1" y="33"/>
                  </a:lnTo>
                  <a:lnTo>
                    <a:pt x="3" y="34"/>
                  </a:lnTo>
                  <a:lnTo>
                    <a:pt x="4" y="34"/>
                  </a:lnTo>
                  <a:lnTo>
                    <a:pt x="6" y="33"/>
                  </a:lnTo>
                  <a:lnTo>
                    <a:pt x="7" y="30"/>
                  </a:lnTo>
                  <a:lnTo>
                    <a:pt x="10" y="27"/>
                  </a:lnTo>
                  <a:lnTo>
                    <a:pt x="13" y="24"/>
                  </a:lnTo>
                  <a:lnTo>
                    <a:pt x="16" y="24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6" y="20"/>
                  </a:lnTo>
                  <a:lnTo>
                    <a:pt x="14" y="20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8" y="21"/>
                  </a:lnTo>
                  <a:lnTo>
                    <a:pt x="6" y="26"/>
                  </a:lnTo>
                  <a:lnTo>
                    <a:pt x="6" y="27"/>
                  </a:lnTo>
                  <a:lnTo>
                    <a:pt x="4" y="27"/>
                  </a:lnTo>
                  <a:lnTo>
                    <a:pt x="4" y="24"/>
                  </a:lnTo>
                  <a:lnTo>
                    <a:pt x="10" y="16"/>
                  </a:lnTo>
                  <a:lnTo>
                    <a:pt x="11" y="14"/>
                  </a:lnTo>
                  <a:lnTo>
                    <a:pt x="13" y="14"/>
                  </a:lnTo>
                  <a:lnTo>
                    <a:pt x="13" y="16"/>
                  </a:lnTo>
                  <a:lnTo>
                    <a:pt x="13" y="17"/>
                  </a:lnTo>
                  <a:lnTo>
                    <a:pt x="14" y="14"/>
                  </a:lnTo>
                  <a:lnTo>
                    <a:pt x="17" y="13"/>
                  </a:lnTo>
                  <a:lnTo>
                    <a:pt x="17" y="11"/>
                  </a:lnTo>
                  <a:lnTo>
                    <a:pt x="18" y="11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6" y="4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10" y="1"/>
                  </a:lnTo>
                  <a:lnTo>
                    <a:pt x="10" y="0"/>
                  </a:lnTo>
                  <a:lnTo>
                    <a:pt x="8" y="0"/>
                  </a:lnTo>
                  <a:lnTo>
                    <a:pt x="7" y="1"/>
                  </a:lnTo>
                  <a:lnTo>
                    <a:pt x="7" y="3"/>
                  </a:lnTo>
                  <a:lnTo>
                    <a:pt x="8" y="4"/>
                  </a:lnTo>
                  <a:lnTo>
                    <a:pt x="8" y="6"/>
                  </a:lnTo>
                  <a:lnTo>
                    <a:pt x="10" y="7"/>
                  </a:lnTo>
                  <a:lnTo>
                    <a:pt x="8" y="10"/>
                  </a:lnTo>
                  <a:lnTo>
                    <a:pt x="7" y="13"/>
                  </a:lnTo>
                  <a:lnTo>
                    <a:pt x="7" y="1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49" name="Freeform 97"/>
            <p:cNvSpPr>
              <a:spLocks/>
            </p:cNvSpPr>
            <p:nvPr/>
          </p:nvSpPr>
          <p:spPr bwMode="auto">
            <a:xfrm>
              <a:off x="5487848" y="2809327"/>
              <a:ext cx="28086" cy="25135"/>
            </a:xfrm>
            <a:custGeom>
              <a:avLst/>
              <a:gdLst>
                <a:gd name="T0" fmla="*/ 34 w 47"/>
                <a:gd name="T1" fmla="*/ 30 h 39"/>
                <a:gd name="T2" fmla="*/ 38 w 47"/>
                <a:gd name="T3" fmla="*/ 32 h 39"/>
                <a:gd name="T4" fmla="*/ 38 w 47"/>
                <a:gd name="T5" fmla="*/ 36 h 39"/>
                <a:gd name="T6" fmla="*/ 40 w 47"/>
                <a:gd name="T7" fmla="*/ 39 h 39"/>
                <a:gd name="T8" fmla="*/ 43 w 47"/>
                <a:gd name="T9" fmla="*/ 39 h 39"/>
                <a:gd name="T10" fmla="*/ 43 w 47"/>
                <a:gd name="T11" fmla="*/ 36 h 39"/>
                <a:gd name="T12" fmla="*/ 44 w 47"/>
                <a:gd name="T13" fmla="*/ 33 h 39"/>
                <a:gd name="T14" fmla="*/ 45 w 47"/>
                <a:gd name="T15" fmla="*/ 29 h 39"/>
                <a:gd name="T16" fmla="*/ 43 w 47"/>
                <a:gd name="T17" fmla="*/ 25 h 39"/>
                <a:gd name="T18" fmla="*/ 41 w 47"/>
                <a:gd name="T19" fmla="*/ 22 h 39"/>
                <a:gd name="T20" fmla="*/ 38 w 47"/>
                <a:gd name="T21" fmla="*/ 20 h 39"/>
                <a:gd name="T22" fmla="*/ 41 w 47"/>
                <a:gd name="T23" fmla="*/ 20 h 39"/>
                <a:gd name="T24" fmla="*/ 44 w 47"/>
                <a:gd name="T25" fmla="*/ 22 h 39"/>
                <a:gd name="T26" fmla="*/ 45 w 47"/>
                <a:gd name="T27" fmla="*/ 19 h 39"/>
                <a:gd name="T28" fmla="*/ 44 w 47"/>
                <a:gd name="T29" fmla="*/ 15 h 39"/>
                <a:gd name="T30" fmla="*/ 44 w 47"/>
                <a:gd name="T31" fmla="*/ 10 h 39"/>
                <a:gd name="T32" fmla="*/ 47 w 47"/>
                <a:gd name="T33" fmla="*/ 9 h 39"/>
                <a:gd name="T34" fmla="*/ 44 w 47"/>
                <a:gd name="T35" fmla="*/ 3 h 39"/>
                <a:gd name="T36" fmla="*/ 41 w 47"/>
                <a:gd name="T37" fmla="*/ 3 h 39"/>
                <a:gd name="T38" fmla="*/ 38 w 47"/>
                <a:gd name="T39" fmla="*/ 6 h 39"/>
                <a:gd name="T40" fmla="*/ 35 w 47"/>
                <a:gd name="T41" fmla="*/ 10 h 39"/>
                <a:gd name="T42" fmla="*/ 34 w 47"/>
                <a:gd name="T43" fmla="*/ 15 h 39"/>
                <a:gd name="T44" fmla="*/ 31 w 47"/>
                <a:gd name="T45" fmla="*/ 15 h 39"/>
                <a:gd name="T46" fmla="*/ 33 w 47"/>
                <a:gd name="T47" fmla="*/ 9 h 39"/>
                <a:gd name="T48" fmla="*/ 33 w 47"/>
                <a:gd name="T49" fmla="*/ 7 h 39"/>
                <a:gd name="T50" fmla="*/ 28 w 47"/>
                <a:gd name="T51" fmla="*/ 6 h 39"/>
                <a:gd name="T52" fmla="*/ 25 w 47"/>
                <a:gd name="T53" fmla="*/ 9 h 39"/>
                <a:gd name="T54" fmla="*/ 25 w 47"/>
                <a:gd name="T55" fmla="*/ 2 h 39"/>
                <a:gd name="T56" fmla="*/ 24 w 47"/>
                <a:gd name="T57" fmla="*/ 0 h 39"/>
                <a:gd name="T58" fmla="*/ 20 w 47"/>
                <a:gd name="T59" fmla="*/ 3 h 39"/>
                <a:gd name="T60" fmla="*/ 17 w 47"/>
                <a:gd name="T61" fmla="*/ 6 h 39"/>
                <a:gd name="T62" fmla="*/ 14 w 47"/>
                <a:gd name="T63" fmla="*/ 10 h 39"/>
                <a:gd name="T64" fmla="*/ 12 w 47"/>
                <a:gd name="T65" fmla="*/ 13 h 39"/>
                <a:gd name="T66" fmla="*/ 10 w 47"/>
                <a:gd name="T67" fmla="*/ 10 h 39"/>
                <a:gd name="T68" fmla="*/ 10 w 47"/>
                <a:gd name="T69" fmla="*/ 6 h 39"/>
                <a:gd name="T70" fmla="*/ 4 w 47"/>
                <a:gd name="T71" fmla="*/ 6 h 39"/>
                <a:gd name="T72" fmla="*/ 1 w 47"/>
                <a:gd name="T73" fmla="*/ 7 h 39"/>
                <a:gd name="T74" fmla="*/ 4 w 47"/>
                <a:gd name="T75" fmla="*/ 12 h 39"/>
                <a:gd name="T76" fmla="*/ 1 w 47"/>
                <a:gd name="T77" fmla="*/ 13 h 39"/>
                <a:gd name="T78" fmla="*/ 1 w 47"/>
                <a:gd name="T79" fmla="*/ 16 h 39"/>
                <a:gd name="T80" fmla="*/ 5 w 47"/>
                <a:gd name="T81" fmla="*/ 16 h 39"/>
                <a:gd name="T82" fmla="*/ 8 w 47"/>
                <a:gd name="T83" fmla="*/ 20 h 39"/>
                <a:gd name="T84" fmla="*/ 10 w 47"/>
                <a:gd name="T85" fmla="*/ 22 h 39"/>
                <a:gd name="T86" fmla="*/ 15 w 47"/>
                <a:gd name="T87" fmla="*/ 20 h 39"/>
                <a:gd name="T88" fmla="*/ 17 w 47"/>
                <a:gd name="T89" fmla="*/ 23 h 39"/>
                <a:gd name="T90" fmla="*/ 15 w 47"/>
                <a:gd name="T91" fmla="*/ 26 h 39"/>
                <a:gd name="T92" fmla="*/ 14 w 47"/>
                <a:gd name="T93" fmla="*/ 28 h 39"/>
                <a:gd name="T94" fmla="*/ 18 w 47"/>
                <a:gd name="T95" fmla="*/ 30 h 39"/>
                <a:gd name="T96" fmla="*/ 28 w 47"/>
                <a:gd name="T97" fmla="*/ 30 h 39"/>
                <a:gd name="T98" fmla="*/ 31 w 47"/>
                <a:gd name="T99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7" h="39">
                  <a:moveTo>
                    <a:pt x="31" y="30"/>
                  </a:moveTo>
                  <a:lnTo>
                    <a:pt x="34" y="30"/>
                  </a:lnTo>
                  <a:lnTo>
                    <a:pt x="37" y="32"/>
                  </a:lnTo>
                  <a:lnTo>
                    <a:pt x="38" y="32"/>
                  </a:lnTo>
                  <a:lnTo>
                    <a:pt x="38" y="35"/>
                  </a:lnTo>
                  <a:lnTo>
                    <a:pt x="38" y="36"/>
                  </a:lnTo>
                  <a:lnTo>
                    <a:pt x="40" y="38"/>
                  </a:lnTo>
                  <a:lnTo>
                    <a:pt x="40" y="39"/>
                  </a:lnTo>
                  <a:lnTo>
                    <a:pt x="43" y="39"/>
                  </a:lnTo>
                  <a:lnTo>
                    <a:pt x="43" y="39"/>
                  </a:lnTo>
                  <a:lnTo>
                    <a:pt x="44" y="38"/>
                  </a:lnTo>
                  <a:lnTo>
                    <a:pt x="43" y="36"/>
                  </a:lnTo>
                  <a:lnTo>
                    <a:pt x="43" y="35"/>
                  </a:lnTo>
                  <a:lnTo>
                    <a:pt x="44" y="33"/>
                  </a:lnTo>
                  <a:lnTo>
                    <a:pt x="45" y="30"/>
                  </a:lnTo>
                  <a:lnTo>
                    <a:pt x="45" y="29"/>
                  </a:lnTo>
                  <a:lnTo>
                    <a:pt x="45" y="26"/>
                  </a:lnTo>
                  <a:lnTo>
                    <a:pt x="43" y="25"/>
                  </a:lnTo>
                  <a:lnTo>
                    <a:pt x="43" y="23"/>
                  </a:lnTo>
                  <a:lnTo>
                    <a:pt x="41" y="22"/>
                  </a:lnTo>
                  <a:lnTo>
                    <a:pt x="38" y="22"/>
                  </a:lnTo>
                  <a:lnTo>
                    <a:pt x="38" y="20"/>
                  </a:lnTo>
                  <a:lnTo>
                    <a:pt x="40" y="20"/>
                  </a:lnTo>
                  <a:lnTo>
                    <a:pt x="41" y="20"/>
                  </a:lnTo>
                  <a:lnTo>
                    <a:pt x="43" y="20"/>
                  </a:lnTo>
                  <a:lnTo>
                    <a:pt x="44" y="22"/>
                  </a:lnTo>
                  <a:lnTo>
                    <a:pt x="45" y="22"/>
                  </a:lnTo>
                  <a:lnTo>
                    <a:pt x="45" y="19"/>
                  </a:lnTo>
                  <a:lnTo>
                    <a:pt x="43" y="17"/>
                  </a:lnTo>
                  <a:lnTo>
                    <a:pt x="44" y="15"/>
                  </a:lnTo>
                  <a:lnTo>
                    <a:pt x="44" y="12"/>
                  </a:lnTo>
                  <a:lnTo>
                    <a:pt x="44" y="10"/>
                  </a:lnTo>
                  <a:lnTo>
                    <a:pt x="45" y="9"/>
                  </a:lnTo>
                  <a:lnTo>
                    <a:pt x="47" y="9"/>
                  </a:lnTo>
                  <a:lnTo>
                    <a:pt x="47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1" y="3"/>
                  </a:lnTo>
                  <a:lnTo>
                    <a:pt x="41" y="5"/>
                  </a:lnTo>
                  <a:lnTo>
                    <a:pt x="38" y="6"/>
                  </a:lnTo>
                  <a:lnTo>
                    <a:pt x="37" y="7"/>
                  </a:lnTo>
                  <a:lnTo>
                    <a:pt x="35" y="10"/>
                  </a:lnTo>
                  <a:lnTo>
                    <a:pt x="35" y="12"/>
                  </a:lnTo>
                  <a:lnTo>
                    <a:pt x="34" y="15"/>
                  </a:lnTo>
                  <a:lnTo>
                    <a:pt x="33" y="16"/>
                  </a:lnTo>
                  <a:lnTo>
                    <a:pt x="31" y="15"/>
                  </a:lnTo>
                  <a:lnTo>
                    <a:pt x="33" y="13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7"/>
                  </a:lnTo>
                  <a:lnTo>
                    <a:pt x="31" y="6"/>
                  </a:lnTo>
                  <a:lnTo>
                    <a:pt x="28" y="6"/>
                  </a:lnTo>
                  <a:lnTo>
                    <a:pt x="27" y="7"/>
                  </a:lnTo>
                  <a:lnTo>
                    <a:pt x="25" y="9"/>
                  </a:lnTo>
                  <a:lnTo>
                    <a:pt x="25" y="7"/>
                  </a:lnTo>
                  <a:lnTo>
                    <a:pt x="25" y="2"/>
                  </a:lnTo>
                  <a:lnTo>
                    <a:pt x="25" y="0"/>
                  </a:lnTo>
                  <a:lnTo>
                    <a:pt x="24" y="0"/>
                  </a:lnTo>
                  <a:lnTo>
                    <a:pt x="21" y="3"/>
                  </a:lnTo>
                  <a:lnTo>
                    <a:pt x="20" y="3"/>
                  </a:lnTo>
                  <a:lnTo>
                    <a:pt x="18" y="5"/>
                  </a:lnTo>
                  <a:lnTo>
                    <a:pt x="17" y="6"/>
                  </a:lnTo>
                  <a:lnTo>
                    <a:pt x="15" y="7"/>
                  </a:lnTo>
                  <a:lnTo>
                    <a:pt x="14" y="10"/>
                  </a:lnTo>
                  <a:lnTo>
                    <a:pt x="14" y="12"/>
                  </a:lnTo>
                  <a:lnTo>
                    <a:pt x="12" y="13"/>
                  </a:lnTo>
                  <a:lnTo>
                    <a:pt x="10" y="13"/>
                  </a:lnTo>
                  <a:lnTo>
                    <a:pt x="10" y="10"/>
                  </a:lnTo>
                  <a:lnTo>
                    <a:pt x="11" y="7"/>
                  </a:lnTo>
                  <a:lnTo>
                    <a:pt x="10" y="6"/>
                  </a:lnTo>
                  <a:lnTo>
                    <a:pt x="7" y="5"/>
                  </a:lnTo>
                  <a:lnTo>
                    <a:pt x="4" y="6"/>
                  </a:lnTo>
                  <a:lnTo>
                    <a:pt x="2" y="7"/>
                  </a:lnTo>
                  <a:lnTo>
                    <a:pt x="1" y="7"/>
                  </a:lnTo>
                  <a:lnTo>
                    <a:pt x="2" y="10"/>
                  </a:lnTo>
                  <a:lnTo>
                    <a:pt x="4" y="12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1" y="16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7" y="19"/>
                  </a:lnTo>
                  <a:lnTo>
                    <a:pt x="8" y="20"/>
                  </a:lnTo>
                  <a:lnTo>
                    <a:pt x="8" y="22"/>
                  </a:lnTo>
                  <a:lnTo>
                    <a:pt x="10" y="22"/>
                  </a:lnTo>
                  <a:lnTo>
                    <a:pt x="12" y="20"/>
                  </a:lnTo>
                  <a:lnTo>
                    <a:pt x="15" y="20"/>
                  </a:lnTo>
                  <a:lnTo>
                    <a:pt x="17" y="22"/>
                  </a:lnTo>
                  <a:lnTo>
                    <a:pt x="17" y="23"/>
                  </a:lnTo>
                  <a:lnTo>
                    <a:pt x="17" y="25"/>
                  </a:lnTo>
                  <a:lnTo>
                    <a:pt x="15" y="26"/>
                  </a:lnTo>
                  <a:lnTo>
                    <a:pt x="14" y="26"/>
                  </a:lnTo>
                  <a:lnTo>
                    <a:pt x="14" y="28"/>
                  </a:lnTo>
                  <a:lnTo>
                    <a:pt x="15" y="29"/>
                  </a:lnTo>
                  <a:lnTo>
                    <a:pt x="18" y="30"/>
                  </a:lnTo>
                  <a:lnTo>
                    <a:pt x="24" y="32"/>
                  </a:lnTo>
                  <a:lnTo>
                    <a:pt x="28" y="30"/>
                  </a:lnTo>
                  <a:lnTo>
                    <a:pt x="31" y="30"/>
                  </a:lnTo>
                  <a:lnTo>
                    <a:pt x="31" y="3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50" name="Freeform 98"/>
            <p:cNvSpPr>
              <a:spLocks/>
            </p:cNvSpPr>
            <p:nvPr/>
          </p:nvSpPr>
          <p:spPr bwMode="auto">
            <a:xfrm>
              <a:off x="5752836" y="2671745"/>
              <a:ext cx="9769" cy="13229"/>
            </a:xfrm>
            <a:custGeom>
              <a:avLst/>
              <a:gdLst>
                <a:gd name="T0" fmla="*/ 14 w 16"/>
                <a:gd name="T1" fmla="*/ 7 h 20"/>
                <a:gd name="T2" fmla="*/ 14 w 16"/>
                <a:gd name="T3" fmla="*/ 5 h 20"/>
                <a:gd name="T4" fmla="*/ 16 w 16"/>
                <a:gd name="T5" fmla="*/ 3 h 20"/>
                <a:gd name="T6" fmla="*/ 16 w 16"/>
                <a:gd name="T7" fmla="*/ 0 h 20"/>
                <a:gd name="T8" fmla="*/ 14 w 16"/>
                <a:gd name="T9" fmla="*/ 0 h 20"/>
                <a:gd name="T10" fmla="*/ 13 w 16"/>
                <a:gd name="T11" fmla="*/ 2 h 20"/>
                <a:gd name="T12" fmla="*/ 13 w 16"/>
                <a:gd name="T13" fmla="*/ 2 h 20"/>
                <a:gd name="T14" fmla="*/ 11 w 16"/>
                <a:gd name="T15" fmla="*/ 2 h 20"/>
                <a:gd name="T16" fmla="*/ 10 w 16"/>
                <a:gd name="T17" fmla="*/ 2 h 20"/>
                <a:gd name="T18" fmla="*/ 9 w 16"/>
                <a:gd name="T19" fmla="*/ 0 h 20"/>
                <a:gd name="T20" fmla="*/ 7 w 16"/>
                <a:gd name="T21" fmla="*/ 2 h 20"/>
                <a:gd name="T22" fmla="*/ 6 w 16"/>
                <a:gd name="T23" fmla="*/ 3 h 20"/>
                <a:gd name="T24" fmla="*/ 6 w 16"/>
                <a:gd name="T25" fmla="*/ 5 h 20"/>
                <a:gd name="T26" fmla="*/ 6 w 16"/>
                <a:gd name="T27" fmla="*/ 6 h 20"/>
                <a:gd name="T28" fmla="*/ 6 w 16"/>
                <a:gd name="T29" fmla="*/ 7 h 20"/>
                <a:gd name="T30" fmla="*/ 4 w 16"/>
                <a:gd name="T31" fmla="*/ 7 h 20"/>
                <a:gd name="T32" fmla="*/ 3 w 16"/>
                <a:gd name="T33" fmla="*/ 9 h 20"/>
                <a:gd name="T34" fmla="*/ 1 w 16"/>
                <a:gd name="T35" fmla="*/ 10 h 20"/>
                <a:gd name="T36" fmla="*/ 0 w 16"/>
                <a:gd name="T37" fmla="*/ 19 h 20"/>
                <a:gd name="T38" fmla="*/ 0 w 16"/>
                <a:gd name="T39" fmla="*/ 19 h 20"/>
                <a:gd name="T40" fmla="*/ 1 w 16"/>
                <a:gd name="T41" fmla="*/ 20 h 20"/>
                <a:gd name="T42" fmla="*/ 4 w 16"/>
                <a:gd name="T43" fmla="*/ 17 h 20"/>
                <a:gd name="T44" fmla="*/ 7 w 16"/>
                <a:gd name="T45" fmla="*/ 17 h 20"/>
                <a:gd name="T46" fmla="*/ 9 w 16"/>
                <a:gd name="T47" fmla="*/ 17 h 20"/>
                <a:gd name="T48" fmla="*/ 10 w 16"/>
                <a:gd name="T49" fmla="*/ 16 h 20"/>
                <a:gd name="T50" fmla="*/ 10 w 16"/>
                <a:gd name="T51" fmla="*/ 15 h 20"/>
                <a:gd name="T52" fmla="*/ 10 w 16"/>
                <a:gd name="T53" fmla="*/ 10 h 20"/>
                <a:gd name="T54" fmla="*/ 10 w 16"/>
                <a:gd name="T55" fmla="*/ 9 h 20"/>
                <a:gd name="T56" fmla="*/ 11 w 16"/>
                <a:gd name="T57" fmla="*/ 9 h 20"/>
                <a:gd name="T58" fmla="*/ 13 w 16"/>
                <a:gd name="T59" fmla="*/ 10 h 20"/>
                <a:gd name="T60" fmla="*/ 14 w 16"/>
                <a:gd name="T61" fmla="*/ 9 h 20"/>
                <a:gd name="T62" fmla="*/ 14 w 16"/>
                <a:gd name="T63" fmla="*/ 7 h 20"/>
                <a:gd name="T64" fmla="*/ 14 w 16"/>
                <a:gd name="T65" fmla="*/ 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" h="20">
                  <a:moveTo>
                    <a:pt x="14" y="7"/>
                  </a:moveTo>
                  <a:lnTo>
                    <a:pt x="14" y="5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9" y="0"/>
                  </a:lnTo>
                  <a:lnTo>
                    <a:pt x="7" y="2"/>
                  </a:lnTo>
                  <a:lnTo>
                    <a:pt x="6" y="3"/>
                  </a:lnTo>
                  <a:lnTo>
                    <a:pt x="6" y="5"/>
                  </a:lnTo>
                  <a:lnTo>
                    <a:pt x="6" y="6"/>
                  </a:lnTo>
                  <a:lnTo>
                    <a:pt x="6" y="7"/>
                  </a:lnTo>
                  <a:lnTo>
                    <a:pt x="4" y="7"/>
                  </a:lnTo>
                  <a:lnTo>
                    <a:pt x="3" y="9"/>
                  </a:lnTo>
                  <a:lnTo>
                    <a:pt x="1" y="10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1" y="20"/>
                  </a:lnTo>
                  <a:lnTo>
                    <a:pt x="4" y="17"/>
                  </a:lnTo>
                  <a:lnTo>
                    <a:pt x="7" y="17"/>
                  </a:lnTo>
                  <a:lnTo>
                    <a:pt x="9" y="17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3" y="10"/>
                  </a:lnTo>
                  <a:lnTo>
                    <a:pt x="14" y="9"/>
                  </a:lnTo>
                  <a:lnTo>
                    <a:pt x="14" y="7"/>
                  </a:lnTo>
                  <a:lnTo>
                    <a:pt x="14" y="7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51" name="Freeform 99"/>
            <p:cNvSpPr>
              <a:spLocks/>
            </p:cNvSpPr>
            <p:nvPr/>
          </p:nvSpPr>
          <p:spPr bwMode="auto">
            <a:xfrm>
              <a:off x="5772374" y="2683651"/>
              <a:ext cx="10990" cy="15875"/>
            </a:xfrm>
            <a:custGeom>
              <a:avLst/>
              <a:gdLst>
                <a:gd name="T0" fmla="*/ 19 w 19"/>
                <a:gd name="T1" fmla="*/ 6 h 24"/>
                <a:gd name="T2" fmla="*/ 19 w 19"/>
                <a:gd name="T3" fmla="*/ 4 h 24"/>
                <a:gd name="T4" fmla="*/ 19 w 19"/>
                <a:gd name="T5" fmla="*/ 1 h 24"/>
                <a:gd name="T6" fmla="*/ 17 w 19"/>
                <a:gd name="T7" fmla="*/ 1 h 24"/>
                <a:gd name="T8" fmla="*/ 16 w 19"/>
                <a:gd name="T9" fmla="*/ 1 h 24"/>
                <a:gd name="T10" fmla="*/ 13 w 19"/>
                <a:gd name="T11" fmla="*/ 3 h 24"/>
                <a:gd name="T12" fmla="*/ 13 w 19"/>
                <a:gd name="T13" fmla="*/ 4 h 24"/>
                <a:gd name="T14" fmla="*/ 11 w 19"/>
                <a:gd name="T15" fmla="*/ 6 h 24"/>
                <a:gd name="T16" fmla="*/ 10 w 19"/>
                <a:gd name="T17" fmla="*/ 6 h 24"/>
                <a:gd name="T18" fmla="*/ 9 w 19"/>
                <a:gd name="T19" fmla="*/ 3 h 24"/>
                <a:gd name="T20" fmla="*/ 7 w 19"/>
                <a:gd name="T21" fmla="*/ 1 h 24"/>
                <a:gd name="T22" fmla="*/ 4 w 19"/>
                <a:gd name="T23" fmla="*/ 0 h 24"/>
                <a:gd name="T24" fmla="*/ 3 w 19"/>
                <a:gd name="T25" fmla="*/ 1 h 24"/>
                <a:gd name="T26" fmla="*/ 1 w 19"/>
                <a:gd name="T27" fmla="*/ 3 h 24"/>
                <a:gd name="T28" fmla="*/ 1 w 19"/>
                <a:gd name="T29" fmla="*/ 7 h 24"/>
                <a:gd name="T30" fmla="*/ 1 w 19"/>
                <a:gd name="T31" fmla="*/ 10 h 24"/>
                <a:gd name="T32" fmla="*/ 1 w 19"/>
                <a:gd name="T33" fmla="*/ 11 h 24"/>
                <a:gd name="T34" fmla="*/ 3 w 19"/>
                <a:gd name="T35" fmla="*/ 13 h 24"/>
                <a:gd name="T36" fmla="*/ 4 w 19"/>
                <a:gd name="T37" fmla="*/ 11 h 24"/>
                <a:gd name="T38" fmla="*/ 7 w 19"/>
                <a:gd name="T39" fmla="*/ 11 h 24"/>
                <a:gd name="T40" fmla="*/ 7 w 19"/>
                <a:gd name="T41" fmla="*/ 13 h 24"/>
                <a:gd name="T42" fmla="*/ 7 w 19"/>
                <a:gd name="T43" fmla="*/ 17 h 24"/>
                <a:gd name="T44" fmla="*/ 4 w 19"/>
                <a:gd name="T45" fmla="*/ 18 h 24"/>
                <a:gd name="T46" fmla="*/ 3 w 19"/>
                <a:gd name="T47" fmla="*/ 18 h 24"/>
                <a:gd name="T48" fmla="*/ 1 w 19"/>
                <a:gd name="T49" fmla="*/ 20 h 24"/>
                <a:gd name="T50" fmla="*/ 1 w 19"/>
                <a:gd name="T51" fmla="*/ 21 h 24"/>
                <a:gd name="T52" fmla="*/ 0 w 19"/>
                <a:gd name="T53" fmla="*/ 23 h 24"/>
                <a:gd name="T54" fmla="*/ 0 w 19"/>
                <a:gd name="T55" fmla="*/ 24 h 24"/>
                <a:gd name="T56" fmla="*/ 0 w 19"/>
                <a:gd name="T57" fmla="*/ 24 h 24"/>
                <a:gd name="T58" fmla="*/ 3 w 19"/>
                <a:gd name="T59" fmla="*/ 24 h 24"/>
                <a:gd name="T60" fmla="*/ 7 w 19"/>
                <a:gd name="T61" fmla="*/ 23 h 24"/>
                <a:gd name="T62" fmla="*/ 13 w 19"/>
                <a:gd name="T63" fmla="*/ 18 h 24"/>
                <a:gd name="T64" fmla="*/ 14 w 19"/>
                <a:gd name="T65" fmla="*/ 17 h 24"/>
                <a:gd name="T66" fmla="*/ 16 w 19"/>
                <a:gd name="T67" fmla="*/ 16 h 24"/>
                <a:gd name="T68" fmla="*/ 16 w 19"/>
                <a:gd name="T69" fmla="*/ 14 h 24"/>
                <a:gd name="T70" fmla="*/ 16 w 19"/>
                <a:gd name="T71" fmla="*/ 10 h 24"/>
                <a:gd name="T72" fmla="*/ 17 w 19"/>
                <a:gd name="T73" fmla="*/ 8 h 24"/>
                <a:gd name="T74" fmla="*/ 19 w 19"/>
                <a:gd name="T75" fmla="*/ 6 h 24"/>
                <a:gd name="T76" fmla="*/ 19 w 19"/>
                <a:gd name="T77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" h="24">
                  <a:moveTo>
                    <a:pt x="19" y="6"/>
                  </a:moveTo>
                  <a:lnTo>
                    <a:pt x="19" y="4"/>
                  </a:lnTo>
                  <a:lnTo>
                    <a:pt x="19" y="1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3" y="3"/>
                  </a:lnTo>
                  <a:lnTo>
                    <a:pt x="13" y="4"/>
                  </a:lnTo>
                  <a:lnTo>
                    <a:pt x="11" y="6"/>
                  </a:lnTo>
                  <a:lnTo>
                    <a:pt x="10" y="6"/>
                  </a:lnTo>
                  <a:lnTo>
                    <a:pt x="9" y="3"/>
                  </a:lnTo>
                  <a:lnTo>
                    <a:pt x="7" y="1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3"/>
                  </a:lnTo>
                  <a:lnTo>
                    <a:pt x="1" y="7"/>
                  </a:lnTo>
                  <a:lnTo>
                    <a:pt x="1" y="10"/>
                  </a:lnTo>
                  <a:lnTo>
                    <a:pt x="1" y="11"/>
                  </a:lnTo>
                  <a:lnTo>
                    <a:pt x="3" y="13"/>
                  </a:lnTo>
                  <a:lnTo>
                    <a:pt x="4" y="11"/>
                  </a:lnTo>
                  <a:lnTo>
                    <a:pt x="7" y="11"/>
                  </a:lnTo>
                  <a:lnTo>
                    <a:pt x="7" y="13"/>
                  </a:lnTo>
                  <a:lnTo>
                    <a:pt x="7" y="17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1" y="20"/>
                  </a:lnTo>
                  <a:lnTo>
                    <a:pt x="1" y="21"/>
                  </a:lnTo>
                  <a:lnTo>
                    <a:pt x="0" y="23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3" y="24"/>
                  </a:lnTo>
                  <a:lnTo>
                    <a:pt x="7" y="23"/>
                  </a:lnTo>
                  <a:lnTo>
                    <a:pt x="13" y="18"/>
                  </a:lnTo>
                  <a:lnTo>
                    <a:pt x="14" y="17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6" y="10"/>
                  </a:lnTo>
                  <a:lnTo>
                    <a:pt x="17" y="8"/>
                  </a:lnTo>
                  <a:lnTo>
                    <a:pt x="19" y="6"/>
                  </a:lnTo>
                  <a:lnTo>
                    <a:pt x="19" y="6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52" name="Freeform 100"/>
            <p:cNvSpPr>
              <a:spLocks/>
            </p:cNvSpPr>
            <p:nvPr/>
          </p:nvSpPr>
          <p:spPr bwMode="auto">
            <a:xfrm>
              <a:off x="5790691" y="2719370"/>
              <a:ext cx="3663" cy="5292"/>
            </a:xfrm>
            <a:custGeom>
              <a:avLst/>
              <a:gdLst>
                <a:gd name="T0" fmla="*/ 7 w 7"/>
                <a:gd name="T1" fmla="*/ 3 h 7"/>
                <a:gd name="T2" fmla="*/ 7 w 7"/>
                <a:gd name="T3" fmla="*/ 0 h 7"/>
                <a:gd name="T4" fmla="*/ 6 w 7"/>
                <a:gd name="T5" fmla="*/ 0 h 7"/>
                <a:gd name="T6" fmla="*/ 3 w 7"/>
                <a:gd name="T7" fmla="*/ 2 h 7"/>
                <a:gd name="T8" fmla="*/ 0 w 7"/>
                <a:gd name="T9" fmla="*/ 5 h 7"/>
                <a:gd name="T10" fmla="*/ 0 w 7"/>
                <a:gd name="T11" fmla="*/ 6 h 7"/>
                <a:gd name="T12" fmla="*/ 3 w 7"/>
                <a:gd name="T13" fmla="*/ 7 h 7"/>
                <a:gd name="T14" fmla="*/ 4 w 7"/>
                <a:gd name="T15" fmla="*/ 7 h 7"/>
                <a:gd name="T16" fmla="*/ 4 w 7"/>
                <a:gd name="T17" fmla="*/ 6 h 7"/>
                <a:gd name="T18" fmla="*/ 7 w 7"/>
                <a:gd name="T19" fmla="*/ 6 h 7"/>
                <a:gd name="T20" fmla="*/ 7 w 7"/>
                <a:gd name="T21" fmla="*/ 3 h 7"/>
                <a:gd name="T22" fmla="*/ 7 w 7"/>
                <a:gd name="T2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7" y="3"/>
                  </a:moveTo>
                  <a:lnTo>
                    <a:pt x="7" y="0"/>
                  </a:ln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0" y="6"/>
                  </a:lnTo>
                  <a:lnTo>
                    <a:pt x="3" y="7"/>
                  </a:lnTo>
                  <a:lnTo>
                    <a:pt x="4" y="7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3"/>
                  </a:lnTo>
                  <a:lnTo>
                    <a:pt x="7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53" name="Freeform 101"/>
            <p:cNvSpPr>
              <a:spLocks/>
            </p:cNvSpPr>
            <p:nvPr/>
          </p:nvSpPr>
          <p:spPr bwMode="auto">
            <a:xfrm>
              <a:off x="5893267" y="2749796"/>
              <a:ext cx="19538" cy="18521"/>
            </a:xfrm>
            <a:custGeom>
              <a:avLst/>
              <a:gdLst>
                <a:gd name="T0" fmla="*/ 20 w 32"/>
                <a:gd name="T1" fmla="*/ 6 h 29"/>
                <a:gd name="T2" fmla="*/ 19 w 32"/>
                <a:gd name="T3" fmla="*/ 4 h 29"/>
                <a:gd name="T4" fmla="*/ 17 w 32"/>
                <a:gd name="T5" fmla="*/ 2 h 29"/>
                <a:gd name="T6" fmla="*/ 17 w 32"/>
                <a:gd name="T7" fmla="*/ 0 h 29"/>
                <a:gd name="T8" fmla="*/ 16 w 32"/>
                <a:gd name="T9" fmla="*/ 2 h 29"/>
                <a:gd name="T10" fmla="*/ 14 w 32"/>
                <a:gd name="T11" fmla="*/ 3 h 29"/>
                <a:gd name="T12" fmla="*/ 12 w 32"/>
                <a:gd name="T13" fmla="*/ 3 h 29"/>
                <a:gd name="T14" fmla="*/ 9 w 32"/>
                <a:gd name="T15" fmla="*/ 2 h 29"/>
                <a:gd name="T16" fmla="*/ 6 w 32"/>
                <a:gd name="T17" fmla="*/ 0 h 29"/>
                <a:gd name="T18" fmla="*/ 4 w 32"/>
                <a:gd name="T19" fmla="*/ 0 h 29"/>
                <a:gd name="T20" fmla="*/ 2 w 32"/>
                <a:gd name="T21" fmla="*/ 2 h 29"/>
                <a:gd name="T22" fmla="*/ 0 w 32"/>
                <a:gd name="T23" fmla="*/ 4 h 29"/>
                <a:gd name="T24" fmla="*/ 2 w 32"/>
                <a:gd name="T25" fmla="*/ 4 h 29"/>
                <a:gd name="T26" fmla="*/ 3 w 32"/>
                <a:gd name="T27" fmla="*/ 4 h 29"/>
                <a:gd name="T28" fmla="*/ 3 w 32"/>
                <a:gd name="T29" fmla="*/ 6 h 29"/>
                <a:gd name="T30" fmla="*/ 2 w 32"/>
                <a:gd name="T31" fmla="*/ 7 h 29"/>
                <a:gd name="T32" fmla="*/ 2 w 32"/>
                <a:gd name="T33" fmla="*/ 9 h 29"/>
                <a:gd name="T34" fmla="*/ 3 w 32"/>
                <a:gd name="T35" fmla="*/ 9 h 29"/>
                <a:gd name="T36" fmla="*/ 4 w 32"/>
                <a:gd name="T37" fmla="*/ 12 h 29"/>
                <a:gd name="T38" fmla="*/ 3 w 32"/>
                <a:gd name="T39" fmla="*/ 14 h 29"/>
                <a:gd name="T40" fmla="*/ 4 w 32"/>
                <a:gd name="T41" fmla="*/ 14 h 29"/>
                <a:gd name="T42" fmla="*/ 7 w 32"/>
                <a:gd name="T43" fmla="*/ 16 h 29"/>
                <a:gd name="T44" fmla="*/ 10 w 32"/>
                <a:gd name="T45" fmla="*/ 16 h 29"/>
                <a:gd name="T46" fmla="*/ 12 w 32"/>
                <a:gd name="T47" fmla="*/ 14 h 29"/>
                <a:gd name="T48" fmla="*/ 14 w 32"/>
                <a:gd name="T49" fmla="*/ 16 h 29"/>
                <a:gd name="T50" fmla="*/ 16 w 32"/>
                <a:gd name="T51" fmla="*/ 17 h 29"/>
                <a:gd name="T52" fmla="*/ 17 w 32"/>
                <a:gd name="T53" fmla="*/ 22 h 29"/>
                <a:gd name="T54" fmla="*/ 20 w 32"/>
                <a:gd name="T55" fmla="*/ 23 h 29"/>
                <a:gd name="T56" fmla="*/ 22 w 32"/>
                <a:gd name="T57" fmla="*/ 24 h 29"/>
                <a:gd name="T58" fmla="*/ 22 w 32"/>
                <a:gd name="T59" fmla="*/ 26 h 29"/>
                <a:gd name="T60" fmla="*/ 20 w 32"/>
                <a:gd name="T61" fmla="*/ 29 h 29"/>
                <a:gd name="T62" fmla="*/ 26 w 32"/>
                <a:gd name="T63" fmla="*/ 29 h 29"/>
                <a:gd name="T64" fmla="*/ 26 w 32"/>
                <a:gd name="T65" fmla="*/ 29 h 29"/>
                <a:gd name="T66" fmla="*/ 27 w 32"/>
                <a:gd name="T67" fmla="*/ 27 h 29"/>
                <a:gd name="T68" fmla="*/ 26 w 32"/>
                <a:gd name="T69" fmla="*/ 24 h 29"/>
                <a:gd name="T70" fmla="*/ 26 w 32"/>
                <a:gd name="T71" fmla="*/ 23 h 29"/>
                <a:gd name="T72" fmla="*/ 26 w 32"/>
                <a:gd name="T73" fmla="*/ 20 h 29"/>
                <a:gd name="T74" fmla="*/ 26 w 32"/>
                <a:gd name="T75" fmla="*/ 19 h 29"/>
                <a:gd name="T76" fmla="*/ 29 w 32"/>
                <a:gd name="T77" fmla="*/ 17 h 29"/>
                <a:gd name="T78" fmla="*/ 32 w 32"/>
                <a:gd name="T79" fmla="*/ 17 h 29"/>
                <a:gd name="T80" fmla="*/ 32 w 32"/>
                <a:gd name="T81" fmla="*/ 16 h 29"/>
                <a:gd name="T82" fmla="*/ 32 w 32"/>
                <a:gd name="T83" fmla="*/ 14 h 29"/>
                <a:gd name="T84" fmla="*/ 29 w 32"/>
                <a:gd name="T85" fmla="*/ 14 h 29"/>
                <a:gd name="T86" fmla="*/ 24 w 32"/>
                <a:gd name="T87" fmla="*/ 16 h 29"/>
                <a:gd name="T88" fmla="*/ 23 w 32"/>
                <a:gd name="T89" fmla="*/ 16 h 29"/>
                <a:gd name="T90" fmla="*/ 22 w 32"/>
                <a:gd name="T91" fmla="*/ 16 h 29"/>
                <a:gd name="T92" fmla="*/ 22 w 32"/>
                <a:gd name="T93" fmla="*/ 14 h 29"/>
                <a:gd name="T94" fmla="*/ 23 w 32"/>
                <a:gd name="T95" fmla="*/ 13 h 29"/>
                <a:gd name="T96" fmla="*/ 23 w 32"/>
                <a:gd name="T97" fmla="*/ 12 h 29"/>
                <a:gd name="T98" fmla="*/ 23 w 32"/>
                <a:gd name="T99" fmla="*/ 10 h 29"/>
                <a:gd name="T100" fmla="*/ 24 w 32"/>
                <a:gd name="T101" fmla="*/ 9 h 29"/>
                <a:gd name="T102" fmla="*/ 22 w 32"/>
                <a:gd name="T103" fmla="*/ 9 h 29"/>
                <a:gd name="T104" fmla="*/ 22 w 32"/>
                <a:gd name="T105" fmla="*/ 9 h 29"/>
                <a:gd name="T106" fmla="*/ 20 w 32"/>
                <a:gd name="T107" fmla="*/ 6 h 29"/>
                <a:gd name="T108" fmla="*/ 20 w 32"/>
                <a:gd name="T10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2" h="29">
                  <a:moveTo>
                    <a:pt x="20" y="6"/>
                  </a:moveTo>
                  <a:lnTo>
                    <a:pt x="19" y="4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6" y="2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9" y="2"/>
                  </a:ln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6"/>
                  </a:lnTo>
                  <a:lnTo>
                    <a:pt x="2" y="7"/>
                  </a:lnTo>
                  <a:lnTo>
                    <a:pt x="2" y="9"/>
                  </a:lnTo>
                  <a:lnTo>
                    <a:pt x="3" y="9"/>
                  </a:lnTo>
                  <a:lnTo>
                    <a:pt x="4" y="12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7" y="16"/>
                  </a:lnTo>
                  <a:lnTo>
                    <a:pt x="10" y="16"/>
                  </a:lnTo>
                  <a:lnTo>
                    <a:pt x="12" y="14"/>
                  </a:lnTo>
                  <a:lnTo>
                    <a:pt x="14" y="16"/>
                  </a:lnTo>
                  <a:lnTo>
                    <a:pt x="16" y="17"/>
                  </a:lnTo>
                  <a:lnTo>
                    <a:pt x="17" y="22"/>
                  </a:lnTo>
                  <a:lnTo>
                    <a:pt x="20" y="23"/>
                  </a:lnTo>
                  <a:lnTo>
                    <a:pt x="22" y="24"/>
                  </a:lnTo>
                  <a:lnTo>
                    <a:pt x="22" y="26"/>
                  </a:lnTo>
                  <a:lnTo>
                    <a:pt x="20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7" y="27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6" y="20"/>
                  </a:lnTo>
                  <a:lnTo>
                    <a:pt x="26" y="19"/>
                  </a:lnTo>
                  <a:lnTo>
                    <a:pt x="29" y="17"/>
                  </a:lnTo>
                  <a:lnTo>
                    <a:pt x="32" y="17"/>
                  </a:lnTo>
                  <a:lnTo>
                    <a:pt x="32" y="16"/>
                  </a:lnTo>
                  <a:lnTo>
                    <a:pt x="32" y="14"/>
                  </a:lnTo>
                  <a:lnTo>
                    <a:pt x="29" y="14"/>
                  </a:lnTo>
                  <a:lnTo>
                    <a:pt x="24" y="16"/>
                  </a:lnTo>
                  <a:lnTo>
                    <a:pt x="23" y="16"/>
                  </a:lnTo>
                  <a:lnTo>
                    <a:pt x="22" y="16"/>
                  </a:lnTo>
                  <a:lnTo>
                    <a:pt x="22" y="14"/>
                  </a:lnTo>
                  <a:lnTo>
                    <a:pt x="23" y="13"/>
                  </a:lnTo>
                  <a:lnTo>
                    <a:pt x="23" y="12"/>
                  </a:lnTo>
                  <a:lnTo>
                    <a:pt x="23" y="10"/>
                  </a:lnTo>
                  <a:lnTo>
                    <a:pt x="24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0" y="6"/>
                  </a:lnTo>
                  <a:lnTo>
                    <a:pt x="20" y="6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54" name="Freeform 102"/>
            <p:cNvSpPr>
              <a:spLocks/>
            </p:cNvSpPr>
            <p:nvPr/>
          </p:nvSpPr>
          <p:spPr bwMode="auto">
            <a:xfrm>
              <a:off x="5925017" y="2764348"/>
              <a:ext cx="8548" cy="10583"/>
            </a:xfrm>
            <a:custGeom>
              <a:avLst/>
              <a:gdLst>
                <a:gd name="T0" fmla="*/ 0 w 14"/>
                <a:gd name="T1" fmla="*/ 9 h 14"/>
                <a:gd name="T2" fmla="*/ 0 w 14"/>
                <a:gd name="T3" fmla="*/ 11 h 14"/>
                <a:gd name="T4" fmla="*/ 1 w 14"/>
                <a:gd name="T5" fmla="*/ 13 h 14"/>
                <a:gd name="T6" fmla="*/ 3 w 14"/>
                <a:gd name="T7" fmla="*/ 14 h 14"/>
                <a:gd name="T8" fmla="*/ 7 w 14"/>
                <a:gd name="T9" fmla="*/ 14 h 14"/>
                <a:gd name="T10" fmla="*/ 10 w 14"/>
                <a:gd name="T11" fmla="*/ 13 h 14"/>
                <a:gd name="T12" fmla="*/ 13 w 14"/>
                <a:gd name="T13" fmla="*/ 13 h 14"/>
                <a:gd name="T14" fmla="*/ 14 w 14"/>
                <a:gd name="T15" fmla="*/ 13 h 14"/>
                <a:gd name="T16" fmla="*/ 14 w 14"/>
                <a:gd name="T17" fmla="*/ 11 h 14"/>
                <a:gd name="T18" fmla="*/ 14 w 14"/>
                <a:gd name="T19" fmla="*/ 10 h 14"/>
                <a:gd name="T20" fmla="*/ 13 w 14"/>
                <a:gd name="T21" fmla="*/ 10 h 14"/>
                <a:gd name="T22" fmla="*/ 10 w 14"/>
                <a:gd name="T23" fmla="*/ 10 h 14"/>
                <a:gd name="T24" fmla="*/ 8 w 14"/>
                <a:gd name="T25" fmla="*/ 9 h 14"/>
                <a:gd name="T26" fmla="*/ 5 w 14"/>
                <a:gd name="T27" fmla="*/ 9 h 14"/>
                <a:gd name="T28" fmla="*/ 4 w 14"/>
                <a:gd name="T29" fmla="*/ 7 h 14"/>
                <a:gd name="T30" fmla="*/ 4 w 14"/>
                <a:gd name="T31" fmla="*/ 6 h 14"/>
                <a:gd name="T32" fmla="*/ 5 w 14"/>
                <a:gd name="T33" fmla="*/ 3 h 14"/>
                <a:gd name="T34" fmla="*/ 5 w 14"/>
                <a:gd name="T35" fmla="*/ 1 h 14"/>
                <a:gd name="T36" fmla="*/ 4 w 14"/>
                <a:gd name="T37" fmla="*/ 1 h 14"/>
                <a:gd name="T38" fmla="*/ 3 w 14"/>
                <a:gd name="T39" fmla="*/ 0 h 14"/>
                <a:gd name="T40" fmla="*/ 3 w 14"/>
                <a:gd name="T41" fmla="*/ 1 h 14"/>
                <a:gd name="T42" fmla="*/ 1 w 14"/>
                <a:gd name="T43" fmla="*/ 3 h 14"/>
                <a:gd name="T44" fmla="*/ 0 w 14"/>
                <a:gd name="T45" fmla="*/ 9 h 14"/>
                <a:gd name="T46" fmla="*/ 0 w 14"/>
                <a:gd name="T4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" h="14">
                  <a:moveTo>
                    <a:pt x="0" y="9"/>
                  </a:moveTo>
                  <a:lnTo>
                    <a:pt x="0" y="11"/>
                  </a:lnTo>
                  <a:lnTo>
                    <a:pt x="1" y="13"/>
                  </a:lnTo>
                  <a:lnTo>
                    <a:pt x="3" y="14"/>
                  </a:lnTo>
                  <a:lnTo>
                    <a:pt x="7" y="14"/>
                  </a:lnTo>
                  <a:lnTo>
                    <a:pt x="10" y="13"/>
                  </a:lnTo>
                  <a:lnTo>
                    <a:pt x="13" y="13"/>
                  </a:lnTo>
                  <a:lnTo>
                    <a:pt x="14" y="13"/>
                  </a:lnTo>
                  <a:lnTo>
                    <a:pt x="14" y="11"/>
                  </a:lnTo>
                  <a:lnTo>
                    <a:pt x="14" y="10"/>
                  </a:lnTo>
                  <a:lnTo>
                    <a:pt x="13" y="10"/>
                  </a:lnTo>
                  <a:lnTo>
                    <a:pt x="10" y="10"/>
                  </a:lnTo>
                  <a:lnTo>
                    <a:pt x="8" y="9"/>
                  </a:lnTo>
                  <a:lnTo>
                    <a:pt x="5" y="9"/>
                  </a:lnTo>
                  <a:lnTo>
                    <a:pt x="4" y="7"/>
                  </a:lnTo>
                  <a:lnTo>
                    <a:pt x="4" y="6"/>
                  </a:lnTo>
                  <a:lnTo>
                    <a:pt x="5" y="3"/>
                  </a:lnTo>
                  <a:lnTo>
                    <a:pt x="5" y="1"/>
                  </a:lnTo>
                  <a:lnTo>
                    <a:pt x="4" y="1"/>
                  </a:lnTo>
                  <a:lnTo>
                    <a:pt x="3" y="0"/>
                  </a:lnTo>
                  <a:lnTo>
                    <a:pt x="3" y="1"/>
                  </a:lnTo>
                  <a:lnTo>
                    <a:pt x="1" y="3"/>
                  </a:lnTo>
                  <a:lnTo>
                    <a:pt x="0" y="9"/>
                  </a:lnTo>
                  <a:lnTo>
                    <a:pt x="0" y="9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55" name="Freeform 103"/>
            <p:cNvSpPr>
              <a:spLocks/>
            </p:cNvSpPr>
            <p:nvPr/>
          </p:nvSpPr>
          <p:spPr bwMode="auto">
            <a:xfrm>
              <a:off x="5898152" y="2744505"/>
              <a:ext cx="6106" cy="3969"/>
            </a:xfrm>
            <a:custGeom>
              <a:avLst/>
              <a:gdLst>
                <a:gd name="T0" fmla="*/ 5 w 10"/>
                <a:gd name="T1" fmla="*/ 2 h 8"/>
                <a:gd name="T2" fmla="*/ 1 w 10"/>
                <a:gd name="T3" fmla="*/ 0 h 8"/>
                <a:gd name="T4" fmla="*/ 0 w 10"/>
                <a:gd name="T5" fmla="*/ 2 h 8"/>
                <a:gd name="T6" fmla="*/ 0 w 10"/>
                <a:gd name="T7" fmla="*/ 3 h 8"/>
                <a:gd name="T8" fmla="*/ 1 w 10"/>
                <a:gd name="T9" fmla="*/ 8 h 8"/>
                <a:gd name="T10" fmla="*/ 3 w 10"/>
                <a:gd name="T11" fmla="*/ 8 h 8"/>
                <a:gd name="T12" fmla="*/ 3 w 10"/>
                <a:gd name="T13" fmla="*/ 8 h 8"/>
                <a:gd name="T14" fmla="*/ 4 w 10"/>
                <a:gd name="T15" fmla="*/ 5 h 8"/>
                <a:gd name="T16" fmla="*/ 5 w 10"/>
                <a:gd name="T17" fmla="*/ 5 h 8"/>
                <a:gd name="T18" fmla="*/ 7 w 10"/>
                <a:gd name="T19" fmla="*/ 5 h 8"/>
                <a:gd name="T20" fmla="*/ 8 w 10"/>
                <a:gd name="T21" fmla="*/ 6 h 8"/>
                <a:gd name="T22" fmla="*/ 8 w 10"/>
                <a:gd name="T23" fmla="*/ 5 h 8"/>
                <a:gd name="T24" fmla="*/ 10 w 10"/>
                <a:gd name="T25" fmla="*/ 3 h 8"/>
                <a:gd name="T26" fmla="*/ 8 w 10"/>
                <a:gd name="T27" fmla="*/ 2 h 8"/>
                <a:gd name="T28" fmla="*/ 8 w 10"/>
                <a:gd name="T29" fmla="*/ 2 h 8"/>
                <a:gd name="T30" fmla="*/ 5 w 10"/>
                <a:gd name="T31" fmla="*/ 2 h 8"/>
                <a:gd name="T32" fmla="*/ 5 w 10"/>
                <a:gd name="T33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" h="8">
                  <a:moveTo>
                    <a:pt x="5" y="2"/>
                  </a:moveTo>
                  <a:lnTo>
                    <a:pt x="1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4" y="5"/>
                  </a:lnTo>
                  <a:lnTo>
                    <a:pt x="5" y="5"/>
                  </a:lnTo>
                  <a:lnTo>
                    <a:pt x="7" y="5"/>
                  </a:lnTo>
                  <a:lnTo>
                    <a:pt x="8" y="6"/>
                  </a:lnTo>
                  <a:lnTo>
                    <a:pt x="8" y="5"/>
                  </a:lnTo>
                  <a:lnTo>
                    <a:pt x="10" y="3"/>
                  </a:lnTo>
                  <a:lnTo>
                    <a:pt x="8" y="2"/>
                  </a:lnTo>
                  <a:lnTo>
                    <a:pt x="8" y="2"/>
                  </a:lnTo>
                  <a:lnTo>
                    <a:pt x="5" y="2"/>
                  </a:lnTo>
                  <a:lnTo>
                    <a:pt x="5" y="2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56" name="Freeform 104"/>
            <p:cNvSpPr>
              <a:spLocks/>
            </p:cNvSpPr>
            <p:nvPr/>
          </p:nvSpPr>
          <p:spPr bwMode="auto">
            <a:xfrm>
              <a:off x="5741846" y="2687620"/>
              <a:ext cx="2442" cy="6615"/>
            </a:xfrm>
            <a:custGeom>
              <a:avLst/>
              <a:gdLst>
                <a:gd name="T0" fmla="*/ 3 w 5"/>
                <a:gd name="T1" fmla="*/ 4 h 9"/>
                <a:gd name="T2" fmla="*/ 5 w 5"/>
                <a:gd name="T3" fmla="*/ 1 h 9"/>
                <a:gd name="T4" fmla="*/ 3 w 5"/>
                <a:gd name="T5" fmla="*/ 0 h 9"/>
                <a:gd name="T6" fmla="*/ 2 w 5"/>
                <a:gd name="T7" fmla="*/ 1 h 9"/>
                <a:gd name="T8" fmla="*/ 0 w 5"/>
                <a:gd name="T9" fmla="*/ 4 h 9"/>
                <a:gd name="T10" fmla="*/ 0 w 5"/>
                <a:gd name="T11" fmla="*/ 7 h 9"/>
                <a:gd name="T12" fmla="*/ 2 w 5"/>
                <a:gd name="T13" fmla="*/ 9 h 9"/>
                <a:gd name="T14" fmla="*/ 3 w 5"/>
                <a:gd name="T15" fmla="*/ 9 h 9"/>
                <a:gd name="T16" fmla="*/ 5 w 5"/>
                <a:gd name="T17" fmla="*/ 7 h 9"/>
                <a:gd name="T18" fmla="*/ 3 w 5"/>
                <a:gd name="T19" fmla="*/ 4 h 9"/>
                <a:gd name="T20" fmla="*/ 3 w 5"/>
                <a:gd name="T21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9">
                  <a:moveTo>
                    <a:pt x="3" y="4"/>
                  </a:moveTo>
                  <a:lnTo>
                    <a:pt x="5" y="1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0" y="7"/>
                  </a:lnTo>
                  <a:lnTo>
                    <a:pt x="2" y="9"/>
                  </a:lnTo>
                  <a:lnTo>
                    <a:pt x="3" y="9"/>
                  </a:lnTo>
                  <a:lnTo>
                    <a:pt x="5" y="7"/>
                  </a:lnTo>
                  <a:lnTo>
                    <a:pt x="3" y="4"/>
                  </a:lnTo>
                  <a:lnTo>
                    <a:pt x="3" y="4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57" name="Freeform 105"/>
            <p:cNvSpPr>
              <a:spLocks/>
            </p:cNvSpPr>
            <p:nvPr/>
          </p:nvSpPr>
          <p:spPr bwMode="auto">
            <a:xfrm>
              <a:off x="5750394" y="2688943"/>
              <a:ext cx="2442" cy="2646"/>
            </a:xfrm>
            <a:custGeom>
              <a:avLst/>
              <a:gdLst>
                <a:gd name="T0" fmla="*/ 3 w 6"/>
                <a:gd name="T1" fmla="*/ 0 h 5"/>
                <a:gd name="T2" fmla="*/ 2 w 6"/>
                <a:gd name="T3" fmla="*/ 0 h 5"/>
                <a:gd name="T4" fmla="*/ 0 w 6"/>
                <a:gd name="T5" fmla="*/ 2 h 5"/>
                <a:gd name="T6" fmla="*/ 0 w 6"/>
                <a:gd name="T7" fmla="*/ 3 h 5"/>
                <a:gd name="T8" fmla="*/ 2 w 6"/>
                <a:gd name="T9" fmla="*/ 5 h 5"/>
                <a:gd name="T10" fmla="*/ 3 w 6"/>
                <a:gd name="T11" fmla="*/ 5 h 5"/>
                <a:gd name="T12" fmla="*/ 6 w 6"/>
                <a:gd name="T13" fmla="*/ 5 h 5"/>
                <a:gd name="T14" fmla="*/ 6 w 6"/>
                <a:gd name="T15" fmla="*/ 2 h 5"/>
                <a:gd name="T16" fmla="*/ 6 w 6"/>
                <a:gd name="T17" fmla="*/ 0 h 5"/>
                <a:gd name="T18" fmla="*/ 3 w 6"/>
                <a:gd name="T19" fmla="*/ 0 h 5"/>
                <a:gd name="T20" fmla="*/ 3 w 6"/>
                <a:gd name="T2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5">
                  <a:moveTo>
                    <a:pt x="3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3" y="5"/>
                  </a:lnTo>
                  <a:lnTo>
                    <a:pt x="6" y="5"/>
                  </a:lnTo>
                  <a:lnTo>
                    <a:pt x="6" y="2"/>
                  </a:lnTo>
                  <a:lnTo>
                    <a:pt x="6" y="0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58" name="Freeform 106"/>
            <p:cNvSpPr>
              <a:spLocks/>
            </p:cNvSpPr>
            <p:nvPr/>
          </p:nvSpPr>
          <p:spPr bwMode="auto">
            <a:xfrm>
              <a:off x="5738182" y="2695557"/>
              <a:ext cx="3663" cy="3969"/>
            </a:xfrm>
            <a:custGeom>
              <a:avLst/>
              <a:gdLst>
                <a:gd name="T0" fmla="*/ 6 w 7"/>
                <a:gd name="T1" fmla="*/ 6 h 7"/>
                <a:gd name="T2" fmla="*/ 7 w 7"/>
                <a:gd name="T3" fmla="*/ 4 h 7"/>
                <a:gd name="T4" fmla="*/ 7 w 7"/>
                <a:gd name="T5" fmla="*/ 3 h 7"/>
                <a:gd name="T6" fmla="*/ 7 w 7"/>
                <a:gd name="T7" fmla="*/ 1 h 7"/>
                <a:gd name="T8" fmla="*/ 4 w 7"/>
                <a:gd name="T9" fmla="*/ 0 h 7"/>
                <a:gd name="T10" fmla="*/ 2 w 7"/>
                <a:gd name="T11" fmla="*/ 1 h 7"/>
                <a:gd name="T12" fmla="*/ 0 w 7"/>
                <a:gd name="T13" fmla="*/ 4 h 7"/>
                <a:gd name="T14" fmla="*/ 2 w 7"/>
                <a:gd name="T15" fmla="*/ 6 h 7"/>
                <a:gd name="T16" fmla="*/ 4 w 7"/>
                <a:gd name="T17" fmla="*/ 7 h 7"/>
                <a:gd name="T18" fmla="*/ 6 w 7"/>
                <a:gd name="T19" fmla="*/ 6 h 7"/>
                <a:gd name="T20" fmla="*/ 6 w 7"/>
                <a:gd name="T2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" h="7">
                  <a:moveTo>
                    <a:pt x="6" y="6"/>
                  </a:moveTo>
                  <a:lnTo>
                    <a:pt x="7" y="4"/>
                  </a:lnTo>
                  <a:lnTo>
                    <a:pt x="7" y="3"/>
                  </a:lnTo>
                  <a:lnTo>
                    <a:pt x="7" y="1"/>
                  </a:lnTo>
                  <a:lnTo>
                    <a:pt x="4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2" y="6"/>
                  </a:lnTo>
                  <a:lnTo>
                    <a:pt x="4" y="7"/>
                  </a:lnTo>
                  <a:lnTo>
                    <a:pt x="6" y="6"/>
                  </a:lnTo>
                  <a:lnTo>
                    <a:pt x="6" y="6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59" name="Freeform 107"/>
            <p:cNvSpPr>
              <a:spLocks/>
            </p:cNvSpPr>
            <p:nvPr/>
          </p:nvSpPr>
          <p:spPr bwMode="auto">
            <a:xfrm>
              <a:off x="3824652" y="3507820"/>
              <a:ext cx="1119787" cy="971012"/>
            </a:xfrm>
            <a:custGeom>
              <a:avLst/>
              <a:gdLst>
                <a:gd name="T0" fmla="*/ 1591 w 1833"/>
                <a:gd name="T1" fmla="*/ 1305 h 1468"/>
                <a:gd name="T2" fmla="*/ 1422 w 1833"/>
                <a:gd name="T3" fmla="*/ 1320 h 1468"/>
                <a:gd name="T4" fmla="*/ 1315 w 1833"/>
                <a:gd name="T5" fmla="*/ 1280 h 1468"/>
                <a:gd name="T6" fmla="*/ 1277 w 1833"/>
                <a:gd name="T7" fmla="*/ 1237 h 1468"/>
                <a:gd name="T8" fmla="*/ 1151 w 1833"/>
                <a:gd name="T9" fmla="*/ 1189 h 1468"/>
                <a:gd name="T10" fmla="*/ 1119 w 1833"/>
                <a:gd name="T11" fmla="*/ 1216 h 1468"/>
                <a:gd name="T12" fmla="*/ 1081 w 1833"/>
                <a:gd name="T13" fmla="*/ 1270 h 1468"/>
                <a:gd name="T14" fmla="*/ 990 w 1833"/>
                <a:gd name="T15" fmla="*/ 1362 h 1468"/>
                <a:gd name="T16" fmla="*/ 879 w 1833"/>
                <a:gd name="T17" fmla="*/ 1452 h 1468"/>
                <a:gd name="T18" fmla="*/ 707 w 1833"/>
                <a:gd name="T19" fmla="*/ 1370 h 1468"/>
                <a:gd name="T20" fmla="*/ 715 w 1833"/>
                <a:gd name="T21" fmla="*/ 1333 h 1468"/>
                <a:gd name="T22" fmla="*/ 689 w 1833"/>
                <a:gd name="T23" fmla="*/ 1297 h 1468"/>
                <a:gd name="T24" fmla="*/ 652 w 1833"/>
                <a:gd name="T25" fmla="*/ 1194 h 1468"/>
                <a:gd name="T26" fmla="*/ 561 w 1833"/>
                <a:gd name="T27" fmla="*/ 1108 h 1468"/>
                <a:gd name="T28" fmla="*/ 517 w 1833"/>
                <a:gd name="T29" fmla="*/ 1081 h 1468"/>
                <a:gd name="T30" fmla="*/ 430 w 1833"/>
                <a:gd name="T31" fmla="*/ 1117 h 1468"/>
                <a:gd name="T32" fmla="*/ 309 w 1833"/>
                <a:gd name="T33" fmla="*/ 1140 h 1468"/>
                <a:gd name="T34" fmla="*/ 203 w 1833"/>
                <a:gd name="T35" fmla="*/ 1166 h 1468"/>
                <a:gd name="T36" fmla="*/ 87 w 1833"/>
                <a:gd name="T37" fmla="*/ 959 h 1468"/>
                <a:gd name="T38" fmla="*/ 105 w 1833"/>
                <a:gd name="T39" fmla="*/ 750 h 1468"/>
                <a:gd name="T40" fmla="*/ 73 w 1833"/>
                <a:gd name="T41" fmla="*/ 503 h 1468"/>
                <a:gd name="T42" fmla="*/ 19 w 1833"/>
                <a:gd name="T43" fmla="*/ 371 h 1468"/>
                <a:gd name="T44" fmla="*/ 59 w 1833"/>
                <a:gd name="T45" fmla="*/ 328 h 1468"/>
                <a:gd name="T46" fmla="*/ 87 w 1833"/>
                <a:gd name="T47" fmla="*/ 256 h 1468"/>
                <a:gd name="T48" fmla="*/ 127 w 1833"/>
                <a:gd name="T49" fmla="*/ 212 h 1468"/>
                <a:gd name="T50" fmla="*/ 175 w 1833"/>
                <a:gd name="T51" fmla="*/ 173 h 1468"/>
                <a:gd name="T52" fmla="*/ 229 w 1833"/>
                <a:gd name="T53" fmla="*/ 126 h 1468"/>
                <a:gd name="T54" fmla="*/ 246 w 1833"/>
                <a:gd name="T55" fmla="*/ 79 h 1468"/>
                <a:gd name="T56" fmla="*/ 265 w 1833"/>
                <a:gd name="T57" fmla="*/ 50 h 1468"/>
                <a:gd name="T58" fmla="*/ 274 w 1833"/>
                <a:gd name="T59" fmla="*/ 37 h 1468"/>
                <a:gd name="T60" fmla="*/ 308 w 1833"/>
                <a:gd name="T61" fmla="*/ 30 h 1468"/>
                <a:gd name="T62" fmla="*/ 354 w 1833"/>
                <a:gd name="T63" fmla="*/ 33 h 1468"/>
                <a:gd name="T64" fmla="*/ 369 w 1833"/>
                <a:gd name="T65" fmla="*/ 49 h 1468"/>
                <a:gd name="T66" fmla="*/ 414 w 1833"/>
                <a:gd name="T67" fmla="*/ 40 h 1468"/>
                <a:gd name="T68" fmla="*/ 480 w 1833"/>
                <a:gd name="T69" fmla="*/ 4 h 1468"/>
                <a:gd name="T70" fmla="*/ 507 w 1833"/>
                <a:gd name="T71" fmla="*/ 43 h 1468"/>
                <a:gd name="T72" fmla="*/ 504 w 1833"/>
                <a:gd name="T73" fmla="*/ 81 h 1468"/>
                <a:gd name="T74" fmla="*/ 465 w 1833"/>
                <a:gd name="T75" fmla="*/ 139 h 1468"/>
                <a:gd name="T76" fmla="*/ 432 w 1833"/>
                <a:gd name="T77" fmla="*/ 175 h 1468"/>
                <a:gd name="T78" fmla="*/ 468 w 1833"/>
                <a:gd name="T79" fmla="*/ 206 h 1468"/>
                <a:gd name="T80" fmla="*/ 465 w 1833"/>
                <a:gd name="T81" fmla="*/ 240 h 1468"/>
                <a:gd name="T82" fmla="*/ 503 w 1833"/>
                <a:gd name="T83" fmla="*/ 259 h 1468"/>
                <a:gd name="T84" fmla="*/ 551 w 1833"/>
                <a:gd name="T85" fmla="*/ 278 h 1468"/>
                <a:gd name="T86" fmla="*/ 646 w 1833"/>
                <a:gd name="T87" fmla="*/ 308 h 1468"/>
                <a:gd name="T88" fmla="*/ 687 w 1833"/>
                <a:gd name="T89" fmla="*/ 355 h 1468"/>
                <a:gd name="T90" fmla="*/ 683 w 1833"/>
                <a:gd name="T91" fmla="*/ 417 h 1468"/>
                <a:gd name="T92" fmla="*/ 722 w 1833"/>
                <a:gd name="T93" fmla="*/ 431 h 1468"/>
                <a:gd name="T94" fmla="*/ 793 w 1833"/>
                <a:gd name="T95" fmla="*/ 442 h 1468"/>
                <a:gd name="T96" fmla="*/ 826 w 1833"/>
                <a:gd name="T97" fmla="*/ 424 h 1468"/>
                <a:gd name="T98" fmla="*/ 885 w 1833"/>
                <a:gd name="T99" fmla="*/ 474 h 1468"/>
                <a:gd name="T100" fmla="*/ 882 w 1833"/>
                <a:gd name="T101" fmla="*/ 530 h 1468"/>
                <a:gd name="T102" fmla="*/ 907 w 1833"/>
                <a:gd name="T103" fmla="*/ 633 h 1468"/>
                <a:gd name="T104" fmla="*/ 942 w 1833"/>
                <a:gd name="T105" fmla="*/ 684 h 1468"/>
                <a:gd name="T106" fmla="*/ 1061 w 1833"/>
                <a:gd name="T107" fmla="*/ 757 h 1468"/>
                <a:gd name="T108" fmla="*/ 1182 w 1833"/>
                <a:gd name="T109" fmla="*/ 825 h 1468"/>
                <a:gd name="T110" fmla="*/ 1315 w 1833"/>
                <a:gd name="T111" fmla="*/ 955 h 1468"/>
                <a:gd name="T112" fmla="*/ 1438 w 1833"/>
                <a:gd name="T113" fmla="*/ 959 h 1468"/>
                <a:gd name="T114" fmla="*/ 1530 w 1833"/>
                <a:gd name="T115" fmla="*/ 954 h 1468"/>
                <a:gd name="T116" fmla="*/ 1597 w 1833"/>
                <a:gd name="T117" fmla="*/ 1005 h 1468"/>
                <a:gd name="T118" fmla="*/ 1683 w 1833"/>
                <a:gd name="T119" fmla="*/ 1078 h 1468"/>
                <a:gd name="T120" fmla="*/ 1734 w 1833"/>
                <a:gd name="T121" fmla="*/ 1141 h 1468"/>
                <a:gd name="T122" fmla="*/ 1773 w 1833"/>
                <a:gd name="T123" fmla="*/ 1223 h 1468"/>
                <a:gd name="T124" fmla="*/ 1820 w 1833"/>
                <a:gd name="T125" fmla="*/ 1283 h 1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33" h="1468">
                  <a:moveTo>
                    <a:pt x="1806" y="1305"/>
                  </a:moveTo>
                  <a:lnTo>
                    <a:pt x="1806" y="1305"/>
                  </a:lnTo>
                  <a:lnTo>
                    <a:pt x="1750" y="1326"/>
                  </a:lnTo>
                  <a:lnTo>
                    <a:pt x="1678" y="1353"/>
                  </a:lnTo>
                  <a:lnTo>
                    <a:pt x="1647" y="1350"/>
                  </a:lnTo>
                  <a:lnTo>
                    <a:pt x="1623" y="1310"/>
                  </a:lnTo>
                  <a:lnTo>
                    <a:pt x="1614" y="1306"/>
                  </a:lnTo>
                  <a:lnTo>
                    <a:pt x="1604" y="1305"/>
                  </a:lnTo>
                  <a:lnTo>
                    <a:pt x="1591" y="1305"/>
                  </a:lnTo>
                  <a:lnTo>
                    <a:pt x="1581" y="1307"/>
                  </a:lnTo>
                  <a:lnTo>
                    <a:pt x="1524" y="1339"/>
                  </a:lnTo>
                  <a:lnTo>
                    <a:pt x="1522" y="1355"/>
                  </a:lnTo>
                  <a:lnTo>
                    <a:pt x="1499" y="1363"/>
                  </a:lnTo>
                  <a:lnTo>
                    <a:pt x="1487" y="1339"/>
                  </a:lnTo>
                  <a:lnTo>
                    <a:pt x="1457" y="1330"/>
                  </a:lnTo>
                  <a:lnTo>
                    <a:pt x="1444" y="1332"/>
                  </a:lnTo>
                  <a:lnTo>
                    <a:pt x="1429" y="1326"/>
                  </a:lnTo>
                  <a:lnTo>
                    <a:pt x="1422" y="1320"/>
                  </a:lnTo>
                  <a:lnTo>
                    <a:pt x="1424" y="1313"/>
                  </a:lnTo>
                  <a:lnTo>
                    <a:pt x="1425" y="1302"/>
                  </a:lnTo>
                  <a:lnTo>
                    <a:pt x="1425" y="1296"/>
                  </a:lnTo>
                  <a:lnTo>
                    <a:pt x="1409" y="1289"/>
                  </a:lnTo>
                  <a:lnTo>
                    <a:pt x="1399" y="1287"/>
                  </a:lnTo>
                  <a:lnTo>
                    <a:pt x="1386" y="1292"/>
                  </a:lnTo>
                  <a:lnTo>
                    <a:pt x="1372" y="1287"/>
                  </a:lnTo>
                  <a:lnTo>
                    <a:pt x="1349" y="1290"/>
                  </a:lnTo>
                  <a:lnTo>
                    <a:pt x="1315" y="1280"/>
                  </a:lnTo>
                  <a:lnTo>
                    <a:pt x="1296" y="1276"/>
                  </a:lnTo>
                  <a:lnTo>
                    <a:pt x="1292" y="1272"/>
                  </a:lnTo>
                  <a:lnTo>
                    <a:pt x="1292" y="1264"/>
                  </a:lnTo>
                  <a:lnTo>
                    <a:pt x="1292" y="1260"/>
                  </a:lnTo>
                  <a:lnTo>
                    <a:pt x="1296" y="1253"/>
                  </a:lnTo>
                  <a:lnTo>
                    <a:pt x="1298" y="1249"/>
                  </a:lnTo>
                  <a:lnTo>
                    <a:pt x="1298" y="1244"/>
                  </a:lnTo>
                  <a:lnTo>
                    <a:pt x="1295" y="1240"/>
                  </a:lnTo>
                  <a:lnTo>
                    <a:pt x="1277" y="1237"/>
                  </a:lnTo>
                  <a:lnTo>
                    <a:pt x="1260" y="1240"/>
                  </a:lnTo>
                  <a:lnTo>
                    <a:pt x="1249" y="1232"/>
                  </a:lnTo>
                  <a:lnTo>
                    <a:pt x="1237" y="1236"/>
                  </a:lnTo>
                  <a:lnTo>
                    <a:pt x="1209" y="1222"/>
                  </a:lnTo>
                  <a:lnTo>
                    <a:pt x="1199" y="1224"/>
                  </a:lnTo>
                  <a:lnTo>
                    <a:pt x="1189" y="1213"/>
                  </a:lnTo>
                  <a:lnTo>
                    <a:pt x="1176" y="1201"/>
                  </a:lnTo>
                  <a:lnTo>
                    <a:pt x="1163" y="1194"/>
                  </a:lnTo>
                  <a:lnTo>
                    <a:pt x="1151" y="1189"/>
                  </a:lnTo>
                  <a:lnTo>
                    <a:pt x="1141" y="1181"/>
                  </a:lnTo>
                  <a:lnTo>
                    <a:pt x="1136" y="1180"/>
                  </a:lnTo>
                  <a:lnTo>
                    <a:pt x="1130" y="1184"/>
                  </a:lnTo>
                  <a:lnTo>
                    <a:pt x="1130" y="1189"/>
                  </a:lnTo>
                  <a:lnTo>
                    <a:pt x="1129" y="1194"/>
                  </a:lnTo>
                  <a:lnTo>
                    <a:pt x="1124" y="1203"/>
                  </a:lnTo>
                  <a:lnTo>
                    <a:pt x="1117" y="1209"/>
                  </a:lnTo>
                  <a:lnTo>
                    <a:pt x="1117" y="1211"/>
                  </a:lnTo>
                  <a:lnTo>
                    <a:pt x="1119" y="1216"/>
                  </a:lnTo>
                  <a:lnTo>
                    <a:pt x="1119" y="1222"/>
                  </a:lnTo>
                  <a:lnTo>
                    <a:pt x="1117" y="1227"/>
                  </a:lnTo>
                  <a:lnTo>
                    <a:pt x="1111" y="1237"/>
                  </a:lnTo>
                  <a:lnTo>
                    <a:pt x="1096" y="1236"/>
                  </a:lnTo>
                  <a:lnTo>
                    <a:pt x="1088" y="1239"/>
                  </a:lnTo>
                  <a:lnTo>
                    <a:pt x="1084" y="1247"/>
                  </a:lnTo>
                  <a:lnTo>
                    <a:pt x="1083" y="1256"/>
                  </a:lnTo>
                  <a:lnTo>
                    <a:pt x="1083" y="1262"/>
                  </a:lnTo>
                  <a:lnTo>
                    <a:pt x="1081" y="1270"/>
                  </a:lnTo>
                  <a:lnTo>
                    <a:pt x="1078" y="1279"/>
                  </a:lnTo>
                  <a:lnTo>
                    <a:pt x="1071" y="1285"/>
                  </a:lnTo>
                  <a:lnTo>
                    <a:pt x="1064" y="1290"/>
                  </a:lnTo>
                  <a:lnTo>
                    <a:pt x="1066" y="1297"/>
                  </a:lnTo>
                  <a:lnTo>
                    <a:pt x="1064" y="1305"/>
                  </a:lnTo>
                  <a:lnTo>
                    <a:pt x="1044" y="1352"/>
                  </a:lnTo>
                  <a:lnTo>
                    <a:pt x="1037" y="1355"/>
                  </a:lnTo>
                  <a:lnTo>
                    <a:pt x="1028" y="1376"/>
                  </a:lnTo>
                  <a:lnTo>
                    <a:pt x="990" y="1362"/>
                  </a:lnTo>
                  <a:lnTo>
                    <a:pt x="972" y="1380"/>
                  </a:lnTo>
                  <a:lnTo>
                    <a:pt x="968" y="1375"/>
                  </a:lnTo>
                  <a:lnTo>
                    <a:pt x="961" y="1375"/>
                  </a:lnTo>
                  <a:lnTo>
                    <a:pt x="960" y="1376"/>
                  </a:lnTo>
                  <a:lnTo>
                    <a:pt x="952" y="1395"/>
                  </a:lnTo>
                  <a:lnTo>
                    <a:pt x="928" y="1396"/>
                  </a:lnTo>
                  <a:lnTo>
                    <a:pt x="924" y="1429"/>
                  </a:lnTo>
                  <a:lnTo>
                    <a:pt x="909" y="1438"/>
                  </a:lnTo>
                  <a:lnTo>
                    <a:pt x="879" y="1452"/>
                  </a:lnTo>
                  <a:lnTo>
                    <a:pt x="856" y="1468"/>
                  </a:lnTo>
                  <a:lnTo>
                    <a:pt x="838" y="1449"/>
                  </a:lnTo>
                  <a:lnTo>
                    <a:pt x="783" y="1426"/>
                  </a:lnTo>
                  <a:lnTo>
                    <a:pt x="782" y="1411"/>
                  </a:lnTo>
                  <a:lnTo>
                    <a:pt x="769" y="1405"/>
                  </a:lnTo>
                  <a:lnTo>
                    <a:pt x="758" y="1391"/>
                  </a:lnTo>
                  <a:lnTo>
                    <a:pt x="739" y="1395"/>
                  </a:lnTo>
                  <a:lnTo>
                    <a:pt x="716" y="1376"/>
                  </a:lnTo>
                  <a:lnTo>
                    <a:pt x="707" y="1370"/>
                  </a:lnTo>
                  <a:lnTo>
                    <a:pt x="706" y="1368"/>
                  </a:lnTo>
                  <a:lnTo>
                    <a:pt x="705" y="1363"/>
                  </a:lnTo>
                  <a:lnTo>
                    <a:pt x="705" y="1360"/>
                  </a:lnTo>
                  <a:lnTo>
                    <a:pt x="710" y="1362"/>
                  </a:lnTo>
                  <a:lnTo>
                    <a:pt x="720" y="1363"/>
                  </a:lnTo>
                  <a:lnTo>
                    <a:pt x="722" y="1360"/>
                  </a:lnTo>
                  <a:lnTo>
                    <a:pt x="710" y="1336"/>
                  </a:lnTo>
                  <a:lnTo>
                    <a:pt x="710" y="1336"/>
                  </a:lnTo>
                  <a:lnTo>
                    <a:pt x="715" y="1333"/>
                  </a:lnTo>
                  <a:lnTo>
                    <a:pt x="717" y="1330"/>
                  </a:lnTo>
                  <a:lnTo>
                    <a:pt x="720" y="1326"/>
                  </a:lnTo>
                  <a:lnTo>
                    <a:pt x="719" y="1320"/>
                  </a:lnTo>
                  <a:lnTo>
                    <a:pt x="712" y="1319"/>
                  </a:lnTo>
                  <a:lnTo>
                    <a:pt x="702" y="1317"/>
                  </a:lnTo>
                  <a:lnTo>
                    <a:pt x="692" y="1316"/>
                  </a:lnTo>
                  <a:lnTo>
                    <a:pt x="687" y="1309"/>
                  </a:lnTo>
                  <a:lnTo>
                    <a:pt x="687" y="1305"/>
                  </a:lnTo>
                  <a:lnTo>
                    <a:pt x="689" y="1297"/>
                  </a:lnTo>
                  <a:lnTo>
                    <a:pt x="685" y="1293"/>
                  </a:lnTo>
                  <a:lnTo>
                    <a:pt x="687" y="1287"/>
                  </a:lnTo>
                  <a:lnTo>
                    <a:pt x="690" y="1282"/>
                  </a:lnTo>
                  <a:lnTo>
                    <a:pt x="677" y="1247"/>
                  </a:lnTo>
                  <a:lnTo>
                    <a:pt x="676" y="1236"/>
                  </a:lnTo>
                  <a:lnTo>
                    <a:pt x="663" y="1226"/>
                  </a:lnTo>
                  <a:lnTo>
                    <a:pt x="662" y="1211"/>
                  </a:lnTo>
                  <a:lnTo>
                    <a:pt x="653" y="1204"/>
                  </a:lnTo>
                  <a:lnTo>
                    <a:pt x="652" y="1194"/>
                  </a:lnTo>
                  <a:lnTo>
                    <a:pt x="633" y="1171"/>
                  </a:lnTo>
                  <a:lnTo>
                    <a:pt x="637" y="1160"/>
                  </a:lnTo>
                  <a:lnTo>
                    <a:pt x="626" y="1164"/>
                  </a:lnTo>
                  <a:lnTo>
                    <a:pt x="607" y="1144"/>
                  </a:lnTo>
                  <a:lnTo>
                    <a:pt x="596" y="1144"/>
                  </a:lnTo>
                  <a:lnTo>
                    <a:pt x="584" y="1138"/>
                  </a:lnTo>
                  <a:lnTo>
                    <a:pt x="573" y="1130"/>
                  </a:lnTo>
                  <a:lnTo>
                    <a:pt x="570" y="1121"/>
                  </a:lnTo>
                  <a:lnTo>
                    <a:pt x="561" y="1108"/>
                  </a:lnTo>
                  <a:lnTo>
                    <a:pt x="556" y="1103"/>
                  </a:lnTo>
                  <a:lnTo>
                    <a:pt x="546" y="1101"/>
                  </a:lnTo>
                  <a:lnTo>
                    <a:pt x="536" y="1104"/>
                  </a:lnTo>
                  <a:lnTo>
                    <a:pt x="528" y="1104"/>
                  </a:lnTo>
                  <a:lnTo>
                    <a:pt x="521" y="1103"/>
                  </a:lnTo>
                  <a:lnTo>
                    <a:pt x="523" y="1098"/>
                  </a:lnTo>
                  <a:lnTo>
                    <a:pt x="524" y="1091"/>
                  </a:lnTo>
                  <a:lnTo>
                    <a:pt x="526" y="1085"/>
                  </a:lnTo>
                  <a:lnTo>
                    <a:pt x="517" y="1081"/>
                  </a:lnTo>
                  <a:lnTo>
                    <a:pt x="511" y="1073"/>
                  </a:lnTo>
                  <a:lnTo>
                    <a:pt x="488" y="1074"/>
                  </a:lnTo>
                  <a:lnTo>
                    <a:pt x="481" y="1077"/>
                  </a:lnTo>
                  <a:lnTo>
                    <a:pt x="481" y="1080"/>
                  </a:lnTo>
                  <a:lnTo>
                    <a:pt x="481" y="1081"/>
                  </a:lnTo>
                  <a:lnTo>
                    <a:pt x="493" y="1090"/>
                  </a:lnTo>
                  <a:lnTo>
                    <a:pt x="494" y="1095"/>
                  </a:lnTo>
                  <a:lnTo>
                    <a:pt x="491" y="1107"/>
                  </a:lnTo>
                  <a:lnTo>
                    <a:pt x="430" y="1117"/>
                  </a:lnTo>
                  <a:lnTo>
                    <a:pt x="415" y="1106"/>
                  </a:lnTo>
                  <a:lnTo>
                    <a:pt x="395" y="1130"/>
                  </a:lnTo>
                  <a:lnTo>
                    <a:pt x="385" y="1138"/>
                  </a:lnTo>
                  <a:lnTo>
                    <a:pt x="374" y="1143"/>
                  </a:lnTo>
                  <a:lnTo>
                    <a:pt x="362" y="1143"/>
                  </a:lnTo>
                  <a:lnTo>
                    <a:pt x="339" y="1136"/>
                  </a:lnTo>
                  <a:lnTo>
                    <a:pt x="328" y="1130"/>
                  </a:lnTo>
                  <a:lnTo>
                    <a:pt x="322" y="1131"/>
                  </a:lnTo>
                  <a:lnTo>
                    <a:pt x="309" y="1140"/>
                  </a:lnTo>
                  <a:lnTo>
                    <a:pt x="301" y="1138"/>
                  </a:lnTo>
                  <a:lnTo>
                    <a:pt x="282" y="1138"/>
                  </a:lnTo>
                  <a:lnTo>
                    <a:pt x="261" y="1144"/>
                  </a:lnTo>
                  <a:lnTo>
                    <a:pt x="259" y="1127"/>
                  </a:lnTo>
                  <a:lnTo>
                    <a:pt x="243" y="1124"/>
                  </a:lnTo>
                  <a:lnTo>
                    <a:pt x="235" y="1126"/>
                  </a:lnTo>
                  <a:lnTo>
                    <a:pt x="233" y="1131"/>
                  </a:lnTo>
                  <a:lnTo>
                    <a:pt x="216" y="1167"/>
                  </a:lnTo>
                  <a:lnTo>
                    <a:pt x="203" y="1166"/>
                  </a:lnTo>
                  <a:lnTo>
                    <a:pt x="183" y="1163"/>
                  </a:lnTo>
                  <a:lnTo>
                    <a:pt x="178" y="1160"/>
                  </a:lnTo>
                  <a:lnTo>
                    <a:pt x="153" y="1138"/>
                  </a:lnTo>
                  <a:lnTo>
                    <a:pt x="132" y="1121"/>
                  </a:lnTo>
                  <a:lnTo>
                    <a:pt x="130" y="1075"/>
                  </a:lnTo>
                  <a:lnTo>
                    <a:pt x="147" y="1024"/>
                  </a:lnTo>
                  <a:lnTo>
                    <a:pt x="143" y="1015"/>
                  </a:lnTo>
                  <a:lnTo>
                    <a:pt x="145" y="1008"/>
                  </a:lnTo>
                  <a:lnTo>
                    <a:pt x="87" y="959"/>
                  </a:lnTo>
                  <a:lnTo>
                    <a:pt x="74" y="945"/>
                  </a:lnTo>
                  <a:lnTo>
                    <a:pt x="70" y="928"/>
                  </a:lnTo>
                  <a:lnTo>
                    <a:pt x="93" y="892"/>
                  </a:lnTo>
                  <a:lnTo>
                    <a:pt x="107" y="848"/>
                  </a:lnTo>
                  <a:lnTo>
                    <a:pt x="115" y="826"/>
                  </a:lnTo>
                  <a:lnTo>
                    <a:pt x="100" y="809"/>
                  </a:lnTo>
                  <a:lnTo>
                    <a:pt x="93" y="792"/>
                  </a:lnTo>
                  <a:lnTo>
                    <a:pt x="100" y="793"/>
                  </a:lnTo>
                  <a:lnTo>
                    <a:pt x="105" y="750"/>
                  </a:lnTo>
                  <a:lnTo>
                    <a:pt x="113" y="697"/>
                  </a:lnTo>
                  <a:lnTo>
                    <a:pt x="122" y="690"/>
                  </a:lnTo>
                  <a:lnTo>
                    <a:pt x="135" y="680"/>
                  </a:lnTo>
                  <a:lnTo>
                    <a:pt x="136" y="637"/>
                  </a:lnTo>
                  <a:lnTo>
                    <a:pt x="130" y="619"/>
                  </a:lnTo>
                  <a:lnTo>
                    <a:pt x="113" y="581"/>
                  </a:lnTo>
                  <a:lnTo>
                    <a:pt x="107" y="570"/>
                  </a:lnTo>
                  <a:lnTo>
                    <a:pt x="89" y="533"/>
                  </a:lnTo>
                  <a:lnTo>
                    <a:pt x="73" y="503"/>
                  </a:lnTo>
                  <a:lnTo>
                    <a:pt x="54" y="487"/>
                  </a:lnTo>
                  <a:lnTo>
                    <a:pt x="13" y="458"/>
                  </a:lnTo>
                  <a:lnTo>
                    <a:pt x="14" y="451"/>
                  </a:lnTo>
                  <a:lnTo>
                    <a:pt x="27" y="438"/>
                  </a:lnTo>
                  <a:lnTo>
                    <a:pt x="26" y="432"/>
                  </a:lnTo>
                  <a:lnTo>
                    <a:pt x="16" y="417"/>
                  </a:lnTo>
                  <a:lnTo>
                    <a:pt x="0" y="402"/>
                  </a:lnTo>
                  <a:lnTo>
                    <a:pt x="9" y="379"/>
                  </a:lnTo>
                  <a:lnTo>
                    <a:pt x="19" y="371"/>
                  </a:lnTo>
                  <a:lnTo>
                    <a:pt x="31" y="365"/>
                  </a:lnTo>
                  <a:lnTo>
                    <a:pt x="34" y="362"/>
                  </a:lnTo>
                  <a:lnTo>
                    <a:pt x="36" y="356"/>
                  </a:lnTo>
                  <a:lnTo>
                    <a:pt x="40" y="356"/>
                  </a:lnTo>
                  <a:lnTo>
                    <a:pt x="44" y="354"/>
                  </a:lnTo>
                  <a:lnTo>
                    <a:pt x="57" y="342"/>
                  </a:lnTo>
                  <a:lnTo>
                    <a:pt x="67" y="335"/>
                  </a:lnTo>
                  <a:lnTo>
                    <a:pt x="64" y="331"/>
                  </a:lnTo>
                  <a:lnTo>
                    <a:pt x="59" y="328"/>
                  </a:lnTo>
                  <a:lnTo>
                    <a:pt x="59" y="321"/>
                  </a:lnTo>
                  <a:lnTo>
                    <a:pt x="67" y="299"/>
                  </a:lnTo>
                  <a:lnTo>
                    <a:pt x="79" y="292"/>
                  </a:lnTo>
                  <a:lnTo>
                    <a:pt x="84" y="285"/>
                  </a:lnTo>
                  <a:lnTo>
                    <a:pt x="90" y="275"/>
                  </a:lnTo>
                  <a:lnTo>
                    <a:pt x="89" y="268"/>
                  </a:lnTo>
                  <a:lnTo>
                    <a:pt x="89" y="265"/>
                  </a:lnTo>
                  <a:lnTo>
                    <a:pt x="89" y="261"/>
                  </a:lnTo>
                  <a:lnTo>
                    <a:pt x="87" y="256"/>
                  </a:lnTo>
                  <a:lnTo>
                    <a:pt x="90" y="250"/>
                  </a:lnTo>
                  <a:lnTo>
                    <a:pt x="92" y="246"/>
                  </a:lnTo>
                  <a:lnTo>
                    <a:pt x="96" y="243"/>
                  </a:lnTo>
                  <a:lnTo>
                    <a:pt x="102" y="243"/>
                  </a:lnTo>
                  <a:lnTo>
                    <a:pt x="109" y="239"/>
                  </a:lnTo>
                  <a:lnTo>
                    <a:pt x="116" y="232"/>
                  </a:lnTo>
                  <a:lnTo>
                    <a:pt x="123" y="219"/>
                  </a:lnTo>
                  <a:lnTo>
                    <a:pt x="126" y="215"/>
                  </a:lnTo>
                  <a:lnTo>
                    <a:pt x="127" y="212"/>
                  </a:lnTo>
                  <a:lnTo>
                    <a:pt x="130" y="212"/>
                  </a:lnTo>
                  <a:lnTo>
                    <a:pt x="133" y="212"/>
                  </a:lnTo>
                  <a:lnTo>
                    <a:pt x="135" y="208"/>
                  </a:lnTo>
                  <a:lnTo>
                    <a:pt x="136" y="205"/>
                  </a:lnTo>
                  <a:lnTo>
                    <a:pt x="143" y="200"/>
                  </a:lnTo>
                  <a:lnTo>
                    <a:pt x="150" y="196"/>
                  </a:lnTo>
                  <a:lnTo>
                    <a:pt x="158" y="193"/>
                  </a:lnTo>
                  <a:lnTo>
                    <a:pt x="163" y="187"/>
                  </a:lnTo>
                  <a:lnTo>
                    <a:pt x="175" y="173"/>
                  </a:lnTo>
                  <a:lnTo>
                    <a:pt x="185" y="160"/>
                  </a:lnTo>
                  <a:lnTo>
                    <a:pt x="190" y="155"/>
                  </a:lnTo>
                  <a:lnTo>
                    <a:pt x="202" y="149"/>
                  </a:lnTo>
                  <a:lnTo>
                    <a:pt x="212" y="144"/>
                  </a:lnTo>
                  <a:lnTo>
                    <a:pt x="221" y="139"/>
                  </a:lnTo>
                  <a:lnTo>
                    <a:pt x="228" y="134"/>
                  </a:lnTo>
                  <a:lnTo>
                    <a:pt x="231" y="130"/>
                  </a:lnTo>
                  <a:lnTo>
                    <a:pt x="231" y="127"/>
                  </a:lnTo>
                  <a:lnTo>
                    <a:pt x="229" y="126"/>
                  </a:lnTo>
                  <a:lnTo>
                    <a:pt x="225" y="126"/>
                  </a:lnTo>
                  <a:lnTo>
                    <a:pt x="223" y="124"/>
                  </a:lnTo>
                  <a:lnTo>
                    <a:pt x="225" y="120"/>
                  </a:lnTo>
                  <a:lnTo>
                    <a:pt x="223" y="110"/>
                  </a:lnTo>
                  <a:lnTo>
                    <a:pt x="226" y="103"/>
                  </a:lnTo>
                  <a:lnTo>
                    <a:pt x="235" y="96"/>
                  </a:lnTo>
                  <a:lnTo>
                    <a:pt x="242" y="92"/>
                  </a:lnTo>
                  <a:lnTo>
                    <a:pt x="245" y="84"/>
                  </a:lnTo>
                  <a:lnTo>
                    <a:pt x="246" y="79"/>
                  </a:lnTo>
                  <a:lnTo>
                    <a:pt x="248" y="76"/>
                  </a:lnTo>
                  <a:lnTo>
                    <a:pt x="245" y="73"/>
                  </a:lnTo>
                  <a:lnTo>
                    <a:pt x="243" y="70"/>
                  </a:lnTo>
                  <a:lnTo>
                    <a:pt x="245" y="67"/>
                  </a:lnTo>
                  <a:lnTo>
                    <a:pt x="249" y="61"/>
                  </a:lnTo>
                  <a:lnTo>
                    <a:pt x="255" y="54"/>
                  </a:lnTo>
                  <a:lnTo>
                    <a:pt x="259" y="51"/>
                  </a:lnTo>
                  <a:lnTo>
                    <a:pt x="262" y="50"/>
                  </a:lnTo>
                  <a:lnTo>
                    <a:pt x="265" y="50"/>
                  </a:lnTo>
                  <a:lnTo>
                    <a:pt x="268" y="51"/>
                  </a:lnTo>
                  <a:lnTo>
                    <a:pt x="271" y="53"/>
                  </a:lnTo>
                  <a:lnTo>
                    <a:pt x="275" y="53"/>
                  </a:lnTo>
                  <a:lnTo>
                    <a:pt x="276" y="51"/>
                  </a:lnTo>
                  <a:lnTo>
                    <a:pt x="276" y="50"/>
                  </a:lnTo>
                  <a:lnTo>
                    <a:pt x="276" y="47"/>
                  </a:lnTo>
                  <a:lnTo>
                    <a:pt x="274" y="44"/>
                  </a:lnTo>
                  <a:lnTo>
                    <a:pt x="272" y="41"/>
                  </a:lnTo>
                  <a:lnTo>
                    <a:pt x="274" y="37"/>
                  </a:lnTo>
                  <a:lnTo>
                    <a:pt x="276" y="34"/>
                  </a:lnTo>
                  <a:lnTo>
                    <a:pt x="281" y="33"/>
                  </a:lnTo>
                  <a:lnTo>
                    <a:pt x="282" y="33"/>
                  </a:lnTo>
                  <a:lnTo>
                    <a:pt x="285" y="36"/>
                  </a:lnTo>
                  <a:lnTo>
                    <a:pt x="288" y="37"/>
                  </a:lnTo>
                  <a:lnTo>
                    <a:pt x="292" y="33"/>
                  </a:lnTo>
                  <a:lnTo>
                    <a:pt x="296" y="30"/>
                  </a:lnTo>
                  <a:lnTo>
                    <a:pt x="302" y="28"/>
                  </a:lnTo>
                  <a:lnTo>
                    <a:pt x="308" y="30"/>
                  </a:lnTo>
                  <a:lnTo>
                    <a:pt x="314" y="28"/>
                  </a:lnTo>
                  <a:lnTo>
                    <a:pt x="322" y="23"/>
                  </a:lnTo>
                  <a:lnTo>
                    <a:pt x="329" y="17"/>
                  </a:lnTo>
                  <a:lnTo>
                    <a:pt x="335" y="14"/>
                  </a:lnTo>
                  <a:lnTo>
                    <a:pt x="339" y="17"/>
                  </a:lnTo>
                  <a:lnTo>
                    <a:pt x="347" y="23"/>
                  </a:lnTo>
                  <a:lnTo>
                    <a:pt x="352" y="24"/>
                  </a:lnTo>
                  <a:lnTo>
                    <a:pt x="354" y="28"/>
                  </a:lnTo>
                  <a:lnTo>
                    <a:pt x="354" y="33"/>
                  </a:lnTo>
                  <a:lnTo>
                    <a:pt x="349" y="40"/>
                  </a:lnTo>
                  <a:lnTo>
                    <a:pt x="347" y="49"/>
                  </a:lnTo>
                  <a:lnTo>
                    <a:pt x="347" y="53"/>
                  </a:lnTo>
                  <a:lnTo>
                    <a:pt x="347" y="54"/>
                  </a:lnTo>
                  <a:lnTo>
                    <a:pt x="351" y="56"/>
                  </a:lnTo>
                  <a:lnTo>
                    <a:pt x="359" y="59"/>
                  </a:lnTo>
                  <a:lnTo>
                    <a:pt x="362" y="57"/>
                  </a:lnTo>
                  <a:lnTo>
                    <a:pt x="367" y="51"/>
                  </a:lnTo>
                  <a:lnTo>
                    <a:pt x="369" y="49"/>
                  </a:lnTo>
                  <a:lnTo>
                    <a:pt x="374" y="49"/>
                  </a:lnTo>
                  <a:lnTo>
                    <a:pt x="381" y="53"/>
                  </a:lnTo>
                  <a:lnTo>
                    <a:pt x="388" y="53"/>
                  </a:lnTo>
                  <a:lnTo>
                    <a:pt x="391" y="51"/>
                  </a:lnTo>
                  <a:lnTo>
                    <a:pt x="392" y="47"/>
                  </a:lnTo>
                  <a:lnTo>
                    <a:pt x="395" y="44"/>
                  </a:lnTo>
                  <a:lnTo>
                    <a:pt x="400" y="43"/>
                  </a:lnTo>
                  <a:lnTo>
                    <a:pt x="408" y="41"/>
                  </a:lnTo>
                  <a:lnTo>
                    <a:pt x="414" y="40"/>
                  </a:lnTo>
                  <a:lnTo>
                    <a:pt x="418" y="39"/>
                  </a:lnTo>
                  <a:lnTo>
                    <a:pt x="421" y="31"/>
                  </a:lnTo>
                  <a:lnTo>
                    <a:pt x="424" y="28"/>
                  </a:lnTo>
                  <a:lnTo>
                    <a:pt x="430" y="24"/>
                  </a:lnTo>
                  <a:lnTo>
                    <a:pt x="441" y="21"/>
                  </a:lnTo>
                  <a:lnTo>
                    <a:pt x="450" y="16"/>
                  </a:lnTo>
                  <a:lnTo>
                    <a:pt x="460" y="8"/>
                  </a:lnTo>
                  <a:lnTo>
                    <a:pt x="470" y="6"/>
                  </a:lnTo>
                  <a:lnTo>
                    <a:pt x="480" y="4"/>
                  </a:lnTo>
                  <a:lnTo>
                    <a:pt x="487" y="1"/>
                  </a:lnTo>
                  <a:lnTo>
                    <a:pt x="497" y="0"/>
                  </a:lnTo>
                  <a:lnTo>
                    <a:pt x="503" y="8"/>
                  </a:lnTo>
                  <a:lnTo>
                    <a:pt x="506" y="17"/>
                  </a:lnTo>
                  <a:lnTo>
                    <a:pt x="506" y="23"/>
                  </a:lnTo>
                  <a:lnTo>
                    <a:pt x="504" y="28"/>
                  </a:lnTo>
                  <a:lnTo>
                    <a:pt x="504" y="34"/>
                  </a:lnTo>
                  <a:lnTo>
                    <a:pt x="506" y="40"/>
                  </a:lnTo>
                  <a:lnTo>
                    <a:pt x="507" y="43"/>
                  </a:lnTo>
                  <a:lnTo>
                    <a:pt x="507" y="44"/>
                  </a:lnTo>
                  <a:lnTo>
                    <a:pt x="506" y="47"/>
                  </a:lnTo>
                  <a:lnTo>
                    <a:pt x="501" y="49"/>
                  </a:lnTo>
                  <a:lnTo>
                    <a:pt x="498" y="53"/>
                  </a:lnTo>
                  <a:lnTo>
                    <a:pt x="494" y="63"/>
                  </a:lnTo>
                  <a:lnTo>
                    <a:pt x="494" y="66"/>
                  </a:lnTo>
                  <a:lnTo>
                    <a:pt x="494" y="71"/>
                  </a:lnTo>
                  <a:lnTo>
                    <a:pt x="498" y="77"/>
                  </a:lnTo>
                  <a:lnTo>
                    <a:pt x="504" y="81"/>
                  </a:lnTo>
                  <a:lnTo>
                    <a:pt x="507" y="84"/>
                  </a:lnTo>
                  <a:lnTo>
                    <a:pt x="508" y="87"/>
                  </a:lnTo>
                  <a:lnTo>
                    <a:pt x="508" y="90"/>
                  </a:lnTo>
                  <a:lnTo>
                    <a:pt x="504" y="94"/>
                  </a:lnTo>
                  <a:lnTo>
                    <a:pt x="490" y="110"/>
                  </a:lnTo>
                  <a:lnTo>
                    <a:pt x="483" y="123"/>
                  </a:lnTo>
                  <a:lnTo>
                    <a:pt x="473" y="132"/>
                  </a:lnTo>
                  <a:lnTo>
                    <a:pt x="465" y="137"/>
                  </a:lnTo>
                  <a:lnTo>
                    <a:pt x="465" y="139"/>
                  </a:lnTo>
                  <a:lnTo>
                    <a:pt x="467" y="147"/>
                  </a:lnTo>
                  <a:lnTo>
                    <a:pt x="467" y="150"/>
                  </a:lnTo>
                  <a:lnTo>
                    <a:pt x="465" y="153"/>
                  </a:lnTo>
                  <a:lnTo>
                    <a:pt x="464" y="156"/>
                  </a:lnTo>
                  <a:lnTo>
                    <a:pt x="457" y="162"/>
                  </a:lnTo>
                  <a:lnTo>
                    <a:pt x="448" y="165"/>
                  </a:lnTo>
                  <a:lnTo>
                    <a:pt x="441" y="166"/>
                  </a:lnTo>
                  <a:lnTo>
                    <a:pt x="437" y="170"/>
                  </a:lnTo>
                  <a:lnTo>
                    <a:pt x="432" y="175"/>
                  </a:lnTo>
                  <a:lnTo>
                    <a:pt x="430" y="177"/>
                  </a:lnTo>
                  <a:lnTo>
                    <a:pt x="431" y="180"/>
                  </a:lnTo>
                  <a:lnTo>
                    <a:pt x="435" y="189"/>
                  </a:lnTo>
                  <a:lnTo>
                    <a:pt x="441" y="195"/>
                  </a:lnTo>
                  <a:lnTo>
                    <a:pt x="444" y="202"/>
                  </a:lnTo>
                  <a:lnTo>
                    <a:pt x="447" y="202"/>
                  </a:lnTo>
                  <a:lnTo>
                    <a:pt x="455" y="202"/>
                  </a:lnTo>
                  <a:lnTo>
                    <a:pt x="464" y="203"/>
                  </a:lnTo>
                  <a:lnTo>
                    <a:pt x="468" y="206"/>
                  </a:lnTo>
                  <a:lnTo>
                    <a:pt x="470" y="209"/>
                  </a:lnTo>
                  <a:lnTo>
                    <a:pt x="471" y="218"/>
                  </a:lnTo>
                  <a:lnTo>
                    <a:pt x="471" y="220"/>
                  </a:lnTo>
                  <a:lnTo>
                    <a:pt x="474" y="222"/>
                  </a:lnTo>
                  <a:lnTo>
                    <a:pt x="477" y="225"/>
                  </a:lnTo>
                  <a:lnTo>
                    <a:pt x="477" y="229"/>
                  </a:lnTo>
                  <a:lnTo>
                    <a:pt x="474" y="235"/>
                  </a:lnTo>
                  <a:lnTo>
                    <a:pt x="470" y="238"/>
                  </a:lnTo>
                  <a:lnTo>
                    <a:pt x="465" y="240"/>
                  </a:lnTo>
                  <a:lnTo>
                    <a:pt x="464" y="242"/>
                  </a:lnTo>
                  <a:lnTo>
                    <a:pt x="464" y="245"/>
                  </a:lnTo>
                  <a:lnTo>
                    <a:pt x="467" y="249"/>
                  </a:lnTo>
                  <a:lnTo>
                    <a:pt x="478" y="261"/>
                  </a:lnTo>
                  <a:lnTo>
                    <a:pt x="484" y="265"/>
                  </a:lnTo>
                  <a:lnTo>
                    <a:pt x="488" y="265"/>
                  </a:lnTo>
                  <a:lnTo>
                    <a:pt x="493" y="261"/>
                  </a:lnTo>
                  <a:lnTo>
                    <a:pt x="500" y="258"/>
                  </a:lnTo>
                  <a:lnTo>
                    <a:pt x="503" y="259"/>
                  </a:lnTo>
                  <a:lnTo>
                    <a:pt x="513" y="263"/>
                  </a:lnTo>
                  <a:lnTo>
                    <a:pt x="520" y="271"/>
                  </a:lnTo>
                  <a:lnTo>
                    <a:pt x="530" y="272"/>
                  </a:lnTo>
                  <a:lnTo>
                    <a:pt x="538" y="269"/>
                  </a:lnTo>
                  <a:lnTo>
                    <a:pt x="543" y="269"/>
                  </a:lnTo>
                  <a:lnTo>
                    <a:pt x="546" y="271"/>
                  </a:lnTo>
                  <a:lnTo>
                    <a:pt x="547" y="273"/>
                  </a:lnTo>
                  <a:lnTo>
                    <a:pt x="548" y="278"/>
                  </a:lnTo>
                  <a:lnTo>
                    <a:pt x="551" y="278"/>
                  </a:lnTo>
                  <a:lnTo>
                    <a:pt x="566" y="279"/>
                  </a:lnTo>
                  <a:lnTo>
                    <a:pt x="571" y="282"/>
                  </a:lnTo>
                  <a:lnTo>
                    <a:pt x="577" y="286"/>
                  </a:lnTo>
                  <a:lnTo>
                    <a:pt x="584" y="286"/>
                  </a:lnTo>
                  <a:lnTo>
                    <a:pt x="596" y="285"/>
                  </a:lnTo>
                  <a:lnTo>
                    <a:pt x="607" y="286"/>
                  </a:lnTo>
                  <a:lnTo>
                    <a:pt x="624" y="292"/>
                  </a:lnTo>
                  <a:lnTo>
                    <a:pt x="637" y="299"/>
                  </a:lnTo>
                  <a:lnTo>
                    <a:pt x="646" y="308"/>
                  </a:lnTo>
                  <a:lnTo>
                    <a:pt x="653" y="316"/>
                  </a:lnTo>
                  <a:lnTo>
                    <a:pt x="659" y="324"/>
                  </a:lnTo>
                  <a:lnTo>
                    <a:pt x="663" y="326"/>
                  </a:lnTo>
                  <a:lnTo>
                    <a:pt x="672" y="328"/>
                  </a:lnTo>
                  <a:lnTo>
                    <a:pt x="677" y="328"/>
                  </a:lnTo>
                  <a:lnTo>
                    <a:pt x="682" y="331"/>
                  </a:lnTo>
                  <a:lnTo>
                    <a:pt x="683" y="335"/>
                  </a:lnTo>
                  <a:lnTo>
                    <a:pt x="687" y="349"/>
                  </a:lnTo>
                  <a:lnTo>
                    <a:pt x="687" y="355"/>
                  </a:lnTo>
                  <a:lnTo>
                    <a:pt x="685" y="356"/>
                  </a:lnTo>
                  <a:lnTo>
                    <a:pt x="679" y="359"/>
                  </a:lnTo>
                  <a:lnTo>
                    <a:pt x="663" y="366"/>
                  </a:lnTo>
                  <a:lnTo>
                    <a:pt x="660" y="384"/>
                  </a:lnTo>
                  <a:lnTo>
                    <a:pt x="675" y="399"/>
                  </a:lnTo>
                  <a:lnTo>
                    <a:pt x="675" y="414"/>
                  </a:lnTo>
                  <a:lnTo>
                    <a:pt x="676" y="417"/>
                  </a:lnTo>
                  <a:lnTo>
                    <a:pt x="679" y="417"/>
                  </a:lnTo>
                  <a:lnTo>
                    <a:pt x="683" y="417"/>
                  </a:lnTo>
                  <a:lnTo>
                    <a:pt x="685" y="421"/>
                  </a:lnTo>
                  <a:lnTo>
                    <a:pt x="693" y="425"/>
                  </a:lnTo>
                  <a:lnTo>
                    <a:pt x="697" y="428"/>
                  </a:lnTo>
                  <a:lnTo>
                    <a:pt x="702" y="428"/>
                  </a:lnTo>
                  <a:lnTo>
                    <a:pt x="706" y="430"/>
                  </a:lnTo>
                  <a:lnTo>
                    <a:pt x="705" y="432"/>
                  </a:lnTo>
                  <a:lnTo>
                    <a:pt x="705" y="437"/>
                  </a:lnTo>
                  <a:lnTo>
                    <a:pt x="707" y="438"/>
                  </a:lnTo>
                  <a:lnTo>
                    <a:pt x="722" y="431"/>
                  </a:lnTo>
                  <a:lnTo>
                    <a:pt x="732" y="430"/>
                  </a:lnTo>
                  <a:lnTo>
                    <a:pt x="743" y="425"/>
                  </a:lnTo>
                  <a:lnTo>
                    <a:pt x="772" y="421"/>
                  </a:lnTo>
                  <a:lnTo>
                    <a:pt x="782" y="444"/>
                  </a:lnTo>
                  <a:lnTo>
                    <a:pt x="786" y="448"/>
                  </a:lnTo>
                  <a:lnTo>
                    <a:pt x="789" y="450"/>
                  </a:lnTo>
                  <a:lnTo>
                    <a:pt x="789" y="450"/>
                  </a:lnTo>
                  <a:lnTo>
                    <a:pt x="791" y="448"/>
                  </a:lnTo>
                  <a:lnTo>
                    <a:pt x="793" y="442"/>
                  </a:lnTo>
                  <a:lnTo>
                    <a:pt x="798" y="440"/>
                  </a:lnTo>
                  <a:lnTo>
                    <a:pt x="803" y="438"/>
                  </a:lnTo>
                  <a:lnTo>
                    <a:pt x="805" y="435"/>
                  </a:lnTo>
                  <a:lnTo>
                    <a:pt x="805" y="431"/>
                  </a:lnTo>
                  <a:lnTo>
                    <a:pt x="802" y="419"/>
                  </a:lnTo>
                  <a:lnTo>
                    <a:pt x="803" y="415"/>
                  </a:lnTo>
                  <a:lnTo>
                    <a:pt x="808" y="418"/>
                  </a:lnTo>
                  <a:lnTo>
                    <a:pt x="822" y="422"/>
                  </a:lnTo>
                  <a:lnTo>
                    <a:pt x="826" y="424"/>
                  </a:lnTo>
                  <a:lnTo>
                    <a:pt x="831" y="437"/>
                  </a:lnTo>
                  <a:lnTo>
                    <a:pt x="835" y="440"/>
                  </a:lnTo>
                  <a:lnTo>
                    <a:pt x="848" y="444"/>
                  </a:lnTo>
                  <a:lnTo>
                    <a:pt x="851" y="445"/>
                  </a:lnTo>
                  <a:lnTo>
                    <a:pt x="855" y="460"/>
                  </a:lnTo>
                  <a:lnTo>
                    <a:pt x="862" y="467"/>
                  </a:lnTo>
                  <a:lnTo>
                    <a:pt x="868" y="470"/>
                  </a:lnTo>
                  <a:lnTo>
                    <a:pt x="882" y="471"/>
                  </a:lnTo>
                  <a:lnTo>
                    <a:pt x="885" y="474"/>
                  </a:lnTo>
                  <a:lnTo>
                    <a:pt x="885" y="481"/>
                  </a:lnTo>
                  <a:lnTo>
                    <a:pt x="888" y="488"/>
                  </a:lnTo>
                  <a:lnTo>
                    <a:pt x="901" y="498"/>
                  </a:lnTo>
                  <a:lnTo>
                    <a:pt x="907" y="508"/>
                  </a:lnTo>
                  <a:lnTo>
                    <a:pt x="907" y="511"/>
                  </a:lnTo>
                  <a:lnTo>
                    <a:pt x="905" y="518"/>
                  </a:lnTo>
                  <a:lnTo>
                    <a:pt x="902" y="523"/>
                  </a:lnTo>
                  <a:lnTo>
                    <a:pt x="898" y="525"/>
                  </a:lnTo>
                  <a:lnTo>
                    <a:pt x="882" y="530"/>
                  </a:lnTo>
                  <a:lnTo>
                    <a:pt x="881" y="531"/>
                  </a:lnTo>
                  <a:lnTo>
                    <a:pt x="881" y="588"/>
                  </a:lnTo>
                  <a:lnTo>
                    <a:pt x="885" y="591"/>
                  </a:lnTo>
                  <a:lnTo>
                    <a:pt x="894" y="596"/>
                  </a:lnTo>
                  <a:lnTo>
                    <a:pt x="908" y="599"/>
                  </a:lnTo>
                  <a:lnTo>
                    <a:pt x="912" y="606"/>
                  </a:lnTo>
                  <a:lnTo>
                    <a:pt x="912" y="619"/>
                  </a:lnTo>
                  <a:lnTo>
                    <a:pt x="911" y="624"/>
                  </a:lnTo>
                  <a:lnTo>
                    <a:pt x="907" y="633"/>
                  </a:lnTo>
                  <a:lnTo>
                    <a:pt x="901" y="650"/>
                  </a:lnTo>
                  <a:lnTo>
                    <a:pt x="892" y="679"/>
                  </a:lnTo>
                  <a:lnTo>
                    <a:pt x="892" y="683"/>
                  </a:lnTo>
                  <a:lnTo>
                    <a:pt x="897" y="686"/>
                  </a:lnTo>
                  <a:lnTo>
                    <a:pt x="905" y="686"/>
                  </a:lnTo>
                  <a:lnTo>
                    <a:pt x="909" y="686"/>
                  </a:lnTo>
                  <a:lnTo>
                    <a:pt x="921" y="687"/>
                  </a:lnTo>
                  <a:lnTo>
                    <a:pt x="934" y="684"/>
                  </a:lnTo>
                  <a:lnTo>
                    <a:pt x="942" y="684"/>
                  </a:lnTo>
                  <a:lnTo>
                    <a:pt x="961" y="696"/>
                  </a:lnTo>
                  <a:lnTo>
                    <a:pt x="974" y="703"/>
                  </a:lnTo>
                  <a:lnTo>
                    <a:pt x="987" y="693"/>
                  </a:lnTo>
                  <a:lnTo>
                    <a:pt x="991" y="687"/>
                  </a:lnTo>
                  <a:lnTo>
                    <a:pt x="1007" y="692"/>
                  </a:lnTo>
                  <a:lnTo>
                    <a:pt x="1014" y="737"/>
                  </a:lnTo>
                  <a:lnTo>
                    <a:pt x="1021" y="743"/>
                  </a:lnTo>
                  <a:lnTo>
                    <a:pt x="1045" y="750"/>
                  </a:lnTo>
                  <a:lnTo>
                    <a:pt x="1061" y="757"/>
                  </a:lnTo>
                  <a:lnTo>
                    <a:pt x="1070" y="770"/>
                  </a:lnTo>
                  <a:lnTo>
                    <a:pt x="1076" y="786"/>
                  </a:lnTo>
                  <a:lnTo>
                    <a:pt x="1077" y="792"/>
                  </a:lnTo>
                  <a:lnTo>
                    <a:pt x="1087" y="799"/>
                  </a:lnTo>
                  <a:lnTo>
                    <a:pt x="1107" y="805"/>
                  </a:lnTo>
                  <a:lnTo>
                    <a:pt x="1121" y="803"/>
                  </a:lnTo>
                  <a:lnTo>
                    <a:pt x="1144" y="808"/>
                  </a:lnTo>
                  <a:lnTo>
                    <a:pt x="1163" y="815"/>
                  </a:lnTo>
                  <a:lnTo>
                    <a:pt x="1182" y="825"/>
                  </a:lnTo>
                  <a:lnTo>
                    <a:pt x="1196" y="838"/>
                  </a:lnTo>
                  <a:lnTo>
                    <a:pt x="1196" y="849"/>
                  </a:lnTo>
                  <a:lnTo>
                    <a:pt x="1223" y="846"/>
                  </a:lnTo>
                  <a:lnTo>
                    <a:pt x="1239" y="858"/>
                  </a:lnTo>
                  <a:lnTo>
                    <a:pt x="1243" y="863"/>
                  </a:lnTo>
                  <a:lnTo>
                    <a:pt x="1246" y="878"/>
                  </a:lnTo>
                  <a:lnTo>
                    <a:pt x="1243" y="895"/>
                  </a:lnTo>
                  <a:lnTo>
                    <a:pt x="1293" y="961"/>
                  </a:lnTo>
                  <a:lnTo>
                    <a:pt x="1315" y="955"/>
                  </a:lnTo>
                  <a:lnTo>
                    <a:pt x="1325" y="957"/>
                  </a:lnTo>
                  <a:lnTo>
                    <a:pt x="1339" y="959"/>
                  </a:lnTo>
                  <a:lnTo>
                    <a:pt x="1349" y="962"/>
                  </a:lnTo>
                  <a:lnTo>
                    <a:pt x="1358" y="968"/>
                  </a:lnTo>
                  <a:lnTo>
                    <a:pt x="1365" y="974"/>
                  </a:lnTo>
                  <a:lnTo>
                    <a:pt x="1385" y="977"/>
                  </a:lnTo>
                  <a:lnTo>
                    <a:pt x="1401" y="984"/>
                  </a:lnTo>
                  <a:lnTo>
                    <a:pt x="1419" y="991"/>
                  </a:lnTo>
                  <a:lnTo>
                    <a:pt x="1438" y="959"/>
                  </a:lnTo>
                  <a:lnTo>
                    <a:pt x="1459" y="954"/>
                  </a:lnTo>
                  <a:lnTo>
                    <a:pt x="1482" y="945"/>
                  </a:lnTo>
                  <a:lnTo>
                    <a:pt x="1492" y="938"/>
                  </a:lnTo>
                  <a:lnTo>
                    <a:pt x="1497" y="931"/>
                  </a:lnTo>
                  <a:lnTo>
                    <a:pt x="1505" y="924"/>
                  </a:lnTo>
                  <a:lnTo>
                    <a:pt x="1521" y="924"/>
                  </a:lnTo>
                  <a:lnTo>
                    <a:pt x="1531" y="926"/>
                  </a:lnTo>
                  <a:lnTo>
                    <a:pt x="1528" y="945"/>
                  </a:lnTo>
                  <a:lnTo>
                    <a:pt x="1530" y="954"/>
                  </a:lnTo>
                  <a:lnTo>
                    <a:pt x="1542" y="964"/>
                  </a:lnTo>
                  <a:lnTo>
                    <a:pt x="1544" y="969"/>
                  </a:lnTo>
                  <a:lnTo>
                    <a:pt x="1544" y="975"/>
                  </a:lnTo>
                  <a:lnTo>
                    <a:pt x="1541" y="981"/>
                  </a:lnTo>
                  <a:lnTo>
                    <a:pt x="1545" y="985"/>
                  </a:lnTo>
                  <a:lnTo>
                    <a:pt x="1561" y="997"/>
                  </a:lnTo>
                  <a:lnTo>
                    <a:pt x="1570" y="1012"/>
                  </a:lnTo>
                  <a:lnTo>
                    <a:pt x="1573" y="1015"/>
                  </a:lnTo>
                  <a:lnTo>
                    <a:pt x="1597" y="1005"/>
                  </a:lnTo>
                  <a:lnTo>
                    <a:pt x="1613" y="1018"/>
                  </a:lnTo>
                  <a:lnTo>
                    <a:pt x="1627" y="1014"/>
                  </a:lnTo>
                  <a:lnTo>
                    <a:pt x="1640" y="1024"/>
                  </a:lnTo>
                  <a:lnTo>
                    <a:pt x="1637" y="1037"/>
                  </a:lnTo>
                  <a:lnTo>
                    <a:pt x="1644" y="1047"/>
                  </a:lnTo>
                  <a:lnTo>
                    <a:pt x="1656" y="1057"/>
                  </a:lnTo>
                  <a:lnTo>
                    <a:pt x="1654" y="1067"/>
                  </a:lnTo>
                  <a:lnTo>
                    <a:pt x="1674" y="1080"/>
                  </a:lnTo>
                  <a:lnTo>
                    <a:pt x="1683" y="1078"/>
                  </a:lnTo>
                  <a:lnTo>
                    <a:pt x="1690" y="1083"/>
                  </a:lnTo>
                  <a:lnTo>
                    <a:pt x="1707" y="1067"/>
                  </a:lnTo>
                  <a:lnTo>
                    <a:pt x="1711" y="1071"/>
                  </a:lnTo>
                  <a:lnTo>
                    <a:pt x="1716" y="1090"/>
                  </a:lnTo>
                  <a:lnTo>
                    <a:pt x="1717" y="1095"/>
                  </a:lnTo>
                  <a:lnTo>
                    <a:pt x="1717" y="1106"/>
                  </a:lnTo>
                  <a:lnTo>
                    <a:pt x="1727" y="1116"/>
                  </a:lnTo>
                  <a:lnTo>
                    <a:pt x="1727" y="1134"/>
                  </a:lnTo>
                  <a:lnTo>
                    <a:pt x="1734" y="1141"/>
                  </a:lnTo>
                  <a:lnTo>
                    <a:pt x="1742" y="1147"/>
                  </a:lnTo>
                  <a:lnTo>
                    <a:pt x="1737" y="1169"/>
                  </a:lnTo>
                  <a:lnTo>
                    <a:pt x="1737" y="1183"/>
                  </a:lnTo>
                  <a:lnTo>
                    <a:pt x="1742" y="1197"/>
                  </a:lnTo>
                  <a:lnTo>
                    <a:pt x="1749" y="1210"/>
                  </a:lnTo>
                  <a:lnTo>
                    <a:pt x="1752" y="1213"/>
                  </a:lnTo>
                  <a:lnTo>
                    <a:pt x="1762" y="1216"/>
                  </a:lnTo>
                  <a:lnTo>
                    <a:pt x="1766" y="1217"/>
                  </a:lnTo>
                  <a:lnTo>
                    <a:pt x="1773" y="1223"/>
                  </a:lnTo>
                  <a:lnTo>
                    <a:pt x="1780" y="1237"/>
                  </a:lnTo>
                  <a:lnTo>
                    <a:pt x="1792" y="1240"/>
                  </a:lnTo>
                  <a:lnTo>
                    <a:pt x="1799" y="1242"/>
                  </a:lnTo>
                  <a:lnTo>
                    <a:pt x="1812" y="1260"/>
                  </a:lnTo>
                  <a:lnTo>
                    <a:pt x="1825" y="1262"/>
                  </a:lnTo>
                  <a:lnTo>
                    <a:pt x="1833" y="1275"/>
                  </a:lnTo>
                  <a:lnTo>
                    <a:pt x="1830" y="1279"/>
                  </a:lnTo>
                  <a:lnTo>
                    <a:pt x="1827" y="1282"/>
                  </a:lnTo>
                  <a:lnTo>
                    <a:pt x="1820" y="1283"/>
                  </a:lnTo>
                  <a:lnTo>
                    <a:pt x="1806" y="1287"/>
                  </a:lnTo>
                  <a:lnTo>
                    <a:pt x="1805" y="1290"/>
                  </a:lnTo>
                  <a:lnTo>
                    <a:pt x="1803" y="1295"/>
                  </a:lnTo>
                  <a:lnTo>
                    <a:pt x="1806" y="1305"/>
                  </a:lnTo>
                  <a:lnTo>
                    <a:pt x="1806" y="1305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60" name="Freeform 108"/>
            <p:cNvSpPr>
              <a:spLocks noEditPoints="1"/>
            </p:cNvSpPr>
            <p:nvPr/>
          </p:nvSpPr>
          <p:spPr bwMode="auto">
            <a:xfrm>
              <a:off x="3286129" y="3622913"/>
              <a:ext cx="538524" cy="576786"/>
            </a:xfrm>
            <a:custGeom>
              <a:avLst/>
              <a:gdLst>
                <a:gd name="T0" fmla="*/ 815 w 882"/>
                <a:gd name="T1" fmla="*/ 305 h 872"/>
                <a:gd name="T2" fmla="*/ 777 w 882"/>
                <a:gd name="T3" fmla="*/ 378 h 872"/>
                <a:gd name="T4" fmla="*/ 719 w 882"/>
                <a:gd name="T5" fmla="*/ 429 h 872"/>
                <a:gd name="T6" fmla="*/ 649 w 882"/>
                <a:gd name="T7" fmla="*/ 471 h 872"/>
                <a:gd name="T8" fmla="*/ 583 w 882"/>
                <a:gd name="T9" fmla="*/ 515 h 872"/>
                <a:gd name="T10" fmla="*/ 603 w 882"/>
                <a:gd name="T11" fmla="*/ 578 h 872"/>
                <a:gd name="T12" fmla="*/ 587 w 882"/>
                <a:gd name="T13" fmla="*/ 610 h 872"/>
                <a:gd name="T14" fmla="*/ 574 w 882"/>
                <a:gd name="T15" fmla="*/ 653 h 872"/>
                <a:gd name="T16" fmla="*/ 547 w 882"/>
                <a:gd name="T17" fmla="*/ 686 h 872"/>
                <a:gd name="T18" fmla="*/ 514 w 882"/>
                <a:gd name="T19" fmla="*/ 691 h 872"/>
                <a:gd name="T20" fmla="*/ 472 w 882"/>
                <a:gd name="T21" fmla="*/ 701 h 872"/>
                <a:gd name="T22" fmla="*/ 459 w 882"/>
                <a:gd name="T23" fmla="*/ 750 h 872"/>
                <a:gd name="T24" fmla="*/ 411 w 882"/>
                <a:gd name="T25" fmla="*/ 757 h 872"/>
                <a:gd name="T26" fmla="*/ 405 w 882"/>
                <a:gd name="T27" fmla="*/ 727 h 872"/>
                <a:gd name="T28" fmla="*/ 378 w 882"/>
                <a:gd name="T29" fmla="*/ 743 h 872"/>
                <a:gd name="T30" fmla="*/ 362 w 882"/>
                <a:gd name="T31" fmla="*/ 753 h 872"/>
                <a:gd name="T32" fmla="*/ 339 w 882"/>
                <a:gd name="T33" fmla="*/ 789 h 872"/>
                <a:gd name="T34" fmla="*/ 323 w 882"/>
                <a:gd name="T35" fmla="*/ 802 h 872"/>
                <a:gd name="T36" fmla="*/ 303 w 882"/>
                <a:gd name="T37" fmla="*/ 802 h 872"/>
                <a:gd name="T38" fmla="*/ 273 w 882"/>
                <a:gd name="T39" fmla="*/ 792 h 872"/>
                <a:gd name="T40" fmla="*/ 246 w 882"/>
                <a:gd name="T41" fmla="*/ 803 h 872"/>
                <a:gd name="T42" fmla="*/ 229 w 882"/>
                <a:gd name="T43" fmla="*/ 839 h 872"/>
                <a:gd name="T44" fmla="*/ 154 w 882"/>
                <a:gd name="T45" fmla="*/ 867 h 872"/>
                <a:gd name="T46" fmla="*/ 110 w 882"/>
                <a:gd name="T47" fmla="*/ 787 h 872"/>
                <a:gd name="T48" fmla="*/ 93 w 882"/>
                <a:gd name="T49" fmla="*/ 757 h 872"/>
                <a:gd name="T50" fmla="*/ 61 w 882"/>
                <a:gd name="T51" fmla="*/ 739 h 872"/>
                <a:gd name="T52" fmla="*/ 41 w 882"/>
                <a:gd name="T53" fmla="*/ 726 h 872"/>
                <a:gd name="T54" fmla="*/ 33 w 882"/>
                <a:gd name="T55" fmla="*/ 687 h 872"/>
                <a:gd name="T56" fmla="*/ 8 w 882"/>
                <a:gd name="T57" fmla="*/ 680 h 872"/>
                <a:gd name="T58" fmla="*/ 5 w 882"/>
                <a:gd name="T59" fmla="*/ 643 h 872"/>
                <a:gd name="T60" fmla="*/ 5 w 882"/>
                <a:gd name="T61" fmla="*/ 613 h 872"/>
                <a:gd name="T62" fmla="*/ 31 w 882"/>
                <a:gd name="T63" fmla="*/ 615 h 872"/>
                <a:gd name="T64" fmla="*/ 68 w 882"/>
                <a:gd name="T65" fmla="*/ 611 h 872"/>
                <a:gd name="T66" fmla="*/ 81 w 882"/>
                <a:gd name="T67" fmla="*/ 585 h 872"/>
                <a:gd name="T68" fmla="*/ 103 w 882"/>
                <a:gd name="T69" fmla="*/ 552 h 872"/>
                <a:gd name="T70" fmla="*/ 114 w 882"/>
                <a:gd name="T71" fmla="*/ 511 h 872"/>
                <a:gd name="T72" fmla="*/ 147 w 882"/>
                <a:gd name="T73" fmla="*/ 484 h 872"/>
                <a:gd name="T74" fmla="*/ 157 w 882"/>
                <a:gd name="T75" fmla="*/ 438 h 872"/>
                <a:gd name="T76" fmla="*/ 176 w 882"/>
                <a:gd name="T77" fmla="*/ 402 h 872"/>
                <a:gd name="T78" fmla="*/ 223 w 882"/>
                <a:gd name="T79" fmla="*/ 363 h 872"/>
                <a:gd name="T80" fmla="*/ 250 w 882"/>
                <a:gd name="T81" fmla="*/ 325 h 872"/>
                <a:gd name="T82" fmla="*/ 237 w 882"/>
                <a:gd name="T83" fmla="*/ 299 h 872"/>
                <a:gd name="T84" fmla="*/ 232 w 882"/>
                <a:gd name="T85" fmla="*/ 269 h 872"/>
                <a:gd name="T86" fmla="*/ 269 w 882"/>
                <a:gd name="T87" fmla="*/ 243 h 872"/>
                <a:gd name="T88" fmla="*/ 303 w 882"/>
                <a:gd name="T89" fmla="*/ 233 h 872"/>
                <a:gd name="T90" fmla="*/ 336 w 882"/>
                <a:gd name="T91" fmla="*/ 202 h 872"/>
                <a:gd name="T92" fmla="*/ 341 w 882"/>
                <a:gd name="T93" fmla="*/ 156 h 872"/>
                <a:gd name="T94" fmla="*/ 300 w 882"/>
                <a:gd name="T95" fmla="*/ 137 h 872"/>
                <a:gd name="T96" fmla="*/ 289 w 882"/>
                <a:gd name="T97" fmla="*/ 87 h 872"/>
                <a:gd name="T98" fmla="*/ 319 w 882"/>
                <a:gd name="T99" fmla="*/ 0 h 872"/>
                <a:gd name="T100" fmla="*/ 427 w 882"/>
                <a:gd name="T101" fmla="*/ 57 h 872"/>
                <a:gd name="T102" fmla="*/ 553 w 882"/>
                <a:gd name="T103" fmla="*/ 134 h 872"/>
                <a:gd name="T104" fmla="*/ 654 w 882"/>
                <a:gd name="T105" fmla="*/ 169 h 872"/>
                <a:gd name="T106" fmla="*/ 820 w 882"/>
                <a:gd name="T107" fmla="*/ 265 h 872"/>
                <a:gd name="T108" fmla="*/ 860 w 882"/>
                <a:gd name="T109" fmla="*/ 242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82" h="872">
                  <a:moveTo>
                    <a:pt x="848" y="260"/>
                  </a:moveTo>
                  <a:lnTo>
                    <a:pt x="848" y="272"/>
                  </a:lnTo>
                  <a:lnTo>
                    <a:pt x="846" y="277"/>
                  </a:lnTo>
                  <a:lnTo>
                    <a:pt x="843" y="283"/>
                  </a:lnTo>
                  <a:lnTo>
                    <a:pt x="839" y="289"/>
                  </a:lnTo>
                  <a:lnTo>
                    <a:pt x="828" y="297"/>
                  </a:lnTo>
                  <a:lnTo>
                    <a:pt x="815" y="305"/>
                  </a:lnTo>
                  <a:lnTo>
                    <a:pt x="806" y="310"/>
                  </a:lnTo>
                  <a:lnTo>
                    <a:pt x="800" y="326"/>
                  </a:lnTo>
                  <a:lnTo>
                    <a:pt x="796" y="339"/>
                  </a:lnTo>
                  <a:lnTo>
                    <a:pt x="790" y="352"/>
                  </a:lnTo>
                  <a:lnTo>
                    <a:pt x="789" y="360"/>
                  </a:lnTo>
                  <a:lnTo>
                    <a:pt x="787" y="368"/>
                  </a:lnTo>
                  <a:lnTo>
                    <a:pt x="777" y="378"/>
                  </a:lnTo>
                  <a:lnTo>
                    <a:pt x="763" y="393"/>
                  </a:lnTo>
                  <a:lnTo>
                    <a:pt x="750" y="406"/>
                  </a:lnTo>
                  <a:lnTo>
                    <a:pt x="746" y="411"/>
                  </a:lnTo>
                  <a:lnTo>
                    <a:pt x="739" y="411"/>
                  </a:lnTo>
                  <a:lnTo>
                    <a:pt x="733" y="412"/>
                  </a:lnTo>
                  <a:lnTo>
                    <a:pt x="729" y="415"/>
                  </a:lnTo>
                  <a:lnTo>
                    <a:pt x="719" y="429"/>
                  </a:lnTo>
                  <a:lnTo>
                    <a:pt x="710" y="442"/>
                  </a:lnTo>
                  <a:lnTo>
                    <a:pt x="702" y="449"/>
                  </a:lnTo>
                  <a:lnTo>
                    <a:pt x="687" y="461"/>
                  </a:lnTo>
                  <a:lnTo>
                    <a:pt x="679" y="466"/>
                  </a:lnTo>
                  <a:lnTo>
                    <a:pt x="670" y="471"/>
                  </a:lnTo>
                  <a:lnTo>
                    <a:pt x="657" y="469"/>
                  </a:lnTo>
                  <a:lnTo>
                    <a:pt x="649" y="471"/>
                  </a:lnTo>
                  <a:lnTo>
                    <a:pt x="638" y="472"/>
                  </a:lnTo>
                  <a:lnTo>
                    <a:pt x="628" y="476"/>
                  </a:lnTo>
                  <a:lnTo>
                    <a:pt x="617" y="482"/>
                  </a:lnTo>
                  <a:lnTo>
                    <a:pt x="608" y="489"/>
                  </a:lnTo>
                  <a:lnTo>
                    <a:pt x="594" y="499"/>
                  </a:lnTo>
                  <a:lnTo>
                    <a:pt x="586" y="509"/>
                  </a:lnTo>
                  <a:lnTo>
                    <a:pt x="583" y="515"/>
                  </a:lnTo>
                  <a:lnTo>
                    <a:pt x="581" y="521"/>
                  </a:lnTo>
                  <a:lnTo>
                    <a:pt x="581" y="532"/>
                  </a:lnTo>
                  <a:lnTo>
                    <a:pt x="583" y="544"/>
                  </a:lnTo>
                  <a:lnTo>
                    <a:pt x="586" y="554"/>
                  </a:lnTo>
                  <a:lnTo>
                    <a:pt x="593" y="561"/>
                  </a:lnTo>
                  <a:lnTo>
                    <a:pt x="601" y="572"/>
                  </a:lnTo>
                  <a:lnTo>
                    <a:pt x="603" y="578"/>
                  </a:lnTo>
                  <a:lnTo>
                    <a:pt x="604" y="584"/>
                  </a:lnTo>
                  <a:lnTo>
                    <a:pt x="603" y="588"/>
                  </a:lnTo>
                  <a:lnTo>
                    <a:pt x="603" y="590"/>
                  </a:lnTo>
                  <a:lnTo>
                    <a:pt x="596" y="594"/>
                  </a:lnTo>
                  <a:lnTo>
                    <a:pt x="591" y="597"/>
                  </a:lnTo>
                  <a:lnTo>
                    <a:pt x="588" y="603"/>
                  </a:lnTo>
                  <a:lnTo>
                    <a:pt x="587" y="610"/>
                  </a:lnTo>
                  <a:lnTo>
                    <a:pt x="584" y="611"/>
                  </a:lnTo>
                  <a:lnTo>
                    <a:pt x="580" y="614"/>
                  </a:lnTo>
                  <a:lnTo>
                    <a:pt x="574" y="618"/>
                  </a:lnTo>
                  <a:lnTo>
                    <a:pt x="568" y="627"/>
                  </a:lnTo>
                  <a:lnTo>
                    <a:pt x="567" y="637"/>
                  </a:lnTo>
                  <a:lnTo>
                    <a:pt x="567" y="644"/>
                  </a:lnTo>
                  <a:lnTo>
                    <a:pt x="574" y="653"/>
                  </a:lnTo>
                  <a:lnTo>
                    <a:pt x="577" y="657"/>
                  </a:lnTo>
                  <a:lnTo>
                    <a:pt x="577" y="663"/>
                  </a:lnTo>
                  <a:lnTo>
                    <a:pt x="568" y="676"/>
                  </a:lnTo>
                  <a:lnTo>
                    <a:pt x="560" y="684"/>
                  </a:lnTo>
                  <a:lnTo>
                    <a:pt x="555" y="687"/>
                  </a:lnTo>
                  <a:lnTo>
                    <a:pt x="553" y="688"/>
                  </a:lnTo>
                  <a:lnTo>
                    <a:pt x="547" y="686"/>
                  </a:lnTo>
                  <a:lnTo>
                    <a:pt x="543" y="684"/>
                  </a:lnTo>
                  <a:lnTo>
                    <a:pt x="535" y="693"/>
                  </a:lnTo>
                  <a:lnTo>
                    <a:pt x="530" y="700"/>
                  </a:lnTo>
                  <a:lnTo>
                    <a:pt x="527" y="700"/>
                  </a:lnTo>
                  <a:lnTo>
                    <a:pt x="522" y="700"/>
                  </a:lnTo>
                  <a:lnTo>
                    <a:pt x="520" y="697"/>
                  </a:lnTo>
                  <a:lnTo>
                    <a:pt x="514" y="691"/>
                  </a:lnTo>
                  <a:lnTo>
                    <a:pt x="508" y="688"/>
                  </a:lnTo>
                  <a:lnTo>
                    <a:pt x="504" y="688"/>
                  </a:lnTo>
                  <a:lnTo>
                    <a:pt x="494" y="691"/>
                  </a:lnTo>
                  <a:lnTo>
                    <a:pt x="487" y="696"/>
                  </a:lnTo>
                  <a:lnTo>
                    <a:pt x="482" y="696"/>
                  </a:lnTo>
                  <a:lnTo>
                    <a:pt x="477" y="697"/>
                  </a:lnTo>
                  <a:lnTo>
                    <a:pt x="472" y="701"/>
                  </a:lnTo>
                  <a:lnTo>
                    <a:pt x="467" y="700"/>
                  </a:lnTo>
                  <a:lnTo>
                    <a:pt x="458" y="700"/>
                  </a:lnTo>
                  <a:lnTo>
                    <a:pt x="455" y="716"/>
                  </a:lnTo>
                  <a:lnTo>
                    <a:pt x="455" y="729"/>
                  </a:lnTo>
                  <a:lnTo>
                    <a:pt x="457" y="733"/>
                  </a:lnTo>
                  <a:lnTo>
                    <a:pt x="461" y="743"/>
                  </a:lnTo>
                  <a:lnTo>
                    <a:pt x="459" y="750"/>
                  </a:lnTo>
                  <a:lnTo>
                    <a:pt x="452" y="754"/>
                  </a:lnTo>
                  <a:lnTo>
                    <a:pt x="442" y="753"/>
                  </a:lnTo>
                  <a:lnTo>
                    <a:pt x="435" y="754"/>
                  </a:lnTo>
                  <a:lnTo>
                    <a:pt x="432" y="754"/>
                  </a:lnTo>
                  <a:lnTo>
                    <a:pt x="427" y="757"/>
                  </a:lnTo>
                  <a:lnTo>
                    <a:pt x="417" y="760"/>
                  </a:lnTo>
                  <a:lnTo>
                    <a:pt x="411" y="757"/>
                  </a:lnTo>
                  <a:lnTo>
                    <a:pt x="412" y="751"/>
                  </a:lnTo>
                  <a:lnTo>
                    <a:pt x="415" y="747"/>
                  </a:lnTo>
                  <a:lnTo>
                    <a:pt x="417" y="739"/>
                  </a:lnTo>
                  <a:lnTo>
                    <a:pt x="417" y="736"/>
                  </a:lnTo>
                  <a:lnTo>
                    <a:pt x="414" y="734"/>
                  </a:lnTo>
                  <a:lnTo>
                    <a:pt x="408" y="731"/>
                  </a:lnTo>
                  <a:lnTo>
                    <a:pt x="405" y="727"/>
                  </a:lnTo>
                  <a:lnTo>
                    <a:pt x="399" y="724"/>
                  </a:lnTo>
                  <a:lnTo>
                    <a:pt x="392" y="726"/>
                  </a:lnTo>
                  <a:lnTo>
                    <a:pt x="386" y="730"/>
                  </a:lnTo>
                  <a:lnTo>
                    <a:pt x="385" y="736"/>
                  </a:lnTo>
                  <a:lnTo>
                    <a:pt x="384" y="740"/>
                  </a:lnTo>
                  <a:lnTo>
                    <a:pt x="381" y="743"/>
                  </a:lnTo>
                  <a:lnTo>
                    <a:pt x="378" y="743"/>
                  </a:lnTo>
                  <a:lnTo>
                    <a:pt x="379" y="739"/>
                  </a:lnTo>
                  <a:lnTo>
                    <a:pt x="381" y="731"/>
                  </a:lnTo>
                  <a:lnTo>
                    <a:pt x="372" y="734"/>
                  </a:lnTo>
                  <a:lnTo>
                    <a:pt x="368" y="739"/>
                  </a:lnTo>
                  <a:lnTo>
                    <a:pt x="368" y="743"/>
                  </a:lnTo>
                  <a:lnTo>
                    <a:pt x="368" y="749"/>
                  </a:lnTo>
                  <a:lnTo>
                    <a:pt x="362" y="753"/>
                  </a:lnTo>
                  <a:lnTo>
                    <a:pt x="355" y="757"/>
                  </a:lnTo>
                  <a:lnTo>
                    <a:pt x="351" y="763"/>
                  </a:lnTo>
                  <a:lnTo>
                    <a:pt x="351" y="767"/>
                  </a:lnTo>
                  <a:lnTo>
                    <a:pt x="349" y="773"/>
                  </a:lnTo>
                  <a:lnTo>
                    <a:pt x="332" y="777"/>
                  </a:lnTo>
                  <a:lnTo>
                    <a:pt x="335" y="784"/>
                  </a:lnTo>
                  <a:lnTo>
                    <a:pt x="339" y="789"/>
                  </a:lnTo>
                  <a:lnTo>
                    <a:pt x="342" y="793"/>
                  </a:lnTo>
                  <a:lnTo>
                    <a:pt x="342" y="797"/>
                  </a:lnTo>
                  <a:lnTo>
                    <a:pt x="339" y="799"/>
                  </a:lnTo>
                  <a:lnTo>
                    <a:pt x="333" y="803"/>
                  </a:lnTo>
                  <a:lnTo>
                    <a:pt x="329" y="806"/>
                  </a:lnTo>
                  <a:lnTo>
                    <a:pt x="322" y="806"/>
                  </a:lnTo>
                  <a:lnTo>
                    <a:pt x="323" y="802"/>
                  </a:lnTo>
                  <a:lnTo>
                    <a:pt x="326" y="799"/>
                  </a:lnTo>
                  <a:lnTo>
                    <a:pt x="328" y="797"/>
                  </a:lnTo>
                  <a:lnTo>
                    <a:pt x="325" y="794"/>
                  </a:lnTo>
                  <a:lnTo>
                    <a:pt x="318" y="793"/>
                  </a:lnTo>
                  <a:lnTo>
                    <a:pt x="313" y="796"/>
                  </a:lnTo>
                  <a:lnTo>
                    <a:pt x="309" y="800"/>
                  </a:lnTo>
                  <a:lnTo>
                    <a:pt x="303" y="802"/>
                  </a:lnTo>
                  <a:lnTo>
                    <a:pt x="299" y="804"/>
                  </a:lnTo>
                  <a:lnTo>
                    <a:pt x="295" y="803"/>
                  </a:lnTo>
                  <a:lnTo>
                    <a:pt x="293" y="797"/>
                  </a:lnTo>
                  <a:lnTo>
                    <a:pt x="288" y="797"/>
                  </a:lnTo>
                  <a:lnTo>
                    <a:pt x="282" y="803"/>
                  </a:lnTo>
                  <a:lnTo>
                    <a:pt x="279" y="799"/>
                  </a:lnTo>
                  <a:lnTo>
                    <a:pt x="273" y="792"/>
                  </a:lnTo>
                  <a:lnTo>
                    <a:pt x="269" y="786"/>
                  </a:lnTo>
                  <a:lnTo>
                    <a:pt x="263" y="783"/>
                  </a:lnTo>
                  <a:lnTo>
                    <a:pt x="259" y="784"/>
                  </a:lnTo>
                  <a:lnTo>
                    <a:pt x="253" y="784"/>
                  </a:lnTo>
                  <a:lnTo>
                    <a:pt x="252" y="790"/>
                  </a:lnTo>
                  <a:lnTo>
                    <a:pt x="250" y="797"/>
                  </a:lnTo>
                  <a:lnTo>
                    <a:pt x="246" y="803"/>
                  </a:lnTo>
                  <a:lnTo>
                    <a:pt x="246" y="806"/>
                  </a:lnTo>
                  <a:lnTo>
                    <a:pt x="245" y="809"/>
                  </a:lnTo>
                  <a:lnTo>
                    <a:pt x="246" y="813"/>
                  </a:lnTo>
                  <a:lnTo>
                    <a:pt x="249" y="819"/>
                  </a:lnTo>
                  <a:lnTo>
                    <a:pt x="249" y="823"/>
                  </a:lnTo>
                  <a:lnTo>
                    <a:pt x="237" y="830"/>
                  </a:lnTo>
                  <a:lnTo>
                    <a:pt x="229" y="839"/>
                  </a:lnTo>
                  <a:lnTo>
                    <a:pt x="225" y="840"/>
                  </a:lnTo>
                  <a:lnTo>
                    <a:pt x="220" y="846"/>
                  </a:lnTo>
                  <a:lnTo>
                    <a:pt x="212" y="862"/>
                  </a:lnTo>
                  <a:lnTo>
                    <a:pt x="203" y="863"/>
                  </a:lnTo>
                  <a:lnTo>
                    <a:pt x="180" y="872"/>
                  </a:lnTo>
                  <a:lnTo>
                    <a:pt x="170" y="862"/>
                  </a:lnTo>
                  <a:lnTo>
                    <a:pt x="154" y="867"/>
                  </a:lnTo>
                  <a:lnTo>
                    <a:pt x="154" y="849"/>
                  </a:lnTo>
                  <a:lnTo>
                    <a:pt x="147" y="835"/>
                  </a:lnTo>
                  <a:lnTo>
                    <a:pt x="152" y="812"/>
                  </a:lnTo>
                  <a:lnTo>
                    <a:pt x="149" y="812"/>
                  </a:lnTo>
                  <a:lnTo>
                    <a:pt x="144" y="804"/>
                  </a:lnTo>
                  <a:lnTo>
                    <a:pt x="119" y="799"/>
                  </a:lnTo>
                  <a:lnTo>
                    <a:pt x="110" y="787"/>
                  </a:lnTo>
                  <a:lnTo>
                    <a:pt x="110" y="780"/>
                  </a:lnTo>
                  <a:lnTo>
                    <a:pt x="117" y="766"/>
                  </a:lnTo>
                  <a:lnTo>
                    <a:pt x="117" y="763"/>
                  </a:lnTo>
                  <a:lnTo>
                    <a:pt x="114" y="762"/>
                  </a:lnTo>
                  <a:lnTo>
                    <a:pt x="111" y="760"/>
                  </a:lnTo>
                  <a:lnTo>
                    <a:pt x="106" y="756"/>
                  </a:lnTo>
                  <a:lnTo>
                    <a:pt x="93" y="757"/>
                  </a:lnTo>
                  <a:lnTo>
                    <a:pt x="81" y="756"/>
                  </a:lnTo>
                  <a:lnTo>
                    <a:pt x="76" y="756"/>
                  </a:lnTo>
                  <a:lnTo>
                    <a:pt x="73" y="754"/>
                  </a:lnTo>
                  <a:lnTo>
                    <a:pt x="66" y="750"/>
                  </a:lnTo>
                  <a:lnTo>
                    <a:pt x="66" y="743"/>
                  </a:lnTo>
                  <a:lnTo>
                    <a:pt x="64" y="739"/>
                  </a:lnTo>
                  <a:lnTo>
                    <a:pt x="61" y="739"/>
                  </a:lnTo>
                  <a:lnTo>
                    <a:pt x="58" y="740"/>
                  </a:lnTo>
                  <a:lnTo>
                    <a:pt x="57" y="741"/>
                  </a:lnTo>
                  <a:lnTo>
                    <a:pt x="54" y="746"/>
                  </a:lnTo>
                  <a:lnTo>
                    <a:pt x="51" y="746"/>
                  </a:lnTo>
                  <a:lnTo>
                    <a:pt x="47" y="737"/>
                  </a:lnTo>
                  <a:lnTo>
                    <a:pt x="41" y="729"/>
                  </a:lnTo>
                  <a:lnTo>
                    <a:pt x="41" y="726"/>
                  </a:lnTo>
                  <a:lnTo>
                    <a:pt x="41" y="720"/>
                  </a:lnTo>
                  <a:lnTo>
                    <a:pt x="40" y="716"/>
                  </a:lnTo>
                  <a:lnTo>
                    <a:pt x="34" y="709"/>
                  </a:lnTo>
                  <a:lnTo>
                    <a:pt x="33" y="703"/>
                  </a:lnTo>
                  <a:lnTo>
                    <a:pt x="37" y="694"/>
                  </a:lnTo>
                  <a:lnTo>
                    <a:pt x="34" y="690"/>
                  </a:lnTo>
                  <a:lnTo>
                    <a:pt x="33" y="687"/>
                  </a:lnTo>
                  <a:lnTo>
                    <a:pt x="28" y="683"/>
                  </a:lnTo>
                  <a:lnTo>
                    <a:pt x="23" y="687"/>
                  </a:lnTo>
                  <a:lnTo>
                    <a:pt x="17" y="691"/>
                  </a:lnTo>
                  <a:lnTo>
                    <a:pt x="11" y="693"/>
                  </a:lnTo>
                  <a:lnTo>
                    <a:pt x="11" y="690"/>
                  </a:lnTo>
                  <a:lnTo>
                    <a:pt x="7" y="686"/>
                  </a:lnTo>
                  <a:lnTo>
                    <a:pt x="8" y="680"/>
                  </a:lnTo>
                  <a:lnTo>
                    <a:pt x="11" y="674"/>
                  </a:lnTo>
                  <a:lnTo>
                    <a:pt x="5" y="667"/>
                  </a:lnTo>
                  <a:lnTo>
                    <a:pt x="5" y="664"/>
                  </a:lnTo>
                  <a:lnTo>
                    <a:pt x="7" y="658"/>
                  </a:lnTo>
                  <a:lnTo>
                    <a:pt x="10" y="656"/>
                  </a:lnTo>
                  <a:lnTo>
                    <a:pt x="7" y="651"/>
                  </a:lnTo>
                  <a:lnTo>
                    <a:pt x="5" y="643"/>
                  </a:lnTo>
                  <a:lnTo>
                    <a:pt x="7" y="638"/>
                  </a:lnTo>
                  <a:lnTo>
                    <a:pt x="7" y="634"/>
                  </a:lnTo>
                  <a:lnTo>
                    <a:pt x="5" y="633"/>
                  </a:lnTo>
                  <a:lnTo>
                    <a:pt x="3" y="627"/>
                  </a:lnTo>
                  <a:lnTo>
                    <a:pt x="0" y="624"/>
                  </a:lnTo>
                  <a:lnTo>
                    <a:pt x="4" y="620"/>
                  </a:lnTo>
                  <a:lnTo>
                    <a:pt x="5" y="613"/>
                  </a:lnTo>
                  <a:lnTo>
                    <a:pt x="8" y="610"/>
                  </a:lnTo>
                  <a:lnTo>
                    <a:pt x="8" y="607"/>
                  </a:lnTo>
                  <a:lnTo>
                    <a:pt x="15" y="607"/>
                  </a:lnTo>
                  <a:lnTo>
                    <a:pt x="20" y="608"/>
                  </a:lnTo>
                  <a:lnTo>
                    <a:pt x="23" y="615"/>
                  </a:lnTo>
                  <a:lnTo>
                    <a:pt x="27" y="615"/>
                  </a:lnTo>
                  <a:lnTo>
                    <a:pt x="31" y="615"/>
                  </a:lnTo>
                  <a:lnTo>
                    <a:pt x="37" y="615"/>
                  </a:lnTo>
                  <a:lnTo>
                    <a:pt x="43" y="608"/>
                  </a:lnTo>
                  <a:lnTo>
                    <a:pt x="46" y="605"/>
                  </a:lnTo>
                  <a:lnTo>
                    <a:pt x="50" y="604"/>
                  </a:lnTo>
                  <a:lnTo>
                    <a:pt x="56" y="605"/>
                  </a:lnTo>
                  <a:lnTo>
                    <a:pt x="61" y="607"/>
                  </a:lnTo>
                  <a:lnTo>
                    <a:pt x="68" y="611"/>
                  </a:lnTo>
                  <a:lnTo>
                    <a:pt x="74" y="608"/>
                  </a:lnTo>
                  <a:lnTo>
                    <a:pt x="76" y="604"/>
                  </a:lnTo>
                  <a:lnTo>
                    <a:pt x="76" y="600"/>
                  </a:lnTo>
                  <a:lnTo>
                    <a:pt x="74" y="597"/>
                  </a:lnTo>
                  <a:lnTo>
                    <a:pt x="74" y="593"/>
                  </a:lnTo>
                  <a:lnTo>
                    <a:pt x="76" y="590"/>
                  </a:lnTo>
                  <a:lnTo>
                    <a:pt x="81" y="585"/>
                  </a:lnTo>
                  <a:lnTo>
                    <a:pt x="87" y="577"/>
                  </a:lnTo>
                  <a:lnTo>
                    <a:pt x="91" y="568"/>
                  </a:lnTo>
                  <a:lnTo>
                    <a:pt x="89" y="564"/>
                  </a:lnTo>
                  <a:lnTo>
                    <a:pt x="87" y="560"/>
                  </a:lnTo>
                  <a:lnTo>
                    <a:pt x="87" y="555"/>
                  </a:lnTo>
                  <a:lnTo>
                    <a:pt x="93" y="552"/>
                  </a:lnTo>
                  <a:lnTo>
                    <a:pt x="103" y="552"/>
                  </a:lnTo>
                  <a:lnTo>
                    <a:pt x="104" y="541"/>
                  </a:lnTo>
                  <a:lnTo>
                    <a:pt x="107" y="535"/>
                  </a:lnTo>
                  <a:lnTo>
                    <a:pt x="100" y="532"/>
                  </a:lnTo>
                  <a:lnTo>
                    <a:pt x="101" y="518"/>
                  </a:lnTo>
                  <a:lnTo>
                    <a:pt x="110" y="519"/>
                  </a:lnTo>
                  <a:lnTo>
                    <a:pt x="113" y="517"/>
                  </a:lnTo>
                  <a:lnTo>
                    <a:pt x="114" y="511"/>
                  </a:lnTo>
                  <a:lnTo>
                    <a:pt x="117" y="508"/>
                  </a:lnTo>
                  <a:lnTo>
                    <a:pt x="121" y="509"/>
                  </a:lnTo>
                  <a:lnTo>
                    <a:pt x="127" y="507"/>
                  </a:lnTo>
                  <a:lnTo>
                    <a:pt x="134" y="501"/>
                  </a:lnTo>
                  <a:lnTo>
                    <a:pt x="139" y="492"/>
                  </a:lnTo>
                  <a:lnTo>
                    <a:pt x="144" y="489"/>
                  </a:lnTo>
                  <a:lnTo>
                    <a:pt x="147" y="484"/>
                  </a:lnTo>
                  <a:lnTo>
                    <a:pt x="152" y="472"/>
                  </a:lnTo>
                  <a:lnTo>
                    <a:pt x="154" y="469"/>
                  </a:lnTo>
                  <a:lnTo>
                    <a:pt x="156" y="465"/>
                  </a:lnTo>
                  <a:lnTo>
                    <a:pt x="157" y="461"/>
                  </a:lnTo>
                  <a:lnTo>
                    <a:pt x="157" y="454"/>
                  </a:lnTo>
                  <a:lnTo>
                    <a:pt x="159" y="446"/>
                  </a:lnTo>
                  <a:lnTo>
                    <a:pt x="157" y="438"/>
                  </a:lnTo>
                  <a:lnTo>
                    <a:pt x="159" y="432"/>
                  </a:lnTo>
                  <a:lnTo>
                    <a:pt x="162" y="426"/>
                  </a:lnTo>
                  <a:lnTo>
                    <a:pt x="164" y="422"/>
                  </a:lnTo>
                  <a:lnTo>
                    <a:pt x="170" y="416"/>
                  </a:lnTo>
                  <a:lnTo>
                    <a:pt x="170" y="412"/>
                  </a:lnTo>
                  <a:lnTo>
                    <a:pt x="173" y="408"/>
                  </a:lnTo>
                  <a:lnTo>
                    <a:pt x="176" y="402"/>
                  </a:lnTo>
                  <a:lnTo>
                    <a:pt x="182" y="396"/>
                  </a:lnTo>
                  <a:lnTo>
                    <a:pt x="186" y="388"/>
                  </a:lnTo>
                  <a:lnTo>
                    <a:pt x="186" y="382"/>
                  </a:lnTo>
                  <a:lnTo>
                    <a:pt x="190" y="373"/>
                  </a:lnTo>
                  <a:lnTo>
                    <a:pt x="207" y="365"/>
                  </a:lnTo>
                  <a:lnTo>
                    <a:pt x="220" y="365"/>
                  </a:lnTo>
                  <a:lnTo>
                    <a:pt x="223" y="363"/>
                  </a:lnTo>
                  <a:lnTo>
                    <a:pt x="225" y="360"/>
                  </a:lnTo>
                  <a:lnTo>
                    <a:pt x="226" y="355"/>
                  </a:lnTo>
                  <a:lnTo>
                    <a:pt x="226" y="350"/>
                  </a:lnTo>
                  <a:lnTo>
                    <a:pt x="227" y="343"/>
                  </a:lnTo>
                  <a:lnTo>
                    <a:pt x="227" y="338"/>
                  </a:lnTo>
                  <a:lnTo>
                    <a:pt x="237" y="325"/>
                  </a:lnTo>
                  <a:lnTo>
                    <a:pt x="250" y="325"/>
                  </a:lnTo>
                  <a:lnTo>
                    <a:pt x="255" y="319"/>
                  </a:lnTo>
                  <a:lnTo>
                    <a:pt x="256" y="315"/>
                  </a:lnTo>
                  <a:lnTo>
                    <a:pt x="253" y="309"/>
                  </a:lnTo>
                  <a:lnTo>
                    <a:pt x="252" y="312"/>
                  </a:lnTo>
                  <a:lnTo>
                    <a:pt x="246" y="315"/>
                  </a:lnTo>
                  <a:lnTo>
                    <a:pt x="242" y="303"/>
                  </a:lnTo>
                  <a:lnTo>
                    <a:pt x="237" y="299"/>
                  </a:lnTo>
                  <a:lnTo>
                    <a:pt x="235" y="295"/>
                  </a:lnTo>
                  <a:lnTo>
                    <a:pt x="229" y="292"/>
                  </a:lnTo>
                  <a:lnTo>
                    <a:pt x="229" y="289"/>
                  </a:lnTo>
                  <a:lnTo>
                    <a:pt x="230" y="283"/>
                  </a:lnTo>
                  <a:lnTo>
                    <a:pt x="230" y="279"/>
                  </a:lnTo>
                  <a:lnTo>
                    <a:pt x="230" y="273"/>
                  </a:lnTo>
                  <a:lnTo>
                    <a:pt x="232" y="269"/>
                  </a:lnTo>
                  <a:lnTo>
                    <a:pt x="235" y="257"/>
                  </a:lnTo>
                  <a:lnTo>
                    <a:pt x="236" y="256"/>
                  </a:lnTo>
                  <a:lnTo>
                    <a:pt x="240" y="256"/>
                  </a:lnTo>
                  <a:lnTo>
                    <a:pt x="246" y="253"/>
                  </a:lnTo>
                  <a:lnTo>
                    <a:pt x="253" y="249"/>
                  </a:lnTo>
                  <a:lnTo>
                    <a:pt x="262" y="246"/>
                  </a:lnTo>
                  <a:lnTo>
                    <a:pt x="269" y="243"/>
                  </a:lnTo>
                  <a:lnTo>
                    <a:pt x="275" y="237"/>
                  </a:lnTo>
                  <a:lnTo>
                    <a:pt x="278" y="236"/>
                  </a:lnTo>
                  <a:lnTo>
                    <a:pt x="286" y="229"/>
                  </a:lnTo>
                  <a:lnTo>
                    <a:pt x="292" y="226"/>
                  </a:lnTo>
                  <a:lnTo>
                    <a:pt x="298" y="227"/>
                  </a:lnTo>
                  <a:lnTo>
                    <a:pt x="300" y="230"/>
                  </a:lnTo>
                  <a:lnTo>
                    <a:pt x="303" y="233"/>
                  </a:lnTo>
                  <a:lnTo>
                    <a:pt x="308" y="230"/>
                  </a:lnTo>
                  <a:lnTo>
                    <a:pt x="311" y="227"/>
                  </a:lnTo>
                  <a:lnTo>
                    <a:pt x="315" y="224"/>
                  </a:lnTo>
                  <a:lnTo>
                    <a:pt x="319" y="219"/>
                  </a:lnTo>
                  <a:lnTo>
                    <a:pt x="328" y="210"/>
                  </a:lnTo>
                  <a:lnTo>
                    <a:pt x="332" y="206"/>
                  </a:lnTo>
                  <a:lnTo>
                    <a:pt x="336" y="202"/>
                  </a:lnTo>
                  <a:lnTo>
                    <a:pt x="339" y="194"/>
                  </a:lnTo>
                  <a:lnTo>
                    <a:pt x="342" y="186"/>
                  </a:lnTo>
                  <a:lnTo>
                    <a:pt x="343" y="181"/>
                  </a:lnTo>
                  <a:lnTo>
                    <a:pt x="346" y="174"/>
                  </a:lnTo>
                  <a:lnTo>
                    <a:pt x="348" y="167"/>
                  </a:lnTo>
                  <a:lnTo>
                    <a:pt x="345" y="160"/>
                  </a:lnTo>
                  <a:lnTo>
                    <a:pt x="341" y="156"/>
                  </a:lnTo>
                  <a:lnTo>
                    <a:pt x="336" y="160"/>
                  </a:lnTo>
                  <a:lnTo>
                    <a:pt x="329" y="161"/>
                  </a:lnTo>
                  <a:lnTo>
                    <a:pt x="323" y="156"/>
                  </a:lnTo>
                  <a:lnTo>
                    <a:pt x="321" y="151"/>
                  </a:lnTo>
                  <a:lnTo>
                    <a:pt x="313" y="146"/>
                  </a:lnTo>
                  <a:lnTo>
                    <a:pt x="303" y="137"/>
                  </a:lnTo>
                  <a:lnTo>
                    <a:pt x="300" y="137"/>
                  </a:lnTo>
                  <a:lnTo>
                    <a:pt x="296" y="133"/>
                  </a:lnTo>
                  <a:lnTo>
                    <a:pt x="290" y="127"/>
                  </a:lnTo>
                  <a:lnTo>
                    <a:pt x="286" y="123"/>
                  </a:lnTo>
                  <a:lnTo>
                    <a:pt x="280" y="114"/>
                  </a:lnTo>
                  <a:lnTo>
                    <a:pt x="275" y="107"/>
                  </a:lnTo>
                  <a:lnTo>
                    <a:pt x="273" y="101"/>
                  </a:lnTo>
                  <a:lnTo>
                    <a:pt x="289" y="87"/>
                  </a:lnTo>
                  <a:lnTo>
                    <a:pt x="285" y="80"/>
                  </a:lnTo>
                  <a:lnTo>
                    <a:pt x="296" y="73"/>
                  </a:lnTo>
                  <a:lnTo>
                    <a:pt x="295" y="68"/>
                  </a:lnTo>
                  <a:lnTo>
                    <a:pt x="290" y="63"/>
                  </a:lnTo>
                  <a:lnTo>
                    <a:pt x="295" y="60"/>
                  </a:lnTo>
                  <a:lnTo>
                    <a:pt x="279" y="30"/>
                  </a:lnTo>
                  <a:lnTo>
                    <a:pt x="319" y="0"/>
                  </a:lnTo>
                  <a:lnTo>
                    <a:pt x="342" y="31"/>
                  </a:lnTo>
                  <a:lnTo>
                    <a:pt x="359" y="18"/>
                  </a:lnTo>
                  <a:lnTo>
                    <a:pt x="369" y="31"/>
                  </a:lnTo>
                  <a:lnTo>
                    <a:pt x="378" y="40"/>
                  </a:lnTo>
                  <a:lnTo>
                    <a:pt x="396" y="25"/>
                  </a:lnTo>
                  <a:lnTo>
                    <a:pt x="408" y="38"/>
                  </a:lnTo>
                  <a:lnTo>
                    <a:pt x="427" y="57"/>
                  </a:lnTo>
                  <a:lnTo>
                    <a:pt x="408" y="74"/>
                  </a:lnTo>
                  <a:lnTo>
                    <a:pt x="432" y="100"/>
                  </a:lnTo>
                  <a:lnTo>
                    <a:pt x="448" y="86"/>
                  </a:lnTo>
                  <a:lnTo>
                    <a:pt x="507" y="156"/>
                  </a:lnTo>
                  <a:lnTo>
                    <a:pt x="527" y="141"/>
                  </a:lnTo>
                  <a:lnTo>
                    <a:pt x="534" y="150"/>
                  </a:lnTo>
                  <a:lnTo>
                    <a:pt x="553" y="134"/>
                  </a:lnTo>
                  <a:lnTo>
                    <a:pt x="578" y="169"/>
                  </a:lnTo>
                  <a:lnTo>
                    <a:pt x="593" y="157"/>
                  </a:lnTo>
                  <a:lnTo>
                    <a:pt x="620" y="187"/>
                  </a:lnTo>
                  <a:lnTo>
                    <a:pt x="631" y="179"/>
                  </a:lnTo>
                  <a:lnTo>
                    <a:pt x="628" y="176"/>
                  </a:lnTo>
                  <a:lnTo>
                    <a:pt x="647" y="160"/>
                  </a:lnTo>
                  <a:lnTo>
                    <a:pt x="654" y="169"/>
                  </a:lnTo>
                  <a:lnTo>
                    <a:pt x="661" y="159"/>
                  </a:lnTo>
                  <a:lnTo>
                    <a:pt x="671" y="159"/>
                  </a:lnTo>
                  <a:lnTo>
                    <a:pt x="696" y="186"/>
                  </a:lnTo>
                  <a:lnTo>
                    <a:pt x="699" y="183"/>
                  </a:lnTo>
                  <a:lnTo>
                    <a:pt x="800" y="262"/>
                  </a:lnTo>
                  <a:lnTo>
                    <a:pt x="806" y="257"/>
                  </a:lnTo>
                  <a:lnTo>
                    <a:pt x="820" y="265"/>
                  </a:lnTo>
                  <a:lnTo>
                    <a:pt x="840" y="257"/>
                  </a:lnTo>
                  <a:lnTo>
                    <a:pt x="842" y="259"/>
                  </a:lnTo>
                  <a:lnTo>
                    <a:pt x="848" y="260"/>
                  </a:lnTo>
                  <a:lnTo>
                    <a:pt x="848" y="260"/>
                  </a:lnTo>
                  <a:close/>
                  <a:moveTo>
                    <a:pt x="882" y="227"/>
                  </a:moveTo>
                  <a:lnTo>
                    <a:pt x="860" y="252"/>
                  </a:lnTo>
                  <a:lnTo>
                    <a:pt x="860" y="242"/>
                  </a:lnTo>
                  <a:lnTo>
                    <a:pt x="865" y="236"/>
                  </a:lnTo>
                  <a:lnTo>
                    <a:pt x="873" y="230"/>
                  </a:lnTo>
                  <a:lnTo>
                    <a:pt x="878" y="229"/>
                  </a:lnTo>
                  <a:lnTo>
                    <a:pt x="882" y="22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61" name="Freeform 109"/>
            <p:cNvSpPr>
              <a:spLocks/>
            </p:cNvSpPr>
            <p:nvPr/>
          </p:nvSpPr>
          <p:spPr bwMode="auto">
            <a:xfrm>
              <a:off x="3137150" y="3817380"/>
              <a:ext cx="260103" cy="277810"/>
            </a:xfrm>
            <a:custGeom>
              <a:avLst/>
              <a:gdLst>
                <a:gd name="T0" fmla="*/ 169 w 427"/>
                <a:gd name="T1" fmla="*/ 291 h 420"/>
                <a:gd name="T2" fmla="*/ 133 w 427"/>
                <a:gd name="T3" fmla="*/ 300 h 420"/>
                <a:gd name="T4" fmla="*/ 110 w 427"/>
                <a:gd name="T5" fmla="*/ 304 h 420"/>
                <a:gd name="T6" fmla="*/ 124 w 427"/>
                <a:gd name="T7" fmla="*/ 330 h 420"/>
                <a:gd name="T8" fmla="*/ 112 w 427"/>
                <a:gd name="T9" fmla="*/ 330 h 420"/>
                <a:gd name="T10" fmla="*/ 91 w 427"/>
                <a:gd name="T11" fmla="*/ 340 h 420"/>
                <a:gd name="T12" fmla="*/ 70 w 427"/>
                <a:gd name="T13" fmla="*/ 308 h 420"/>
                <a:gd name="T14" fmla="*/ 21 w 427"/>
                <a:gd name="T15" fmla="*/ 305 h 420"/>
                <a:gd name="T16" fmla="*/ 16 w 427"/>
                <a:gd name="T17" fmla="*/ 291 h 420"/>
                <a:gd name="T18" fmla="*/ 24 w 427"/>
                <a:gd name="T19" fmla="*/ 252 h 420"/>
                <a:gd name="T20" fmla="*/ 26 w 427"/>
                <a:gd name="T21" fmla="*/ 242 h 420"/>
                <a:gd name="T22" fmla="*/ 36 w 427"/>
                <a:gd name="T23" fmla="*/ 224 h 420"/>
                <a:gd name="T24" fmla="*/ 37 w 427"/>
                <a:gd name="T25" fmla="*/ 205 h 420"/>
                <a:gd name="T26" fmla="*/ 50 w 427"/>
                <a:gd name="T27" fmla="*/ 181 h 420"/>
                <a:gd name="T28" fmla="*/ 74 w 427"/>
                <a:gd name="T29" fmla="*/ 186 h 420"/>
                <a:gd name="T30" fmla="*/ 103 w 427"/>
                <a:gd name="T31" fmla="*/ 173 h 420"/>
                <a:gd name="T32" fmla="*/ 103 w 427"/>
                <a:gd name="T33" fmla="*/ 146 h 420"/>
                <a:gd name="T34" fmla="*/ 123 w 427"/>
                <a:gd name="T35" fmla="*/ 109 h 420"/>
                <a:gd name="T36" fmla="*/ 134 w 427"/>
                <a:gd name="T37" fmla="*/ 88 h 420"/>
                <a:gd name="T38" fmla="*/ 169 w 427"/>
                <a:gd name="T39" fmla="*/ 93 h 420"/>
                <a:gd name="T40" fmla="*/ 197 w 427"/>
                <a:gd name="T41" fmla="*/ 99 h 420"/>
                <a:gd name="T42" fmla="*/ 223 w 427"/>
                <a:gd name="T43" fmla="*/ 85 h 420"/>
                <a:gd name="T44" fmla="*/ 240 w 427"/>
                <a:gd name="T45" fmla="*/ 60 h 420"/>
                <a:gd name="T46" fmla="*/ 259 w 427"/>
                <a:gd name="T47" fmla="*/ 40 h 420"/>
                <a:gd name="T48" fmla="*/ 255 w 427"/>
                <a:gd name="T49" fmla="*/ 20 h 420"/>
                <a:gd name="T50" fmla="*/ 286 w 427"/>
                <a:gd name="T51" fmla="*/ 9 h 420"/>
                <a:gd name="T52" fmla="*/ 329 w 427"/>
                <a:gd name="T53" fmla="*/ 10 h 420"/>
                <a:gd name="T54" fmla="*/ 355 w 427"/>
                <a:gd name="T55" fmla="*/ 57 h 420"/>
                <a:gd name="T56" fmla="*/ 376 w 427"/>
                <a:gd name="T57" fmla="*/ 50 h 420"/>
                <a:gd name="T58" fmla="*/ 389 w 427"/>
                <a:gd name="T59" fmla="*/ 73 h 420"/>
                <a:gd name="T60" fmla="*/ 415 w 427"/>
                <a:gd name="T61" fmla="*/ 95 h 420"/>
                <a:gd name="T62" fmla="*/ 415 w 427"/>
                <a:gd name="T63" fmla="*/ 123 h 420"/>
                <a:gd name="T64" fmla="*/ 402 w 427"/>
                <a:gd name="T65" fmla="*/ 161 h 420"/>
                <a:gd name="T66" fmla="*/ 389 w 427"/>
                <a:gd name="T67" fmla="*/ 196 h 420"/>
                <a:gd name="T68" fmla="*/ 359 w 427"/>
                <a:gd name="T69" fmla="*/ 218 h 420"/>
                <a:gd name="T70" fmla="*/ 349 w 427"/>
                <a:gd name="T71" fmla="*/ 248 h 420"/>
                <a:gd name="T72" fmla="*/ 336 w 427"/>
                <a:gd name="T73" fmla="*/ 275 h 420"/>
                <a:gd name="T74" fmla="*/ 321 w 427"/>
                <a:gd name="T75" fmla="*/ 307 h 420"/>
                <a:gd name="T76" fmla="*/ 295 w 427"/>
                <a:gd name="T77" fmla="*/ 311 h 420"/>
                <a:gd name="T78" fmla="*/ 268 w 427"/>
                <a:gd name="T79" fmla="*/ 322 h 420"/>
                <a:gd name="T80" fmla="*/ 249 w 427"/>
                <a:gd name="T81" fmla="*/ 327 h 420"/>
                <a:gd name="T82" fmla="*/ 250 w 427"/>
                <a:gd name="T83" fmla="*/ 350 h 420"/>
                <a:gd name="T84" fmla="*/ 256 w 427"/>
                <a:gd name="T85" fmla="*/ 381 h 420"/>
                <a:gd name="T86" fmla="*/ 228 w 427"/>
                <a:gd name="T87" fmla="*/ 407 h 420"/>
                <a:gd name="T88" fmla="*/ 186 w 427"/>
                <a:gd name="T89" fmla="*/ 407 h 420"/>
                <a:gd name="T90" fmla="*/ 166 w 427"/>
                <a:gd name="T91" fmla="*/ 418 h 420"/>
                <a:gd name="T92" fmla="*/ 159 w 427"/>
                <a:gd name="T93" fmla="*/ 414 h 420"/>
                <a:gd name="T94" fmla="*/ 146 w 427"/>
                <a:gd name="T95" fmla="*/ 401 h 420"/>
                <a:gd name="T96" fmla="*/ 149 w 427"/>
                <a:gd name="T97" fmla="*/ 390 h 420"/>
                <a:gd name="T98" fmla="*/ 180 w 427"/>
                <a:gd name="T99" fmla="*/ 360 h 420"/>
                <a:gd name="T100" fmla="*/ 169 w 427"/>
                <a:gd name="T101" fmla="*/ 348 h 420"/>
                <a:gd name="T102" fmla="*/ 153 w 427"/>
                <a:gd name="T103" fmla="*/ 364 h 420"/>
                <a:gd name="T104" fmla="*/ 139 w 427"/>
                <a:gd name="T105" fmla="*/ 342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7" h="420">
                  <a:moveTo>
                    <a:pt x="143" y="322"/>
                  </a:moveTo>
                  <a:lnTo>
                    <a:pt x="156" y="311"/>
                  </a:lnTo>
                  <a:lnTo>
                    <a:pt x="167" y="311"/>
                  </a:lnTo>
                  <a:lnTo>
                    <a:pt x="176" y="310"/>
                  </a:lnTo>
                  <a:lnTo>
                    <a:pt x="172" y="297"/>
                  </a:lnTo>
                  <a:lnTo>
                    <a:pt x="169" y="291"/>
                  </a:lnTo>
                  <a:lnTo>
                    <a:pt x="160" y="289"/>
                  </a:lnTo>
                  <a:lnTo>
                    <a:pt x="159" y="298"/>
                  </a:lnTo>
                  <a:lnTo>
                    <a:pt x="152" y="302"/>
                  </a:lnTo>
                  <a:lnTo>
                    <a:pt x="142" y="298"/>
                  </a:lnTo>
                  <a:lnTo>
                    <a:pt x="137" y="298"/>
                  </a:lnTo>
                  <a:lnTo>
                    <a:pt x="133" y="300"/>
                  </a:lnTo>
                  <a:lnTo>
                    <a:pt x="132" y="301"/>
                  </a:lnTo>
                  <a:lnTo>
                    <a:pt x="127" y="301"/>
                  </a:lnTo>
                  <a:lnTo>
                    <a:pt x="119" y="300"/>
                  </a:lnTo>
                  <a:lnTo>
                    <a:pt x="113" y="301"/>
                  </a:lnTo>
                  <a:lnTo>
                    <a:pt x="112" y="302"/>
                  </a:lnTo>
                  <a:lnTo>
                    <a:pt x="110" y="304"/>
                  </a:lnTo>
                  <a:lnTo>
                    <a:pt x="112" y="308"/>
                  </a:lnTo>
                  <a:lnTo>
                    <a:pt x="114" y="312"/>
                  </a:lnTo>
                  <a:lnTo>
                    <a:pt x="119" y="317"/>
                  </a:lnTo>
                  <a:lnTo>
                    <a:pt x="122" y="321"/>
                  </a:lnTo>
                  <a:lnTo>
                    <a:pt x="123" y="327"/>
                  </a:lnTo>
                  <a:lnTo>
                    <a:pt x="124" y="330"/>
                  </a:lnTo>
                  <a:lnTo>
                    <a:pt x="123" y="332"/>
                  </a:lnTo>
                  <a:lnTo>
                    <a:pt x="123" y="337"/>
                  </a:lnTo>
                  <a:lnTo>
                    <a:pt x="119" y="340"/>
                  </a:lnTo>
                  <a:lnTo>
                    <a:pt x="114" y="338"/>
                  </a:lnTo>
                  <a:lnTo>
                    <a:pt x="114" y="330"/>
                  </a:lnTo>
                  <a:lnTo>
                    <a:pt x="112" y="330"/>
                  </a:lnTo>
                  <a:lnTo>
                    <a:pt x="109" y="331"/>
                  </a:lnTo>
                  <a:lnTo>
                    <a:pt x="106" y="334"/>
                  </a:lnTo>
                  <a:lnTo>
                    <a:pt x="103" y="341"/>
                  </a:lnTo>
                  <a:lnTo>
                    <a:pt x="97" y="344"/>
                  </a:lnTo>
                  <a:lnTo>
                    <a:pt x="93" y="342"/>
                  </a:lnTo>
                  <a:lnTo>
                    <a:pt x="91" y="340"/>
                  </a:lnTo>
                  <a:lnTo>
                    <a:pt x="93" y="332"/>
                  </a:lnTo>
                  <a:lnTo>
                    <a:pt x="89" y="330"/>
                  </a:lnTo>
                  <a:lnTo>
                    <a:pt x="81" y="327"/>
                  </a:lnTo>
                  <a:lnTo>
                    <a:pt x="77" y="320"/>
                  </a:lnTo>
                  <a:lnTo>
                    <a:pt x="77" y="310"/>
                  </a:lnTo>
                  <a:lnTo>
                    <a:pt x="70" y="308"/>
                  </a:lnTo>
                  <a:lnTo>
                    <a:pt x="54" y="317"/>
                  </a:lnTo>
                  <a:lnTo>
                    <a:pt x="39" y="315"/>
                  </a:lnTo>
                  <a:lnTo>
                    <a:pt x="39" y="304"/>
                  </a:lnTo>
                  <a:lnTo>
                    <a:pt x="34" y="304"/>
                  </a:lnTo>
                  <a:lnTo>
                    <a:pt x="28" y="304"/>
                  </a:lnTo>
                  <a:lnTo>
                    <a:pt x="21" y="305"/>
                  </a:lnTo>
                  <a:lnTo>
                    <a:pt x="17" y="305"/>
                  </a:lnTo>
                  <a:lnTo>
                    <a:pt x="18" y="304"/>
                  </a:lnTo>
                  <a:lnTo>
                    <a:pt x="18" y="301"/>
                  </a:lnTo>
                  <a:lnTo>
                    <a:pt x="23" y="297"/>
                  </a:lnTo>
                  <a:lnTo>
                    <a:pt x="21" y="292"/>
                  </a:lnTo>
                  <a:lnTo>
                    <a:pt x="16" y="291"/>
                  </a:lnTo>
                  <a:lnTo>
                    <a:pt x="11" y="285"/>
                  </a:lnTo>
                  <a:lnTo>
                    <a:pt x="7" y="281"/>
                  </a:lnTo>
                  <a:lnTo>
                    <a:pt x="0" y="279"/>
                  </a:lnTo>
                  <a:lnTo>
                    <a:pt x="21" y="254"/>
                  </a:lnTo>
                  <a:lnTo>
                    <a:pt x="23" y="252"/>
                  </a:lnTo>
                  <a:lnTo>
                    <a:pt x="24" y="252"/>
                  </a:lnTo>
                  <a:lnTo>
                    <a:pt x="28" y="252"/>
                  </a:lnTo>
                  <a:lnTo>
                    <a:pt x="31" y="252"/>
                  </a:lnTo>
                  <a:lnTo>
                    <a:pt x="36" y="251"/>
                  </a:lnTo>
                  <a:lnTo>
                    <a:pt x="30" y="248"/>
                  </a:lnTo>
                  <a:lnTo>
                    <a:pt x="26" y="245"/>
                  </a:lnTo>
                  <a:lnTo>
                    <a:pt x="26" y="242"/>
                  </a:lnTo>
                  <a:lnTo>
                    <a:pt x="28" y="239"/>
                  </a:lnTo>
                  <a:lnTo>
                    <a:pt x="30" y="239"/>
                  </a:lnTo>
                  <a:lnTo>
                    <a:pt x="34" y="238"/>
                  </a:lnTo>
                  <a:lnTo>
                    <a:pt x="37" y="234"/>
                  </a:lnTo>
                  <a:lnTo>
                    <a:pt x="37" y="228"/>
                  </a:lnTo>
                  <a:lnTo>
                    <a:pt x="36" y="224"/>
                  </a:lnTo>
                  <a:lnTo>
                    <a:pt x="34" y="219"/>
                  </a:lnTo>
                  <a:lnTo>
                    <a:pt x="34" y="215"/>
                  </a:lnTo>
                  <a:lnTo>
                    <a:pt x="37" y="215"/>
                  </a:lnTo>
                  <a:lnTo>
                    <a:pt x="43" y="214"/>
                  </a:lnTo>
                  <a:lnTo>
                    <a:pt x="43" y="209"/>
                  </a:lnTo>
                  <a:lnTo>
                    <a:pt x="37" y="205"/>
                  </a:lnTo>
                  <a:lnTo>
                    <a:pt x="36" y="204"/>
                  </a:lnTo>
                  <a:lnTo>
                    <a:pt x="37" y="198"/>
                  </a:lnTo>
                  <a:lnTo>
                    <a:pt x="41" y="192"/>
                  </a:lnTo>
                  <a:lnTo>
                    <a:pt x="46" y="189"/>
                  </a:lnTo>
                  <a:lnTo>
                    <a:pt x="49" y="183"/>
                  </a:lnTo>
                  <a:lnTo>
                    <a:pt x="50" y="181"/>
                  </a:lnTo>
                  <a:lnTo>
                    <a:pt x="53" y="178"/>
                  </a:lnTo>
                  <a:lnTo>
                    <a:pt x="59" y="173"/>
                  </a:lnTo>
                  <a:lnTo>
                    <a:pt x="63" y="178"/>
                  </a:lnTo>
                  <a:lnTo>
                    <a:pt x="67" y="181"/>
                  </a:lnTo>
                  <a:lnTo>
                    <a:pt x="71" y="186"/>
                  </a:lnTo>
                  <a:lnTo>
                    <a:pt x="74" y="186"/>
                  </a:lnTo>
                  <a:lnTo>
                    <a:pt x="77" y="185"/>
                  </a:lnTo>
                  <a:lnTo>
                    <a:pt x="79" y="179"/>
                  </a:lnTo>
                  <a:lnTo>
                    <a:pt x="84" y="176"/>
                  </a:lnTo>
                  <a:lnTo>
                    <a:pt x="90" y="178"/>
                  </a:lnTo>
                  <a:lnTo>
                    <a:pt x="97" y="175"/>
                  </a:lnTo>
                  <a:lnTo>
                    <a:pt x="103" y="173"/>
                  </a:lnTo>
                  <a:lnTo>
                    <a:pt x="107" y="172"/>
                  </a:lnTo>
                  <a:lnTo>
                    <a:pt x="100" y="166"/>
                  </a:lnTo>
                  <a:lnTo>
                    <a:pt x="97" y="161"/>
                  </a:lnTo>
                  <a:lnTo>
                    <a:pt x="102" y="156"/>
                  </a:lnTo>
                  <a:lnTo>
                    <a:pt x="103" y="153"/>
                  </a:lnTo>
                  <a:lnTo>
                    <a:pt x="103" y="146"/>
                  </a:lnTo>
                  <a:lnTo>
                    <a:pt x="106" y="138"/>
                  </a:lnTo>
                  <a:lnTo>
                    <a:pt x="107" y="133"/>
                  </a:lnTo>
                  <a:lnTo>
                    <a:pt x="117" y="119"/>
                  </a:lnTo>
                  <a:lnTo>
                    <a:pt x="117" y="115"/>
                  </a:lnTo>
                  <a:lnTo>
                    <a:pt x="120" y="112"/>
                  </a:lnTo>
                  <a:lnTo>
                    <a:pt x="123" y="109"/>
                  </a:lnTo>
                  <a:lnTo>
                    <a:pt x="124" y="103"/>
                  </a:lnTo>
                  <a:lnTo>
                    <a:pt x="122" y="100"/>
                  </a:lnTo>
                  <a:lnTo>
                    <a:pt x="120" y="96"/>
                  </a:lnTo>
                  <a:lnTo>
                    <a:pt x="127" y="93"/>
                  </a:lnTo>
                  <a:lnTo>
                    <a:pt x="132" y="89"/>
                  </a:lnTo>
                  <a:lnTo>
                    <a:pt x="134" y="88"/>
                  </a:lnTo>
                  <a:lnTo>
                    <a:pt x="137" y="82"/>
                  </a:lnTo>
                  <a:lnTo>
                    <a:pt x="146" y="78"/>
                  </a:lnTo>
                  <a:lnTo>
                    <a:pt x="155" y="83"/>
                  </a:lnTo>
                  <a:lnTo>
                    <a:pt x="157" y="85"/>
                  </a:lnTo>
                  <a:lnTo>
                    <a:pt x="162" y="86"/>
                  </a:lnTo>
                  <a:lnTo>
                    <a:pt x="169" y="93"/>
                  </a:lnTo>
                  <a:lnTo>
                    <a:pt x="170" y="99"/>
                  </a:lnTo>
                  <a:lnTo>
                    <a:pt x="175" y="103"/>
                  </a:lnTo>
                  <a:lnTo>
                    <a:pt x="179" y="98"/>
                  </a:lnTo>
                  <a:lnTo>
                    <a:pt x="185" y="98"/>
                  </a:lnTo>
                  <a:lnTo>
                    <a:pt x="190" y="99"/>
                  </a:lnTo>
                  <a:lnTo>
                    <a:pt x="197" y="99"/>
                  </a:lnTo>
                  <a:lnTo>
                    <a:pt x="202" y="95"/>
                  </a:lnTo>
                  <a:lnTo>
                    <a:pt x="209" y="95"/>
                  </a:lnTo>
                  <a:lnTo>
                    <a:pt x="212" y="95"/>
                  </a:lnTo>
                  <a:lnTo>
                    <a:pt x="215" y="93"/>
                  </a:lnTo>
                  <a:lnTo>
                    <a:pt x="219" y="89"/>
                  </a:lnTo>
                  <a:lnTo>
                    <a:pt x="223" y="85"/>
                  </a:lnTo>
                  <a:lnTo>
                    <a:pt x="229" y="82"/>
                  </a:lnTo>
                  <a:lnTo>
                    <a:pt x="235" y="78"/>
                  </a:lnTo>
                  <a:lnTo>
                    <a:pt x="236" y="73"/>
                  </a:lnTo>
                  <a:lnTo>
                    <a:pt x="236" y="67"/>
                  </a:lnTo>
                  <a:lnTo>
                    <a:pt x="235" y="65"/>
                  </a:lnTo>
                  <a:lnTo>
                    <a:pt x="240" y="60"/>
                  </a:lnTo>
                  <a:lnTo>
                    <a:pt x="248" y="59"/>
                  </a:lnTo>
                  <a:lnTo>
                    <a:pt x="255" y="60"/>
                  </a:lnTo>
                  <a:lnTo>
                    <a:pt x="258" y="59"/>
                  </a:lnTo>
                  <a:lnTo>
                    <a:pt x="256" y="55"/>
                  </a:lnTo>
                  <a:lnTo>
                    <a:pt x="255" y="43"/>
                  </a:lnTo>
                  <a:lnTo>
                    <a:pt x="259" y="40"/>
                  </a:lnTo>
                  <a:lnTo>
                    <a:pt x="263" y="35"/>
                  </a:lnTo>
                  <a:lnTo>
                    <a:pt x="265" y="32"/>
                  </a:lnTo>
                  <a:lnTo>
                    <a:pt x="263" y="27"/>
                  </a:lnTo>
                  <a:lnTo>
                    <a:pt x="258" y="26"/>
                  </a:lnTo>
                  <a:lnTo>
                    <a:pt x="253" y="23"/>
                  </a:lnTo>
                  <a:lnTo>
                    <a:pt x="255" y="20"/>
                  </a:lnTo>
                  <a:lnTo>
                    <a:pt x="260" y="20"/>
                  </a:lnTo>
                  <a:lnTo>
                    <a:pt x="265" y="19"/>
                  </a:lnTo>
                  <a:lnTo>
                    <a:pt x="268" y="16"/>
                  </a:lnTo>
                  <a:lnTo>
                    <a:pt x="269" y="10"/>
                  </a:lnTo>
                  <a:lnTo>
                    <a:pt x="273" y="10"/>
                  </a:lnTo>
                  <a:lnTo>
                    <a:pt x="286" y="9"/>
                  </a:lnTo>
                  <a:lnTo>
                    <a:pt x="289" y="6"/>
                  </a:lnTo>
                  <a:lnTo>
                    <a:pt x="301" y="2"/>
                  </a:lnTo>
                  <a:lnTo>
                    <a:pt x="309" y="0"/>
                  </a:lnTo>
                  <a:lnTo>
                    <a:pt x="315" y="4"/>
                  </a:lnTo>
                  <a:lnTo>
                    <a:pt x="321" y="4"/>
                  </a:lnTo>
                  <a:lnTo>
                    <a:pt x="329" y="10"/>
                  </a:lnTo>
                  <a:lnTo>
                    <a:pt x="331" y="17"/>
                  </a:lnTo>
                  <a:lnTo>
                    <a:pt x="332" y="25"/>
                  </a:lnTo>
                  <a:lnTo>
                    <a:pt x="339" y="33"/>
                  </a:lnTo>
                  <a:lnTo>
                    <a:pt x="348" y="47"/>
                  </a:lnTo>
                  <a:lnTo>
                    <a:pt x="352" y="52"/>
                  </a:lnTo>
                  <a:lnTo>
                    <a:pt x="355" y="57"/>
                  </a:lnTo>
                  <a:lnTo>
                    <a:pt x="358" y="60"/>
                  </a:lnTo>
                  <a:lnTo>
                    <a:pt x="359" y="62"/>
                  </a:lnTo>
                  <a:lnTo>
                    <a:pt x="362" y="60"/>
                  </a:lnTo>
                  <a:lnTo>
                    <a:pt x="366" y="56"/>
                  </a:lnTo>
                  <a:lnTo>
                    <a:pt x="371" y="53"/>
                  </a:lnTo>
                  <a:lnTo>
                    <a:pt x="376" y="50"/>
                  </a:lnTo>
                  <a:lnTo>
                    <a:pt x="381" y="50"/>
                  </a:lnTo>
                  <a:lnTo>
                    <a:pt x="388" y="53"/>
                  </a:lnTo>
                  <a:lnTo>
                    <a:pt x="395" y="60"/>
                  </a:lnTo>
                  <a:lnTo>
                    <a:pt x="397" y="65"/>
                  </a:lnTo>
                  <a:lnTo>
                    <a:pt x="395" y="70"/>
                  </a:lnTo>
                  <a:lnTo>
                    <a:pt x="389" y="73"/>
                  </a:lnTo>
                  <a:lnTo>
                    <a:pt x="388" y="78"/>
                  </a:lnTo>
                  <a:lnTo>
                    <a:pt x="394" y="89"/>
                  </a:lnTo>
                  <a:lnTo>
                    <a:pt x="399" y="89"/>
                  </a:lnTo>
                  <a:lnTo>
                    <a:pt x="407" y="92"/>
                  </a:lnTo>
                  <a:lnTo>
                    <a:pt x="412" y="93"/>
                  </a:lnTo>
                  <a:lnTo>
                    <a:pt x="415" y="95"/>
                  </a:lnTo>
                  <a:lnTo>
                    <a:pt x="419" y="95"/>
                  </a:lnTo>
                  <a:lnTo>
                    <a:pt x="427" y="103"/>
                  </a:lnTo>
                  <a:lnTo>
                    <a:pt x="421" y="109"/>
                  </a:lnTo>
                  <a:lnTo>
                    <a:pt x="418" y="115"/>
                  </a:lnTo>
                  <a:lnTo>
                    <a:pt x="415" y="119"/>
                  </a:lnTo>
                  <a:lnTo>
                    <a:pt x="415" y="123"/>
                  </a:lnTo>
                  <a:lnTo>
                    <a:pt x="409" y="129"/>
                  </a:lnTo>
                  <a:lnTo>
                    <a:pt x="407" y="133"/>
                  </a:lnTo>
                  <a:lnTo>
                    <a:pt x="404" y="139"/>
                  </a:lnTo>
                  <a:lnTo>
                    <a:pt x="402" y="145"/>
                  </a:lnTo>
                  <a:lnTo>
                    <a:pt x="404" y="153"/>
                  </a:lnTo>
                  <a:lnTo>
                    <a:pt x="402" y="161"/>
                  </a:lnTo>
                  <a:lnTo>
                    <a:pt x="402" y="168"/>
                  </a:lnTo>
                  <a:lnTo>
                    <a:pt x="401" y="172"/>
                  </a:lnTo>
                  <a:lnTo>
                    <a:pt x="399" y="176"/>
                  </a:lnTo>
                  <a:lnTo>
                    <a:pt x="397" y="179"/>
                  </a:lnTo>
                  <a:lnTo>
                    <a:pt x="392" y="191"/>
                  </a:lnTo>
                  <a:lnTo>
                    <a:pt x="389" y="196"/>
                  </a:lnTo>
                  <a:lnTo>
                    <a:pt x="384" y="199"/>
                  </a:lnTo>
                  <a:lnTo>
                    <a:pt x="379" y="208"/>
                  </a:lnTo>
                  <a:lnTo>
                    <a:pt x="372" y="214"/>
                  </a:lnTo>
                  <a:lnTo>
                    <a:pt x="366" y="216"/>
                  </a:lnTo>
                  <a:lnTo>
                    <a:pt x="362" y="215"/>
                  </a:lnTo>
                  <a:lnTo>
                    <a:pt x="359" y="218"/>
                  </a:lnTo>
                  <a:lnTo>
                    <a:pt x="358" y="224"/>
                  </a:lnTo>
                  <a:lnTo>
                    <a:pt x="355" y="226"/>
                  </a:lnTo>
                  <a:lnTo>
                    <a:pt x="346" y="225"/>
                  </a:lnTo>
                  <a:lnTo>
                    <a:pt x="345" y="239"/>
                  </a:lnTo>
                  <a:lnTo>
                    <a:pt x="352" y="242"/>
                  </a:lnTo>
                  <a:lnTo>
                    <a:pt x="349" y="248"/>
                  </a:lnTo>
                  <a:lnTo>
                    <a:pt x="348" y="259"/>
                  </a:lnTo>
                  <a:lnTo>
                    <a:pt x="338" y="259"/>
                  </a:lnTo>
                  <a:lnTo>
                    <a:pt x="332" y="262"/>
                  </a:lnTo>
                  <a:lnTo>
                    <a:pt x="332" y="267"/>
                  </a:lnTo>
                  <a:lnTo>
                    <a:pt x="334" y="271"/>
                  </a:lnTo>
                  <a:lnTo>
                    <a:pt x="336" y="275"/>
                  </a:lnTo>
                  <a:lnTo>
                    <a:pt x="332" y="284"/>
                  </a:lnTo>
                  <a:lnTo>
                    <a:pt x="326" y="292"/>
                  </a:lnTo>
                  <a:lnTo>
                    <a:pt x="321" y="297"/>
                  </a:lnTo>
                  <a:lnTo>
                    <a:pt x="319" y="300"/>
                  </a:lnTo>
                  <a:lnTo>
                    <a:pt x="319" y="304"/>
                  </a:lnTo>
                  <a:lnTo>
                    <a:pt x="321" y="307"/>
                  </a:lnTo>
                  <a:lnTo>
                    <a:pt x="321" y="311"/>
                  </a:lnTo>
                  <a:lnTo>
                    <a:pt x="319" y="315"/>
                  </a:lnTo>
                  <a:lnTo>
                    <a:pt x="313" y="318"/>
                  </a:lnTo>
                  <a:lnTo>
                    <a:pt x="306" y="314"/>
                  </a:lnTo>
                  <a:lnTo>
                    <a:pt x="301" y="312"/>
                  </a:lnTo>
                  <a:lnTo>
                    <a:pt x="295" y="311"/>
                  </a:lnTo>
                  <a:lnTo>
                    <a:pt x="291" y="312"/>
                  </a:lnTo>
                  <a:lnTo>
                    <a:pt x="288" y="315"/>
                  </a:lnTo>
                  <a:lnTo>
                    <a:pt x="282" y="322"/>
                  </a:lnTo>
                  <a:lnTo>
                    <a:pt x="276" y="322"/>
                  </a:lnTo>
                  <a:lnTo>
                    <a:pt x="272" y="322"/>
                  </a:lnTo>
                  <a:lnTo>
                    <a:pt x="268" y="322"/>
                  </a:lnTo>
                  <a:lnTo>
                    <a:pt x="265" y="315"/>
                  </a:lnTo>
                  <a:lnTo>
                    <a:pt x="260" y="314"/>
                  </a:lnTo>
                  <a:lnTo>
                    <a:pt x="253" y="314"/>
                  </a:lnTo>
                  <a:lnTo>
                    <a:pt x="253" y="317"/>
                  </a:lnTo>
                  <a:lnTo>
                    <a:pt x="250" y="320"/>
                  </a:lnTo>
                  <a:lnTo>
                    <a:pt x="249" y="327"/>
                  </a:lnTo>
                  <a:lnTo>
                    <a:pt x="245" y="331"/>
                  </a:lnTo>
                  <a:lnTo>
                    <a:pt x="248" y="334"/>
                  </a:lnTo>
                  <a:lnTo>
                    <a:pt x="250" y="340"/>
                  </a:lnTo>
                  <a:lnTo>
                    <a:pt x="252" y="341"/>
                  </a:lnTo>
                  <a:lnTo>
                    <a:pt x="252" y="345"/>
                  </a:lnTo>
                  <a:lnTo>
                    <a:pt x="250" y="350"/>
                  </a:lnTo>
                  <a:lnTo>
                    <a:pt x="252" y="358"/>
                  </a:lnTo>
                  <a:lnTo>
                    <a:pt x="255" y="363"/>
                  </a:lnTo>
                  <a:lnTo>
                    <a:pt x="252" y="365"/>
                  </a:lnTo>
                  <a:lnTo>
                    <a:pt x="250" y="371"/>
                  </a:lnTo>
                  <a:lnTo>
                    <a:pt x="250" y="374"/>
                  </a:lnTo>
                  <a:lnTo>
                    <a:pt x="256" y="381"/>
                  </a:lnTo>
                  <a:lnTo>
                    <a:pt x="253" y="387"/>
                  </a:lnTo>
                  <a:lnTo>
                    <a:pt x="252" y="393"/>
                  </a:lnTo>
                  <a:lnTo>
                    <a:pt x="249" y="394"/>
                  </a:lnTo>
                  <a:lnTo>
                    <a:pt x="243" y="398"/>
                  </a:lnTo>
                  <a:lnTo>
                    <a:pt x="232" y="401"/>
                  </a:lnTo>
                  <a:lnTo>
                    <a:pt x="228" y="407"/>
                  </a:lnTo>
                  <a:lnTo>
                    <a:pt x="218" y="403"/>
                  </a:lnTo>
                  <a:lnTo>
                    <a:pt x="206" y="407"/>
                  </a:lnTo>
                  <a:lnTo>
                    <a:pt x="197" y="410"/>
                  </a:lnTo>
                  <a:lnTo>
                    <a:pt x="189" y="407"/>
                  </a:lnTo>
                  <a:lnTo>
                    <a:pt x="189" y="407"/>
                  </a:lnTo>
                  <a:lnTo>
                    <a:pt x="186" y="407"/>
                  </a:lnTo>
                  <a:lnTo>
                    <a:pt x="183" y="408"/>
                  </a:lnTo>
                  <a:lnTo>
                    <a:pt x="179" y="407"/>
                  </a:lnTo>
                  <a:lnTo>
                    <a:pt x="179" y="407"/>
                  </a:lnTo>
                  <a:lnTo>
                    <a:pt x="175" y="408"/>
                  </a:lnTo>
                  <a:lnTo>
                    <a:pt x="170" y="411"/>
                  </a:lnTo>
                  <a:lnTo>
                    <a:pt x="166" y="418"/>
                  </a:lnTo>
                  <a:lnTo>
                    <a:pt x="166" y="418"/>
                  </a:lnTo>
                  <a:lnTo>
                    <a:pt x="165" y="420"/>
                  </a:lnTo>
                  <a:lnTo>
                    <a:pt x="165" y="420"/>
                  </a:lnTo>
                  <a:lnTo>
                    <a:pt x="163" y="420"/>
                  </a:lnTo>
                  <a:lnTo>
                    <a:pt x="162" y="417"/>
                  </a:lnTo>
                  <a:lnTo>
                    <a:pt x="159" y="414"/>
                  </a:lnTo>
                  <a:lnTo>
                    <a:pt x="159" y="414"/>
                  </a:lnTo>
                  <a:lnTo>
                    <a:pt x="155" y="410"/>
                  </a:lnTo>
                  <a:lnTo>
                    <a:pt x="152" y="404"/>
                  </a:lnTo>
                  <a:lnTo>
                    <a:pt x="152" y="404"/>
                  </a:lnTo>
                  <a:lnTo>
                    <a:pt x="149" y="403"/>
                  </a:lnTo>
                  <a:lnTo>
                    <a:pt x="146" y="401"/>
                  </a:lnTo>
                  <a:lnTo>
                    <a:pt x="139" y="400"/>
                  </a:lnTo>
                  <a:lnTo>
                    <a:pt x="139" y="400"/>
                  </a:lnTo>
                  <a:lnTo>
                    <a:pt x="133" y="398"/>
                  </a:lnTo>
                  <a:lnTo>
                    <a:pt x="130" y="395"/>
                  </a:lnTo>
                  <a:lnTo>
                    <a:pt x="146" y="388"/>
                  </a:lnTo>
                  <a:lnTo>
                    <a:pt x="149" y="390"/>
                  </a:lnTo>
                  <a:lnTo>
                    <a:pt x="157" y="384"/>
                  </a:lnTo>
                  <a:lnTo>
                    <a:pt x="155" y="381"/>
                  </a:lnTo>
                  <a:lnTo>
                    <a:pt x="172" y="370"/>
                  </a:lnTo>
                  <a:lnTo>
                    <a:pt x="176" y="370"/>
                  </a:lnTo>
                  <a:lnTo>
                    <a:pt x="179" y="368"/>
                  </a:lnTo>
                  <a:lnTo>
                    <a:pt x="180" y="360"/>
                  </a:lnTo>
                  <a:lnTo>
                    <a:pt x="176" y="354"/>
                  </a:lnTo>
                  <a:lnTo>
                    <a:pt x="177" y="352"/>
                  </a:lnTo>
                  <a:lnTo>
                    <a:pt x="176" y="352"/>
                  </a:lnTo>
                  <a:lnTo>
                    <a:pt x="173" y="351"/>
                  </a:lnTo>
                  <a:lnTo>
                    <a:pt x="170" y="351"/>
                  </a:lnTo>
                  <a:lnTo>
                    <a:pt x="169" y="348"/>
                  </a:lnTo>
                  <a:lnTo>
                    <a:pt x="167" y="345"/>
                  </a:lnTo>
                  <a:lnTo>
                    <a:pt x="162" y="344"/>
                  </a:lnTo>
                  <a:lnTo>
                    <a:pt x="160" y="347"/>
                  </a:lnTo>
                  <a:lnTo>
                    <a:pt x="157" y="351"/>
                  </a:lnTo>
                  <a:lnTo>
                    <a:pt x="156" y="358"/>
                  </a:lnTo>
                  <a:lnTo>
                    <a:pt x="153" y="364"/>
                  </a:lnTo>
                  <a:lnTo>
                    <a:pt x="147" y="365"/>
                  </a:lnTo>
                  <a:lnTo>
                    <a:pt x="146" y="364"/>
                  </a:lnTo>
                  <a:lnTo>
                    <a:pt x="143" y="360"/>
                  </a:lnTo>
                  <a:lnTo>
                    <a:pt x="142" y="354"/>
                  </a:lnTo>
                  <a:lnTo>
                    <a:pt x="140" y="348"/>
                  </a:lnTo>
                  <a:lnTo>
                    <a:pt x="139" y="342"/>
                  </a:lnTo>
                  <a:lnTo>
                    <a:pt x="139" y="335"/>
                  </a:lnTo>
                  <a:lnTo>
                    <a:pt x="140" y="328"/>
                  </a:lnTo>
                  <a:lnTo>
                    <a:pt x="143" y="32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62" name="Freeform 110"/>
            <p:cNvSpPr>
              <a:spLocks/>
            </p:cNvSpPr>
            <p:nvPr/>
          </p:nvSpPr>
          <p:spPr bwMode="auto">
            <a:xfrm>
              <a:off x="2717077" y="3875588"/>
              <a:ext cx="269872" cy="239446"/>
            </a:xfrm>
            <a:custGeom>
              <a:avLst/>
              <a:gdLst>
                <a:gd name="T0" fmla="*/ 338 w 441"/>
                <a:gd name="T1" fmla="*/ 124 h 362"/>
                <a:gd name="T2" fmla="*/ 333 w 441"/>
                <a:gd name="T3" fmla="*/ 116 h 362"/>
                <a:gd name="T4" fmla="*/ 325 w 441"/>
                <a:gd name="T5" fmla="*/ 116 h 362"/>
                <a:gd name="T6" fmla="*/ 321 w 441"/>
                <a:gd name="T7" fmla="*/ 107 h 362"/>
                <a:gd name="T8" fmla="*/ 317 w 441"/>
                <a:gd name="T9" fmla="*/ 117 h 362"/>
                <a:gd name="T10" fmla="*/ 311 w 441"/>
                <a:gd name="T11" fmla="*/ 111 h 362"/>
                <a:gd name="T12" fmla="*/ 313 w 441"/>
                <a:gd name="T13" fmla="*/ 97 h 362"/>
                <a:gd name="T14" fmla="*/ 278 w 441"/>
                <a:gd name="T15" fmla="*/ 104 h 362"/>
                <a:gd name="T16" fmla="*/ 257 w 441"/>
                <a:gd name="T17" fmla="*/ 87 h 362"/>
                <a:gd name="T18" fmla="*/ 264 w 441"/>
                <a:gd name="T19" fmla="*/ 65 h 362"/>
                <a:gd name="T20" fmla="*/ 260 w 441"/>
                <a:gd name="T21" fmla="*/ 45 h 362"/>
                <a:gd name="T22" fmla="*/ 242 w 441"/>
                <a:gd name="T23" fmla="*/ 44 h 362"/>
                <a:gd name="T24" fmla="*/ 237 w 441"/>
                <a:gd name="T25" fmla="*/ 32 h 362"/>
                <a:gd name="T26" fmla="*/ 224 w 441"/>
                <a:gd name="T27" fmla="*/ 0 h 362"/>
                <a:gd name="T28" fmla="*/ 211 w 441"/>
                <a:gd name="T29" fmla="*/ 15 h 362"/>
                <a:gd name="T30" fmla="*/ 194 w 441"/>
                <a:gd name="T31" fmla="*/ 44 h 362"/>
                <a:gd name="T32" fmla="*/ 169 w 441"/>
                <a:gd name="T33" fmla="*/ 63 h 362"/>
                <a:gd name="T34" fmla="*/ 129 w 441"/>
                <a:gd name="T35" fmla="*/ 41 h 362"/>
                <a:gd name="T36" fmla="*/ 96 w 441"/>
                <a:gd name="T37" fmla="*/ 47 h 362"/>
                <a:gd name="T38" fmla="*/ 88 w 441"/>
                <a:gd name="T39" fmla="*/ 53 h 362"/>
                <a:gd name="T40" fmla="*/ 99 w 441"/>
                <a:gd name="T41" fmla="*/ 78 h 362"/>
                <a:gd name="T42" fmla="*/ 91 w 441"/>
                <a:gd name="T43" fmla="*/ 116 h 362"/>
                <a:gd name="T44" fmla="*/ 81 w 441"/>
                <a:gd name="T45" fmla="*/ 140 h 362"/>
                <a:gd name="T46" fmla="*/ 89 w 441"/>
                <a:gd name="T47" fmla="*/ 157 h 362"/>
                <a:gd name="T48" fmla="*/ 69 w 441"/>
                <a:gd name="T49" fmla="*/ 206 h 362"/>
                <a:gd name="T50" fmla="*/ 56 w 441"/>
                <a:gd name="T51" fmla="*/ 227 h 362"/>
                <a:gd name="T52" fmla="*/ 35 w 441"/>
                <a:gd name="T53" fmla="*/ 243 h 362"/>
                <a:gd name="T54" fmla="*/ 25 w 441"/>
                <a:gd name="T55" fmla="*/ 262 h 362"/>
                <a:gd name="T56" fmla="*/ 2 w 441"/>
                <a:gd name="T57" fmla="*/ 263 h 362"/>
                <a:gd name="T58" fmla="*/ 39 w 441"/>
                <a:gd name="T59" fmla="*/ 325 h 362"/>
                <a:gd name="T60" fmla="*/ 58 w 441"/>
                <a:gd name="T61" fmla="*/ 340 h 362"/>
                <a:gd name="T62" fmla="*/ 88 w 441"/>
                <a:gd name="T63" fmla="*/ 326 h 362"/>
                <a:gd name="T64" fmla="*/ 85 w 441"/>
                <a:gd name="T65" fmla="*/ 349 h 362"/>
                <a:gd name="T66" fmla="*/ 126 w 441"/>
                <a:gd name="T67" fmla="*/ 362 h 362"/>
                <a:gd name="T68" fmla="*/ 156 w 441"/>
                <a:gd name="T69" fmla="*/ 348 h 362"/>
                <a:gd name="T70" fmla="*/ 141 w 441"/>
                <a:gd name="T71" fmla="*/ 328 h 362"/>
                <a:gd name="T72" fmla="*/ 135 w 441"/>
                <a:gd name="T73" fmla="*/ 325 h 362"/>
                <a:gd name="T74" fmla="*/ 158 w 441"/>
                <a:gd name="T75" fmla="*/ 277 h 362"/>
                <a:gd name="T76" fmla="*/ 178 w 441"/>
                <a:gd name="T77" fmla="*/ 260 h 362"/>
                <a:gd name="T78" fmla="*/ 198 w 441"/>
                <a:gd name="T79" fmla="*/ 275 h 362"/>
                <a:gd name="T80" fmla="*/ 217 w 441"/>
                <a:gd name="T81" fmla="*/ 269 h 362"/>
                <a:gd name="T82" fmla="*/ 227 w 441"/>
                <a:gd name="T83" fmla="*/ 262 h 362"/>
                <a:gd name="T84" fmla="*/ 227 w 441"/>
                <a:gd name="T85" fmla="*/ 270 h 362"/>
                <a:gd name="T86" fmla="*/ 234 w 441"/>
                <a:gd name="T87" fmla="*/ 272 h 362"/>
                <a:gd name="T88" fmla="*/ 240 w 441"/>
                <a:gd name="T89" fmla="*/ 266 h 362"/>
                <a:gd name="T90" fmla="*/ 247 w 441"/>
                <a:gd name="T91" fmla="*/ 257 h 362"/>
                <a:gd name="T92" fmla="*/ 258 w 441"/>
                <a:gd name="T93" fmla="*/ 273 h 362"/>
                <a:gd name="T94" fmla="*/ 287 w 441"/>
                <a:gd name="T95" fmla="*/ 279 h 362"/>
                <a:gd name="T96" fmla="*/ 307 w 441"/>
                <a:gd name="T97" fmla="*/ 290 h 362"/>
                <a:gd name="T98" fmla="*/ 338 w 441"/>
                <a:gd name="T99" fmla="*/ 325 h 362"/>
                <a:gd name="T100" fmla="*/ 367 w 441"/>
                <a:gd name="T101" fmla="*/ 329 h 362"/>
                <a:gd name="T102" fmla="*/ 389 w 441"/>
                <a:gd name="T103" fmla="*/ 330 h 362"/>
                <a:gd name="T104" fmla="*/ 409 w 441"/>
                <a:gd name="T105" fmla="*/ 319 h 362"/>
                <a:gd name="T106" fmla="*/ 430 w 441"/>
                <a:gd name="T107" fmla="*/ 303 h 362"/>
                <a:gd name="T108" fmla="*/ 429 w 441"/>
                <a:gd name="T109" fmla="*/ 285 h 362"/>
                <a:gd name="T110" fmla="*/ 427 w 441"/>
                <a:gd name="T111" fmla="*/ 262 h 362"/>
                <a:gd name="T112" fmla="*/ 420 w 441"/>
                <a:gd name="T113" fmla="*/ 234 h 362"/>
                <a:gd name="T114" fmla="*/ 426 w 441"/>
                <a:gd name="T115" fmla="*/ 209 h 362"/>
                <a:gd name="T116" fmla="*/ 429 w 441"/>
                <a:gd name="T117" fmla="*/ 177 h 362"/>
                <a:gd name="T118" fmla="*/ 400 w 441"/>
                <a:gd name="T119" fmla="*/ 173 h 362"/>
                <a:gd name="T120" fmla="*/ 368 w 441"/>
                <a:gd name="T121" fmla="*/ 180 h 362"/>
                <a:gd name="T122" fmla="*/ 341 w 441"/>
                <a:gd name="T123" fmla="*/ 156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41" h="362">
                  <a:moveTo>
                    <a:pt x="338" y="141"/>
                  </a:moveTo>
                  <a:lnTo>
                    <a:pt x="340" y="138"/>
                  </a:lnTo>
                  <a:lnTo>
                    <a:pt x="340" y="138"/>
                  </a:lnTo>
                  <a:lnTo>
                    <a:pt x="340" y="131"/>
                  </a:lnTo>
                  <a:lnTo>
                    <a:pt x="338" y="124"/>
                  </a:lnTo>
                  <a:lnTo>
                    <a:pt x="337" y="120"/>
                  </a:lnTo>
                  <a:lnTo>
                    <a:pt x="337" y="120"/>
                  </a:lnTo>
                  <a:lnTo>
                    <a:pt x="334" y="113"/>
                  </a:lnTo>
                  <a:lnTo>
                    <a:pt x="334" y="114"/>
                  </a:lnTo>
                  <a:lnTo>
                    <a:pt x="333" y="116"/>
                  </a:lnTo>
                  <a:lnTo>
                    <a:pt x="331" y="117"/>
                  </a:lnTo>
                  <a:lnTo>
                    <a:pt x="327" y="117"/>
                  </a:lnTo>
                  <a:lnTo>
                    <a:pt x="327" y="117"/>
                  </a:lnTo>
                  <a:lnTo>
                    <a:pt x="325" y="117"/>
                  </a:lnTo>
                  <a:lnTo>
                    <a:pt x="325" y="116"/>
                  </a:lnTo>
                  <a:lnTo>
                    <a:pt x="324" y="111"/>
                  </a:lnTo>
                  <a:lnTo>
                    <a:pt x="324" y="107"/>
                  </a:lnTo>
                  <a:lnTo>
                    <a:pt x="323" y="107"/>
                  </a:lnTo>
                  <a:lnTo>
                    <a:pt x="321" y="107"/>
                  </a:lnTo>
                  <a:lnTo>
                    <a:pt x="321" y="107"/>
                  </a:lnTo>
                  <a:lnTo>
                    <a:pt x="320" y="108"/>
                  </a:lnTo>
                  <a:lnTo>
                    <a:pt x="320" y="111"/>
                  </a:lnTo>
                  <a:lnTo>
                    <a:pt x="318" y="114"/>
                  </a:lnTo>
                  <a:lnTo>
                    <a:pt x="317" y="117"/>
                  </a:lnTo>
                  <a:lnTo>
                    <a:pt x="317" y="117"/>
                  </a:lnTo>
                  <a:lnTo>
                    <a:pt x="315" y="118"/>
                  </a:lnTo>
                  <a:lnTo>
                    <a:pt x="314" y="120"/>
                  </a:lnTo>
                  <a:lnTo>
                    <a:pt x="313" y="118"/>
                  </a:lnTo>
                  <a:lnTo>
                    <a:pt x="311" y="114"/>
                  </a:lnTo>
                  <a:lnTo>
                    <a:pt x="311" y="111"/>
                  </a:lnTo>
                  <a:lnTo>
                    <a:pt x="311" y="111"/>
                  </a:lnTo>
                  <a:lnTo>
                    <a:pt x="311" y="107"/>
                  </a:lnTo>
                  <a:lnTo>
                    <a:pt x="314" y="104"/>
                  </a:lnTo>
                  <a:lnTo>
                    <a:pt x="315" y="100"/>
                  </a:lnTo>
                  <a:lnTo>
                    <a:pt x="313" y="97"/>
                  </a:lnTo>
                  <a:lnTo>
                    <a:pt x="307" y="94"/>
                  </a:lnTo>
                  <a:lnTo>
                    <a:pt x="303" y="97"/>
                  </a:lnTo>
                  <a:lnTo>
                    <a:pt x="298" y="98"/>
                  </a:lnTo>
                  <a:lnTo>
                    <a:pt x="288" y="106"/>
                  </a:lnTo>
                  <a:lnTo>
                    <a:pt x="278" y="104"/>
                  </a:lnTo>
                  <a:lnTo>
                    <a:pt x="274" y="100"/>
                  </a:lnTo>
                  <a:lnTo>
                    <a:pt x="258" y="94"/>
                  </a:lnTo>
                  <a:lnTo>
                    <a:pt x="254" y="93"/>
                  </a:lnTo>
                  <a:lnTo>
                    <a:pt x="254" y="90"/>
                  </a:lnTo>
                  <a:lnTo>
                    <a:pt x="257" y="87"/>
                  </a:lnTo>
                  <a:lnTo>
                    <a:pt x="257" y="85"/>
                  </a:lnTo>
                  <a:lnTo>
                    <a:pt x="264" y="78"/>
                  </a:lnTo>
                  <a:lnTo>
                    <a:pt x="265" y="78"/>
                  </a:lnTo>
                  <a:lnTo>
                    <a:pt x="271" y="67"/>
                  </a:lnTo>
                  <a:lnTo>
                    <a:pt x="264" y="65"/>
                  </a:lnTo>
                  <a:lnTo>
                    <a:pt x="260" y="61"/>
                  </a:lnTo>
                  <a:lnTo>
                    <a:pt x="258" y="60"/>
                  </a:lnTo>
                  <a:lnTo>
                    <a:pt x="260" y="54"/>
                  </a:lnTo>
                  <a:lnTo>
                    <a:pt x="260" y="48"/>
                  </a:lnTo>
                  <a:lnTo>
                    <a:pt x="260" y="45"/>
                  </a:lnTo>
                  <a:lnTo>
                    <a:pt x="257" y="43"/>
                  </a:lnTo>
                  <a:lnTo>
                    <a:pt x="252" y="41"/>
                  </a:lnTo>
                  <a:lnTo>
                    <a:pt x="251" y="41"/>
                  </a:lnTo>
                  <a:lnTo>
                    <a:pt x="247" y="44"/>
                  </a:lnTo>
                  <a:lnTo>
                    <a:pt x="242" y="44"/>
                  </a:lnTo>
                  <a:lnTo>
                    <a:pt x="240" y="43"/>
                  </a:lnTo>
                  <a:lnTo>
                    <a:pt x="237" y="41"/>
                  </a:lnTo>
                  <a:lnTo>
                    <a:pt x="237" y="38"/>
                  </a:lnTo>
                  <a:lnTo>
                    <a:pt x="237" y="35"/>
                  </a:lnTo>
                  <a:lnTo>
                    <a:pt x="237" y="32"/>
                  </a:lnTo>
                  <a:lnTo>
                    <a:pt x="234" y="27"/>
                  </a:lnTo>
                  <a:lnTo>
                    <a:pt x="228" y="20"/>
                  </a:lnTo>
                  <a:lnTo>
                    <a:pt x="227" y="14"/>
                  </a:lnTo>
                  <a:lnTo>
                    <a:pt x="224" y="5"/>
                  </a:lnTo>
                  <a:lnTo>
                    <a:pt x="224" y="0"/>
                  </a:lnTo>
                  <a:lnTo>
                    <a:pt x="224" y="0"/>
                  </a:lnTo>
                  <a:lnTo>
                    <a:pt x="220" y="1"/>
                  </a:lnTo>
                  <a:lnTo>
                    <a:pt x="217" y="5"/>
                  </a:lnTo>
                  <a:lnTo>
                    <a:pt x="215" y="8"/>
                  </a:lnTo>
                  <a:lnTo>
                    <a:pt x="211" y="15"/>
                  </a:lnTo>
                  <a:lnTo>
                    <a:pt x="207" y="24"/>
                  </a:lnTo>
                  <a:lnTo>
                    <a:pt x="205" y="31"/>
                  </a:lnTo>
                  <a:lnTo>
                    <a:pt x="199" y="34"/>
                  </a:lnTo>
                  <a:lnTo>
                    <a:pt x="195" y="38"/>
                  </a:lnTo>
                  <a:lnTo>
                    <a:pt x="194" y="44"/>
                  </a:lnTo>
                  <a:lnTo>
                    <a:pt x="192" y="48"/>
                  </a:lnTo>
                  <a:lnTo>
                    <a:pt x="188" y="55"/>
                  </a:lnTo>
                  <a:lnTo>
                    <a:pt x="184" y="68"/>
                  </a:lnTo>
                  <a:lnTo>
                    <a:pt x="178" y="67"/>
                  </a:lnTo>
                  <a:lnTo>
                    <a:pt x="169" y="63"/>
                  </a:lnTo>
                  <a:lnTo>
                    <a:pt x="155" y="53"/>
                  </a:lnTo>
                  <a:lnTo>
                    <a:pt x="146" y="48"/>
                  </a:lnTo>
                  <a:lnTo>
                    <a:pt x="135" y="45"/>
                  </a:lnTo>
                  <a:lnTo>
                    <a:pt x="132" y="43"/>
                  </a:lnTo>
                  <a:lnTo>
                    <a:pt x="129" y="41"/>
                  </a:lnTo>
                  <a:lnTo>
                    <a:pt x="124" y="40"/>
                  </a:lnTo>
                  <a:lnTo>
                    <a:pt x="115" y="38"/>
                  </a:lnTo>
                  <a:lnTo>
                    <a:pt x="112" y="40"/>
                  </a:lnTo>
                  <a:lnTo>
                    <a:pt x="101" y="45"/>
                  </a:lnTo>
                  <a:lnTo>
                    <a:pt x="96" y="47"/>
                  </a:lnTo>
                  <a:lnTo>
                    <a:pt x="88" y="45"/>
                  </a:lnTo>
                  <a:lnTo>
                    <a:pt x="83" y="45"/>
                  </a:lnTo>
                  <a:lnTo>
                    <a:pt x="79" y="47"/>
                  </a:lnTo>
                  <a:lnTo>
                    <a:pt x="83" y="50"/>
                  </a:lnTo>
                  <a:lnTo>
                    <a:pt x="88" y="53"/>
                  </a:lnTo>
                  <a:lnTo>
                    <a:pt x="93" y="53"/>
                  </a:lnTo>
                  <a:lnTo>
                    <a:pt x="105" y="57"/>
                  </a:lnTo>
                  <a:lnTo>
                    <a:pt x="105" y="65"/>
                  </a:lnTo>
                  <a:lnTo>
                    <a:pt x="109" y="73"/>
                  </a:lnTo>
                  <a:lnTo>
                    <a:pt x="99" y="78"/>
                  </a:lnTo>
                  <a:lnTo>
                    <a:pt x="93" y="83"/>
                  </a:lnTo>
                  <a:lnTo>
                    <a:pt x="95" y="93"/>
                  </a:lnTo>
                  <a:lnTo>
                    <a:pt x="95" y="106"/>
                  </a:lnTo>
                  <a:lnTo>
                    <a:pt x="93" y="110"/>
                  </a:lnTo>
                  <a:lnTo>
                    <a:pt x="91" y="116"/>
                  </a:lnTo>
                  <a:lnTo>
                    <a:pt x="92" y="118"/>
                  </a:lnTo>
                  <a:lnTo>
                    <a:pt x="91" y="127"/>
                  </a:lnTo>
                  <a:lnTo>
                    <a:pt x="88" y="131"/>
                  </a:lnTo>
                  <a:lnTo>
                    <a:pt x="83" y="134"/>
                  </a:lnTo>
                  <a:lnTo>
                    <a:pt x="81" y="140"/>
                  </a:lnTo>
                  <a:lnTo>
                    <a:pt x="78" y="144"/>
                  </a:lnTo>
                  <a:lnTo>
                    <a:pt x="78" y="150"/>
                  </a:lnTo>
                  <a:lnTo>
                    <a:pt x="81" y="153"/>
                  </a:lnTo>
                  <a:lnTo>
                    <a:pt x="83" y="157"/>
                  </a:lnTo>
                  <a:lnTo>
                    <a:pt x="89" y="157"/>
                  </a:lnTo>
                  <a:lnTo>
                    <a:pt x="89" y="160"/>
                  </a:lnTo>
                  <a:lnTo>
                    <a:pt x="85" y="179"/>
                  </a:lnTo>
                  <a:lnTo>
                    <a:pt x="89" y="184"/>
                  </a:lnTo>
                  <a:lnTo>
                    <a:pt x="89" y="187"/>
                  </a:lnTo>
                  <a:lnTo>
                    <a:pt x="69" y="206"/>
                  </a:lnTo>
                  <a:lnTo>
                    <a:pt x="65" y="206"/>
                  </a:lnTo>
                  <a:lnTo>
                    <a:pt x="63" y="207"/>
                  </a:lnTo>
                  <a:lnTo>
                    <a:pt x="68" y="213"/>
                  </a:lnTo>
                  <a:lnTo>
                    <a:pt x="63" y="223"/>
                  </a:lnTo>
                  <a:lnTo>
                    <a:pt x="56" y="227"/>
                  </a:lnTo>
                  <a:lnTo>
                    <a:pt x="49" y="232"/>
                  </a:lnTo>
                  <a:lnTo>
                    <a:pt x="48" y="236"/>
                  </a:lnTo>
                  <a:lnTo>
                    <a:pt x="45" y="239"/>
                  </a:lnTo>
                  <a:lnTo>
                    <a:pt x="42" y="242"/>
                  </a:lnTo>
                  <a:lnTo>
                    <a:pt x="35" y="243"/>
                  </a:lnTo>
                  <a:lnTo>
                    <a:pt x="35" y="247"/>
                  </a:lnTo>
                  <a:lnTo>
                    <a:pt x="33" y="254"/>
                  </a:lnTo>
                  <a:lnTo>
                    <a:pt x="30" y="257"/>
                  </a:lnTo>
                  <a:lnTo>
                    <a:pt x="28" y="260"/>
                  </a:lnTo>
                  <a:lnTo>
                    <a:pt x="25" y="262"/>
                  </a:lnTo>
                  <a:lnTo>
                    <a:pt x="22" y="260"/>
                  </a:lnTo>
                  <a:lnTo>
                    <a:pt x="16" y="260"/>
                  </a:lnTo>
                  <a:lnTo>
                    <a:pt x="12" y="262"/>
                  </a:lnTo>
                  <a:lnTo>
                    <a:pt x="5" y="260"/>
                  </a:lnTo>
                  <a:lnTo>
                    <a:pt x="2" y="263"/>
                  </a:lnTo>
                  <a:lnTo>
                    <a:pt x="0" y="269"/>
                  </a:lnTo>
                  <a:lnTo>
                    <a:pt x="5" y="275"/>
                  </a:lnTo>
                  <a:lnTo>
                    <a:pt x="15" y="289"/>
                  </a:lnTo>
                  <a:lnTo>
                    <a:pt x="23" y="306"/>
                  </a:lnTo>
                  <a:lnTo>
                    <a:pt x="39" y="325"/>
                  </a:lnTo>
                  <a:lnTo>
                    <a:pt x="42" y="322"/>
                  </a:lnTo>
                  <a:lnTo>
                    <a:pt x="42" y="316"/>
                  </a:lnTo>
                  <a:lnTo>
                    <a:pt x="46" y="315"/>
                  </a:lnTo>
                  <a:lnTo>
                    <a:pt x="53" y="338"/>
                  </a:lnTo>
                  <a:lnTo>
                    <a:pt x="58" y="340"/>
                  </a:lnTo>
                  <a:lnTo>
                    <a:pt x="63" y="332"/>
                  </a:lnTo>
                  <a:lnTo>
                    <a:pt x="69" y="330"/>
                  </a:lnTo>
                  <a:lnTo>
                    <a:pt x="79" y="326"/>
                  </a:lnTo>
                  <a:lnTo>
                    <a:pt x="85" y="323"/>
                  </a:lnTo>
                  <a:lnTo>
                    <a:pt x="88" y="326"/>
                  </a:lnTo>
                  <a:lnTo>
                    <a:pt x="88" y="329"/>
                  </a:lnTo>
                  <a:lnTo>
                    <a:pt x="86" y="332"/>
                  </a:lnTo>
                  <a:lnTo>
                    <a:pt x="82" y="339"/>
                  </a:lnTo>
                  <a:lnTo>
                    <a:pt x="78" y="345"/>
                  </a:lnTo>
                  <a:lnTo>
                    <a:pt x="85" y="349"/>
                  </a:lnTo>
                  <a:lnTo>
                    <a:pt x="102" y="333"/>
                  </a:lnTo>
                  <a:lnTo>
                    <a:pt x="122" y="340"/>
                  </a:lnTo>
                  <a:lnTo>
                    <a:pt x="119" y="362"/>
                  </a:lnTo>
                  <a:lnTo>
                    <a:pt x="119" y="362"/>
                  </a:lnTo>
                  <a:lnTo>
                    <a:pt x="126" y="362"/>
                  </a:lnTo>
                  <a:lnTo>
                    <a:pt x="136" y="359"/>
                  </a:lnTo>
                  <a:lnTo>
                    <a:pt x="146" y="355"/>
                  </a:lnTo>
                  <a:lnTo>
                    <a:pt x="152" y="352"/>
                  </a:lnTo>
                  <a:lnTo>
                    <a:pt x="152" y="352"/>
                  </a:lnTo>
                  <a:lnTo>
                    <a:pt x="156" y="348"/>
                  </a:lnTo>
                  <a:lnTo>
                    <a:pt x="159" y="343"/>
                  </a:lnTo>
                  <a:lnTo>
                    <a:pt x="162" y="338"/>
                  </a:lnTo>
                  <a:lnTo>
                    <a:pt x="161" y="336"/>
                  </a:lnTo>
                  <a:lnTo>
                    <a:pt x="139" y="332"/>
                  </a:lnTo>
                  <a:lnTo>
                    <a:pt x="141" y="328"/>
                  </a:lnTo>
                  <a:lnTo>
                    <a:pt x="148" y="323"/>
                  </a:lnTo>
                  <a:lnTo>
                    <a:pt x="148" y="320"/>
                  </a:lnTo>
                  <a:lnTo>
                    <a:pt x="146" y="319"/>
                  </a:lnTo>
                  <a:lnTo>
                    <a:pt x="144" y="320"/>
                  </a:lnTo>
                  <a:lnTo>
                    <a:pt x="135" y="325"/>
                  </a:lnTo>
                  <a:lnTo>
                    <a:pt x="134" y="316"/>
                  </a:lnTo>
                  <a:lnTo>
                    <a:pt x="152" y="292"/>
                  </a:lnTo>
                  <a:lnTo>
                    <a:pt x="155" y="286"/>
                  </a:lnTo>
                  <a:lnTo>
                    <a:pt x="158" y="282"/>
                  </a:lnTo>
                  <a:lnTo>
                    <a:pt x="158" y="277"/>
                  </a:lnTo>
                  <a:lnTo>
                    <a:pt x="158" y="273"/>
                  </a:lnTo>
                  <a:lnTo>
                    <a:pt x="161" y="264"/>
                  </a:lnTo>
                  <a:lnTo>
                    <a:pt x="165" y="263"/>
                  </a:lnTo>
                  <a:lnTo>
                    <a:pt x="175" y="263"/>
                  </a:lnTo>
                  <a:lnTo>
                    <a:pt x="178" y="260"/>
                  </a:lnTo>
                  <a:lnTo>
                    <a:pt x="185" y="257"/>
                  </a:lnTo>
                  <a:lnTo>
                    <a:pt x="189" y="259"/>
                  </a:lnTo>
                  <a:lnTo>
                    <a:pt x="194" y="263"/>
                  </a:lnTo>
                  <a:lnTo>
                    <a:pt x="195" y="270"/>
                  </a:lnTo>
                  <a:lnTo>
                    <a:pt x="198" y="275"/>
                  </a:lnTo>
                  <a:lnTo>
                    <a:pt x="204" y="277"/>
                  </a:lnTo>
                  <a:lnTo>
                    <a:pt x="209" y="279"/>
                  </a:lnTo>
                  <a:lnTo>
                    <a:pt x="212" y="277"/>
                  </a:lnTo>
                  <a:lnTo>
                    <a:pt x="215" y="270"/>
                  </a:lnTo>
                  <a:lnTo>
                    <a:pt x="217" y="269"/>
                  </a:lnTo>
                  <a:lnTo>
                    <a:pt x="217" y="269"/>
                  </a:lnTo>
                  <a:lnTo>
                    <a:pt x="224" y="260"/>
                  </a:lnTo>
                  <a:lnTo>
                    <a:pt x="224" y="260"/>
                  </a:lnTo>
                  <a:lnTo>
                    <a:pt x="225" y="259"/>
                  </a:lnTo>
                  <a:lnTo>
                    <a:pt x="227" y="262"/>
                  </a:lnTo>
                  <a:lnTo>
                    <a:pt x="227" y="264"/>
                  </a:lnTo>
                  <a:lnTo>
                    <a:pt x="225" y="269"/>
                  </a:lnTo>
                  <a:lnTo>
                    <a:pt x="225" y="269"/>
                  </a:lnTo>
                  <a:lnTo>
                    <a:pt x="225" y="270"/>
                  </a:lnTo>
                  <a:lnTo>
                    <a:pt x="227" y="270"/>
                  </a:lnTo>
                  <a:lnTo>
                    <a:pt x="231" y="269"/>
                  </a:lnTo>
                  <a:lnTo>
                    <a:pt x="231" y="269"/>
                  </a:lnTo>
                  <a:lnTo>
                    <a:pt x="232" y="269"/>
                  </a:lnTo>
                  <a:lnTo>
                    <a:pt x="234" y="270"/>
                  </a:lnTo>
                  <a:lnTo>
                    <a:pt x="234" y="272"/>
                  </a:lnTo>
                  <a:lnTo>
                    <a:pt x="238" y="275"/>
                  </a:lnTo>
                  <a:lnTo>
                    <a:pt x="241" y="273"/>
                  </a:lnTo>
                  <a:lnTo>
                    <a:pt x="241" y="272"/>
                  </a:lnTo>
                  <a:lnTo>
                    <a:pt x="240" y="269"/>
                  </a:lnTo>
                  <a:lnTo>
                    <a:pt x="240" y="266"/>
                  </a:lnTo>
                  <a:lnTo>
                    <a:pt x="237" y="262"/>
                  </a:lnTo>
                  <a:lnTo>
                    <a:pt x="237" y="257"/>
                  </a:lnTo>
                  <a:lnTo>
                    <a:pt x="238" y="254"/>
                  </a:lnTo>
                  <a:lnTo>
                    <a:pt x="240" y="254"/>
                  </a:lnTo>
                  <a:lnTo>
                    <a:pt x="247" y="257"/>
                  </a:lnTo>
                  <a:lnTo>
                    <a:pt x="248" y="260"/>
                  </a:lnTo>
                  <a:lnTo>
                    <a:pt x="250" y="263"/>
                  </a:lnTo>
                  <a:lnTo>
                    <a:pt x="252" y="269"/>
                  </a:lnTo>
                  <a:lnTo>
                    <a:pt x="255" y="272"/>
                  </a:lnTo>
                  <a:lnTo>
                    <a:pt x="258" y="273"/>
                  </a:lnTo>
                  <a:lnTo>
                    <a:pt x="261" y="276"/>
                  </a:lnTo>
                  <a:lnTo>
                    <a:pt x="267" y="283"/>
                  </a:lnTo>
                  <a:lnTo>
                    <a:pt x="270" y="289"/>
                  </a:lnTo>
                  <a:lnTo>
                    <a:pt x="287" y="279"/>
                  </a:lnTo>
                  <a:lnTo>
                    <a:pt x="287" y="279"/>
                  </a:lnTo>
                  <a:lnTo>
                    <a:pt x="290" y="280"/>
                  </a:lnTo>
                  <a:lnTo>
                    <a:pt x="297" y="285"/>
                  </a:lnTo>
                  <a:lnTo>
                    <a:pt x="297" y="285"/>
                  </a:lnTo>
                  <a:lnTo>
                    <a:pt x="304" y="289"/>
                  </a:lnTo>
                  <a:lnTo>
                    <a:pt x="307" y="290"/>
                  </a:lnTo>
                  <a:lnTo>
                    <a:pt x="313" y="303"/>
                  </a:lnTo>
                  <a:lnTo>
                    <a:pt x="320" y="303"/>
                  </a:lnTo>
                  <a:lnTo>
                    <a:pt x="327" y="323"/>
                  </a:lnTo>
                  <a:lnTo>
                    <a:pt x="334" y="319"/>
                  </a:lnTo>
                  <a:lnTo>
                    <a:pt x="338" y="325"/>
                  </a:lnTo>
                  <a:lnTo>
                    <a:pt x="351" y="329"/>
                  </a:lnTo>
                  <a:lnTo>
                    <a:pt x="358" y="332"/>
                  </a:lnTo>
                  <a:lnTo>
                    <a:pt x="363" y="330"/>
                  </a:lnTo>
                  <a:lnTo>
                    <a:pt x="363" y="330"/>
                  </a:lnTo>
                  <a:lnTo>
                    <a:pt x="367" y="329"/>
                  </a:lnTo>
                  <a:lnTo>
                    <a:pt x="368" y="330"/>
                  </a:lnTo>
                  <a:lnTo>
                    <a:pt x="374" y="333"/>
                  </a:lnTo>
                  <a:lnTo>
                    <a:pt x="380" y="333"/>
                  </a:lnTo>
                  <a:lnTo>
                    <a:pt x="383" y="330"/>
                  </a:lnTo>
                  <a:lnTo>
                    <a:pt x="389" y="330"/>
                  </a:lnTo>
                  <a:lnTo>
                    <a:pt x="394" y="332"/>
                  </a:lnTo>
                  <a:lnTo>
                    <a:pt x="397" y="332"/>
                  </a:lnTo>
                  <a:lnTo>
                    <a:pt x="401" y="328"/>
                  </a:lnTo>
                  <a:lnTo>
                    <a:pt x="407" y="320"/>
                  </a:lnTo>
                  <a:lnTo>
                    <a:pt x="409" y="319"/>
                  </a:lnTo>
                  <a:lnTo>
                    <a:pt x="414" y="316"/>
                  </a:lnTo>
                  <a:lnTo>
                    <a:pt x="419" y="313"/>
                  </a:lnTo>
                  <a:lnTo>
                    <a:pt x="424" y="310"/>
                  </a:lnTo>
                  <a:lnTo>
                    <a:pt x="427" y="307"/>
                  </a:lnTo>
                  <a:lnTo>
                    <a:pt x="430" y="303"/>
                  </a:lnTo>
                  <a:lnTo>
                    <a:pt x="431" y="299"/>
                  </a:lnTo>
                  <a:lnTo>
                    <a:pt x="433" y="295"/>
                  </a:lnTo>
                  <a:lnTo>
                    <a:pt x="430" y="290"/>
                  </a:lnTo>
                  <a:lnTo>
                    <a:pt x="429" y="289"/>
                  </a:lnTo>
                  <a:lnTo>
                    <a:pt x="429" y="285"/>
                  </a:lnTo>
                  <a:lnTo>
                    <a:pt x="430" y="279"/>
                  </a:lnTo>
                  <a:lnTo>
                    <a:pt x="439" y="277"/>
                  </a:lnTo>
                  <a:lnTo>
                    <a:pt x="441" y="276"/>
                  </a:lnTo>
                  <a:lnTo>
                    <a:pt x="434" y="266"/>
                  </a:lnTo>
                  <a:lnTo>
                    <a:pt x="427" y="262"/>
                  </a:lnTo>
                  <a:lnTo>
                    <a:pt x="423" y="254"/>
                  </a:lnTo>
                  <a:lnTo>
                    <a:pt x="424" y="249"/>
                  </a:lnTo>
                  <a:lnTo>
                    <a:pt x="424" y="244"/>
                  </a:lnTo>
                  <a:lnTo>
                    <a:pt x="421" y="240"/>
                  </a:lnTo>
                  <a:lnTo>
                    <a:pt x="420" y="234"/>
                  </a:lnTo>
                  <a:lnTo>
                    <a:pt x="421" y="227"/>
                  </a:lnTo>
                  <a:lnTo>
                    <a:pt x="423" y="220"/>
                  </a:lnTo>
                  <a:lnTo>
                    <a:pt x="421" y="217"/>
                  </a:lnTo>
                  <a:lnTo>
                    <a:pt x="423" y="212"/>
                  </a:lnTo>
                  <a:lnTo>
                    <a:pt x="426" y="209"/>
                  </a:lnTo>
                  <a:lnTo>
                    <a:pt x="429" y="203"/>
                  </a:lnTo>
                  <a:lnTo>
                    <a:pt x="433" y="197"/>
                  </a:lnTo>
                  <a:lnTo>
                    <a:pt x="434" y="190"/>
                  </a:lnTo>
                  <a:lnTo>
                    <a:pt x="431" y="180"/>
                  </a:lnTo>
                  <a:lnTo>
                    <a:pt x="429" y="177"/>
                  </a:lnTo>
                  <a:lnTo>
                    <a:pt x="423" y="180"/>
                  </a:lnTo>
                  <a:lnTo>
                    <a:pt x="419" y="181"/>
                  </a:lnTo>
                  <a:lnTo>
                    <a:pt x="414" y="176"/>
                  </a:lnTo>
                  <a:lnTo>
                    <a:pt x="406" y="174"/>
                  </a:lnTo>
                  <a:lnTo>
                    <a:pt x="400" y="173"/>
                  </a:lnTo>
                  <a:lnTo>
                    <a:pt x="389" y="167"/>
                  </a:lnTo>
                  <a:lnTo>
                    <a:pt x="386" y="167"/>
                  </a:lnTo>
                  <a:lnTo>
                    <a:pt x="381" y="169"/>
                  </a:lnTo>
                  <a:lnTo>
                    <a:pt x="374" y="176"/>
                  </a:lnTo>
                  <a:lnTo>
                    <a:pt x="368" y="180"/>
                  </a:lnTo>
                  <a:lnTo>
                    <a:pt x="364" y="180"/>
                  </a:lnTo>
                  <a:lnTo>
                    <a:pt x="353" y="171"/>
                  </a:lnTo>
                  <a:lnTo>
                    <a:pt x="346" y="163"/>
                  </a:lnTo>
                  <a:lnTo>
                    <a:pt x="343" y="160"/>
                  </a:lnTo>
                  <a:lnTo>
                    <a:pt x="341" y="156"/>
                  </a:lnTo>
                  <a:lnTo>
                    <a:pt x="341" y="146"/>
                  </a:lnTo>
                  <a:lnTo>
                    <a:pt x="338" y="14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63" name="Freeform 111"/>
            <p:cNvSpPr>
              <a:spLocks/>
            </p:cNvSpPr>
            <p:nvPr/>
          </p:nvSpPr>
          <p:spPr bwMode="auto">
            <a:xfrm>
              <a:off x="3407022" y="3773724"/>
              <a:ext cx="511659" cy="636317"/>
            </a:xfrm>
            <a:custGeom>
              <a:avLst/>
              <a:gdLst>
                <a:gd name="T0" fmla="*/ 139 w 838"/>
                <a:gd name="T1" fmla="*/ 741 h 961"/>
                <a:gd name="T2" fmla="*/ 169 w 838"/>
                <a:gd name="T3" fmla="*/ 748 h 961"/>
                <a:gd name="T4" fmla="*/ 201 w 838"/>
                <a:gd name="T5" fmla="*/ 789 h 961"/>
                <a:gd name="T6" fmla="*/ 247 w 838"/>
                <a:gd name="T7" fmla="*/ 825 h 961"/>
                <a:gd name="T8" fmla="*/ 280 w 838"/>
                <a:gd name="T9" fmla="*/ 850 h 961"/>
                <a:gd name="T10" fmla="*/ 295 w 838"/>
                <a:gd name="T11" fmla="*/ 832 h 961"/>
                <a:gd name="T12" fmla="*/ 325 w 838"/>
                <a:gd name="T13" fmla="*/ 864 h 961"/>
                <a:gd name="T14" fmla="*/ 350 w 838"/>
                <a:gd name="T15" fmla="*/ 888 h 961"/>
                <a:gd name="T16" fmla="*/ 394 w 838"/>
                <a:gd name="T17" fmla="*/ 870 h 961"/>
                <a:gd name="T18" fmla="*/ 431 w 838"/>
                <a:gd name="T19" fmla="*/ 883 h 961"/>
                <a:gd name="T20" fmla="*/ 457 w 838"/>
                <a:gd name="T21" fmla="*/ 890 h 961"/>
                <a:gd name="T22" fmla="*/ 476 w 838"/>
                <a:gd name="T23" fmla="*/ 910 h 961"/>
                <a:gd name="T24" fmla="*/ 497 w 838"/>
                <a:gd name="T25" fmla="*/ 917 h 961"/>
                <a:gd name="T26" fmla="*/ 522 w 838"/>
                <a:gd name="T27" fmla="*/ 946 h 961"/>
                <a:gd name="T28" fmla="*/ 535 w 838"/>
                <a:gd name="T29" fmla="*/ 947 h 961"/>
                <a:gd name="T30" fmla="*/ 562 w 838"/>
                <a:gd name="T31" fmla="*/ 934 h 961"/>
                <a:gd name="T32" fmla="*/ 583 w 838"/>
                <a:gd name="T33" fmla="*/ 930 h 961"/>
                <a:gd name="T34" fmla="*/ 622 w 838"/>
                <a:gd name="T35" fmla="*/ 958 h 961"/>
                <a:gd name="T36" fmla="*/ 636 w 838"/>
                <a:gd name="T37" fmla="*/ 938 h 961"/>
                <a:gd name="T38" fmla="*/ 653 w 838"/>
                <a:gd name="T39" fmla="*/ 880 h 961"/>
                <a:gd name="T40" fmla="*/ 685 w 838"/>
                <a:gd name="T41" fmla="*/ 840 h 961"/>
                <a:gd name="T42" fmla="*/ 728 w 838"/>
                <a:gd name="T43" fmla="*/ 827 h 961"/>
                <a:gd name="T44" fmla="*/ 745 w 838"/>
                <a:gd name="T45" fmla="*/ 842 h 961"/>
                <a:gd name="T46" fmla="*/ 788 w 838"/>
                <a:gd name="T47" fmla="*/ 830 h 961"/>
                <a:gd name="T48" fmla="*/ 817 w 838"/>
                <a:gd name="T49" fmla="*/ 781 h 961"/>
                <a:gd name="T50" fmla="*/ 830 w 838"/>
                <a:gd name="T51" fmla="*/ 606 h 961"/>
                <a:gd name="T52" fmla="*/ 785 w 838"/>
                <a:gd name="T53" fmla="*/ 407 h 961"/>
                <a:gd name="T54" fmla="*/ 821 w 838"/>
                <a:gd name="T55" fmla="*/ 235 h 961"/>
                <a:gd name="T56" fmla="*/ 698 w 838"/>
                <a:gd name="T57" fmla="*/ 56 h 961"/>
                <a:gd name="T58" fmla="*/ 651 w 838"/>
                <a:gd name="T59" fmla="*/ 45 h 961"/>
                <a:gd name="T60" fmla="*/ 603 w 838"/>
                <a:gd name="T61" fmla="*/ 99 h 961"/>
                <a:gd name="T62" fmla="*/ 553 w 838"/>
                <a:gd name="T63" fmla="*/ 179 h 961"/>
                <a:gd name="T64" fmla="*/ 505 w 838"/>
                <a:gd name="T65" fmla="*/ 222 h 961"/>
                <a:gd name="T66" fmla="*/ 431 w 838"/>
                <a:gd name="T67" fmla="*/ 249 h 961"/>
                <a:gd name="T68" fmla="*/ 384 w 838"/>
                <a:gd name="T69" fmla="*/ 305 h 961"/>
                <a:gd name="T70" fmla="*/ 406 w 838"/>
                <a:gd name="T71" fmla="*/ 361 h 961"/>
                <a:gd name="T72" fmla="*/ 383 w 838"/>
                <a:gd name="T73" fmla="*/ 387 h 961"/>
                <a:gd name="T74" fmla="*/ 380 w 838"/>
                <a:gd name="T75" fmla="*/ 436 h 961"/>
                <a:gd name="T76" fmla="*/ 338 w 838"/>
                <a:gd name="T77" fmla="*/ 466 h 961"/>
                <a:gd name="T78" fmla="*/ 307 w 838"/>
                <a:gd name="T79" fmla="*/ 461 h 961"/>
                <a:gd name="T80" fmla="*/ 261 w 838"/>
                <a:gd name="T81" fmla="*/ 473 h 961"/>
                <a:gd name="T82" fmla="*/ 245 w 838"/>
                <a:gd name="T83" fmla="*/ 526 h 961"/>
                <a:gd name="T84" fmla="*/ 218 w 838"/>
                <a:gd name="T85" fmla="*/ 520 h 961"/>
                <a:gd name="T86" fmla="*/ 195 w 838"/>
                <a:gd name="T87" fmla="*/ 499 h 961"/>
                <a:gd name="T88" fmla="*/ 184 w 838"/>
                <a:gd name="T89" fmla="*/ 504 h 961"/>
                <a:gd name="T90" fmla="*/ 154 w 838"/>
                <a:gd name="T91" fmla="*/ 536 h 961"/>
                <a:gd name="T92" fmla="*/ 145 w 838"/>
                <a:gd name="T93" fmla="*/ 570 h 961"/>
                <a:gd name="T94" fmla="*/ 131 w 838"/>
                <a:gd name="T95" fmla="*/ 570 h 961"/>
                <a:gd name="T96" fmla="*/ 98 w 838"/>
                <a:gd name="T97" fmla="*/ 576 h 961"/>
                <a:gd name="T98" fmla="*/ 66 w 838"/>
                <a:gd name="T99" fmla="*/ 556 h 961"/>
                <a:gd name="T100" fmla="*/ 48 w 838"/>
                <a:gd name="T101" fmla="*/ 582 h 961"/>
                <a:gd name="T102" fmla="*/ 23 w 838"/>
                <a:gd name="T103" fmla="*/ 619 h 961"/>
                <a:gd name="T104" fmla="*/ 12 w 838"/>
                <a:gd name="T105" fmla="*/ 678 h 961"/>
                <a:gd name="T106" fmla="*/ 40 w 838"/>
                <a:gd name="T107" fmla="*/ 704 h 961"/>
                <a:gd name="T108" fmla="*/ 68 w 838"/>
                <a:gd name="T109" fmla="*/ 719 h 961"/>
                <a:gd name="T110" fmla="*/ 91 w 838"/>
                <a:gd name="T111" fmla="*/ 735 h 961"/>
                <a:gd name="T112" fmla="*/ 106 w 838"/>
                <a:gd name="T113" fmla="*/ 749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8" h="961">
                  <a:moveTo>
                    <a:pt x="114" y="744"/>
                  </a:moveTo>
                  <a:lnTo>
                    <a:pt x="116" y="736"/>
                  </a:lnTo>
                  <a:lnTo>
                    <a:pt x="119" y="738"/>
                  </a:lnTo>
                  <a:lnTo>
                    <a:pt x="124" y="744"/>
                  </a:lnTo>
                  <a:lnTo>
                    <a:pt x="129" y="746"/>
                  </a:lnTo>
                  <a:lnTo>
                    <a:pt x="136" y="745"/>
                  </a:lnTo>
                  <a:lnTo>
                    <a:pt x="139" y="741"/>
                  </a:lnTo>
                  <a:lnTo>
                    <a:pt x="141" y="735"/>
                  </a:lnTo>
                  <a:lnTo>
                    <a:pt x="144" y="731"/>
                  </a:lnTo>
                  <a:lnTo>
                    <a:pt x="148" y="734"/>
                  </a:lnTo>
                  <a:lnTo>
                    <a:pt x="151" y="738"/>
                  </a:lnTo>
                  <a:lnTo>
                    <a:pt x="156" y="745"/>
                  </a:lnTo>
                  <a:lnTo>
                    <a:pt x="165" y="748"/>
                  </a:lnTo>
                  <a:lnTo>
                    <a:pt x="169" y="748"/>
                  </a:lnTo>
                  <a:lnTo>
                    <a:pt x="171" y="749"/>
                  </a:lnTo>
                  <a:lnTo>
                    <a:pt x="172" y="756"/>
                  </a:lnTo>
                  <a:lnTo>
                    <a:pt x="175" y="761"/>
                  </a:lnTo>
                  <a:lnTo>
                    <a:pt x="177" y="775"/>
                  </a:lnTo>
                  <a:lnTo>
                    <a:pt x="185" y="781"/>
                  </a:lnTo>
                  <a:lnTo>
                    <a:pt x="192" y="784"/>
                  </a:lnTo>
                  <a:lnTo>
                    <a:pt x="201" y="789"/>
                  </a:lnTo>
                  <a:lnTo>
                    <a:pt x="208" y="798"/>
                  </a:lnTo>
                  <a:lnTo>
                    <a:pt x="214" y="801"/>
                  </a:lnTo>
                  <a:lnTo>
                    <a:pt x="221" y="802"/>
                  </a:lnTo>
                  <a:lnTo>
                    <a:pt x="227" y="807"/>
                  </a:lnTo>
                  <a:lnTo>
                    <a:pt x="234" y="818"/>
                  </a:lnTo>
                  <a:lnTo>
                    <a:pt x="240" y="824"/>
                  </a:lnTo>
                  <a:lnTo>
                    <a:pt x="247" y="825"/>
                  </a:lnTo>
                  <a:lnTo>
                    <a:pt x="252" y="830"/>
                  </a:lnTo>
                  <a:lnTo>
                    <a:pt x="255" y="832"/>
                  </a:lnTo>
                  <a:lnTo>
                    <a:pt x="260" y="840"/>
                  </a:lnTo>
                  <a:lnTo>
                    <a:pt x="264" y="845"/>
                  </a:lnTo>
                  <a:lnTo>
                    <a:pt x="270" y="850"/>
                  </a:lnTo>
                  <a:lnTo>
                    <a:pt x="275" y="851"/>
                  </a:lnTo>
                  <a:lnTo>
                    <a:pt x="280" y="850"/>
                  </a:lnTo>
                  <a:lnTo>
                    <a:pt x="280" y="845"/>
                  </a:lnTo>
                  <a:lnTo>
                    <a:pt x="278" y="837"/>
                  </a:lnTo>
                  <a:lnTo>
                    <a:pt x="280" y="830"/>
                  </a:lnTo>
                  <a:lnTo>
                    <a:pt x="285" y="827"/>
                  </a:lnTo>
                  <a:lnTo>
                    <a:pt x="290" y="827"/>
                  </a:lnTo>
                  <a:lnTo>
                    <a:pt x="295" y="827"/>
                  </a:lnTo>
                  <a:lnTo>
                    <a:pt x="295" y="832"/>
                  </a:lnTo>
                  <a:lnTo>
                    <a:pt x="297" y="838"/>
                  </a:lnTo>
                  <a:lnTo>
                    <a:pt x="304" y="841"/>
                  </a:lnTo>
                  <a:lnTo>
                    <a:pt x="307" y="841"/>
                  </a:lnTo>
                  <a:lnTo>
                    <a:pt x="313" y="844"/>
                  </a:lnTo>
                  <a:lnTo>
                    <a:pt x="314" y="850"/>
                  </a:lnTo>
                  <a:lnTo>
                    <a:pt x="318" y="855"/>
                  </a:lnTo>
                  <a:lnTo>
                    <a:pt x="325" y="864"/>
                  </a:lnTo>
                  <a:lnTo>
                    <a:pt x="327" y="870"/>
                  </a:lnTo>
                  <a:lnTo>
                    <a:pt x="328" y="881"/>
                  </a:lnTo>
                  <a:lnTo>
                    <a:pt x="328" y="890"/>
                  </a:lnTo>
                  <a:lnTo>
                    <a:pt x="331" y="898"/>
                  </a:lnTo>
                  <a:lnTo>
                    <a:pt x="336" y="901"/>
                  </a:lnTo>
                  <a:lnTo>
                    <a:pt x="346" y="897"/>
                  </a:lnTo>
                  <a:lnTo>
                    <a:pt x="350" y="888"/>
                  </a:lnTo>
                  <a:lnTo>
                    <a:pt x="353" y="885"/>
                  </a:lnTo>
                  <a:lnTo>
                    <a:pt x="357" y="885"/>
                  </a:lnTo>
                  <a:lnTo>
                    <a:pt x="357" y="888"/>
                  </a:lnTo>
                  <a:lnTo>
                    <a:pt x="364" y="887"/>
                  </a:lnTo>
                  <a:lnTo>
                    <a:pt x="376" y="877"/>
                  </a:lnTo>
                  <a:lnTo>
                    <a:pt x="389" y="873"/>
                  </a:lnTo>
                  <a:lnTo>
                    <a:pt x="394" y="870"/>
                  </a:lnTo>
                  <a:lnTo>
                    <a:pt x="406" y="870"/>
                  </a:lnTo>
                  <a:lnTo>
                    <a:pt x="414" y="877"/>
                  </a:lnTo>
                  <a:lnTo>
                    <a:pt x="419" y="883"/>
                  </a:lnTo>
                  <a:lnTo>
                    <a:pt x="421" y="884"/>
                  </a:lnTo>
                  <a:lnTo>
                    <a:pt x="424" y="883"/>
                  </a:lnTo>
                  <a:lnTo>
                    <a:pt x="427" y="883"/>
                  </a:lnTo>
                  <a:lnTo>
                    <a:pt x="431" y="883"/>
                  </a:lnTo>
                  <a:lnTo>
                    <a:pt x="434" y="884"/>
                  </a:lnTo>
                  <a:lnTo>
                    <a:pt x="436" y="883"/>
                  </a:lnTo>
                  <a:lnTo>
                    <a:pt x="437" y="881"/>
                  </a:lnTo>
                  <a:lnTo>
                    <a:pt x="441" y="878"/>
                  </a:lnTo>
                  <a:lnTo>
                    <a:pt x="446" y="878"/>
                  </a:lnTo>
                  <a:lnTo>
                    <a:pt x="452" y="883"/>
                  </a:lnTo>
                  <a:lnTo>
                    <a:pt x="457" y="890"/>
                  </a:lnTo>
                  <a:lnTo>
                    <a:pt x="460" y="894"/>
                  </a:lnTo>
                  <a:lnTo>
                    <a:pt x="470" y="900"/>
                  </a:lnTo>
                  <a:lnTo>
                    <a:pt x="473" y="903"/>
                  </a:lnTo>
                  <a:lnTo>
                    <a:pt x="472" y="907"/>
                  </a:lnTo>
                  <a:lnTo>
                    <a:pt x="472" y="911"/>
                  </a:lnTo>
                  <a:lnTo>
                    <a:pt x="472" y="911"/>
                  </a:lnTo>
                  <a:lnTo>
                    <a:pt x="476" y="910"/>
                  </a:lnTo>
                  <a:lnTo>
                    <a:pt x="480" y="905"/>
                  </a:lnTo>
                  <a:lnTo>
                    <a:pt x="482" y="905"/>
                  </a:lnTo>
                  <a:lnTo>
                    <a:pt x="484" y="905"/>
                  </a:lnTo>
                  <a:lnTo>
                    <a:pt x="489" y="907"/>
                  </a:lnTo>
                  <a:lnTo>
                    <a:pt x="496" y="910"/>
                  </a:lnTo>
                  <a:lnTo>
                    <a:pt x="499" y="914"/>
                  </a:lnTo>
                  <a:lnTo>
                    <a:pt x="497" y="917"/>
                  </a:lnTo>
                  <a:lnTo>
                    <a:pt x="496" y="918"/>
                  </a:lnTo>
                  <a:lnTo>
                    <a:pt x="496" y="923"/>
                  </a:lnTo>
                  <a:lnTo>
                    <a:pt x="500" y="927"/>
                  </a:lnTo>
                  <a:lnTo>
                    <a:pt x="507" y="937"/>
                  </a:lnTo>
                  <a:lnTo>
                    <a:pt x="512" y="948"/>
                  </a:lnTo>
                  <a:lnTo>
                    <a:pt x="516" y="950"/>
                  </a:lnTo>
                  <a:lnTo>
                    <a:pt x="522" y="946"/>
                  </a:lnTo>
                  <a:lnTo>
                    <a:pt x="523" y="947"/>
                  </a:lnTo>
                  <a:lnTo>
                    <a:pt x="525" y="954"/>
                  </a:lnTo>
                  <a:lnTo>
                    <a:pt x="526" y="957"/>
                  </a:lnTo>
                  <a:lnTo>
                    <a:pt x="533" y="957"/>
                  </a:lnTo>
                  <a:lnTo>
                    <a:pt x="536" y="954"/>
                  </a:lnTo>
                  <a:lnTo>
                    <a:pt x="536" y="950"/>
                  </a:lnTo>
                  <a:lnTo>
                    <a:pt x="535" y="947"/>
                  </a:lnTo>
                  <a:lnTo>
                    <a:pt x="535" y="944"/>
                  </a:lnTo>
                  <a:lnTo>
                    <a:pt x="537" y="941"/>
                  </a:lnTo>
                  <a:lnTo>
                    <a:pt x="537" y="941"/>
                  </a:lnTo>
                  <a:lnTo>
                    <a:pt x="540" y="941"/>
                  </a:lnTo>
                  <a:lnTo>
                    <a:pt x="546" y="941"/>
                  </a:lnTo>
                  <a:lnTo>
                    <a:pt x="552" y="943"/>
                  </a:lnTo>
                  <a:lnTo>
                    <a:pt x="562" y="934"/>
                  </a:lnTo>
                  <a:lnTo>
                    <a:pt x="563" y="931"/>
                  </a:lnTo>
                  <a:lnTo>
                    <a:pt x="566" y="927"/>
                  </a:lnTo>
                  <a:lnTo>
                    <a:pt x="569" y="927"/>
                  </a:lnTo>
                  <a:lnTo>
                    <a:pt x="573" y="928"/>
                  </a:lnTo>
                  <a:lnTo>
                    <a:pt x="575" y="930"/>
                  </a:lnTo>
                  <a:lnTo>
                    <a:pt x="578" y="931"/>
                  </a:lnTo>
                  <a:lnTo>
                    <a:pt x="583" y="930"/>
                  </a:lnTo>
                  <a:lnTo>
                    <a:pt x="590" y="928"/>
                  </a:lnTo>
                  <a:lnTo>
                    <a:pt x="599" y="930"/>
                  </a:lnTo>
                  <a:lnTo>
                    <a:pt x="613" y="937"/>
                  </a:lnTo>
                  <a:lnTo>
                    <a:pt x="618" y="943"/>
                  </a:lnTo>
                  <a:lnTo>
                    <a:pt x="616" y="950"/>
                  </a:lnTo>
                  <a:lnTo>
                    <a:pt x="616" y="954"/>
                  </a:lnTo>
                  <a:lnTo>
                    <a:pt x="622" y="958"/>
                  </a:lnTo>
                  <a:lnTo>
                    <a:pt x="629" y="961"/>
                  </a:lnTo>
                  <a:lnTo>
                    <a:pt x="633" y="961"/>
                  </a:lnTo>
                  <a:lnTo>
                    <a:pt x="638" y="958"/>
                  </a:lnTo>
                  <a:lnTo>
                    <a:pt x="642" y="951"/>
                  </a:lnTo>
                  <a:lnTo>
                    <a:pt x="642" y="948"/>
                  </a:lnTo>
                  <a:lnTo>
                    <a:pt x="642" y="946"/>
                  </a:lnTo>
                  <a:lnTo>
                    <a:pt x="636" y="938"/>
                  </a:lnTo>
                  <a:lnTo>
                    <a:pt x="638" y="933"/>
                  </a:lnTo>
                  <a:lnTo>
                    <a:pt x="642" y="920"/>
                  </a:lnTo>
                  <a:lnTo>
                    <a:pt x="651" y="901"/>
                  </a:lnTo>
                  <a:lnTo>
                    <a:pt x="653" y="895"/>
                  </a:lnTo>
                  <a:lnTo>
                    <a:pt x="655" y="890"/>
                  </a:lnTo>
                  <a:lnTo>
                    <a:pt x="653" y="884"/>
                  </a:lnTo>
                  <a:lnTo>
                    <a:pt x="653" y="880"/>
                  </a:lnTo>
                  <a:lnTo>
                    <a:pt x="655" y="874"/>
                  </a:lnTo>
                  <a:lnTo>
                    <a:pt x="658" y="865"/>
                  </a:lnTo>
                  <a:lnTo>
                    <a:pt x="665" y="857"/>
                  </a:lnTo>
                  <a:lnTo>
                    <a:pt x="681" y="847"/>
                  </a:lnTo>
                  <a:lnTo>
                    <a:pt x="686" y="844"/>
                  </a:lnTo>
                  <a:lnTo>
                    <a:pt x="685" y="842"/>
                  </a:lnTo>
                  <a:lnTo>
                    <a:pt x="685" y="840"/>
                  </a:lnTo>
                  <a:lnTo>
                    <a:pt x="682" y="837"/>
                  </a:lnTo>
                  <a:lnTo>
                    <a:pt x="679" y="832"/>
                  </a:lnTo>
                  <a:lnTo>
                    <a:pt x="678" y="828"/>
                  </a:lnTo>
                  <a:lnTo>
                    <a:pt x="679" y="827"/>
                  </a:lnTo>
                  <a:lnTo>
                    <a:pt x="686" y="825"/>
                  </a:lnTo>
                  <a:lnTo>
                    <a:pt x="704" y="827"/>
                  </a:lnTo>
                  <a:lnTo>
                    <a:pt x="728" y="827"/>
                  </a:lnTo>
                  <a:lnTo>
                    <a:pt x="735" y="827"/>
                  </a:lnTo>
                  <a:lnTo>
                    <a:pt x="737" y="828"/>
                  </a:lnTo>
                  <a:lnTo>
                    <a:pt x="737" y="832"/>
                  </a:lnTo>
                  <a:lnTo>
                    <a:pt x="735" y="838"/>
                  </a:lnTo>
                  <a:lnTo>
                    <a:pt x="735" y="842"/>
                  </a:lnTo>
                  <a:lnTo>
                    <a:pt x="737" y="842"/>
                  </a:lnTo>
                  <a:lnTo>
                    <a:pt x="745" y="842"/>
                  </a:lnTo>
                  <a:lnTo>
                    <a:pt x="747" y="840"/>
                  </a:lnTo>
                  <a:lnTo>
                    <a:pt x="752" y="835"/>
                  </a:lnTo>
                  <a:lnTo>
                    <a:pt x="761" y="831"/>
                  </a:lnTo>
                  <a:lnTo>
                    <a:pt x="765" y="832"/>
                  </a:lnTo>
                  <a:lnTo>
                    <a:pt x="771" y="832"/>
                  </a:lnTo>
                  <a:lnTo>
                    <a:pt x="785" y="830"/>
                  </a:lnTo>
                  <a:lnTo>
                    <a:pt x="788" y="830"/>
                  </a:lnTo>
                  <a:lnTo>
                    <a:pt x="797" y="832"/>
                  </a:lnTo>
                  <a:lnTo>
                    <a:pt x="805" y="834"/>
                  </a:lnTo>
                  <a:lnTo>
                    <a:pt x="808" y="834"/>
                  </a:lnTo>
                  <a:lnTo>
                    <a:pt x="810" y="830"/>
                  </a:lnTo>
                  <a:lnTo>
                    <a:pt x="810" y="822"/>
                  </a:lnTo>
                  <a:lnTo>
                    <a:pt x="815" y="792"/>
                  </a:lnTo>
                  <a:lnTo>
                    <a:pt x="817" y="781"/>
                  </a:lnTo>
                  <a:lnTo>
                    <a:pt x="821" y="769"/>
                  </a:lnTo>
                  <a:lnTo>
                    <a:pt x="838" y="736"/>
                  </a:lnTo>
                  <a:lnTo>
                    <a:pt x="817" y="719"/>
                  </a:lnTo>
                  <a:lnTo>
                    <a:pt x="815" y="673"/>
                  </a:lnTo>
                  <a:lnTo>
                    <a:pt x="832" y="622"/>
                  </a:lnTo>
                  <a:lnTo>
                    <a:pt x="828" y="613"/>
                  </a:lnTo>
                  <a:lnTo>
                    <a:pt x="830" y="606"/>
                  </a:lnTo>
                  <a:lnTo>
                    <a:pt x="772" y="557"/>
                  </a:lnTo>
                  <a:lnTo>
                    <a:pt x="759" y="543"/>
                  </a:lnTo>
                  <a:lnTo>
                    <a:pt x="755" y="526"/>
                  </a:lnTo>
                  <a:lnTo>
                    <a:pt x="778" y="490"/>
                  </a:lnTo>
                  <a:lnTo>
                    <a:pt x="792" y="446"/>
                  </a:lnTo>
                  <a:lnTo>
                    <a:pt x="800" y="424"/>
                  </a:lnTo>
                  <a:lnTo>
                    <a:pt x="785" y="407"/>
                  </a:lnTo>
                  <a:lnTo>
                    <a:pt x="778" y="390"/>
                  </a:lnTo>
                  <a:lnTo>
                    <a:pt x="785" y="391"/>
                  </a:lnTo>
                  <a:lnTo>
                    <a:pt x="790" y="348"/>
                  </a:lnTo>
                  <a:lnTo>
                    <a:pt x="798" y="295"/>
                  </a:lnTo>
                  <a:lnTo>
                    <a:pt x="807" y="288"/>
                  </a:lnTo>
                  <a:lnTo>
                    <a:pt x="820" y="278"/>
                  </a:lnTo>
                  <a:lnTo>
                    <a:pt x="821" y="235"/>
                  </a:lnTo>
                  <a:lnTo>
                    <a:pt x="815" y="217"/>
                  </a:lnTo>
                  <a:lnTo>
                    <a:pt x="798" y="179"/>
                  </a:lnTo>
                  <a:lnTo>
                    <a:pt x="792" y="168"/>
                  </a:lnTo>
                  <a:lnTo>
                    <a:pt x="774" y="131"/>
                  </a:lnTo>
                  <a:lnTo>
                    <a:pt x="758" y="101"/>
                  </a:lnTo>
                  <a:lnTo>
                    <a:pt x="739" y="85"/>
                  </a:lnTo>
                  <a:lnTo>
                    <a:pt x="698" y="56"/>
                  </a:lnTo>
                  <a:lnTo>
                    <a:pt x="699" y="49"/>
                  </a:lnTo>
                  <a:lnTo>
                    <a:pt x="712" y="36"/>
                  </a:lnTo>
                  <a:lnTo>
                    <a:pt x="711" y="30"/>
                  </a:lnTo>
                  <a:lnTo>
                    <a:pt x="701" y="15"/>
                  </a:lnTo>
                  <a:lnTo>
                    <a:pt x="685" y="0"/>
                  </a:lnTo>
                  <a:lnTo>
                    <a:pt x="651" y="33"/>
                  </a:lnTo>
                  <a:lnTo>
                    <a:pt x="651" y="45"/>
                  </a:lnTo>
                  <a:lnTo>
                    <a:pt x="649" y="50"/>
                  </a:lnTo>
                  <a:lnTo>
                    <a:pt x="646" y="56"/>
                  </a:lnTo>
                  <a:lnTo>
                    <a:pt x="642" y="62"/>
                  </a:lnTo>
                  <a:lnTo>
                    <a:pt x="631" y="70"/>
                  </a:lnTo>
                  <a:lnTo>
                    <a:pt x="618" y="78"/>
                  </a:lnTo>
                  <a:lnTo>
                    <a:pt x="609" y="83"/>
                  </a:lnTo>
                  <a:lnTo>
                    <a:pt x="603" y="99"/>
                  </a:lnTo>
                  <a:lnTo>
                    <a:pt x="599" y="112"/>
                  </a:lnTo>
                  <a:lnTo>
                    <a:pt x="593" y="125"/>
                  </a:lnTo>
                  <a:lnTo>
                    <a:pt x="592" y="133"/>
                  </a:lnTo>
                  <a:lnTo>
                    <a:pt x="590" y="141"/>
                  </a:lnTo>
                  <a:lnTo>
                    <a:pt x="580" y="151"/>
                  </a:lnTo>
                  <a:lnTo>
                    <a:pt x="566" y="166"/>
                  </a:lnTo>
                  <a:lnTo>
                    <a:pt x="553" y="179"/>
                  </a:lnTo>
                  <a:lnTo>
                    <a:pt x="549" y="184"/>
                  </a:lnTo>
                  <a:lnTo>
                    <a:pt x="542" y="184"/>
                  </a:lnTo>
                  <a:lnTo>
                    <a:pt x="536" y="185"/>
                  </a:lnTo>
                  <a:lnTo>
                    <a:pt x="532" y="188"/>
                  </a:lnTo>
                  <a:lnTo>
                    <a:pt x="522" y="202"/>
                  </a:lnTo>
                  <a:lnTo>
                    <a:pt x="513" y="215"/>
                  </a:lnTo>
                  <a:lnTo>
                    <a:pt x="505" y="222"/>
                  </a:lnTo>
                  <a:lnTo>
                    <a:pt x="490" y="234"/>
                  </a:lnTo>
                  <a:lnTo>
                    <a:pt x="482" y="239"/>
                  </a:lnTo>
                  <a:lnTo>
                    <a:pt x="473" y="244"/>
                  </a:lnTo>
                  <a:lnTo>
                    <a:pt x="460" y="242"/>
                  </a:lnTo>
                  <a:lnTo>
                    <a:pt x="452" y="244"/>
                  </a:lnTo>
                  <a:lnTo>
                    <a:pt x="441" y="245"/>
                  </a:lnTo>
                  <a:lnTo>
                    <a:pt x="431" y="249"/>
                  </a:lnTo>
                  <a:lnTo>
                    <a:pt x="420" y="255"/>
                  </a:lnTo>
                  <a:lnTo>
                    <a:pt x="411" y="262"/>
                  </a:lnTo>
                  <a:lnTo>
                    <a:pt x="397" y="272"/>
                  </a:lnTo>
                  <a:lnTo>
                    <a:pt x="389" y="282"/>
                  </a:lnTo>
                  <a:lnTo>
                    <a:pt x="386" y="288"/>
                  </a:lnTo>
                  <a:lnTo>
                    <a:pt x="384" y="294"/>
                  </a:lnTo>
                  <a:lnTo>
                    <a:pt x="384" y="305"/>
                  </a:lnTo>
                  <a:lnTo>
                    <a:pt x="386" y="317"/>
                  </a:lnTo>
                  <a:lnTo>
                    <a:pt x="389" y="327"/>
                  </a:lnTo>
                  <a:lnTo>
                    <a:pt x="396" y="334"/>
                  </a:lnTo>
                  <a:lnTo>
                    <a:pt x="404" y="345"/>
                  </a:lnTo>
                  <a:lnTo>
                    <a:pt x="406" y="351"/>
                  </a:lnTo>
                  <a:lnTo>
                    <a:pt x="407" y="357"/>
                  </a:lnTo>
                  <a:lnTo>
                    <a:pt x="406" y="361"/>
                  </a:lnTo>
                  <a:lnTo>
                    <a:pt x="406" y="363"/>
                  </a:lnTo>
                  <a:lnTo>
                    <a:pt x="399" y="367"/>
                  </a:lnTo>
                  <a:lnTo>
                    <a:pt x="394" y="370"/>
                  </a:lnTo>
                  <a:lnTo>
                    <a:pt x="391" y="376"/>
                  </a:lnTo>
                  <a:lnTo>
                    <a:pt x="390" y="383"/>
                  </a:lnTo>
                  <a:lnTo>
                    <a:pt x="387" y="384"/>
                  </a:lnTo>
                  <a:lnTo>
                    <a:pt x="383" y="387"/>
                  </a:lnTo>
                  <a:lnTo>
                    <a:pt x="377" y="391"/>
                  </a:lnTo>
                  <a:lnTo>
                    <a:pt x="371" y="400"/>
                  </a:lnTo>
                  <a:lnTo>
                    <a:pt x="370" y="410"/>
                  </a:lnTo>
                  <a:lnTo>
                    <a:pt x="370" y="417"/>
                  </a:lnTo>
                  <a:lnTo>
                    <a:pt x="377" y="426"/>
                  </a:lnTo>
                  <a:lnTo>
                    <a:pt x="380" y="430"/>
                  </a:lnTo>
                  <a:lnTo>
                    <a:pt x="380" y="436"/>
                  </a:lnTo>
                  <a:lnTo>
                    <a:pt x="371" y="449"/>
                  </a:lnTo>
                  <a:lnTo>
                    <a:pt x="363" y="457"/>
                  </a:lnTo>
                  <a:lnTo>
                    <a:pt x="358" y="460"/>
                  </a:lnTo>
                  <a:lnTo>
                    <a:pt x="356" y="461"/>
                  </a:lnTo>
                  <a:lnTo>
                    <a:pt x="350" y="459"/>
                  </a:lnTo>
                  <a:lnTo>
                    <a:pt x="346" y="457"/>
                  </a:lnTo>
                  <a:lnTo>
                    <a:pt x="338" y="466"/>
                  </a:lnTo>
                  <a:lnTo>
                    <a:pt x="333" y="473"/>
                  </a:lnTo>
                  <a:lnTo>
                    <a:pt x="330" y="473"/>
                  </a:lnTo>
                  <a:lnTo>
                    <a:pt x="325" y="473"/>
                  </a:lnTo>
                  <a:lnTo>
                    <a:pt x="323" y="470"/>
                  </a:lnTo>
                  <a:lnTo>
                    <a:pt x="317" y="464"/>
                  </a:lnTo>
                  <a:lnTo>
                    <a:pt x="311" y="461"/>
                  </a:lnTo>
                  <a:lnTo>
                    <a:pt x="307" y="461"/>
                  </a:lnTo>
                  <a:lnTo>
                    <a:pt x="297" y="464"/>
                  </a:lnTo>
                  <a:lnTo>
                    <a:pt x="290" y="469"/>
                  </a:lnTo>
                  <a:lnTo>
                    <a:pt x="285" y="469"/>
                  </a:lnTo>
                  <a:lnTo>
                    <a:pt x="280" y="470"/>
                  </a:lnTo>
                  <a:lnTo>
                    <a:pt x="275" y="474"/>
                  </a:lnTo>
                  <a:lnTo>
                    <a:pt x="270" y="473"/>
                  </a:lnTo>
                  <a:lnTo>
                    <a:pt x="261" y="473"/>
                  </a:lnTo>
                  <a:lnTo>
                    <a:pt x="258" y="489"/>
                  </a:lnTo>
                  <a:lnTo>
                    <a:pt x="258" y="502"/>
                  </a:lnTo>
                  <a:lnTo>
                    <a:pt x="260" y="506"/>
                  </a:lnTo>
                  <a:lnTo>
                    <a:pt x="264" y="516"/>
                  </a:lnTo>
                  <a:lnTo>
                    <a:pt x="262" y="523"/>
                  </a:lnTo>
                  <a:lnTo>
                    <a:pt x="255" y="527"/>
                  </a:lnTo>
                  <a:lnTo>
                    <a:pt x="245" y="526"/>
                  </a:lnTo>
                  <a:lnTo>
                    <a:pt x="238" y="527"/>
                  </a:lnTo>
                  <a:lnTo>
                    <a:pt x="235" y="527"/>
                  </a:lnTo>
                  <a:lnTo>
                    <a:pt x="230" y="530"/>
                  </a:lnTo>
                  <a:lnTo>
                    <a:pt x="220" y="533"/>
                  </a:lnTo>
                  <a:lnTo>
                    <a:pt x="214" y="530"/>
                  </a:lnTo>
                  <a:lnTo>
                    <a:pt x="215" y="524"/>
                  </a:lnTo>
                  <a:lnTo>
                    <a:pt x="218" y="520"/>
                  </a:lnTo>
                  <a:lnTo>
                    <a:pt x="220" y="512"/>
                  </a:lnTo>
                  <a:lnTo>
                    <a:pt x="220" y="509"/>
                  </a:lnTo>
                  <a:lnTo>
                    <a:pt x="217" y="507"/>
                  </a:lnTo>
                  <a:lnTo>
                    <a:pt x="211" y="504"/>
                  </a:lnTo>
                  <a:lnTo>
                    <a:pt x="208" y="500"/>
                  </a:lnTo>
                  <a:lnTo>
                    <a:pt x="202" y="497"/>
                  </a:lnTo>
                  <a:lnTo>
                    <a:pt x="195" y="499"/>
                  </a:lnTo>
                  <a:lnTo>
                    <a:pt x="189" y="503"/>
                  </a:lnTo>
                  <a:lnTo>
                    <a:pt x="188" y="509"/>
                  </a:lnTo>
                  <a:lnTo>
                    <a:pt x="187" y="513"/>
                  </a:lnTo>
                  <a:lnTo>
                    <a:pt x="184" y="516"/>
                  </a:lnTo>
                  <a:lnTo>
                    <a:pt x="181" y="516"/>
                  </a:lnTo>
                  <a:lnTo>
                    <a:pt x="182" y="512"/>
                  </a:lnTo>
                  <a:lnTo>
                    <a:pt x="184" y="504"/>
                  </a:lnTo>
                  <a:lnTo>
                    <a:pt x="175" y="507"/>
                  </a:lnTo>
                  <a:lnTo>
                    <a:pt x="171" y="512"/>
                  </a:lnTo>
                  <a:lnTo>
                    <a:pt x="171" y="516"/>
                  </a:lnTo>
                  <a:lnTo>
                    <a:pt x="171" y="522"/>
                  </a:lnTo>
                  <a:lnTo>
                    <a:pt x="165" y="526"/>
                  </a:lnTo>
                  <a:lnTo>
                    <a:pt x="158" y="530"/>
                  </a:lnTo>
                  <a:lnTo>
                    <a:pt x="154" y="536"/>
                  </a:lnTo>
                  <a:lnTo>
                    <a:pt x="154" y="540"/>
                  </a:lnTo>
                  <a:lnTo>
                    <a:pt x="152" y="546"/>
                  </a:lnTo>
                  <a:lnTo>
                    <a:pt x="135" y="550"/>
                  </a:lnTo>
                  <a:lnTo>
                    <a:pt x="138" y="557"/>
                  </a:lnTo>
                  <a:lnTo>
                    <a:pt x="142" y="562"/>
                  </a:lnTo>
                  <a:lnTo>
                    <a:pt x="145" y="566"/>
                  </a:lnTo>
                  <a:lnTo>
                    <a:pt x="145" y="570"/>
                  </a:lnTo>
                  <a:lnTo>
                    <a:pt x="142" y="572"/>
                  </a:lnTo>
                  <a:lnTo>
                    <a:pt x="136" y="576"/>
                  </a:lnTo>
                  <a:lnTo>
                    <a:pt x="132" y="579"/>
                  </a:lnTo>
                  <a:lnTo>
                    <a:pt x="125" y="579"/>
                  </a:lnTo>
                  <a:lnTo>
                    <a:pt x="126" y="575"/>
                  </a:lnTo>
                  <a:lnTo>
                    <a:pt x="129" y="572"/>
                  </a:lnTo>
                  <a:lnTo>
                    <a:pt x="131" y="570"/>
                  </a:lnTo>
                  <a:lnTo>
                    <a:pt x="128" y="567"/>
                  </a:lnTo>
                  <a:lnTo>
                    <a:pt x="121" y="566"/>
                  </a:lnTo>
                  <a:lnTo>
                    <a:pt x="116" y="569"/>
                  </a:lnTo>
                  <a:lnTo>
                    <a:pt x="112" y="573"/>
                  </a:lnTo>
                  <a:lnTo>
                    <a:pt x="106" y="575"/>
                  </a:lnTo>
                  <a:lnTo>
                    <a:pt x="102" y="577"/>
                  </a:lnTo>
                  <a:lnTo>
                    <a:pt x="98" y="576"/>
                  </a:lnTo>
                  <a:lnTo>
                    <a:pt x="96" y="570"/>
                  </a:lnTo>
                  <a:lnTo>
                    <a:pt x="91" y="570"/>
                  </a:lnTo>
                  <a:lnTo>
                    <a:pt x="85" y="576"/>
                  </a:lnTo>
                  <a:lnTo>
                    <a:pt x="82" y="572"/>
                  </a:lnTo>
                  <a:lnTo>
                    <a:pt x="76" y="565"/>
                  </a:lnTo>
                  <a:lnTo>
                    <a:pt x="72" y="559"/>
                  </a:lnTo>
                  <a:lnTo>
                    <a:pt x="66" y="556"/>
                  </a:lnTo>
                  <a:lnTo>
                    <a:pt x="62" y="557"/>
                  </a:lnTo>
                  <a:lnTo>
                    <a:pt x="56" y="557"/>
                  </a:lnTo>
                  <a:lnTo>
                    <a:pt x="55" y="563"/>
                  </a:lnTo>
                  <a:lnTo>
                    <a:pt x="53" y="570"/>
                  </a:lnTo>
                  <a:lnTo>
                    <a:pt x="49" y="576"/>
                  </a:lnTo>
                  <a:lnTo>
                    <a:pt x="49" y="579"/>
                  </a:lnTo>
                  <a:lnTo>
                    <a:pt x="48" y="582"/>
                  </a:lnTo>
                  <a:lnTo>
                    <a:pt x="49" y="586"/>
                  </a:lnTo>
                  <a:lnTo>
                    <a:pt x="52" y="592"/>
                  </a:lnTo>
                  <a:lnTo>
                    <a:pt x="52" y="596"/>
                  </a:lnTo>
                  <a:lnTo>
                    <a:pt x="40" y="603"/>
                  </a:lnTo>
                  <a:lnTo>
                    <a:pt x="32" y="612"/>
                  </a:lnTo>
                  <a:lnTo>
                    <a:pt x="28" y="613"/>
                  </a:lnTo>
                  <a:lnTo>
                    <a:pt x="23" y="619"/>
                  </a:lnTo>
                  <a:lnTo>
                    <a:pt x="18" y="633"/>
                  </a:lnTo>
                  <a:lnTo>
                    <a:pt x="13" y="643"/>
                  </a:lnTo>
                  <a:lnTo>
                    <a:pt x="12" y="655"/>
                  </a:lnTo>
                  <a:lnTo>
                    <a:pt x="8" y="658"/>
                  </a:lnTo>
                  <a:lnTo>
                    <a:pt x="0" y="666"/>
                  </a:lnTo>
                  <a:lnTo>
                    <a:pt x="2" y="672"/>
                  </a:lnTo>
                  <a:lnTo>
                    <a:pt x="12" y="678"/>
                  </a:lnTo>
                  <a:lnTo>
                    <a:pt x="19" y="679"/>
                  </a:lnTo>
                  <a:lnTo>
                    <a:pt x="28" y="688"/>
                  </a:lnTo>
                  <a:lnTo>
                    <a:pt x="29" y="692"/>
                  </a:lnTo>
                  <a:lnTo>
                    <a:pt x="30" y="695"/>
                  </a:lnTo>
                  <a:lnTo>
                    <a:pt x="35" y="701"/>
                  </a:lnTo>
                  <a:lnTo>
                    <a:pt x="38" y="701"/>
                  </a:lnTo>
                  <a:lnTo>
                    <a:pt x="40" y="704"/>
                  </a:lnTo>
                  <a:lnTo>
                    <a:pt x="48" y="706"/>
                  </a:lnTo>
                  <a:lnTo>
                    <a:pt x="55" y="714"/>
                  </a:lnTo>
                  <a:lnTo>
                    <a:pt x="56" y="718"/>
                  </a:lnTo>
                  <a:lnTo>
                    <a:pt x="59" y="726"/>
                  </a:lnTo>
                  <a:lnTo>
                    <a:pt x="62" y="724"/>
                  </a:lnTo>
                  <a:lnTo>
                    <a:pt x="63" y="722"/>
                  </a:lnTo>
                  <a:lnTo>
                    <a:pt x="68" y="719"/>
                  </a:lnTo>
                  <a:lnTo>
                    <a:pt x="72" y="716"/>
                  </a:lnTo>
                  <a:lnTo>
                    <a:pt x="75" y="719"/>
                  </a:lnTo>
                  <a:lnTo>
                    <a:pt x="82" y="725"/>
                  </a:lnTo>
                  <a:lnTo>
                    <a:pt x="85" y="726"/>
                  </a:lnTo>
                  <a:lnTo>
                    <a:pt x="88" y="729"/>
                  </a:lnTo>
                  <a:lnTo>
                    <a:pt x="91" y="731"/>
                  </a:lnTo>
                  <a:lnTo>
                    <a:pt x="91" y="735"/>
                  </a:lnTo>
                  <a:lnTo>
                    <a:pt x="89" y="741"/>
                  </a:lnTo>
                  <a:lnTo>
                    <a:pt x="92" y="742"/>
                  </a:lnTo>
                  <a:lnTo>
                    <a:pt x="95" y="745"/>
                  </a:lnTo>
                  <a:lnTo>
                    <a:pt x="98" y="749"/>
                  </a:lnTo>
                  <a:lnTo>
                    <a:pt x="102" y="752"/>
                  </a:lnTo>
                  <a:lnTo>
                    <a:pt x="103" y="752"/>
                  </a:lnTo>
                  <a:lnTo>
                    <a:pt x="106" y="749"/>
                  </a:lnTo>
                  <a:lnTo>
                    <a:pt x="112" y="748"/>
                  </a:lnTo>
                  <a:lnTo>
                    <a:pt x="114" y="744"/>
                  </a:lnTo>
                  <a:close/>
                </a:path>
              </a:pathLst>
            </a:custGeom>
            <a:solidFill>
              <a:srgbClr val="FFF27F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64" name="Freeform 112"/>
            <p:cNvSpPr>
              <a:spLocks/>
            </p:cNvSpPr>
            <p:nvPr/>
          </p:nvSpPr>
          <p:spPr bwMode="auto">
            <a:xfrm>
              <a:off x="3535242" y="4349187"/>
              <a:ext cx="370006" cy="317497"/>
            </a:xfrm>
            <a:custGeom>
              <a:avLst/>
              <a:gdLst>
                <a:gd name="T0" fmla="*/ 121 w 606"/>
                <a:gd name="T1" fmla="*/ 382 h 479"/>
                <a:gd name="T2" fmla="*/ 178 w 606"/>
                <a:gd name="T3" fmla="*/ 399 h 479"/>
                <a:gd name="T4" fmla="*/ 212 w 606"/>
                <a:gd name="T5" fmla="*/ 414 h 479"/>
                <a:gd name="T6" fmla="*/ 231 w 606"/>
                <a:gd name="T7" fmla="*/ 431 h 479"/>
                <a:gd name="T8" fmla="*/ 265 w 606"/>
                <a:gd name="T9" fmla="*/ 404 h 479"/>
                <a:gd name="T10" fmla="*/ 306 w 606"/>
                <a:gd name="T11" fmla="*/ 418 h 479"/>
                <a:gd name="T12" fmla="*/ 387 w 606"/>
                <a:gd name="T13" fmla="*/ 445 h 479"/>
                <a:gd name="T14" fmla="*/ 449 w 606"/>
                <a:gd name="T15" fmla="*/ 458 h 479"/>
                <a:gd name="T16" fmla="*/ 506 w 606"/>
                <a:gd name="T17" fmla="*/ 469 h 479"/>
                <a:gd name="T18" fmla="*/ 532 w 606"/>
                <a:gd name="T19" fmla="*/ 469 h 479"/>
                <a:gd name="T20" fmla="*/ 562 w 606"/>
                <a:gd name="T21" fmla="*/ 457 h 479"/>
                <a:gd name="T22" fmla="*/ 599 w 606"/>
                <a:gd name="T23" fmla="*/ 446 h 479"/>
                <a:gd name="T24" fmla="*/ 582 w 606"/>
                <a:gd name="T25" fmla="*/ 411 h 479"/>
                <a:gd name="T26" fmla="*/ 569 w 606"/>
                <a:gd name="T27" fmla="*/ 383 h 479"/>
                <a:gd name="T28" fmla="*/ 562 w 606"/>
                <a:gd name="T29" fmla="*/ 368 h 479"/>
                <a:gd name="T30" fmla="*/ 529 w 606"/>
                <a:gd name="T31" fmla="*/ 345 h 479"/>
                <a:gd name="T32" fmla="*/ 519 w 606"/>
                <a:gd name="T33" fmla="*/ 298 h 479"/>
                <a:gd name="T34" fmla="*/ 499 w 606"/>
                <a:gd name="T35" fmla="*/ 279 h 479"/>
                <a:gd name="T36" fmla="*/ 486 w 606"/>
                <a:gd name="T37" fmla="*/ 266 h 479"/>
                <a:gd name="T38" fmla="*/ 457 w 606"/>
                <a:gd name="T39" fmla="*/ 262 h 479"/>
                <a:gd name="T40" fmla="*/ 440 w 606"/>
                <a:gd name="T41" fmla="*/ 237 h 479"/>
                <a:gd name="T42" fmla="*/ 417 w 606"/>
                <a:gd name="T43" fmla="*/ 206 h 479"/>
                <a:gd name="T44" fmla="*/ 422 w 606"/>
                <a:gd name="T45" fmla="*/ 182 h 479"/>
                <a:gd name="T46" fmla="*/ 384 w 606"/>
                <a:gd name="T47" fmla="*/ 151 h 479"/>
                <a:gd name="T48" fmla="*/ 391 w 606"/>
                <a:gd name="T49" fmla="*/ 149 h 479"/>
                <a:gd name="T50" fmla="*/ 404 w 606"/>
                <a:gd name="T51" fmla="*/ 91 h 479"/>
                <a:gd name="T52" fmla="*/ 381 w 606"/>
                <a:gd name="T53" fmla="*/ 58 h 479"/>
                <a:gd name="T54" fmla="*/ 357 w 606"/>
                <a:gd name="T55" fmla="*/ 57 h 479"/>
                <a:gd name="T56" fmla="*/ 328 w 606"/>
                <a:gd name="T57" fmla="*/ 71 h 479"/>
                <a:gd name="T58" fmla="*/ 324 w 606"/>
                <a:gd name="T59" fmla="*/ 87 h 479"/>
                <a:gd name="T60" fmla="*/ 303 w 606"/>
                <a:gd name="T61" fmla="*/ 78 h 479"/>
                <a:gd name="T62" fmla="*/ 290 w 606"/>
                <a:gd name="T63" fmla="*/ 44 h 479"/>
                <a:gd name="T64" fmla="*/ 267 w 606"/>
                <a:gd name="T65" fmla="*/ 40 h 479"/>
                <a:gd name="T66" fmla="*/ 251 w 606"/>
                <a:gd name="T67" fmla="*/ 24 h 479"/>
                <a:gd name="T68" fmla="*/ 227 w 606"/>
                <a:gd name="T69" fmla="*/ 13 h 479"/>
                <a:gd name="T70" fmla="*/ 210 w 606"/>
                <a:gd name="T71" fmla="*/ 13 h 479"/>
                <a:gd name="T72" fmla="*/ 155 w 606"/>
                <a:gd name="T73" fmla="*/ 17 h 479"/>
                <a:gd name="T74" fmla="*/ 127 w 606"/>
                <a:gd name="T75" fmla="*/ 31 h 479"/>
                <a:gd name="T76" fmla="*/ 125 w 606"/>
                <a:gd name="T77" fmla="*/ 67 h 479"/>
                <a:gd name="T78" fmla="*/ 127 w 606"/>
                <a:gd name="T79" fmla="*/ 80 h 479"/>
                <a:gd name="T80" fmla="*/ 131 w 606"/>
                <a:gd name="T81" fmla="*/ 101 h 479"/>
                <a:gd name="T82" fmla="*/ 119 w 606"/>
                <a:gd name="T83" fmla="*/ 130 h 479"/>
                <a:gd name="T84" fmla="*/ 106 w 606"/>
                <a:gd name="T85" fmla="*/ 150 h 479"/>
                <a:gd name="T86" fmla="*/ 85 w 606"/>
                <a:gd name="T87" fmla="*/ 147 h 479"/>
                <a:gd name="T88" fmla="*/ 72 w 606"/>
                <a:gd name="T89" fmla="*/ 141 h 479"/>
                <a:gd name="T90" fmla="*/ 63 w 606"/>
                <a:gd name="T91" fmla="*/ 151 h 479"/>
                <a:gd name="T92" fmla="*/ 59 w 606"/>
                <a:gd name="T93" fmla="*/ 174 h 479"/>
                <a:gd name="T94" fmla="*/ 42 w 606"/>
                <a:gd name="T95" fmla="*/ 197 h 479"/>
                <a:gd name="T96" fmla="*/ 32 w 606"/>
                <a:gd name="T97" fmla="*/ 187 h 479"/>
                <a:gd name="T98" fmla="*/ 18 w 606"/>
                <a:gd name="T99" fmla="*/ 204 h 479"/>
                <a:gd name="T100" fmla="*/ 3 w 606"/>
                <a:gd name="T101" fmla="*/ 226 h 479"/>
                <a:gd name="T102" fmla="*/ 13 w 606"/>
                <a:gd name="T103" fmla="*/ 247 h 479"/>
                <a:gd name="T104" fmla="*/ 43 w 606"/>
                <a:gd name="T105" fmla="*/ 255 h 479"/>
                <a:gd name="T106" fmla="*/ 43 w 606"/>
                <a:gd name="T107" fmla="*/ 273 h 479"/>
                <a:gd name="T108" fmla="*/ 81 w 606"/>
                <a:gd name="T109" fmla="*/ 283 h 479"/>
                <a:gd name="T110" fmla="*/ 88 w 606"/>
                <a:gd name="T111" fmla="*/ 316 h 479"/>
                <a:gd name="T112" fmla="*/ 66 w 606"/>
                <a:gd name="T113" fmla="*/ 323 h 479"/>
                <a:gd name="T114" fmla="*/ 66 w 606"/>
                <a:gd name="T115" fmla="*/ 356 h 479"/>
                <a:gd name="T116" fmla="*/ 95 w 606"/>
                <a:gd name="T117" fmla="*/ 372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06" h="479">
                  <a:moveTo>
                    <a:pt x="108" y="391"/>
                  </a:moveTo>
                  <a:lnTo>
                    <a:pt x="109" y="389"/>
                  </a:lnTo>
                  <a:lnTo>
                    <a:pt x="109" y="389"/>
                  </a:lnTo>
                  <a:lnTo>
                    <a:pt x="119" y="389"/>
                  </a:lnTo>
                  <a:lnTo>
                    <a:pt x="119" y="389"/>
                  </a:lnTo>
                  <a:lnTo>
                    <a:pt x="121" y="382"/>
                  </a:lnTo>
                  <a:lnTo>
                    <a:pt x="121" y="382"/>
                  </a:lnTo>
                  <a:lnTo>
                    <a:pt x="138" y="388"/>
                  </a:lnTo>
                  <a:lnTo>
                    <a:pt x="151" y="391"/>
                  </a:lnTo>
                  <a:lnTo>
                    <a:pt x="151" y="391"/>
                  </a:lnTo>
                  <a:lnTo>
                    <a:pt x="162" y="395"/>
                  </a:lnTo>
                  <a:lnTo>
                    <a:pt x="178" y="399"/>
                  </a:lnTo>
                  <a:lnTo>
                    <a:pt x="184" y="401"/>
                  </a:lnTo>
                  <a:lnTo>
                    <a:pt x="187" y="408"/>
                  </a:lnTo>
                  <a:lnTo>
                    <a:pt x="194" y="409"/>
                  </a:lnTo>
                  <a:lnTo>
                    <a:pt x="200" y="412"/>
                  </a:lnTo>
                  <a:lnTo>
                    <a:pt x="207" y="412"/>
                  </a:lnTo>
                  <a:lnTo>
                    <a:pt x="212" y="414"/>
                  </a:lnTo>
                  <a:lnTo>
                    <a:pt x="215" y="418"/>
                  </a:lnTo>
                  <a:lnTo>
                    <a:pt x="218" y="424"/>
                  </a:lnTo>
                  <a:lnTo>
                    <a:pt x="220" y="428"/>
                  </a:lnTo>
                  <a:lnTo>
                    <a:pt x="224" y="432"/>
                  </a:lnTo>
                  <a:lnTo>
                    <a:pt x="230" y="432"/>
                  </a:lnTo>
                  <a:lnTo>
                    <a:pt x="231" y="431"/>
                  </a:lnTo>
                  <a:lnTo>
                    <a:pt x="235" y="424"/>
                  </a:lnTo>
                  <a:lnTo>
                    <a:pt x="241" y="409"/>
                  </a:lnTo>
                  <a:lnTo>
                    <a:pt x="245" y="406"/>
                  </a:lnTo>
                  <a:lnTo>
                    <a:pt x="248" y="406"/>
                  </a:lnTo>
                  <a:lnTo>
                    <a:pt x="257" y="408"/>
                  </a:lnTo>
                  <a:lnTo>
                    <a:pt x="265" y="404"/>
                  </a:lnTo>
                  <a:lnTo>
                    <a:pt x="270" y="404"/>
                  </a:lnTo>
                  <a:lnTo>
                    <a:pt x="274" y="406"/>
                  </a:lnTo>
                  <a:lnTo>
                    <a:pt x="281" y="412"/>
                  </a:lnTo>
                  <a:lnTo>
                    <a:pt x="293" y="416"/>
                  </a:lnTo>
                  <a:lnTo>
                    <a:pt x="300" y="418"/>
                  </a:lnTo>
                  <a:lnTo>
                    <a:pt x="306" y="418"/>
                  </a:lnTo>
                  <a:lnTo>
                    <a:pt x="310" y="418"/>
                  </a:lnTo>
                  <a:lnTo>
                    <a:pt x="316" y="425"/>
                  </a:lnTo>
                  <a:lnTo>
                    <a:pt x="317" y="426"/>
                  </a:lnTo>
                  <a:lnTo>
                    <a:pt x="338" y="432"/>
                  </a:lnTo>
                  <a:lnTo>
                    <a:pt x="360" y="436"/>
                  </a:lnTo>
                  <a:lnTo>
                    <a:pt x="387" y="445"/>
                  </a:lnTo>
                  <a:lnTo>
                    <a:pt x="403" y="449"/>
                  </a:lnTo>
                  <a:lnTo>
                    <a:pt x="412" y="455"/>
                  </a:lnTo>
                  <a:lnTo>
                    <a:pt x="423" y="458"/>
                  </a:lnTo>
                  <a:lnTo>
                    <a:pt x="433" y="455"/>
                  </a:lnTo>
                  <a:lnTo>
                    <a:pt x="444" y="455"/>
                  </a:lnTo>
                  <a:lnTo>
                    <a:pt x="449" y="458"/>
                  </a:lnTo>
                  <a:lnTo>
                    <a:pt x="462" y="468"/>
                  </a:lnTo>
                  <a:lnTo>
                    <a:pt x="475" y="471"/>
                  </a:lnTo>
                  <a:lnTo>
                    <a:pt x="489" y="468"/>
                  </a:lnTo>
                  <a:lnTo>
                    <a:pt x="497" y="464"/>
                  </a:lnTo>
                  <a:lnTo>
                    <a:pt x="502" y="465"/>
                  </a:lnTo>
                  <a:lnTo>
                    <a:pt x="506" y="469"/>
                  </a:lnTo>
                  <a:lnTo>
                    <a:pt x="513" y="477"/>
                  </a:lnTo>
                  <a:lnTo>
                    <a:pt x="518" y="479"/>
                  </a:lnTo>
                  <a:lnTo>
                    <a:pt x="523" y="478"/>
                  </a:lnTo>
                  <a:lnTo>
                    <a:pt x="529" y="475"/>
                  </a:lnTo>
                  <a:lnTo>
                    <a:pt x="530" y="474"/>
                  </a:lnTo>
                  <a:lnTo>
                    <a:pt x="532" y="469"/>
                  </a:lnTo>
                  <a:lnTo>
                    <a:pt x="533" y="468"/>
                  </a:lnTo>
                  <a:lnTo>
                    <a:pt x="536" y="451"/>
                  </a:lnTo>
                  <a:lnTo>
                    <a:pt x="538" y="442"/>
                  </a:lnTo>
                  <a:lnTo>
                    <a:pt x="542" y="442"/>
                  </a:lnTo>
                  <a:lnTo>
                    <a:pt x="550" y="449"/>
                  </a:lnTo>
                  <a:lnTo>
                    <a:pt x="562" y="457"/>
                  </a:lnTo>
                  <a:lnTo>
                    <a:pt x="573" y="462"/>
                  </a:lnTo>
                  <a:lnTo>
                    <a:pt x="578" y="461"/>
                  </a:lnTo>
                  <a:lnTo>
                    <a:pt x="585" y="454"/>
                  </a:lnTo>
                  <a:lnTo>
                    <a:pt x="588" y="451"/>
                  </a:lnTo>
                  <a:lnTo>
                    <a:pt x="593" y="448"/>
                  </a:lnTo>
                  <a:lnTo>
                    <a:pt x="599" y="446"/>
                  </a:lnTo>
                  <a:lnTo>
                    <a:pt x="606" y="449"/>
                  </a:lnTo>
                  <a:lnTo>
                    <a:pt x="601" y="446"/>
                  </a:lnTo>
                  <a:lnTo>
                    <a:pt x="586" y="425"/>
                  </a:lnTo>
                  <a:lnTo>
                    <a:pt x="578" y="428"/>
                  </a:lnTo>
                  <a:lnTo>
                    <a:pt x="572" y="416"/>
                  </a:lnTo>
                  <a:lnTo>
                    <a:pt x="582" y="411"/>
                  </a:lnTo>
                  <a:lnTo>
                    <a:pt x="579" y="405"/>
                  </a:lnTo>
                  <a:lnTo>
                    <a:pt x="578" y="399"/>
                  </a:lnTo>
                  <a:lnTo>
                    <a:pt x="575" y="395"/>
                  </a:lnTo>
                  <a:lnTo>
                    <a:pt x="569" y="389"/>
                  </a:lnTo>
                  <a:lnTo>
                    <a:pt x="569" y="386"/>
                  </a:lnTo>
                  <a:lnTo>
                    <a:pt x="569" y="383"/>
                  </a:lnTo>
                  <a:lnTo>
                    <a:pt x="570" y="381"/>
                  </a:lnTo>
                  <a:lnTo>
                    <a:pt x="576" y="375"/>
                  </a:lnTo>
                  <a:lnTo>
                    <a:pt x="578" y="373"/>
                  </a:lnTo>
                  <a:lnTo>
                    <a:pt x="578" y="371"/>
                  </a:lnTo>
                  <a:lnTo>
                    <a:pt x="573" y="368"/>
                  </a:lnTo>
                  <a:lnTo>
                    <a:pt x="562" y="368"/>
                  </a:lnTo>
                  <a:lnTo>
                    <a:pt x="553" y="366"/>
                  </a:lnTo>
                  <a:lnTo>
                    <a:pt x="550" y="365"/>
                  </a:lnTo>
                  <a:lnTo>
                    <a:pt x="550" y="355"/>
                  </a:lnTo>
                  <a:lnTo>
                    <a:pt x="540" y="355"/>
                  </a:lnTo>
                  <a:lnTo>
                    <a:pt x="536" y="353"/>
                  </a:lnTo>
                  <a:lnTo>
                    <a:pt x="529" y="345"/>
                  </a:lnTo>
                  <a:lnTo>
                    <a:pt x="518" y="325"/>
                  </a:lnTo>
                  <a:lnTo>
                    <a:pt x="516" y="319"/>
                  </a:lnTo>
                  <a:lnTo>
                    <a:pt x="516" y="313"/>
                  </a:lnTo>
                  <a:lnTo>
                    <a:pt x="520" y="308"/>
                  </a:lnTo>
                  <a:lnTo>
                    <a:pt x="522" y="302"/>
                  </a:lnTo>
                  <a:lnTo>
                    <a:pt x="519" y="298"/>
                  </a:lnTo>
                  <a:lnTo>
                    <a:pt x="515" y="295"/>
                  </a:lnTo>
                  <a:lnTo>
                    <a:pt x="510" y="292"/>
                  </a:lnTo>
                  <a:lnTo>
                    <a:pt x="500" y="286"/>
                  </a:lnTo>
                  <a:lnTo>
                    <a:pt x="502" y="285"/>
                  </a:lnTo>
                  <a:lnTo>
                    <a:pt x="502" y="282"/>
                  </a:lnTo>
                  <a:lnTo>
                    <a:pt x="499" y="279"/>
                  </a:lnTo>
                  <a:lnTo>
                    <a:pt x="496" y="277"/>
                  </a:lnTo>
                  <a:lnTo>
                    <a:pt x="493" y="279"/>
                  </a:lnTo>
                  <a:lnTo>
                    <a:pt x="486" y="276"/>
                  </a:lnTo>
                  <a:lnTo>
                    <a:pt x="485" y="272"/>
                  </a:lnTo>
                  <a:lnTo>
                    <a:pt x="485" y="269"/>
                  </a:lnTo>
                  <a:lnTo>
                    <a:pt x="486" y="266"/>
                  </a:lnTo>
                  <a:lnTo>
                    <a:pt x="483" y="263"/>
                  </a:lnTo>
                  <a:lnTo>
                    <a:pt x="479" y="260"/>
                  </a:lnTo>
                  <a:lnTo>
                    <a:pt x="470" y="259"/>
                  </a:lnTo>
                  <a:lnTo>
                    <a:pt x="462" y="262"/>
                  </a:lnTo>
                  <a:lnTo>
                    <a:pt x="459" y="262"/>
                  </a:lnTo>
                  <a:lnTo>
                    <a:pt x="457" y="262"/>
                  </a:lnTo>
                  <a:lnTo>
                    <a:pt x="457" y="257"/>
                  </a:lnTo>
                  <a:lnTo>
                    <a:pt x="457" y="252"/>
                  </a:lnTo>
                  <a:lnTo>
                    <a:pt x="454" y="240"/>
                  </a:lnTo>
                  <a:lnTo>
                    <a:pt x="453" y="237"/>
                  </a:lnTo>
                  <a:lnTo>
                    <a:pt x="449" y="235"/>
                  </a:lnTo>
                  <a:lnTo>
                    <a:pt x="440" y="237"/>
                  </a:lnTo>
                  <a:lnTo>
                    <a:pt x="432" y="237"/>
                  </a:lnTo>
                  <a:lnTo>
                    <a:pt x="427" y="237"/>
                  </a:lnTo>
                  <a:lnTo>
                    <a:pt x="424" y="236"/>
                  </a:lnTo>
                  <a:lnTo>
                    <a:pt x="423" y="230"/>
                  </a:lnTo>
                  <a:lnTo>
                    <a:pt x="419" y="216"/>
                  </a:lnTo>
                  <a:lnTo>
                    <a:pt x="417" y="206"/>
                  </a:lnTo>
                  <a:lnTo>
                    <a:pt x="419" y="197"/>
                  </a:lnTo>
                  <a:lnTo>
                    <a:pt x="419" y="193"/>
                  </a:lnTo>
                  <a:lnTo>
                    <a:pt x="422" y="190"/>
                  </a:lnTo>
                  <a:lnTo>
                    <a:pt x="423" y="186"/>
                  </a:lnTo>
                  <a:lnTo>
                    <a:pt x="423" y="183"/>
                  </a:lnTo>
                  <a:lnTo>
                    <a:pt x="422" y="182"/>
                  </a:lnTo>
                  <a:lnTo>
                    <a:pt x="417" y="177"/>
                  </a:lnTo>
                  <a:lnTo>
                    <a:pt x="393" y="164"/>
                  </a:lnTo>
                  <a:lnTo>
                    <a:pt x="386" y="159"/>
                  </a:lnTo>
                  <a:lnTo>
                    <a:pt x="383" y="154"/>
                  </a:lnTo>
                  <a:lnTo>
                    <a:pt x="383" y="154"/>
                  </a:lnTo>
                  <a:lnTo>
                    <a:pt x="384" y="151"/>
                  </a:lnTo>
                  <a:lnTo>
                    <a:pt x="386" y="150"/>
                  </a:lnTo>
                  <a:lnTo>
                    <a:pt x="387" y="151"/>
                  </a:lnTo>
                  <a:lnTo>
                    <a:pt x="391" y="151"/>
                  </a:lnTo>
                  <a:lnTo>
                    <a:pt x="391" y="150"/>
                  </a:lnTo>
                  <a:lnTo>
                    <a:pt x="391" y="150"/>
                  </a:lnTo>
                  <a:lnTo>
                    <a:pt x="391" y="149"/>
                  </a:lnTo>
                  <a:lnTo>
                    <a:pt x="390" y="144"/>
                  </a:lnTo>
                  <a:lnTo>
                    <a:pt x="389" y="137"/>
                  </a:lnTo>
                  <a:lnTo>
                    <a:pt x="389" y="127"/>
                  </a:lnTo>
                  <a:lnTo>
                    <a:pt x="390" y="119"/>
                  </a:lnTo>
                  <a:lnTo>
                    <a:pt x="399" y="103"/>
                  </a:lnTo>
                  <a:lnTo>
                    <a:pt x="404" y="91"/>
                  </a:lnTo>
                  <a:lnTo>
                    <a:pt x="407" y="84"/>
                  </a:lnTo>
                  <a:lnTo>
                    <a:pt x="407" y="80"/>
                  </a:lnTo>
                  <a:lnTo>
                    <a:pt x="409" y="73"/>
                  </a:lnTo>
                  <a:lnTo>
                    <a:pt x="404" y="67"/>
                  </a:lnTo>
                  <a:lnTo>
                    <a:pt x="390" y="60"/>
                  </a:lnTo>
                  <a:lnTo>
                    <a:pt x="381" y="58"/>
                  </a:lnTo>
                  <a:lnTo>
                    <a:pt x="374" y="60"/>
                  </a:lnTo>
                  <a:lnTo>
                    <a:pt x="369" y="61"/>
                  </a:lnTo>
                  <a:lnTo>
                    <a:pt x="366" y="60"/>
                  </a:lnTo>
                  <a:lnTo>
                    <a:pt x="364" y="58"/>
                  </a:lnTo>
                  <a:lnTo>
                    <a:pt x="360" y="57"/>
                  </a:lnTo>
                  <a:lnTo>
                    <a:pt x="357" y="57"/>
                  </a:lnTo>
                  <a:lnTo>
                    <a:pt x="354" y="61"/>
                  </a:lnTo>
                  <a:lnTo>
                    <a:pt x="353" y="64"/>
                  </a:lnTo>
                  <a:lnTo>
                    <a:pt x="343" y="73"/>
                  </a:lnTo>
                  <a:lnTo>
                    <a:pt x="337" y="71"/>
                  </a:lnTo>
                  <a:lnTo>
                    <a:pt x="331" y="71"/>
                  </a:lnTo>
                  <a:lnTo>
                    <a:pt x="328" y="71"/>
                  </a:lnTo>
                  <a:lnTo>
                    <a:pt x="328" y="71"/>
                  </a:lnTo>
                  <a:lnTo>
                    <a:pt x="326" y="74"/>
                  </a:lnTo>
                  <a:lnTo>
                    <a:pt x="326" y="77"/>
                  </a:lnTo>
                  <a:lnTo>
                    <a:pt x="327" y="80"/>
                  </a:lnTo>
                  <a:lnTo>
                    <a:pt x="327" y="84"/>
                  </a:lnTo>
                  <a:lnTo>
                    <a:pt x="324" y="87"/>
                  </a:lnTo>
                  <a:lnTo>
                    <a:pt x="317" y="87"/>
                  </a:lnTo>
                  <a:lnTo>
                    <a:pt x="316" y="84"/>
                  </a:lnTo>
                  <a:lnTo>
                    <a:pt x="314" y="77"/>
                  </a:lnTo>
                  <a:lnTo>
                    <a:pt x="313" y="76"/>
                  </a:lnTo>
                  <a:lnTo>
                    <a:pt x="307" y="80"/>
                  </a:lnTo>
                  <a:lnTo>
                    <a:pt x="303" y="78"/>
                  </a:lnTo>
                  <a:lnTo>
                    <a:pt x="298" y="67"/>
                  </a:lnTo>
                  <a:lnTo>
                    <a:pt x="291" y="57"/>
                  </a:lnTo>
                  <a:lnTo>
                    <a:pt x="287" y="53"/>
                  </a:lnTo>
                  <a:lnTo>
                    <a:pt x="287" y="48"/>
                  </a:lnTo>
                  <a:lnTo>
                    <a:pt x="288" y="47"/>
                  </a:lnTo>
                  <a:lnTo>
                    <a:pt x="290" y="44"/>
                  </a:lnTo>
                  <a:lnTo>
                    <a:pt x="287" y="40"/>
                  </a:lnTo>
                  <a:lnTo>
                    <a:pt x="280" y="37"/>
                  </a:lnTo>
                  <a:lnTo>
                    <a:pt x="275" y="35"/>
                  </a:lnTo>
                  <a:lnTo>
                    <a:pt x="273" y="35"/>
                  </a:lnTo>
                  <a:lnTo>
                    <a:pt x="271" y="35"/>
                  </a:lnTo>
                  <a:lnTo>
                    <a:pt x="267" y="40"/>
                  </a:lnTo>
                  <a:lnTo>
                    <a:pt x="263" y="41"/>
                  </a:lnTo>
                  <a:lnTo>
                    <a:pt x="263" y="41"/>
                  </a:lnTo>
                  <a:lnTo>
                    <a:pt x="263" y="37"/>
                  </a:lnTo>
                  <a:lnTo>
                    <a:pt x="264" y="33"/>
                  </a:lnTo>
                  <a:lnTo>
                    <a:pt x="261" y="30"/>
                  </a:lnTo>
                  <a:lnTo>
                    <a:pt x="251" y="24"/>
                  </a:lnTo>
                  <a:lnTo>
                    <a:pt x="248" y="20"/>
                  </a:lnTo>
                  <a:lnTo>
                    <a:pt x="243" y="13"/>
                  </a:lnTo>
                  <a:lnTo>
                    <a:pt x="237" y="8"/>
                  </a:lnTo>
                  <a:lnTo>
                    <a:pt x="232" y="8"/>
                  </a:lnTo>
                  <a:lnTo>
                    <a:pt x="228" y="11"/>
                  </a:lnTo>
                  <a:lnTo>
                    <a:pt x="227" y="13"/>
                  </a:lnTo>
                  <a:lnTo>
                    <a:pt x="225" y="14"/>
                  </a:lnTo>
                  <a:lnTo>
                    <a:pt x="222" y="13"/>
                  </a:lnTo>
                  <a:lnTo>
                    <a:pt x="218" y="13"/>
                  </a:lnTo>
                  <a:lnTo>
                    <a:pt x="215" y="13"/>
                  </a:lnTo>
                  <a:lnTo>
                    <a:pt x="212" y="14"/>
                  </a:lnTo>
                  <a:lnTo>
                    <a:pt x="210" y="13"/>
                  </a:lnTo>
                  <a:lnTo>
                    <a:pt x="205" y="7"/>
                  </a:lnTo>
                  <a:lnTo>
                    <a:pt x="197" y="0"/>
                  </a:lnTo>
                  <a:lnTo>
                    <a:pt x="185" y="0"/>
                  </a:lnTo>
                  <a:lnTo>
                    <a:pt x="180" y="3"/>
                  </a:lnTo>
                  <a:lnTo>
                    <a:pt x="167" y="7"/>
                  </a:lnTo>
                  <a:lnTo>
                    <a:pt x="155" y="17"/>
                  </a:lnTo>
                  <a:lnTo>
                    <a:pt x="148" y="18"/>
                  </a:lnTo>
                  <a:lnTo>
                    <a:pt x="148" y="15"/>
                  </a:lnTo>
                  <a:lnTo>
                    <a:pt x="144" y="15"/>
                  </a:lnTo>
                  <a:lnTo>
                    <a:pt x="141" y="18"/>
                  </a:lnTo>
                  <a:lnTo>
                    <a:pt x="137" y="27"/>
                  </a:lnTo>
                  <a:lnTo>
                    <a:pt x="127" y="31"/>
                  </a:lnTo>
                  <a:lnTo>
                    <a:pt x="128" y="34"/>
                  </a:lnTo>
                  <a:lnTo>
                    <a:pt x="131" y="37"/>
                  </a:lnTo>
                  <a:lnTo>
                    <a:pt x="129" y="44"/>
                  </a:lnTo>
                  <a:lnTo>
                    <a:pt x="128" y="53"/>
                  </a:lnTo>
                  <a:lnTo>
                    <a:pt x="127" y="58"/>
                  </a:lnTo>
                  <a:lnTo>
                    <a:pt x="125" y="67"/>
                  </a:lnTo>
                  <a:lnTo>
                    <a:pt x="125" y="68"/>
                  </a:lnTo>
                  <a:lnTo>
                    <a:pt x="127" y="71"/>
                  </a:lnTo>
                  <a:lnTo>
                    <a:pt x="128" y="73"/>
                  </a:lnTo>
                  <a:lnTo>
                    <a:pt x="127" y="74"/>
                  </a:lnTo>
                  <a:lnTo>
                    <a:pt x="127" y="78"/>
                  </a:lnTo>
                  <a:lnTo>
                    <a:pt x="127" y="80"/>
                  </a:lnTo>
                  <a:lnTo>
                    <a:pt x="125" y="80"/>
                  </a:lnTo>
                  <a:lnTo>
                    <a:pt x="125" y="84"/>
                  </a:lnTo>
                  <a:lnTo>
                    <a:pt x="125" y="87"/>
                  </a:lnTo>
                  <a:lnTo>
                    <a:pt x="128" y="91"/>
                  </a:lnTo>
                  <a:lnTo>
                    <a:pt x="131" y="96"/>
                  </a:lnTo>
                  <a:lnTo>
                    <a:pt x="131" y="101"/>
                  </a:lnTo>
                  <a:lnTo>
                    <a:pt x="129" y="107"/>
                  </a:lnTo>
                  <a:lnTo>
                    <a:pt x="129" y="110"/>
                  </a:lnTo>
                  <a:lnTo>
                    <a:pt x="127" y="114"/>
                  </a:lnTo>
                  <a:lnTo>
                    <a:pt x="124" y="116"/>
                  </a:lnTo>
                  <a:lnTo>
                    <a:pt x="121" y="121"/>
                  </a:lnTo>
                  <a:lnTo>
                    <a:pt x="119" y="130"/>
                  </a:lnTo>
                  <a:lnTo>
                    <a:pt x="119" y="139"/>
                  </a:lnTo>
                  <a:lnTo>
                    <a:pt x="118" y="144"/>
                  </a:lnTo>
                  <a:lnTo>
                    <a:pt x="118" y="149"/>
                  </a:lnTo>
                  <a:lnTo>
                    <a:pt x="114" y="150"/>
                  </a:lnTo>
                  <a:lnTo>
                    <a:pt x="112" y="150"/>
                  </a:lnTo>
                  <a:lnTo>
                    <a:pt x="106" y="150"/>
                  </a:lnTo>
                  <a:lnTo>
                    <a:pt x="101" y="149"/>
                  </a:lnTo>
                  <a:lnTo>
                    <a:pt x="95" y="149"/>
                  </a:lnTo>
                  <a:lnTo>
                    <a:pt x="89" y="150"/>
                  </a:lnTo>
                  <a:lnTo>
                    <a:pt x="88" y="150"/>
                  </a:lnTo>
                  <a:lnTo>
                    <a:pt x="86" y="149"/>
                  </a:lnTo>
                  <a:lnTo>
                    <a:pt x="85" y="147"/>
                  </a:lnTo>
                  <a:lnTo>
                    <a:pt x="82" y="141"/>
                  </a:lnTo>
                  <a:lnTo>
                    <a:pt x="79" y="137"/>
                  </a:lnTo>
                  <a:lnTo>
                    <a:pt x="75" y="136"/>
                  </a:lnTo>
                  <a:lnTo>
                    <a:pt x="72" y="136"/>
                  </a:lnTo>
                  <a:lnTo>
                    <a:pt x="71" y="139"/>
                  </a:lnTo>
                  <a:lnTo>
                    <a:pt x="72" y="141"/>
                  </a:lnTo>
                  <a:lnTo>
                    <a:pt x="74" y="146"/>
                  </a:lnTo>
                  <a:lnTo>
                    <a:pt x="75" y="150"/>
                  </a:lnTo>
                  <a:lnTo>
                    <a:pt x="74" y="150"/>
                  </a:lnTo>
                  <a:lnTo>
                    <a:pt x="72" y="151"/>
                  </a:lnTo>
                  <a:lnTo>
                    <a:pt x="68" y="150"/>
                  </a:lnTo>
                  <a:lnTo>
                    <a:pt x="63" y="151"/>
                  </a:lnTo>
                  <a:lnTo>
                    <a:pt x="56" y="154"/>
                  </a:lnTo>
                  <a:lnTo>
                    <a:pt x="53" y="157"/>
                  </a:lnTo>
                  <a:lnTo>
                    <a:pt x="52" y="161"/>
                  </a:lnTo>
                  <a:lnTo>
                    <a:pt x="53" y="166"/>
                  </a:lnTo>
                  <a:lnTo>
                    <a:pt x="56" y="170"/>
                  </a:lnTo>
                  <a:lnTo>
                    <a:pt x="59" y="174"/>
                  </a:lnTo>
                  <a:lnTo>
                    <a:pt x="59" y="180"/>
                  </a:lnTo>
                  <a:lnTo>
                    <a:pt x="58" y="183"/>
                  </a:lnTo>
                  <a:lnTo>
                    <a:pt x="53" y="186"/>
                  </a:lnTo>
                  <a:lnTo>
                    <a:pt x="46" y="190"/>
                  </a:lnTo>
                  <a:lnTo>
                    <a:pt x="45" y="193"/>
                  </a:lnTo>
                  <a:lnTo>
                    <a:pt x="42" y="197"/>
                  </a:lnTo>
                  <a:lnTo>
                    <a:pt x="41" y="200"/>
                  </a:lnTo>
                  <a:lnTo>
                    <a:pt x="38" y="200"/>
                  </a:lnTo>
                  <a:lnTo>
                    <a:pt x="38" y="199"/>
                  </a:lnTo>
                  <a:lnTo>
                    <a:pt x="35" y="194"/>
                  </a:lnTo>
                  <a:lnTo>
                    <a:pt x="33" y="190"/>
                  </a:lnTo>
                  <a:lnTo>
                    <a:pt x="32" y="187"/>
                  </a:lnTo>
                  <a:lnTo>
                    <a:pt x="28" y="186"/>
                  </a:lnTo>
                  <a:lnTo>
                    <a:pt x="25" y="186"/>
                  </a:lnTo>
                  <a:lnTo>
                    <a:pt x="21" y="187"/>
                  </a:lnTo>
                  <a:lnTo>
                    <a:pt x="19" y="192"/>
                  </a:lnTo>
                  <a:lnTo>
                    <a:pt x="18" y="200"/>
                  </a:lnTo>
                  <a:lnTo>
                    <a:pt x="18" y="204"/>
                  </a:lnTo>
                  <a:lnTo>
                    <a:pt x="19" y="210"/>
                  </a:lnTo>
                  <a:lnTo>
                    <a:pt x="19" y="214"/>
                  </a:lnTo>
                  <a:lnTo>
                    <a:pt x="19" y="219"/>
                  </a:lnTo>
                  <a:lnTo>
                    <a:pt x="16" y="222"/>
                  </a:lnTo>
                  <a:lnTo>
                    <a:pt x="9" y="223"/>
                  </a:lnTo>
                  <a:lnTo>
                    <a:pt x="3" y="226"/>
                  </a:lnTo>
                  <a:lnTo>
                    <a:pt x="0" y="230"/>
                  </a:lnTo>
                  <a:lnTo>
                    <a:pt x="0" y="233"/>
                  </a:lnTo>
                  <a:lnTo>
                    <a:pt x="2" y="239"/>
                  </a:lnTo>
                  <a:lnTo>
                    <a:pt x="6" y="243"/>
                  </a:lnTo>
                  <a:lnTo>
                    <a:pt x="11" y="243"/>
                  </a:lnTo>
                  <a:lnTo>
                    <a:pt x="13" y="247"/>
                  </a:lnTo>
                  <a:lnTo>
                    <a:pt x="21" y="249"/>
                  </a:lnTo>
                  <a:lnTo>
                    <a:pt x="28" y="249"/>
                  </a:lnTo>
                  <a:lnTo>
                    <a:pt x="32" y="249"/>
                  </a:lnTo>
                  <a:lnTo>
                    <a:pt x="36" y="250"/>
                  </a:lnTo>
                  <a:lnTo>
                    <a:pt x="41" y="252"/>
                  </a:lnTo>
                  <a:lnTo>
                    <a:pt x="43" y="255"/>
                  </a:lnTo>
                  <a:lnTo>
                    <a:pt x="43" y="259"/>
                  </a:lnTo>
                  <a:lnTo>
                    <a:pt x="39" y="263"/>
                  </a:lnTo>
                  <a:lnTo>
                    <a:pt x="36" y="265"/>
                  </a:lnTo>
                  <a:lnTo>
                    <a:pt x="36" y="267"/>
                  </a:lnTo>
                  <a:lnTo>
                    <a:pt x="39" y="270"/>
                  </a:lnTo>
                  <a:lnTo>
                    <a:pt x="43" y="273"/>
                  </a:lnTo>
                  <a:lnTo>
                    <a:pt x="46" y="275"/>
                  </a:lnTo>
                  <a:lnTo>
                    <a:pt x="53" y="277"/>
                  </a:lnTo>
                  <a:lnTo>
                    <a:pt x="63" y="277"/>
                  </a:lnTo>
                  <a:lnTo>
                    <a:pt x="69" y="277"/>
                  </a:lnTo>
                  <a:lnTo>
                    <a:pt x="75" y="279"/>
                  </a:lnTo>
                  <a:lnTo>
                    <a:pt x="81" y="283"/>
                  </a:lnTo>
                  <a:lnTo>
                    <a:pt x="85" y="286"/>
                  </a:lnTo>
                  <a:lnTo>
                    <a:pt x="89" y="290"/>
                  </a:lnTo>
                  <a:lnTo>
                    <a:pt x="91" y="298"/>
                  </a:lnTo>
                  <a:lnTo>
                    <a:pt x="89" y="306"/>
                  </a:lnTo>
                  <a:lnTo>
                    <a:pt x="89" y="310"/>
                  </a:lnTo>
                  <a:lnTo>
                    <a:pt x="88" y="316"/>
                  </a:lnTo>
                  <a:lnTo>
                    <a:pt x="82" y="320"/>
                  </a:lnTo>
                  <a:lnTo>
                    <a:pt x="79" y="320"/>
                  </a:lnTo>
                  <a:lnTo>
                    <a:pt x="75" y="320"/>
                  </a:lnTo>
                  <a:lnTo>
                    <a:pt x="71" y="320"/>
                  </a:lnTo>
                  <a:lnTo>
                    <a:pt x="68" y="320"/>
                  </a:lnTo>
                  <a:lnTo>
                    <a:pt x="66" y="323"/>
                  </a:lnTo>
                  <a:lnTo>
                    <a:pt x="66" y="328"/>
                  </a:lnTo>
                  <a:lnTo>
                    <a:pt x="63" y="332"/>
                  </a:lnTo>
                  <a:lnTo>
                    <a:pt x="59" y="336"/>
                  </a:lnTo>
                  <a:lnTo>
                    <a:pt x="59" y="342"/>
                  </a:lnTo>
                  <a:lnTo>
                    <a:pt x="62" y="352"/>
                  </a:lnTo>
                  <a:lnTo>
                    <a:pt x="66" y="356"/>
                  </a:lnTo>
                  <a:lnTo>
                    <a:pt x="68" y="358"/>
                  </a:lnTo>
                  <a:lnTo>
                    <a:pt x="68" y="362"/>
                  </a:lnTo>
                  <a:lnTo>
                    <a:pt x="71" y="368"/>
                  </a:lnTo>
                  <a:lnTo>
                    <a:pt x="76" y="369"/>
                  </a:lnTo>
                  <a:lnTo>
                    <a:pt x="76" y="369"/>
                  </a:lnTo>
                  <a:lnTo>
                    <a:pt x="95" y="372"/>
                  </a:lnTo>
                  <a:lnTo>
                    <a:pt x="108" y="376"/>
                  </a:lnTo>
                  <a:lnTo>
                    <a:pt x="106" y="381"/>
                  </a:lnTo>
                  <a:lnTo>
                    <a:pt x="108" y="386"/>
                  </a:lnTo>
                  <a:lnTo>
                    <a:pt x="108" y="389"/>
                  </a:lnTo>
                  <a:lnTo>
                    <a:pt x="108" y="39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65" name="Freeform 113"/>
            <p:cNvSpPr>
              <a:spLocks noEditPoints="1"/>
            </p:cNvSpPr>
            <p:nvPr/>
          </p:nvSpPr>
          <p:spPr bwMode="auto">
            <a:xfrm>
              <a:off x="3250716" y="4256584"/>
              <a:ext cx="363900" cy="429944"/>
            </a:xfrm>
            <a:custGeom>
              <a:avLst/>
              <a:gdLst>
                <a:gd name="T0" fmla="*/ 592 w 596"/>
                <a:gd name="T1" fmla="*/ 213 h 649"/>
                <a:gd name="T2" fmla="*/ 592 w 596"/>
                <a:gd name="T3" fmla="*/ 253 h 649"/>
                <a:gd name="T4" fmla="*/ 560 w 596"/>
                <a:gd name="T5" fmla="*/ 288 h 649"/>
                <a:gd name="T6" fmla="*/ 539 w 596"/>
                <a:gd name="T7" fmla="*/ 285 h 649"/>
                <a:gd name="T8" fmla="*/ 524 w 596"/>
                <a:gd name="T9" fmla="*/ 313 h 649"/>
                <a:gd name="T10" fmla="*/ 498 w 596"/>
                <a:gd name="T11" fmla="*/ 329 h 649"/>
                <a:gd name="T12" fmla="*/ 481 w 596"/>
                <a:gd name="T13" fmla="*/ 361 h 649"/>
                <a:gd name="T14" fmla="*/ 497 w 596"/>
                <a:gd name="T15" fmla="*/ 388 h 649"/>
                <a:gd name="T16" fmla="*/ 518 w 596"/>
                <a:gd name="T17" fmla="*/ 416 h 649"/>
                <a:gd name="T18" fmla="*/ 547 w 596"/>
                <a:gd name="T19" fmla="*/ 459 h 649"/>
                <a:gd name="T20" fmla="*/ 537 w 596"/>
                <a:gd name="T21" fmla="*/ 494 h 649"/>
                <a:gd name="T22" fmla="*/ 508 w 596"/>
                <a:gd name="T23" fmla="*/ 500 h 649"/>
                <a:gd name="T24" fmla="*/ 455 w 596"/>
                <a:gd name="T25" fmla="*/ 485 h 649"/>
                <a:gd name="T26" fmla="*/ 427 w 596"/>
                <a:gd name="T27" fmla="*/ 468 h 649"/>
                <a:gd name="T28" fmla="*/ 364 w 596"/>
                <a:gd name="T29" fmla="*/ 421 h 649"/>
                <a:gd name="T30" fmla="*/ 328 w 596"/>
                <a:gd name="T31" fmla="*/ 435 h 649"/>
                <a:gd name="T32" fmla="*/ 292 w 596"/>
                <a:gd name="T33" fmla="*/ 459 h 649"/>
                <a:gd name="T34" fmla="*/ 312 w 596"/>
                <a:gd name="T35" fmla="*/ 502 h 649"/>
                <a:gd name="T36" fmla="*/ 294 w 596"/>
                <a:gd name="T37" fmla="*/ 534 h 649"/>
                <a:gd name="T38" fmla="*/ 329 w 596"/>
                <a:gd name="T39" fmla="*/ 601 h 649"/>
                <a:gd name="T40" fmla="*/ 259 w 596"/>
                <a:gd name="T41" fmla="*/ 560 h 649"/>
                <a:gd name="T42" fmla="*/ 202 w 596"/>
                <a:gd name="T43" fmla="*/ 564 h 649"/>
                <a:gd name="T44" fmla="*/ 176 w 596"/>
                <a:gd name="T45" fmla="*/ 606 h 649"/>
                <a:gd name="T46" fmla="*/ 153 w 596"/>
                <a:gd name="T47" fmla="*/ 647 h 649"/>
                <a:gd name="T48" fmla="*/ 53 w 596"/>
                <a:gd name="T49" fmla="*/ 610 h 649"/>
                <a:gd name="T50" fmla="*/ 103 w 596"/>
                <a:gd name="T51" fmla="*/ 573 h 649"/>
                <a:gd name="T52" fmla="*/ 57 w 596"/>
                <a:gd name="T53" fmla="*/ 535 h 649"/>
                <a:gd name="T54" fmla="*/ 33 w 596"/>
                <a:gd name="T55" fmla="*/ 522 h 649"/>
                <a:gd name="T56" fmla="*/ 14 w 596"/>
                <a:gd name="T57" fmla="*/ 522 h 649"/>
                <a:gd name="T58" fmla="*/ 30 w 596"/>
                <a:gd name="T59" fmla="*/ 451 h 649"/>
                <a:gd name="T60" fmla="*/ 85 w 596"/>
                <a:gd name="T61" fmla="*/ 388 h 649"/>
                <a:gd name="T62" fmla="*/ 122 w 596"/>
                <a:gd name="T63" fmla="*/ 343 h 649"/>
                <a:gd name="T64" fmla="*/ 176 w 596"/>
                <a:gd name="T65" fmla="*/ 308 h 649"/>
                <a:gd name="T66" fmla="*/ 229 w 596"/>
                <a:gd name="T67" fmla="*/ 315 h 649"/>
                <a:gd name="T68" fmla="*/ 251 w 596"/>
                <a:gd name="T69" fmla="*/ 286 h 649"/>
                <a:gd name="T70" fmla="*/ 315 w 596"/>
                <a:gd name="T71" fmla="*/ 237 h 649"/>
                <a:gd name="T72" fmla="*/ 265 w 596"/>
                <a:gd name="T73" fmla="*/ 223 h 649"/>
                <a:gd name="T74" fmla="*/ 189 w 596"/>
                <a:gd name="T75" fmla="*/ 215 h 649"/>
                <a:gd name="T76" fmla="*/ 149 w 596"/>
                <a:gd name="T77" fmla="*/ 189 h 649"/>
                <a:gd name="T78" fmla="*/ 120 w 596"/>
                <a:gd name="T79" fmla="*/ 159 h 649"/>
                <a:gd name="T80" fmla="*/ 103 w 596"/>
                <a:gd name="T81" fmla="*/ 96 h 649"/>
                <a:gd name="T82" fmla="*/ 153 w 596"/>
                <a:gd name="T83" fmla="*/ 33 h 649"/>
                <a:gd name="T84" fmla="*/ 208 w 596"/>
                <a:gd name="T85" fmla="*/ 64 h 649"/>
                <a:gd name="T86" fmla="*/ 179 w 596"/>
                <a:gd name="T87" fmla="*/ 106 h 649"/>
                <a:gd name="T88" fmla="*/ 209 w 596"/>
                <a:gd name="T89" fmla="*/ 103 h 649"/>
                <a:gd name="T90" fmla="*/ 218 w 596"/>
                <a:gd name="T91" fmla="*/ 124 h 649"/>
                <a:gd name="T92" fmla="*/ 249 w 596"/>
                <a:gd name="T93" fmla="*/ 152 h 649"/>
                <a:gd name="T94" fmla="*/ 278 w 596"/>
                <a:gd name="T95" fmla="*/ 123 h 649"/>
                <a:gd name="T96" fmla="*/ 358 w 596"/>
                <a:gd name="T97" fmla="*/ 126 h 649"/>
                <a:gd name="T98" fmla="*/ 349 w 596"/>
                <a:gd name="T99" fmla="*/ 106 h 649"/>
                <a:gd name="T100" fmla="*/ 351 w 596"/>
                <a:gd name="T101" fmla="*/ 76 h 649"/>
                <a:gd name="T102" fmla="*/ 378 w 596"/>
                <a:gd name="T103" fmla="*/ 46 h 649"/>
                <a:gd name="T104" fmla="*/ 372 w 596"/>
                <a:gd name="T105" fmla="*/ 5 h 649"/>
                <a:gd name="T106" fmla="*/ 421 w 596"/>
                <a:gd name="T107" fmla="*/ 17 h 649"/>
                <a:gd name="T108" fmla="*/ 477 w 596"/>
                <a:gd name="T109" fmla="*/ 71 h 649"/>
                <a:gd name="T110" fmla="*/ 536 w 596"/>
                <a:gd name="T111" fmla="*/ 119 h 649"/>
                <a:gd name="T112" fmla="*/ 569 w 596"/>
                <a:gd name="T113" fmla="*/ 113 h 649"/>
                <a:gd name="T114" fmla="*/ 407 w 596"/>
                <a:gd name="T115" fmla="*/ 457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96" h="649">
                  <a:moveTo>
                    <a:pt x="592" y="170"/>
                  </a:moveTo>
                  <a:lnTo>
                    <a:pt x="593" y="173"/>
                  </a:lnTo>
                  <a:lnTo>
                    <a:pt x="596" y="176"/>
                  </a:lnTo>
                  <a:lnTo>
                    <a:pt x="594" y="183"/>
                  </a:lnTo>
                  <a:lnTo>
                    <a:pt x="593" y="192"/>
                  </a:lnTo>
                  <a:lnTo>
                    <a:pt x="592" y="197"/>
                  </a:lnTo>
                  <a:lnTo>
                    <a:pt x="590" y="206"/>
                  </a:lnTo>
                  <a:lnTo>
                    <a:pt x="590" y="207"/>
                  </a:lnTo>
                  <a:lnTo>
                    <a:pt x="592" y="210"/>
                  </a:lnTo>
                  <a:lnTo>
                    <a:pt x="593" y="212"/>
                  </a:lnTo>
                  <a:lnTo>
                    <a:pt x="592" y="213"/>
                  </a:lnTo>
                  <a:lnTo>
                    <a:pt x="592" y="217"/>
                  </a:lnTo>
                  <a:lnTo>
                    <a:pt x="592" y="219"/>
                  </a:lnTo>
                  <a:lnTo>
                    <a:pt x="590" y="219"/>
                  </a:lnTo>
                  <a:lnTo>
                    <a:pt x="590" y="223"/>
                  </a:lnTo>
                  <a:lnTo>
                    <a:pt x="590" y="226"/>
                  </a:lnTo>
                  <a:lnTo>
                    <a:pt x="593" y="230"/>
                  </a:lnTo>
                  <a:lnTo>
                    <a:pt x="596" y="235"/>
                  </a:lnTo>
                  <a:lnTo>
                    <a:pt x="596" y="240"/>
                  </a:lnTo>
                  <a:lnTo>
                    <a:pt x="594" y="246"/>
                  </a:lnTo>
                  <a:lnTo>
                    <a:pt x="594" y="249"/>
                  </a:lnTo>
                  <a:lnTo>
                    <a:pt x="592" y="253"/>
                  </a:lnTo>
                  <a:lnTo>
                    <a:pt x="589" y="255"/>
                  </a:lnTo>
                  <a:lnTo>
                    <a:pt x="586" y="260"/>
                  </a:lnTo>
                  <a:lnTo>
                    <a:pt x="584" y="269"/>
                  </a:lnTo>
                  <a:lnTo>
                    <a:pt x="584" y="278"/>
                  </a:lnTo>
                  <a:lnTo>
                    <a:pt x="583" y="283"/>
                  </a:lnTo>
                  <a:lnTo>
                    <a:pt x="583" y="288"/>
                  </a:lnTo>
                  <a:lnTo>
                    <a:pt x="579" y="289"/>
                  </a:lnTo>
                  <a:lnTo>
                    <a:pt x="577" y="289"/>
                  </a:lnTo>
                  <a:lnTo>
                    <a:pt x="571" y="289"/>
                  </a:lnTo>
                  <a:lnTo>
                    <a:pt x="566" y="288"/>
                  </a:lnTo>
                  <a:lnTo>
                    <a:pt x="560" y="288"/>
                  </a:lnTo>
                  <a:lnTo>
                    <a:pt x="554" y="289"/>
                  </a:lnTo>
                  <a:lnTo>
                    <a:pt x="553" y="289"/>
                  </a:lnTo>
                  <a:lnTo>
                    <a:pt x="551" y="288"/>
                  </a:lnTo>
                  <a:lnTo>
                    <a:pt x="550" y="286"/>
                  </a:lnTo>
                  <a:lnTo>
                    <a:pt x="547" y="280"/>
                  </a:lnTo>
                  <a:lnTo>
                    <a:pt x="544" y="276"/>
                  </a:lnTo>
                  <a:lnTo>
                    <a:pt x="540" y="275"/>
                  </a:lnTo>
                  <a:lnTo>
                    <a:pt x="537" y="275"/>
                  </a:lnTo>
                  <a:lnTo>
                    <a:pt x="536" y="278"/>
                  </a:lnTo>
                  <a:lnTo>
                    <a:pt x="537" y="280"/>
                  </a:lnTo>
                  <a:lnTo>
                    <a:pt x="539" y="285"/>
                  </a:lnTo>
                  <a:lnTo>
                    <a:pt x="540" y="289"/>
                  </a:lnTo>
                  <a:lnTo>
                    <a:pt x="539" y="289"/>
                  </a:lnTo>
                  <a:lnTo>
                    <a:pt x="537" y="290"/>
                  </a:lnTo>
                  <a:lnTo>
                    <a:pt x="533" y="289"/>
                  </a:lnTo>
                  <a:lnTo>
                    <a:pt x="528" y="290"/>
                  </a:lnTo>
                  <a:lnTo>
                    <a:pt x="521" y="293"/>
                  </a:lnTo>
                  <a:lnTo>
                    <a:pt x="518" y="296"/>
                  </a:lnTo>
                  <a:lnTo>
                    <a:pt x="517" y="300"/>
                  </a:lnTo>
                  <a:lnTo>
                    <a:pt x="518" y="305"/>
                  </a:lnTo>
                  <a:lnTo>
                    <a:pt x="521" y="309"/>
                  </a:lnTo>
                  <a:lnTo>
                    <a:pt x="524" y="313"/>
                  </a:lnTo>
                  <a:lnTo>
                    <a:pt x="524" y="319"/>
                  </a:lnTo>
                  <a:lnTo>
                    <a:pt x="523" y="322"/>
                  </a:lnTo>
                  <a:lnTo>
                    <a:pt x="518" y="325"/>
                  </a:lnTo>
                  <a:lnTo>
                    <a:pt x="511" y="329"/>
                  </a:lnTo>
                  <a:lnTo>
                    <a:pt x="510" y="332"/>
                  </a:lnTo>
                  <a:lnTo>
                    <a:pt x="507" y="336"/>
                  </a:lnTo>
                  <a:lnTo>
                    <a:pt x="506" y="339"/>
                  </a:lnTo>
                  <a:lnTo>
                    <a:pt x="503" y="339"/>
                  </a:lnTo>
                  <a:lnTo>
                    <a:pt x="503" y="338"/>
                  </a:lnTo>
                  <a:lnTo>
                    <a:pt x="500" y="333"/>
                  </a:lnTo>
                  <a:lnTo>
                    <a:pt x="498" y="329"/>
                  </a:lnTo>
                  <a:lnTo>
                    <a:pt x="497" y="326"/>
                  </a:lnTo>
                  <a:lnTo>
                    <a:pt x="493" y="325"/>
                  </a:lnTo>
                  <a:lnTo>
                    <a:pt x="490" y="325"/>
                  </a:lnTo>
                  <a:lnTo>
                    <a:pt x="486" y="326"/>
                  </a:lnTo>
                  <a:lnTo>
                    <a:pt x="484" y="331"/>
                  </a:lnTo>
                  <a:lnTo>
                    <a:pt x="483" y="339"/>
                  </a:lnTo>
                  <a:lnTo>
                    <a:pt x="483" y="343"/>
                  </a:lnTo>
                  <a:lnTo>
                    <a:pt x="484" y="349"/>
                  </a:lnTo>
                  <a:lnTo>
                    <a:pt x="484" y="353"/>
                  </a:lnTo>
                  <a:lnTo>
                    <a:pt x="484" y="358"/>
                  </a:lnTo>
                  <a:lnTo>
                    <a:pt x="481" y="361"/>
                  </a:lnTo>
                  <a:lnTo>
                    <a:pt x="474" y="362"/>
                  </a:lnTo>
                  <a:lnTo>
                    <a:pt x="468" y="365"/>
                  </a:lnTo>
                  <a:lnTo>
                    <a:pt x="465" y="369"/>
                  </a:lnTo>
                  <a:lnTo>
                    <a:pt x="465" y="372"/>
                  </a:lnTo>
                  <a:lnTo>
                    <a:pt x="467" y="378"/>
                  </a:lnTo>
                  <a:lnTo>
                    <a:pt x="471" y="382"/>
                  </a:lnTo>
                  <a:lnTo>
                    <a:pt x="476" y="382"/>
                  </a:lnTo>
                  <a:lnTo>
                    <a:pt x="478" y="386"/>
                  </a:lnTo>
                  <a:lnTo>
                    <a:pt x="486" y="388"/>
                  </a:lnTo>
                  <a:lnTo>
                    <a:pt x="493" y="388"/>
                  </a:lnTo>
                  <a:lnTo>
                    <a:pt x="497" y="388"/>
                  </a:lnTo>
                  <a:lnTo>
                    <a:pt x="501" y="389"/>
                  </a:lnTo>
                  <a:lnTo>
                    <a:pt x="506" y="391"/>
                  </a:lnTo>
                  <a:lnTo>
                    <a:pt x="508" y="394"/>
                  </a:lnTo>
                  <a:lnTo>
                    <a:pt x="508" y="398"/>
                  </a:lnTo>
                  <a:lnTo>
                    <a:pt x="504" y="402"/>
                  </a:lnTo>
                  <a:lnTo>
                    <a:pt x="501" y="404"/>
                  </a:lnTo>
                  <a:lnTo>
                    <a:pt x="501" y="406"/>
                  </a:lnTo>
                  <a:lnTo>
                    <a:pt x="504" y="409"/>
                  </a:lnTo>
                  <a:lnTo>
                    <a:pt x="508" y="412"/>
                  </a:lnTo>
                  <a:lnTo>
                    <a:pt x="511" y="414"/>
                  </a:lnTo>
                  <a:lnTo>
                    <a:pt x="518" y="416"/>
                  </a:lnTo>
                  <a:lnTo>
                    <a:pt x="528" y="416"/>
                  </a:lnTo>
                  <a:lnTo>
                    <a:pt x="534" y="416"/>
                  </a:lnTo>
                  <a:lnTo>
                    <a:pt x="540" y="418"/>
                  </a:lnTo>
                  <a:lnTo>
                    <a:pt x="546" y="422"/>
                  </a:lnTo>
                  <a:lnTo>
                    <a:pt x="550" y="425"/>
                  </a:lnTo>
                  <a:lnTo>
                    <a:pt x="554" y="429"/>
                  </a:lnTo>
                  <a:lnTo>
                    <a:pt x="556" y="437"/>
                  </a:lnTo>
                  <a:lnTo>
                    <a:pt x="554" y="445"/>
                  </a:lnTo>
                  <a:lnTo>
                    <a:pt x="554" y="449"/>
                  </a:lnTo>
                  <a:lnTo>
                    <a:pt x="553" y="455"/>
                  </a:lnTo>
                  <a:lnTo>
                    <a:pt x="547" y="459"/>
                  </a:lnTo>
                  <a:lnTo>
                    <a:pt x="544" y="459"/>
                  </a:lnTo>
                  <a:lnTo>
                    <a:pt x="540" y="459"/>
                  </a:lnTo>
                  <a:lnTo>
                    <a:pt x="536" y="459"/>
                  </a:lnTo>
                  <a:lnTo>
                    <a:pt x="533" y="459"/>
                  </a:lnTo>
                  <a:lnTo>
                    <a:pt x="531" y="462"/>
                  </a:lnTo>
                  <a:lnTo>
                    <a:pt x="531" y="467"/>
                  </a:lnTo>
                  <a:lnTo>
                    <a:pt x="533" y="469"/>
                  </a:lnTo>
                  <a:lnTo>
                    <a:pt x="530" y="474"/>
                  </a:lnTo>
                  <a:lnTo>
                    <a:pt x="530" y="480"/>
                  </a:lnTo>
                  <a:lnTo>
                    <a:pt x="533" y="490"/>
                  </a:lnTo>
                  <a:lnTo>
                    <a:pt x="537" y="494"/>
                  </a:lnTo>
                  <a:lnTo>
                    <a:pt x="539" y="495"/>
                  </a:lnTo>
                  <a:lnTo>
                    <a:pt x="539" y="500"/>
                  </a:lnTo>
                  <a:lnTo>
                    <a:pt x="541" y="505"/>
                  </a:lnTo>
                  <a:lnTo>
                    <a:pt x="541" y="505"/>
                  </a:lnTo>
                  <a:lnTo>
                    <a:pt x="541" y="505"/>
                  </a:lnTo>
                  <a:lnTo>
                    <a:pt x="533" y="498"/>
                  </a:lnTo>
                  <a:lnTo>
                    <a:pt x="526" y="494"/>
                  </a:lnTo>
                  <a:lnTo>
                    <a:pt x="518" y="492"/>
                  </a:lnTo>
                  <a:lnTo>
                    <a:pt x="514" y="494"/>
                  </a:lnTo>
                  <a:lnTo>
                    <a:pt x="514" y="494"/>
                  </a:lnTo>
                  <a:lnTo>
                    <a:pt x="508" y="500"/>
                  </a:lnTo>
                  <a:lnTo>
                    <a:pt x="501" y="501"/>
                  </a:lnTo>
                  <a:lnTo>
                    <a:pt x="494" y="500"/>
                  </a:lnTo>
                  <a:lnTo>
                    <a:pt x="491" y="498"/>
                  </a:lnTo>
                  <a:lnTo>
                    <a:pt x="488" y="495"/>
                  </a:lnTo>
                  <a:lnTo>
                    <a:pt x="488" y="495"/>
                  </a:lnTo>
                  <a:lnTo>
                    <a:pt x="480" y="488"/>
                  </a:lnTo>
                  <a:lnTo>
                    <a:pt x="474" y="485"/>
                  </a:lnTo>
                  <a:lnTo>
                    <a:pt x="470" y="484"/>
                  </a:lnTo>
                  <a:lnTo>
                    <a:pt x="465" y="484"/>
                  </a:lnTo>
                  <a:lnTo>
                    <a:pt x="460" y="484"/>
                  </a:lnTo>
                  <a:lnTo>
                    <a:pt x="455" y="485"/>
                  </a:lnTo>
                  <a:lnTo>
                    <a:pt x="451" y="488"/>
                  </a:lnTo>
                  <a:lnTo>
                    <a:pt x="437" y="501"/>
                  </a:lnTo>
                  <a:lnTo>
                    <a:pt x="437" y="501"/>
                  </a:lnTo>
                  <a:lnTo>
                    <a:pt x="434" y="497"/>
                  </a:lnTo>
                  <a:lnTo>
                    <a:pt x="434" y="491"/>
                  </a:lnTo>
                  <a:lnTo>
                    <a:pt x="437" y="484"/>
                  </a:lnTo>
                  <a:lnTo>
                    <a:pt x="437" y="481"/>
                  </a:lnTo>
                  <a:lnTo>
                    <a:pt x="435" y="477"/>
                  </a:lnTo>
                  <a:lnTo>
                    <a:pt x="433" y="474"/>
                  </a:lnTo>
                  <a:lnTo>
                    <a:pt x="425" y="472"/>
                  </a:lnTo>
                  <a:lnTo>
                    <a:pt x="427" y="468"/>
                  </a:lnTo>
                  <a:lnTo>
                    <a:pt x="407" y="458"/>
                  </a:lnTo>
                  <a:lnTo>
                    <a:pt x="407" y="464"/>
                  </a:lnTo>
                  <a:lnTo>
                    <a:pt x="394" y="459"/>
                  </a:lnTo>
                  <a:lnTo>
                    <a:pt x="394" y="452"/>
                  </a:lnTo>
                  <a:lnTo>
                    <a:pt x="378" y="441"/>
                  </a:lnTo>
                  <a:lnTo>
                    <a:pt x="370" y="444"/>
                  </a:lnTo>
                  <a:lnTo>
                    <a:pt x="368" y="437"/>
                  </a:lnTo>
                  <a:lnTo>
                    <a:pt x="367" y="435"/>
                  </a:lnTo>
                  <a:lnTo>
                    <a:pt x="367" y="434"/>
                  </a:lnTo>
                  <a:lnTo>
                    <a:pt x="365" y="428"/>
                  </a:lnTo>
                  <a:lnTo>
                    <a:pt x="364" y="421"/>
                  </a:lnTo>
                  <a:lnTo>
                    <a:pt x="357" y="418"/>
                  </a:lnTo>
                  <a:lnTo>
                    <a:pt x="347" y="415"/>
                  </a:lnTo>
                  <a:lnTo>
                    <a:pt x="344" y="424"/>
                  </a:lnTo>
                  <a:lnTo>
                    <a:pt x="339" y="427"/>
                  </a:lnTo>
                  <a:lnTo>
                    <a:pt x="337" y="421"/>
                  </a:lnTo>
                  <a:lnTo>
                    <a:pt x="332" y="414"/>
                  </a:lnTo>
                  <a:lnTo>
                    <a:pt x="324" y="415"/>
                  </a:lnTo>
                  <a:lnTo>
                    <a:pt x="315" y="416"/>
                  </a:lnTo>
                  <a:lnTo>
                    <a:pt x="322" y="421"/>
                  </a:lnTo>
                  <a:lnTo>
                    <a:pt x="328" y="425"/>
                  </a:lnTo>
                  <a:lnTo>
                    <a:pt x="328" y="435"/>
                  </a:lnTo>
                  <a:lnTo>
                    <a:pt x="328" y="441"/>
                  </a:lnTo>
                  <a:lnTo>
                    <a:pt x="324" y="447"/>
                  </a:lnTo>
                  <a:lnTo>
                    <a:pt x="309" y="449"/>
                  </a:lnTo>
                  <a:lnTo>
                    <a:pt x="302" y="449"/>
                  </a:lnTo>
                  <a:lnTo>
                    <a:pt x="296" y="452"/>
                  </a:lnTo>
                  <a:lnTo>
                    <a:pt x="295" y="454"/>
                  </a:lnTo>
                  <a:lnTo>
                    <a:pt x="292" y="451"/>
                  </a:lnTo>
                  <a:lnTo>
                    <a:pt x="288" y="447"/>
                  </a:lnTo>
                  <a:lnTo>
                    <a:pt x="284" y="448"/>
                  </a:lnTo>
                  <a:lnTo>
                    <a:pt x="284" y="455"/>
                  </a:lnTo>
                  <a:lnTo>
                    <a:pt x="292" y="459"/>
                  </a:lnTo>
                  <a:lnTo>
                    <a:pt x="301" y="469"/>
                  </a:lnTo>
                  <a:lnTo>
                    <a:pt x="307" y="474"/>
                  </a:lnTo>
                  <a:lnTo>
                    <a:pt x="312" y="478"/>
                  </a:lnTo>
                  <a:lnTo>
                    <a:pt x="325" y="485"/>
                  </a:lnTo>
                  <a:lnTo>
                    <a:pt x="332" y="490"/>
                  </a:lnTo>
                  <a:lnTo>
                    <a:pt x="331" y="495"/>
                  </a:lnTo>
                  <a:lnTo>
                    <a:pt x="331" y="498"/>
                  </a:lnTo>
                  <a:lnTo>
                    <a:pt x="329" y="501"/>
                  </a:lnTo>
                  <a:lnTo>
                    <a:pt x="327" y="502"/>
                  </a:lnTo>
                  <a:lnTo>
                    <a:pt x="318" y="501"/>
                  </a:lnTo>
                  <a:lnTo>
                    <a:pt x="312" y="502"/>
                  </a:lnTo>
                  <a:lnTo>
                    <a:pt x="308" y="500"/>
                  </a:lnTo>
                  <a:lnTo>
                    <a:pt x="302" y="494"/>
                  </a:lnTo>
                  <a:lnTo>
                    <a:pt x="299" y="491"/>
                  </a:lnTo>
                  <a:lnTo>
                    <a:pt x="296" y="487"/>
                  </a:lnTo>
                  <a:lnTo>
                    <a:pt x="292" y="491"/>
                  </a:lnTo>
                  <a:lnTo>
                    <a:pt x="286" y="495"/>
                  </a:lnTo>
                  <a:lnTo>
                    <a:pt x="282" y="498"/>
                  </a:lnTo>
                  <a:lnTo>
                    <a:pt x="279" y="507"/>
                  </a:lnTo>
                  <a:lnTo>
                    <a:pt x="279" y="515"/>
                  </a:lnTo>
                  <a:lnTo>
                    <a:pt x="286" y="522"/>
                  </a:lnTo>
                  <a:lnTo>
                    <a:pt x="294" y="534"/>
                  </a:lnTo>
                  <a:lnTo>
                    <a:pt x="298" y="541"/>
                  </a:lnTo>
                  <a:lnTo>
                    <a:pt x="307" y="543"/>
                  </a:lnTo>
                  <a:lnTo>
                    <a:pt x="311" y="544"/>
                  </a:lnTo>
                  <a:lnTo>
                    <a:pt x="314" y="550"/>
                  </a:lnTo>
                  <a:lnTo>
                    <a:pt x="314" y="555"/>
                  </a:lnTo>
                  <a:lnTo>
                    <a:pt x="315" y="565"/>
                  </a:lnTo>
                  <a:lnTo>
                    <a:pt x="321" y="571"/>
                  </a:lnTo>
                  <a:lnTo>
                    <a:pt x="331" y="584"/>
                  </a:lnTo>
                  <a:lnTo>
                    <a:pt x="334" y="590"/>
                  </a:lnTo>
                  <a:lnTo>
                    <a:pt x="332" y="597"/>
                  </a:lnTo>
                  <a:lnTo>
                    <a:pt x="329" y="601"/>
                  </a:lnTo>
                  <a:lnTo>
                    <a:pt x="328" y="603"/>
                  </a:lnTo>
                  <a:lnTo>
                    <a:pt x="319" y="606"/>
                  </a:lnTo>
                  <a:lnTo>
                    <a:pt x="312" y="604"/>
                  </a:lnTo>
                  <a:lnTo>
                    <a:pt x="308" y="598"/>
                  </a:lnTo>
                  <a:lnTo>
                    <a:pt x="294" y="587"/>
                  </a:lnTo>
                  <a:lnTo>
                    <a:pt x="285" y="584"/>
                  </a:lnTo>
                  <a:lnTo>
                    <a:pt x="282" y="578"/>
                  </a:lnTo>
                  <a:lnTo>
                    <a:pt x="281" y="577"/>
                  </a:lnTo>
                  <a:lnTo>
                    <a:pt x="274" y="565"/>
                  </a:lnTo>
                  <a:lnTo>
                    <a:pt x="266" y="561"/>
                  </a:lnTo>
                  <a:lnTo>
                    <a:pt x="259" y="560"/>
                  </a:lnTo>
                  <a:lnTo>
                    <a:pt x="245" y="551"/>
                  </a:lnTo>
                  <a:lnTo>
                    <a:pt x="245" y="551"/>
                  </a:lnTo>
                  <a:lnTo>
                    <a:pt x="238" y="544"/>
                  </a:lnTo>
                  <a:lnTo>
                    <a:pt x="236" y="545"/>
                  </a:lnTo>
                  <a:lnTo>
                    <a:pt x="232" y="550"/>
                  </a:lnTo>
                  <a:lnTo>
                    <a:pt x="228" y="554"/>
                  </a:lnTo>
                  <a:lnTo>
                    <a:pt x="223" y="555"/>
                  </a:lnTo>
                  <a:lnTo>
                    <a:pt x="216" y="557"/>
                  </a:lnTo>
                  <a:lnTo>
                    <a:pt x="213" y="560"/>
                  </a:lnTo>
                  <a:lnTo>
                    <a:pt x="209" y="561"/>
                  </a:lnTo>
                  <a:lnTo>
                    <a:pt x="202" y="564"/>
                  </a:lnTo>
                  <a:lnTo>
                    <a:pt x="195" y="563"/>
                  </a:lnTo>
                  <a:lnTo>
                    <a:pt x="186" y="561"/>
                  </a:lnTo>
                  <a:lnTo>
                    <a:pt x="183" y="565"/>
                  </a:lnTo>
                  <a:lnTo>
                    <a:pt x="182" y="573"/>
                  </a:lnTo>
                  <a:lnTo>
                    <a:pt x="185" y="580"/>
                  </a:lnTo>
                  <a:lnTo>
                    <a:pt x="185" y="581"/>
                  </a:lnTo>
                  <a:lnTo>
                    <a:pt x="183" y="587"/>
                  </a:lnTo>
                  <a:lnTo>
                    <a:pt x="179" y="594"/>
                  </a:lnTo>
                  <a:lnTo>
                    <a:pt x="176" y="598"/>
                  </a:lnTo>
                  <a:lnTo>
                    <a:pt x="175" y="603"/>
                  </a:lnTo>
                  <a:lnTo>
                    <a:pt x="176" y="606"/>
                  </a:lnTo>
                  <a:lnTo>
                    <a:pt x="183" y="607"/>
                  </a:lnTo>
                  <a:lnTo>
                    <a:pt x="180" y="616"/>
                  </a:lnTo>
                  <a:lnTo>
                    <a:pt x="178" y="623"/>
                  </a:lnTo>
                  <a:lnTo>
                    <a:pt x="175" y="630"/>
                  </a:lnTo>
                  <a:lnTo>
                    <a:pt x="173" y="634"/>
                  </a:lnTo>
                  <a:lnTo>
                    <a:pt x="173" y="636"/>
                  </a:lnTo>
                  <a:lnTo>
                    <a:pt x="173" y="636"/>
                  </a:lnTo>
                  <a:lnTo>
                    <a:pt x="175" y="634"/>
                  </a:lnTo>
                  <a:lnTo>
                    <a:pt x="172" y="636"/>
                  </a:lnTo>
                  <a:lnTo>
                    <a:pt x="153" y="647"/>
                  </a:lnTo>
                  <a:lnTo>
                    <a:pt x="153" y="647"/>
                  </a:lnTo>
                  <a:lnTo>
                    <a:pt x="140" y="649"/>
                  </a:lnTo>
                  <a:lnTo>
                    <a:pt x="129" y="647"/>
                  </a:lnTo>
                  <a:lnTo>
                    <a:pt x="117" y="643"/>
                  </a:lnTo>
                  <a:lnTo>
                    <a:pt x="107" y="637"/>
                  </a:lnTo>
                  <a:lnTo>
                    <a:pt x="107" y="637"/>
                  </a:lnTo>
                  <a:lnTo>
                    <a:pt x="76" y="644"/>
                  </a:lnTo>
                  <a:lnTo>
                    <a:pt x="76" y="644"/>
                  </a:lnTo>
                  <a:lnTo>
                    <a:pt x="72" y="641"/>
                  </a:lnTo>
                  <a:lnTo>
                    <a:pt x="57" y="624"/>
                  </a:lnTo>
                  <a:lnTo>
                    <a:pt x="56" y="617"/>
                  </a:lnTo>
                  <a:lnTo>
                    <a:pt x="53" y="610"/>
                  </a:lnTo>
                  <a:lnTo>
                    <a:pt x="59" y="604"/>
                  </a:lnTo>
                  <a:lnTo>
                    <a:pt x="63" y="601"/>
                  </a:lnTo>
                  <a:lnTo>
                    <a:pt x="67" y="600"/>
                  </a:lnTo>
                  <a:lnTo>
                    <a:pt x="73" y="600"/>
                  </a:lnTo>
                  <a:lnTo>
                    <a:pt x="79" y="598"/>
                  </a:lnTo>
                  <a:lnTo>
                    <a:pt x="83" y="597"/>
                  </a:lnTo>
                  <a:lnTo>
                    <a:pt x="89" y="596"/>
                  </a:lnTo>
                  <a:lnTo>
                    <a:pt x="95" y="593"/>
                  </a:lnTo>
                  <a:lnTo>
                    <a:pt x="102" y="583"/>
                  </a:lnTo>
                  <a:lnTo>
                    <a:pt x="105" y="577"/>
                  </a:lnTo>
                  <a:lnTo>
                    <a:pt x="103" y="573"/>
                  </a:lnTo>
                  <a:lnTo>
                    <a:pt x="97" y="565"/>
                  </a:lnTo>
                  <a:lnTo>
                    <a:pt x="92" y="558"/>
                  </a:lnTo>
                  <a:lnTo>
                    <a:pt x="89" y="554"/>
                  </a:lnTo>
                  <a:lnTo>
                    <a:pt x="86" y="550"/>
                  </a:lnTo>
                  <a:lnTo>
                    <a:pt x="77" y="550"/>
                  </a:lnTo>
                  <a:lnTo>
                    <a:pt x="73" y="550"/>
                  </a:lnTo>
                  <a:lnTo>
                    <a:pt x="72" y="548"/>
                  </a:lnTo>
                  <a:lnTo>
                    <a:pt x="70" y="544"/>
                  </a:lnTo>
                  <a:lnTo>
                    <a:pt x="64" y="540"/>
                  </a:lnTo>
                  <a:lnTo>
                    <a:pt x="62" y="538"/>
                  </a:lnTo>
                  <a:lnTo>
                    <a:pt x="57" y="535"/>
                  </a:lnTo>
                  <a:lnTo>
                    <a:pt x="56" y="532"/>
                  </a:lnTo>
                  <a:lnTo>
                    <a:pt x="56" y="531"/>
                  </a:lnTo>
                  <a:lnTo>
                    <a:pt x="59" y="527"/>
                  </a:lnTo>
                  <a:lnTo>
                    <a:pt x="59" y="525"/>
                  </a:lnTo>
                  <a:lnTo>
                    <a:pt x="52" y="524"/>
                  </a:lnTo>
                  <a:lnTo>
                    <a:pt x="47" y="522"/>
                  </a:lnTo>
                  <a:lnTo>
                    <a:pt x="44" y="518"/>
                  </a:lnTo>
                  <a:lnTo>
                    <a:pt x="42" y="518"/>
                  </a:lnTo>
                  <a:lnTo>
                    <a:pt x="37" y="520"/>
                  </a:lnTo>
                  <a:lnTo>
                    <a:pt x="36" y="521"/>
                  </a:lnTo>
                  <a:lnTo>
                    <a:pt x="33" y="522"/>
                  </a:lnTo>
                  <a:lnTo>
                    <a:pt x="29" y="528"/>
                  </a:lnTo>
                  <a:lnTo>
                    <a:pt x="27" y="531"/>
                  </a:lnTo>
                  <a:lnTo>
                    <a:pt x="23" y="535"/>
                  </a:lnTo>
                  <a:lnTo>
                    <a:pt x="19" y="540"/>
                  </a:lnTo>
                  <a:lnTo>
                    <a:pt x="17" y="544"/>
                  </a:lnTo>
                  <a:lnTo>
                    <a:pt x="16" y="545"/>
                  </a:lnTo>
                  <a:lnTo>
                    <a:pt x="14" y="541"/>
                  </a:lnTo>
                  <a:lnTo>
                    <a:pt x="14" y="540"/>
                  </a:lnTo>
                  <a:lnTo>
                    <a:pt x="14" y="532"/>
                  </a:lnTo>
                  <a:lnTo>
                    <a:pt x="14" y="528"/>
                  </a:lnTo>
                  <a:lnTo>
                    <a:pt x="14" y="522"/>
                  </a:lnTo>
                  <a:lnTo>
                    <a:pt x="13" y="515"/>
                  </a:lnTo>
                  <a:lnTo>
                    <a:pt x="13" y="510"/>
                  </a:lnTo>
                  <a:lnTo>
                    <a:pt x="19" y="500"/>
                  </a:lnTo>
                  <a:lnTo>
                    <a:pt x="11" y="495"/>
                  </a:lnTo>
                  <a:lnTo>
                    <a:pt x="10" y="494"/>
                  </a:lnTo>
                  <a:lnTo>
                    <a:pt x="4" y="490"/>
                  </a:lnTo>
                  <a:lnTo>
                    <a:pt x="0" y="487"/>
                  </a:lnTo>
                  <a:lnTo>
                    <a:pt x="9" y="478"/>
                  </a:lnTo>
                  <a:lnTo>
                    <a:pt x="14" y="481"/>
                  </a:lnTo>
                  <a:lnTo>
                    <a:pt x="17" y="474"/>
                  </a:lnTo>
                  <a:lnTo>
                    <a:pt x="30" y="451"/>
                  </a:lnTo>
                  <a:lnTo>
                    <a:pt x="33" y="445"/>
                  </a:lnTo>
                  <a:lnTo>
                    <a:pt x="39" y="438"/>
                  </a:lnTo>
                  <a:lnTo>
                    <a:pt x="43" y="435"/>
                  </a:lnTo>
                  <a:lnTo>
                    <a:pt x="52" y="427"/>
                  </a:lnTo>
                  <a:lnTo>
                    <a:pt x="59" y="422"/>
                  </a:lnTo>
                  <a:lnTo>
                    <a:pt x="63" y="421"/>
                  </a:lnTo>
                  <a:lnTo>
                    <a:pt x="69" y="419"/>
                  </a:lnTo>
                  <a:lnTo>
                    <a:pt x="77" y="416"/>
                  </a:lnTo>
                  <a:lnTo>
                    <a:pt x="82" y="402"/>
                  </a:lnTo>
                  <a:lnTo>
                    <a:pt x="82" y="399"/>
                  </a:lnTo>
                  <a:lnTo>
                    <a:pt x="85" y="388"/>
                  </a:lnTo>
                  <a:lnTo>
                    <a:pt x="87" y="384"/>
                  </a:lnTo>
                  <a:lnTo>
                    <a:pt x="95" y="379"/>
                  </a:lnTo>
                  <a:lnTo>
                    <a:pt x="103" y="371"/>
                  </a:lnTo>
                  <a:lnTo>
                    <a:pt x="110" y="358"/>
                  </a:lnTo>
                  <a:lnTo>
                    <a:pt x="112" y="352"/>
                  </a:lnTo>
                  <a:lnTo>
                    <a:pt x="109" y="348"/>
                  </a:lnTo>
                  <a:lnTo>
                    <a:pt x="103" y="346"/>
                  </a:lnTo>
                  <a:lnTo>
                    <a:pt x="106" y="342"/>
                  </a:lnTo>
                  <a:lnTo>
                    <a:pt x="107" y="338"/>
                  </a:lnTo>
                  <a:lnTo>
                    <a:pt x="116" y="341"/>
                  </a:lnTo>
                  <a:lnTo>
                    <a:pt x="122" y="343"/>
                  </a:lnTo>
                  <a:lnTo>
                    <a:pt x="123" y="342"/>
                  </a:lnTo>
                  <a:lnTo>
                    <a:pt x="127" y="335"/>
                  </a:lnTo>
                  <a:lnTo>
                    <a:pt x="130" y="329"/>
                  </a:lnTo>
                  <a:lnTo>
                    <a:pt x="136" y="326"/>
                  </a:lnTo>
                  <a:lnTo>
                    <a:pt x="139" y="322"/>
                  </a:lnTo>
                  <a:lnTo>
                    <a:pt x="146" y="315"/>
                  </a:lnTo>
                  <a:lnTo>
                    <a:pt x="155" y="302"/>
                  </a:lnTo>
                  <a:lnTo>
                    <a:pt x="158" y="299"/>
                  </a:lnTo>
                  <a:lnTo>
                    <a:pt x="168" y="306"/>
                  </a:lnTo>
                  <a:lnTo>
                    <a:pt x="173" y="311"/>
                  </a:lnTo>
                  <a:lnTo>
                    <a:pt x="176" y="308"/>
                  </a:lnTo>
                  <a:lnTo>
                    <a:pt x="180" y="305"/>
                  </a:lnTo>
                  <a:lnTo>
                    <a:pt x="185" y="303"/>
                  </a:lnTo>
                  <a:lnTo>
                    <a:pt x="198" y="296"/>
                  </a:lnTo>
                  <a:lnTo>
                    <a:pt x="206" y="296"/>
                  </a:lnTo>
                  <a:lnTo>
                    <a:pt x="211" y="293"/>
                  </a:lnTo>
                  <a:lnTo>
                    <a:pt x="216" y="293"/>
                  </a:lnTo>
                  <a:lnTo>
                    <a:pt x="219" y="296"/>
                  </a:lnTo>
                  <a:lnTo>
                    <a:pt x="222" y="298"/>
                  </a:lnTo>
                  <a:lnTo>
                    <a:pt x="225" y="303"/>
                  </a:lnTo>
                  <a:lnTo>
                    <a:pt x="226" y="309"/>
                  </a:lnTo>
                  <a:lnTo>
                    <a:pt x="229" y="315"/>
                  </a:lnTo>
                  <a:lnTo>
                    <a:pt x="231" y="318"/>
                  </a:lnTo>
                  <a:lnTo>
                    <a:pt x="233" y="321"/>
                  </a:lnTo>
                  <a:lnTo>
                    <a:pt x="236" y="322"/>
                  </a:lnTo>
                  <a:lnTo>
                    <a:pt x="239" y="315"/>
                  </a:lnTo>
                  <a:lnTo>
                    <a:pt x="242" y="311"/>
                  </a:lnTo>
                  <a:lnTo>
                    <a:pt x="246" y="306"/>
                  </a:lnTo>
                  <a:lnTo>
                    <a:pt x="258" y="305"/>
                  </a:lnTo>
                  <a:lnTo>
                    <a:pt x="259" y="300"/>
                  </a:lnTo>
                  <a:lnTo>
                    <a:pt x="254" y="293"/>
                  </a:lnTo>
                  <a:lnTo>
                    <a:pt x="251" y="290"/>
                  </a:lnTo>
                  <a:lnTo>
                    <a:pt x="251" y="286"/>
                  </a:lnTo>
                  <a:lnTo>
                    <a:pt x="265" y="279"/>
                  </a:lnTo>
                  <a:lnTo>
                    <a:pt x="266" y="272"/>
                  </a:lnTo>
                  <a:lnTo>
                    <a:pt x="271" y="268"/>
                  </a:lnTo>
                  <a:lnTo>
                    <a:pt x="284" y="260"/>
                  </a:lnTo>
                  <a:lnTo>
                    <a:pt x="288" y="262"/>
                  </a:lnTo>
                  <a:lnTo>
                    <a:pt x="294" y="258"/>
                  </a:lnTo>
                  <a:lnTo>
                    <a:pt x="298" y="255"/>
                  </a:lnTo>
                  <a:lnTo>
                    <a:pt x="307" y="252"/>
                  </a:lnTo>
                  <a:lnTo>
                    <a:pt x="308" y="239"/>
                  </a:lnTo>
                  <a:lnTo>
                    <a:pt x="309" y="237"/>
                  </a:lnTo>
                  <a:lnTo>
                    <a:pt x="315" y="237"/>
                  </a:lnTo>
                  <a:lnTo>
                    <a:pt x="328" y="236"/>
                  </a:lnTo>
                  <a:lnTo>
                    <a:pt x="322" y="232"/>
                  </a:lnTo>
                  <a:lnTo>
                    <a:pt x="312" y="230"/>
                  </a:lnTo>
                  <a:lnTo>
                    <a:pt x="311" y="223"/>
                  </a:lnTo>
                  <a:lnTo>
                    <a:pt x="307" y="220"/>
                  </a:lnTo>
                  <a:lnTo>
                    <a:pt x="302" y="216"/>
                  </a:lnTo>
                  <a:lnTo>
                    <a:pt x="295" y="215"/>
                  </a:lnTo>
                  <a:lnTo>
                    <a:pt x="282" y="216"/>
                  </a:lnTo>
                  <a:lnTo>
                    <a:pt x="279" y="220"/>
                  </a:lnTo>
                  <a:lnTo>
                    <a:pt x="272" y="226"/>
                  </a:lnTo>
                  <a:lnTo>
                    <a:pt x="265" y="223"/>
                  </a:lnTo>
                  <a:lnTo>
                    <a:pt x="252" y="226"/>
                  </a:lnTo>
                  <a:lnTo>
                    <a:pt x="245" y="227"/>
                  </a:lnTo>
                  <a:lnTo>
                    <a:pt x="236" y="219"/>
                  </a:lnTo>
                  <a:lnTo>
                    <a:pt x="232" y="213"/>
                  </a:lnTo>
                  <a:lnTo>
                    <a:pt x="222" y="216"/>
                  </a:lnTo>
                  <a:lnTo>
                    <a:pt x="215" y="217"/>
                  </a:lnTo>
                  <a:lnTo>
                    <a:pt x="209" y="213"/>
                  </a:lnTo>
                  <a:lnTo>
                    <a:pt x="203" y="210"/>
                  </a:lnTo>
                  <a:lnTo>
                    <a:pt x="198" y="213"/>
                  </a:lnTo>
                  <a:lnTo>
                    <a:pt x="195" y="215"/>
                  </a:lnTo>
                  <a:lnTo>
                    <a:pt x="189" y="215"/>
                  </a:lnTo>
                  <a:lnTo>
                    <a:pt x="185" y="212"/>
                  </a:lnTo>
                  <a:lnTo>
                    <a:pt x="180" y="206"/>
                  </a:lnTo>
                  <a:lnTo>
                    <a:pt x="178" y="196"/>
                  </a:lnTo>
                  <a:lnTo>
                    <a:pt x="176" y="189"/>
                  </a:lnTo>
                  <a:lnTo>
                    <a:pt x="172" y="187"/>
                  </a:lnTo>
                  <a:lnTo>
                    <a:pt x="165" y="186"/>
                  </a:lnTo>
                  <a:lnTo>
                    <a:pt x="160" y="183"/>
                  </a:lnTo>
                  <a:lnTo>
                    <a:pt x="158" y="183"/>
                  </a:lnTo>
                  <a:lnTo>
                    <a:pt x="153" y="183"/>
                  </a:lnTo>
                  <a:lnTo>
                    <a:pt x="150" y="184"/>
                  </a:lnTo>
                  <a:lnTo>
                    <a:pt x="149" y="189"/>
                  </a:lnTo>
                  <a:lnTo>
                    <a:pt x="145" y="190"/>
                  </a:lnTo>
                  <a:lnTo>
                    <a:pt x="138" y="190"/>
                  </a:lnTo>
                  <a:lnTo>
                    <a:pt x="132" y="189"/>
                  </a:lnTo>
                  <a:lnTo>
                    <a:pt x="129" y="186"/>
                  </a:lnTo>
                  <a:lnTo>
                    <a:pt x="127" y="183"/>
                  </a:lnTo>
                  <a:lnTo>
                    <a:pt x="125" y="180"/>
                  </a:lnTo>
                  <a:lnTo>
                    <a:pt x="125" y="174"/>
                  </a:lnTo>
                  <a:lnTo>
                    <a:pt x="122" y="170"/>
                  </a:lnTo>
                  <a:lnTo>
                    <a:pt x="120" y="166"/>
                  </a:lnTo>
                  <a:lnTo>
                    <a:pt x="120" y="163"/>
                  </a:lnTo>
                  <a:lnTo>
                    <a:pt x="120" y="159"/>
                  </a:lnTo>
                  <a:lnTo>
                    <a:pt x="125" y="153"/>
                  </a:lnTo>
                  <a:lnTo>
                    <a:pt x="125" y="147"/>
                  </a:lnTo>
                  <a:lnTo>
                    <a:pt x="119" y="143"/>
                  </a:lnTo>
                  <a:lnTo>
                    <a:pt x="119" y="136"/>
                  </a:lnTo>
                  <a:lnTo>
                    <a:pt x="120" y="131"/>
                  </a:lnTo>
                  <a:lnTo>
                    <a:pt x="120" y="127"/>
                  </a:lnTo>
                  <a:lnTo>
                    <a:pt x="117" y="121"/>
                  </a:lnTo>
                  <a:lnTo>
                    <a:pt x="110" y="111"/>
                  </a:lnTo>
                  <a:lnTo>
                    <a:pt x="107" y="110"/>
                  </a:lnTo>
                  <a:lnTo>
                    <a:pt x="103" y="106"/>
                  </a:lnTo>
                  <a:lnTo>
                    <a:pt x="103" y="96"/>
                  </a:lnTo>
                  <a:lnTo>
                    <a:pt x="103" y="86"/>
                  </a:lnTo>
                  <a:lnTo>
                    <a:pt x="113" y="80"/>
                  </a:lnTo>
                  <a:lnTo>
                    <a:pt x="117" y="78"/>
                  </a:lnTo>
                  <a:lnTo>
                    <a:pt x="120" y="73"/>
                  </a:lnTo>
                  <a:lnTo>
                    <a:pt x="120" y="67"/>
                  </a:lnTo>
                  <a:lnTo>
                    <a:pt x="123" y="60"/>
                  </a:lnTo>
                  <a:lnTo>
                    <a:pt x="143" y="58"/>
                  </a:lnTo>
                  <a:lnTo>
                    <a:pt x="143" y="48"/>
                  </a:lnTo>
                  <a:lnTo>
                    <a:pt x="145" y="41"/>
                  </a:lnTo>
                  <a:lnTo>
                    <a:pt x="148" y="37"/>
                  </a:lnTo>
                  <a:lnTo>
                    <a:pt x="153" y="33"/>
                  </a:lnTo>
                  <a:lnTo>
                    <a:pt x="159" y="34"/>
                  </a:lnTo>
                  <a:lnTo>
                    <a:pt x="160" y="38"/>
                  </a:lnTo>
                  <a:lnTo>
                    <a:pt x="169" y="40"/>
                  </a:lnTo>
                  <a:lnTo>
                    <a:pt x="175" y="41"/>
                  </a:lnTo>
                  <a:lnTo>
                    <a:pt x="182" y="41"/>
                  </a:lnTo>
                  <a:lnTo>
                    <a:pt x="186" y="46"/>
                  </a:lnTo>
                  <a:lnTo>
                    <a:pt x="193" y="53"/>
                  </a:lnTo>
                  <a:lnTo>
                    <a:pt x="195" y="54"/>
                  </a:lnTo>
                  <a:lnTo>
                    <a:pt x="196" y="57"/>
                  </a:lnTo>
                  <a:lnTo>
                    <a:pt x="201" y="60"/>
                  </a:lnTo>
                  <a:lnTo>
                    <a:pt x="208" y="64"/>
                  </a:lnTo>
                  <a:lnTo>
                    <a:pt x="213" y="70"/>
                  </a:lnTo>
                  <a:lnTo>
                    <a:pt x="215" y="80"/>
                  </a:lnTo>
                  <a:lnTo>
                    <a:pt x="213" y="84"/>
                  </a:lnTo>
                  <a:lnTo>
                    <a:pt x="211" y="89"/>
                  </a:lnTo>
                  <a:lnTo>
                    <a:pt x="208" y="91"/>
                  </a:lnTo>
                  <a:lnTo>
                    <a:pt x="201" y="93"/>
                  </a:lnTo>
                  <a:lnTo>
                    <a:pt x="196" y="94"/>
                  </a:lnTo>
                  <a:lnTo>
                    <a:pt x="193" y="100"/>
                  </a:lnTo>
                  <a:lnTo>
                    <a:pt x="192" y="101"/>
                  </a:lnTo>
                  <a:lnTo>
                    <a:pt x="185" y="104"/>
                  </a:lnTo>
                  <a:lnTo>
                    <a:pt x="179" y="106"/>
                  </a:lnTo>
                  <a:lnTo>
                    <a:pt x="176" y="109"/>
                  </a:lnTo>
                  <a:lnTo>
                    <a:pt x="176" y="110"/>
                  </a:lnTo>
                  <a:lnTo>
                    <a:pt x="178" y="114"/>
                  </a:lnTo>
                  <a:lnTo>
                    <a:pt x="179" y="119"/>
                  </a:lnTo>
                  <a:lnTo>
                    <a:pt x="185" y="119"/>
                  </a:lnTo>
                  <a:lnTo>
                    <a:pt x="193" y="116"/>
                  </a:lnTo>
                  <a:lnTo>
                    <a:pt x="196" y="111"/>
                  </a:lnTo>
                  <a:lnTo>
                    <a:pt x="199" y="107"/>
                  </a:lnTo>
                  <a:lnTo>
                    <a:pt x="209" y="104"/>
                  </a:lnTo>
                  <a:lnTo>
                    <a:pt x="209" y="103"/>
                  </a:lnTo>
                  <a:lnTo>
                    <a:pt x="209" y="103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12" y="101"/>
                  </a:lnTo>
                  <a:lnTo>
                    <a:pt x="213" y="101"/>
                  </a:lnTo>
                  <a:lnTo>
                    <a:pt x="215" y="99"/>
                  </a:lnTo>
                  <a:lnTo>
                    <a:pt x="216" y="100"/>
                  </a:lnTo>
                  <a:lnTo>
                    <a:pt x="221" y="106"/>
                  </a:lnTo>
                  <a:lnTo>
                    <a:pt x="222" y="111"/>
                  </a:lnTo>
                  <a:lnTo>
                    <a:pt x="221" y="116"/>
                  </a:lnTo>
                  <a:lnTo>
                    <a:pt x="221" y="120"/>
                  </a:lnTo>
                  <a:lnTo>
                    <a:pt x="218" y="124"/>
                  </a:lnTo>
                  <a:lnTo>
                    <a:pt x="213" y="129"/>
                  </a:lnTo>
                  <a:lnTo>
                    <a:pt x="212" y="133"/>
                  </a:lnTo>
                  <a:lnTo>
                    <a:pt x="221" y="131"/>
                  </a:lnTo>
                  <a:lnTo>
                    <a:pt x="225" y="140"/>
                  </a:lnTo>
                  <a:lnTo>
                    <a:pt x="221" y="144"/>
                  </a:lnTo>
                  <a:lnTo>
                    <a:pt x="223" y="152"/>
                  </a:lnTo>
                  <a:lnTo>
                    <a:pt x="225" y="153"/>
                  </a:lnTo>
                  <a:lnTo>
                    <a:pt x="231" y="153"/>
                  </a:lnTo>
                  <a:lnTo>
                    <a:pt x="238" y="153"/>
                  </a:lnTo>
                  <a:lnTo>
                    <a:pt x="246" y="153"/>
                  </a:lnTo>
                  <a:lnTo>
                    <a:pt x="249" y="152"/>
                  </a:lnTo>
                  <a:lnTo>
                    <a:pt x="254" y="150"/>
                  </a:lnTo>
                  <a:lnTo>
                    <a:pt x="254" y="144"/>
                  </a:lnTo>
                  <a:lnTo>
                    <a:pt x="251" y="137"/>
                  </a:lnTo>
                  <a:lnTo>
                    <a:pt x="249" y="133"/>
                  </a:lnTo>
                  <a:lnTo>
                    <a:pt x="248" y="130"/>
                  </a:lnTo>
                  <a:lnTo>
                    <a:pt x="252" y="124"/>
                  </a:lnTo>
                  <a:lnTo>
                    <a:pt x="261" y="121"/>
                  </a:lnTo>
                  <a:lnTo>
                    <a:pt x="265" y="119"/>
                  </a:lnTo>
                  <a:lnTo>
                    <a:pt x="268" y="120"/>
                  </a:lnTo>
                  <a:lnTo>
                    <a:pt x="279" y="119"/>
                  </a:lnTo>
                  <a:lnTo>
                    <a:pt x="278" y="123"/>
                  </a:lnTo>
                  <a:lnTo>
                    <a:pt x="278" y="127"/>
                  </a:lnTo>
                  <a:lnTo>
                    <a:pt x="286" y="129"/>
                  </a:lnTo>
                  <a:lnTo>
                    <a:pt x="292" y="127"/>
                  </a:lnTo>
                  <a:lnTo>
                    <a:pt x="296" y="127"/>
                  </a:lnTo>
                  <a:lnTo>
                    <a:pt x="304" y="127"/>
                  </a:lnTo>
                  <a:lnTo>
                    <a:pt x="307" y="126"/>
                  </a:lnTo>
                  <a:lnTo>
                    <a:pt x="314" y="120"/>
                  </a:lnTo>
                  <a:lnTo>
                    <a:pt x="321" y="121"/>
                  </a:lnTo>
                  <a:lnTo>
                    <a:pt x="345" y="126"/>
                  </a:lnTo>
                  <a:lnTo>
                    <a:pt x="352" y="126"/>
                  </a:lnTo>
                  <a:lnTo>
                    <a:pt x="358" y="126"/>
                  </a:lnTo>
                  <a:lnTo>
                    <a:pt x="361" y="126"/>
                  </a:lnTo>
                  <a:lnTo>
                    <a:pt x="365" y="126"/>
                  </a:lnTo>
                  <a:lnTo>
                    <a:pt x="367" y="123"/>
                  </a:lnTo>
                  <a:lnTo>
                    <a:pt x="368" y="121"/>
                  </a:lnTo>
                  <a:lnTo>
                    <a:pt x="364" y="120"/>
                  </a:lnTo>
                  <a:lnTo>
                    <a:pt x="361" y="119"/>
                  </a:lnTo>
                  <a:lnTo>
                    <a:pt x="357" y="114"/>
                  </a:lnTo>
                  <a:lnTo>
                    <a:pt x="357" y="109"/>
                  </a:lnTo>
                  <a:lnTo>
                    <a:pt x="359" y="103"/>
                  </a:lnTo>
                  <a:lnTo>
                    <a:pt x="357" y="103"/>
                  </a:lnTo>
                  <a:lnTo>
                    <a:pt x="349" y="106"/>
                  </a:lnTo>
                  <a:lnTo>
                    <a:pt x="344" y="107"/>
                  </a:lnTo>
                  <a:lnTo>
                    <a:pt x="339" y="107"/>
                  </a:lnTo>
                  <a:lnTo>
                    <a:pt x="332" y="106"/>
                  </a:lnTo>
                  <a:lnTo>
                    <a:pt x="329" y="106"/>
                  </a:lnTo>
                  <a:lnTo>
                    <a:pt x="331" y="101"/>
                  </a:lnTo>
                  <a:lnTo>
                    <a:pt x="345" y="93"/>
                  </a:lnTo>
                  <a:lnTo>
                    <a:pt x="351" y="90"/>
                  </a:lnTo>
                  <a:lnTo>
                    <a:pt x="354" y="89"/>
                  </a:lnTo>
                  <a:lnTo>
                    <a:pt x="355" y="86"/>
                  </a:lnTo>
                  <a:lnTo>
                    <a:pt x="355" y="81"/>
                  </a:lnTo>
                  <a:lnTo>
                    <a:pt x="351" y="76"/>
                  </a:lnTo>
                  <a:lnTo>
                    <a:pt x="348" y="71"/>
                  </a:lnTo>
                  <a:lnTo>
                    <a:pt x="348" y="68"/>
                  </a:lnTo>
                  <a:lnTo>
                    <a:pt x="352" y="67"/>
                  </a:lnTo>
                  <a:lnTo>
                    <a:pt x="359" y="70"/>
                  </a:lnTo>
                  <a:lnTo>
                    <a:pt x="361" y="63"/>
                  </a:lnTo>
                  <a:lnTo>
                    <a:pt x="368" y="57"/>
                  </a:lnTo>
                  <a:lnTo>
                    <a:pt x="370" y="47"/>
                  </a:lnTo>
                  <a:lnTo>
                    <a:pt x="371" y="43"/>
                  </a:lnTo>
                  <a:lnTo>
                    <a:pt x="372" y="44"/>
                  </a:lnTo>
                  <a:lnTo>
                    <a:pt x="375" y="44"/>
                  </a:lnTo>
                  <a:lnTo>
                    <a:pt x="378" y="46"/>
                  </a:lnTo>
                  <a:lnTo>
                    <a:pt x="381" y="47"/>
                  </a:lnTo>
                  <a:lnTo>
                    <a:pt x="384" y="43"/>
                  </a:lnTo>
                  <a:lnTo>
                    <a:pt x="388" y="41"/>
                  </a:lnTo>
                  <a:lnTo>
                    <a:pt x="388" y="36"/>
                  </a:lnTo>
                  <a:lnTo>
                    <a:pt x="390" y="30"/>
                  </a:lnTo>
                  <a:lnTo>
                    <a:pt x="385" y="27"/>
                  </a:lnTo>
                  <a:lnTo>
                    <a:pt x="381" y="23"/>
                  </a:lnTo>
                  <a:lnTo>
                    <a:pt x="378" y="20"/>
                  </a:lnTo>
                  <a:lnTo>
                    <a:pt x="374" y="15"/>
                  </a:lnTo>
                  <a:lnTo>
                    <a:pt x="370" y="13"/>
                  </a:lnTo>
                  <a:lnTo>
                    <a:pt x="372" y="5"/>
                  </a:lnTo>
                  <a:lnTo>
                    <a:pt x="375" y="7"/>
                  </a:lnTo>
                  <a:lnTo>
                    <a:pt x="380" y="13"/>
                  </a:lnTo>
                  <a:lnTo>
                    <a:pt x="385" y="15"/>
                  </a:lnTo>
                  <a:lnTo>
                    <a:pt x="392" y="14"/>
                  </a:lnTo>
                  <a:lnTo>
                    <a:pt x="395" y="10"/>
                  </a:lnTo>
                  <a:lnTo>
                    <a:pt x="397" y="4"/>
                  </a:lnTo>
                  <a:lnTo>
                    <a:pt x="400" y="0"/>
                  </a:lnTo>
                  <a:lnTo>
                    <a:pt x="404" y="3"/>
                  </a:lnTo>
                  <a:lnTo>
                    <a:pt x="407" y="7"/>
                  </a:lnTo>
                  <a:lnTo>
                    <a:pt x="412" y="14"/>
                  </a:lnTo>
                  <a:lnTo>
                    <a:pt x="421" y="17"/>
                  </a:lnTo>
                  <a:lnTo>
                    <a:pt x="425" y="17"/>
                  </a:lnTo>
                  <a:lnTo>
                    <a:pt x="427" y="18"/>
                  </a:lnTo>
                  <a:lnTo>
                    <a:pt x="428" y="25"/>
                  </a:lnTo>
                  <a:lnTo>
                    <a:pt x="431" y="30"/>
                  </a:lnTo>
                  <a:lnTo>
                    <a:pt x="433" y="44"/>
                  </a:lnTo>
                  <a:lnTo>
                    <a:pt x="441" y="50"/>
                  </a:lnTo>
                  <a:lnTo>
                    <a:pt x="448" y="53"/>
                  </a:lnTo>
                  <a:lnTo>
                    <a:pt x="457" y="58"/>
                  </a:lnTo>
                  <a:lnTo>
                    <a:pt x="464" y="67"/>
                  </a:lnTo>
                  <a:lnTo>
                    <a:pt x="470" y="70"/>
                  </a:lnTo>
                  <a:lnTo>
                    <a:pt x="477" y="71"/>
                  </a:lnTo>
                  <a:lnTo>
                    <a:pt x="483" y="76"/>
                  </a:lnTo>
                  <a:lnTo>
                    <a:pt x="490" y="87"/>
                  </a:lnTo>
                  <a:lnTo>
                    <a:pt x="496" y="93"/>
                  </a:lnTo>
                  <a:lnTo>
                    <a:pt x="503" y="94"/>
                  </a:lnTo>
                  <a:lnTo>
                    <a:pt x="508" y="99"/>
                  </a:lnTo>
                  <a:lnTo>
                    <a:pt x="511" y="101"/>
                  </a:lnTo>
                  <a:lnTo>
                    <a:pt x="516" y="109"/>
                  </a:lnTo>
                  <a:lnTo>
                    <a:pt x="520" y="114"/>
                  </a:lnTo>
                  <a:lnTo>
                    <a:pt x="526" y="119"/>
                  </a:lnTo>
                  <a:lnTo>
                    <a:pt x="531" y="120"/>
                  </a:lnTo>
                  <a:lnTo>
                    <a:pt x="536" y="119"/>
                  </a:lnTo>
                  <a:lnTo>
                    <a:pt x="536" y="114"/>
                  </a:lnTo>
                  <a:lnTo>
                    <a:pt x="534" y="106"/>
                  </a:lnTo>
                  <a:lnTo>
                    <a:pt x="536" y="99"/>
                  </a:lnTo>
                  <a:lnTo>
                    <a:pt x="541" y="96"/>
                  </a:lnTo>
                  <a:lnTo>
                    <a:pt x="546" y="96"/>
                  </a:lnTo>
                  <a:lnTo>
                    <a:pt x="551" y="96"/>
                  </a:lnTo>
                  <a:lnTo>
                    <a:pt x="551" y="101"/>
                  </a:lnTo>
                  <a:lnTo>
                    <a:pt x="553" y="107"/>
                  </a:lnTo>
                  <a:lnTo>
                    <a:pt x="560" y="110"/>
                  </a:lnTo>
                  <a:lnTo>
                    <a:pt x="563" y="110"/>
                  </a:lnTo>
                  <a:lnTo>
                    <a:pt x="569" y="113"/>
                  </a:lnTo>
                  <a:lnTo>
                    <a:pt x="570" y="119"/>
                  </a:lnTo>
                  <a:lnTo>
                    <a:pt x="574" y="124"/>
                  </a:lnTo>
                  <a:lnTo>
                    <a:pt x="581" y="133"/>
                  </a:lnTo>
                  <a:lnTo>
                    <a:pt x="583" y="139"/>
                  </a:lnTo>
                  <a:lnTo>
                    <a:pt x="584" y="150"/>
                  </a:lnTo>
                  <a:lnTo>
                    <a:pt x="584" y="159"/>
                  </a:lnTo>
                  <a:lnTo>
                    <a:pt x="587" y="167"/>
                  </a:lnTo>
                  <a:lnTo>
                    <a:pt x="592" y="170"/>
                  </a:lnTo>
                  <a:lnTo>
                    <a:pt x="592" y="170"/>
                  </a:lnTo>
                  <a:lnTo>
                    <a:pt x="592" y="170"/>
                  </a:lnTo>
                  <a:close/>
                  <a:moveTo>
                    <a:pt x="407" y="457"/>
                  </a:moveTo>
                  <a:lnTo>
                    <a:pt x="407" y="458"/>
                  </a:lnTo>
                  <a:lnTo>
                    <a:pt x="407" y="458"/>
                  </a:lnTo>
                  <a:lnTo>
                    <a:pt x="407" y="459"/>
                  </a:lnTo>
                  <a:lnTo>
                    <a:pt x="410" y="459"/>
                  </a:lnTo>
                  <a:lnTo>
                    <a:pt x="410" y="457"/>
                  </a:lnTo>
                  <a:lnTo>
                    <a:pt x="407" y="45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66" name="Freeform 114"/>
            <p:cNvSpPr>
              <a:spLocks noEditPoints="1"/>
            </p:cNvSpPr>
            <p:nvPr/>
          </p:nvSpPr>
          <p:spPr bwMode="auto">
            <a:xfrm>
              <a:off x="3250716" y="4256584"/>
              <a:ext cx="363900" cy="429944"/>
            </a:xfrm>
            <a:custGeom>
              <a:avLst/>
              <a:gdLst>
                <a:gd name="T0" fmla="*/ 592 w 596"/>
                <a:gd name="T1" fmla="*/ 213 h 649"/>
                <a:gd name="T2" fmla="*/ 592 w 596"/>
                <a:gd name="T3" fmla="*/ 253 h 649"/>
                <a:gd name="T4" fmla="*/ 560 w 596"/>
                <a:gd name="T5" fmla="*/ 288 h 649"/>
                <a:gd name="T6" fmla="*/ 539 w 596"/>
                <a:gd name="T7" fmla="*/ 285 h 649"/>
                <a:gd name="T8" fmla="*/ 524 w 596"/>
                <a:gd name="T9" fmla="*/ 313 h 649"/>
                <a:gd name="T10" fmla="*/ 498 w 596"/>
                <a:gd name="T11" fmla="*/ 329 h 649"/>
                <a:gd name="T12" fmla="*/ 481 w 596"/>
                <a:gd name="T13" fmla="*/ 361 h 649"/>
                <a:gd name="T14" fmla="*/ 497 w 596"/>
                <a:gd name="T15" fmla="*/ 388 h 649"/>
                <a:gd name="T16" fmla="*/ 518 w 596"/>
                <a:gd name="T17" fmla="*/ 416 h 649"/>
                <a:gd name="T18" fmla="*/ 547 w 596"/>
                <a:gd name="T19" fmla="*/ 459 h 649"/>
                <a:gd name="T20" fmla="*/ 537 w 596"/>
                <a:gd name="T21" fmla="*/ 494 h 649"/>
                <a:gd name="T22" fmla="*/ 508 w 596"/>
                <a:gd name="T23" fmla="*/ 500 h 649"/>
                <a:gd name="T24" fmla="*/ 455 w 596"/>
                <a:gd name="T25" fmla="*/ 485 h 649"/>
                <a:gd name="T26" fmla="*/ 427 w 596"/>
                <a:gd name="T27" fmla="*/ 468 h 649"/>
                <a:gd name="T28" fmla="*/ 364 w 596"/>
                <a:gd name="T29" fmla="*/ 421 h 649"/>
                <a:gd name="T30" fmla="*/ 328 w 596"/>
                <a:gd name="T31" fmla="*/ 435 h 649"/>
                <a:gd name="T32" fmla="*/ 292 w 596"/>
                <a:gd name="T33" fmla="*/ 459 h 649"/>
                <a:gd name="T34" fmla="*/ 312 w 596"/>
                <a:gd name="T35" fmla="*/ 502 h 649"/>
                <a:gd name="T36" fmla="*/ 294 w 596"/>
                <a:gd name="T37" fmla="*/ 534 h 649"/>
                <a:gd name="T38" fmla="*/ 329 w 596"/>
                <a:gd name="T39" fmla="*/ 601 h 649"/>
                <a:gd name="T40" fmla="*/ 259 w 596"/>
                <a:gd name="T41" fmla="*/ 560 h 649"/>
                <a:gd name="T42" fmla="*/ 202 w 596"/>
                <a:gd name="T43" fmla="*/ 564 h 649"/>
                <a:gd name="T44" fmla="*/ 176 w 596"/>
                <a:gd name="T45" fmla="*/ 606 h 649"/>
                <a:gd name="T46" fmla="*/ 153 w 596"/>
                <a:gd name="T47" fmla="*/ 647 h 649"/>
                <a:gd name="T48" fmla="*/ 53 w 596"/>
                <a:gd name="T49" fmla="*/ 610 h 649"/>
                <a:gd name="T50" fmla="*/ 103 w 596"/>
                <a:gd name="T51" fmla="*/ 573 h 649"/>
                <a:gd name="T52" fmla="*/ 57 w 596"/>
                <a:gd name="T53" fmla="*/ 535 h 649"/>
                <a:gd name="T54" fmla="*/ 33 w 596"/>
                <a:gd name="T55" fmla="*/ 522 h 649"/>
                <a:gd name="T56" fmla="*/ 14 w 596"/>
                <a:gd name="T57" fmla="*/ 522 h 649"/>
                <a:gd name="T58" fmla="*/ 30 w 596"/>
                <a:gd name="T59" fmla="*/ 451 h 649"/>
                <a:gd name="T60" fmla="*/ 85 w 596"/>
                <a:gd name="T61" fmla="*/ 388 h 649"/>
                <a:gd name="T62" fmla="*/ 122 w 596"/>
                <a:gd name="T63" fmla="*/ 343 h 649"/>
                <a:gd name="T64" fmla="*/ 176 w 596"/>
                <a:gd name="T65" fmla="*/ 308 h 649"/>
                <a:gd name="T66" fmla="*/ 229 w 596"/>
                <a:gd name="T67" fmla="*/ 315 h 649"/>
                <a:gd name="T68" fmla="*/ 251 w 596"/>
                <a:gd name="T69" fmla="*/ 286 h 649"/>
                <a:gd name="T70" fmla="*/ 315 w 596"/>
                <a:gd name="T71" fmla="*/ 237 h 649"/>
                <a:gd name="T72" fmla="*/ 265 w 596"/>
                <a:gd name="T73" fmla="*/ 223 h 649"/>
                <a:gd name="T74" fmla="*/ 189 w 596"/>
                <a:gd name="T75" fmla="*/ 215 h 649"/>
                <a:gd name="T76" fmla="*/ 149 w 596"/>
                <a:gd name="T77" fmla="*/ 189 h 649"/>
                <a:gd name="T78" fmla="*/ 120 w 596"/>
                <a:gd name="T79" fmla="*/ 159 h 649"/>
                <a:gd name="T80" fmla="*/ 103 w 596"/>
                <a:gd name="T81" fmla="*/ 96 h 649"/>
                <a:gd name="T82" fmla="*/ 153 w 596"/>
                <a:gd name="T83" fmla="*/ 33 h 649"/>
                <a:gd name="T84" fmla="*/ 208 w 596"/>
                <a:gd name="T85" fmla="*/ 64 h 649"/>
                <a:gd name="T86" fmla="*/ 179 w 596"/>
                <a:gd name="T87" fmla="*/ 106 h 649"/>
                <a:gd name="T88" fmla="*/ 209 w 596"/>
                <a:gd name="T89" fmla="*/ 103 h 649"/>
                <a:gd name="T90" fmla="*/ 218 w 596"/>
                <a:gd name="T91" fmla="*/ 124 h 649"/>
                <a:gd name="T92" fmla="*/ 249 w 596"/>
                <a:gd name="T93" fmla="*/ 152 h 649"/>
                <a:gd name="T94" fmla="*/ 278 w 596"/>
                <a:gd name="T95" fmla="*/ 123 h 649"/>
                <a:gd name="T96" fmla="*/ 358 w 596"/>
                <a:gd name="T97" fmla="*/ 126 h 649"/>
                <a:gd name="T98" fmla="*/ 349 w 596"/>
                <a:gd name="T99" fmla="*/ 106 h 649"/>
                <a:gd name="T100" fmla="*/ 351 w 596"/>
                <a:gd name="T101" fmla="*/ 76 h 649"/>
                <a:gd name="T102" fmla="*/ 378 w 596"/>
                <a:gd name="T103" fmla="*/ 46 h 649"/>
                <a:gd name="T104" fmla="*/ 372 w 596"/>
                <a:gd name="T105" fmla="*/ 5 h 649"/>
                <a:gd name="T106" fmla="*/ 421 w 596"/>
                <a:gd name="T107" fmla="*/ 17 h 649"/>
                <a:gd name="T108" fmla="*/ 477 w 596"/>
                <a:gd name="T109" fmla="*/ 71 h 649"/>
                <a:gd name="T110" fmla="*/ 536 w 596"/>
                <a:gd name="T111" fmla="*/ 119 h 649"/>
                <a:gd name="T112" fmla="*/ 569 w 596"/>
                <a:gd name="T113" fmla="*/ 113 h 649"/>
                <a:gd name="T114" fmla="*/ 410 w 596"/>
                <a:gd name="T115" fmla="*/ 459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96" h="649">
                  <a:moveTo>
                    <a:pt x="592" y="170"/>
                  </a:moveTo>
                  <a:lnTo>
                    <a:pt x="593" y="173"/>
                  </a:lnTo>
                  <a:lnTo>
                    <a:pt x="596" y="176"/>
                  </a:lnTo>
                  <a:lnTo>
                    <a:pt x="594" y="183"/>
                  </a:lnTo>
                  <a:lnTo>
                    <a:pt x="593" y="192"/>
                  </a:lnTo>
                  <a:lnTo>
                    <a:pt x="592" y="197"/>
                  </a:lnTo>
                  <a:lnTo>
                    <a:pt x="590" y="206"/>
                  </a:lnTo>
                  <a:lnTo>
                    <a:pt x="590" y="207"/>
                  </a:lnTo>
                  <a:lnTo>
                    <a:pt x="592" y="210"/>
                  </a:lnTo>
                  <a:lnTo>
                    <a:pt x="593" y="212"/>
                  </a:lnTo>
                  <a:lnTo>
                    <a:pt x="592" y="213"/>
                  </a:lnTo>
                  <a:lnTo>
                    <a:pt x="592" y="217"/>
                  </a:lnTo>
                  <a:lnTo>
                    <a:pt x="592" y="219"/>
                  </a:lnTo>
                  <a:lnTo>
                    <a:pt x="590" y="219"/>
                  </a:lnTo>
                  <a:lnTo>
                    <a:pt x="590" y="223"/>
                  </a:lnTo>
                  <a:lnTo>
                    <a:pt x="590" y="226"/>
                  </a:lnTo>
                  <a:lnTo>
                    <a:pt x="593" y="230"/>
                  </a:lnTo>
                  <a:lnTo>
                    <a:pt x="596" y="235"/>
                  </a:lnTo>
                  <a:lnTo>
                    <a:pt x="596" y="240"/>
                  </a:lnTo>
                  <a:lnTo>
                    <a:pt x="594" y="246"/>
                  </a:lnTo>
                  <a:lnTo>
                    <a:pt x="594" y="249"/>
                  </a:lnTo>
                  <a:lnTo>
                    <a:pt x="592" y="253"/>
                  </a:lnTo>
                  <a:lnTo>
                    <a:pt x="589" y="255"/>
                  </a:lnTo>
                  <a:lnTo>
                    <a:pt x="586" y="260"/>
                  </a:lnTo>
                  <a:lnTo>
                    <a:pt x="584" y="269"/>
                  </a:lnTo>
                  <a:lnTo>
                    <a:pt x="584" y="278"/>
                  </a:lnTo>
                  <a:lnTo>
                    <a:pt x="583" y="283"/>
                  </a:lnTo>
                  <a:lnTo>
                    <a:pt x="583" y="288"/>
                  </a:lnTo>
                  <a:lnTo>
                    <a:pt x="579" y="289"/>
                  </a:lnTo>
                  <a:lnTo>
                    <a:pt x="577" y="289"/>
                  </a:lnTo>
                  <a:lnTo>
                    <a:pt x="571" y="289"/>
                  </a:lnTo>
                  <a:lnTo>
                    <a:pt x="566" y="288"/>
                  </a:lnTo>
                  <a:lnTo>
                    <a:pt x="560" y="288"/>
                  </a:lnTo>
                  <a:lnTo>
                    <a:pt x="554" y="289"/>
                  </a:lnTo>
                  <a:lnTo>
                    <a:pt x="553" y="289"/>
                  </a:lnTo>
                  <a:lnTo>
                    <a:pt x="551" y="288"/>
                  </a:lnTo>
                  <a:lnTo>
                    <a:pt x="550" y="286"/>
                  </a:lnTo>
                  <a:lnTo>
                    <a:pt x="547" y="280"/>
                  </a:lnTo>
                  <a:lnTo>
                    <a:pt x="544" y="276"/>
                  </a:lnTo>
                  <a:lnTo>
                    <a:pt x="540" y="275"/>
                  </a:lnTo>
                  <a:lnTo>
                    <a:pt x="537" y="275"/>
                  </a:lnTo>
                  <a:lnTo>
                    <a:pt x="536" y="278"/>
                  </a:lnTo>
                  <a:lnTo>
                    <a:pt x="537" y="280"/>
                  </a:lnTo>
                  <a:lnTo>
                    <a:pt x="539" y="285"/>
                  </a:lnTo>
                  <a:lnTo>
                    <a:pt x="540" y="289"/>
                  </a:lnTo>
                  <a:lnTo>
                    <a:pt x="539" y="289"/>
                  </a:lnTo>
                  <a:lnTo>
                    <a:pt x="537" y="290"/>
                  </a:lnTo>
                  <a:lnTo>
                    <a:pt x="533" y="289"/>
                  </a:lnTo>
                  <a:lnTo>
                    <a:pt x="528" y="290"/>
                  </a:lnTo>
                  <a:lnTo>
                    <a:pt x="521" y="293"/>
                  </a:lnTo>
                  <a:lnTo>
                    <a:pt x="518" y="296"/>
                  </a:lnTo>
                  <a:lnTo>
                    <a:pt x="517" y="300"/>
                  </a:lnTo>
                  <a:lnTo>
                    <a:pt x="518" y="305"/>
                  </a:lnTo>
                  <a:lnTo>
                    <a:pt x="521" y="309"/>
                  </a:lnTo>
                  <a:lnTo>
                    <a:pt x="524" y="313"/>
                  </a:lnTo>
                  <a:lnTo>
                    <a:pt x="524" y="319"/>
                  </a:lnTo>
                  <a:lnTo>
                    <a:pt x="523" y="322"/>
                  </a:lnTo>
                  <a:lnTo>
                    <a:pt x="518" y="325"/>
                  </a:lnTo>
                  <a:lnTo>
                    <a:pt x="511" y="329"/>
                  </a:lnTo>
                  <a:lnTo>
                    <a:pt x="510" y="332"/>
                  </a:lnTo>
                  <a:lnTo>
                    <a:pt x="507" y="336"/>
                  </a:lnTo>
                  <a:lnTo>
                    <a:pt x="506" y="339"/>
                  </a:lnTo>
                  <a:lnTo>
                    <a:pt x="503" y="339"/>
                  </a:lnTo>
                  <a:lnTo>
                    <a:pt x="503" y="338"/>
                  </a:lnTo>
                  <a:lnTo>
                    <a:pt x="500" y="333"/>
                  </a:lnTo>
                  <a:lnTo>
                    <a:pt x="498" y="329"/>
                  </a:lnTo>
                  <a:lnTo>
                    <a:pt x="497" y="326"/>
                  </a:lnTo>
                  <a:lnTo>
                    <a:pt x="493" y="325"/>
                  </a:lnTo>
                  <a:lnTo>
                    <a:pt x="490" y="325"/>
                  </a:lnTo>
                  <a:lnTo>
                    <a:pt x="486" y="326"/>
                  </a:lnTo>
                  <a:lnTo>
                    <a:pt x="484" y="331"/>
                  </a:lnTo>
                  <a:lnTo>
                    <a:pt x="483" y="339"/>
                  </a:lnTo>
                  <a:lnTo>
                    <a:pt x="483" y="343"/>
                  </a:lnTo>
                  <a:lnTo>
                    <a:pt x="484" y="349"/>
                  </a:lnTo>
                  <a:lnTo>
                    <a:pt x="484" y="353"/>
                  </a:lnTo>
                  <a:lnTo>
                    <a:pt x="484" y="358"/>
                  </a:lnTo>
                  <a:lnTo>
                    <a:pt x="481" y="361"/>
                  </a:lnTo>
                  <a:lnTo>
                    <a:pt x="474" y="362"/>
                  </a:lnTo>
                  <a:lnTo>
                    <a:pt x="468" y="365"/>
                  </a:lnTo>
                  <a:lnTo>
                    <a:pt x="465" y="369"/>
                  </a:lnTo>
                  <a:lnTo>
                    <a:pt x="465" y="372"/>
                  </a:lnTo>
                  <a:lnTo>
                    <a:pt x="467" y="378"/>
                  </a:lnTo>
                  <a:lnTo>
                    <a:pt x="471" y="382"/>
                  </a:lnTo>
                  <a:lnTo>
                    <a:pt x="476" y="382"/>
                  </a:lnTo>
                  <a:lnTo>
                    <a:pt x="478" y="386"/>
                  </a:lnTo>
                  <a:lnTo>
                    <a:pt x="486" y="388"/>
                  </a:lnTo>
                  <a:lnTo>
                    <a:pt x="493" y="388"/>
                  </a:lnTo>
                  <a:lnTo>
                    <a:pt x="497" y="388"/>
                  </a:lnTo>
                  <a:lnTo>
                    <a:pt x="501" y="389"/>
                  </a:lnTo>
                  <a:lnTo>
                    <a:pt x="506" y="391"/>
                  </a:lnTo>
                  <a:lnTo>
                    <a:pt x="508" y="394"/>
                  </a:lnTo>
                  <a:lnTo>
                    <a:pt x="508" y="398"/>
                  </a:lnTo>
                  <a:lnTo>
                    <a:pt x="504" y="402"/>
                  </a:lnTo>
                  <a:lnTo>
                    <a:pt x="501" y="404"/>
                  </a:lnTo>
                  <a:lnTo>
                    <a:pt x="501" y="406"/>
                  </a:lnTo>
                  <a:lnTo>
                    <a:pt x="504" y="409"/>
                  </a:lnTo>
                  <a:lnTo>
                    <a:pt x="508" y="412"/>
                  </a:lnTo>
                  <a:lnTo>
                    <a:pt x="511" y="414"/>
                  </a:lnTo>
                  <a:lnTo>
                    <a:pt x="518" y="416"/>
                  </a:lnTo>
                  <a:lnTo>
                    <a:pt x="528" y="416"/>
                  </a:lnTo>
                  <a:lnTo>
                    <a:pt x="534" y="416"/>
                  </a:lnTo>
                  <a:lnTo>
                    <a:pt x="540" y="418"/>
                  </a:lnTo>
                  <a:lnTo>
                    <a:pt x="546" y="422"/>
                  </a:lnTo>
                  <a:lnTo>
                    <a:pt x="550" y="425"/>
                  </a:lnTo>
                  <a:lnTo>
                    <a:pt x="554" y="429"/>
                  </a:lnTo>
                  <a:lnTo>
                    <a:pt x="556" y="437"/>
                  </a:lnTo>
                  <a:lnTo>
                    <a:pt x="554" y="445"/>
                  </a:lnTo>
                  <a:lnTo>
                    <a:pt x="554" y="449"/>
                  </a:lnTo>
                  <a:lnTo>
                    <a:pt x="553" y="455"/>
                  </a:lnTo>
                  <a:lnTo>
                    <a:pt x="547" y="459"/>
                  </a:lnTo>
                  <a:lnTo>
                    <a:pt x="544" y="459"/>
                  </a:lnTo>
                  <a:lnTo>
                    <a:pt x="540" y="459"/>
                  </a:lnTo>
                  <a:lnTo>
                    <a:pt x="536" y="459"/>
                  </a:lnTo>
                  <a:lnTo>
                    <a:pt x="533" y="459"/>
                  </a:lnTo>
                  <a:lnTo>
                    <a:pt x="531" y="462"/>
                  </a:lnTo>
                  <a:lnTo>
                    <a:pt x="531" y="467"/>
                  </a:lnTo>
                  <a:lnTo>
                    <a:pt x="533" y="469"/>
                  </a:lnTo>
                  <a:lnTo>
                    <a:pt x="530" y="474"/>
                  </a:lnTo>
                  <a:lnTo>
                    <a:pt x="530" y="480"/>
                  </a:lnTo>
                  <a:lnTo>
                    <a:pt x="533" y="490"/>
                  </a:lnTo>
                  <a:lnTo>
                    <a:pt x="537" y="494"/>
                  </a:lnTo>
                  <a:lnTo>
                    <a:pt x="539" y="495"/>
                  </a:lnTo>
                  <a:lnTo>
                    <a:pt x="539" y="500"/>
                  </a:lnTo>
                  <a:lnTo>
                    <a:pt x="541" y="505"/>
                  </a:lnTo>
                  <a:lnTo>
                    <a:pt x="541" y="505"/>
                  </a:lnTo>
                  <a:lnTo>
                    <a:pt x="541" y="505"/>
                  </a:lnTo>
                  <a:lnTo>
                    <a:pt x="533" y="498"/>
                  </a:lnTo>
                  <a:lnTo>
                    <a:pt x="526" y="494"/>
                  </a:lnTo>
                  <a:lnTo>
                    <a:pt x="518" y="492"/>
                  </a:lnTo>
                  <a:lnTo>
                    <a:pt x="514" y="494"/>
                  </a:lnTo>
                  <a:lnTo>
                    <a:pt x="514" y="494"/>
                  </a:lnTo>
                  <a:lnTo>
                    <a:pt x="508" y="500"/>
                  </a:lnTo>
                  <a:lnTo>
                    <a:pt x="501" y="501"/>
                  </a:lnTo>
                  <a:lnTo>
                    <a:pt x="494" y="500"/>
                  </a:lnTo>
                  <a:lnTo>
                    <a:pt x="491" y="498"/>
                  </a:lnTo>
                  <a:lnTo>
                    <a:pt x="488" y="495"/>
                  </a:lnTo>
                  <a:lnTo>
                    <a:pt x="488" y="495"/>
                  </a:lnTo>
                  <a:lnTo>
                    <a:pt x="480" y="488"/>
                  </a:lnTo>
                  <a:lnTo>
                    <a:pt x="474" y="485"/>
                  </a:lnTo>
                  <a:lnTo>
                    <a:pt x="470" y="484"/>
                  </a:lnTo>
                  <a:lnTo>
                    <a:pt x="465" y="484"/>
                  </a:lnTo>
                  <a:lnTo>
                    <a:pt x="460" y="484"/>
                  </a:lnTo>
                  <a:lnTo>
                    <a:pt x="455" y="485"/>
                  </a:lnTo>
                  <a:lnTo>
                    <a:pt x="451" y="488"/>
                  </a:lnTo>
                  <a:lnTo>
                    <a:pt x="437" y="501"/>
                  </a:lnTo>
                  <a:lnTo>
                    <a:pt x="437" y="501"/>
                  </a:lnTo>
                  <a:lnTo>
                    <a:pt x="434" y="497"/>
                  </a:lnTo>
                  <a:lnTo>
                    <a:pt x="434" y="491"/>
                  </a:lnTo>
                  <a:lnTo>
                    <a:pt x="437" y="484"/>
                  </a:lnTo>
                  <a:lnTo>
                    <a:pt x="437" y="481"/>
                  </a:lnTo>
                  <a:lnTo>
                    <a:pt x="435" y="477"/>
                  </a:lnTo>
                  <a:lnTo>
                    <a:pt x="433" y="474"/>
                  </a:lnTo>
                  <a:lnTo>
                    <a:pt x="425" y="472"/>
                  </a:lnTo>
                  <a:lnTo>
                    <a:pt x="427" y="468"/>
                  </a:lnTo>
                  <a:lnTo>
                    <a:pt x="407" y="458"/>
                  </a:lnTo>
                  <a:lnTo>
                    <a:pt x="407" y="464"/>
                  </a:lnTo>
                  <a:lnTo>
                    <a:pt x="394" y="459"/>
                  </a:lnTo>
                  <a:lnTo>
                    <a:pt x="394" y="452"/>
                  </a:lnTo>
                  <a:lnTo>
                    <a:pt x="378" y="441"/>
                  </a:lnTo>
                  <a:lnTo>
                    <a:pt x="370" y="444"/>
                  </a:lnTo>
                  <a:lnTo>
                    <a:pt x="368" y="437"/>
                  </a:lnTo>
                  <a:lnTo>
                    <a:pt x="367" y="435"/>
                  </a:lnTo>
                  <a:lnTo>
                    <a:pt x="367" y="434"/>
                  </a:lnTo>
                  <a:lnTo>
                    <a:pt x="365" y="428"/>
                  </a:lnTo>
                  <a:lnTo>
                    <a:pt x="364" y="421"/>
                  </a:lnTo>
                  <a:lnTo>
                    <a:pt x="357" y="418"/>
                  </a:lnTo>
                  <a:lnTo>
                    <a:pt x="347" y="415"/>
                  </a:lnTo>
                  <a:lnTo>
                    <a:pt x="344" y="424"/>
                  </a:lnTo>
                  <a:lnTo>
                    <a:pt x="339" y="427"/>
                  </a:lnTo>
                  <a:lnTo>
                    <a:pt x="337" y="421"/>
                  </a:lnTo>
                  <a:lnTo>
                    <a:pt x="332" y="414"/>
                  </a:lnTo>
                  <a:lnTo>
                    <a:pt x="324" y="415"/>
                  </a:lnTo>
                  <a:lnTo>
                    <a:pt x="315" y="416"/>
                  </a:lnTo>
                  <a:lnTo>
                    <a:pt x="322" y="421"/>
                  </a:lnTo>
                  <a:lnTo>
                    <a:pt x="328" y="425"/>
                  </a:lnTo>
                  <a:lnTo>
                    <a:pt x="328" y="435"/>
                  </a:lnTo>
                  <a:lnTo>
                    <a:pt x="328" y="441"/>
                  </a:lnTo>
                  <a:lnTo>
                    <a:pt x="324" y="447"/>
                  </a:lnTo>
                  <a:lnTo>
                    <a:pt x="309" y="449"/>
                  </a:lnTo>
                  <a:lnTo>
                    <a:pt x="302" y="449"/>
                  </a:lnTo>
                  <a:lnTo>
                    <a:pt x="296" y="452"/>
                  </a:lnTo>
                  <a:lnTo>
                    <a:pt x="295" y="454"/>
                  </a:lnTo>
                  <a:lnTo>
                    <a:pt x="292" y="451"/>
                  </a:lnTo>
                  <a:lnTo>
                    <a:pt x="288" y="447"/>
                  </a:lnTo>
                  <a:lnTo>
                    <a:pt x="284" y="448"/>
                  </a:lnTo>
                  <a:lnTo>
                    <a:pt x="284" y="455"/>
                  </a:lnTo>
                  <a:lnTo>
                    <a:pt x="292" y="459"/>
                  </a:lnTo>
                  <a:lnTo>
                    <a:pt x="301" y="469"/>
                  </a:lnTo>
                  <a:lnTo>
                    <a:pt x="307" y="474"/>
                  </a:lnTo>
                  <a:lnTo>
                    <a:pt x="312" y="478"/>
                  </a:lnTo>
                  <a:lnTo>
                    <a:pt x="325" y="485"/>
                  </a:lnTo>
                  <a:lnTo>
                    <a:pt x="332" y="490"/>
                  </a:lnTo>
                  <a:lnTo>
                    <a:pt x="331" y="495"/>
                  </a:lnTo>
                  <a:lnTo>
                    <a:pt x="331" y="498"/>
                  </a:lnTo>
                  <a:lnTo>
                    <a:pt x="329" y="501"/>
                  </a:lnTo>
                  <a:lnTo>
                    <a:pt x="327" y="502"/>
                  </a:lnTo>
                  <a:lnTo>
                    <a:pt x="318" y="501"/>
                  </a:lnTo>
                  <a:lnTo>
                    <a:pt x="312" y="502"/>
                  </a:lnTo>
                  <a:lnTo>
                    <a:pt x="308" y="500"/>
                  </a:lnTo>
                  <a:lnTo>
                    <a:pt x="302" y="494"/>
                  </a:lnTo>
                  <a:lnTo>
                    <a:pt x="299" y="491"/>
                  </a:lnTo>
                  <a:lnTo>
                    <a:pt x="296" y="487"/>
                  </a:lnTo>
                  <a:lnTo>
                    <a:pt x="292" y="491"/>
                  </a:lnTo>
                  <a:lnTo>
                    <a:pt x="286" y="495"/>
                  </a:lnTo>
                  <a:lnTo>
                    <a:pt x="282" y="498"/>
                  </a:lnTo>
                  <a:lnTo>
                    <a:pt x="279" y="507"/>
                  </a:lnTo>
                  <a:lnTo>
                    <a:pt x="279" y="515"/>
                  </a:lnTo>
                  <a:lnTo>
                    <a:pt x="286" y="522"/>
                  </a:lnTo>
                  <a:lnTo>
                    <a:pt x="294" y="534"/>
                  </a:lnTo>
                  <a:lnTo>
                    <a:pt x="298" y="541"/>
                  </a:lnTo>
                  <a:lnTo>
                    <a:pt x="307" y="543"/>
                  </a:lnTo>
                  <a:lnTo>
                    <a:pt x="311" y="544"/>
                  </a:lnTo>
                  <a:lnTo>
                    <a:pt x="314" y="550"/>
                  </a:lnTo>
                  <a:lnTo>
                    <a:pt x="314" y="555"/>
                  </a:lnTo>
                  <a:lnTo>
                    <a:pt x="315" y="565"/>
                  </a:lnTo>
                  <a:lnTo>
                    <a:pt x="321" y="571"/>
                  </a:lnTo>
                  <a:lnTo>
                    <a:pt x="331" y="584"/>
                  </a:lnTo>
                  <a:lnTo>
                    <a:pt x="334" y="590"/>
                  </a:lnTo>
                  <a:lnTo>
                    <a:pt x="332" y="597"/>
                  </a:lnTo>
                  <a:lnTo>
                    <a:pt x="329" y="601"/>
                  </a:lnTo>
                  <a:lnTo>
                    <a:pt x="328" y="603"/>
                  </a:lnTo>
                  <a:lnTo>
                    <a:pt x="319" y="606"/>
                  </a:lnTo>
                  <a:lnTo>
                    <a:pt x="312" y="604"/>
                  </a:lnTo>
                  <a:lnTo>
                    <a:pt x="308" y="598"/>
                  </a:lnTo>
                  <a:lnTo>
                    <a:pt x="294" y="587"/>
                  </a:lnTo>
                  <a:lnTo>
                    <a:pt x="285" y="584"/>
                  </a:lnTo>
                  <a:lnTo>
                    <a:pt x="282" y="578"/>
                  </a:lnTo>
                  <a:lnTo>
                    <a:pt x="281" y="577"/>
                  </a:lnTo>
                  <a:lnTo>
                    <a:pt x="274" y="565"/>
                  </a:lnTo>
                  <a:lnTo>
                    <a:pt x="266" y="561"/>
                  </a:lnTo>
                  <a:lnTo>
                    <a:pt x="259" y="560"/>
                  </a:lnTo>
                  <a:lnTo>
                    <a:pt x="245" y="551"/>
                  </a:lnTo>
                  <a:lnTo>
                    <a:pt x="245" y="551"/>
                  </a:lnTo>
                  <a:lnTo>
                    <a:pt x="238" y="544"/>
                  </a:lnTo>
                  <a:lnTo>
                    <a:pt x="236" y="545"/>
                  </a:lnTo>
                  <a:lnTo>
                    <a:pt x="232" y="550"/>
                  </a:lnTo>
                  <a:lnTo>
                    <a:pt x="228" y="554"/>
                  </a:lnTo>
                  <a:lnTo>
                    <a:pt x="223" y="555"/>
                  </a:lnTo>
                  <a:lnTo>
                    <a:pt x="216" y="557"/>
                  </a:lnTo>
                  <a:lnTo>
                    <a:pt x="213" y="560"/>
                  </a:lnTo>
                  <a:lnTo>
                    <a:pt x="209" y="561"/>
                  </a:lnTo>
                  <a:lnTo>
                    <a:pt x="202" y="564"/>
                  </a:lnTo>
                  <a:lnTo>
                    <a:pt x="195" y="563"/>
                  </a:lnTo>
                  <a:lnTo>
                    <a:pt x="186" y="561"/>
                  </a:lnTo>
                  <a:lnTo>
                    <a:pt x="183" y="565"/>
                  </a:lnTo>
                  <a:lnTo>
                    <a:pt x="182" y="573"/>
                  </a:lnTo>
                  <a:lnTo>
                    <a:pt x="185" y="580"/>
                  </a:lnTo>
                  <a:lnTo>
                    <a:pt x="185" y="581"/>
                  </a:lnTo>
                  <a:lnTo>
                    <a:pt x="183" y="587"/>
                  </a:lnTo>
                  <a:lnTo>
                    <a:pt x="179" y="594"/>
                  </a:lnTo>
                  <a:lnTo>
                    <a:pt x="176" y="598"/>
                  </a:lnTo>
                  <a:lnTo>
                    <a:pt x="175" y="603"/>
                  </a:lnTo>
                  <a:lnTo>
                    <a:pt x="176" y="606"/>
                  </a:lnTo>
                  <a:lnTo>
                    <a:pt x="183" y="607"/>
                  </a:lnTo>
                  <a:lnTo>
                    <a:pt x="180" y="616"/>
                  </a:lnTo>
                  <a:lnTo>
                    <a:pt x="178" y="623"/>
                  </a:lnTo>
                  <a:lnTo>
                    <a:pt x="175" y="630"/>
                  </a:lnTo>
                  <a:lnTo>
                    <a:pt x="173" y="634"/>
                  </a:lnTo>
                  <a:lnTo>
                    <a:pt x="173" y="636"/>
                  </a:lnTo>
                  <a:lnTo>
                    <a:pt x="173" y="636"/>
                  </a:lnTo>
                  <a:lnTo>
                    <a:pt x="175" y="634"/>
                  </a:lnTo>
                  <a:lnTo>
                    <a:pt x="172" y="636"/>
                  </a:lnTo>
                  <a:lnTo>
                    <a:pt x="153" y="647"/>
                  </a:lnTo>
                  <a:lnTo>
                    <a:pt x="153" y="647"/>
                  </a:lnTo>
                  <a:lnTo>
                    <a:pt x="140" y="649"/>
                  </a:lnTo>
                  <a:lnTo>
                    <a:pt x="129" y="647"/>
                  </a:lnTo>
                  <a:lnTo>
                    <a:pt x="117" y="643"/>
                  </a:lnTo>
                  <a:lnTo>
                    <a:pt x="107" y="637"/>
                  </a:lnTo>
                  <a:lnTo>
                    <a:pt x="107" y="637"/>
                  </a:lnTo>
                  <a:lnTo>
                    <a:pt x="76" y="644"/>
                  </a:lnTo>
                  <a:lnTo>
                    <a:pt x="76" y="644"/>
                  </a:lnTo>
                  <a:lnTo>
                    <a:pt x="72" y="641"/>
                  </a:lnTo>
                  <a:lnTo>
                    <a:pt x="57" y="624"/>
                  </a:lnTo>
                  <a:lnTo>
                    <a:pt x="56" y="617"/>
                  </a:lnTo>
                  <a:lnTo>
                    <a:pt x="53" y="610"/>
                  </a:lnTo>
                  <a:lnTo>
                    <a:pt x="59" y="604"/>
                  </a:lnTo>
                  <a:lnTo>
                    <a:pt x="63" y="601"/>
                  </a:lnTo>
                  <a:lnTo>
                    <a:pt x="67" y="600"/>
                  </a:lnTo>
                  <a:lnTo>
                    <a:pt x="73" y="600"/>
                  </a:lnTo>
                  <a:lnTo>
                    <a:pt x="79" y="598"/>
                  </a:lnTo>
                  <a:lnTo>
                    <a:pt x="83" y="597"/>
                  </a:lnTo>
                  <a:lnTo>
                    <a:pt x="89" y="596"/>
                  </a:lnTo>
                  <a:lnTo>
                    <a:pt x="95" y="593"/>
                  </a:lnTo>
                  <a:lnTo>
                    <a:pt x="102" y="583"/>
                  </a:lnTo>
                  <a:lnTo>
                    <a:pt x="105" y="577"/>
                  </a:lnTo>
                  <a:lnTo>
                    <a:pt x="103" y="573"/>
                  </a:lnTo>
                  <a:lnTo>
                    <a:pt x="97" y="565"/>
                  </a:lnTo>
                  <a:lnTo>
                    <a:pt x="92" y="558"/>
                  </a:lnTo>
                  <a:lnTo>
                    <a:pt x="89" y="554"/>
                  </a:lnTo>
                  <a:lnTo>
                    <a:pt x="86" y="550"/>
                  </a:lnTo>
                  <a:lnTo>
                    <a:pt x="77" y="550"/>
                  </a:lnTo>
                  <a:lnTo>
                    <a:pt x="73" y="550"/>
                  </a:lnTo>
                  <a:lnTo>
                    <a:pt x="72" y="548"/>
                  </a:lnTo>
                  <a:lnTo>
                    <a:pt x="70" y="544"/>
                  </a:lnTo>
                  <a:lnTo>
                    <a:pt x="64" y="540"/>
                  </a:lnTo>
                  <a:lnTo>
                    <a:pt x="62" y="538"/>
                  </a:lnTo>
                  <a:lnTo>
                    <a:pt x="57" y="535"/>
                  </a:lnTo>
                  <a:lnTo>
                    <a:pt x="56" y="532"/>
                  </a:lnTo>
                  <a:lnTo>
                    <a:pt x="56" y="531"/>
                  </a:lnTo>
                  <a:lnTo>
                    <a:pt x="59" y="527"/>
                  </a:lnTo>
                  <a:lnTo>
                    <a:pt x="59" y="525"/>
                  </a:lnTo>
                  <a:lnTo>
                    <a:pt x="52" y="524"/>
                  </a:lnTo>
                  <a:lnTo>
                    <a:pt x="47" y="522"/>
                  </a:lnTo>
                  <a:lnTo>
                    <a:pt x="44" y="518"/>
                  </a:lnTo>
                  <a:lnTo>
                    <a:pt x="42" y="518"/>
                  </a:lnTo>
                  <a:lnTo>
                    <a:pt x="37" y="520"/>
                  </a:lnTo>
                  <a:lnTo>
                    <a:pt x="36" y="521"/>
                  </a:lnTo>
                  <a:lnTo>
                    <a:pt x="33" y="522"/>
                  </a:lnTo>
                  <a:lnTo>
                    <a:pt x="29" y="528"/>
                  </a:lnTo>
                  <a:lnTo>
                    <a:pt x="27" y="531"/>
                  </a:lnTo>
                  <a:lnTo>
                    <a:pt x="23" y="535"/>
                  </a:lnTo>
                  <a:lnTo>
                    <a:pt x="19" y="540"/>
                  </a:lnTo>
                  <a:lnTo>
                    <a:pt x="17" y="544"/>
                  </a:lnTo>
                  <a:lnTo>
                    <a:pt x="16" y="545"/>
                  </a:lnTo>
                  <a:lnTo>
                    <a:pt x="14" y="541"/>
                  </a:lnTo>
                  <a:lnTo>
                    <a:pt x="14" y="540"/>
                  </a:lnTo>
                  <a:lnTo>
                    <a:pt x="14" y="532"/>
                  </a:lnTo>
                  <a:lnTo>
                    <a:pt x="14" y="528"/>
                  </a:lnTo>
                  <a:lnTo>
                    <a:pt x="14" y="522"/>
                  </a:lnTo>
                  <a:lnTo>
                    <a:pt x="13" y="515"/>
                  </a:lnTo>
                  <a:lnTo>
                    <a:pt x="13" y="510"/>
                  </a:lnTo>
                  <a:lnTo>
                    <a:pt x="19" y="500"/>
                  </a:lnTo>
                  <a:lnTo>
                    <a:pt x="11" y="495"/>
                  </a:lnTo>
                  <a:lnTo>
                    <a:pt x="10" y="494"/>
                  </a:lnTo>
                  <a:lnTo>
                    <a:pt x="4" y="490"/>
                  </a:lnTo>
                  <a:lnTo>
                    <a:pt x="0" y="487"/>
                  </a:lnTo>
                  <a:lnTo>
                    <a:pt x="9" y="478"/>
                  </a:lnTo>
                  <a:lnTo>
                    <a:pt x="14" y="481"/>
                  </a:lnTo>
                  <a:lnTo>
                    <a:pt x="17" y="474"/>
                  </a:lnTo>
                  <a:lnTo>
                    <a:pt x="30" y="451"/>
                  </a:lnTo>
                  <a:lnTo>
                    <a:pt x="33" y="445"/>
                  </a:lnTo>
                  <a:lnTo>
                    <a:pt x="39" y="438"/>
                  </a:lnTo>
                  <a:lnTo>
                    <a:pt x="43" y="435"/>
                  </a:lnTo>
                  <a:lnTo>
                    <a:pt x="52" y="427"/>
                  </a:lnTo>
                  <a:lnTo>
                    <a:pt x="59" y="422"/>
                  </a:lnTo>
                  <a:lnTo>
                    <a:pt x="63" y="421"/>
                  </a:lnTo>
                  <a:lnTo>
                    <a:pt x="69" y="419"/>
                  </a:lnTo>
                  <a:lnTo>
                    <a:pt x="77" y="416"/>
                  </a:lnTo>
                  <a:lnTo>
                    <a:pt x="82" y="402"/>
                  </a:lnTo>
                  <a:lnTo>
                    <a:pt x="82" y="399"/>
                  </a:lnTo>
                  <a:lnTo>
                    <a:pt x="85" y="388"/>
                  </a:lnTo>
                  <a:lnTo>
                    <a:pt x="87" y="384"/>
                  </a:lnTo>
                  <a:lnTo>
                    <a:pt x="95" y="379"/>
                  </a:lnTo>
                  <a:lnTo>
                    <a:pt x="103" y="371"/>
                  </a:lnTo>
                  <a:lnTo>
                    <a:pt x="110" y="358"/>
                  </a:lnTo>
                  <a:lnTo>
                    <a:pt x="112" y="352"/>
                  </a:lnTo>
                  <a:lnTo>
                    <a:pt x="109" y="348"/>
                  </a:lnTo>
                  <a:lnTo>
                    <a:pt x="103" y="346"/>
                  </a:lnTo>
                  <a:lnTo>
                    <a:pt x="106" y="342"/>
                  </a:lnTo>
                  <a:lnTo>
                    <a:pt x="107" y="338"/>
                  </a:lnTo>
                  <a:lnTo>
                    <a:pt x="116" y="341"/>
                  </a:lnTo>
                  <a:lnTo>
                    <a:pt x="122" y="343"/>
                  </a:lnTo>
                  <a:lnTo>
                    <a:pt x="123" y="342"/>
                  </a:lnTo>
                  <a:lnTo>
                    <a:pt x="127" y="335"/>
                  </a:lnTo>
                  <a:lnTo>
                    <a:pt x="130" y="329"/>
                  </a:lnTo>
                  <a:lnTo>
                    <a:pt x="136" y="326"/>
                  </a:lnTo>
                  <a:lnTo>
                    <a:pt x="139" y="322"/>
                  </a:lnTo>
                  <a:lnTo>
                    <a:pt x="146" y="315"/>
                  </a:lnTo>
                  <a:lnTo>
                    <a:pt x="155" y="302"/>
                  </a:lnTo>
                  <a:lnTo>
                    <a:pt x="158" y="299"/>
                  </a:lnTo>
                  <a:lnTo>
                    <a:pt x="168" y="306"/>
                  </a:lnTo>
                  <a:lnTo>
                    <a:pt x="173" y="311"/>
                  </a:lnTo>
                  <a:lnTo>
                    <a:pt x="176" y="308"/>
                  </a:lnTo>
                  <a:lnTo>
                    <a:pt x="180" y="305"/>
                  </a:lnTo>
                  <a:lnTo>
                    <a:pt x="185" y="303"/>
                  </a:lnTo>
                  <a:lnTo>
                    <a:pt x="198" y="296"/>
                  </a:lnTo>
                  <a:lnTo>
                    <a:pt x="206" y="296"/>
                  </a:lnTo>
                  <a:lnTo>
                    <a:pt x="211" y="293"/>
                  </a:lnTo>
                  <a:lnTo>
                    <a:pt x="216" y="293"/>
                  </a:lnTo>
                  <a:lnTo>
                    <a:pt x="219" y="296"/>
                  </a:lnTo>
                  <a:lnTo>
                    <a:pt x="222" y="298"/>
                  </a:lnTo>
                  <a:lnTo>
                    <a:pt x="225" y="303"/>
                  </a:lnTo>
                  <a:lnTo>
                    <a:pt x="226" y="309"/>
                  </a:lnTo>
                  <a:lnTo>
                    <a:pt x="229" y="315"/>
                  </a:lnTo>
                  <a:lnTo>
                    <a:pt x="231" y="318"/>
                  </a:lnTo>
                  <a:lnTo>
                    <a:pt x="233" y="321"/>
                  </a:lnTo>
                  <a:lnTo>
                    <a:pt x="236" y="322"/>
                  </a:lnTo>
                  <a:lnTo>
                    <a:pt x="239" y="315"/>
                  </a:lnTo>
                  <a:lnTo>
                    <a:pt x="242" y="311"/>
                  </a:lnTo>
                  <a:lnTo>
                    <a:pt x="246" y="306"/>
                  </a:lnTo>
                  <a:lnTo>
                    <a:pt x="258" y="305"/>
                  </a:lnTo>
                  <a:lnTo>
                    <a:pt x="259" y="300"/>
                  </a:lnTo>
                  <a:lnTo>
                    <a:pt x="254" y="293"/>
                  </a:lnTo>
                  <a:lnTo>
                    <a:pt x="251" y="290"/>
                  </a:lnTo>
                  <a:lnTo>
                    <a:pt x="251" y="286"/>
                  </a:lnTo>
                  <a:lnTo>
                    <a:pt x="265" y="279"/>
                  </a:lnTo>
                  <a:lnTo>
                    <a:pt x="266" y="272"/>
                  </a:lnTo>
                  <a:lnTo>
                    <a:pt x="271" y="268"/>
                  </a:lnTo>
                  <a:lnTo>
                    <a:pt x="284" y="260"/>
                  </a:lnTo>
                  <a:lnTo>
                    <a:pt x="288" y="262"/>
                  </a:lnTo>
                  <a:lnTo>
                    <a:pt x="294" y="258"/>
                  </a:lnTo>
                  <a:lnTo>
                    <a:pt x="298" y="255"/>
                  </a:lnTo>
                  <a:lnTo>
                    <a:pt x="307" y="252"/>
                  </a:lnTo>
                  <a:lnTo>
                    <a:pt x="308" y="239"/>
                  </a:lnTo>
                  <a:lnTo>
                    <a:pt x="309" y="237"/>
                  </a:lnTo>
                  <a:lnTo>
                    <a:pt x="315" y="237"/>
                  </a:lnTo>
                  <a:lnTo>
                    <a:pt x="328" y="236"/>
                  </a:lnTo>
                  <a:lnTo>
                    <a:pt x="322" y="232"/>
                  </a:lnTo>
                  <a:lnTo>
                    <a:pt x="312" y="230"/>
                  </a:lnTo>
                  <a:lnTo>
                    <a:pt x="311" y="223"/>
                  </a:lnTo>
                  <a:lnTo>
                    <a:pt x="307" y="220"/>
                  </a:lnTo>
                  <a:lnTo>
                    <a:pt x="302" y="216"/>
                  </a:lnTo>
                  <a:lnTo>
                    <a:pt x="295" y="215"/>
                  </a:lnTo>
                  <a:lnTo>
                    <a:pt x="282" y="216"/>
                  </a:lnTo>
                  <a:lnTo>
                    <a:pt x="279" y="220"/>
                  </a:lnTo>
                  <a:lnTo>
                    <a:pt x="272" y="226"/>
                  </a:lnTo>
                  <a:lnTo>
                    <a:pt x="265" y="223"/>
                  </a:lnTo>
                  <a:lnTo>
                    <a:pt x="252" y="226"/>
                  </a:lnTo>
                  <a:lnTo>
                    <a:pt x="245" y="227"/>
                  </a:lnTo>
                  <a:lnTo>
                    <a:pt x="236" y="219"/>
                  </a:lnTo>
                  <a:lnTo>
                    <a:pt x="232" y="213"/>
                  </a:lnTo>
                  <a:lnTo>
                    <a:pt x="222" y="216"/>
                  </a:lnTo>
                  <a:lnTo>
                    <a:pt x="215" y="217"/>
                  </a:lnTo>
                  <a:lnTo>
                    <a:pt x="209" y="213"/>
                  </a:lnTo>
                  <a:lnTo>
                    <a:pt x="203" y="210"/>
                  </a:lnTo>
                  <a:lnTo>
                    <a:pt x="198" y="213"/>
                  </a:lnTo>
                  <a:lnTo>
                    <a:pt x="195" y="215"/>
                  </a:lnTo>
                  <a:lnTo>
                    <a:pt x="189" y="215"/>
                  </a:lnTo>
                  <a:lnTo>
                    <a:pt x="185" y="212"/>
                  </a:lnTo>
                  <a:lnTo>
                    <a:pt x="180" y="206"/>
                  </a:lnTo>
                  <a:lnTo>
                    <a:pt x="178" y="196"/>
                  </a:lnTo>
                  <a:lnTo>
                    <a:pt x="176" y="189"/>
                  </a:lnTo>
                  <a:lnTo>
                    <a:pt x="172" y="187"/>
                  </a:lnTo>
                  <a:lnTo>
                    <a:pt x="165" y="186"/>
                  </a:lnTo>
                  <a:lnTo>
                    <a:pt x="160" y="183"/>
                  </a:lnTo>
                  <a:lnTo>
                    <a:pt x="158" y="183"/>
                  </a:lnTo>
                  <a:lnTo>
                    <a:pt x="153" y="183"/>
                  </a:lnTo>
                  <a:lnTo>
                    <a:pt x="150" y="184"/>
                  </a:lnTo>
                  <a:lnTo>
                    <a:pt x="149" y="189"/>
                  </a:lnTo>
                  <a:lnTo>
                    <a:pt x="145" y="190"/>
                  </a:lnTo>
                  <a:lnTo>
                    <a:pt x="138" y="190"/>
                  </a:lnTo>
                  <a:lnTo>
                    <a:pt x="132" y="189"/>
                  </a:lnTo>
                  <a:lnTo>
                    <a:pt x="129" y="186"/>
                  </a:lnTo>
                  <a:lnTo>
                    <a:pt x="127" y="183"/>
                  </a:lnTo>
                  <a:lnTo>
                    <a:pt x="125" y="180"/>
                  </a:lnTo>
                  <a:lnTo>
                    <a:pt x="125" y="174"/>
                  </a:lnTo>
                  <a:lnTo>
                    <a:pt x="122" y="170"/>
                  </a:lnTo>
                  <a:lnTo>
                    <a:pt x="120" y="166"/>
                  </a:lnTo>
                  <a:lnTo>
                    <a:pt x="120" y="163"/>
                  </a:lnTo>
                  <a:lnTo>
                    <a:pt x="120" y="159"/>
                  </a:lnTo>
                  <a:lnTo>
                    <a:pt x="125" y="153"/>
                  </a:lnTo>
                  <a:lnTo>
                    <a:pt x="125" y="147"/>
                  </a:lnTo>
                  <a:lnTo>
                    <a:pt x="119" y="143"/>
                  </a:lnTo>
                  <a:lnTo>
                    <a:pt x="119" y="136"/>
                  </a:lnTo>
                  <a:lnTo>
                    <a:pt x="120" y="131"/>
                  </a:lnTo>
                  <a:lnTo>
                    <a:pt x="120" y="127"/>
                  </a:lnTo>
                  <a:lnTo>
                    <a:pt x="117" y="121"/>
                  </a:lnTo>
                  <a:lnTo>
                    <a:pt x="110" y="111"/>
                  </a:lnTo>
                  <a:lnTo>
                    <a:pt x="107" y="110"/>
                  </a:lnTo>
                  <a:lnTo>
                    <a:pt x="103" y="106"/>
                  </a:lnTo>
                  <a:lnTo>
                    <a:pt x="103" y="96"/>
                  </a:lnTo>
                  <a:lnTo>
                    <a:pt x="103" y="86"/>
                  </a:lnTo>
                  <a:lnTo>
                    <a:pt x="113" y="80"/>
                  </a:lnTo>
                  <a:lnTo>
                    <a:pt x="117" y="78"/>
                  </a:lnTo>
                  <a:lnTo>
                    <a:pt x="120" y="73"/>
                  </a:lnTo>
                  <a:lnTo>
                    <a:pt x="120" y="67"/>
                  </a:lnTo>
                  <a:lnTo>
                    <a:pt x="123" y="60"/>
                  </a:lnTo>
                  <a:lnTo>
                    <a:pt x="143" y="58"/>
                  </a:lnTo>
                  <a:lnTo>
                    <a:pt x="143" y="48"/>
                  </a:lnTo>
                  <a:lnTo>
                    <a:pt x="145" y="41"/>
                  </a:lnTo>
                  <a:lnTo>
                    <a:pt x="148" y="37"/>
                  </a:lnTo>
                  <a:lnTo>
                    <a:pt x="153" y="33"/>
                  </a:lnTo>
                  <a:lnTo>
                    <a:pt x="159" y="34"/>
                  </a:lnTo>
                  <a:lnTo>
                    <a:pt x="160" y="38"/>
                  </a:lnTo>
                  <a:lnTo>
                    <a:pt x="169" y="40"/>
                  </a:lnTo>
                  <a:lnTo>
                    <a:pt x="175" y="41"/>
                  </a:lnTo>
                  <a:lnTo>
                    <a:pt x="182" y="41"/>
                  </a:lnTo>
                  <a:lnTo>
                    <a:pt x="186" y="46"/>
                  </a:lnTo>
                  <a:lnTo>
                    <a:pt x="193" y="53"/>
                  </a:lnTo>
                  <a:lnTo>
                    <a:pt x="195" y="54"/>
                  </a:lnTo>
                  <a:lnTo>
                    <a:pt x="196" y="57"/>
                  </a:lnTo>
                  <a:lnTo>
                    <a:pt x="201" y="60"/>
                  </a:lnTo>
                  <a:lnTo>
                    <a:pt x="208" y="64"/>
                  </a:lnTo>
                  <a:lnTo>
                    <a:pt x="213" y="70"/>
                  </a:lnTo>
                  <a:lnTo>
                    <a:pt x="215" y="80"/>
                  </a:lnTo>
                  <a:lnTo>
                    <a:pt x="213" y="84"/>
                  </a:lnTo>
                  <a:lnTo>
                    <a:pt x="211" y="89"/>
                  </a:lnTo>
                  <a:lnTo>
                    <a:pt x="208" y="91"/>
                  </a:lnTo>
                  <a:lnTo>
                    <a:pt x="201" y="93"/>
                  </a:lnTo>
                  <a:lnTo>
                    <a:pt x="196" y="94"/>
                  </a:lnTo>
                  <a:lnTo>
                    <a:pt x="193" y="100"/>
                  </a:lnTo>
                  <a:lnTo>
                    <a:pt x="192" y="101"/>
                  </a:lnTo>
                  <a:lnTo>
                    <a:pt x="185" y="104"/>
                  </a:lnTo>
                  <a:lnTo>
                    <a:pt x="179" y="106"/>
                  </a:lnTo>
                  <a:lnTo>
                    <a:pt x="176" y="109"/>
                  </a:lnTo>
                  <a:lnTo>
                    <a:pt x="176" y="110"/>
                  </a:lnTo>
                  <a:lnTo>
                    <a:pt x="178" y="114"/>
                  </a:lnTo>
                  <a:lnTo>
                    <a:pt x="179" y="119"/>
                  </a:lnTo>
                  <a:lnTo>
                    <a:pt x="185" y="119"/>
                  </a:lnTo>
                  <a:lnTo>
                    <a:pt x="193" y="116"/>
                  </a:lnTo>
                  <a:lnTo>
                    <a:pt x="196" y="111"/>
                  </a:lnTo>
                  <a:lnTo>
                    <a:pt x="199" y="107"/>
                  </a:lnTo>
                  <a:lnTo>
                    <a:pt x="209" y="104"/>
                  </a:lnTo>
                  <a:lnTo>
                    <a:pt x="209" y="103"/>
                  </a:lnTo>
                  <a:lnTo>
                    <a:pt x="209" y="103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12" y="101"/>
                  </a:lnTo>
                  <a:lnTo>
                    <a:pt x="213" y="101"/>
                  </a:lnTo>
                  <a:lnTo>
                    <a:pt x="215" y="99"/>
                  </a:lnTo>
                  <a:lnTo>
                    <a:pt x="216" y="100"/>
                  </a:lnTo>
                  <a:lnTo>
                    <a:pt x="221" y="106"/>
                  </a:lnTo>
                  <a:lnTo>
                    <a:pt x="222" y="111"/>
                  </a:lnTo>
                  <a:lnTo>
                    <a:pt x="221" y="116"/>
                  </a:lnTo>
                  <a:lnTo>
                    <a:pt x="221" y="120"/>
                  </a:lnTo>
                  <a:lnTo>
                    <a:pt x="218" y="124"/>
                  </a:lnTo>
                  <a:lnTo>
                    <a:pt x="213" y="129"/>
                  </a:lnTo>
                  <a:lnTo>
                    <a:pt x="212" y="133"/>
                  </a:lnTo>
                  <a:lnTo>
                    <a:pt x="221" y="131"/>
                  </a:lnTo>
                  <a:lnTo>
                    <a:pt x="225" y="140"/>
                  </a:lnTo>
                  <a:lnTo>
                    <a:pt x="221" y="144"/>
                  </a:lnTo>
                  <a:lnTo>
                    <a:pt x="223" y="152"/>
                  </a:lnTo>
                  <a:lnTo>
                    <a:pt x="225" y="153"/>
                  </a:lnTo>
                  <a:lnTo>
                    <a:pt x="231" y="153"/>
                  </a:lnTo>
                  <a:lnTo>
                    <a:pt x="238" y="153"/>
                  </a:lnTo>
                  <a:lnTo>
                    <a:pt x="246" y="153"/>
                  </a:lnTo>
                  <a:lnTo>
                    <a:pt x="249" y="152"/>
                  </a:lnTo>
                  <a:lnTo>
                    <a:pt x="254" y="150"/>
                  </a:lnTo>
                  <a:lnTo>
                    <a:pt x="254" y="144"/>
                  </a:lnTo>
                  <a:lnTo>
                    <a:pt x="251" y="137"/>
                  </a:lnTo>
                  <a:lnTo>
                    <a:pt x="249" y="133"/>
                  </a:lnTo>
                  <a:lnTo>
                    <a:pt x="248" y="130"/>
                  </a:lnTo>
                  <a:lnTo>
                    <a:pt x="252" y="124"/>
                  </a:lnTo>
                  <a:lnTo>
                    <a:pt x="261" y="121"/>
                  </a:lnTo>
                  <a:lnTo>
                    <a:pt x="265" y="119"/>
                  </a:lnTo>
                  <a:lnTo>
                    <a:pt x="268" y="120"/>
                  </a:lnTo>
                  <a:lnTo>
                    <a:pt x="279" y="119"/>
                  </a:lnTo>
                  <a:lnTo>
                    <a:pt x="278" y="123"/>
                  </a:lnTo>
                  <a:lnTo>
                    <a:pt x="278" y="127"/>
                  </a:lnTo>
                  <a:lnTo>
                    <a:pt x="286" y="129"/>
                  </a:lnTo>
                  <a:lnTo>
                    <a:pt x="292" y="127"/>
                  </a:lnTo>
                  <a:lnTo>
                    <a:pt x="296" y="127"/>
                  </a:lnTo>
                  <a:lnTo>
                    <a:pt x="304" y="127"/>
                  </a:lnTo>
                  <a:lnTo>
                    <a:pt x="307" y="126"/>
                  </a:lnTo>
                  <a:lnTo>
                    <a:pt x="314" y="120"/>
                  </a:lnTo>
                  <a:lnTo>
                    <a:pt x="321" y="121"/>
                  </a:lnTo>
                  <a:lnTo>
                    <a:pt x="345" y="126"/>
                  </a:lnTo>
                  <a:lnTo>
                    <a:pt x="352" y="126"/>
                  </a:lnTo>
                  <a:lnTo>
                    <a:pt x="358" y="126"/>
                  </a:lnTo>
                  <a:lnTo>
                    <a:pt x="361" y="126"/>
                  </a:lnTo>
                  <a:lnTo>
                    <a:pt x="365" y="126"/>
                  </a:lnTo>
                  <a:lnTo>
                    <a:pt x="367" y="123"/>
                  </a:lnTo>
                  <a:lnTo>
                    <a:pt x="368" y="121"/>
                  </a:lnTo>
                  <a:lnTo>
                    <a:pt x="364" y="120"/>
                  </a:lnTo>
                  <a:lnTo>
                    <a:pt x="361" y="119"/>
                  </a:lnTo>
                  <a:lnTo>
                    <a:pt x="357" y="114"/>
                  </a:lnTo>
                  <a:lnTo>
                    <a:pt x="357" y="109"/>
                  </a:lnTo>
                  <a:lnTo>
                    <a:pt x="359" y="103"/>
                  </a:lnTo>
                  <a:lnTo>
                    <a:pt x="357" y="103"/>
                  </a:lnTo>
                  <a:lnTo>
                    <a:pt x="349" y="106"/>
                  </a:lnTo>
                  <a:lnTo>
                    <a:pt x="344" y="107"/>
                  </a:lnTo>
                  <a:lnTo>
                    <a:pt x="339" y="107"/>
                  </a:lnTo>
                  <a:lnTo>
                    <a:pt x="332" y="106"/>
                  </a:lnTo>
                  <a:lnTo>
                    <a:pt x="329" y="106"/>
                  </a:lnTo>
                  <a:lnTo>
                    <a:pt x="331" y="101"/>
                  </a:lnTo>
                  <a:lnTo>
                    <a:pt x="345" y="93"/>
                  </a:lnTo>
                  <a:lnTo>
                    <a:pt x="351" y="90"/>
                  </a:lnTo>
                  <a:lnTo>
                    <a:pt x="354" y="89"/>
                  </a:lnTo>
                  <a:lnTo>
                    <a:pt x="355" y="86"/>
                  </a:lnTo>
                  <a:lnTo>
                    <a:pt x="355" y="81"/>
                  </a:lnTo>
                  <a:lnTo>
                    <a:pt x="351" y="76"/>
                  </a:lnTo>
                  <a:lnTo>
                    <a:pt x="348" y="71"/>
                  </a:lnTo>
                  <a:lnTo>
                    <a:pt x="348" y="68"/>
                  </a:lnTo>
                  <a:lnTo>
                    <a:pt x="352" y="67"/>
                  </a:lnTo>
                  <a:lnTo>
                    <a:pt x="359" y="70"/>
                  </a:lnTo>
                  <a:lnTo>
                    <a:pt x="361" y="63"/>
                  </a:lnTo>
                  <a:lnTo>
                    <a:pt x="368" y="57"/>
                  </a:lnTo>
                  <a:lnTo>
                    <a:pt x="370" y="47"/>
                  </a:lnTo>
                  <a:lnTo>
                    <a:pt x="371" y="43"/>
                  </a:lnTo>
                  <a:lnTo>
                    <a:pt x="372" y="44"/>
                  </a:lnTo>
                  <a:lnTo>
                    <a:pt x="375" y="44"/>
                  </a:lnTo>
                  <a:lnTo>
                    <a:pt x="378" y="46"/>
                  </a:lnTo>
                  <a:lnTo>
                    <a:pt x="381" y="47"/>
                  </a:lnTo>
                  <a:lnTo>
                    <a:pt x="384" y="43"/>
                  </a:lnTo>
                  <a:lnTo>
                    <a:pt x="388" y="41"/>
                  </a:lnTo>
                  <a:lnTo>
                    <a:pt x="388" y="36"/>
                  </a:lnTo>
                  <a:lnTo>
                    <a:pt x="390" y="30"/>
                  </a:lnTo>
                  <a:lnTo>
                    <a:pt x="385" y="27"/>
                  </a:lnTo>
                  <a:lnTo>
                    <a:pt x="381" y="23"/>
                  </a:lnTo>
                  <a:lnTo>
                    <a:pt x="378" y="20"/>
                  </a:lnTo>
                  <a:lnTo>
                    <a:pt x="374" y="15"/>
                  </a:lnTo>
                  <a:lnTo>
                    <a:pt x="370" y="13"/>
                  </a:lnTo>
                  <a:lnTo>
                    <a:pt x="372" y="5"/>
                  </a:lnTo>
                  <a:lnTo>
                    <a:pt x="375" y="7"/>
                  </a:lnTo>
                  <a:lnTo>
                    <a:pt x="380" y="13"/>
                  </a:lnTo>
                  <a:lnTo>
                    <a:pt x="385" y="15"/>
                  </a:lnTo>
                  <a:lnTo>
                    <a:pt x="392" y="14"/>
                  </a:lnTo>
                  <a:lnTo>
                    <a:pt x="395" y="10"/>
                  </a:lnTo>
                  <a:lnTo>
                    <a:pt x="397" y="4"/>
                  </a:lnTo>
                  <a:lnTo>
                    <a:pt x="400" y="0"/>
                  </a:lnTo>
                  <a:lnTo>
                    <a:pt x="404" y="3"/>
                  </a:lnTo>
                  <a:lnTo>
                    <a:pt x="407" y="7"/>
                  </a:lnTo>
                  <a:lnTo>
                    <a:pt x="412" y="14"/>
                  </a:lnTo>
                  <a:lnTo>
                    <a:pt x="421" y="17"/>
                  </a:lnTo>
                  <a:lnTo>
                    <a:pt x="425" y="17"/>
                  </a:lnTo>
                  <a:lnTo>
                    <a:pt x="427" y="18"/>
                  </a:lnTo>
                  <a:lnTo>
                    <a:pt x="428" y="25"/>
                  </a:lnTo>
                  <a:lnTo>
                    <a:pt x="431" y="30"/>
                  </a:lnTo>
                  <a:lnTo>
                    <a:pt x="433" y="44"/>
                  </a:lnTo>
                  <a:lnTo>
                    <a:pt x="441" y="50"/>
                  </a:lnTo>
                  <a:lnTo>
                    <a:pt x="448" y="53"/>
                  </a:lnTo>
                  <a:lnTo>
                    <a:pt x="457" y="58"/>
                  </a:lnTo>
                  <a:lnTo>
                    <a:pt x="464" y="67"/>
                  </a:lnTo>
                  <a:lnTo>
                    <a:pt x="470" y="70"/>
                  </a:lnTo>
                  <a:lnTo>
                    <a:pt x="477" y="71"/>
                  </a:lnTo>
                  <a:lnTo>
                    <a:pt x="483" y="76"/>
                  </a:lnTo>
                  <a:lnTo>
                    <a:pt x="490" y="87"/>
                  </a:lnTo>
                  <a:lnTo>
                    <a:pt x="496" y="93"/>
                  </a:lnTo>
                  <a:lnTo>
                    <a:pt x="503" y="94"/>
                  </a:lnTo>
                  <a:lnTo>
                    <a:pt x="508" y="99"/>
                  </a:lnTo>
                  <a:lnTo>
                    <a:pt x="511" y="101"/>
                  </a:lnTo>
                  <a:lnTo>
                    <a:pt x="516" y="109"/>
                  </a:lnTo>
                  <a:lnTo>
                    <a:pt x="520" y="114"/>
                  </a:lnTo>
                  <a:lnTo>
                    <a:pt x="526" y="119"/>
                  </a:lnTo>
                  <a:lnTo>
                    <a:pt x="531" y="120"/>
                  </a:lnTo>
                  <a:lnTo>
                    <a:pt x="536" y="119"/>
                  </a:lnTo>
                  <a:lnTo>
                    <a:pt x="536" y="114"/>
                  </a:lnTo>
                  <a:lnTo>
                    <a:pt x="534" y="106"/>
                  </a:lnTo>
                  <a:lnTo>
                    <a:pt x="536" y="99"/>
                  </a:lnTo>
                  <a:lnTo>
                    <a:pt x="541" y="96"/>
                  </a:lnTo>
                  <a:lnTo>
                    <a:pt x="546" y="96"/>
                  </a:lnTo>
                  <a:lnTo>
                    <a:pt x="551" y="96"/>
                  </a:lnTo>
                  <a:lnTo>
                    <a:pt x="551" y="101"/>
                  </a:lnTo>
                  <a:lnTo>
                    <a:pt x="553" y="107"/>
                  </a:lnTo>
                  <a:lnTo>
                    <a:pt x="560" y="110"/>
                  </a:lnTo>
                  <a:lnTo>
                    <a:pt x="563" y="110"/>
                  </a:lnTo>
                  <a:lnTo>
                    <a:pt x="569" y="113"/>
                  </a:lnTo>
                  <a:lnTo>
                    <a:pt x="570" y="119"/>
                  </a:lnTo>
                  <a:lnTo>
                    <a:pt x="574" y="124"/>
                  </a:lnTo>
                  <a:lnTo>
                    <a:pt x="581" y="133"/>
                  </a:lnTo>
                  <a:lnTo>
                    <a:pt x="583" y="139"/>
                  </a:lnTo>
                  <a:lnTo>
                    <a:pt x="584" y="150"/>
                  </a:lnTo>
                  <a:lnTo>
                    <a:pt x="584" y="159"/>
                  </a:lnTo>
                  <a:lnTo>
                    <a:pt x="587" y="167"/>
                  </a:lnTo>
                  <a:lnTo>
                    <a:pt x="592" y="170"/>
                  </a:lnTo>
                  <a:close/>
                  <a:moveTo>
                    <a:pt x="407" y="457"/>
                  </a:moveTo>
                  <a:lnTo>
                    <a:pt x="410" y="457"/>
                  </a:lnTo>
                  <a:lnTo>
                    <a:pt x="410" y="459"/>
                  </a:lnTo>
                  <a:lnTo>
                    <a:pt x="407" y="459"/>
                  </a:lnTo>
                  <a:lnTo>
                    <a:pt x="407" y="458"/>
                  </a:lnTo>
                  <a:lnTo>
                    <a:pt x="407" y="458"/>
                  </a:lnTo>
                  <a:lnTo>
                    <a:pt x="407" y="457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67" name="Freeform 115"/>
            <p:cNvSpPr>
              <a:spLocks/>
            </p:cNvSpPr>
            <p:nvPr/>
          </p:nvSpPr>
          <p:spPr bwMode="auto">
            <a:xfrm>
              <a:off x="3250716" y="4256584"/>
              <a:ext cx="363900" cy="429944"/>
            </a:xfrm>
            <a:custGeom>
              <a:avLst/>
              <a:gdLst>
                <a:gd name="T0" fmla="*/ 593 w 596"/>
                <a:gd name="T1" fmla="*/ 212 h 649"/>
                <a:gd name="T2" fmla="*/ 594 w 596"/>
                <a:gd name="T3" fmla="*/ 246 h 649"/>
                <a:gd name="T4" fmla="*/ 577 w 596"/>
                <a:gd name="T5" fmla="*/ 289 h 649"/>
                <a:gd name="T6" fmla="*/ 540 w 596"/>
                <a:gd name="T7" fmla="*/ 275 h 649"/>
                <a:gd name="T8" fmla="*/ 521 w 596"/>
                <a:gd name="T9" fmla="*/ 293 h 649"/>
                <a:gd name="T10" fmla="*/ 510 w 596"/>
                <a:gd name="T11" fmla="*/ 332 h 649"/>
                <a:gd name="T12" fmla="*/ 486 w 596"/>
                <a:gd name="T13" fmla="*/ 326 h 649"/>
                <a:gd name="T14" fmla="*/ 465 w 596"/>
                <a:gd name="T15" fmla="*/ 369 h 649"/>
                <a:gd name="T16" fmla="*/ 506 w 596"/>
                <a:gd name="T17" fmla="*/ 391 h 649"/>
                <a:gd name="T18" fmla="*/ 528 w 596"/>
                <a:gd name="T19" fmla="*/ 416 h 649"/>
                <a:gd name="T20" fmla="*/ 547 w 596"/>
                <a:gd name="T21" fmla="*/ 459 h 649"/>
                <a:gd name="T22" fmla="*/ 533 w 596"/>
                <a:gd name="T23" fmla="*/ 490 h 649"/>
                <a:gd name="T24" fmla="*/ 514 w 596"/>
                <a:gd name="T25" fmla="*/ 494 h 649"/>
                <a:gd name="T26" fmla="*/ 470 w 596"/>
                <a:gd name="T27" fmla="*/ 484 h 649"/>
                <a:gd name="T28" fmla="*/ 437 w 596"/>
                <a:gd name="T29" fmla="*/ 481 h 649"/>
                <a:gd name="T30" fmla="*/ 370 w 596"/>
                <a:gd name="T31" fmla="*/ 444 h 649"/>
                <a:gd name="T32" fmla="*/ 337 w 596"/>
                <a:gd name="T33" fmla="*/ 421 h 649"/>
                <a:gd name="T34" fmla="*/ 302 w 596"/>
                <a:gd name="T35" fmla="*/ 449 h 649"/>
                <a:gd name="T36" fmla="*/ 312 w 596"/>
                <a:gd name="T37" fmla="*/ 478 h 649"/>
                <a:gd name="T38" fmla="*/ 302 w 596"/>
                <a:gd name="T39" fmla="*/ 494 h 649"/>
                <a:gd name="T40" fmla="*/ 298 w 596"/>
                <a:gd name="T41" fmla="*/ 541 h 649"/>
                <a:gd name="T42" fmla="*/ 329 w 596"/>
                <a:gd name="T43" fmla="*/ 601 h 649"/>
                <a:gd name="T44" fmla="*/ 266 w 596"/>
                <a:gd name="T45" fmla="*/ 561 h 649"/>
                <a:gd name="T46" fmla="*/ 213 w 596"/>
                <a:gd name="T47" fmla="*/ 560 h 649"/>
                <a:gd name="T48" fmla="*/ 179 w 596"/>
                <a:gd name="T49" fmla="*/ 594 h 649"/>
                <a:gd name="T50" fmla="*/ 173 w 596"/>
                <a:gd name="T51" fmla="*/ 636 h 649"/>
                <a:gd name="T52" fmla="*/ 76 w 596"/>
                <a:gd name="T53" fmla="*/ 644 h 649"/>
                <a:gd name="T54" fmla="*/ 79 w 596"/>
                <a:gd name="T55" fmla="*/ 598 h 649"/>
                <a:gd name="T56" fmla="*/ 86 w 596"/>
                <a:gd name="T57" fmla="*/ 550 h 649"/>
                <a:gd name="T58" fmla="*/ 59 w 596"/>
                <a:gd name="T59" fmla="*/ 527 h 649"/>
                <a:gd name="T60" fmla="*/ 27 w 596"/>
                <a:gd name="T61" fmla="*/ 531 h 649"/>
                <a:gd name="T62" fmla="*/ 13 w 596"/>
                <a:gd name="T63" fmla="*/ 515 h 649"/>
                <a:gd name="T64" fmla="*/ 30 w 596"/>
                <a:gd name="T65" fmla="*/ 451 h 649"/>
                <a:gd name="T66" fmla="*/ 82 w 596"/>
                <a:gd name="T67" fmla="*/ 399 h 649"/>
                <a:gd name="T68" fmla="*/ 107 w 596"/>
                <a:gd name="T69" fmla="*/ 338 h 649"/>
                <a:gd name="T70" fmla="*/ 158 w 596"/>
                <a:gd name="T71" fmla="*/ 299 h 649"/>
                <a:gd name="T72" fmla="*/ 219 w 596"/>
                <a:gd name="T73" fmla="*/ 296 h 649"/>
                <a:gd name="T74" fmla="*/ 246 w 596"/>
                <a:gd name="T75" fmla="*/ 306 h 649"/>
                <a:gd name="T76" fmla="*/ 288 w 596"/>
                <a:gd name="T77" fmla="*/ 262 h 649"/>
                <a:gd name="T78" fmla="*/ 311 w 596"/>
                <a:gd name="T79" fmla="*/ 223 h 649"/>
                <a:gd name="T80" fmla="*/ 236 w 596"/>
                <a:gd name="T81" fmla="*/ 219 h 649"/>
                <a:gd name="T82" fmla="*/ 180 w 596"/>
                <a:gd name="T83" fmla="*/ 206 h 649"/>
                <a:gd name="T84" fmla="*/ 145 w 596"/>
                <a:gd name="T85" fmla="*/ 190 h 649"/>
                <a:gd name="T86" fmla="*/ 120 w 596"/>
                <a:gd name="T87" fmla="*/ 159 h 649"/>
                <a:gd name="T88" fmla="*/ 103 w 596"/>
                <a:gd name="T89" fmla="*/ 106 h 649"/>
                <a:gd name="T90" fmla="*/ 145 w 596"/>
                <a:gd name="T91" fmla="*/ 41 h 649"/>
                <a:gd name="T92" fmla="*/ 195 w 596"/>
                <a:gd name="T93" fmla="*/ 54 h 649"/>
                <a:gd name="T94" fmla="*/ 196 w 596"/>
                <a:gd name="T95" fmla="*/ 94 h 649"/>
                <a:gd name="T96" fmla="*/ 193 w 596"/>
                <a:gd name="T97" fmla="*/ 116 h 649"/>
                <a:gd name="T98" fmla="*/ 215 w 596"/>
                <a:gd name="T99" fmla="*/ 99 h 649"/>
                <a:gd name="T100" fmla="*/ 225 w 596"/>
                <a:gd name="T101" fmla="*/ 140 h 649"/>
                <a:gd name="T102" fmla="*/ 251 w 596"/>
                <a:gd name="T103" fmla="*/ 137 h 649"/>
                <a:gd name="T104" fmla="*/ 286 w 596"/>
                <a:gd name="T105" fmla="*/ 129 h 649"/>
                <a:gd name="T106" fmla="*/ 361 w 596"/>
                <a:gd name="T107" fmla="*/ 126 h 649"/>
                <a:gd name="T108" fmla="*/ 349 w 596"/>
                <a:gd name="T109" fmla="*/ 106 h 649"/>
                <a:gd name="T110" fmla="*/ 355 w 596"/>
                <a:gd name="T111" fmla="*/ 81 h 649"/>
                <a:gd name="T112" fmla="*/ 372 w 596"/>
                <a:gd name="T113" fmla="*/ 44 h 649"/>
                <a:gd name="T114" fmla="*/ 378 w 596"/>
                <a:gd name="T115" fmla="*/ 20 h 649"/>
                <a:gd name="T116" fmla="*/ 400 w 596"/>
                <a:gd name="T117" fmla="*/ 0 h 649"/>
                <a:gd name="T118" fmla="*/ 441 w 596"/>
                <a:gd name="T119" fmla="*/ 50 h 649"/>
                <a:gd name="T120" fmla="*/ 508 w 596"/>
                <a:gd name="T121" fmla="*/ 99 h 649"/>
                <a:gd name="T122" fmla="*/ 541 w 596"/>
                <a:gd name="T123" fmla="*/ 96 h 649"/>
                <a:gd name="T124" fmla="*/ 581 w 596"/>
                <a:gd name="T125" fmla="*/ 133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96" h="649">
                  <a:moveTo>
                    <a:pt x="592" y="170"/>
                  </a:moveTo>
                  <a:lnTo>
                    <a:pt x="593" y="173"/>
                  </a:lnTo>
                  <a:lnTo>
                    <a:pt x="596" y="176"/>
                  </a:lnTo>
                  <a:lnTo>
                    <a:pt x="594" y="183"/>
                  </a:lnTo>
                  <a:lnTo>
                    <a:pt x="593" y="192"/>
                  </a:lnTo>
                  <a:lnTo>
                    <a:pt x="592" y="197"/>
                  </a:lnTo>
                  <a:lnTo>
                    <a:pt x="590" y="206"/>
                  </a:lnTo>
                  <a:lnTo>
                    <a:pt x="590" y="207"/>
                  </a:lnTo>
                  <a:lnTo>
                    <a:pt x="592" y="210"/>
                  </a:lnTo>
                  <a:lnTo>
                    <a:pt x="593" y="212"/>
                  </a:lnTo>
                  <a:lnTo>
                    <a:pt x="592" y="213"/>
                  </a:lnTo>
                  <a:lnTo>
                    <a:pt x="592" y="217"/>
                  </a:lnTo>
                  <a:lnTo>
                    <a:pt x="592" y="219"/>
                  </a:lnTo>
                  <a:lnTo>
                    <a:pt x="590" y="219"/>
                  </a:lnTo>
                  <a:lnTo>
                    <a:pt x="590" y="223"/>
                  </a:lnTo>
                  <a:lnTo>
                    <a:pt x="590" y="226"/>
                  </a:lnTo>
                  <a:lnTo>
                    <a:pt x="593" y="230"/>
                  </a:lnTo>
                  <a:lnTo>
                    <a:pt x="596" y="235"/>
                  </a:lnTo>
                  <a:lnTo>
                    <a:pt x="596" y="240"/>
                  </a:lnTo>
                  <a:lnTo>
                    <a:pt x="594" y="246"/>
                  </a:lnTo>
                  <a:lnTo>
                    <a:pt x="594" y="249"/>
                  </a:lnTo>
                  <a:lnTo>
                    <a:pt x="592" y="253"/>
                  </a:lnTo>
                  <a:lnTo>
                    <a:pt x="589" y="255"/>
                  </a:lnTo>
                  <a:lnTo>
                    <a:pt x="586" y="260"/>
                  </a:lnTo>
                  <a:lnTo>
                    <a:pt x="584" y="269"/>
                  </a:lnTo>
                  <a:lnTo>
                    <a:pt x="584" y="278"/>
                  </a:lnTo>
                  <a:lnTo>
                    <a:pt x="583" y="283"/>
                  </a:lnTo>
                  <a:lnTo>
                    <a:pt x="583" y="288"/>
                  </a:lnTo>
                  <a:lnTo>
                    <a:pt x="579" y="289"/>
                  </a:lnTo>
                  <a:lnTo>
                    <a:pt x="577" y="289"/>
                  </a:lnTo>
                  <a:lnTo>
                    <a:pt x="571" y="289"/>
                  </a:lnTo>
                  <a:lnTo>
                    <a:pt x="566" y="288"/>
                  </a:lnTo>
                  <a:lnTo>
                    <a:pt x="560" y="288"/>
                  </a:lnTo>
                  <a:lnTo>
                    <a:pt x="554" y="289"/>
                  </a:lnTo>
                  <a:lnTo>
                    <a:pt x="553" y="289"/>
                  </a:lnTo>
                  <a:lnTo>
                    <a:pt x="551" y="288"/>
                  </a:lnTo>
                  <a:lnTo>
                    <a:pt x="550" y="286"/>
                  </a:lnTo>
                  <a:lnTo>
                    <a:pt x="547" y="280"/>
                  </a:lnTo>
                  <a:lnTo>
                    <a:pt x="544" y="276"/>
                  </a:lnTo>
                  <a:lnTo>
                    <a:pt x="540" y="275"/>
                  </a:lnTo>
                  <a:lnTo>
                    <a:pt x="537" y="275"/>
                  </a:lnTo>
                  <a:lnTo>
                    <a:pt x="536" y="278"/>
                  </a:lnTo>
                  <a:lnTo>
                    <a:pt x="537" y="280"/>
                  </a:lnTo>
                  <a:lnTo>
                    <a:pt x="539" y="285"/>
                  </a:lnTo>
                  <a:lnTo>
                    <a:pt x="540" y="289"/>
                  </a:lnTo>
                  <a:lnTo>
                    <a:pt x="539" y="289"/>
                  </a:lnTo>
                  <a:lnTo>
                    <a:pt x="537" y="290"/>
                  </a:lnTo>
                  <a:lnTo>
                    <a:pt x="533" y="289"/>
                  </a:lnTo>
                  <a:lnTo>
                    <a:pt x="528" y="290"/>
                  </a:lnTo>
                  <a:lnTo>
                    <a:pt x="521" y="293"/>
                  </a:lnTo>
                  <a:lnTo>
                    <a:pt x="518" y="296"/>
                  </a:lnTo>
                  <a:lnTo>
                    <a:pt x="517" y="300"/>
                  </a:lnTo>
                  <a:lnTo>
                    <a:pt x="518" y="305"/>
                  </a:lnTo>
                  <a:lnTo>
                    <a:pt x="521" y="309"/>
                  </a:lnTo>
                  <a:lnTo>
                    <a:pt x="524" y="313"/>
                  </a:lnTo>
                  <a:lnTo>
                    <a:pt x="524" y="319"/>
                  </a:lnTo>
                  <a:lnTo>
                    <a:pt x="523" y="322"/>
                  </a:lnTo>
                  <a:lnTo>
                    <a:pt x="518" y="325"/>
                  </a:lnTo>
                  <a:lnTo>
                    <a:pt x="511" y="329"/>
                  </a:lnTo>
                  <a:lnTo>
                    <a:pt x="510" y="332"/>
                  </a:lnTo>
                  <a:lnTo>
                    <a:pt x="507" y="336"/>
                  </a:lnTo>
                  <a:lnTo>
                    <a:pt x="506" y="339"/>
                  </a:lnTo>
                  <a:lnTo>
                    <a:pt x="503" y="339"/>
                  </a:lnTo>
                  <a:lnTo>
                    <a:pt x="503" y="338"/>
                  </a:lnTo>
                  <a:lnTo>
                    <a:pt x="500" y="333"/>
                  </a:lnTo>
                  <a:lnTo>
                    <a:pt x="498" y="329"/>
                  </a:lnTo>
                  <a:lnTo>
                    <a:pt x="497" y="326"/>
                  </a:lnTo>
                  <a:lnTo>
                    <a:pt x="493" y="325"/>
                  </a:lnTo>
                  <a:lnTo>
                    <a:pt x="490" y="325"/>
                  </a:lnTo>
                  <a:lnTo>
                    <a:pt x="486" y="326"/>
                  </a:lnTo>
                  <a:lnTo>
                    <a:pt x="484" y="331"/>
                  </a:lnTo>
                  <a:lnTo>
                    <a:pt x="483" y="339"/>
                  </a:lnTo>
                  <a:lnTo>
                    <a:pt x="483" y="343"/>
                  </a:lnTo>
                  <a:lnTo>
                    <a:pt x="484" y="349"/>
                  </a:lnTo>
                  <a:lnTo>
                    <a:pt x="484" y="353"/>
                  </a:lnTo>
                  <a:lnTo>
                    <a:pt x="484" y="358"/>
                  </a:lnTo>
                  <a:lnTo>
                    <a:pt x="481" y="361"/>
                  </a:lnTo>
                  <a:lnTo>
                    <a:pt x="474" y="362"/>
                  </a:lnTo>
                  <a:lnTo>
                    <a:pt x="468" y="365"/>
                  </a:lnTo>
                  <a:lnTo>
                    <a:pt x="465" y="369"/>
                  </a:lnTo>
                  <a:lnTo>
                    <a:pt x="465" y="372"/>
                  </a:lnTo>
                  <a:lnTo>
                    <a:pt x="467" y="378"/>
                  </a:lnTo>
                  <a:lnTo>
                    <a:pt x="471" y="382"/>
                  </a:lnTo>
                  <a:lnTo>
                    <a:pt x="476" y="382"/>
                  </a:lnTo>
                  <a:lnTo>
                    <a:pt x="478" y="386"/>
                  </a:lnTo>
                  <a:lnTo>
                    <a:pt x="486" y="388"/>
                  </a:lnTo>
                  <a:lnTo>
                    <a:pt x="493" y="388"/>
                  </a:lnTo>
                  <a:lnTo>
                    <a:pt x="497" y="388"/>
                  </a:lnTo>
                  <a:lnTo>
                    <a:pt x="501" y="389"/>
                  </a:lnTo>
                  <a:lnTo>
                    <a:pt x="506" y="391"/>
                  </a:lnTo>
                  <a:lnTo>
                    <a:pt x="508" y="394"/>
                  </a:lnTo>
                  <a:lnTo>
                    <a:pt x="508" y="398"/>
                  </a:lnTo>
                  <a:lnTo>
                    <a:pt x="504" y="402"/>
                  </a:lnTo>
                  <a:lnTo>
                    <a:pt x="501" y="404"/>
                  </a:lnTo>
                  <a:lnTo>
                    <a:pt x="501" y="406"/>
                  </a:lnTo>
                  <a:lnTo>
                    <a:pt x="504" y="409"/>
                  </a:lnTo>
                  <a:lnTo>
                    <a:pt x="508" y="412"/>
                  </a:lnTo>
                  <a:lnTo>
                    <a:pt x="511" y="414"/>
                  </a:lnTo>
                  <a:lnTo>
                    <a:pt x="518" y="416"/>
                  </a:lnTo>
                  <a:lnTo>
                    <a:pt x="528" y="416"/>
                  </a:lnTo>
                  <a:lnTo>
                    <a:pt x="534" y="416"/>
                  </a:lnTo>
                  <a:lnTo>
                    <a:pt x="540" y="418"/>
                  </a:lnTo>
                  <a:lnTo>
                    <a:pt x="546" y="422"/>
                  </a:lnTo>
                  <a:lnTo>
                    <a:pt x="550" y="425"/>
                  </a:lnTo>
                  <a:lnTo>
                    <a:pt x="554" y="429"/>
                  </a:lnTo>
                  <a:lnTo>
                    <a:pt x="556" y="437"/>
                  </a:lnTo>
                  <a:lnTo>
                    <a:pt x="554" y="445"/>
                  </a:lnTo>
                  <a:lnTo>
                    <a:pt x="554" y="449"/>
                  </a:lnTo>
                  <a:lnTo>
                    <a:pt x="553" y="455"/>
                  </a:lnTo>
                  <a:lnTo>
                    <a:pt x="547" y="459"/>
                  </a:lnTo>
                  <a:lnTo>
                    <a:pt x="544" y="459"/>
                  </a:lnTo>
                  <a:lnTo>
                    <a:pt x="540" y="459"/>
                  </a:lnTo>
                  <a:lnTo>
                    <a:pt x="536" y="459"/>
                  </a:lnTo>
                  <a:lnTo>
                    <a:pt x="533" y="459"/>
                  </a:lnTo>
                  <a:lnTo>
                    <a:pt x="531" y="462"/>
                  </a:lnTo>
                  <a:lnTo>
                    <a:pt x="531" y="467"/>
                  </a:lnTo>
                  <a:lnTo>
                    <a:pt x="533" y="469"/>
                  </a:lnTo>
                  <a:lnTo>
                    <a:pt x="530" y="474"/>
                  </a:lnTo>
                  <a:lnTo>
                    <a:pt x="530" y="480"/>
                  </a:lnTo>
                  <a:lnTo>
                    <a:pt x="533" y="490"/>
                  </a:lnTo>
                  <a:lnTo>
                    <a:pt x="537" y="494"/>
                  </a:lnTo>
                  <a:lnTo>
                    <a:pt x="539" y="495"/>
                  </a:lnTo>
                  <a:lnTo>
                    <a:pt x="539" y="500"/>
                  </a:lnTo>
                  <a:lnTo>
                    <a:pt x="541" y="505"/>
                  </a:lnTo>
                  <a:lnTo>
                    <a:pt x="541" y="505"/>
                  </a:lnTo>
                  <a:lnTo>
                    <a:pt x="541" y="505"/>
                  </a:lnTo>
                  <a:lnTo>
                    <a:pt x="533" y="498"/>
                  </a:lnTo>
                  <a:lnTo>
                    <a:pt x="526" y="494"/>
                  </a:lnTo>
                  <a:lnTo>
                    <a:pt x="518" y="492"/>
                  </a:lnTo>
                  <a:lnTo>
                    <a:pt x="514" y="494"/>
                  </a:lnTo>
                  <a:lnTo>
                    <a:pt x="514" y="494"/>
                  </a:lnTo>
                  <a:lnTo>
                    <a:pt x="508" y="500"/>
                  </a:lnTo>
                  <a:lnTo>
                    <a:pt x="501" y="501"/>
                  </a:lnTo>
                  <a:lnTo>
                    <a:pt x="494" y="500"/>
                  </a:lnTo>
                  <a:lnTo>
                    <a:pt x="491" y="498"/>
                  </a:lnTo>
                  <a:lnTo>
                    <a:pt x="488" y="495"/>
                  </a:lnTo>
                  <a:lnTo>
                    <a:pt x="488" y="495"/>
                  </a:lnTo>
                  <a:lnTo>
                    <a:pt x="480" y="488"/>
                  </a:lnTo>
                  <a:lnTo>
                    <a:pt x="474" y="485"/>
                  </a:lnTo>
                  <a:lnTo>
                    <a:pt x="470" y="484"/>
                  </a:lnTo>
                  <a:lnTo>
                    <a:pt x="465" y="484"/>
                  </a:lnTo>
                  <a:lnTo>
                    <a:pt x="460" y="484"/>
                  </a:lnTo>
                  <a:lnTo>
                    <a:pt x="455" y="485"/>
                  </a:lnTo>
                  <a:lnTo>
                    <a:pt x="451" y="488"/>
                  </a:lnTo>
                  <a:lnTo>
                    <a:pt x="437" y="501"/>
                  </a:lnTo>
                  <a:lnTo>
                    <a:pt x="437" y="501"/>
                  </a:lnTo>
                  <a:lnTo>
                    <a:pt x="434" y="497"/>
                  </a:lnTo>
                  <a:lnTo>
                    <a:pt x="434" y="491"/>
                  </a:lnTo>
                  <a:lnTo>
                    <a:pt x="437" y="484"/>
                  </a:lnTo>
                  <a:lnTo>
                    <a:pt x="437" y="481"/>
                  </a:lnTo>
                  <a:lnTo>
                    <a:pt x="435" y="477"/>
                  </a:lnTo>
                  <a:lnTo>
                    <a:pt x="433" y="474"/>
                  </a:lnTo>
                  <a:lnTo>
                    <a:pt x="425" y="472"/>
                  </a:lnTo>
                  <a:lnTo>
                    <a:pt x="427" y="468"/>
                  </a:lnTo>
                  <a:lnTo>
                    <a:pt x="407" y="458"/>
                  </a:lnTo>
                  <a:lnTo>
                    <a:pt x="407" y="464"/>
                  </a:lnTo>
                  <a:lnTo>
                    <a:pt x="394" y="459"/>
                  </a:lnTo>
                  <a:lnTo>
                    <a:pt x="394" y="452"/>
                  </a:lnTo>
                  <a:lnTo>
                    <a:pt x="378" y="441"/>
                  </a:lnTo>
                  <a:lnTo>
                    <a:pt x="370" y="444"/>
                  </a:lnTo>
                  <a:lnTo>
                    <a:pt x="368" y="437"/>
                  </a:lnTo>
                  <a:lnTo>
                    <a:pt x="367" y="435"/>
                  </a:lnTo>
                  <a:lnTo>
                    <a:pt x="367" y="434"/>
                  </a:lnTo>
                  <a:lnTo>
                    <a:pt x="365" y="428"/>
                  </a:lnTo>
                  <a:lnTo>
                    <a:pt x="364" y="421"/>
                  </a:lnTo>
                  <a:lnTo>
                    <a:pt x="357" y="418"/>
                  </a:lnTo>
                  <a:lnTo>
                    <a:pt x="347" y="415"/>
                  </a:lnTo>
                  <a:lnTo>
                    <a:pt x="344" y="424"/>
                  </a:lnTo>
                  <a:lnTo>
                    <a:pt x="339" y="427"/>
                  </a:lnTo>
                  <a:lnTo>
                    <a:pt x="337" y="421"/>
                  </a:lnTo>
                  <a:lnTo>
                    <a:pt x="332" y="414"/>
                  </a:lnTo>
                  <a:lnTo>
                    <a:pt x="324" y="415"/>
                  </a:lnTo>
                  <a:lnTo>
                    <a:pt x="315" y="416"/>
                  </a:lnTo>
                  <a:lnTo>
                    <a:pt x="322" y="421"/>
                  </a:lnTo>
                  <a:lnTo>
                    <a:pt x="328" y="425"/>
                  </a:lnTo>
                  <a:lnTo>
                    <a:pt x="328" y="435"/>
                  </a:lnTo>
                  <a:lnTo>
                    <a:pt x="328" y="441"/>
                  </a:lnTo>
                  <a:lnTo>
                    <a:pt x="324" y="447"/>
                  </a:lnTo>
                  <a:lnTo>
                    <a:pt x="309" y="449"/>
                  </a:lnTo>
                  <a:lnTo>
                    <a:pt x="302" y="449"/>
                  </a:lnTo>
                  <a:lnTo>
                    <a:pt x="296" y="452"/>
                  </a:lnTo>
                  <a:lnTo>
                    <a:pt x="295" y="454"/>
                  </a:lnTo>
                  <a:lnTo>
                    <a:pt x="292" y="451"/>
                  </a:lnTo>
                  <a:lnTo>
                    <a:pt x="288" y="447"/>
                  </a:lnTo>
                  <a:lnTo>
                    <a:pt x="284" y="448"/>
                  </a:lnTo>
                  <a:lnTo>
                    <a:pt x="284" y="455"/>
                  </a:lnTo>
                  <a:lnTo>
                    <a:pt x="292" y="459"/>
                  </a:lnTo>
                  <a:lnTo>
                    <a:pt x="301" y="469"/>
                  </a:lnTo>
                  <a:lnTo>
                    <a:pt x="307" y="474"/>
                  </a:lnTo>
                  <a:lnTo>
                    <a:pt x="312" y="478"/>
                  </a:lnTo>
                  <a:lnTo>
                    <a:pt x="325" y="485"/>
                  </a:lnTo>
                  <a:lnTo>
                    <a:pt x="332" y="490"/>
                  </a:lnTo>
                  <a:lnTo>
                    <a:pt x="331" y="495"/>
                  </a:lnTo>
                  <a:lnTo>
                    <a:pt x="331" y="498"/>
                  </a:lnTo>
                  <a:lnTo>
                    <a:pt x="329" y="501"/>
                  </a:lnTo>
                  <a:lnTo>
                    <a:pt x="327" y="502"/>
                  </a:lnTo>
                  <a:lnTo>
                    <a:pt x="318" y="501"/>
                  </a:lnTo>
                  <a:lnTo>
                    <a:pt x="312" y="502"/>
                  </a:lnTo>
                  <a:lnTo>
                    <a:pt x="308" y="500"/>
                  </a:lnTo>
                  <a:lnTo>
                    <a:pt x="302" y="494"/>
                  </a:lnTo>
                  <a:lnTo>
                    <a:pt x="299" y="491"/>
                  </a:lnTo>
                  <a:lnTo>
                    <a:pt x="296" y="487"/>
                  </a:lnTo>
                  <a:lnTo>
                    <a:pt x="292" y="491"/>
                  </a:lnTo>
                  <a:lnTo>
                    <a:pt x="286" y="495"/>
                  </a:lnTo>
                  <a:lnTo>
                    <a:pt x="282" y="498"/>
                  </a:lnTo>
                  <a:lnTo>
                    <a:pt x="279" y="507"/>
                  </a:lnTo>
                  <a:lnTo>
                    <a:pt x="279" y="515"/>
                  </a:lnTo>
                  <a:lnTo>
                    <a:pt x="286" y="522"/>
                  </a:lnTo>
                  <a:lnTo>
                    <a:pt x="294" y="534"/>
                  </a:lnTo>
                  <a:lnTo>
                    <a:pt x="298" y="541"/>
                  </a:lnTo>
                  <a:lnTo>
                    <a:pt x="307" y="543"/>
                  </a:lnTo>
                  <a:lnTo>
                    <a:pt x="311" y="544"/>
                  </a:lnTo>
                  <a:lnTo>
                    <a:pt x="314" y="550"/>
                  </a:lnTo>
                  <a:lnTo>
                    <a:pt x="314" y="555"/>
                  </a:lnTo>
                  <a:lnTo>
                    <a:pt x="315" y="565"/>
                  </a:lnTo>
                  <a:lnTo>
                    <a:pt x="321" y="571"/>
                  </a:lnTo>
                  <a:lnTo>
                    <a:pt x="331" y="584"/>
                  </a:lnTo>
                  <a:lnTo>
                    <a:pt x="334" y="590"/>
                  </a:lnTo>
                  <a:lnTo>
                    <a:pt x="332" y="597"/>
                  </a:lnTo>
                  <a:lnTo>
                    <a:pt x="329" y="601"/>
                  </a:lnTo>
                  <a:lnTo>
                    <a:pt x="328" y="603"/>
                  </a:lnTo>
                  <a:lnTo>
                    <a:pt x="319" y="606"/>
                  </a:lnTo>
                  <a:lnTo>
                    <a:pt x="312" y="604"/>
                  </a:lnTo>
                  <a:lnTo>
                    <a:pt x="308" y="598"/>
                  </a:lnTo>
                  <a:lnTo>
                    <a:pt x="294" y="587"/>
                  </a:lnTo>
                  <a:lnTo>
                    <a:pt x="285" y="584"/>
                  </a:lnTo>
                  <a:lnTo>
                    <a:pt x="282" y="578"/>
                  </a:lnTo>
                  <a:lnTo>
                    <a:pt x="281" y="577"/>
                  </a:lnTo>
                  <a:lnTo>
                    <a:pt x="274" y="565"/>
                  </a:lnTo>
                  <a:lnTo>
                    <a:pt x="266" y="561"/>
                  </a:lnTo>
                  <a:lnTo>
                    <a:pt x="259" y="560"/>
                  </a:lnTo>
                  <a:lnTo>
                    <a:pt x="245" y="551"/>
                  </a:lnTo>
                  <a:lnTo>
                    <a:pt x="245" y="551"/>
                  </a:lnTo>
                  <a:lnTo>
                    <a:pt x="238" y="544"/>
                  </a:lnTo>
                  <a:lnTo>
                    <a:pt x="236" y="545"/>
                  </a:lnTo>
                  <a:lnTo>
                    <a:pt x="232" y="550"/>
                  </a:lnTo>
                  <a:lnTo>
                    <a:pt x="228" y="554"/>
                  </a:lnTo>
                  <a:lnTo>
                    <a:pt x="223" y="555"/>
                  </a:lnTo>
                  <a:lnTo>
                    <a:pt x="216" y="557"/>
                  </a:lnTo>
                  <a:lnTo>
                    <a:pt x="213" y="560"/>
                  </a:lnTo>
                  <a:lnTo>
                    <a:pt x="209" y="561"/>
                  </a:lnTo>
                  <a:lnTo>
                    <a:pt x="202" y="564"/>
                  </a:lnTo>
                  <a:lnTo>
                    <a:pt x="195" y="563"/>
                  </a:lnTo>
                  <a:lnTo>
                    <a:pt x="186" y="561"/>
                  </a:lnTo>
                  <a:lnTo>
                    <a:pt x="183" y="565"/>
                  </a:lnTo>
                  <a:lnTo>
                    <a:pt x="182" y="573"/>
                  </a:lnTo>
                  <a:lnTo>
                    <a:pt x="185" y="580"/>
                  </a:lnTo>
                  <a:lnTo>
                    <a:pt x="185" y="581"/>
                  </a:lnTo>
                  <a:lnTo>
                    <a:pt x="183" y="587"/>
                  </a:lnTo>
                  <a:lnTo>
                    <a:pt x="179" y="594"/>
                  </a:lnTo>
                  <a:lnTo>
                    <a:pt x="176" y="598"/>
                  </a:lnTo>
                  <a:lnTo>
                    <a:pt x="175" y="603"/>
                  </a:lnTo>
                  <a:lnTo>
                    <a:pt x="176" y="606"/>
                  </a:lnTo>
                  <a:lnTo>
                    <a:pt x="183" y="607"/>
                  </a:lnTo>
                  <a:lnTo>
                    <a:pt x="180" y="616"/>
                  </a:lnTo>
                  <a:lnTo>
                    <a:pt x="178" y="623"/>
                  </a:lnTo>
                  <a:lnTo>
                    <a:pt x="175" y="630"/>
                  </a:lnTo>
                  <a:lnTo>
                    <a:pt x="173" y="634"/>
                  </a:lnTo>
                  <a:lnTo>
                    <a:pt x="173" y="636"/>
                  </a:lnTo>
                  <a:lnTo>
                    <a:pt x="173" y="636"/>
                  </a:lnTo>
                  <a:lnTo>
                    <a:pt x="175" y="634"/>
                  </a:lnTo>
                  <a:lnTo>
                    <a:pt x="172" y="636"/>
                  </a:lnTo>
                  <a:lnTo>
                    <a:pt x="153" y="647"/>
                  </a:lnTo>
                  <a:lnTo>
                    <a:pt x="153" y="647"/>
                  </a:lnTo>
                  <a:lnTo>
                    <a:pt x="140" y="649"/>
                  </a:lnTo>
                  <a:lnTo>
                    <a:pt x="129" y="647"/>
                  </a:lnTo>
                  <a:lnTo>
                    <a:pt x="117" y="643"/>
                  </a:lnTo>
                  <a:lnTo>
                    <a:pt x="107" y="637"/>
                  </a:lnTo>
                  <a:lnTo>
                    <a:pt x="107" y="637"/>
                  </a:lnTo>
                  <a:lnTo>
                    <a:pt x="76" y="644"/>
                  </a:lnTo>
                  <a:lnTo>
                    <a:pt x="76" y="644"/>
                  </a:lnTo>
                  <a:lnTo>
                    <a:pt x="72" y="641"/>
                  </a:lnTo>
                  <a:lnTo>
                    <a:pt x="57" y="624"/>
                  </a:lnTo>
                  <a:lnTo>
                    <a:pt x="56" y="617"/>
                  </a:lnTo>
                  <a:lnTo>
                    <a:pt x="53" y="610"/>
                  </a:lnTo>
                  <a:lnTo>
                    <a:pt x="59" y="604"/>
                  </a:lnTo>
                  <a:lnTo>
                    <a:pt x="63" y="601"/>
                  </a:lnTo>
                  <a:lnTo>
                    <a:pt x="67" y="600"/>
                  </a:lnTo>
                  <a:lnTo>
                    <a:pt x="73" y="600"/>
                  </a:lnTo>
                  <a:lnTo>
                    <a:pt x="79" y="598"/>
                  </a:lnTo>
                  <a:lnTo>
                    <a:pt x="83" y="597"/>
                  </a:lnTo>
                  <a:lnTo>
                    <a:pt x="89" y="596"/>
                  </a:lnTo>
                  <a:lnTo>
                    <a:pt x="95" y="593"/>
                  </a:lnTo>
                  <a:lnTo>
                    <a:pt x="102" y="583"/>
                  </a:lnTo>
                  <a:lnTo>
                    <a:pt x="105" y="577"/>
                  </a:lnTo>
                  <a:lnTo>
                    <a:pt x="103" y="573"/>
                  </a:lnTo>
                  <a:lnTo>
                    <a:pt x="97" y="565"/>
                  </a:lnTo>
                  <a:lnTo>
                    <a:pt x="92" y="558"/>
                  </a:lnTo>
                  <a:lnTo>
                    <a:pt x="89" y="554"/>
                  </a:lnTo>
                  <a:lnTo>
                    <a:pt x="86" y="550"/>
                  </a:lnTo>
                  <a:lnTo>
                    <a:pt x="77" y="550"/>
                  </a:lnTo>
                  <a:lnTo>
                    <a:pt x="73" y="550"/>
                  </a:lnTo>
                  <a:lnTo>
                    <a:pt x="72" y="548"/>
                  </a:lnTo>
                  <a:lnTo>
                    <a:pt x="70" y="544"/>
                  </a:lnTo>
                  <a:lnTo>
                    <a:pt x="64" y="540"/>
                  </a:lnTo>
                  <a:lnTo>
                    <a:pt x="62" y="538"/>
                  </a:lnTo>
                  <a:lnTo>
                    <a:pt x="57" y="535"/>
                  </a:lnTo>
                  <a:lnTo>
                    <a:pt x="56" y="532"/>
                  </a:lnTo>
                  <a:lnTo>
                    <a:pt x="56" y="531"/>
                  </a:lnTo>
                  <a:lnTo>
                    <a:pt x="59" y="527"/>
                  </a:lnTo>
                  <a:lnTo>
                    <a:pt x="59" y="525"/>
                  </a:lnTo>
                  <a:lnTo>
                    <a:pt x="52" y="524"/>
                  </a:lnTo>
                  <a:lnTo>
                    <a:pt x="47" y="522"/>
                  </a:lnTo>
                  <a:lnTo>
                    <a:pt x="44" y="518"/>
                  </a:lnTo>
                  <a:lnTo>
                    <a:pt x="42" y="518"/>
                  </a:lnTo>
                  <a:lnTo>
                    <a:pt x="37" y="520"/>
                  </a:lnTo>
                  <a:lnTo>
                    <a:pt x="36" y="521"/>
                  </a:lnTo>
                  <a:lnTo>
                    <a:pt x="33" y="522"/>
                  </a:lnTo>
                  <a:lnTo>
                    <a:pt x="29" y="528"/>
                  </a:lnTo>
                  <a:lnTo>
                    <a:pt x="27" y="531"/>
                  </a:lnTo>
                  <a:lnTo>
                    <a:pt x="23" y="535"/>
                  </a:lnTo>
                  <a:lnTo>
                    <a:pt x="19" y="540"/>
                  </a:lnTo>
                  <a:lnTo>
                    <a:pt x="17" y="544"/>
                  </a:lnTo>
                  <a:lnTo>
                    <a:pt x="16" y="545"/>
                  </a:lnTo>
                  <a:lnTo>
                    <a:pt x="14" y="541"/>
                  </a:lnTo>
                  <a:lnTo>
                    <a:pt x="14" y="540"/>
                  </a:lnTo>
                  <a:lnTo>
                    <a:pt x="14" y="532"/>
                  </a:lnTo>
                  <a:lnTo>
                    <a:pt x="14" y="528"/>
                  </a:lnTo>
                  <a:lnTo>
                    <a:pt x="14" y="522"/>
                  </a:lnTo>
                  <a:lnTo>
                    <a:pt x="13" y="515"/>
                  </a:lnTo>
                  <a:lnTo>
                    <a:pt x="13" y="510"/>
                  </a:lnTo>
                  <a:lnTo>
                    <a:pt x="19" y="500"/>
                  </a:lnTo>
                  <a:lnTo>
                    <a:pt x="11" y="495"/>
                  </a:lnTo>
                  <a:lnTo>
                    <a:pt x="10" y="494"/>
                  </a:lnTo>
                  <a:lnTo>
                    <a:pt x="4" y="490"/>
                  </a:lnTo>
                  <a:lnTo>
                    <a:pt x="0" y="487"/>
                  </a:lnTo>
                  <a:lnTo>
                    <a:pt x="9" y="478"/>
                  </a:lnTo>
                  <a:lnTo>
                    <a:pt x="14" y="481"/>
                  </a:lnTo>
                  <a:lnTo>
                    <a:pt x="17" y="474"/>
                  </a:lnTo>
                  <a:lnTo>
                    <a:pt x="30" y="451"/>
                  </a:lnTo>
                  <a:lnTo>
                    <a:pt x="33" y="445"/>
                  </a:lnTo>
                  <a:lnTo>
                    <a:pt x="39" y="438"/>
                  </a:lnTo>
                  <a:lnTo>
                    <a:pt x="43" y="435"/>
                  </a:lnTo>
                  <a:lnTo>
                    <a:pt x="52" y="427"/>
                  </a:lnTo>
                  <a:lnTo>
                    <a:pt x="59" y="422"/>
                  </a:lnTo>
                  <a:lnTo>
                    <a:pt x="63" y="421"/>
                  </a:lnTo>
                  <a:lnTo>
                    <a:pt x="69" y="419"/>
                  </a:lnTo>
                  <a:lnTo>
                    <a:pt x="77" y="416"/>
                  </a:lnTo>
                  <a:lnTo>
                    <a:pt x="82" y="402"/>
                  </a:lnTo>
                  <a:lnTo>
                    <a:pt x="82" y="399"/>
                  </a:lnTo>
                  <a:lnTo>
                    <a:pt x="85" y="388"/>
                  </a:lnTo>
                  <a:lnTo>
                    <a:pt x="87" y="384"/>
                  </a:lnTo>
                  <a:lnTo>
                    <a:pt x="95" y="379"/>
                  </a:lnTo>
                  <a:lnTo>
                    <a:pt x="103" y="371"/>
                  </a:lnTo>
                  <a:lnTo>
                    <a:pt x="110" y="358"/>
                  </a:lnTo>
                  <a:lnTo>
                    <a:pt x="112" y="352"/>
                  </a:lnTo>
                  <a:lnTo>
                    <a:pt x="109" y="348"/>
                  </a:lnTo>
                  <a:lnTo>
                    <a:pt x="103" y="346"/>
                  </a:lnTo>
                  <a:lnTo>
                    <a:pt x="106" y="342"/>
                  </a:lnTo>
                  <a:lnTo>
                    <a:pt x="107" y="338"/>
                  </a:lnTo>
                  <a:lnTo>
                    <a:pt x="116" y="341"/>
                  </a:lnTo>
                  <a:lnTo>
                    <a:pt x="122" y="343"/>
                  </a:lnTo>
                  <a:lnTo>
                    <a:pt x="123" y="342"/>
                  </a:lnTo>
                  <a:lnTo>
                    <a:pt x="127" y="335"/>
                  </a:lnTo>
                  <a:lnTo>
                    <a:pt x="130" y="329"/>
                  </a:lnTo>
                  <a:lnTo>
                    <a:pt x="136" y="326"/>
                  </a:lnTo>
                  <a:lnTo>
                    <a:pt x="139" y="322"/>
                  </a:lnTo>
                  <a:lnTo>
                    <a:pt x="146" y="315"/>
                  </a:lnTo>
                  <a:lnTo>
                    <a:pt x="155" y="302"/>
                  </a:lnTo>
                  <a:lnTo>
                    <a:pt x="158" y="299"/>
                  </a:lnTo>
                  <a:lnTo>
                    <a:pt x="168" y="306"/>
                  </a:lnTo>
                  <a:lnTo>
                    <a:pt x="173" y="311"/>
                  </a:lnTo>
                  <a:lnTo>
                    <a:pt x="176" y="308"/>
                  </a:lnTo>
                  <a:lnTo>
                    <a:pt x="180" y="305"/>
                  </a:lnTo>
                  <a:lnTo>
                    <a:pt x="185" y="303"/>
                  </a:lnTo>
                  <a:lnTo>
                    <a:pt x="198" y="296"/>
                  </a:lnTo>
                  <a:lnTo>
                    <a:pt x="206" y="296"/>
                  </a:lnTo>
                  <a:lnTo>
                    <a:pt x="211" y="293"/>
                  </a:lnTo>
                  <a:lnTo>
                    <a:pt x="216" y="293"/>
                  </a:lnTo>
                  <a:lnTo>
                    <a:pt x="219" y="296"/>
                  </a:lnTo>
                  <a:lnTo>
                    <a:pt x="222" y="298"/>
                  </a:lnTo>
                  <a:lnTo>
                    <a:pt x="225" y="303"/>
                  </a:lnTo>
                  <a:lnTo>
                    <a:pt x="226" y="309"/>
                  </a:lnTo>
                  <a:lnTo>
                    <a:pt x="229" y="315"/>
                  </a:lnTo>
                  <a:lnTo>
                    <a:pt x="231" y="318"/>
                  </a:lnTo>
                  <a:lnTo>
                    <a:pt x="233" y="321"/>
                  </a:lnTo>
                  <a:lnTo>
                    <a:pt x="236" y="322"/>
                  </a:lnTo>
                  <a:lnTo>
                    <a:pt x="239" y="315"/>
                  </a:lnTo>
                  <a:lnTo>
                    <a:pt x="242" y="311"/>
                  </a:lnTo>
                  <a:lnTo>
                    <a:pt x="246" y="306"/>
                  </a:lnTo>
                  <a:lnTo>
                    <a:pt x="258" y="305"/>
                  </a:lnTo>
                  <a:lnTo>
                    <a:pt x="259" y="300"/>
                  </a:lnTo>
                  <a:lnTo>
                    <a:pt x="254" y="293"/>
                  </a:lnTo>
                  <a:lnTo>
                    <a:pt x="251" y="290"/>
                  </a:lnTo>
                  <a:lnTo>
                    <a:pt x="251" y="286"/>
                  </a:lnTo>
                  <a:lnTo>
                    <a:pt x="265" y="279"/>
                  </a:lnTo>
                  <a:lnTo>
                    <a:pt x="266" y="272"/>
                  </a:lnTo>
                  <a:lnTo>
                    <a:pt x="271" y="268"/>
                  </a:lnTo>
                  <a:lnTo>
                    <a:pt x="284" y="260"/>
                  </a:lnTo>
                  <a:lnTo>
                    <a:pt x="288" y="262"/>
                  </a:lnTo>
                  <a:lnTo>
                    <a:pt x="294" y="258"/>
                  </a:lnTo>
                  <a:lnTo>
                    <a:pt x="298" y="255"/>
                  </a:lnTo>
                  <a:lnTo>
                    <a:pt x="307" y="252"/>
                  </a:lnTo>
                  <a:lnTo>
                    <a:pt x="308" y="239"/>
                  </a:lnTo>
                  <a:lnTo>
                    <a:pt x="309" y="237"/>
                  </a:lnTo>
                  <a:lnTo>
                    <a:pt x="315" y="237"/>
                  </a:lnTo>
                  <a:lnTo>
                    <a:pt x="328" y="236"/>
                  </a:lnTo>
                  <a:lnTo>
                    <a:pt x="322" y="232"/>
                  </a:lnTo>
                  <a:lnTo>
                    <a:pt x="312" y="230"/>
                  </a:lnTo>
                  <a:lnTo>
                    <a:pt x="311" y="223"/>
                  </a:lnTo>
                  <a:lnTo>
                    <a:pt x="307" y="220"/>
                  </a:lnTo>
                  <a:lnTo>
                    <a:pt x="302" y="216"/>
                  </a:lnTo>
                  <a:lnTo>
                    <a:pt x="295" y="215"/>
                  </a:lnTo>
                  <a:lnTo>
                    <a:pt x="282" y="216"/>
                  </a:lnTo>
                  <a:lnTo>
                    <a:pt x="279" y="220"/>
                  </a:lnTo>
                  <a:lnTo>
                    <a:pt x="272" y="226"/>
                  </a:lnTo>
                  <a:lnTo>
                    <a:pt x="265" y="223"/>
                  </a:lnTo>
                  <a:lnTo>
                    <a:pt x="252" y="226"/>
                  </a:lnTo>
                  <a:lnTo>
                    <a:pt x="245" y="227"/>
                  </a:lnTo>
                  <a:lnTo>
                    <a:pt x="236" y="219"/>
                  </a:lnTo>
                  <a:lnTo>
                    <a:pt x="232" y="213"/>
                  </a:lnTo>
                  <a:lnTo>
                    <a:pt x="222" y="216"/>
                  </a:lnTo>
                  <a:lnTo>
                    <a:pt x="215" y="217"/>
                  </a:lnTo>
                  <a:lnTo>
                    <a:pt x="209" y="213"/>
                  </a:lnTo>
                  <a:lnTo>
                    <a:pt x="203" y="210"/>
                  </a:lnTo>
                  <a:lnTo>
                    <a:pt x="198" y="213"/>
                  </a:lnTo>
                  <a:lnTo>
                    <a:pt x="195" y="215"/>
                  </a:lnTo>
                  <a:lnTo>
                    <a:pt x="189" y="215"/>
                  </a:lnTo>
                  <a:lnTo>
                    <a:pt x="185" y="212"/>
                  </a:lnTo>
                  <a:lnTo>
                    <a:pt x="180" y="206"/>
                  </a:lnTo>
                  <a:lnTo>
                    <a:pt x="178" y="196"/>
                  </a:lnTo>
                  <a:lnTo>
                    <a:pt x="176" y="189"/>
                  </a:lnTo>
                  <a:lnTo>
                    <a:pt x="172" y="187"/>
                  </a:lnTo>
                  <a:lnTo>
                    <a:pt x="165" y="186"/>
                  </a:lnTo>
                  <a:lnTo>
                    <a:pt x="160" y="183"/>
                  </a:lnTo>
                  <a:lnTo>
                    <a:pt x="158" y="183"/>
                  </a:lnTo>
                  <a:lnTo>
                    <a:pt x="153" y="183"/>
                  </a:lnTo>
                  <a:lnTo>
                    <a:pt x="150" y="184"/>
                  </a:lnTo>
                  <a:lnTo>
                    <a:pt x="149" y="189"/>
                  </a:lnTo>
                  <a:lnTo>
                    <a:pt x="145" y="190"/>
                  </a:lnTo>
                  <a:lnTo>
                    <a:pt x="138" y="190"/>
                  </a:lnTo>
                  <a:lnTo>
                    <a:pt x="132" y="189"/>
                  </a:lnTo>
                  <a:lnTo>
                    <a:pt x="129" y="186"/>
                  </a:lnTo>
                  <a:lnTo>
                    <a:pt x="127" y="183"/>
                  </a:lnTo>
                  <a:lnTo>
                    <a:pt x="125" y="180"/>
                  </a:lnTo>
                  <a:lnTo>
                    <a:pt x="125" y="174"/>
                  </a:lnTo>
                  <a:lnTo>
                    <a:pt x="122" y="170"/>
                  </a:lnTo>
                  <a:lnTo>
                    <a:pt x="120" y="166"/>
                  </a:lnTo>
                  <a:lnTo>
                    <a:pt x="120" y="163"/>
                  </a:lnTo>
                  <a:lnTo>
                    <a:pt x="120" y="159"/>
                  </a:lnTo>
                  <a:lnTo>
                    <a:pt x="125" y="153"/>
                  </a:lnTo>
                  <a:lnTo>
                    <a:pt x="125" y="147"/>
                  </a:lnTo>
                  <a:lnTo>
                    <a:pt x="119" y="143"/>
                  </a:lnTo>
                  <a:lnTo>
                    <a:pt x="119" y="136"/>
                  </a:lnTo>
                  <a:lnTo>
                    <a:pt x="120" y="131"/>
                  </a:lnTo>
                  <a:lnTo>
                    <a:pt x="120" y="127"/>
                  </a:lnTo>
                  <a:lnTo>
                    <a:pt x="117" y="121"/>
                  </a:lnTo>
                  <a:lnTo>
                    <a:pt x="110" y="111"/>
                  </a:lnTo>
                  <a:lnTo>
                    <a:pt x="107" y="110"/>
                  </a:lnTo>
                  <a:lnTo>
                    <a:pt x="103" y="106"/>
                  </a:lnTo>
                  <a:lnTo>
                    <a:pt x="103" y="96"/>
                  </a:lnTo>
                  <a:lnTo>
                    <a:pt x="103" y="86"/>
                  </a:lnTo>
                  <a:lnTo>
                    <a:pt x="113" y="80"/>
                  </a:lnTo>
                  <a:lnTo>
                    <a:pt x="117" y="78"/>
                  </a:lnTo>
                  <a:lnTo>
                    <a:pt x="120" y="73"/>
                  </a:lnTo>
                  <a:lnTo>
                    <a:pt x="120" y="67"/>
                  </a:lnTo>
                  <a:lnTo>
                    <a:pt x="123" y="60"/>
                  </a:lnTo>
                  <a:lnTo>
                    <a:pt x="143" y="58"/>
                  </a:lnTo>
                  <a:lnTo>
                    <a:pt x="143" y="48"/>
                  </a:lnTo>
                  <a:lnTo>
                    <a:pt x="145" y="41"/>
                  </a:lnTo>
                  <a:lnTo>
                    <a:pt x="148" y="37"/>
                  </a:lnTo>
                  <a:lnTo>
                    <a:pt x="153" y="33"/>
                  </a:lnTo>
                  <a:lnTo>
                    <a:pt x="159" y="34"/>
                  </a:lnTo>
                  <a:lnTo>
                    <a:pt x="160" y="38"/>
                  </a:lnTo>
                  <a:lnTo>
                    <a:pt x="169" y="40"/>
                  </a:lnTo>
                  <a:lnTo>
                    <a:pt x="175" y="41"/>
                  </a:lnTo>
                  <a:lnTo>
                    <a:pt x="182" y="41"/>
                  </a:lnTo>
                  <a:lnTo>
                    <a:pt x="186" y="46"/>
                  </a:lnTo>
                  <a:lnTo>
                    <a:pt x="193" y="53"/>
                  </a:lnTo>
                  <a:lnTo>
                    <a:pt x="195" y="54"/>
                  </a:lnTo>
                  <a:lnTo>
                    <a:pt x="196" y="57"/>
                  </a:lnTo>
                  <a:lnTo>
                    <a:pt x="201" y="60"/>
                  </a:lnTo>
                  <a:lnTo>
                    <a:pt x="208" y="64"/>
                  </a:lnTo>
                  <a:lnTo>
                    <a:pt x="213" y="70"/>
                  </a:lnTo>
                  <a:lnTo>
                    <a:pt x="215" y="80"/>
                  </a:lnTo>
                  <a:lnTo>
                    <a:pt x="213" y="84"/>
                  </a:lnTo>
                  <a:lnTo>
                    <a:pt x="211" y="89"/>
                  </a:lnTo>
                  <a:lnTo>
                    <a:pt x="208" y="91"/>
                  </a:lnTo>
                  <a:lnTo>
                    <a:pt x="201" y="93"/>
                  </a:lnTo>
                  <a:lnTo>
                    <a:pt x="196" y="94"/>
                  </a:lnTo>
                  <a:lnTo>
                    <a:pt x="193" y="100"/>
                  </a:lnTo>
                  <a:lnTo>
                    <a:pt x="192" y="101"/>
                  </a:lnTo>
                  <a:lnTo>
                    <a:pt x="185" y="104"/>
                  </a:lnTo>
                  <a:lnTo>
                    <a:pt x="179" y="106"/>
                  </a:lnTo>
                  <a:lnTo>
                    <a:pt x="176" y="109"/>
                  </a:lnTo>
                  <a:lnTo>
                    <a:pt x="176" y="110"/>
                  </a:lnTo>
                  <a:lnTo>
                    <a:pt x="178" y="114"/>
                  </a:lnTo>
                  <a:lnTo>
                    <a:pt x="179" y="119"/>
                  </a:lnTo>
                  <a:lnTo>
                    <a:pt x="185" y="119"/>
                  </a:lnTo>
                  <a:lnTo>
                    <a:pt x="193" y="116"/>
                  </a:lnTo>
                  <a:lnTo>
                    <a:pt x="196" y="111"/>
                  </a:lnTo>
                  <a:lnTo>
                    <a:pt x="199" y="107"/>
                  </a:lnTo>
                  <a:lnTo>
                    <a:pt x="209" y="104"/>
                  </a:lnTo>
                  <a:lnTo>
                    <a:pt x="209" y="103"/>
                  </a:lnTo>
                  <a:lnTo>
                    <a:pt x="209" y="103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12" y="101"/>
                  </a:lnTo>
                  <a:lnTo>
                    <a:pt x="213" y="101"/>
                  </a:lnTo>
                  <a:lnTo>
                    <a:pt x="215" y="99"/>
                  </a:lnTo>
                  <a:lnTo>
                    <a:pt x="216" y="100"/>
                  </a:lnTo>
                  <a:lnTo>
                    <a:pt x="221" y="106"/>
                  </a:lnTo>
                  <a:lnTo>
                    <a:pt x="222" y="111"/>
                  </a:lnTo>
                  <a:lnTo>
                    <a:pt x="221" y="116"/>
                  </a:lnTo>
                  <a:lnTo>
                    <a:pt x="221" y="120"/>
                  </a:lnTo>
                  <a:lnTo>
                    <a:pt x="218" y="124"/>
                  </a:lnTo>
                  <a:lnTo>
                    <a:pt x="213" y="129"/>
                  </a:lnTo>
                  <a:lnTo>
                    <a:pt x="212" y="133"/>
                  </a:lnTo>
                  <a:lnTo>
                    <a:pt x="221" y="131"/>
                  </a:lnTo>
                  <a:lnTo>
                    <a:pt x="225" y="140"/>
                  </a:lnTo>
                  <a:lnTo>
                    <a:pt x="221" y="144"/>
                  </a:lnTo>
                  <a:lnTo>
                    <a:pt x="223" y="152"/>
                  </a:lnTo>
                  <a:lnTo>
                    <a:pt x="225" y="153"/>
                  </a:lnTo>
                  <a:lnTo>
                    <a:pt x="231" y="153"/>
                  </a:lnTo>
                  <a:lnTo>
                    <a:pt x="238" y="153"/>
                  </a:lnTo>
                  <a:lnTo>
                    <a:pt x="246" y="153"/>
                  </a:lnTo>
                  <a:lnTo>
                    <a:pt x="249" y="152"/>
                  </a:lnTo>
                  <a:lnTo>
                    <a:pt x="254" y="150"/>
                  </a:lnTo>
                  <a:lnTo>
                    <a:pt x="254" y="144"/>
                  </a:lnTo>
                  <a:lnTo>
                    <a:pt x="251" y="137"/>
                  </a:lnTo>
                  <a:lnTo>
                    <a:pt x="249" y="133"/>
                  </a:lnTo>
                  <a:lnTo>
                    <a:pt x="248" y="130"/>
                  </a:lnTo>
                  <a:lnTo>
                    <a:pt x="252" y="124"/>
                  </a:lnTo>
                  <a:lnTo>
                    <a:pt x="261" y="121"/>
                  </a:lnTo>
                  <a:lnTo>
                    <a:pt x="265" y="119"/>
                  </a:lnTo>
                  <a:lnTo>
                    <a:pt x="268" y="120"/>
                  </a:lnTo>
                  <a:lnTo>
                    <a:pt x="279" y="119"/>
                  </a:lnTo>
                  <a:lnTo>
                    <a:pt x="278" y="123"/>
                  </a:lnTo>
                  <a:lnTo>
                    <a:pt x="278" y="127"/>
                  </a:lnTo>
                  <a:lnTo>
                    <a:pt x="286" y="129"/>
                  </a:lnTo>
                  <a:lnTo>
                    <a:pt x="292" y="127"/>
                  </a:lnTo>
                  <a:lnTo>
                    <a:pt x="296" y="127"/>
                  </a:lnTo>
                  <a:lnTo>
                    <a:pt x="304" y="127"/>
                  </a:lnTo>
                  <a:lnTo>
                    <a:pt x="307" y="126"/>
                  </a:lnTo>
                  <a:lnTo>
                    <a:pt x="314" y="120"/>
                  </a:lnTo>
                  <a:lnTo>
                    <a:pt x="321" y="121"/>
                  </a:lnTo>
                  <a:lnTo>
                    <a:pt x="345" y="126"/>
                  </a:lnTo>
                  <a:lnTo>
                    <a:pt x="352" y="126"/>
                  </a:lnTo>
                  <a:lnTo>
                    <a:pt x="358" y="126"/>
                  </a:lnTo>
                  <a:lnTo>
                    <a:pt x="361" y="126"/>
                  </a:lnTo>
                  <a:lnTo>
                    <a:pt x="365" y="126"/>
                  </a:lnTo>
                  <a:lnTo>
                    <a:pt x="367" y="123"/>
                  </a:lnTo>
                  <a:lnTo>
                    <a:pt x="368" y="121"/>
                  </a:lnTo>
                  <a:lnTo>
                    <a:pt x="364" y="120"/>
                  </a:lnTo>
                  <a:lnTo>
                    <a:pt x="361" y="119"/>
                  </a:lnTo>
                  <a:lnTo>
                    <a:pt x="357" y="114"/>
                  </a:lnTo>
                  <a:lnTo>
                    <a:pt x="357" y="109"/>
                  </a:lnTo>
                  <a:lnTo>
                    <a:pt x="359" y="103"/>
                  </a:lnTo>
                  <a:lnTo>
                    <a:pt x="357" y="103"/>
                  </a:lnTo>
                  <a:lnTo>
                    <a:pt x="349" y="106"/>
                  </a:lnTo>
                  <a:lnTo>
                    <a:pt x="344" y="107"/>
                  </a:lnTo>
                  <a:lnTo>
                    <a:pt x="339" y="107"/>
                  </a:lnTo>
                  <a:lnTo>
                    <a:pt x="332" y="106"/>
                  </a:lnTo>
                  <a:lnTo>
                    <a:pt x="329" y="106"/>
                  </a:lnTo>
                  <a:lnTo>
                    <a:pt x="331" y="101"/>
                  </a:lnTo>
                  <a:lnTo>
                    <a:pt x="345" y="93"/>
                  </a:lnTo>
                  <a:lnTo>
                    <a:pt x="351" y="90"/>
                  </a:lnTo>
                  <a:lnTo>
                    <a:pt x="354" y="89"/>
                  </a:lnTo>
                  <a:lnTo>
                    <a:pt x="355" y="86"/>
                  </a:lnTo>
                  <a:lnTo>
                    <a:pt x="355" y="81"/>
                  </a:lnTo>
                  <a:lnTo>
                    <a:pt x="351" y="76"/>
                  </a:lnTo>
                  <a:lnTo>
                    <a:pt x="348" y="71"/>
                  </a:lnTo>
                  <a:lnTo>
                    <a:pt x="348" y="68"/>
                  </a:lnTo>
                  <a:lnTo>
                    <a:pt x="352" y="67"/>
                  </a:lnTo>
                  <a:lnTo>
                    <a:pt x="359" y="70"/>
                  </a:lnTo>
                  <a:lnTo>
                    <a:pt x="361" y="63"/>
                  </a:lnTo>
                  <a:lnTo>
                    <a:pt x="368" y="57"/>
                  </a:lnTo>
                  <a:lnTo>
                    <a:pt x="370" y="47"/>
                  </a:lnTo>
                  <a:lnTo>
                    <a:pt x="371" y="43"/>
                  </a:lnTo>
                  <a:lnTo>
                    <a:pt x="372" y="44"/>
                  </a:lnTo>
                  <a:lnTo>
                    <a:pt x="375" y="44"/>
                  </a:lnTo>
                  <a:lnTo>
                    <a:pt x="378" y="46"/>
                  </a:lnTo>
                  <a:lnTo>
                    <a:pt x="381" y="47"/>
                  </a:lnTo>
                  <a:lnTo>
                    <a:pt x="384" y="43"/>
                  </a:lnTo>
                  <a:lnTo>
                    <a:pt x="388" y="41"/>
                  </a:lnTo>
                  <a:lnTo>
                    <a:pt x="388" y="36"/>
                  </a:lnTo>
                  <a:lnTo>
                    <a:pt x="390" y="30"/>
                  </a:lnTo>
                  <a:lnTo>
                    <a:pt x="385" y="27"/>
                  </a:lnTo>
                  <a:lnTo>
                    <a:pt x="381" y="23"/>
                  </a:lnTo>
                  <a:lnTo>
                    <a:pt x="378" y="20"/>
                  </a:lnTo>
                  <a:lnTo>
                    <a:pt x="374" y="15"/>
                  </a:lnTo>
                  <a:lnTo>
                    <a:pt x="370" y="13"/>
                  </a:lnTo>
                  <a:lnTo>
                    <a:pt x="372" y="5"/>
                  </a:lnTo>
                  <a:lnTo>
                    <a:pt x="375" y="7"/>
                  </a:lnTo>
                  <a:lnTo>
                    <a:pt x="380" y="13"/>
                  </a:lnTo>
                  <a:lnTo>
                    <a:pt x="385" y="15"/>
                  </a:lnTo>
                  <a:lnTo>
                    <a:pt x="392" y="14"/>
                  </a:lnTo>
                  <a:lnTo>
                    <a:pt x="395" y="10"/>
                  </a:lnTo>
                  <a:lnTo>
                    <a:pt x="397" y="4"/>
                  </a:lnTo>
                  <a:lnTo>
                    <a:pt x="400" y="0"/>
                  </a:lnTo>
                  <a:lnTo>
                    <a:pt x="404" y="3"/>
                  </a:lnTo>
                  <a:lnTo>
                    <a:pt x="407" y="7"/>
                  </a:lnTo>
                  <a:lnTo>
                    <a:pt x="412" y="14"/>
                  </a:lnTo>
                  <a:lnTo>
                    <a:pt x="421" y="17"/>
                  </a:lnTo>
                  <a:lnTo>
                    <a:pt x="425" y="17"/>
                  </a:lnTo>
                  <a:lnTo>
                    <a:pt x="427" y="18"/>
                  </a:lnTo>
                  <a:lnTo>
                    <a:pt x="428" y="25"/>
                  </a:lnTo>
                  <a:lnTo>
                    <a:pt x="431" y="30"/>
                  </a:lnTo>
                  <a:lnTo>
                    <a:pt x="433" y="44"/>
                  </a:lnTo>
                  <a:lnTo>
                    <a:pt x="441" y="50"/>
                  </a:lnTo>
                  <a:lnTo>
                    <a:pt x="448" y="53"/>
                  </a:lnTo>
                  <a:lnTo>
                    <a:pt x="457" y="58"/>
                  </a:lnTo>
                  <a:lnTo>
                    <a:pt x="464" y="67"/>
                  </a:lnTo>
                  <a:lnTo>
                    <a:pt x="470" y="70"/>
                  </a:lnTo>
                  <a:lnTo>
                    <a:pt x="477" y="71"/>
                  </a:lnTo>
                  <a:lnTo>
                    <a:pt x="483" y="76"/>
                  </a:lnTo>
                  <a:lnTo>
                    <a:pt x="490" y="87"/>
                  </a:lnTo>
                  <a:lnTo>
                    <a:pt x="496" y="93"/>
                  </a:lnTo>
                  <a:lnTo>
                    <a:pt x="503" y="94"/>
                  </a:lnTo>
                  <a:lnTo>
                    <a:pt x="508" y="99"/>
                  </a:lnTo>
                  <a:lnTo>
                    <a:pt x="511" y="101"/>
                  </a:lnTo>
                  <a:lnTo>
                    <a:pt x="516" y="109"/>
                  </a:lnTo>
                  <a:lnTo>
                    <a:pt x="520" y="114"/>
                  </a:lnTo>
                  <a:lnTo>
                    <a:pt x="526" y="119"/>
                  </a:lnTo>
                  <a:lnTo>
                    <a:pt x="531" y="120"/>
                  </a:lnTo>
                  <a:lnTo>
                    <a:pt x="536" y="119"/>
                  </a:lnTo>
                  <a:lnTo>
                    <a:pt x="536" y="114"/>
                  </a:lnTo>
                  <a:lnTo>
                    <a:pt x="534" y="106"/>
                  </a:lnTo>
                  <a:lnTo>
                    <a:pt x="536" y="99"/>
                  </a:lnTo>
                  <a:lnTo>
                    <a:pt x="541" y="96"/>
                  </a:lnTo>
                  <a:lnTo>
                    <a:pt x="546" y="96"/>
                  </a:lnTo>
                  <a:lnTo>
                    <a:pt x="551" y="96"/>
                  </a:lnTo>
                  <a:lnTo>
                    <a:pt x="551" y="101"/>
                  </a:lnTo>
                  <a:lnTo>
                    <a:pt x="553" y="107"/>
                  </a:lnTo>
                  <a:lnTo>
                    <a:pt x="560" y="110"/>
                  </a:lnTo>
                  <a:lnTo>
                    <a:pt x="563" y="110"/>
                  </a:lnTo>
                  <a:lnTo>
                    <a:pt x="569" y="113"/>
                  </a:lnTo>
                  <a:lnTo>
                    <a:pt x="570" y="119"/>
                  </a:lnTo>
                  <a:lnTo>
                    <a:pt x="574" y="124"/>
                  </a:lnTo>
                  <a:lnTo>
                    <a:pt x="581" y="133"/>
                  </a:lnTo>
                  <a:lnTo>
                    <a:pt x="583" y="139"/>
                  </a:lnTo>
                  <a:lnTo>
                    <a:pt x="584" y="150"/>
                  </a:lnTo>
                  <a:lnTo>
                    <a:pt x="584" y="159"/>
                  </a:lnTo>
                  <a:lnTo>
                    <a:pt x="587" y="167"/>
                  </a:lnTo>
                  <a:lnTo>
                    <a:pt x="592" y="170"/>
                  </a:lnTo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68" name="Freeform 116"/>
            <p:cNvSpPr>
              <a:spLocks/>
            </p:cNvSpPr>
            <p:nvPr/>
          </p:nvSpPr>
          <p:spPr bwMode="auto">
            <a:xfrm>
              <a:off x="3498608" y="4559529"/>
              <a:ext cx="2442" cy="1323"/>
            </a:xfrm>
            <a:custGeom>
              <a:avLst/>
              <a:gdLst>
                <a:gd name="T0" fmla="*/ 0 w 3"/>
                <a:gd name="T1" fmla="*/ 0 h 2"/>
                <a:gd name="T2" fmla="*/ 3 w 3"/>
                <a:gd name="T3" fmla="*/ 0 h 2"/>
                <a:gd name="T4" fmla="*/ 3 w 3"/>
                <a:gd name="T5" fmla="*/ 2 h 2"/>
                <a:gd name="T6" fmla="*/ 0 w 3"/>
                <a:gd name="T7" fmla="*/ 2 h 2"/>
                <a:gd name="T8" fmla="*/ 0 w 3"/>
                <a:gd name="T9" fmla="*/ 1 h 2"/>
                <a:gd name="T10" fmla="*/ 0 w 3"/>
                <a:gd name="T11" fmla="*/ 1 h 2"/>
                <a:gd name="T12" fmla="*/ 0 w 3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69" name="Freeform 117"/>
            <p:cNvSpPr>
              <a:spLocks noEditPoints="1"/>
            </p:cNvSpPr>
            <p:nvPr/>
          </p:nvSpPr>
          <p:spPr bwMode="auto">
            <a:xfrm>
              <a:off x="2621828" y="3691704"/>
              <a:ext cx="249113" cy="228862"/>
            </a:xfrm>
            <a:custGeom>
              <a:avLst/>
              <a:gdLst>
                <a:gd name="T0" fmla="*/ 142 w 408"/>
                <a:gd name="T1" fmla="*/ 11 h 346"/>
                <a:gd name="T2" fmla="*/ 151 w 408"/>
                <a:gd name="T3" fmla="*/ 30 h 346"/>
                <a:gd name="T4" fmla="*/ 174 w 408"/>
                <a:gd name="T5" fmla="*/ 38 h 346"/>
                <a:gd name="T6" fmla="*/ 207 w 408"/>
                <a:gd name="T7" fmla="*/ 40 h 346"/>
                <a:gd name="T8" fmla="*/ 212 w 408"/>
                <a:gd name="T9" fmla="*/ 67 h 346"/>
                <a:gd name="T10" fmla="*/ 221 w 408"/>
                <a:gd name="T11" fmla="*/ 94 h 346"/>
                <a:gd name="T12" fmla="*/ 219 w 408"/>
                <a:gd name="T13" fmla="*/ 116 h 346"/>
                <a:gd name="T14" fmla="*/ 218 w 408"/>
                <a:gd name="T15" fmla="*/ 129 h 346"/>
                <a:gd name="T16" fmla="*/ 225 w 408"/>
                <a:gd name="T17" fmla="*/ 160 h 346"/>
                <a:gd name="T18" fmla="*/ 232 w 408"/>
                <a:gd name="T19" fmla="*/ 179 h 346"/>
                <a:gd name="T20" fmla="*/ 231 w 408"/>
                <a:gd name="T21" fmla="*/ 184 h 346"/>
                <a:gd name="T22" fmla="*/ 238 w 408"/>
                <a:gd name="T23" fmla="*/ 196 h 346"/>
                <a:gd name="T24" fmla="*/ 264 w 408"/>
                <a:gd name="T25" fmla="*/ 217 h 346"/>
                <a:gd name="T26" fmla="*/ 282 w 408"/>
                <a:gd name="T27" fmla="*/ 194 h 346"/>
                <a:gd name="T28" fmla="*/ 300 w 408"/>
                <a:gd name="T29" fmla="*/ 189 h 346"/>
                <a:gd name="T30" fmla="*/ 324 w 408"/>
                <a:gd name="T31" fmla="*/ 193 h 346"/>
                <a:gd name="T32" fmla="*/ 345 w 408"/>
                <a:gd name="T33" fmla="*/ 180 h 346"/>
                <a:gd name="T34" fmla="*/ 384 w 408"/>
                <a:gd name="T35" fmla="*/ 184 h 346"/>
                <a:gd name="T36" fmla="*/ 373 w 408"/>
                <a:gd name="T37" fmla="*/ 217 h 346"/>
                <a:gd name="T38" fmla="*/ 388 w 408"/>
                <a:gd name="T39" fmla="*/ 222 h 346"/>
                <a:gd name="T40" fmla="*/ 408 w 408"/>
                <a:gd name="T41" fmla="*/ 229 h 346"/>
                <a:gd name="T42" fmla="*/ 393 w 408"/>
                <a:gd name="T43" fmla="*/ 243 h 346"/>
                <a:gd name="T44" fmla="*/ 388 w 408"/>
                <a:gd name="T45" fmla="*/ 266 h 346"/>
                <a:gd name="T46" fmla="*/ 373 w 408"/>
                <a:gd name="T47" fmla="*/ 283 h 346"/>
                <a:gd name="T48" fmla="*/ 363 w 408"/>
                <a:gd name="T49" fmla="*/ 302 h 346"/>
                <a:gd name="T50" fmla="*/ 348 w 408"/>
                <a:gd name="T51" fmla="*/ 326 h 346"/>
                <a:gd name="T52" fmla="*/ 311 w 408"/>
                <a:gd name="T53" fmla="*/ 331 h 346"/>
                <a:gd name="T54" fmla="*/ 280 w 408"/>
                <a:gd name="T55" fmla="*/ 318 h 346"/>
                <a:gd name="T56" fmla="*/ 244 w 408"/>
                <a:gd name="T57" fmla="*/ 323 h 346"/>
                <a:gd name="T58" fmla="*/ 231 w 408"/>
                <a:gd name="T59" fmla="*/ 321 h 346"/>
                <a:gd name="T60" fmla="*/ 207 w 408"/>
                <a:gd name="T61" fmla="*/ 303 h 346"/>
                <a:gd name="T62" fmla="*/ 209 w 408"/>
                <a:gd name="T63" fmla="*/ 283 h 346"/>
                <a:gd name="T64" fmla="*/ 186 w 408"/>
                <a:gd name="T65" fmla="*/ 263 h 346"/>
                <a:gd name="T66" fmla="*/ 161 w 408"/>
                <a:gd name="T67" fmla="*/ 243 h 346"/>
                <a:gd name="T68" fmla="*/ 135 w 408"/>
                <a:gd name="T69" fmla="*/ 273 h 346"/>
                <a:gd name="T70" fmla="*/ 112 w 408"/>
                <a:gd name="T71" fmla="*/ 250 h 346"/>
                <a:gd name="T72" fmla="*/ 98 w 408"/>
                <a:gd name="T73" fmla="*/ 206 h 346"/>
                <a:gd name="T74" fmla="*/ 109 w 408"/>
                <a:gd name="T75" fmla="*/ 179 h 346"/>
                <a:gd name="T76" fmla="*/ 102 w 408"/>
                <a:gd name="T77" fmla="*/ 157 h 346"/>
                <a:gd name="T78" fmla="*/ 83 w 408"/>
                <a:gd name="T79" fmla="*/ 140 h 346"/>
                <a:gd name="T80" fmla="*/ 62 w 408"/>
                <a:gd name="T81" fmla="*/ 149 h 346"/>
                <a:gd name="T82" fmla="*/ 49 w 408"/>
                <a:gd name="T83" fmla="*/ 146 h 346"/>
                <a:gd name="T84" fmla="*/ 19 w 408"/>
                <a:gd name="T85" fmla="*/ 110 h 346"/>
                <a:gd name="T86" fmla="*/ 6 w 408"/>
                <a:gd name="T87" fmla="*/ 119 h 346"/>
                <a:gd name="T88" fmla="*/ 0 w 408"/>
                <a:gd name="T89" fmla="*/ 91 h 346"/>
                <a:gd name="T90" fmla="*/ 20 w 408"/>
                <a:gd name="T91" fmla="*/ 84 h 346"/>
                <a:gd name="T92" fmla="*/ 36 w 408"/>
                <a:gd name="T93" fmla="*/ 81 h 346"/>
                <a:gd name="T94" fmla="*/ 33 w 408"/>
                <a:gd name="T95" fmla="*/ 64 h 346"/>
                <a:gd name="T96" fmla="*/ 43 w 408"/>
                <a:gd name="T97" fmla="*/ 64 h 346"/>
                <a:gd name="T98" fmla="*/ 39 w 408"/>
                <a:gd name="T99" fmla="*/ 71 h 346"/>
                <a:gd name="T100" fmla="*/ 45 w 408"/>
                <a:gd name="T101" fmla="*/ 73 h 346"/>
                <a:gd name="T102" fmla="*/ 46 w 408"/>
                <a:gd name="T103" fmla="*/ 76 h 346"/>
                <a:gd name="T104" fmla="*/ 48 w 408"/>
                <a:gd name="T105" fmla="*/ 84 h 346"/>
                <a:gd name="T106" fmla="*/ 60 w 408"/>
                <a:gd name="T107" fmla="*/ 77 h 346"/>
                <a:gd name="T108" fmla="*/ 69 w 408"/>
                <a:gd name="T109" fmla="*/ 77 h 346"/>
                <a:gd name="T110" fmla="*/ 60 w 408"/>
                <a:gd name="T111" fmla="*/ 53 h 346"/>
                <a:gd name="T112" fmla="*/ 45 w 408"/>
                <a:gd name="T113" fmla="*/ 40 h 346"/>
                <a:gd name="T114" fmla="*/ 72 w 408"/>
                <a:gd name="T115" fmla="*/ 50 h 346"/>
                <a:gd name="T116" fmla="*/ 96 w 408"/>
                <a:gd name="T117" fmla="*/ 46 h 346"/>
                <a:gd name="T118" fmla="*/ 121 w 408"/>
                <a:gd name="T119" fmla="*/ 35 h 346"/>
                <a:gd name="T120" fmla="*/ 132 w 408"/>
                <a:gd name="T121" fmla="*/ 3 h 346"/>
                <a:gd name="T122" fmla="*/ 139 w 408"/>
                <a:gd name="T123" fmla="*/ 1 h 346"/>
                <a:gd name="T124" fmla="*/ 139 w 408"/>
                <a:gd name="T125" fmla="*/ 0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08" h="346">
                  <a:moveTo>
                    <a:pt x="139" y="1"/>
                  </a:moveTo>
                  <a:lnTo>
                    <a:pt x="135" y="10"/>
                  </a:lnTo>
                  <a:lnTo>
                    <a:pt x="138" y="13"/>
                  </a:lnTo>
                  <a:lnTo>
                    <a:pt x="141" y="14"/>
                  </a:lnTo>
                  <a:lnTo>
                    <a:pt x="142" y="11"/>
                  </a:lnTo>
                  <a:lnTo>
                    <a:pt x="146" y="14"/>
                  </a:lnTo>
                  <a:lnTo>
                    <a:pt x="149" y="11"/>
                  </a:lnTo>
                  <a:lnTo>
                    <a:pt x="152" y="14"/>
                  </a:lnTo>
                  <a:lnTo>
                    <a:pt x="156" y="23"/>
                  </a:lnTo>
                  <a:lnTo>
                    <a:pt x="151" y="30"/>
                  </a:lnTo>
                  <a:lnTo>
                    <a:pt x="154" y="34"/>
                  </a:lnTo>
                  <a:lnTo>
                    <a:pt x="165" y="33"/>
                  </a:lnTo>
                  <a:lnTo>
                    <a:pt x="168" y="37"/>
                  </a:lnTo>
                  <a:lnTo>
                    <a:pt x="169" y="38"/>
                  </a:lnTo>
                  <a:lnTo>
                    <a:pt x="174" y="38"/>
                  </a:lnTo>
                  <a:lnTo>
                    <a:pt x="175" y="41"/>
                  </a:lnTo>
                  <a:lnTo>
                    <a:pt x="192" y="40"/>
                  </a:lnTo>
                  <a:lnTo>
                    <a:pt x="198" y="34"/>
                  </a:lnTo>
                  <a:lnTo>
                    <a:pt x="202" y="35"/>
                  </a:lnTo>
                  <a:lnTo>
                    <a:pt x="207" y="40"/>
                  </a:lnTo>
                  <a:lnTo>
                    <a:pt x="211" y="46"/>
                  </a:lnTo>
                  <a:lnTo>
                    <a:pt x="207" y="50"/>
                  </a:lnTo>
                  <a:lnTo>
                    <a:pt x="208" y="53"/>
                  </a:lnTo>
                  <a:lnTo>
                    <a:pt x="204" y="56"/>
                  </a:lnTo>
                  <a:lnTo>
                    <a:pt x="212" y="67"/>
                  </a:lnTo>
                  <a:lnTo>
                    <a:pt x="215" y="76"/>
                  </a:lnTo>
                  <a:lnTo>
                    <a:pt x="214" y="83"/>
                  </a:lnTo>
                  <a:lnTo>
                    <a:pt x="217" y="87"/>
                  </a:lnTo>
                  <a:lnTo>
                    <a:pt x="218" y="90"/>
                  </a:lnTo>
                  <a:lnTo>
                    <a:pt x="221" y="94"/>
                  </a:lnTo>
                  <a:lnTo>
                    <a:pt x="224" y="101"/>
                  </a:lnTo>
                  <a:lnTo>
                    <a:pt x="224" y="104"/>
                  </a:lnTo>
                  <a:lnTo>
                    <a:pt x="222" y="109"/>
                  </a:lnTo>
                  <a:lnTo>
                    <a:pt x="219" y="110"/>
                  </a:lnTo>
                  <a:lnTo>
                    <a:pt x="219" y="116"/>
                  </a:lnTo>
                  <a:lnTo>
                    <a:pt x="222" y="117"/>
                  </a:lnTo>
                  <a:lnTo>
                    <a:pt x="225" y="121"/>
                  </a:lnTo>
                  <a:lnTo>
                    <a:pt x="224" y="124"/>
                  </a:lnTo>
                  <a:lnTo>
                    <a:pt x="222" y="127"/>
                  </a:lnTo>
                  <a:lnTo>
                    <a:pt x="218" y="129"/>
                  </a:lnTo>
                  <a:lnTo>
                    <a:pt x="217" y="133"/>
                  </a:lnTo>
                  <a:lnTo>
                    <a:pt x="222" y="146"/>
                  </a:lnTo>
                  <a:lnTo>
                    <a:pt x="225" y="153"/>
                  </a:lnTo>
                  <a:lnTo>
                    <a:pt x="227" y="157"/>
                  </a:lnTo>
                  <a:lnTo>
                    <a:pt x="225" y="160"/>
                  </a:lnTo>
                  <a:lnTo>
                    <a:pt x="222" y="163"/>
                  </a:lnTo>
                  <a:lnTo>
                    <a:pt x="224" y="169"/>
                  </a:lnTo>
                  <a:lnTo>
                    <a:pt x="225" y="174"/>
                  </a:lnTo>
                  <a:lnTo>
                    <a:pt x="228" y="177"/>
                  </a:lnTo>
                  <a:lnTo>
                    <a:pt x="232" y="179"/>
                  </a:lnTo>
                  <a:lnTo>
                    <a:pt x="235" y="179"/>
                  </a:lnTo>
                  <a:lnTo>
                    <a:pt x="239" y="177"/>
                  </a:lnTo>
                  <a:lnTo>
                    <a:pt x="239" y="182"/>
                  </a:lnTo>
                  <a:lnTo>
                    <a:pt x="237" y="184"/>
                  </a:lnTo>
                  <a:lnTo>
                    <a:pt x="231" y="184"/>
                  </a:lnTo>
                  <a:lnTo>
                    <a:pt x="227" y="186"/>
                  </a:lnTo>
                  <a:lnTo>
                    <a:pt x="227" y="189"/>
                  </a:lnTo>
                  <a:lnTo>
                    <a:pt x="229" y="190"/>
                  </a:lnTo>
                  <a:lnTo>
                    <a:pt x="237" y="192"/>
                  </a:lnTo>
                  <a:lnTo>
                    <a:pt x="238" y="196"/>
                  </a:lnTo>
                  <a:lnTo>
                    <a:pt x="241" y="202"/>
                  </a:lnTo>
                  <a:lnTo>
                    <a:pt x="244" y="204"/>
                  </a:lnTo>
                  <a:lnTo>
                    <a:pt x="249" y="206"/>
                  </a:lnTo>
                  <a:lnTo>
                    <a:pt x="255" y="210"/>
                  </a:lnTo>
                  <a:lnTo>
                    <a:pt x="264" y="217"/>
                  </a:lnTo>
                  <a:lnTo>
                    <a:pt x="267" y="216"/>
                  </a:lnTo>
                  <a:lnTo>
                    <a:pt x="264" y="210"/>
                  </a:lnTo>
                  <a:lnTo>
                    <a:pt x="265" y="207"/>
                  </a:lnTo>
                  <a:lnTo>
                    <a:pt x="270" y="207"/>
                  </a:lnTo>
                  <a:lnTo>
                    <a:pt x="282" y="194"/>
                  </a:lnTo>
                  <a:lnTo>
                    <a:pt x="282" y="190"/>
                  </a:lnTo>
                  <a:lnTo>
                    <a:pt x="285" y="187"/>
                  </a:lnTo>
                  <a:lnTo>
                    <a:pt x="288" y="184"/>
                  </a:lnTo>
                  <a:lnTo>
                    <a:pt x="295" y="183"/>
                  </a:lnTo>
                  <a:lnTo>
                    <a:pt x="300" y="189"/>
                  </a:lnTo>
                  <a:lnTo>
                    <a:pt x="301" y="193"/>
                  </a:lnTo>
                  <a:lnTo>
                    <a:pt x="305" y="190"/>
                  </a:lnTo>
                  <a:lnTo>
                    <a:pt x="317" y="186"/>
                  </a:lnTo>
                  <a:lnTo>
                    <a:pt x="320" y="187"/>
                  </a:lnTo>
                  <a:lnTo>
                    <a:pt x="324" y="193"/>
                  </a:lnTo>
                  <a:lnTo>
                    <a:pt x="327" y="196"/>
                  </a:lnTo>
                  <a:lnTo>
                    <a:pt x="331" y="193"/>
                  </a:lnTo>
                  <a:lnTo>
                    <a:pt x="340" y="183"/>
                  </a:lnTo>
                  <a:lnTo>
                    <a:pt x="343" y="180"/>
                  </a:lnTo>
                  <a:lnTo>
                    <a:pt x="345" y="180"/>
                  </a:lnTo>
                  <a:lnTo>
                    <a:pt x="353" y="176"/>
                  </a:lnTo>
                  <a:lnTo>
                    <a:pt x="363" y="179"/>
                  </a:lnTo>
                  <a:lnTo>
                    <a:pt x="370" y="177"/>
                  </a:lnTo>
                  <a:lnTo>
                    <a:pt x="374" y="174"/>
                  </a:lnTo>
                  <a:lnTo>
                    <a:pt x="384" y="184"/>
                  </a:lnTo>
                  <a:lnTo>
                    <a:pt x="381" y="187"/>
                  </a:lnTo>
                  <a:lnTo>
                    <a:pt x="377" y="192"/>
                  </a:lnTo>
                  <a:lnTo>
                    <a:pt x="374" y="193"/>
                  </a:lnTo>
                  <a:lnTo>
                    <a:pt x="363" y="199"/>
                  </a:lnTo>
                  <a:lnTo>
                    <a:pt x="373" y="217"/>
                  </a:lnTo>
                  <a:lnTo>
                    <a:pt x="384" y="217"/>
                  </a:lnTo>
                  <a:lnTo>
                    <a:pt x="384" y="217"/>
                  </a:lnTo>
                  <a:lnTo>
                    <a:pt x="384" y="216"/>
                  </a:lnTo>
                  <a:lnTo>
                    <a:pt x="384" y="217"/>
                  </a:lnTo>
                  <a:lnTo>
                    <a:pt x="388" y="222"/>
                  </a:lnTo>
                  <a:lnTo>
                    <a:pt x="391" y="225"/>
                  </a:lnTo>
                  <a:lnTo>
                    <a:pt x="394" y="226"/>
                  </a:lnTo>
                  <a:lnTo>
                    <a:pt x="400" y="227"/>
                  </a:lnTo>
                  <a:lnTo>
                    <a:pt x="407" y="227"/>
                  </a:lnTo>
                  <a:lnTo>
                    <a:pt x="408" y="229"/>
                  </a:lnTo>
                  <a:lnTo>
                    <a:pt x="407" y="232"/>
                  </a:lnTo>
                  <a:lnTo>
                    <a:pt x="404" y="236"/>
                  </a:lnTo>
                  <a:lnTo>
                    <a:pt x="401" y="237"/>
                  </a:lnTo>
                  <a:lnTo>
                    <a:pt x="397" y="240"/>
                  </a:lnTo>
                  <a:lnTo>
                    <a:pt x="393" y="243"/>
                  </a:lnTo>
                  <a:lnTo>
                    <a:pt x="390" y="247"/>
                  </a:lnTo>
                  <a:lnTo>
                    <a:pt x="390" y="252"/>
                  </a:lnTo>
                  <a:lnTo>
                    <a:pt x="391" y="257"/>
                  </a:lnTo>
                  <a:lnTo>
                    <a:pt x="391" y="262"/>
                  </a:lnTo>
                  <a:lnTo>
                    <a:pt x="388" y="266"/>
                  </a:lnTo>
                  <a:lnTo>
                    <a:pt x="384" y="269"/>
                  </a:lnTo>
                  <a:lnTo>
                    <a:pt x="381" y="275"/>
                  </a:lnTo>
                  <a:lnTo>
                    <a:pt x="380" y="278"/>
                  </a:lnTo>
                  <a:lnTo>
                    <a:pt x="376" y="279"/>
                  </a:lnTo>
                  <a:lnTo>
                    <a:pt x="373" y="283"/>
                  </a:lnTo>
                  <a:lnTo>
                    <a:pt x="371" y="286"/>
                  </a:lnTo>
                  <a:lnTo>
                    <a:pt x="368" y="293"/>
                  </a:lnTo>
                  <a:lnTo>
                    <a:pt x="368" y="293"/>
                  </a:lnTo>
                  <a:lnTo>
                    <a:pt x="364" y="298"/>
                  </a:lnTo>
                  <a:lnTo>
                    <a:pt x="363" y="302"/>
                  </a:lnTo>
                  <a:lnTo>
                    <a:pt x="361" y="309"/>
                  </a:lnTo>
                  <a:lnTo>
                    <a:pt x="355" y="312"/>
                  </a:lnTo>
                  <a:lnTo>
                    <a:pt x="351" y="316"/>
                  </a:lnTo>
                  <a:lnTo>
                    <a:pt x="350" y="322"/>
                  </a:lnTo>
                  <a:lnTo>
                    <a:pt x="348" y="326"/>
                  </a:lnTo>
                  <a:lnTo>
                    <a:pt x="344" y="333"/>
                  </a:lnTo>
                  <a:lnTo>
                    <a:pt x="340" y="346"/>
                  </a:lnTo>
                  <a:lnTo>
                    <a:pt x="334" y="345"/>
                  </a:lnTo>
                  <a:lnTo>
                    <a:pt x="325" y="341"/>
                  </a:lnTo>
                  <a:lnTo>
                    <a:pt x="311" y="331"/>
                  </a:lnTo>
                  <a:lnTo>
                    <a:pt x="302" y="326"/>
                  </a:lnTo>
                  <a:lnTo>
                    <a:pt x="291" y="323"/>
                  </a:lnTo>
                  <a:lnTo>
                    <a:pt x="288" y="321"/>
                  </a:lnTo>
                  <a:lnTo>
                    <a:pt x="285" y="319"/>
                  </a:lnTo>
                  <a:lnTo>
                    <a:pt x="280" y="318"/>
                  </a:lnTo>
                  <a:lnTo>
                    <a:pt x="271" y="316"/>
                  </a:lnTo>
                  <a:lnTo>
                    <a:pt x="268" y="318"/>
                  </a:lnTo>
                  <a:lnTo>
                    <a:pt x="257" y="323"/>
                  </a:lnTo>
                  <a:lnTo>
                    <a:pt x="252" y="325"/>
                  </a:lnTo>
                  <a:lnTo>
                    <a:pt x="244" y="323"/>
                  </a:lnTo>
                  <a:lnTo>
                    <a:pt x="239" y="323"/>
                  </a:lnTo>
                  <a:lnTo>
                    <a:pt x="237" y="323"/>
                  </a:lnTo>
                  <a:lnTo>
                    <a:pt x="239" y="323"/>
                  </a:lnTo>
                  <a:lnTo>
                    <a:pt x="235" y="325"/>
                  </a:lnTo>
                  <a:lnTo>
                    <a:pt x="231" y="321"/>
                  </a:lnTo>
                  <a:lnTo>
                    <a:pt x="228" y="313"/>
                  </a:lnTo>
                  <a:lnTo>
                    <a:pt x="225" y="306"/>
                  </a:lnTo>
                  <a:lnTo>
                    <a:pt x="215" y="308"/>
                  </a:lnTo>
                  <a:lnTo>
                    <a:pt x="209" y="306"/>
                  </a:lnTo>
                  <a:lnTo>
                    <a:pt x="207" y="303"/>
                  </a:lnTo>
                  <a:lnTo>
                    <a:pt x="204" y="299"/>
                  </a:lnTo>
                  <a:lnTo>
                    <a:pt x="205" y="292"/>
                  </a:lnTo>
                  <a:lnTo>
                    <a:pt x="208" y="288"/>
                  </a:lnTo>
                  <a:lnTo>
                    <a:pt x="209" y="286"/>
                  </a:lnTo>
                  <a:lnTo>
                    <a:pt x="209" y="283"/>
                  </a:lnTo>
                  <a:lnTo>
                    <a:pt x="208" y="280"/>
                  </a:lnTo>
                  <a:lnTo>
                    <a:pt x="202" y="279"/>
                  </a:lnTo>
                  <a:lnTo>
                    <a:pt x="196" y="278"/>
                  </a:lnTo>
                  <a:lnTo>
                    <a:pt x="194" y="272"/>
                  </a:lnTo>
                  <a:lnTo>
                    <a:pt x="186" y="263"/>
                  </a:lnTo>
                  <a:lnTo>
                    <a:pt x="178" y="256"/>
                  </a:lnTo>
                  <a:lnTo>
                    <a:pt x="172" y="255"/>
                  </a:lnTo>
                  <a:lnTo>
                    <a:pt x="164" y="253"/>
                  </a:lnTo>
                  <a:lnTo>
                    <a:pt x="162" y="246"/>
                  </a:lnTo>
                  <a:lnTo>
                    <a:pt x="161" y="243"/>
                  </a:lnTo>
                  <a:lnTo>
                    <a:pt x="156" y="243"/>
                  </a:lnTo>
                  <a:lnTo>
                    <a:pt x="151" y="255"/>
                  </a:lnTo>
                  <a:lnTo>
                    <a:pt x="145" y="266"/>
                  </a:lnTo>
                  <a:lnTo>
                    <a:pt x="141" y="272"/>
                  </a:lnTo>
                  <a:lnTo>
                    <a:pt x="135" y="273"/>
                  </a:lnTo>
                  <a:lnTo>
                    <a:pt x="132" y="268"/>
                  </a:lnTo>
                  <a:lnTo>
                    <a:pt x="123" y="262"/>
                  </a:lnTo>
                  <a:lnTo>
                    <a:pt x="119" y="259"/>
                  </a:lnTo>
                  <a:lnTo>
                    <a:pt x="118" y="253"/>
                  </a:lnTo>
                  <a:lnTo>
                    <a:pt x="112" y="250"/>
                  </a:lnTo>
                  <a:lnTo>
                    <a:pt x="109" y="246"/>
                  </a:lnTo>
                  <a:lnTo>
                    <a:pt x="109" y="242"/>
                  </a:lnTo>
                  <a:lnTo>
                    <a:pt x="102" y="220"/>
                  </a:lnTo>
                  <a:lnTo>
                    <a:pt x="99" y="212"/>
                  </a:lnTo>
                  <a:lnTo>
                    <a:pt x="98" y="206"/>
                  </a:lnTo>
                  <a:lnTo>
                    <a:pt x="102" y="202"/>
                  </a:lnTo>
                  <a:lnTo>
                    <a:pt x="109" y="202"/>
                  </a:lnTo>
                  <a:lnTo>
                    <a:pt x="115" y="199"/>
                  </a:lnTo>
                  <a:lnTo>
                    <a:pt x="115" y="187"/>
                  </a:lnTo>
                  <a:lnTo>
                    <a:pt x="109" y="179"/>
                  </a:lnTo>
                  <a:lnTo>
                    <a:pt x="106" y="174"/>
                  </a:lnTo>
                  <a:lnTo>
                    <a:pt x="102" y="170"/>
                  </a:lnTo>
                  <a:lnTo>
                    <a:pt x="102" y="163"/>
                  </a:lnTo>
                  <a:lnTo>
                    <a:pt x="103" y="159"/>
                  </a:lnTo>
                  <a:lnTo>
                    <a:pt x="102" y="157"/>
                  </a:lnTo>
                  <a:lnTo>
                    <a:pt x="96" y="154"/>
                  </a:lnTo>
                  <a:lnTo>
                    <a:pt x="93" y="150"/>
                  </a:lnTo>
                  <a:lnTo>
                    <a:pt x="95" y="146"/>
                  </a:lnTo>
                  <a:lnTo>
                    <a:pt x="88" y="141"/>
                  </a:lnTo>
                  <a:lnTo>
                    <a:pt x="83" y="140"/>
                  </a:lnTo>
                  <a:lnTo>
                    <a:pt x="80" y="136"/>
                  </a:lnTo>
                  <a:lnTo>
                    <a:pt x="76" y="133"/>
                  </a:lnTo>
                  <a:lnTo>
                    <a:pt x="66" y="134"/>
                  </a:lnTo>
                  <a:lnTo>
                    <a:pt x="63" y="140"/>
                  </a:lnTo>
                  <a:lnTo>
                    <a:pt x="62" y="149"/>
                  </a:lnTo>
                  <a:lnTo>
                    <a:pt x="59" y="152"/>
                  </a:lnTo>
                  <a:lnTo>
                    <a:pt x="58" y="154"/>
                  </a:lnTo>
                  <a:lnTo>
                    <a:pt x="53" y="152"/>
                  </a:lnTo>
                  <a:lnTo>
                    <a:pt x="53" y="143"/>
                  </a:lnTo>
                  <a:lnTo>
                    <a:pt x="49" y="146"/>
                  </a:lnTo>
                  <a:lnTo>
                    <a:pt x="40" y="143"/>
                  </a:lnTo>
                  <a:lnTo>
                    <a:pt x="36" y="139"/>
                  </a:lnTo>
                  <a:lnTo>
                    <a:pt x="23" y="121"/>
                  </a:lnTo>
                  <a:lnTo>
                    <a:pt x="16" y="116"/>
                  </a:lnTo>
                  <a:lnTo>
                    <a:pt x="19" y="110"/>
                  </a:lnTo>
                  <a:lnTo>
                    <a:pt x="19" y="107"/>
                  </a:lnTo>
                  <a:lnTo>
                    <a:pt x="15" y="107"/>
                  </a:lnTo>
                  <a:lnTo>
                    <a:pt x="10" y="113"/>
                  </a:lnTo>
                  <a:lnTo>
                    <a:pt x="9" y="119"/>
                  </a:lnTo>
                  <a:lnTo>
                    <a:pt x="6" y="119"/>
                  </a:lnTo>
                  <a:lnTo>
                    <a:pt x="5" y="116"/>
                  </a:lnTo>
                  <a:lnTo>
                    <a:pt x="3" y="113"/>
                  </a:lnTo>
                  <a:lnTo>
                    <a:pt x="3" y="110"/>
                  </a:lnTo>
                  <a:lnTo>
                    <a:pt x="3" y="101"/>
                  </a:lnTo>
                  <a:lnTo>
                    <a:pt x="0" y="91"/>
                  </a:lnTo>
                  <a:lnTo>
                    <a:pt x="10" y="86"/>
                  </a:lnTo>
                  <a:lnTo>
                    <a:pt x="16" y="83"/>
                  </a:lnTo>
                  <a:lnTo>
                    <a:pt x="10" y="86"/>
                  </a:lnTo>
                  <a:lnTo>
                    <a:pt x="16" y="83"/>
                  </a:lnTo>
                  <a:lnTo>
                    <a:pt x="20" y="84"/>
                  </a:lnTo>
                  <a:lnTo>
                    <a:pt x="23" y="83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3" y="74"/>
                  </a:lnTo>
                  <a:lnTo>
                    <a:pt x="32" y="71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3" y="64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40" y="61"/>
                  </a:lnTo>
                  <a:lnTo>
                    <a:pt x="42" y="63"/>
                  </a:lnTo>
                  <a:lnTo>
                    <a:pt x="43" y="64"/>
                  </a:lnTo>
                  <a:lnTo>
                    <a:pt x="43" y="64"/>
                  </a:lnTo>
                  <a:lnTo>
                    <a:pt x="40" y="67"/>
                  </a:lnTo>
                  <a:lnTo>
                    <a:pt x="39" y="70"/>
                  </a:lnTo>
                  <a:lnTo>
                    <a:pt x="39" y="70"/>
                  </a:lnTo>
                  <a:lnTo>
                    <a:pt x="39" y="71"/>
                  </a:lnTo>
                  <a:lnTo>
                    <a:pt x="39" y="71"/>
                  </a:lnTo>
                  <a:lnTo>
                    <a:pt x="42" y="73"/>
                  </a:lnTo>
                  <a:lnTo>
                    <a:pt x="42" y="73"/>
                  </a:lnTo>
                  <a:lnTo>
                    <a:pt x="43" y="74"/>
                  </a:lnTo>
                  <a:lnTo>
                    <a:pt x="45" y="73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8" y="74"/>
                  </a:lnTo>
                  <a:lnTo>
                    <a:pt x="46" y="76"/>
                  </a:lnTo>
                  <a:lnTo>
                    <a:pt x="46" y="80"/>
                  </a:lnTo>
                  <a:lnTo>
                    <a:pt x="46" y="80"/>
                  </a:lnTo>
                  <a:lnTo>
                    <a:pt x="46" y="83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50" y="81"/>
                  </a:lnTo>
                  <a:lnTo>
                    <a:pt x="52" y="80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60" y="77"/>
                  </a:lnTo>
                  <a:lnTo>
                    <a:pt x="63" y="77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8" y="80"/>
                  </a:lnTo>
                  <a:lnTo>
                    <a:pt x="69" y="77"/>
                  </a:lnTo>
                  <a:lnTo>
                    <a:pt x="70" y="73"/>
                  </a:lnTo>
                  <a:lnTo>
                    <a:pt x="69" y="67"/>
                  </a:lnTo>
                  <a:lnTo>
                    <a:pt x="68" y="61"/>
                  </a:lnTo>
                  <a:lnTo>
                    <a:pt x="65" y="56"/>
                  </a:lnTo>
                  <a:lnTo>
                    <a:pt x="60" y="53"/>
                  </a:lnTo>
                  <a:lnTo>
                    <a:pt x="58" y="51"/>
                  </a:lnTo>
                  <a:lnTo>
                    <a:pt x="55" y="51"/>
                  </a:lnTo>
                  <a:lnTo>
                    <a:pt x="46" y="47"/>
                  </a:lnTo>
                  <a:lnTo>
                    <a:pt x="43" y="44"/>
                  </a:lnTo>
                  <a:lnTo>
                    <a:pt x="45" y="40"/>
                  </a:lnTo>
                  <a:lnTo>
                    <a:pt x="48" y="33"/>
                  </a:lnTo>
                  <a:lnTo>
                    <a:pt x="50" y="35"/>
                  </a:lnTo>
                  <a:lnTo>
                    <a:pt x="60" y="44"/>
                  </a:lnTo>
                  <a:lnTo>
                    <a:pt x="65" y="48"/>
                  </a:lnTo>
                  <a:lnTo>
                    <a:pt x="72" y="50"/>
                  </a:lnTo>
                  <a:lnTo>
                    <a:pt x="78" y="50"/>
                  </a:lnTo>
                  <a:lnTo>
                    <a:pt x="85" y="51"/>
                  </a:lnTo>
                  <a:lnTo>
                    <a:pt x="90" y="51"/>
                  </a:lnTo>
                  <a:lnTo>
                    <a:pt x="95" y="50"/>
                  </a:lnTo>
                  <a:lnTo>
                    <a:pt x="96" y="46"/>
                  </a:lnTo>
                  <a:lnTo>
                    <a:pt x="99" y="38"/>
                  </a:lnTo>
                  <a:lnTo>
                    <a:pt x="105" y="37"/>
                  </a:lnTo>
                  <a:lnTo>
                    <a:pt x="109" y="35"/>
                  </a:lnTo>
                  <a:lnTo>
                    <a:pt x="118" y="37"/>
                  </a:lnTo>
                  <a:lnTo>
                    <a:pt x="121" y="35"/>
                  </a:lnTo>
                  <a:lnTo>
                    <a:pt x="121" y="30"/>
                  </a:lnTo>
                  <a:lnTo>
                    <a:pt x="123" y="25"/>
                  </a:lnTo>
                  <a:lnTo>
                    <a:pt x="128" y="17"/>
                  </a:lnTo>
                  <a:lnTo>
                    <a:pt x="123" y="8"/>
                  </a:lnTo>
                  <a:lnTo>
                    <a:pt x="132" y="3"/>
                  </a:lnTo>
                  <a:lnTo>
                    <a:pt x="139" y="0"/>
                  </a:lnTo>
                  <a:lnTo>
                    <a:pt x="139" y="1"/>
                  </a:lnTo>
                  <a:close/>
                  <a:moveTo>
                    <a:pt x="139" y="1"/>
                  </a:moveTo>
                  <a:lnTo>
                    <a:pt x="139" y="0"/>
                  </a:lnTo>
                  <a:lnTo>
                    <a:pt x="139" y="1"/>
                  </a:lnTo>
                  <a:lnTo>
                    <a:pt x="139" y="1"/>
                  </a:lnTo>
                  <a:close/>
                  <a:moveTo>
                    <a:pt x="139" y="0"/>
                  </a:moveTo>
                  <a:lnTo>
                    <a:pt x="139" y="0"/>
                  </a:lnTo>
                  <a:lnTo>
                    <a:pt x="139" y="0"/>
                  </a:lnTo>
                  <a:lnTo>
                    <a:pt x="139" y="0"/>
                  </a:lnTo>
                  <a:close/>
                  <a:moveTo>
                    <a:pt x="237" y="323"/>
                  </a:moveTo>
                  <a:lnTo>
                    <a:pt x="235" y="325"/>
                  </a:lnTo>
                  <a:lnTo>
                    <a:pt x="237" y="323"/>
                  </a:lnTo>
                  <a:close/>
                </a:path>
              </a:pathLst>
            </a:custGeom>
            <a:solidFill>
              <a:srgbClr val="DCDD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70" name="Freeform 118"/>
            <p:cNvSpPr>
              <a:spLocks noEditPoints="1"/>
            </p:cNvSpPr>
            <p:nvPr/>
          </p:nvSpPr>
          <p:spPr bwMode="auto">
            <a:xfrm>
              <a:off x="2621828" y="3691704"/>
              <a:ext cx="249113" cy="228862"/>
            </a:xfrm>
            <a:custGeom>
              <a:avLst/>
              <a:gdLst>
                <a:gd name="T0" fmla="*/ 142 w 408"/>
                <a:gd name="T1" fmla="*/ 11 h 346"/>
                <a:gd name="T2" fmla="*/ 151 w 408"/>
                <a:gd name="T3" fmla="*/ 30 h 346"/>
                <a:gd name="T4" fmla="*/ 174 w 408"/>
                <a:gd name="T5" fmla="*/ 38 h 346"/>
                <a:gd name="T6" fmla="*/ 207 w 408"/>
                <a:gd name="T7" fmla="*/ 40 h 346"/>
                <a:gd name="T8" fmla="*/ 212 w 408"/>
                <a:gd name="T9" fmla="*/ 67 h 346"/>
                <a:gd name="T10" fmla="*/ 221 w 408"/>
                <a:gd name="T11" fmla="*/ 94 h 346"/>
                <a:gd name="T12" fmla="*/ 219 w 408"/>
                <a:gd name="T13" fmla="*/ 116 h 346"/>
                <a:gd name="T14" fmla="*/ 218 w 408"/>
                <a:gd name="T15" fmla="*/ 129 h 346"/>
                <a:gd name="T16" fmla="*/ 225 w 408"/>
                <a:gd name="T17" fmla="*/ 160 h 346"/>
                <a:gd name="T18" fmla="*/ 232 w 408"/>
                <a:gd name="T19" fmla="*/ 179 h 346"/>
                <a:gd name="T20" fmla="*/ 231 w 408"/>
                <a:gd name="T21" fmla="*/ 184 h 346"/>
                <a:gd name="T22" fmla="*/ 238 w 408"/>
                <a:gd name="T23" fmla="*/ 196 h 346"/>
                <a:gd name="T24" fmla="*/ 264 w 408"/>
                <a:gd name="T25" fmla="*/ 217 h 346"/>
                <a:gd name="T26" fmla="*/ 282 w 408"/>
                <a:gd name="T27" fmla="*/ 194 h 346"/>
                <a:gd name="T28" fmla="*/ 300 w 408"/>
                <a:gd name="T29" fmla="*/ 189 h 346"/>
                <a:gd name="T30" fmla="*/ 324 w 408"/>
                <a:gd name="T31" fmla="*/ 193 h 346"/>
                <a:gd name="T32" fmla="*/ 345 w 408"/>
                <a:gd name="T33" fmla="*/ 180 h 346"/>
                <a:gd name="T34" fmla="*/ 384 w 408"/>
                <a:gd name="T35" fmla="*/ 184 h 346"/>
                <a:gd name="T36" fmla="*/ 373 w 408"/>
                <a:gd name="T37" fmla="*/ 217 h 346"/>
                <a:gd name="T38" fmla="*/ 388 w 408"/>
                <a:gd name="T39" fmla="*/ 222 h 346"/>
                <a:gd name="T40" fmla="*/ 408 w 408"/>
                <a:gd name="T41" fmla="*/ 229 h 346"/>
                <a:gd name="T42" fmla="*/ 393 w 408"/>
                <a:gd name="T43" fmla="*/ 243 h 346"/>
                <a:gd name="T44" fmla="*/ 388 w 408"/>
                <a:gd name="T45" fmla="*/ 266 h 346"/>
                <a:gd name="T46" fmla="*/ 373 w 408"/>
                <a:gd name="T47" fmla="*/ 283 h 346"/>
                <a:gd name="T48" fmla="*/ 363 w 408"/>
                <a:gd name="T49" fmla="*/ 302 h 346"/>
                <a:gd name="T50" fmla="*/ 348 w 408"/>
                <a:gd name="T51" fmla="*/ 326 h 346"/>
                <a:gd name="T52" fmla="*/ 311 w 408"/>
                <a:gd name="T53" fmla="*/ 331 h 346"/>
                <a:gd name="T54" fmla="*/ 280 w 408"/>
                <a:gd name="T55" fmla="*/ 318 h 346"/>
                <a:gd name="T56" fmla="*/ 244 w 408"/>
                <a:gd name="T57" fmla="*/ 323 h 346"/>
                <a:gd name="T58" fmla="*/ 231 w 408"/>
                <a:gd name="T59" fmla="*/ 321 h 346"/>
                <a:gd name="T60" fmla="*/ 207 w 408"/>
                <a:gd name="T61" fmla="*/ 303 h 346"/>
                <a:gd name="T62" fmla="*/ 209 w 408"/>
                <a:gd name="T63" fmla="*/ 283 h 346"/>
                <a:gd name="T64" fmla="*/ 186 w 408"/>
                <a:gd name="T65" fmla="*/ 263 h 346"/>
                <a:gd name="T66" fmla="*/ 161 w 408"/>
                <a:gd name="T67" fmla="*/ 243 h 346"/>
                <a:gd name="T68" fmla="*/ 135 w 408"/>
                <a:gd name="T69" fmla="*/ 273 h 346"/>
                <a:gd name="T70" fmla="*/ 112 w 408"/>
                <a:gd name="T71" fmla="*/ 250 h 346"/>
                <a:gd name="T72" fmla="*/ 98 w 408"/>
                <a:gd name="T73" fmla="*/ 206 h 346"/>
                <a:gd name="T74" fmla="*/ 109 w 408"/>
                <a:gd name="T75" fmla="*/ 179 h 346"/>
                <a:gd name="T76" fmla="*/ 102 w 408"/>
                <a:gd name="T77" fmla="*/ 157 h 346"/>
                <a:gd name="T78" fmla="*/ 83 w 408"/>
                <a:gd name="T79" fmla="*/ 140 h 346"/>
                <a:gd name="T80" fmla="*/ 62 w 408"/>
                <a:gd name="T81" fmla="*/ 149 h 346"/>
                <a:gd name="T82" fmla="*/ 49 w 408"/>
                <a:gd name="T83" fmla="*/ 146 h 346"/>
                <a:gd name="T84" fmla="*/ 19 w 408"/>
                <a:gd name="T85" fmla="*/ 110 h 346"/>
                <a:gd name="T86" fmla="*/ 6 w 408"/>
                <a:gd name="T87" fmla="*/ 119 h 346"/>
                <a:gd name="T88" fmla="*/ 0 w 408"/>
                <a:gd name="T89" fmla="*/ 91 h 346"/>
                <a:gd name="T90" fmla="*/ 20 w 408"/>
                <a:gd name="T91" fmla="*/ 84 h 346"/>
                <a:gd name="T92" fmla="*/ 36 w 408"/>
                <a:gd name="T93" fmla="*/ 81 h 346"/>
                <a:gd name="T94" fmla="*/ 33 w 408"/>
                <a:gd name="T95" fmla="*/ 64 h 346"/>
                <a:gd name="T96" fmla="*/ 43 w 408"/>
                <a:gd name="T97" fmla="*/ 64 h 346"/>
                <a:gd name="T98" fmla="*/ 39 w 408"/>
                <a:gd name="T99" fmla="*/ 71 h 346"/>
                <a:gd name="T100" fmla="*/ 45 w 408"/>
                <a:gd name="T101" fmla="*/ 73 h 346"/>
                <a:gd name="T102" fmla="*/ 46 w 408"/>
                <a:gd name="T103" fmla="*/ 76 h 346"/>
                <a:gd name="T104" fmla="*/ 48 w 408"/>
                <a:gd name="T105" fmla="*/ 84 h 346"/>
                <a:gd name="T106" fmla="*/ 60 w 408"/>
                <a:gd name="T107" fmla="*/ 77 h 346"/>
                <a:gd name="T108" fmla="*/ 69 w 408"/>
                <a:gd name="T109" fmla="*/ 77 h 346"/>
                <a:gd name="T110" fmla="*/ 60 w 408"/>
                <a:gd name="T111" fmla="*/ 53 h 346"/>
                <a:gd name="T112" fmla="*/ 45 w 408"/>
                <a:gd name="T113" fmla="*/ 40 h 346"/>
                <a:gd name="T114" fmla="*/ 72 w 408"/>
                <a:gd name="T115" fmla="*/ 50 h 346"/>
                <a:gd name="T116" fmla="*/ 96 w 408"/>
                <a:gd name="T117" fmla="*/ 46 h 346"/>
                <a:gd name="T118" fmla="*/ 121 w 408"/>
                <a:gd name="T119" fmla="*/ 35 h 346"/>
                <a:gd name="T120" fmla="*/ 132 w 408"/>
                <a:gd name="T121" fmla="*/ 3 h 346"/>
                <a:gd name="T122" fmla="*/ 139 w 408"/>
                <a:gd name="T123" fmla="*/ 1 h 346"/>
                <a:gd name="T124" fmla="*/ 237 w 408"/>
                <a:gd name="T125" fmla="*/ 323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08" h="346">
                  <a:moveTo>
                    <a:pt x="139" y="1"/>
                  </a:moveTo>
                  <a:lnTo>
                    <a:pt x="135" y="10"/>
                  </a:lnTo>
                  <a:lnTo>
                    <a:pt x="138" y="13"/>
                  </a:lnTo>
                  <a:lnTo>
                    <a:pt x="141" y="14"/>
                  </a:lnTo>
                  <a:lnTo>
                    <a:pt x="142" y="11"/>
                  </a:lnTo>
                  <a:lnTo>
                    <a:pt x="146" y="14"/>
                  </a:lnTo>
                  <a:lnTo>
                    <a:pt x="149" y="11"/>
                  </a:lnTo>
                  <a:lnTo>
                    <a:pt x="152" y="14"/>
                  </a:lnTo>
                  <a:lnTo>
                    <a:pt x="156" y="23"/>
                  </a:lnTo>
                  <a:lnTo>
                    <a:pt x="151" y="30"/>
                  </a:lnTo>
                  <a:lnTo>
                    <a:pt x="154" y="34"/>
                  </a:lnTo>
                  <a:lnTo>
                    <a:pt x="165" y="33"/>
                  </a:lnTo>
                  <a:lnTo>
                    <a:pt x="168" y="37"/>
                  </a:lnTo>
                  <a:lnTo>
                    <a:pt x="169" y="38"/>
                  </a:lnTo>
                  <a:lnTo>
                    <a:pt x="174" y="38"/>
                  </a:lnTo>
                  <a:lnTo>
                    <a:pt x="175" y="41"/>
                  </a:lnTo>
                  <a:lnTo>
                    <a:pt x="192" y="40"/>
                  </a:lnTo>
                  <a:lnTo>
                    <a:pt x="198" y="34"/>
                  </a:lnTo>
                  <a:lnTo>
                    <a:pt x="202" y="35"/>
                  </a:lnTo>
                  <a:lnTo>
                    <a:pt x="207" y="40"/>
                  </a:lnTo>
                  <a:lnTo>
                    <a:pt x="211" y="46"/>
                  </a:lnTo>
                  <a:lnTo>
                    <a:pt x="207" y="50"/>
                  </a:lnTo>
                  <a:lnTo>
                    <a:pt x="208" y="53"/>
                  </a:lnTo>
                  <a:lnTo>
                    <a:pt x="204" y="56"/>
                  </a:lnTo>
                  <a:lnTo>
                    <a:pt x="212" y="67"/>
                  </a:lnTo>
                  <a:lnTo>
                    <a:pt x="215" y="76"/>
                  </a:lnTo>
                  <a:lnTo>
                    <a:pt x="214" y="83"/>
                  </a:lnTo>
                  <a:lnTo>
                    <a:pt x="217" y="87"/>
                  </a:lnTo>
                  <a:lnTo>
                    <a:pt x="218" y="90"/>
                  </a:lnTo>
                  <a:lnTo>
                    <a:pt x="221" y="94"/>
                  </a:lnTo>
                  <a:lnTo>
                    <a:pt x="224" y="101"/>
                  </a:lnTo>
                  <a:lnTo>
                    <a:pt x="224" y="104"/>
                  </a:lnTo>
                  <a:lnTo>
                    <a:pt x="222" y="109"/>
                  </a:lnTo>
                  <a:lnTo>
                    <a:pt x="219" y="110"/>
                  </a:lnTo>
                  <a:lnTo>
                    <a:pt x="219" y="116"/>
                  </a:lnTo>
                  <a:lnTo>
                    <a:pt x="222" y="117"/>
                  </a:lnTo>
                  <a:lnTo>
                    <a:pt x="225" y="121"/>
                  </a:lnTo>
                  <a:lnTo>
                    <a:pt x="224" y="124"/>
                  </a:lnTo>
                  <a:lnTo>
                    <a:pt x="222" y="127"/>
                  </a:lnTo>
                  <a:lnTo>
                    <a:pt x="218" y="129"/>
                  </a:lnTo>
                  <a:lnTo>
                    <a:pt x="217" y="133"/>
                  </a:lnTo>
                  <a:lnTo>
                    <a:pt x="222" y="146"/>
                  </a:lnTo>
                  <a:lnTo>
                    <a:pt x="225" y="153"/>
                  </a:lnTo>
                  <a:lnTo>
                    <a:pt x="227" y="157"/>
                  </a:lnTo>
                  <a:lnTo>
                    <a:pt x="225" y="160"/>
                  </a:lnTo>
                  <a:lnTo>
                    <a:pt x="222" y="163"/>
                  </a:lnTo>
                  <a:lnTo>
                    <a:pt x="224" y="169"/>
                  </a:lnTo>
                  <a:lnTo>
                    <a:pt x="225" y="174"/>
                  </a:lnTo>
                  <a:lnTo>
                    <a:pt x="228" y="177"/>
                  </a:lnTo>
                  <a:lnTo>
                    <a:pt x="232" y="179"/>
                  </a:lnTo>
                  <a:lnTo>
                    <a:pt x="235" y="179"/>
                  </a:lnTo>
                  <a:lnTo>
                    <a:pt x="239" y="177"/>
                  </a:lnTo>
                  <a:lnTo>
                    <a:pt x="239" y="182"/>
                  </a:lnTo>
                  <a:lnTo>
                    <a:pt x="237" y="184"/>
                  </a:lnTo>
                  <a:lnTo>
                    <a:pt x="231" y="184"/>
                  </a:lnTo>
                  <a:lnTo>
                    <a:pt x="227" y="186"/>
                  </a:lnTo>
                  <a:lnTo>
                    <a:pt x="227" y="189"/>
                  </a:lnTo>
                  <a:lnTo>
                    <a:pt x="229" y="190"/>
                  </a:lnTo>
                  <a:lnTo>
                    <a:pt x="237" y="192"/>
                  </a:lnTo>
                  <a:lnTo>
                    <a:pt x="238" y="196"/>
                  </a:lnTo>
                  <a:lnTo>
                    <a:pt x="241" y="202"/>
                  </a:lnTo>
                  <a:lnTo>
                    <a:pt x="244" y="204"/>
                  </a:lnTo>
                  <a:lnTo>
                    <a:pt x="249" y="206"/>
                  </a:lnTo>
                  <a:lnTo>
                    <a:pt x="255" y="210"/>
                  </a:lnTo>
                  <a:lnTo>
                    <a:pt x="264" y="217"/>
                  </a:lnTo>
                  <a:lnTo>
                    <a:pt x="267" y="216"/>
                  </a:lnTo>
                  <a:lnTo>
                    <a:pt x="264" y="210"/>
                  </a:lnTo>
                  <a:lnTo>
                    <a:pt x="265" y="207"/>
                  </a:lnTo>
                  <a:lnTo>
                    <a:pt x="270" y="207"/>
                  </a:lnTo>
                  <a:lnTo>
                    <a:pt x="282" y="194"/>
                  </a:lnTo>
                  <a:lnTo>
                    <a:pt x="282" y="190"/>
                  </a:lnTo>
                  <a:lnTo>
                    <a:pt x="285" y="187"/>
                  </a:lnTo>
                  <a:lnTo>
                    <a:pt x="288" y="184"/>
                  </a:lnTo>
                  <a:lnTo>
                    <a:pt x="295" y="183"/>
                  </a:lnTo>
                  <a:lnTo>
                    <a:pt x="300" y="189"/>
                  </a:lnTo>
                  <a:lnTo>
                    <a:pt x="301" y="193"/>
                  </a:lnTo>
                  <a:lnTo>
                    <a:pt x="305" y="190"/>
                  </a:lnTo>
                  <a:lnTo>
                    <a:pt x="317" y="186"/>
                  </a:lnTo>
                  <a:lnTo>
                    <a:pt x="320" y="187"/>
                  </a:lnTo>
                  <a:lnTo>
                    <a:pt x="324" y="193"/>
                  </a:lnTo>
                  <a:lnTo>
                    <a:pt x="327" y="196"/>
                  </a:lnTo>
                  <a:lnTo>
                    <a:pt x="331" y="193"/>
                  </a:lnTo>
                  <a:lnTo>
                    <a:pt x="340" y="183"/>
                  </a:lnTo>
                  <a:lnTo>
                    <a:pt x="343" y="180"/>
                  </a:lnTo>
                  <a:lnTo>
                    <a:pt x="345" y="180"/>
                  </a:lnTo>
                  <a:lnTo>
                    <a:pt x="353" y="176"/>
                  </a:lnTo>
                  <a:lnTo>
                    <a:pt x="363" y="179"/>
                  </a:lnTo>
                  <a:lnTo>
                    <a:pt x="370" y="177"/>
                  </a:lnTo>
                  <a:lnTo>
                    <a:pt x="374" y="174"/>
                  </a:lnTo>
                  <a:lnTo>
                    <a:pt x="384" y="184"/>
                  </a:lnTo>
                  <a:lnTo>
                    <a:pt x="381" y="187"/>
                  </a:lnTo>
                  <a:lnTo>
                    <a:pt x="377" y="192"/>
                  </a:lnTo>
                  <a:lnTo>
                    <a:pt x="374" y="193"/>
                  </a:lnTo>
                  <a:lnTo>
                    <a:pt x="363" y="199"/>
                  </a:lnTo>
                  <a:lnTo>
                    <a:pt x="373" y="217"/>
                  </a:lnTo>
                  <a:lnTo>
                    <a:pt x="384" y="217"/>
                  </a:lnTo>
                  <a:lnTo>
                    <a:pt x="384" y="217"/>
                  </a:lnTo>
                  <a:lnTo>
                    <a:pt x="384" y="216"/>
                  </a:lnTo>
                  <a:lnTo>
                    <a:pt x="384" y="217"/>
                  </a:lnTo>
                  <a:lnTo>
                    <a:pt x="388" y="222"/>
                  </a:lnTo>
                  <a:lnTo>
                    <a:pt x="391" y="225"/>
                  </a:lnTo>
                  <a:lnTo>
                    <a:pt x="394" y="226"/>
                  </a:lnTo>
                  <a:lnTo>
                    <a:pt x="400" y="227"/>
                  </a:lnTo>
                  <a:lnTo>
                    <a:pt x="407" y="227"/>
                  </a:lnTo>
                  <a:lnTo>
                    <a:pt x="408" y="229"/>
                  </a:lnTo>
                  <a:lnTo>
                    <a:pt x="407" y="232"/>
                  </a:lnTo>
                  <a:lnTo>
                    <a:pt x="404" y="236"/>
                  </a:lnTo>
                  <a:lnTo>
                    <a:pt x="401" y="237"/>
                  </a:lnTo>
                  <a:lnTo>
                    <a:pt x="397" y="240"/>
                  </a:lnTo>
                  <a:lnTo>
                    <a:pt x="393" y="243"/>
                  </a:lnTo>
                  <a:lnTo>
                    <a:pt x="390" y="247"/>
                  </a:lnTo>
                  <a:lnTo>
                    <a:pt x="390" y="252"/>
                  </a:lnTo>
                  <a:lnTo>
                    <a:pt x="391" y="257"/>
                  </a:lnTo>
                  <a:lnTo>
                    <a:pt x="391" y="262"/>
                  </a:lnTo>
                  <a:lnTo>
                    <a:pt x="388" y="266"/>
                  </a:lnTo>
                  <a:lnTo>
                    <a:pt x="384" y="269"/>
                  </a:lnTo>
                  <a:lnTo>
                    <a:pt x="381" y="275"/>
                  </a:lnTo>
                  <a:lnTo>
                    <a:pt x="380" y="278"/>
                  </a:lnTo>
                  <a:lnTo>
                    <a:pt x="376" y="279"/>
                  </a:lnTo>
                  <a:lnTo>
                    <a:pt x="373" y="283"/>
                  </a:lnTo>
                  <a:lnTo>
                    <a:pt x="371" y="286"/>
                  </a:lnTo>
                  <a:lnTo>
                    <a:pt x="368" y="293"/>
                  </a:lnTo>
                  <a:lnTo>
                    <a:pt x="368" y="293"/>
                  </a:lnTo>
                  <a:lnTo>
                    <a:pt x="364" y="298"/>
                  </a:lnTo>
                  <a:lnTo>
                    <a:pt x="363" y="302"/>
                  </a:lnTo>
                  <a:lnTo>
                    <a:pt x="361" y="309"/>
                  </a:lnTo>
                  <a:lnTo>
                    <a:pt x="355" y="312"/>
                  </a:lnTo>
                  <a:lnTo>
                    <a:pt x="351" y="316"/>
                  </a:lnTo>
                  <a:lnTo>
                    <a:pt x="350" y="322"/>
                  </a:lnTo>
                  <a:lnTo>
                    <a:pt x="348" y="326"/>
                  </a:lnTo>
                  <a:lnTo>
                    <a:pt x="344" y="333"/>
                  </a:lnTo>
                  <a:lnTo>
                    <a:pt x="340" y="346"/>
                  </a:lnTo>
                  <a:lnTo>
                    <a:pt x="334" y="345"/>
                  </a:lnTo>
                  <a:lnTo>
                    <a:pt x="325" y="341"/>
                  </a:lnTo>
                  <a:lnTo>
                    <a:pt x="311" y="331"/>
                  </a:lnTo>
                  <a:lnTo>
                    <a:pt x="302" y="326"/>
                  </a:lnTo>
                  <a:lnTo>
                    <a:pt x="291" y="323"/>
                  </a:lnTo>
                  <a:lnTo>
                    <a:pt x="288" y="321"/>
                  </a:lnTo>
                  <a:lnTo>
                    <a:pt x="285" y="319"/>
                  </a:lnTo>
                  <a:lnTo>
                    <a:pt x="280" y="318"/>
                  </a:lnTo>
                  <a:lnTo>
                    <a:pt x="271" y="316"/>
                  </a:lnTo>
                  <a:lnTo>
                    <a:pt x="268" y="318"/>
                  </a:lnTo>
                  <a:lnTo>
                    <a:pt x="257" y="323"/>
                  </a:lnTo>
                  <a:lnTo>
                    <a:pt x="252" y="325"/>
                  </a:lnTo>
                  <a:lnTo>
                    <a:pt x="244" y="323"/>
                  </a:lnTo>
                  <a:lnTo>
                    <a:pt x="239" y="323"/>
                  </a:lnTo>
                  <a:lnTo>
                    <a:pt x="237" y="323"/>
                  </a:lnTo>
                  <a:lnTo>
                    <a:pt x="239" y="323"/>
                  </a:lnTo>
                  <a:lnTo>
                    <a:pt x="235" y="325"/>
                  </a:lnTo>
                  <a:lnTo>
                    <a:pt x="231" y="321"/>
                  </a:lnTo>
                  <a:lnTo>
                    <a:pt x="228" y="313"/>
                  </a:lnTo>
                  <a:lnTo>
                    <a:pt x="225" y="306"/>
                  </a:lnTo>
                  <a:lnTo>
                    <a:pt x="215" y="308"/>
                  </a:lnTo>
                  <a:lnTo>
                    <a:pt x="209" y="306"/>
                  </a:lnTo>
                  <a:lnTo>
                    <a:pt x="207" y="303"/>
                  </a:lnTo>
                  <a:lnTo>
                    <a:pt x="204" y="299"/>
                  </a:lnTo>
                  <a:lnTo>
                    <a:pt x="205" y="292"/>
                  </a:lnTo>
                  <a:lnTo>
                    <a:pt x="208" y="288"/>
                  </a:lnTo>
                  <a:lnTo>
                    <a:pt x="209" y="286"/>
                  </a:lnTo>
                  <a:lnTo>
                    <a:pt x="209" y="283"/>
                  </a:lnTo>
                  <a:lnTo>
                    <a:pt x="208" y="280"/>
                  </a:lnTo>
                  <a:lnTo>
                    <a:pt x="202" y="279"/>
                  </a:lnTo>
                  <a:lnTo>
                    <a:pt x="196" y="278"/>
                  </a:lnTo>
                  <a:lnTo>
                    <a:pt x="194" y="272"/>
                  </a:lnTo>
                  <a:lnTo>
                    <a:pt x="186" y="263"/>
                  </a:lnTo>
                  <a:lnTo>
                    <a:pt x="178" y="256"/>
                  </a:lnTo>
                  <a:lnTo>
                    <a:pt x="172" y="255"/>
                  </a:lnTo>
                  <a:lnTo>
                    <a:pt x="164" y="253"/>
                  </a:lnTo>
                  <a:lnTo>
                    <a:pt x="162" y="246"/>
                  </a:lnTo>
                  <a:lnTo>
                    <a:pt x="161" y="243"/>
                  </a:lnTo>
                  <a:lnTo>
                    <a:pt x="156" y="243"/>
                  </a:lnTo>
                  <a:lnTo>
                    <a:pt x="151" y="255"/>
                  </a:lnTo>
                  <a:lnTo>
                    <a:pt x="145" y="266"/>
                  </a:lnTo>
                  <a:lnTo>
                    <a:pt x="141" y="272"/>
                  </a:lnTo>
                  <a:lnTo>
                    <a:pt x="135" y="273"/>
                  </a:lnTo>
                  <a:lnTo>
                    <a:pt x="132" y="268"/>
                  </a:lnTo>
                  <a:lnTo>
                    <a:pt x="123" y="262"/>
                  </a:lnTo>
                  <a:lnTo>
                    <a:pt x="119" y="259"/>
                  </a:lnTo>
                  <a:lnTo>
                    <a:pt x="118" y="253"/>
                  </a:lnTo>
                  <a:lnTo>
                    <a:pt x="112" y="250"/>
                  </a:lnTo>
                  <a:lnTo>
                    <a:pt x="109" y="246"/>
                  </a:lnTo>
                  <a:lnTo>
                    <a:pt x="109" y="242"/>
                  </a:lnTo>
                  <a:lnTo>
                    <a:pt x="102" y="220"/>
                  </a:lnTo>
                  <a:lnTo>
                    <a:pt x="99" y="212"/>
                  </a:lnTo>
                  <a:lnTo>
                    <a:pt x="98" y="206"/>
                  </a:lnTo>
                  <a:lnTo>
                    <a:pt x="102" y="202"/>
                  </a:lnTo>
                  <a:lnTo>
                    <a:pt x="109" y="202"/>
                  </a:lnTo>
                  <a:lnTo>
                    <a:pt x="115" y="199"/>
                  </a:lnTo>
                  <a:lnTo>
                    <a:pt x="115" y="187"/>
                  </a:lnTo>
                  <a:lnTo>
                    <a:pt x="109" y="179"/>
                  </a:lnTo>
                  <a:lnTo>
                    <a:pt x="106" y="174"/>
                  </a:lnTo>
                  <a:lnTo>
                    <a:pt x="102" y="170"/>
                  </a:lnTo>
                  <a:lnTo>
                    <a:pt x="102" y="163"/>
                  </a:lnTo>
                  <a:lnTo>
                    <a:pt x="103" y="159"/>
                  </a:lnTo>
                  <a:lnTo>
                    <a:pt x="102" y="157"/>
                  </a:lnTo>
                  <a:lnTo>
                    <a:pt x="96" y="154"/>
                  </a:lnTo>
                  <a:lnTo>
                    <a:pt x="93" y="150"/>
                  </a:lnTo>
                  <a:lnTo>
                    <a:pt x="95" y="146"/>
                  </a:lnTo>
                  <a:lnTo>
                    <a:pt x="88" y="141"/>
                  </a:lnTo>
                  <a:lnTo>
                    <a:pt x="83" y="140"/>
                  </a:lnTo>
                  <a:lnTo>
                    <a:pt x="80" y="136"/>
                  </a:lnTo>
                  <a:lnTo>
                    <a:pt x="76" y="133"/>
                  </a:lnTo>
                  <a:lnTo>
                    <a:pt x="66" y="134"/>
                  </a:lnTo>
                  <a:lnTo>
                    <a:pt x="63" y="140"/>
                  </a:lnTo>
                  <a:lnTo>
                    <a:pt x="62" y="149"/>
                  </a:lnTo>
                  <a:lnTo>
                    <a:pt x="59" y="152"/>
                  </a:lnTo>
                  <a:lnTo>
                    <a:pt x="58" y="154"/>
                  </a:lnTo>
                  <a:lnTo>
                    <a:pt x="53" y="152"/>
                  </a:lnTo>
                  <a:lnTo>
                    <a:pt x="53" y="143"/>
                  </a:lnTo>
                  <a:lnTo>
                    <a:pt x="49" y="146"/>
                  </a:lnTo>
                  <a:lnTo>
                    <a:pt x="40" y="143"/>
                  </a:lnTo>
                  <a:lnTo>
                    <a:pt x="36" y="139"/>
                  </a:lnTo>
                  <a:lnTo>
                    <a:pt x="23" y="121"/>
                  </a:lnTo>
                  <a:lnTo>
                    <a:pt x="16" y="116"/>
                  </a:lnTo>
                  <a:lnTo>
                    <a:pt x="19" y="110"/>
                  </a:lnTo>
                  <a:lnTo>
                    <a:pt x="19" y="107"/>
                  </a:lnTo>
                  <a:lnTo>
                    <a:pt x="15" y="107"/>
                  </a:lnTo>
                  <a:lnTo>
                    <a:pt x="10" y="113"/>
                  </a:lnTo>
                  <a:lnTo>
                    <a:pt x="9" y="119"/>
                  </a:lnTo>
                  <a:lnTo>
                    <a:pt x="6" y="119"/>
                  </a:lnTo>
                  <a:lnTo>
                    <a:pt x="5" y="116"/>
                  </a:lnTo>
                  <a:lnTo>
                    <a:pt x="3" y="113"/>
                  </a:lnTo>
                  <a:lnTo>
                    <a:pt x="3" y="110"/>
                  </a:lnTo>
                  <a:lnTo>
                    <a:pt x="3" y="101"/>
                  </a:lnTo>
                  <a:lnTo>
                    <a:pt x="0" y="91"/>
                  </a:lnTo>
                  <a:lnTo>
                    <a:pt x="10" y="86"/>
                  </a:lnTo>
                  <a:lnTo>
                    <a:pt x="16" y="83"/>
                  </a:lnTo>
                  <a:lnTo>
                    <a:pt x="10" y="86"/>
                  </a:lnTo>
                  <a:lnTo>
                    <a:pt x="16" y="83"/>
                  </a:lnTo>
                  <a:lnTo>
                    <a:pt x="20" y="84"/>
                  </a:lnTo>
                  <a:lnTo>
                    <a:pt x="23" y="83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3" y="74"/>
                  </a:lnTo>
                  <a:lnTo>
                    <a:pt x="32" y="71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3" y="64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40" y="61"/>
                  </a:lnTo>
                  <a:lnTo>
                    <a:pt x="42" y="63"/>
                  </a:lnTo>
                  <a:lnTo>
                    <a:pt x="43" y="64"/>
                  </a:lnTo>
                  <a:lnTo>
                    <a:pt x="43" y="64"/>
                  </a:lnTo>
                  <a:lnTo>
                    <a:pt x="40" y="67"/>
                  </a:lnTo>
                  <a:lnTo>
                    <a:pt x="39" y="70"/>
                  </a:lnTo>
                  <a:lnTo>
                    <a:pt x="39" y="70"/>
                  </a:lnTo>
                  <a:lnTo>
                    <a:pt x="39" y="71"/>
                  </a:lnTo>
                  <a:lnTo>
                    <a:pt x="39" y="71"/>
                  </a:lnTo>
                  <a:lnTo>
                    <a:pt x="42" y="73"/>
                  </a:lnTo>
                  <a:lnTo>
                    <a:pt x="42" y="73"/>
                  </a:lnTo>
                  <a:lnTo>
                    <a:pt x="43" y="74"/>
                  </a:lnTo>
                  <a:lnTo>
                    <a:pt x="45" y="73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8" y="74"/>
                  </a:lnTo>
                  <a:lnTo>
                    <a:pt x="46" y="76"/>
                  </a:lnTo>
                  <a:lnTo>
                    <a:pt x="46" y="80"/>
                  </a:lnTo>
                  <a:lnTo>
                    <a:pt x="46" y="80"/>
                  </a:lnTo>
                  <a:lnTo>
                    <a:pt x="46" y="83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50" y="81"/>
                  </a:lnTo>
                  <a:lnTo>
                    <a:pt x="52" y="80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60" y="77"/>
                  </a:lnTo>
                  <a:lnTo>
                    <a:pt x="63" y="77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8" y="80"/>
                  </a:lnTo>
                  <a:lnTo>
                    <a:pt x="69" y="77"/>
                  </a:lnTo>
                  <a:lnTo>
                    <a:pt x="70" y="73"/>
                  </a:lnTo>
                  <a:lnTo>
                    <a:pt x="69" y="67"/>
                  </a:lnTo>
                  <a:lnTo>
                    <a:pt x="68" y="61"/>
                  </a:lnTo>
                  <a:lnTo>
                    <a:pt x="65" y="56"/>
                  </a:lnTo>
                  <a:lnTo>
                    <a:pt x="60" y="53"/>
                  </a:lnTo>
                  <a:lnTo>
                    <a:pt x="58" y="51"/>
                  </a:lnTo>
                  <a:lnTo>
                    <a:pt x="55" y="51"/>
                  </a:lnTo>
                  <a:lnTo>
                    <a:pt x="46" y="47"/>
                  </a:lnTo>
                  <a:lnTo>
                    <a:pt x="43" y="44"/>
                  </a:lnTo>
                  <a:lnTo>
                    <a:pt x="45" y="40"/>
                  </a:lnTo>
                  <a:lnTo>
                    <a:pt x="48" y="33"/>
                  </a:lnTo>
                  <a:lnTo>
                    <a:pt x="50" y="35"/>
                  </a:lnTo>
                  <a:lnTo>
                    <a:pt x="60" y="44"/>
                  </a:lnTo>
                  <a:lnTo>
                    <a:pt x="65" y="48"/>
                  </a:lnTo>
                  <a:lnTo>
                    <a:pt x="72" y="50"/>
                  </a:lnTo>
                  <a:lnTo>
                    <a:pt x="78" y="50"/>
                  </a:lnTo>
                  <a:lnTo>
                    <a:pt x="85" y="51"/>
                  </a:lnTo>
                  <a:lnTo>
                    <a:pt x="90" y="51"/>
                  </a:lnTo>
                  <a:lnTo>
                    <a:pt x="95" y="50"/>
                  </a:lnTo>
                  <a:lnTo>
                    <a:pt x="96" y="46"/>
                  </a:lnTo>
                  <a:lnTo>
                    <a:pt x="99" y="38"/>
                  </a:lnTo>
                  <a:lnTo>
                    <a:pt x="105" y="37"/>
                  </a:lnTo>
                  <a:lnTo>
                    <a:pt x="109" y="35"/>
                  </a:lnTo>
                  <a:lnTo>
                    <a:pt x="118" y="37"/>
                  </a:lnTo>
                  <a:lnTo>
                    <a:pt x="121" y="35"/>
                  </a:lnTo>
                  <a:lnTo>
                    <a:pt x="121" y="30"/>
                  </a:lnTo>
                  <a:lnTo>
                    <a:pt x="123" y="25"/>
                  </a:lnTo>
                  <a:lnTo>
                    <a:pt x="128" y="17"/>
                  </a:lnTo>
                  <a:lnTo>
                    <a:pt x="123" y="8"/>
                  </a:lnTo>
                  <a:lnTo>
                    <a:pt x="132" y="3"/>
                  </a:lnTo>
                  <a:lnTo>
                    <a:pt x="139" y="0"/>
                  </a:lnTo>
                  <a:lnTo>
                    <a:pt x="139" y="1"/>
                  </a:lnTo>
                  <a:close/>
                  <a:moveTo>
                    <a:pt x="139" y="1"/>
                  </a:moveTo>
                  <a:lnTo>
                    <a:pt x="139" y="0"/>
                  </a:lnTo>
                  <a:lnTo>
                    <a:pt x="139" y="1"/>
                  </a:lnTo>
                  <a:close/>
                  <a:moveTo>
                    <a:pt x="139" y="0"/>
                  </a:moveTo>
                  <a:lnTo>
                    <a:pt x="139" y="0"/>
                  </a:lnTo>
                  <a:lnTo>
                    <a:pt x="139" y="0"/>
                  </a:lnTo>
                  <a:lnTo>
                    <a:pt x="139" y="0"/>
                  </a:lnTo>
                  <a:close/>
                  <a:moveTo>
                    <a:pt x="237" y="323"/>
                  </a:moveTo>
                  <a:lnTo>
                    <a:pt x="235" y="325"/>
                  </a:lnTo>
                  <a:lnTo>
                    <a:pt x="237" y="323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71" name="Freeform 119"/>
            <p:cNvSpPr>
              <a:spLocks/>
            </p:cNvSpPr>
            <p:nvPr/>
          </p:nvSpPr>
          <p:spPr bwMode="auto">
            <a:xfrm>
              <a:off x="2621828" y="3691704"/>
              <a:ext cx="249113" cy="228862"/>
            </a:xfrm>
            <a:custGeom>
              <a:avLst/>
              <a:gdLst>
                <a:gd name="T0" fmla="*/ 142 w 408"/>
                <a:gd name="T1" fmla="*/ 11 h 346"/>
                <a:gd name="T2" fmla="*/ 151 w 408"/>
                <a:gd name="T3" fmla="*/ 30 h 346"/>
                <a:gd name="T4" fmla="*/ 174 w 408"/>
                <a:gd name="T5" fmla="*/ 38 h 346"/>
                <a:gd name="T6" fmla="*/ 207 w 408"/>
                <a:gd name="T7" fmla="*/ 40 h 346"/>
                <a:gd name="T8" fmla="*/ 212 w 408"/>
                <a:gd name="T9" fmla="*/ 67 h 346"/>
                <a:gd name="T10" fmla="*/ 221 w 408"/>
                <a:gd name="T11" fmla="*/ 94 h 346"/>
                <a:gd name="T12" fmla="*/ 219 w 408"/>
                <a:gd name="T13" fmla="*/ 116 h 346"/>
                <a:gd name="T14" fmla="*/ 218 w 408"/>
                <a:gd name="T15" fmla="*/ 129 h 346"/>
                <a:gd name="T16" fmla="*/ 225 w 408"/>
                <a:gd name="T17" fmla="*/ 160 h 346"/>
                <a:gd name="T18" fmla="*/ 232 w 408"/>
                <a:gd name="T19" fmla="*/ 179 h 346"/>
                <a:gd name="T20" fmla="*/ 231 w 408"/>
                <a:gd name="T21" fmla="*/ 184 h 346"/>
                <a:gd name="T22" fmla="*/ 238 w 408"/>
                <a:gd name="T23" fmla="*/ 196 h 346"/>
                <a:gd name="T24" fmla="*/ 264 w 408"/>
                <a:gd name="T25" fmla="*/ 217 h 346"/>
                <a:gd name="T26" fmla="*/ 282 w 408"/>
                <a:gd name="T27" fmla="*/ 194 h 346"/>
                <a:gd name="T28" fmla="*/ 300 w 408"/>
                <a:gd name="T29" fmla="*/ 189 h 346"/>
                <a:gd name="T30" fmla="*/ 324 w 408"/>
                <a:gd name="T31" fmla="*/ 193 h 346"/>
                <a:gd name="T32" fmla="*/ 345 w 408"/>
                <a:gd name="T33" fmla="*/ 180 h 346"/>
                <a:gd name="T34" fmla="*/ 384 w 408"/>
                <a:gd name="T35" fmla="*/ 184 h 346"/>
                <a:gd name="T36" fmla="*/ 373 w 408"/>
                <a:gd name="T37" fmla="*/ 217 h 346"/>
                <a:gd name="T38" fmla="*/ 388 w 408"/>
                <a:gd name="T39" fmla="*/ 222 h 346"/>
                <a:gd name="T40" fmla="*/ 408 w 408"/>
                <a:gd name="T41" fmla="*/ 229 h 346"/>
                <a:gd name="T42" fmla="*/ 393 w 408"/>
                <a:gd name="T43" fmla="*/ 243 h 346"/>
                <a:gd name="T44" fmla="*/ 388 w 408"/>
                <a:gd name="T45" fmla="*/ 266 h 346"/>
                <a:gd name="T46" fmla="*/ 373 w 408"/>
                <a:gd name="T47" fmla="*/ 283 h 346"/>
                <a:gd name="T48" fmla="*/ 363 w 408"/>
                <a:gd name="T49" fmla="*/ 302 h 346"/>
                <a:gd name="T50" fmla="*/ 348 w 408"/>
                <a:gd name="T51" fmla="*/ 326 h 346"/>
                <a:gd name="T52" fmla="*/ 311 w 408"/>
                <a:gd name="T53" fmla="*/ 331 h 346"/>
                <a:gd name="T54" fmla="*/ 280 w 408"/>
                <a:gd name="T55" fmla="*/ 318 h 346"/>
                <a:gd name="T56" fmla="*/ 244 w 408"/>
                <a:gd name="T57" fmla="*/ 323 h 346"/>
                <a:gd name="T58" fmla="*/ 231 w 408"/>
                <a:gd name="T59" fmla="*/ 321 h 346"/>
                <a:gd name="T60" fmla="*/ 207 w 408"/>
                <a:gd name="T61" fmla="*/ 303 h 346"/>
                <a:gd name="T62" fmla="*/ 209 w 408"/>
                <a:gd name="T63" fmla="*/ 283 h 346"/>
                <a:gd name="T64" fmla="*/ 186 w 408"/>
                <a:gd name="T65" fmla="*/ 263 h 346"/>
                <a:gd name="T66" fmla="*/ 161 w 408"/>
                <a:gd name="T67" fmla="*/ 243 h 346"/>
                <a:gd name="T68" fmla="*/ 135 w 408"/>
                <a:gd name="T69" fmla="*/ 273 h 346"/>
                <a:gd name="T70" fmla="*/ 112 w 408"/>
                <a:gd name="T71" fmla="*/ 250 h 346"/>
                <a:gd name="T72" fmla="*/ 98 w 408"/>
                <a:gd name="T73" fmla="*/ 206 h 346"/>
                <a:gd name="T74" fmla="*/ 109 w 408"/>
                <a:gd name="T75" fmla="*/ 179 h 346"/>
                <a:gd name="T76" fmla="*/ 102 w 408"/>
                <a:gd name="T77" fmla="*/ 157 h 346"/>
                <a:gd name="T78" fmla="*/ 83 w 408"/>
                <a:gd name="T79" fmla="*/ 140 h 346"/>
                <a:gd name="T80" fmla="*/ 62 w 408"/>
                <a:gd name="T81" fmla="*/ 149 h 346"/>
                <a:gd name="T82" fmla="*/ 49 w 408"/>
                <a:gd name="T83" fmla="*/ 146 h 346"/>
                <a:gd name="T84" fmla="*/ 19 w 408"/>
                <a:gd name="T85" fmla="*/ 110 h 346"/>
                <a:gd name="T86" fmla="*/ 6 w 408"/>
                <a:gd name="T87" fmla="*/ 119 h 346"/>
                <a:gd name="T88" fmla="*/ 0 w 408"/>
                <a:gd name="T89" fmla="*/ 91 h 346"/>
                <a:gd name="T90" fmla="*/ 20 w 408"/>
                <a:gd name="T91" fmla="*/ 84 h 346"/>
                <a:gd name="T92" fmla="*/ 36 w 408"/>
                <a:gd name="T93" fmla="*/ 81 h 346"/>
                <a:gd name="T94" fmla="*/ 33 w 408"/>
                <a:gd name="T95" fmla="*/ 64 h 346"/>
                <a:gd name="T96" fmla="*/ 43 w 408"/>
                <a:gd name="T97" fmla="*/ 64 h 346"/>
                <a:gd name="T98" fmla="*/ 39 w 408"/>
                <a:gd name="T99" fmla="*/ 71 h 346"/>
                <a:gd name="T100" fmla="*/ 45 w 408"/>
                <a:gd name="T101" fmla="*/ 73 h 346"/>
                <a:gd name="T102" fmla="*/ 46 w 408"/>
                <a:gd name="T103" fmla="*/ 76 h 346"/>
                <a:gd name="T104" fmla="*/ 48 w 408"/>
                <a:gd name="T105" fmla="*/ 84 h 346"/>
                <a:gd name="T106" fmla="*/ 60 w 408"/>
                <a:gd name="T107" fmla="*/ 77 h 346"/>
                <a:gd name="T108" fmla="*/ 69 w 408"/>
                <a:gd name="T109" fmla="*/ 77 h 346"/>
                <a:gd name="T110" fmla="*/ 60 w 408"/>
                <a:gd name="T111" fmla="*/ 53 h 346"/>
                <a:gd name="T112" fmla="*/ 45 w 408"/>
                <a:gd name="T113" fmla="*/ 40 h 346"/>
                <a:gd name="T114" fmla="*/ 72 w 408"/>
                <a:gd name="T115" fmla="*/ 50 h 346"/>
                <a:gd name="T116" fmla="*/ 96 w 408"/>
                <a:gd name="T117" fmla="*/ 46 h 346"/>
                <a:gd name="T118" fmla="*/ 121 w 408"/>
                <a:gd name="T119" fmla="*/ 35 h 346"/>
                <a:gd name="T120" fmla="*/ 132 w 408"/>
                <a:gd name="T121" fmla="*/ 3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08" h="346">
                  <a:moveTo>
                    <a:pt x="139" y="1"/>
                  </a:moveTo>
                  <a:lnTo>
                    <a:pt x="135" y="10"/>
                  </a:lnTo>
                  <a:lnTo>
                    <a:pt x="138" y="13"/>
                  </a:lnTo>
                  <a:lnTo>
                    <a:pt x="141" y="14"/>
                  </a:lnTo>
                  <a:lnTo>
                    <a:pt x="142" y="11"/>
                  </a:lnTo>
                  <a:lnTo>
                    <a:pt x="146" y="14"/>
                  </a:lnTo>
                  <a:lnTo>
                    <a:pt x="149" y="11"/>
                  </a:lnTo>
                  <a:lnTo>
                    <a:pt x="152" y="14"/>
                  </a:lnTo>
                  <a:lnTo>
                    <a:pt x="156" y="23"/>
                  </a:lnTo>
                  <a:lnTo>
                    <a:pt x="151" y="30"/>
                  </a:lnTo>
                  <a:lnTo>
                    <a:pt x="154" y="34"/>
                  </a:lnTo>
                  <a:lnTo>
                    <a:pt x="165" y="33"/>
                  </a:lnTo>
                  <a:lnTo>
                    <a:pt x="168" y="37"/>
                  </a:lnTo>
                  <a:lnTo>
                    <a:pt x="169" y="38"/>
                  </a:lnTo>
                  <a:lnTo>
                    <a:pt x="174" y="38"/>
                  </a:lnTo>
                  <a:lnTo>
                    <a:pt x="175" y="41"/>
                  </a:lnTo>
                  <a:lnTo>
                    <a:pt x="192" y="40"/>
                  </a:lnTo>
                  <a:lnTo>
                    <a:pt x="198" y="34"/>
                  </a:lnTo>
                  <a:lnTo>
                    <a:pt x="202" y="35"/>
                  </a:lnTo>
                  <a:lnTo>
                    <a:pt x="207" y="40"/>
                  </a:lnTo>
                  <a:lnTo>
                    <a:pt x="211" y="46"/>
                  </a:lnTo>
                  <a:lnTo>
                    <a:pt x="207" y="50"/>
                  </a:lnTo>
                  <a:lnTo>
                    <a:pt x="208" y="53"/>
                  </a:lnTo>
                  <a:lnTo>
                    <a:pt x="204" y="56"/>
                  </a:lnTo>
                  <a:lnTo>
                    <a:pt x="212" y="67"/>
                  </a:lnTo>
                  <a:lnTo>
                    <a:pt x="215" y="76"/>
                  </a:lnTo>
                  <a:lnTo>
                    <a:pt x="214" y="83"/>
                  </a:lnTo>
                  <a:lnTo>
                    <a:pt x="217" y="87"/>
                  </a:lnTo>
                  <a:lnTo>
                    <a:pt x="218" y="90"/>
                  </a:lnTo>
                  <a:lnTo>
                    <a:pt x="221" y="94"/>
                  </a:lnTo>
                  <a:lnTo>
                    <a:pt x="224" y="101"/>
                  </a:lnTo>
                  <a:lnTo>
                    <a:pt x="224" y="104"/>
                  </a:lnTo>
                  <a:lnTo>
                    <a:pt x="222" y="109"/>
                  </a:lnTo>
                  <a:lnTo>
                    <a:pt x="219" y="110"/>
                  </a:lnTo>
                  <a:lnTo>
                    <a:pt x="219" y="116"/>
                  </a:lnTo>
                  <a:lnTo>
                    <a:pt x="222" y="117"/>
                  </a:lnTo>
                  <a:lnTo>
                    <a:pt x="225" y="121"/>
                  </a:lnTo>
                  <a:lnTo>
                    <a:pt x="224" y="124"/>
                  </a:lnTo>
                  <a:lnTo>
                    <a:pt x="222" y="127"/>
                  </a:lnTo>
                  <a:lnTo>
                    <a:pt x="218" y="129"/>
                  </a:lnTo>
                  <a:lnTo>
                    <a:pt x="217" y="133"/>
                  </a:lnTo>
                  <a:lnTo>
                    <a:pt x="222" y="146"/>
                  </a:lnTo>
                  <a:lnTo>
                    <a:pt x="225" y="153"/>
                  </a:lnTo>
                  <a:lnTo>
                    <a:pt x="227" y="157"/>
                  </a:lnTo>
                  <a:lnTo>
                    <a:pt x="225" y="160"/>
                  </a:lnTo>
                  <a:lnTo>
                    <a:pt x="222" y="163"/>
                  </a:lnTo>
                  <a:lnTo>
                    <a:pt x="224" y="169"/>
                  </a:lnTo>
                  <a:lnTo>
                    <a:pt x="225" y="174"/>
                  </a:lnTo>
                  <a:lnTo>
                    <a:pt x="228" y="177"/>
                  </a:lnTo>
                  <a:lnTo>
                    <a:pt x="232" y="179"/>
                  </a:lnTo>
                  <a:lnTo>
                    <a:pt x="235" y="179"/>
                  </a:lnTo>
                  <a:lnTo>
                    <a:pt x="239" y="177"/>
                  </a:lnTo>
                  <a:lnTo>
                    <a:pt x="239" y="182"/>
                  </a:lnTo>
                  <a:lnTo>
                    <a:pt x="237" y="184"/>
                  </a:lnTo>
                  <a:lnTo>
                    <a:pt x="231" y="184"/>
                  </a:lnTo>
                  <a:lnTo>
                    <a:pt x="227" y="186"/>
                  </a:lnTo>
                  <a:lnTo>
                    <a:pt x="227" y="189"/>
                  </a:lnTo>
                  <a:lnTo>
                    <a:pt x="229" y="190"/>
                  </a:lnTo>
                  <a:lnTo>
                    <a:pt x="237" y="192"/>
                  </a:lnTo>
                  <a:lnTo>
                    <a:pt x="238" y="196"/>
                  </a:lnTo>
                  <a:lnTo>
                    <a:pt x="241" y="202"/>
                  </a:lnTo>
                  <a:lnTo>
                    <a:pt x="244" y="204"/>
                  </a:lnTo>
                  <a:lnTo>
                    <a:pt x="249" y="206"/>
                  </a:lnTo>
                  <a:lnTo>
                    <a:pt x="255" y="210"/>
                  </a:lnTo>
                  <a:lnTo>
                    <a:pt x="264" y="217"/>
                  </a:lnTo>
                  <a:lnTo>
                    <a:pt x="267" y="216"/>
                  </a:lnTo>
                  <a:lnTo>
                    <a:pt x="264" y="210"/>
                  </a:lnTo>
                  <a:lnTo>
                    <a:pt x="265" y="207"/>
                  </a:lnTo>
                  <a:lnTo>
                    <a:pt x="270" y="207"/>
                  </a:lnTo>
                  <a:lnTo>
                    <a:pt x="282" y="194"/>
                  </a:lnTo>
                  <a:lnTo>
                    <a:pt x="282" y="190"/>
                  </a:lnTo>
                  <a:lnTo>
                    <a:pt x="285" y="187"/>
                  </a:lnTo>
                  <a:lnTo>
                    <a:pt x="288" y="184"/>
                  </a:lnTo>
                  <a:lnTo>
                    <a:pt x="295" y="183"/>
                  </a:lnTo>
                  <a:lnTo>
                    <a:pt x="300" y="189"/>
                  </a:lnTo>
                  <a:lnTo>
                    <a:pt x="301" y="193"/>
                  </a:lnTo>
                  <a:lnTo>
                    <a:pt x="305" y="190"/>
                  </a:lnTo>
                  <a:lnTo>
                    <a:pt x="317" y="186"/>
                  </a:lnTo>
                  <a:lnTo>
                    <a:pt x="320" y="187"/>
                  </a:lnTo>
                  <a:lnTo>
                    <a:pt x="324" y="193"/>
                  </a:lnTo>
                  <a:lnTo>
                    <a:pt x="327" y="196"/>
                  </a:lnTo>
                  <a:lnTo>
                    <a:pt x="331" y="193"/>
                  </a:lnTo>
                  <a:lnTo>
                    <a:pt x="340" y="183"/>
                  </a:lnTo>
                  <a:lnTo>
                    <a:pt x="343" y="180"/>
                  </a:lnTo>
                  <a:lnTo>
                    <a:pt x="345" y="180"/>
                  </a:lnTo>
                  <a:lnTo>
                    <a:pt x="353" y="176"/>
                  </a:lnTo>
                  <a:lnTo>
                    <a:pt x="363" y="179"/>
                  </a:lnTo>
                  <a:lnTo>
                    <a:pt x="370" y="177"/>
                  </a:lnTo>
                  <a:lnTo>
                    <a:pt x="374" y="174"/>
                  </a:lnTo>
                  <a:lnTo>
                    <a:pt x="384" y="184"/>
                  </a:lnTo>
                  <a:lnTo>
                    <a:pt x="381" y="187"/>
                  </a:lnTo>
                  <a:lnTo>
                    <a:pt x="377" y="192"/>
                  </a:lnTo>
                  <a:lnTo>
                    <a:pt x="374" y="193"/>
                  </a:lnTo>
                  <a:lnTo>
                    <a:pt x="363" y="199"/>
                  </a:lnTo>
                  <a:lnTo>
                    <a:pt x="373" y="217"/>
                  </a:lnTo>
                  <a:lnTo>
                    <a:pt x="384" y="217"/>
                  </a:lnTo>
                  <a:lnTo>
                    <a:pt x="384" y="217"/>
                  </a:lnTo>
                  <a:lnTo>
                    <a:pt x="384" y="216"/>
                  </a:lnTo>
                  <a:lnTo>
                    <a:pt x="384" y="217"/>
                  </a:lnTo>
                  <a:lnTo>
                    <a:pt x="388" y="222"/>
                  </a:lnTo>
                  <a:lnTo>
                    <a:pt x="391" y="225"/>
                  </a:lnTo>
                  <a:lnTo>
                    <a:pt x="394" y="226"/>
                  </a:lnTo>
                  <a:lnTo>
                    <a:pt x="400" y="227"/>
                  </a:lnTo>
                  <a:lnTo>
                    <a:pt x="407" y="227"/>
                  </a:lnTo>
                  <a:lnTo>
                    <a:pt x="408" y="229"/>
                  </a:lnTo>
                  <a:lnTo>
                    <a:pt x="407" y="232"/>
                  </a:lnTo>
                  <a:lnTo>
                    <a:pt x="404" y="236"/>
                  </a:lnTo>
                  <a:lnTo>
                    <a:pt x="401" y="237"/>
                  </a:lnTo>
                  <a:lnTo>
                    <a:pt x="397" y="240"/>
                  </a:lnTo>
                  <a:lnTo>
                    <a:pt x="393" y="243"/>
                  </a:lnTo>
                  <a:lnTo>
                    <a:pt x="390" y="247"/>
                  </a:lnTo>
                  <a:lnTo>
                    <a:pt x="390" y="252"/>
                  </a:lnTo>
                  <a:lnTo>
                    <a:pt x="391" y="257"/>
                  </a:lnTo>
                  <a:lnTo>
                    <a:pt x="391" y="262"/>
                  </a:lnTo>
                  <a:lnTo>
                    <a:pt x="388" y="266"/>
                  </a:lnTo>
                  <a:lnTo>
                    <a:pt x="384" y="269"/>
                  </a:lnTo>
                  <a:lnTo>
                    <a:pt x="381" y="275"/>
                  </a:lnTo>
                  <a:lnTo>
                    <a:pt x="380" y="278"/>
                  </a:lnTo>
                  <a:lnTo>
                    <a:pt x="376" y="279"/>
                  </a:lnTo>
                  <a:lnTo>
                    <a:pt x="373" y="283"/>
                  </a:lnTo>
                  <a:lnTo>
                    <a:pt x="371" y="286"/>
                  </a:lnTo>
                  <a:lnTo>
                    <a:pt x="368" y="293"/>
                  </a:lnTo>
                  <a:lnTo>
                    <a:pt x="368" y="293"/>
                  </a:lnTo>
                  <a:lnTo>
                    <a:pt x="364" y="298"/>
                  </a:lnTo>
                  <a:lnTo>
                    <a:pt x="363" y="302"/>
                  </a:lnTo>
                  <a:lnTo>
                    <a:pt x="361" y="309"/>
                  </a:lnTo>
                  <a:lnTo>
                    <a:pt x="355" y="312"/>
                  </a:lnTo>
                  <a:lnTo>
                    <a:pt x="351" y="316"/>
                  </a:lnTo>
                  <a:lnTo>
                    <a:pt x="350" y="322"/>
                  </a:lnTo>
                  <a:lnTo>
                    <a:pt x="348" y="326"/>
                  </a:lnTo>
                  <a:lnTo>
                    <a:pt x="344" y="333"/>
                  </a:lnTo>
                  <a:lnTo>
                    <a:pt x="340" y="346"/>
                  </a:lnTo>
                  <a:lnTo>
                    <a:pt x="334" y="345"/>
                  </a:lnTo>
                  <a:lnTo>
                    <a:pt x="325" y="341"/>
                  </a:lnTo>
                  <a:lnTo>
                    <a:pt x="311" y="331"/>
                  </a:lnTo>
                  <a:lnTo>
                    <a:pt x="302" y="326"/>
                  </a:lnTo>
                  <a:lnTo>
                    <a:pt x="291" y="323"/>
                  </a:lnTo>
                  <a:lnTo>
                    <a:pt x="288" y="321"/>
                  </a:lnTo>
                  <a:lnTo>
                    <a:pt x="285" y="319"/>
                  </a:lnTo>
                  <a:lnTo>
                    <a:pt x="280" y="318"/>
                  </a:lnTo>
                  <a:lnTo>
                    <a:pt x="271" y="316"/>
                  </a:lnTo>
                  <a:lnTo>
                    <a:pt x="268" y="318"/>
                  </a:lnTo>
                  <a:lnTo>
                    <a:pt x="257" y="323"/>
                  </a:lnTo>
                  <a:lnTo>
                    <a:pt x="252" y="325"/>
                  </a:lnTo>
                  <a:lnTo>
                    <a:pt x="244" y="323"/>
                  </a:lnTo>
                  <a:lnTo>
                    <a:pt x="239" y="323"/>
                  </a:lnTo>
                  <a:lnTo>
                    <a:pt x="237" y="323"/>
                  </a:lnTo>
                  <a:lnTo>
                    <a:pt x="239" y="323"/>
                  </a:lnTo>
                  <a:lnTo>
                    <a:pt x="235" y="325"/>
                  </a:lnTo>
                  <a:lnTo>
                    <a:pt x="231" y="321"/>
                  </a:lnTo>
                  <a:lnTo>
                    <a:pt x="228" y="313"/>
                  </a:lnTo>
                  <a:lnTo>
                    <a:pt x="225" y="306"/>
                  </a:lnTo>
                  <a:lnTo>
                    <a:pt x="215" y="308"/>
                  </a:lnTo>
                  <a:lnTo>
                    <a:pt x="209" y="306"/>
                  </a:lnTo>
                  <a:lnTo>
                    <a:pt x="207" y="303"/>
                  </a:lnTo>
                  <a:lnTo>
                    <a:pt x="204" y="299"/>
                  </a:lnTo>
                  <a:lnTo>
                    <a:pt x="205" y="292"/>
                  </a:lnTo>
                  <a:lnTo>
                    <a:pt x="208" y="288"/>
                  </a:lnTo>
                  <a:lnTo>
                    <a:pt x="209" y="286"/>
                  </a:lnTo>
                  <a:lnTo>
                    <a:pt x="209" y="283"/>
                  </a:lnTo>
                  <a:lnTo>
                    <a:pt x="208" y="280"/>
                  </a:lnTo>
                  <a:lnTo>
                    <a:pt x="202" y="279"/>
                  </a:lnTo>
                  <a:lnTo>
                    <a:pt x="196" y="278"/>
                  </a:lnTo>
                  <a:lnTo>
                    <a:pt x="194" y="272"/>
                  </a:lnTo>
                  <a:lnTo>
                    <a:pt x="186" y="263"/>
                  </a:lnTo>
                  <a:lnTo>
                    <a:pt x="178" y="256"/>
                  </a:lnTo>
                  <a:lnTo>
                    <a:pt x="172" y="255"/>
                  </a:lnTo>
                  <a:lnTo>
                    <a:pt x="164" y="253"/>
                  </a:lnTo>
                  <a:lnTo>
                    <a:pt x="162" y="246"/>
                  </a:lnTo>
                  <a:lnTo>
                    <a:pt x="161" y="243"/>
                  </a:lnTo>
                  <a:lnTo>
                    <a:pt x="156" y="243"/>
                  </a:lnTo>
                  <a:lnTo>
                    <a:pt x="151" y="255"/>
                  </a:lnTo>
                  <a:lnTo>
                    <a:pt x="145" y="266"/>
                  </a:lnTo>
                  <a:lnTo>
                    <a:pt x="141" y="272"/>
                  </a:lnTo>
                  <a:lnTo>
                    <a:pt x="135" y="273"/>
                  </a:lnTo>
                  <a:lnTo>
                    <a:pt x="132" y="268"/>
                  </a:lnTo>
                  <a:lnTo>
                    <a:pt x="123" y="262"/>
                  </a:lnTo>
                  <a:lnTo>
                    <a:pt x="119" y="259"/>
                  </a:lnTo>
                  <a:lnTo>
                    <a:pt x="118" y="253"/>
                  </a:lnTo>
                  <a:lnTo>
                    <a:pt x="112" y="250"/>
                  </a:lnTo>
                  <a:lnTo>
                    <a:pt x="109" y="246"/>
                  </a:lnTo>
                  <a:lnTo>
                    <a:pt x="109" y="242"/>
                  </a:lnTo>
                  <a:lnTo>
                    <a:pt x="102" y="220"/>
                  </a:lnTo>
                  <a:lnTo>
                    <a:pt x="99" y="212"/>
                  </a:lnTo>
                  <a:lnTo>
                    <a:pt x="98" y="206"/>
                  </a:lnTo>
                  <a:lnTo>
                    <a:pt x="102" y="202"/>
                  </a:lnTo>
                  <a:lnTo>
                    <a:pt x="109" y="202"/>
                  </a:lnTo>
                  <a:lnTo>
                    <a:pt x="115" y="199"/>
                  </a:lnTo>
                  <a:lnTo>
                    <a:pt x="115" y="187"/>
                  </a:lnTo>
                  <a:lnTo>
                    <a:pt x="109" y="179"/>
                  </a:lnTo>
                  <a:lnTo>
                    <a:pt x="106" y="174"/>
                  </a:lnTo>
                  <a:lnTo>
                    <a:pt x="102" y="170"/>
                  </a:lnTo>
                  <a:lnTo>
                    <a:pt x="102" y="163"/>
                  </a:lnTo>
                  <a:lnTo>
                    <a:pt x="103" y="159"/>
                  </a:lnTo>
                  <a:lnTo>
                    <a:pt x="102" y="157"/>
                  </a:lnTo>
                  <a:lnTo>
                    <a:pt x="96" y="154"/>
                  </a:lnTo>
                  <a:lnTo>
                    <a:pt x="93" y="150"/>
                  </a:lnTo>
                  <a:lnTo>
                    <a:pt x="95" y="146"/>
                  </a:lnTo>
                  <a:lnTo>
                    <a:pt x="88" y="141"/>
                  </a:lnTo>
                  <a:lnTo>
                    <a:pt x="83" y="140"/>
                  </a:lnTo>
                  <a:lnTo>
                    <a:pt x="80" y="136"/>
                  </a:lnTo>
                  <a:lnTo>
                    <a:pt x="76" y="133"/>
                  </a:lnTo>
                  <a:lnTo>
                    <a:pt x="66" y="134"/>
                  </a:lnTo>
                  <a:lnTo>
                    <a:pt x="63" y="140"/>
                  </a:lnTo>
                  <a:lnTo>
                    <a:pt x="62" y="149"/>
                  </a:lnTo>
                  <a:lnTo>
                    <a:pt x="59" y="152"/>
                  </a:lnTo>
                  <a:lnTo>
                    <a:pt x="58" y="154"/>
                  </a:lnTo>
                  <a:lnTo>
                    <a:pt x="53" y="152"/>
                  </a:lnTo>
                  <a:lnTo>
                    <a:pt x="53" y="143"/>
                  </a:lnTo>
                  <a:lnTo>
                    <a:pt x="49" y="146"/>
                  </a:lnTo>
                  <a:lnTo>
                    <a:pt x="40" y="143"/>
                  </a:lnTo>
                  <a:lnTo>
                    <a:pt x="36" y="139"/>
                  </a:lnTo>
                  <a:lnTo>
                    <a:pt x="23" y="121"/>
                  </a:lnTo>
                  <a:lnTo>
                    <a:pt x="16" y="116"/>
                  </a:lnTo>
                  <a:lnTo>
                    <a:pt x="19" y="110"/>
                  </a:lnTo>
                  <a:lnTo>
                    <a:pt x="19" y="107"/>
                  </a:lnTo>
                  <a:lnTo>
                    <a:pt x="15" y="107"/>
                  </a:lnTo>
                  <a:lnTo>
                    <a:pt x="10" y="113"/>
                  </a:lnTo>
                  <a:lnTo>
                    <a:pt x="9" y="119"/>
                  </a:lnTo>
                  <a:lnTo>
                    <a:pt x="6" y="119"/>
                  </a:lnTo>
                  <a:lnTo>
                    <a:pt x="5" y="116"/>
                  </a:lnTo>
                  <a:lnTo>
                    <a:pt x="3" y="113"/>
                  </a:lnTo>
                  <a:lnTo>
                    <a:pt x="3" y="110"/>
                  </a:lnTo>
                  <a:lnTo>
                    <a:pt x="3" y="101"/>
                  </a:lnTo>
                  <a:lnTo>
                    <a:pt x="0" y="91"/>
                  </a:lnTo>
                  <a:lnTo>
                    <a:pt x="10" y="86"/>
                  </a:lnTo>
                  <a:lnTo>
                    <a:pt x="16" y="83"/>
                  </a:lnTo>
                  <a:lnTo>
                    <a:pt x="10" y="86"/>
                  </a:lnTo>
                  <a:lnTo>
                    <a:pt x="16" y="83"/>
                  </a:lnTo>
                  <a:lnTo>
                    <a:pt x="20" y="84"/>
                  </a:lnTo>
                  <a:lnTo>
                    <a:pt x="23" y="83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3" y="74"/>
                  </a:lnTo>
                  <a:lnTo>
                    <a:pt x="32" y="71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3" y="64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40" y="61"/>
                  </a:lnTo>
                  <a:lnTo>
                    <a:pt x="42" y="63"/>
                  </a:lnTo>
                  <a:lnTo>
                    <a:pt x="43" y="64"/>
                  </a:lnTo>
                  <a:lnTo>
                    <a:pt x="43" y="64"/>
                  </a:lnTo>
                  <a:lnTo>
                    <a:pt x="40" y="67"/>
                  </a:lnTo>
                  <a:lnTo>
                    <a:pt x="39" y="70"/>
                  </a:lnTo>
                  <a:lnTo>
                    <a:pt x="39" y="70"/>
                  </a:lnTo>
                  <a:lnTo>
                    <a:pt x="39" y="71"/>
                  </a:lnTo>
                  <a:lnTo>
                    <a:pt x="39" y="71"/>
                  </a:lnTo>
                  <a:lnTo>
                    <a:pt x="42" y="73"/>
                  </a:lnTo>
                  <a:lnTo>
                    <a:pt x="42" y="73"/>
                  </a:lnTo>
                  <a:lnTo>
                    <a:pt x="43" y="74"/>
                  </a:lnTo>
                  <a:lnTo>
                    <a:pt x="45" y="73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8" y="74"/>
                  </a:lnTo>
                  <a:lnTo>
                    <a:pt x="46" y="76"/>
                  </a:lnTo>
                  <a:lnTo>
                    <a:pt x="46" y="80"/>
                  </a:lnTo>
                  <a:lnTo>
                    <a:pt x="46" y="80"/>
                  </a:lnTo>
                  <a:lnTo>
                    <a:pt x="46" y="83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50" y="81"/>
                  </a:lnTo>
                  <a:lnTo>
                    <a:pt x="52" y="80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60" y="77"/>
                  </a:lnTo>
                  <a:lnTo>
                    <a:pt x="63" y="77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8" y="80"/>
                  </a:lnTo>
                  <a:lnTo>
                    <a:pt x="69" y="77"/>
                  </a:lnTo>
                  <a:lnTo>
                    <a:pt x="70" y="73"/>
                  </a:lnTo>
                  <a:lnTo>
                    <a:pt x="69" y="67"/>
                  </a:lnTo>
                  <a:lnTo>
                    <a:pt x="68" y="61"/>
                  </a:lnTo>
                  <a:lnTo>
                    <a:pt x="65" y="56"/>
                  </a:lnTo>
                  <a:lnTo>
                    <a:pt x="60" y="53"/>
                  </a:lnTo>
                  <a:lnTo>
                    <a:pt x="58" y="51"/>
                  </a:lnTo>
                  <a:lnTo>
                    <a:pt x="55" y="51"/>
                  </a:lnTo>
                  <a:lnTo>
                    <a:pt x="46" y="47"/>
                  </a:lnTo>
                  <a:lnTo>
                    <a:pt x="43" y="44"/>
                  </a:lnTo>
                  <a:lnTo>
                    <a:pt x="45" y="40"/>
                  </a:lnTo>
                  <a:lnTo>
                    <a:pt x="48" y="33"/>
                  </a:lnTo>
                  <a:lnTo>
                    <a:pt x="50" y="35"/>
                  </a:lnTo>
                  <a:lnTo>
                    <a:pt x="60" y="44"/>
                  </a:lnTo>
                  <a:lnTo>
                    <a:pt x="65" y="48"/>
                  </a:lnTo>
                  <a:lnTo>
                    <a:pt x="72" y="50"/>
                  </a:lnTo>
                  <a:lnTo>
                    <a:pt x="78" y="50"/>
                  </a:lnTo>
                  <a:lnTo>
                    <a:pt x="85" y="51"/>
                  </a:lnTo>
                  <a:lnTo>
                    <a:pt x="90" y="51"/>
                  </a:lnTo>
                  <a:lnTo>
                    <a:pt x="95" y="50"/>
                  </a:lnTo>
                  <a:lnTo>
                    <a:pt x="96" y="46"/>
                  </a:lnTo>
                  <a:lnTo>
                    <a:pt x="99" y="38"/>
                  </a:lnTo>
                  <a:lnTo>
                    <a:pt x="105" y="37"/>
                  </a:lnTo>
                  <a:lnTo>
                    <a:pt x="109" y="35"/>
                  </a:lnTo>
                  <a:lnTo>
                    <a:pt x="118" y="37"/>
                  </a:lnTo>
                  <a:lnTo>
                    <a:pt x="121" y="35"/>
                  </a:lnTo>
                  <a:lnTo>
                    <a:pt x="121" y="30"/>
                  </a:lnTo>
                  <a:lnTo>
                    <a:pt x="123" y="25"/>
                  </a:lnTo>
                  <a:lnTo>
                    <a:pt x="128" y="17"/>
                  </a:lnTo>
                  <a:lnTo>
                    <a:pt x="123" y="8"/>
                  </a:lnTo>
                  <a:lnTo>
                    <a:pt x="132" y="3"/>
                  </a:lnTo>
                  <a:lnTo>
                    <a:pt x="139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72" name="Line 120"/>
            <p:cNvSpPr>
              <a:spLocks noChangeShapeType="1"/>
            </p:cNvSpPr>
            <p:nvPr/>
          </p:nvSpPr>
          <p:spPr bwMode="auto">
            <a:xfrm flipV="1">
              <a:off x="2707307" y="3691704"/>
              <a:ext cx="0" cy="1323"/>
            </a:xfrm>
            <a:prstGeom prst="line">
              <a:avLst/>
            </a:pr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73" name="Freeform 121"/>
            <p:cNvSpPr>
              <a:spLocks/>
            </p:cNvSpPr>
            <p:nvPr/>
          </p:nvSpPr>
          <p:spPr bwMode="auto">
            <a:xfrm>
              <a:off x="2707307" y="369170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74" name="Freeform 122"/>
            <p:cNvSpPr>
              <a:spLocks/>
            </p:cNvSpPr>
            <p:nvPr/>
          </p:nvSpPr>
          <p:spPr bwMode="auto">
            <a:xfrm>
              <a:off x="2765922" y="3906014"/>
              <a:ext cx="0" cy="0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2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75" name="Freeform 123"/>
            <p:cNvSpPr>
              <a:spLocks/>
            </p:cNvSpPr>
            <p:nvPr/>
          </p:nvSpPr>
          <p:spPr bwMode="auto">
            <a:xfrm>
              <a:off x="3089525" y="4075346"/>
              <a:ext cx="399313" cy="558265"/>
            </a:xfrm>
            <a:custGeom>
              <a:avLst/>
              <a:gdLst>
                <a:gd name="T0" fmla="*/ 265 w 655"/>
                <a:gd name="T1" fmla="*/ 17 h 845"/>
                <a:gd name="T2" fmla="*/ 335 w 655"/>
                <a:gd name="T3" fmla="*/ 10 h 845"/>
                <a:gd name="T4" fmla="*/ 365 w 655"/>
                <a:gd name="T5" fmla="*/ 43 h 845"/>
                <a:gd name="T6" fmla="*/ 397 w 655"/>
                <a:gd name="T7" fmla="*/ 71 h 845"/>
                <a:gd name="T8" fmla="*/ 443 w 655"/>
                <a:gd name="T9" fmla="*/ 116 h 845"/>
                <a:gd name="T10" fmla="*/ 481 w 655"/>
                <a:gd name="T11" fmla="*/ 146 h 845"/>
                <a:gd name="T12" fmla="*/ 478 w 655"/>
                <a:gd name="T13" fmla="*/ 184 h 845"/>
                <a:gd name="T14" fmla="*/ 520 w 655"/>
                <a:gd name="T15" fmla="*/ 184 h 845"/>
                <a:gd name="T16" fmla="*/ 521 w 655"/>
                <a:gd name="T17" fmla="*/ 210 h 845"/>
                <a:gd name="T18" fmla="*/ 569 w 655"/>
                <a:gd name="T19" fmla="*/ 250 h 845"/>
                <a:gd name="T20" fmla="*/ 609 w 655"/>
                <a:gd name="T21" fmla="*/ 273 h 845"/>
                <a:gd name="T22" fmla="*/ 635 w 655"/>
                <a:gd name="T23" fmla="*/ 288 h 845"/>
                <a:gd name="T24" fmla="*/ 640 w 655"/>
                <a:gd name="T25" fmla="*/ 319 h 845"/>
                <a:gd name="T26" fmla="*/ 620 w 655"/>
                <a:gd name="T27" fmla="*/ 356 h 845"/>
                <a:gd name="T28" fmla="*/ 622 w 655"/>
                <a:gd name="T29" fmla="*/ 378 h 845"/>
                <a:gd name="T30" fmla="*/ 617 w 655"/>
                <a:gd name="T31" fmla="*/ 401 h 845"/>
                <a:gd name="T32" fmla="*/ 544 w 655"/>
                <a:gd name="T33" fmla="*/ 394 h 845"/>
                <a:gd name="T34" fmla="*/ 511 w 655"/>
                <a:gd name="T35" fmla="*/ 428 h 845"/>
                <a:gd name="T36" fmla="*/ 486 w 655"/>
                <a:gd name="T37" fmla="*/ 395 h 845"/>
                <a:gd name="T38" fmla="*/ 474 w 655"/>
                <a:gd name="T39" fmla="*/ 378 h 845"/>
                <a:gd name="T40" fmla="*/ 450 w 655"/>
                <a:gd name="T41" fmla="*/ 379 h 845"/>
                <a:gd name="T42" fmla="*/ 466 w 655"/>
                <a:gd name="T43" fmla="*/ 335 h 845"/>
                <a:gd name="T44" fmla="*/ 413 w 655"/>
                <a:gd name="T45" fmla="*/ 312 h 845"/>
                <a:gd name="T46" fmla="*/ 368 w 655"/>
                <a:gd name="T47" fmla="*/ 381 h 845"/>
                <a:gd name="T48" fmla="*/ 385 w 655"/>
                <a:gd name="T49" fmla="*/ 438 h 845"/>
                <a:gd name="T50" fmla="*/ 415 w 655"/>
                <a:gd name="T51" fmla="*/ 459 h 845"/>
                <a:gd name="T52" fmla="*/ 460 w 655"/>
                <a:gd name="T53" fmla="*/ 490 h 845"/>
                <a:gd name="T54" fmla="*/ 537 w 655"/>
                <a:gd name="T55" fmla="*/ 501 h 845"/>
                <a:gd name="T56" fmla="*/ 574 w 655"/>
                <a:gd name="T57" fmla="*/ 512 h 845"/>
                <a:gd name="T58" fmla="*/ 516 w 655"/>
                <a:gd name="T59" fmla="*/ 565 h 845"/>
                <a:gd name="T60" fmla="*/ 491 w 655"/>
                <a:gd name="T61" fmla="*/ 584 h 845"/>
                <a:gd name="T62" fmla="*/ 438 w 655"/>
                <a:gd name="T63" fmla="*/ 586 h 845"/>
                <a:gd name="T64" fmla="*/ 381 w 655"/>
                <a:gd name="T65" fmla="*/ 616 h 845"/>
                <a:gd name="T66" fmla="*/ 347 w 655"/>
                <a:gd name="T67" fmla="*/ 674 h 845"/>
                <a:gd name="T68" fmla="*/ 282 w 655"/>
                <a:gd name="T69" fmla="*/ 749 h 845"/>
                <a:gd name="T70" fmla="*/ 211 w 655"/>
                <a:gd name="T71" fmla="*/ 815 h 845"/>
                <a:gd name="T72" fmla="*/ 162 w 655"/>
                <a:gd name="T73" fmla="*/ 833 h 845"/>
                <a:gd name="T74" fmla="*/ 115 w 655"/>
                <a:gd name="T75" fmla="*/ 779 h 845"/>
                <a:gd name="T76" fmla="*/ 69 w 655"/>
                <a:gd name="T77" fmla="*/ 786 h 845"/>
                <a:gd name="T78" fmla="*/ 46 w 655"/>
                <a:gd name="T79" fmla="*/ 746 h 845"/>
                <a:gd name="T80" fmla="*/ 24 w 655"/>
                <a:gd name="T81" fmla="*/ 750 h 845"/>
                <a:gd name="T82" fmla="*/ 53 w 655"/>
                <a:gd name="T83" fmla="*/ 703 h 845"/>
                <a:gd name="T84" fmla="*/ 42 w 655"/>
                <a:gd name="T85" fmla="*/ 669 h 845"/>
                <a:gd name="T86" fmla="*/ 37 w 655"/>
                <a:gd name="T87" fmla="*/ 644 h 845"/>
                <a:gd name="T88" fmla="*/ 76 w 655"/>
                <a:gd name="T89" fmla="*/ 617 h 845"/>
                <a:gd name="T90" fmla="*/ 66 w 655"/>
                <a:gd name="T91" fmla="*/ 588 h 845"/>
                <a:gd name="T92" fmla="*/ 12 w 655"/>
                <a:gd name="T93" fmla="*/ 587 h 845"/>
                <a:gd name="T94" fmla="*/ 20 w 655"/>
                <a:gd name="T95" fmla="*/ 534 h 845"/>
                <a:gd name="T96" fmla="*/ 22 w 655"/>
                <a:gd name="T97" fmla="*/ 528 h 845"/>
                <a:gd name="T98" fmla="*/ 22 w 655"/>
                <a:gd name="T99" fmla="*/ 498 h 845"/>
                <a:gd name="T100" fmla="*/ 40 w 655"/>
                <a:gd name="T101" fmla="*/ 421 h 845"/>
                <a:gd name="T102" fmla="*/ 0 w 655"/>
                <a:gd name="T103" fmla="*/ 359 h 845"/>
                <a:gd name="T104" fmla="*/ 0 w 655"/>
                <a:gd name="T105" fmla="*/ 282 h 845"/>
                <a:gd name="T106" fmla="*/ 54 w 655"/>
                <a:gd name="T107" fmla="*/ 190 h 845"/>
                <a:gd name="T108" fmla="*/ 102 w 655"/>
                <a:gd name="T109" fmla="*/ 169 h 845"/>
                <a:gd name="T110" fmla="*/ 115 w 655"/>
                <a:gd name="T111" fmla="*/ 143 h 845"/>
                <a:gd name="T112" fmla="*/ 110 w 655"/>
                <a:gd name="T113" fmla="*/ 107 h 845"/>
                <a:gd name="T114" fmla="*/ 109 w 655"/>
                <a:gd name="T115" fmla="*/ 87 h 845"/>
                <a:gd name="T116" fmla="*/ 159 w 655"/>
                <a:gd name="T117" fmla="*/ 97 h 845"/>
                <a:gd name="T118" fmla="*/ 208 w 655"/>
                <a:gd name="T119" fmla="*/ 90 h 845"/>
                <a:gd name="T120" fmla="*/ 246 w 655"/>
                <a:gd name="T121" fmla="*/ 87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55" h="845">
                  <a:moveTo>
                    <a:pt x="244" y="30"/>
                  </a:moveTo>
                  <a:lnTo>
                    <a:pt x="244" y="30"/>
                  </a:lnTo>
                  <a:lnTo>
                    <a:pt x="244" y="28"/>
                  </a:lnTo>
                  <a:lnTo>
                    <a:pt x="245" y="28"/>
                  </a:lnTo>
                  <a:lnTo>
                    <a:pt x="245" y="28"/>
                  </a:lnTo>
                  <a:lnTo>
                    <a:pt x="249" y="21"/>
                  </a:lnTo>
                  <a:lnTo>
                    <a:pt x="254" y="18"/>
                  </a:lnTo>
                  <a:lnTo>
                    <a:pt x="258" y="17"/>
                  </a:lnTo>
                  <a:lnTo>
                    <a:pt x="258" y="17"/>
                  </a:lnTo>
                  <a:lnTo>
                    <a:pt x="262" y="18"/>
                  </a:lnTo>
                  <a:lnTo>
                    <a:pt x="265" y="17"/>
                  </a:lnTo>
                  <a:lnTo>
                    <a:pt x="268" y="17"/>
                  </a:lnTo>
                  <a:lnTo>
                    <a:pt x="276" y="20"/>
                  </a:lnTo>
                  <a:lnTo>
                    <a:pt x="285" y="17"/>
                  </a:lnTo>
                  <a:lnTo>
                    <a:pt x="297" y="13"/>
                  </a:lnTo>
                  <a:lnTo>
                    <a:pt x="307" y="17"/>
                  </a:lnTo>
                  <a:lnTo>
                    <a:pt x="311" y="11"/>
                  </a:lnTo>
                  <a:lnTo>
                    <a:pt x="322" y="8"/>
                  </a:lnTo>
                  <a:lnTo>
                    <a:pt x="328" y="4"/>
                  </a:lnTo>
                  <a:lnTo>
                    <a:pt x="331" y="3"/>
                  </a:lnTo>
                  <a:lnTo>
                    <a:pt x="335" y="7"/>
                  </a:lnTo>
                  <a:lnTo>
                    <a:pt x="335" y="10"/>
                  </a:lnTo>
                  <a:lnTo>
                    <a:pt x="341" y="8"/>
                  </a:lnTo>
                  <a:lnTo>
                    <a:pt x="347" y="4"/>
                  </a:lnTo>
                  <a:lnTo>
                    <a:pt x="352" y="0"/>
                  </a:lnTo>
                  <a:lnTo>
                    <a:pt x="357" y="4"/>
                  </a:lnTo>
                  <a:lnTo>
                    <a:pt x="358" y="7"/>
                  </a:lnTo>
                  <a:lnTo>
                    <a:pt x="361" y="11"/>
                  </a:lnTo>
                  <a:lnTo>
                    <a:pt x="357" y="20"/>
                  </a:lnTo>
                  <a:lnTo>
                    <a:pt x="358" y="26"/>
                  </a:lnTo>
                  <a:lnTo>
                    <a:pt x="364" y="33"/>
                  </a:lnTo>
                  <a:lnTo>
                    <a:pt x="365" y="37"/>
                  </a:lnTo>
                  <a:lnTo>
                    <a:pt x="365" y="43"/>
                  </a:lnTo>
                  <a:lnTo>
                    <a:pt x="365" y="46"/>
                  </a:lnTo>
                  <a:lnTo>
                    <a:pt x="371" y="54"/>
                  </a:lnTo>
                  <a:lnTo>
                    <a:pt x="375" y="63"/>
                  </a:lnTo>
                  <a:lnTo>
                    <a:pt x="378" y="63"/>
                  </a:lnTo>
                  <a:lnTo>
                    <a:pt x="381" y="58"/>
                  </a:lnTo>
                  <a:lnTo>
                    <a:pt x="382" y="57"/>
                  </a:lnTo>
                  <a:lnTo>
                    <a:pt x="385" y="56"/>
                  </a:lnTo>
                  <a:lnTo>
                    <a:pt x="388" y="56"/>
                  </a:lnTo>
                  <a:lnTo>
                    <a:pt x="390" y="60"/>
                  </a:lnTo>
                  <a:lnTo>
                    <a:pt x="390" y="67"/>
                  </a:lnTo>
                  <a:lnTo>
                    <a:pt x="397" y="71"/>
                  </a:lnTo>
                  <a:lnTo>
                    <a:pt x="400" y="73"/>
                  </a:lnTo>
                  <a:lnTo>
                    <a:pt x="405" y="73"/>
                  </a:lnTo>
                  <a:lnTo>
                    <a:pt x="417" y="74"/>
                  </a:lnTo>
                  <a:lnTo>
                    <a:pt x="430" y="73"/>
                  </a:lnTo>
                  <a:lnTo>
                    <a:pt x="435" y="77"/>
                  </a:lnTo>
                  <a:lnTo>
                    <a:pt x="438" y="79"/>
                  </a:lnTo>
                  <a:lnTo>
                    <a:pt x="441" y="80"/>
                  </a:lnTo>
                  <a:lnTo>
                    <a:pt x="441" y="83"/>
                  </a:lnTo>
                  <a:lnTo>
                    <a:pt x="434" y="97"/>
                  </a:lnTo>
                  <a:lnTo>
                    <a:pt x="434" y="104"/>
                  </a:lnTo>
                  <a:lnTo>
                    <a:pt x="443" y="116"/>
                  </a:lnTo>
                  <a:lnTo>
                    <a:pt x="468" y="121"/>
                  </a:lnTo>
                  <a:lnTo>
                    <a:pt x="473" y="129"/>
                  </a:lnTo>
                  <a:lnTo>
                    <a:pt x="476" y="129"/>
                  </a:lnTo>
                  <a:lnTo>
                    <a:pt x="478" y="130"/>
                  </a:lnTo>
                  <a:lnTo>
                    <a:pt x="480" y="131"/>
                  </a:lnTo>
                  <a:lnTo>
                    <a:pt x="480" y="131"/>
                  </a:lnTo>
                  <a:lnTo>
                    <a:pt x="481" y="133"/>
                  </a:lnTo>
                  <a:lnTo>
                    <a:pt x="481" y="137"/>
                  </a:lnTo>
                  <a:lnTo>
                    <a:pt x="481" y="143"/>
                  </a:lnTo>
                  <a:lnTo>
                    <a:pt x="481" y="143"/>
                  </a:lnTo>
                  <a:lnTo>
                    <a:pt x="481" y="146"/>
                  </a:lnTo>
                  <a:lnTo>
                    <a:pt x="480" y="147"/>
                  </a:lnTo>
                  <a:lnTo>
                    <a:pt x="476" y="149"/>
                  </a:lnTo>
                  <a:lnTo>
                    <a:pt x="471" y="150"/>
                  </a:lnTo>
                  <a:lnTo>
                    <a:pt x="471" y="153"/>
                  </a:lnTo>
                  <a:lnTo>
                    <a:pt x="471" y="156"/>
                  </a:lnTo>
                  <a:lnTo>
                    <a:pt x="476" y="160"/>
                  </a:lnTo>
                  <a:lnTo>
                    <a:pt x="477" y="166"/>
                  </a:lnTo>
                  <a:lnTo>
                    <a:pt x="477" y="169"/>
                  </a:lnTo>
                  <a:lnTo>
                    <a:pt x="477" y="173"/>
                  </a:lnTo>
                  <a:lnTo>
                    <a:pt x="477" y="179"/>
                  </a:lnTo>
                  <a:lnTo>
                    <a:pt x="478" y="184"/>
                  </a:lnTo>
                  <a:lnTo>
                    <a:pt x="483" y="186"/>
                  </a:lnTo>
                  <a:lnTo>
                    <a:pt x="487" y="183"/>
                  </a:lnTo>
                  <a:lnTo>
                    <a:pt x="491" y="183"/>
                  </a:lnTo>
                  <a:lnTo>
                    <a:pt x="494" y="183"/>
                  </a:lnTo>
                  <a:lnTo>
                    <a:pt x="496" y="183"/>
                  </a:lnTo>
                  <a:lnTo>
                    <a:pt x="498" y="184"/>
                  </a:lnTo>
                  <a:lnTo>
                    <a:pt x="503" y="187"/>
                  </a:lnTo>
                  <a:lnTo>
                    <a:pt x="507" y="187"/>
                  </a:lnTo>
                  <a:lnTo>
                    <a:pt x="510" y="186"/>
                  </a:lnTo>
                  <a:lnTo>
                    <a:pt x="516" y="184"/>
                  </a:lnTo>
                  <a:lnTo>
                    <a:pt x="520" y="184"/>
                  </a:lnTo>
                  <a:lnTo>
                    <a:pt x="523" y="183"/>
                  </a:lnTo>
                  <a:lnTo>
                    <a:pt x="526" y="182"/>
                  </a:lnTo>
                  <a:lnTo>
                    <a:pt x="529" y="180"/>
                  </a:lnTo>
                  <a:lnTo>
                    <a:pt x="533" y="179"/>
                  </a:lnTo>
                  <a:lnTo>
                    <a:pt x="537" y="179"/>
                  </a:lnTo>
                  <a:lnTo>
                    <a:pt x="534" y="187"/>
                  </a:lnTo>
                  <a:lnTo>
                    <a:pt x="533" y="193"/>
                  </a:lnTo>
                  <a:lnTo>
                    <a:pt x="533" y="199"/>
                  </a:lnTo>
                  <a:lnTo>
                    <a:pt x="530" y="202"/>
                  </a:lnTo>
                  <a:lnTo>
                    <a:pt x="526" y="205"/>
                  </a:lnTo>
                  <a:lnTo>
                    <a:pt x="521" y="210"/>
                  </a:lnTo>
                  <a:lnTo>
                    <a:pt x="523" y="216"/>
                  </a:lnTo>
                  <a:lnTo>
                    <a:pt x="526" y="217"/>
                  </a:lnTo>
                  <a:lnTo>
                    <a:pt x="533" y="222"/>
                  </a:lnTo>
                  <a:lnTo>
                    <a:pt x="540" y="223"/>
                  </a:lnTo>
                  <a:lnTo>
                    <a:pt x="549" y="232"/>
                  </a:lnTo>
                  <a:lnTo>
                    <a:pt x="550" y="236"/>
                  </a:lnTo>
                  <a:lnTo>
                    <a:pt x="551" y="239"/>
                  </a:lnTo>
                  <a:lnTo>
                    <a:pt x="556" y="245"/>
                  </a:lnTo>
                  <a:lnTo>
                    <a:pt x="559" y="245"/>
                  </a:lnTo>
                  <a:lnTo>
                    <a:pt x="561" y="248"/>
                  </a:lnTo>
                  <a:lnTo>
                    <a:pt x="569" y="250"/>
                  </a:lnTo>
                  <a:lnTo>
                    <a:pt x="576" y="258"/>
                  </a:lnTo>
                  <a:lnTo>
                    <a:pt x="577" y="262"/>
                  </a:lnTo>
                  <a:lnTo>
                    <a:pt x="580" y="270"/>
                  </a:lnTo>
                  <a:lnTo>
                    <a:pt x="583" y="268"/>
                  </a:lnTo>
                  <a:lnTo>
                    <a:pt x="584" y="266"/>
                  </a:lnTo>
                  <a:lnTo>
                    <a:pt x="589" y="263"/>
                  </a:lnTo>
                  <a:lnTo>
                    <a:pt x="593" y="260"/>
                  </a:lnTo>
                  <a:lnTo>
                    <a:pt x="596" y="263"/>
                  </a:lnTo>
                  <a:lnTo>
                    <a:pt x="603" y="269"/>
                  </a:lnTo>
                  <a:lnTo>
                    <a:pt x="606" y="270"/>
                  </a:lnTo>
                  <a:lnTo>
                    <a:pt x="609" y="273"/>
                  </a:lnTo>
                  <a:lnTo>
                    <a:pt x="612" y="275"/>
                  </a:lnTo>
                  <a:lnTo>
                    <a:pt x="612" y="279"/>
                  </a:lnTo>
                  <a:lnTo>
                    <a:pt x="610" y="285"/>
                  </a:lnTo>
                  <a:lnTo>
                    <a:pt x="613" y="286"/>
                  </a:lnTo>
                  <a:lnTo>
                    <a:pt x="616" y="289"/>
                  </a:lnTo>
                  <a:lnTo>
                    <a:pt x="619" y="293"/>
                  </a:lnTo>
                  <a:lnTo>
                    <a:pt x="623" y="296"/>
                  </a:lnTo>
                  <a:lnTo>
                    <a:pt x="624" y="296"/>
                  </a:lnTo>
                  <a:lnTo>
                    <a:pt x="627" y="293"/>
                  </a:lnTo>
                  <a:lnTo>
                    <a:pt x="633" y="292"/>
                  </a:lnTo>
                  <a:lnTo>
                    <a:pt x="635" y="288"/>
                  </a:lnTo>
                  <a:lnTo>
                    <a:pt x="639" y="290"/>
                  </a:lnTo>
                  <a:lnTo>
                    <a:pt x="643" y="295"/>
                  </a:lnTo>
                  <a:lnTo>
                    <a:pt x="646" y="298"/>
                  </a:lnTo>
                  <a:lnTo>
                    <a:pt x="650" y="302"/>
                  </a:lnTo>
                  <a:lnTo>
                    <a:pt x="655" y="305"/>
                  </a:lnTo>
                  <a:lnTo>
                    <a:pt x="653" y="311"/>
                  </a:lnTo>
                  <a:lnTo>
                    <a:pt x="653" y="316"/>
                  </a:lnTo>
                  <a:lnTo>
                    <a:pt x="649" y="318"/>
                  </a:lnTo>
                  <a:lnTo>
                    <a:pt x="646" y="322"/>
                  </a:lnTo>
                  <a:lnTo>
                    <a:pt x="643" y="321"/>
                  </a:lnTo>
                  <a:lnTo>
                    <a:pt x="640" y="319"/>
                  </a:lnTo>
                  <a:lnTo>
                    <a:pt x="637" y="319"/>
                  </a:lnTo>
                  <a:lnTo>
                    <a:pt x="636" y="318"/>
                  </a:lnTo>
                  <a:lnTo>
                    <a:pt x="635" y="322"/>
                  </a:lnTo>
                  <a:lnTo>
                    <a:pt x="633" y="332"/>
                  </a:lnTo>
                  <a:lnTo>
                    <a:pt x="626" y="338"/>
                  </a:lnTo>
                  <a:lnTo>
                    <a:pt x="624" y="345"/>
                  </a:lnTo>
                  <a:lnTo>
                    <a:pt x="617" y="342"/>
                  </a:lnTo>
                  <a:lnTo>
                    <a:pt x="613" y="343"/>
                  </a:lnTo>
                  <a:lnTo>
                    <a:pt x="613" y="346"/>
                  </a:lnTo>
                  <a:lnTo>
                    <a:pt x="616" y="351"/>
                  </a:lnTo>
                  <a:lnTo>
                    <a:pt x="620" y="356"/>
                  </a:lnTo>
                  <a:lnTo>
                    <a:pt x="620" y="361"/>
                  </a:lnTo>
                  <a:lnTo>
                    <a:pt x="619" y="364"/>
                  </a:lnTo>
                  <a:lnTo>
                    <a:pt x="616" y="365"/>
                  </a:lnTo>
                  <a:lnTo>
                    <a:pt x="610" y="368"/>
                  </a:lnTo>
                  <a:lnTo>
                    <a:pt x="596" y="376"/>
                  </a:lnTo>
                  <a:lnTo>
                    <a:pt x="594" y="381"/>
                  </a:lnTo>
                  <a:lnTo>
                    <a:pt x="597" y="381"/>
                  </a:lnTo>
                  <a:lnTo>
                    <a:pt x="604" y="382"/>
                  </a:lnTo>
                  <a:lnTo>
                    <a:pt x="609" y="382"/>
                  </a:lnTo>
                  <a:lnTo>
                    <a:pt x="614" y="381"/>
                  </a:lnTo>
                  <a:lnTo>
                    <a:pt x="622" y="378"/>
                  </a:lnTo>
                  <a:lnTo>
                    <a:pt x="624" y="378"/>
                  </a:lnTo>
                  <a:lnTo>
                    <a:pt x="622" y="384"/>
                  </a:lnTo>
                  <a:lnTo>
                    <a:pt x="622" y="389"/>
                  </a:lnTo>
                  <a:lnTo>
                    <a:pt x="626" y="394"/>
                  </a:lnTo>
                  <a:lnTo>
                    <a:pt x="629" y="395"/>
                  </a:lnTo>
                  <a:lnTo>
                    <a:pt x="633" y="396"/>
                  </a:lnTo>
                  <a:lnTo>
                    <a:pt x="632" y="398"/>
                  </a:lnTo>
                  <a:lnTo>
                    <a:pt x="630" y="401"/>
                  </a:lnTo>
                  <a:lnTo>
                    <a:pt x="626" y="401"/>
                  </a:lnTo>
                  <a:lnTo>
                    <a:pt x="623" y="401"/>
                  </a:lnTo>
                  <a:lnTo>
                    <a:pt x="617" y="401"/>
                  </a:lnTo>
                  <a:lnTo>
                    <a:pt x="610" y="401"/>
                  </a:lnTo>
                  <a:lnTo>
                    <a:pt x="586" y="396"/>
                  </a:lnTo>
                  <a:lnTo>
                    <a:pt x="579" y="395"/>
                  </a:lnTo>
                  <a:lnTo>
                    <a:pt x="572" y="401"/>
                  </a:lnTo>
                  <a:lnTo>
                    <a:pt x="569" y="402"/>
                  </a:lnTo>
                  <a:lnTo>
                    <a:pt x="561" y="402"/>
                  </a:lnTo>
                  <a:lnTo>
                    <a:pt x="557" y="402"/>
                  </a:lnTo>
                  <a:lnTo>
                    <a:pt x="551" y="404"/>
                  </a:lnTo>
                  <a:lnTo>
                    <a:pt x="543" y="402"/>
                  </a:lnTo>
                  <a:lnTo>
                    <a:pt x="543" y="398"/>
                  </a:lnTo>
                  <a:lnTo>
                    <a:pt x="544" y="394"/>
                  </a:lnTo>
                  <a:lnTo>
                    <a:pt x="533" y="395"/>
                  </a:lnTo>
                  <a:lnTo>
                    <a:pt x="530" y="394"/>
                  </a:lnTo>
                  <a:lnTo>
                    <a:pt x="526" y="396"/>
                  </a:lnTo>
                  <a:lnTo>
                    <a:pt x="517" y="399"/>
                  </a:lnTo>
                  <a:lnTo>
                    <a:pt x="513" y="405"/>
                  </a:lnTo>
                  <a:lnTo>
                    <a:pt x="514" y="408"/>
                  </a:lnTo>
                  <a:lnTo>
                    <a:pt x="516" y="412"/>
                  </a:lnTo>
                  <a:lnTo>
                    <a:pt x="519" y="419"/>
                  </a:lnTo>
                  <a:lnTo>
                    <a:pt x="519" y="425"/>
                  </a:lnTo>
                  <a:lnTo>
                    <a:pt x="514" y="427"/>
                  </a:lnTo>
                  <a:lnTo>
                    <a:pt x="511" y="428"/>
                  </a:lnTo>
                  <a:lnTo>
                    <a:pt x="503" y="428"/>
                  </a:lnTo>
                  <a:lnTo>
                    <a:pt x="496" y="428"/>
                  </a:lnTo>
                  <a:lnTo>
                    <a:pt x="490" y="428"/>
                  </a:lnTo>
                  <a:lnTo>
                    <a:pt x="488" y="427"/>
                  </a:lnTo>
                  <a:lnTo>
                    <a:pt x="486" y="419"/>
                  </a:lnTo>
                  <a:lnTo>
                    <a:pt x="490" y="415"/>
                  </a:lnTo>
                  <a:lnTo>
                    <a:pt x="486" y="406"/>
                  </a:lnTo>
                  <a:lnTo>
                    <a:pt x="477" y="408"/>
                  </a:lnTo>
                  <a:lnTo>
                    <a:pt x="478" y="404"/>
                  </a:lnTo>
                  <a:lnTo>
                    <a:pt x="483" y="399"/>
                  </a:lnTo>
                  <a:lnTo>
                    <a:pt x="486" y="395"/>
                  </a:lnTo>
                  <a:lnTo>
                    <a:pt x="486" y="391"/>
                  </a:lnTo>
                  <a:lnTo>
                    <a:pt x="487" y="386"/>
                  </a:lnTo>
                  <a:lnTo>
                    <a:pt x="486" y="381"/>
                  </a:lnTo>
                  <a:lnTo>
                    <a:pt x="481" y="375"/>
                  </a:lnTo>
                  <a:lnTo>
                    <a:pt x="480" y="374"/>
                  </a:lnTo>
                  <a:lnTo>
                    <a:pt x="478" y="376"/>
                  </a:lnTo>
                  <a:lnTo>
                    <a:pt x="477" y="376"/>
                  </a:lnTo>
                  <a:lnTo>
                    <a:pt x="476" y="376"/>
                  </a:lnTo>
                  <a:lnTo>
                    <a:pt x="476" y="376"/>
                  </a:lnTo>
                  <a:lnTo>
                    <a:pt x="474" y="378"/>
                  </a:lnTo>
                  <a:lnTo>
                    <a:pt x="474" y="378"/>
                  </a:lnTo>
                  <a:lnTo>
                    <a:pt x="474" y="379"/>
                  </a:lnTo>
                  <a:lnTo>
                    <a:pt x="464" y="382"/>
                  </a:lnTo>
                  <a:lnTo>
                    <a:pt x="461" y="386"/>
                  </a:lnTo>
                  <a:lnTo>
                    <a:pt x="458" y="391"/>
                  </a:lnTo>
                  <a:lnTo>
                    <a:pt x="450" y="394"/>
                  </a:lnTo>
                  <a:lnTo>
                    <a:pt x="444" y="394"/>
                  </a:lnTo>
                  <a:lnTo>
                    <a:pt x="443" y="389"/>
                  </a:lnTo>
                  <a:lnTo>
                    <a:pt x="441" y="385"/>
                  </a:lnTo>
                  <a:lnTo>
                    <a:pt x="441" y="384"/>
                  </a:lnTo>
                  <a:lnTo>
                    <a:pt x="444" y="381"/>
                  </a:lnTo>
                  <a:lnTo>
                    <a:pt x="450" y="379"/>
                  </a:lnTo>
                  <a:lnTo>
                    <a:pt x="457" y="376"/>
                  </a:lnTo>
                  <a:lnTo>
                    <a:pt x="458" y="375"/>
                  </a:lnTo>
                  <a:lnTo>
                    <a:pt x="461" y="369"/>
                  </a:lnTo>
                  <a:lnTo>
                    <a:pt x="466" y="368"/>
                  </a:lnTo>
                  <a:lnTo>
                    <a:pt x="473" y="366"/>
                  </a:lnTo>
                  <a:lnTo>
                    <a:pt x="476" y="364"/>
                  </a:lnTo>
                  <a:lnTo>
                    <a:pt x="478" y="359"/>
                  </a:lnTo>
                  <a:lnTo>
                    <a:pt x="480" y="355"/>
                  </a:lnTo>
                  <a:lnTo>
                    <a:pt x="478" y="345"/>
                  </a:lnTo>
                  <a:lnTo>
                    <a:pt x="473" y="339"/>
                  </a:lnTo>
                  <a:lnTo>
                    <a:pt x="466" y="335"/>
                  </a:lnTo>
                  <a:lnTo>
                    <a:pt x="461" y="332"/>
                  </a:lnTo>
                  <a:lnTo>
                    <a:pt x="460" y="329"/>
                  </a:lnTo>
                  <a:lnTo>
                    <a:pt x="458" y="328"/>
                  </a:lnTo>
                  <a:lnTo>
                    <a:pt x="451" y="321"/>
                  </a:lnTo>
                  <a:lnTo>
                    <a:pt x="447" y="316"/>
                  </a:lnTo>
                  <a:lnTo>
                    <a:pt x="440" y="316"/>
                  </a:lnTo>
                  <a:lnTo>
                    <a:pt x="434" y="315"/>
                  </a:lnTo>
                  <a:lnTo>
                    <a:pt x="425" y="313"/>
                  </a:lnTo>
                  <a:lnTo>
                    <a:pt x="424" y="309"/>
                  </a:lnTo>
                  <a:lnTo>
                    <a:pt x="418" y="308"/>
                  </a:lnTo>
                  <a:lnTo>
                    <a:pt x="413" y="312"/>
                  </a:lnTo>
                  <a:lnTo>
                    <a:pt x="410" y="316"/>
                  </a:lnTo>
                  <a:lnTo>
                    <a:pt x="408" y="323"/>
                  </a:lnTo>
                  <a:lnTo>
                    <a:pt x="408" y="333"/>
                  </a:lnTo>
                  <a:lnTo>
                    <a:pt x="388" y="335"/>
                  </a:lnTo>
                  <a:lnTo>
                    <a:pt x="385" y="342"/>
                  </a:lnTo>
                  <a:lnTo>
                    <a:pt x="385" y="348"/>
                  </a:lnTo>
                  <a:lnTo>
                    <a:pt x="382" y="353"/>
                  </a:lnTo>
                  <a:lnTo>
                    <a:pt x="378" y="355"/>
                  </a:lnTo>
                  <a:lnTo>
                    <a:pt x="368" y="361"/>
                  </a:lnTo>
                  <a:lnTo>
                    <a:pt x="368" y="371"/>
                  </a:lnTo>
                  <a:lnTo>
                    <a:pt x="368" y="381"/>
                  </a:lnTo>
                  <a:lnTo>
                    <a:pt x="372" y="385"/>
                  </a:lnTo>
                  <a:lnTo>
                    <a:pt x="375" y="386"/>
                  </a:lnTo>
                  <a:lnTo>
                    <a:pt x="382" y="396"/>
                  </a:lnTo>
                  <a:lnTo>
                    <a:pt x="385" y="402"/>
                  </a:lnTo>
                  <a:lnTo>
                    <a:pt x="385" y="406"/>
                  </a:lnTo>
                  <a:lnTo>
                    <a:pt x="384" y="411"/>
                  </a:lnTo>
                  <a:lnTo>
                    <a:pt x="384" y="418"/>
                  </a:lnTo>
                  <a:lnTo>
                    <a:pt x="390" y="422"/>
                  </a:lnTo>
                  <a:lnTo>
                    <a:pt x="390" y="428"/>
                  </a:lnTo>
                  <a:lnTo>
                    <a:pt x="385" y="434"/>
                  </a:lnTo>
                  <a:lnTo>
                    <a:pt x="385" y="438"/>
                  </a:lnTo>
                  <a:lnTo>
                    <a:pt x="385" y="441"/>
                  </a:lnTo>
                  <a:lnTo>
                    <a:pt x="387" y="445"/>
                  </a:lnTo>
                  <a:lnTo>
                    <a:pt x="390" y="449"/>
                  </a:lnTo>
                  <a:lnTo>
                    <a:pt x="390" y="455"/>
                  </a:lnTo>
                  <a:lnTo>
                    <a:pt x="392" y="458"/>
                  </a:lnTo>
                  <a:lnTo>
                    <a:pt x="394" y="461"/>
                  </a:lnTo>
                  <a:lnTo>
                    <a:pt x="397" y="464"/>
                  </a:lnTo>
                  <a:lnTo>
                    <a:pt x="403" y="465"/>
                  </a:lnTo>
                  <a:lnTo>
                    <a:pt x="410" y="465"/>
                  </a:lnTo>
                  <a:lnTo>
                    <a:pt x="414" y="464"/>
                  </a:lnTo>
                  <a:lnTo>
                    <a:pt x="415" y="459"/>
                  </a:lnTo>
                  <a:lnTo>
                    <a:pt x="418" y="458"/>
                  </a:lnTo>
                  <a:lnTo>
                    <a:pt x="423" y="458"/>
                  </a:lnTo>
                  <a:lnTo>
                    <a:pt x="425" y="458"/>
                  </a:lnTo>
                  <a:lnTo>
                    <a:pt x="430" y="461"/>
                  </a:lnTo>
                  <a:lnTo>
                    <a:pt x="437" y="462"/>
                  </a:lnTo>
                  <a:lnTo>
                    <a:pt x="441" y="464"/>
                  </a:lnTo>
                  <a:lnTo>
                    <a:pt x="443" y="471"/>
                  </a:lnTo>
                  <a:lnTo>
                    <a:pt x="445" y="481"/>
                  </a:lnTo>
                  <a:lnTo>
                    <a:pt x="450" y="487"/>
                  </a:lnTo>
                  <a:lnTo>
                    <a:pt x="454" y="490"/>
                  </a:lnTo>
                  <a:lnTo>
                    <a:pt x="460" y="490"/>
                  </a:lnTo>
                  <a:lnTo>
                    <a:pt x="463" y="488"/>
                  </a:lnTo>
                  <a:lnTo>
                    <a:pt x="468" y="485"/>
                  </a:lnTo>
                  <a:lnTo>
                    <a:pt x="474" y="488"/>
                  </a:lnTo>
                  <a:lnTo>
                    <a:pt x="480" y="492"/>
                  </a:lnTo>
                  <a:lnTo>
                    <a:pt x="487" y="491"/>
                  </a:lnTo>
                  <a:lnTo>
                    <a:pt x="497" y="488"/>
                  </a:lnTo>
                  <a:lnTo>
                    <a:pt x="501" y="494"/>
                  </a:lnTo>
                  <a:lnTo>
                    <a:pt x="510" y="502"/>
                  </a:lnTo>
                  <a:lnTo>
                    <a:pt x="517" y="501"/>
                  </a:lnTo>
                  <a:lnTo>
                    <a:pt x="530" y="498"/>
                  </a:lnTo>
                  <a:lnTo>
                    <a:pt x="537" y="501"/>
                  </a:lnTo>
                  <a:lnTo>
                    <a:pt x="544" y="495"/>
                  </a:lnTo>
                  <a:lnTo>
                    <a:pt x="547" y="491"/>
                  </a:lnTo>
                  <a:lnTo>
                    <a:pt x="560" y="490"/>
                  </a:lnTo>
                  <a:lnTo>
                    <a:pt x="567" y="491"/>
                  </a:lnTo>
                  <a:lnTo>
                    <a:pt x="572" y="495"/>
                  </a:lnTo>
                  <a:lnTo>
                    <a:pt x="576" y="498"/>
                  </a:lnTo>
                  <a:lnTo>
                    <a:pt x="577" y="505"/>
                  </a:lnTo>
                  <a:lnTo>
                    <a:pt x="587" y="507"/>
                  </a:lnTo>
                  <a:lnTo>
                    <a:pt x="593" y="511"/>
                  </a:lnTo>
                  <a:lnTo>
                    <a:pt x="580" y="512"/>
                  </a:lnTo>
                  <a:lnTo>
                    <a:pt x="574" y="512"/>
                  </a:lnTo>
                  <a:lnTo>
                    <a:pt x="573" y="514"/>
                  </a:lnTo>
                  <a:lnTo>
                    <a:pt x="572" y="527"/>
                  </a:lnTo>
                  <a:lnTo>
                    <a:pt x="563" y="530"/>
                  </a:lnTo>
                  <a:lnTo>
                    <a:pt x="559" y="533"/>
                  </a:lnTo>
                  <a:lnTo>
                    <a:pt x="553" y="537"/>
                  </a:lnTo>
                  <a:lnTo>
                    <a:pt x="549" y="535"/>
                  </a:lnTo>
                  <a:lnTo>
                    <a:pt x="536" y="543"/>
                  </a:lnTo>
                  <a:lnTo>
                    <a:pt x="531" y="547"/>
                  </a:lnTo>
                  <a:lnTo>
                    <a:pt x="530" y="554"/>
                  </a:lnTo>
                  <a:lnTo>
                    <a:pt x="516" y="561"/>
                  </a:lnTo>
                  <a:lnTo>
                    <a:pt x="516" y="565"/>
                  </a:lnTo>
                  <a:lnTo>
                    <a:pt x="519" y="568"/>
                  </a:lnTo>
                  <a:lnTo>
                    <a:pt x="524" y="575"/>
                  </a:lnTo>
                  <a:lnTo>
                    <a:pt x="523" y="580"/>
                  </a:lnTo>
                  <a:lnTo>
                    <a:pt x="511" y="581"/>
                  </a:lnTo>
                  <a:lnTo>
                    <a:pt x="507" y="586"/>
                  </a:lnTo>
                  <a:lnTo>
                    <a:pt x="504" y="590"/>
                  </a:lnTo>
                  <a:lnTo>
                    <a:pt x="501" y="597"/>
                  </a:lnTo>
                  <a:lnTo>
                    <a:pt x="498" y="596"/>
                  </a:lnTo>
                  <a:lnTo>
                    <a:pt x="496" y="593"/>
                  </a:lnTo>
                  <a:lnTo>
                    <a:pt x="494" y="590"/>
                  </a:lnTo>
                  <a:lnTo>
                    <a:pt x="491" y="584"/>
                  </a:lnTo>
                  <a:lnTo>
                    <a:pt x="490" y="578"/>
                  </a:lnTo>
                  <a:lnTo>
                    <a:pt x="487" y="573"/>
                  </a:lnTo>
                  <a:lnTo>
                    <a:pt x="484" y="571"/>
                  </a:lnTo>
                  <a:lnTo>
                    <a:pt x="481" y="568"/>
                  </a:lnTo>
                  <a:lnTo>
                    <a:pt x="476" y="568"/>
                  </a:lnTo>
                  <a:lnTo>
                    <a:pt x="471" y="571"/>
                  </a:lnTo>
                  <a:lnTo>
                    <a:pt x="463" y="571"/>
                  </a:lnTo>
                  <a:lnTo>
                    <a:pt x="450" y="578"/>
                  </a:lnTo>
                  <a:lnTo>
                    <a:pt x="445" y="580"/>
                  </a:lnTo>
                  <a:lnTo>
                    <a:pt x="441" y="583"/>
                  </a:lnTo>
                  <a:lnTo>
                    <a:pt x="438" y="586"/>
                  </a:lnTo>
                  <a:lnTo>
                    <a:pt x="433" y="581"/>
                  </a:lnTo>
                  <a:lnTo>
                    <a:pt x="423" y="574"/>
                  </a:lnTo>
                  <a:lnTo>
                    <a:pt x="420" y="577"/>
                  </a:lnTo>
                  <a:lnTo>
                    <a:pt x="411" y="590"/>
                  </a:lnTo>
                  <a:lnTo>
                    <a:pt x="404" y="597"/>
                  </a:lnTo>
                  <a:lnTo>
                    <a:pt x="401" y="601"/>
                  </a:lnTo>
                  <a:lnTo>
                    <a:pt x="395" y="604"/>
                  </a:lnTo>
                  <a:lnTo>
                    <a:pt x="392" y="610"/>
                  </a:lnTo>
                  <a:lnTo>
                    <a:pt x="388" y="617"/>
                  </a:lnTo>
                  <a:lnTo>
                    <a:pt x="387" y="618"/>
                  </a:lnTo>
                  <a:lnTo>
                    <a:pt x="381" y="616"/>
                  </a:lnTo>
                  <a:lnTo>
                    <a:pt x="372" y="613"/>
                  </a:lnTo>
                  <a:lnTo>
                    <a:pt x="371" y="617"/>
                  </a:lnTo>
                  <a:lnTo>
                    <a:pt x="368" y="621"/>
                  </a:lnTo>
                  <a:lnTo>
                    <a:pt x="374" y="623"/>
                  </a:lnTo>
                  <a:lnTo>
                    <a:pt x="377" y="627"/>
                  </a:lnTo>
                  <a:lnTo>
                    <a:pt x="375" y="633"/>
                  </a:lnTo>
                  <a:lnTo>
                    <a:pt x="368" y="646"/>
                  </a:lnTo>
                  <a:lnTo>
                    <a:pt x="360" y="654"/>
                  </a:lnTo>
                  <a:lnTo>
                    <a:pt x="352" y="659"/>
                  </a:lnTo>
                  <a:lnTo>
                    <a:pt x="350" y="663"/>
                  </a:lnTo>
                  <a:lnTo>
                    <a:pt x="347" y="674"/>
                  </a:lnTo>
                  <a:lnTo>
                    <a:pt x="347" y="677"/>
                  </a:lnTo>
                  <a:lnTo>
                    <a:pt x="342" y="691"/>
                  </a:lnTo>
                  <a:lnTo>
                    <a:pt x="334" y="694"/>
                  </a:lnTo>
                  <a:lnTo>
                    <a:pt x="328" y="696"/>
                  </a:lnTo>
                  <a:lnTo>
                    <a:pt x="324" y="697"/>
                  </a:lnTo>
                  <a:lnTo>
                    <a:pt x="317" y="702"/>
                  </a:lnTo>
                  <a:lnTo>
                    <a:pt x="308" y="710"/>
                  </a:lnTo>
                  <a:lnTo>
                    <a:pt x="304" y="713"/>
                  </a:lnTo>
                  <a:lnTo>
                    <a:pt x="298" y="720"/>
                  </a:lnTo>
                  <a:lnTo>
                    <a:pt x="295" y="726"/>
                  </a:lnTo>
                  <a:lnTo>
                    <a:pt x="282" y="749"/>
                  </a:lnTo>
                  <a:lnTo>
                    <a:pt x="279" y="756"/>
                  </a:lnTo>
                  <a:lnTo>
                    <a:pt x="274" y="753"/>
                  </a:lnTo>
                  <a:lnTo>
                    <a:pt x="265" y="762"/>
                  </a:lnTo>
                  <a:lnTo>
                    <a:pt x="262" y="800"/>
                  </a:lnTo>
                  <a:lnTo>
                    <a:pt x="245" y="785"/>
                  </a:lnTo>
                  <a:lnTo>
                    <a:pt x="244" y="785"/>
                  </a:lnTo>
                  <a:lnTo>
                    <a:pt x="228" y="792"/>
                  </a:lnTo>
                  <a:lnTo>
                    <a:pt x="219" y="803"/>
                  </a:lnTo>
                  <a:lnTo>
                    <a:pt x="226" y="810"/>
                  </a:lnTo>
                  <a:lnTo>
                    <a:pt x="219" y="819"/>
                  </a:lnTo>
                  <a:lnTo>
                    <a:pt x="211" y="815"/>
                  </a:lnTo>
                  <a:lnTo>
                    <a:pt x="208" y="826"/>
                  </a:lnTo>
                  <a:lnTo>
                    <a:pt x="202" y="835"/>
                  </a:lnTo>
                  <a:lnTo>
                    <a:pt x="198" y="840"/>
                  </a:lnTo>
                  <a:lnTo>
                    <a:pt x="195" y="842"/>
                  </a:lnTo>
                  <a:lnTo>
                    <a:pt x="189" y="843"/>
                  </a:lnTo>
                  <a:lnTo>
                    <a:pt x="185" y="845"/>
                  </a:lnTo>
                  <a:lnTo>
                    <a:pt x="179" y="843"/>
                  </a:lnTo>
                  <a:lnTo>
                    <a:pt x="173" y="842"/>
                  </a:lnTo>
                  <a:lnTo>
                    <a:pt x="170" y="836"/>
                  </a:lnTo>
                  <a:lnTo>
                    <a:pt x="166" y="836"/>
                  </a:lnTo>
                  <a:lnTo>
                    <a:pt x="162" y="833"/>
                  </a:lnTo>
                  <a:lnTo>
                    <a:pt x="160" y="832"/>
                  </a:lnTo>
                  <a:lnTo>
                    <a:pt x="146" y="830"/>
                  </a:lnTo>
                  <a:lnTo>
                    <a:pt x="143" y="828"/>
                  </a:lnTo>
                  <a:lnTo>
                    <a:pt x="143" y="823"/>
                  </a:lnTo>
                  <a:lnTo>
                    <a:pt x="142" y="815"/>
                  </a:lnTo>
                  <a:lnTo>
                    <a:pt x="136" y="799"/>
                  </a:lnTo>
                  <a:lnTo>
                    <a:pt x="135" y="793"/>
                  </a:lnTo>
                  <a:lnTo>
                    <a:pt x="126" y="787"/>
                  </a:lnTo>
                  <a:lnTo>
                    <a:pt x="123" y="785"/>
                  </a:lnTo>
                  <a:lnTo>
                    <a:pt x="120" y="780"/>
                  </a:lnTo>
                  <a:lnTo>
                    <a:pt x="115" y="779"/>
                  </a:lnTo>
                  <a:lnTo>
                    <a:pt x="112" y="779"/>
                  </a:lnTo>
                  <a:lnTo>
                    <a:pt x="107" y="782"/>
                  </a:lnTo>
                  <a:lnTo>
                    <a:pt x="106" y="787"/>
                  </a:lnTo>
                  <a:lnTo>
                    <a:pt x="102" y="790"/>
                  </a:lnTo>
                  <a:lnTo>
                    <a:pt x="96" y="792"/>
                  </a:lnTo>
                  <a:lnTo>
                    <a:pt x="92" y="790"/>
                  </a:lnTo>
                  <a:lnTo>
                    <a:pt x="87" y="786"/>
                  </a:lnTo>
                  <a:lnTo>
                    <a:pt x="83" y="782"/>
                  </a:lnTo>
                  <a:lnTo>
                    <a:pt x="80" y="783"/>
                  </a:lnTo>
                  <a:lnTo>
                    <a:pt x="77" y="786"/>
                  </a:lnTo>
                  <a:lnTo>
                    <a:pt x="69" y="786"/>
                  </a:lnTo>
                  <a:lnTo>
                    <a:pt x="65" y="787"/>
                  </a:lnTo>
                  <a:lnTo>
                    <a:pt x="50" y="786"/>
                  </a:lnTo>
                  <a:lnTo>
                    <a:pt x="50" y="785"/>
                  </a:lnTo>
                  <a:lnTo>
                    <a:pt x="47" y="780"/>
                  </a:lnTo>
                  <a:lnTo>
                    <a:pt x="46" y="775"/>
                  </a:lnTo>
                  <a:lnTo>
                    <a:pt x="44" y="767"/>
                  </a:lnTo>
                  <a:lnTo>
                    <a:pt x="49" y="763"/>
                  </a:lnTo>
                  <a:lnTo>
                    <a:pt x="54" y="757"/>
                  </a:lnTo>
                  <a:lnTo>
                    <a:pt x="57" y="755"/>
                  </a:lnTo>
                  <a:lnTo>
                    <a:pt x="50" y="749"/>
                  </a:lnTo>
                  <a:lnTo>
                    <a:pt x="46" y="746"/>
                  </a:lnTo>
                  <a:lnTo>
                    <a:pt x="44" y="740"/>
                  </a:lnTo>
                  <a:lnTo>
                    <a:pt x="39" y="736"/>
                  </a:lnTo>
                  <a:lnTo>
                    <a:pt x="37" y="744"/>
                  </a:lnTo>
                  <a:lnTo>
                    <a:pt x="37" y="747"/>
                  </a:lnTo>
                  <a:lnTo>
                    <a:pt x="36" y="753"/>
                  </a:lnTo>
                  <a:lnTo>
                    <a:pt x="36" y="756"/>
                  </a:lnTo>
                  <a:lnTo>
                    <a:pt x="29" y="757"/>
                  </a:lnTo>
                  <a:lnTo>
                    <a:pt x="26" y="759"/>
                  </a:lnTo>
                  <a:lnTo>
                    <a:pt x="17" y="763"/>
                  </a:lnTo>
                  <a:lnTo>
                    <a:pt x="14" y="759"/>
                  </a:lnTo>
                  <a:lnTo>
                    <a:pt x="24" y="750"/>
                  </a:lnTo>
                  <a:lnTo>
                    <a:pt x="26" y="746"/>
                  </a:lnTo>
                  <a:lnTo>
                    <a:pt x="29" y="739"/>
                  </a:lnTo>
                  <a:lnTo>
                    <a:pt x="29" y="724"/>
                  </a:lnTo>
                  <a:lnTo>
                    <a:pt x="32" y="722"/>
                  </a:lnTo>
                  <a:lnTo>
                    <a:pt x="40" y="713"/>
                  </a:lnTo>
                  <a:lnTo>
                    <a:pt x="42" y="712"/>
                  </a:lnTo>
                  <a:lnTo>
                    <a:pt x="46" y="709"/>
                  </a:lnTo>
                  <a:lnTo>
                    <a:pt x="52" y="712"/>
                  </a:lnTo>
                  <a:lnTo>
                    <a:pt x="56" y="712"/>
                  </a:lnTo>
                  <a:lnTo>
                    <a:pt x="56" y="707"/>
                  </a:lnTo>
                  <a:lnTo>
                    <a:pt x="53" y="703"/>
                  </a:lnTo>
                  <a:lnTo>
                    <a:pt x="54" y="697"/>
                  </a:lnTo>
                  <a:lnTo>
                    <a:pt x="60" y="691"/>
                  </a:lnTo>
                  <a:lnTo>
                    <a:pt x="62" y="689"/>
                  </a:lnTo>
                  <a:lnTo>
                    <a:pt x="56" y="680"/>
                  </a:lnTo>
                  <a:lnTo>
                    <a:pt x="54" y="674"/>
                  </a:lnTo>
                  <a:lnTo>
                    <a:pt x="52" y="673"/>
                  </a:lnTo>
                  <a:lnTo>
                    <a:pt x="49" y="673"/>
                  </a:lnTo>
                  <a:lnTo>
                    <a:pt x="46" y="676"/>
                  </a:lnTo>
                  <a:lnTo>
                    <a:pt x="42" y="677"/>
                  </a:lnTo>
                  <a:lnTo>
                    <a:pt x="40" y="671"/>
                  </a:lnTo>
                  <a:lnTo>
                    <a:pt x="42" y="669"/>
                  </a:lnTo>
                  <a:lnTo>
                    <a:pt x="46" y="669"/>
                  </a:lnTo>
                  <a:lnTo>
                    <a:pt x="53" y="666"/>
                  </a:lnTo>
                  <a:lnTo>
                    <a:pt x="56" y="664"/>
                  </a:lnTo>
                  <a:lnTo>
                    <a:pt x="54" y="663"/>
                  </a:lnTo>
                  <a:lnTo>
                    <a:pt x="46" y="663"/>
                  </a:lnTo>
                  <a:lnTo>
                    <a:pt x="37" y="663"/>
                  </a:lnTo>
                  <a:lnTo>
                    <a:pt x="32" y="661"/>
                  </a:lnTo>
                  <a:lnTo>
                    <a:pt x="30" y="657"/>
                  </a:lnTo>
                  <a:lnTo>
                    <a:pt x="32" y="647"/>
                  </a:lnTo>
                  <a:lnTo>
                    <a:pt x="34" y="646"/>
                  </a:lnTo>
                  <a:lnTo>
                    <a:pt x="37" y="644"/>
                  </a:lnTo>
                  <a:lnTo>
                    <a:pt x="42" y="646"/>
                  </a:lnTo>
                  <a:lnTo>
                    <a:pt x="46" y="646"/>
                  </a:lnTo>
                  <a:lnTo>
                    <a:pt x="49" y="647"/>
                  </a:lnTo>
                  <a:lnTo>
                    <a:pt x="54" y="649"/>
                  </a:lnTo>
                  <a:lnTo>
                    <a:pt x="63" y="647"/>
                  </a:lnTo>
                  <a:lnTo>
                    <a:pt x="69" y="640"/>
                  </a:lnTo>
                  <a:lnTo>
                    <a:pt x="75" y="636"/>
                  </a:lnTo>
                  <a:lnTo>
                    <a:pt x="77" y="630"/>
                  </a:lnTo>
                  <a:lnTo>
                    <a:pt x="75" y="624"/>
                  </a:lnTo>
                  <a:lnTo>
                    <a:pt x="73" y="621"/>
                  </a:lnTo>
                  <a:lnTo>
                    <a:pt x="76" y="617"/>
                  </a:lnTo>
                  <a:lnTo>
                    <a:pt x="77" y="614"/>
                  </a:lnTo>
                  <a:lnTo>
                    <a:pt x="83" y="613"/>
                  </a:lnTo>
                  <a:lnTo>
                    <a:pt x="90" y="611"/>
                  </a:lnTo>
                  <a:lnTo>
                    <a:pt x="90" y="607"/>
                  </a:lnTo>
                  <a:lnTo>
                    <a:pt x="83" y="606"/>
                  </a:lnTo>
                  <a:lnTo>
                    <a:pt x="80" y="603"/>
                  </a:lnTo>
                  <a:lnTo>
                    <a:pt x="76" y="600"/>
                  </a:lnTo>
                  <a:lnTo>
                    <a:pt x="75" y="598"/>
                  </a:lnTo>
                  <a:lnTo>
                    <a:pt x="76" y="591"/>
                  </a:lnTo>
                  <a:lnTo>
                    <a:pt x="72" y="590"/>
                  </a:lnTo>
                  <a:lnTo>
                    <a:pt x="66" y="588"/>
                  </a:lnTo>
                  <a:lnTo>
                    <a:pt x="62" y="588"/>
                  </a:lnTo>
                  <a:lnTo>
                    <a:pt x="49" y="591"/>
                  </a:lnTo>
                  <a:lnTo>
                    <a:pt x="42" y="593"/>
                  </a:lnTo>
                  <a:lnTo>
                    <a:pt x="37" y="594"/>
                  </a:lnTo>
                  <a:lnTo>
                    <a:pt x="24" y="598"/>
                  </a:lnTo>
                  <a:lnTo>
                    <a:pt x="17" y="594"/>
                  </a:lnTo>
                  <a:lnTo>
                    <a:pt x="22" y="590"/>
                  </a:lnTo>
                  <a:lnTo>
                    <a:pt x="22" y="586"/>
                  </a:lnTo>
                  <a:lnTo>
                    <a:pt x="16" y="591"/>
                  </a:lnTo>
                  <a:lnTo>
                    <a:pt x="13" y="590"/>
                  </a:lnTo>
                  <a:lnTo>
                    <a:pt x="12" y="587"/>
                  </a:lnTo>
                  <a:lnTo>
                    <a:pt x="12" y="583"/>
                  </a:lnTo>
                  <a:lnTo>
                    <a:pt x="13" y="577"/>
                  </a:lnTo>
                  <a:lnTo>
                    <a:pt x="7" y="573"/>
                  </a:lnTo>
                  <a:lnTo>
                    <a:pt x="9" y="564"/>
                  </a:lnTo>
                  <a:lnTo>
                    <a:pt x="9" y="555"/>
                  </a:lnTo>
                  <a:lnTo>
                    <a:pt x="13" y="557"/>
                  </a:lnTo>
                  <a:lnTo>
                    <a:pt x="19" y="557"/>
                  </a:lnTo>
                  <a:lnTo>
                    <a:pt x="23" y="553"/>
                  </a:lnTo>
                  <a:lnTo>
                    <a:pt x="24" y="544"/>
                  </a:lnTo>
                  <a:lnTo>
                    <a:pt x="23" y="537"/>
                  </a:lnTo>
                  <a:lnTo>
                    <a:pt x="20" y="534"/>
                  </a:lnTo>
                  <a:lnTo>
                    <a:pt x="16" y="531"/>
                  </a:lnTo>
                  <a:lnTo>
                    <a:pt x="12" y="530"/>
                  </a:lnTo>
                  <a:lnTo>
                    <a:pt x="12" y="527"/>
                  </a:lnTo>
                  <a:lnTo>
                    <a:pt x="14" y="520"/>
                  </a:lnTo>
                  <a:lnTo>
                    <a:pt x="20" y="508"/>
                  </a:lnTo>
                  <a:lnTo>
                    <a:pt x="22" y="510"/>
                  </a:lnTo>
                  <a:lnTo>
                    <a:pt x="23" y="512"/>
                  </a:lnTo>
                  <a:lnTo>
                    <a:pt x="23" y="517"/>
                  </a:lnTo>
                  <a:lnTo>
                    <a:pt x="20" y="520"/>
                  </a:lnTo>
                  <a:lnTo>
                    <a:pt x="20" y="524"/>
                  </a:lnTo>
                  <a:lnTo>
                    <a:pt x="22" y="528"/>
                  </a:lnTo>
                  <a:lnTo>
                    <a:pt x="24" y="530"/>
                  </a:lnTo>
                  <a:lnTo>
                    <a:pt x="27" y="530"/>
                  </a:lnTo>
                  <a:lnTo>
                    <a:pt x="32" y="524"/>
                  </a:lnTo>
                  <a:lnTo>
                    <a:pt x="34" y="520"/>
                  </a:lnTo>
                  <a:lnTo>
                    <a:pt x="37" y="515"/>
                  </a:lnTo>
                  <a:lnTo>
                    <a:pt x="40" y="508"/>
                  </a:lnTo>
                  <a:lnTo>
                    <a:pt x="37" y="504"/>
                  </a:lnTo>
                  <a:lnTo>
                    <a:pt x="34" y="504"/>
                  </a:lnTo>
                  <a:lnTo>
                    <a:pt x="29" y="501"/>
                  </a:lnTo>
                  <a:lnTo>
                    <a:pt x="24" y="501"/>
                  </a:lnTo>
                  <a:lnTo>
                    <a:pt x="22" y="498"/>
                  </a:lnTo>
                  <a:lnTo>
                    <a:pt x="26" y="481"/>
                  </a:lnTo>
                  <a:lnTo>
                    <a:pt x="27" y="477"/>
                  </a:lnTo>
                  <a:lnTo>
                    <a:pt x="27" y="469"/>
                  </a:lnTo>
                  <a:lnTo>
                    <a:pt x="29" y="459"/>
                  </a:lnTo>
                  <a:lnTo>
                    <a:pt x="30" y="454"/>
                  </a:lnTo>
                  <a:lnTo>
                    <a:pt x="32" y="451"/>
                  </a:lnTo>
                  <a:lnTo>
                    <a:pt x="34" y="444"/>
                  </a:lnTo>
                  <a:lnTo>
                    <a:pt x="39" y="437"/>
                  </a:lnTo>
                  <a:lnTo>
                    <a:pt x="40" y="432"/>
                  </a:lnTo>
                  <a:lnTo>
                    <a:pt x="43" y="424"/>
                  </a:lnTo>
                  <a:lnTo>
                    <a:pt x="40" y="421"/>
                  </a:lnTo>
                  <a:lnTo>
                    <a:pt x="33" y="421"/>
                  </a:lnTo>
                  <a:lnTo>
                    <a:pt x="29" y="422"/>
                  </a:lnTo>
                  <a:lnTo>
                    <a:pt x="23" y="419"/>
                  </a:lnTo>
                  <a:lnTo>
                    <a:pt x="22" y="412"/>
                  </a:lnTo>
                  <a:lnTo>
                    <a:pt x="20" y="409"/>
                  </a:lnTo>
                  <a:lnTo>
                    <a:pt x="22" y="386"/>
                  </a:lnTo>
                  <a:lnTo>
                    <a:pt x="17" y="376"/>
                  </a:lnTo>
                  <a:lnTo>
                    <a:pt x="12" y="375"/>
                  </a:lnTo>
                  <a:lnTo>
                    <a:pt x="6" y="372"/>
                  </a:lnTo>
                  <a:lnTo>
                    <a:pt x="3" y="364"/>
                  </a:lnTo>
                  <a:lnTo>
                    <a:pt x="0" y="359"/>
                  </a:lnTo>
                  <a:lnTo>
                    <a:pt x="3" y="353"/>
                  </a:lnTo>
                  <a:lnTo>
                    <a:pt x="6" y="349"/>
                  </a:lnTo>
                  <a:lnTo>
                    <a:pt x="4" y="342"/>
                  </a:lnTo>
                  <a:lnTo>
                    <a:pt x="3" y="338"/>
                  </a:lnTo>
                  <a:lnTo>
                    <a:pt x="3" y="329"/>
                  </a:lnTo>
                  <a:lnTo>
                    <a:pt x="4" y="309"/>
                  </a:lnTo>
                  <a:lnTo>
                    <a:pt x="6" y="303"/>
                  </a:lnTo>
                  <a:lnTo>
                    <a:pt x="3" y="296"/>
                  </a:lnTo>
                  <a:lnTo>
                    <a:pt x="1" y="292"/>
                  </a:lnTo>
                  <a:lnTo>
                    <a:pt x="0" y="288"/>
                  </a:lnTo>
                  <a:lnTo>
                    <a:pt x="0" y="282"/>
                  </a:lnTo>
                  <a:lnTo>
                    <a:pt x="7" y="262"/>
                  </a:lnTo>
                  <a:lnTo>
                    <a:pt x="16" y="248"/>
                  </a:lnTo>
                  <a:lnTo>
                    <a:pt x="17" y="242"/>
                  </a:lnTo>
                  <a:lnTo>
                    <a:pt x="17" y="242"/>
                  </a:lnTo>
                  <a:lnTo>
                    <a:pt x="24" y="235"/>
                  </a:lnTo>
                  <a:lnTo>
                    <a:pt x="36" y="220"/>
                  </a:lnTo>
                  <a:lnTo>
                    <a:pt x="47" y="205"/>
                  </a:lnTo>
                  <a:lnTo>
                    <a:pt x="52" y="196"/>
                  </a:lnTo>
                  <a:lnTo>
                    <a:pt x="52" y="196"/>
                  </a:lnTo>
                  <a:lnTo>
                    <a:pt x="53" y="193"/>
                  </a:lnTo>
                  <a:lnTo>
                    <a:pt x="54" y="190"/>
                  </a:lnTo>
                  <a:lnTo>
                    <a:pt x="60" y="184"/>
                  </a:lnTo>
                  <a:lnTo>
                    <a:pt x="72" y="177"/>
                  </a:lnTo>
                  <a:lnTo>
                    <a:pt x="72" y="177"/>
                  </a:lnTo>
                  <a:lnTo>
                    <a:pt x="76" y="176"/>
                  </a:lnTo>
                  <a:lnTo>
                    <a:pt x="80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93" y="173"/>
                  </a:lnTo>
                  <a:lnTo>
                    <a:pt x="96" y="172"/>
                  </a:lnTo>
                  <a:lnTo>
                    <a:pt x="99" y="170"/>
                  </a:lnTo>
                  <a:lnTo>
                    <a:pt x="102" y="169"/>
                  </a:lnTo>
                  <a:lnTo>
                    <a:pt x="103" y="166"/>
                  </a:lnTo>
                  <a:lnTo>
                    <a:pt x="102" y="163"/>
                  </a:lnTo>
                  <a:lnTo>
                    <a:pt x="103" y="156"/>
                  </a:lnTo>
                  <a:lnTo>
                    <a:pt x="109" y="153"/>
                  </a:lnTo>
                  <a:lnTo>
                    <a:pt x="119" y="152"/>
                  </a:lnTo>
                  <a:lnTo>
                    <a:pt x="122" y="150"/>
                  </a:lnTo>
                  <a:lnTo>
                    <a:pt x="126" y="144"/>
                  </a:lnTo>
                  <a:lnTo>
                    <a:pt x="123" y="140"/>
                  </a:lnTo>
                  <a:lnTo>
                    <a:pt x="119" y="143"/>
                  </a:lnTo>
                  <a:lnTo>
                    <a:pt x="115" y="143"/>
                  </a:lnTo>
                  <a:lnTo>
                    <a:pt x="115" y="143"/>
                  </a:lnTo>
                  <a:lnTo>
                    <a:pt x="113" y="137"/>
                  </a:lnTo>
                  <a:lnTo>
                    <a:pt x="113" y="134"/>
                  </a:lnTo>
                  <a:lnTo>
                    <a:pt x="115" y="131"/>
                  </a:lnTo>
                  <a:lnTo>
                    <a:pt x="115" y="131"/>
                  </a:lnTo>
                  <a:lnTo>
                    <a:pt x="116" y="126"/>
                  </a:lnTo>
                  <a:lnTo>
                    <a:pt x="118" y="120"/>
                  </a:lnTo>
                  <a:lnTo>
                    <a:pt x="118" y="120"/>
                  </a:lnTo>
                  <a:lnTo>
                    <a:pt x="113" y="110"/>
                  </a:lnTo>
                  <a:lnTo>
                    <a:pt x="112" y="107"/>
                  </a:lnTo>
                  <a:lnTo>
                    <a:pt x="112" y="107"/>
                  </a:lnTo>
                  <a:lnTo>
                    <a:pt x="110" y="107"/>
                  </a:lnTo>
                  <a:lnTo>
                    <a:pt x="109" y="106"/>
                  </a:lnTo>
                  <a:lnTo>
                    <a:pt x="107" y="103"/>
                  </a:lnTo>
                  <a:lnTo>
                    <a:pt x="107" y="103"/>
                  </a:lnTo>
                  <a:lnTo>
                    <a:pt x="107" y="100"/>
                  </a:lnTo>
                  <a:lnTo>
                    <a:pt x="107" y="97"/>
                  </a:lnTo>
                  <a:lnTo>
                    <a:pt x="107" y="97"/>
                  </a:lnTo>
                  <a:lnTo>
                    <a:pt x="109" y="94"/>
                  </a:lnTo>
                  <a:lnTo>
                    <a:pt x="109" y="91"/>
                  </a:lnTo>
                  <a:lnTo>
                    <a:pt x="109" y="91"/>
                  </a:lnTo>
                  <a:lnTo>
                    <a:pt x="107" y="89"/>
                  </a:lnTo>
                  <a:lnTo>
                    <a:pt x="109" y="87"/>
                  </a:lnTo>
                  <a:lnTo>
                    <a:pt x="112" y="87"/>
                  </a:lnTo>
                  <a:lnTo>
                    <a:pt x="112" y="87"/>
                  </a:lnTo>
                  <a:lnTo>
                    <a:pt x="116" y="89"/>
                  </a:lnTo>
                  <a:lnTo>
                    <a:pt x="120" y="91"/>
                  </a:lnTo>
                  <a:lnTo>
                    <a:pt x="126" y="96"/>
                  </a:lnTo>
                  <a:lnTo>
                    <a:pt x="133" y="96"/>
                  </a:lnTo>
                  <a:lnTo>
                    <a:pt x="138" y="96"/>
                  </a:lnTo>
                  <a:lnTo>
                    <a:pt x="143" y="99"/>
                  </a:lnTo>
                  <a:lnTo>
                    <a:pt x="148" y="100"/>
                  </a:lnTo>
                  <a:lnTo>
                    <a:pt x="155" y="99"/>
                  </a:lnTo>
                  <a:lnTo>
                    <a:pt x="159" y="97"/>
                  </a:lnTo>
                  <a:lnTo>
                    <a:pt x="168" y="97"/>
                  </a:lnTo>
                  <a:lnTo>
                    <a:pt x="172" y="97"/>
                  </a:lnTo>
                  <a:lnTo>
                    <a:pt x="175" y="99"/>
                  </a:lnTo>
                  <a:lnTo>
                    <a:pt x="176" y="100"/>
                  </a:lnTo>
                  <a:lnTo>
                    <a:pt x="182" y="104"/>
                  </a:lnTo>
                  <a:lnTo>
                    <a:pt x="192" y="106"/>
                  </a:lnTo>
                  <a:lnTo>
                    <a:pt x="196" y="103"/>
                  </a:lnTo>
                  <a:lnTo>
                    <a:pt x="198" y="100"/>
                  </a:lnTo>
                  <a:lnTo>
                    <a:pt x="202" y="96"/>
                  </a:lnTo>
                  <a:lnTo>
                    <a:pt x="208" y="90"/>
                  </a:lnTo>
                  <a:lnTo>
                    <a:pt x="208" y="90"/>
                  </a:lnTo>
                  <a:lnTo>
                    <a:pt x="209" y="89"/>
                  </a:lnTo>
                  <a:lnTo>
                    <a:pt x="212" y="89"/>
                  </a:lnTo>
                  <a:lnTo>
                    <a:pt x="218" y="89"/>
                  </a:lnTo>
                  <a:lnTo>
                    <a:pt x="231" y="90"/>
                  </a:lnTo>
                  <a:lnTo>
                    <a:pt x="231" y="90"/>
                  </a:lnTo>
                  <a:lnTo>
                    <a:pt x="232" y="89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42" y="89"/>
                  </a:lnTo>
                  <a:lnTo>
                    <a:pt x="242" y="89"/>
                  </a:lnTo>
                  <a:lnTo>
                    <a:pt x="246" y="87"/>
                  </a:lnTo>
                  <a:lnTo>
                    <a:pt x="251" y="86"/>
                  </a:lnTo>
                  <a:lnTo>
                    <a:pt x="252" y="84"/>
                  </a:lnTo>
                  <a:lnTo>
                    <a:pt x="245" y="64"/>
                  </a:lnTo>
                  <a:lnTo>
                    <a:pt x="246" y="61"/>
                  </a:lnTo>
                  <a:lnTo>
                    <a:pt x="244" y="54"/>
                  </a:lnTo>
                  <a:lnTo>
                    <a:pt x="245" y="34"/>
                  </a:lnTo>
                  <a:lnTo>
                    <a:pt x="244" y="3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76" name="Freeform 124"/>
            <p:cNvSpPr>
              <a:spLocks/>
            </p:cNvSpPr>
            <p:nvPr/>
          </p:nvSpPr>
          <p:spPr bwMode="auto">
            <a:xfrm>
              <a:off x="2826979" y="4166627"/>
              <a:ext cx="506774" cy="664098"/>
            </a:xfrm>
            <a:custGeom>
              <a:avLst/>
              <a:gdLst>
                <a:gd name="T0" fmla="*/ 766 w 829"/>
                <a:gd name="T1" fmla="*/ 808 h 1004"/>
                <a:gd name="T2" fmla="*/ 789 w 829"/>
                <a:gd name="T3" fmla="*/ 865 h 1004"/>
                <a:gd name="T4" fmla="*/ 809 w 829"/>
                <a:gd name="T5" fmla="*/ 958 h 1004"/>
                <a:gd name="T6" fmla="*/ 706 w 829"/>
                <a:gd name="T7" fmla="*/ 993 h 1004"/>
                <a:gd name="T8" fmla="*/ 634 w 829"/>
                <a:gd name="T9" fmla="*/ 920 h 1004"/>
                <a:gd name="T10" fmla="*/ 581 w 829"/>
                <a:gd name="T11" fmla="*/ 918 h 1004"/>
                <a:gd name="T12" fmla="*/ 530 w 829"/>
                <a:gd name="T13" fmla="*/ 838 h 1004"/>
                <a:gd name="T14" fmla="*/ 535 w 829"/>
                <a:gd name="T15" fmla="*/ 772 h 1004"/>
                <a:gd name="T16" fmla="*/ 485 w 829"/>
                <a:gd name="T17" fmla="*/ 749 h 1004"/>
                <a:gd name="T18" fmla="*/ 437 w 829"/>
                <a:gd name="T19" fmla="*/ 729 h 1004"/>
                <a:gd name="T20" fmla="*/ 385 w 829"/>
                <a:gd name="T21" fmla="*/ 691 h 1004"/>
                <a:gd name="T22" fmla="*/ 358 w 829"/>
                <a:gd name="T23" fmla="*/ 679 h 1004"/>
                <a:gd name="T24" fmla="*/ 311 w 829"/>
                <a:gd name="T25" fmla="*/ 688 h 1004"/>
                <a:gd name="T26" fmla="*/ 239 w 829"/>
                <a:gd name="T27" fmla="*/ 646 h 1004"/>
                <a:gd name="T28" fmla="*/ 223 w 829"/>
                <a:gd name="T29" fmla="*/ 554 h 1004"/>
                <a:gd name="T30" fmla="*/ 190 w 829"/>
                <a:gd name="T31" fmla="*/ 602 h 1004"/>
                <a:gd name="T32" fmla="*/ 183 w 829"/>
                <a:gd name="T33" fmla="*/ 556 h 1004"/>
                <a:gd name="T34" fmla="*/ 165 w 829"/>
                <a:gd name="T35" fmla="*/ 470 h 1004"/>
                <a:gd name="T36" fmla="*/ 176 w 829"/>
                <a:gd name="T37" fmla="*/ 446 h 1004"/>
                <a:gd name="T38" fmla="*/ 172 w 829"/>
                <a:gd name="T39" fmla="*/ 431 h 1004"/>
                <a:gd name="T40" fmla="*/ 172 w 829"/>
                <a:gd name="T41" fmla="*/ 421 h 1004"/>
                <a:gd name="T42" fmla="*/ 157 w 829"/>
                <a:gd name="T43" fmla="*/ 404 h 1004"/>
                <a:gd name="T44" fmla="*/ 134 w 829"/>
                <a:gd name="T45" fmla="*/ 391 h 1004"/>
                <a:gd name="T46" fmla="*/ 120 w 829"/>
                <a:gd name="T47" fmla="*/ 311 h 1004"/>
                <a:gd name="T48" fmla="*/ 34 w 829"/>
                <a:gd name="T49" fmla="*/ 304 h 1004"/>
                <a:gd name="T50" fmla="*/ 33 w 829"/>
                <a:gd name="T51" fmla="*/ 265 h 1004"/>
                <a:gd name="T52" fmla="*/ 7 w 829"/>
                <a:gd name="T53" fmla="*/ 204 h 1004"/>
                <a:gd name="T54" fmla="*/ 74 w 829"/>
                <a:gd name="T55" fmla="*/ 214 h 1004"/>
                <a:gd name="T56" fmla="*/ 133 w 829"/>
                <a:gd name="T57" fmla="*/ 171 h 1004"/>
                <a:gd name="T58" fmla="*/ 156 w 829"/>
                <a:gd name="T59" fmla="*/ 158 h 1004"/>
                <a:gd name="T60" fmla="*/ 197 w 829"/>
                <a:gd name="T61" fmla="*/ 145 h 1004"/>
                <a:gd name="T62" fmla="*/ 269 w 829"/>
                <a:gd name="T63" fmla="*/ 125 h 1004"/>
                <a:gd name="T64" fmla="*/ 298 w 829"/>
                <a:gd name="T65" fmla="*/ 83 h 1004"/>
                <a:gd name="T66" fmla="*/ 368 w 829"/>
                <a:gd name="T67" fmla="*/ 17 h 1004"/>
                <a:gd name="T68" fmla="*/ 424 w 829"/>
                <a:gd name="T69" fmla="*/ 13 h 1004"/>
                <a:gd name="T70" fmla="*/ 455 w 829"/>
                <a:gd name="T71" fmla="*/ 46 h 1004"/>
                <a:gd name="T72" fmla="*/ 428 w 829"/>
                <a:gd name="T73" fmla="*/ 68 h 1004"/>
                <a:gd name="T74" fmla="*/ 445 w 829"/>
                <a:gd name="T75" fmla="*/ 105 h 1004"/>
                <a:gd name="T76" fmla="*/ 432 w 829"/>
                <a:gd name="T77" fmla="*/ 205 h 1004"/>
                <a:gd name="T78" fmla="*/ 457 w 829"/>
                <a:gd name="T79" fmla="*/ 285 h 1004"/>
                <a:gd name="T80" fmla="*/ 454 w 829"/>
                <a:gd name="T81" fmla="*/ 344 h 1004"/>
                <a:gd name="T82" fmla="*/ 450 w 829"/>
                <a:gd name="T83" fmla="*/ 391 h 1004"/>
                <a:gd name="T84" fmla="*/ 451 w 829"/>
                <a:gd name="T85" fmla="*/ 400 h 1004"/>
                <a:gd name="T86" fmla="*/ 444 w 829"/>
                <a:gd name="T87" fmla="*/ 454 h 1004"/>
                <a:gd name="T88" fmla="*/ 504 w 829"/>
                <a:gd name="T89" fmla="*/ 454 h 1004"/>
                <a:gd name="T90" fmla="*/ 505 w 829"/>
                <a:gd name="T91" fmla="*/ 493 h 1004"/>
                <a:gd name="T92" fmla="*/ 460 w 829"/>
                <a:gd name="T93" fmla="*/ 524 h 1004"/>
                <a:gd name="T94" fmla="*/ 480 w 829"/>
                <a:gd name="T95" fmla="*/ 536 h 1004"/>
                <a:gd name="T96" fmla="*/ 468 w 829"/>
                <a:gd name="T97" fmla="*/ 576 h 1004"/>
                <a:gd name="T98" fmla="*/ 465 w 829"/>
                <a:gd name="T99" fmla="*/ 610 h 1004"/>
                <a:gd name="T100" fmla="*/ 478 w 829"/>
                <a:gd name="T101" fmla="*/ 648 h 1004"/>
                <a:gd name="T102" fmla="*/ 535 w 829"/>
                <a:gd name="T103" fmla="*/ 645 h 1004"/>
                <a:gd name="T104" fmla="*/ 588 w 829"/>
                <a:gd name="T105" fmla="*/ 695 h 1004"/>
                <a:gd name="T106" fmla="*/ 639 w 829"/>
                <a:gd name="T107" fmla="*/ 678 h 1004"/>
                <a:gd name="T108" fmla="*/ 704 w 829"/>
                <a:gd name="T109" fmla="*/ 633 h 1004"/>
                <a:gd name="T110" fmla="*/ 716 w 829"/>
                <a:gd name="T111" fmla="*/ 673 h 1004"/>
                <a:gd name="T112" fmla="*/ 749 w 829"/>
                <a:gd name="T113" fmla="*/ 669 h 1004"/>
                <a:gd name="T114" fmla="*/ 790 w 829"/>
                <a:gd name="T115" fmla="*/ 703 h 1004"/>
                <a:gd name="T116" fmla="*/ 746 w 829"/>
                <a:gd name="T117" fmla="*/ 748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29" h="1004">
                  <a:moveTo>
                    <a:pt x="750" y="762"/>
                  </a:moveTo>
                  <a:lnTo>
                    <a:pt x="746" y="765"/>
                  </a:lnTo>
                  <a:lnTo>
                    <a:pt x="746" y="772"/>
                  </a:lnTo>
                  <a:lnTo>
                    <a:pt x="746" y="779"/>
                  </a:lnTo>
                  <a:lnTo>
                    <a:pt x="749" y="791"/>
                  </a:lnTo>
                  <a:lnTo>
                    <a:pt x="749" y="791"/>
                  </a:lnTo>
                  <a:lnTo>
                    <a:pt x="755" y="788"/>
                  </a:lnTo>
                  <a:lnTo>
                    <a:pt x="757" y="787"/>
                  </a:lnTo>
                  <a:lnTo>
                    <a:pt x="759" y="788"/>
                  </a:lnTo>
                  <a:lnTo>
                    <a:pt x="760" y="792"/>
                  </a:lnTo>
                  <a:lnTo>
                    <a:pt x="763" y="802"/>
                  </a:lnTo>
                  <a:lnTo>
                    <a:pt x="766" y="808"/>
                  </a:lnTo>
                  <a:lnTo>
                    <a:pt x="770" y="814"/>
                  </a:lnTo>
                  <a:lnTo>
                    <a:pt x="765" y="819"/>
                  </a:lnTo>
                  <a:lnTo>
                    <a:pt x="753" y="821"/>
                  </a:lnTo>
                  <a:lnTo>
                    <a:pt x="753" y="822"/>
                  </a:lnTo>
                  <a:lnTo>
                    <a:pt x="752" y="828"/>
                  </a:lnTo>
                  <a:lnTo>
                    <a:pt x="756" y="837"/>
                  </a:lnTo>
                  <a:lnTo>
                    <a:pt x="760" y="844"/>
                  </a:lnTo>
                  <a:lnTo>
                    <a:pt x="767" y="847"/>
                  </a:lnTo>
                  <a:lnTo>
                    <a:pt x="775" y="851"/>
                  </a:lnTo>
                  <a:lnTo>
                    <a:pt x="782" y="857"/>
                  </a:lnTo>
                  <a:lnTo>
                    <a:pt x="789" y="864"/>
                  </a:lnTo>
                  <a:lnTo>
                    <a:pt x="789" y="865"/>
                  </a:lnTo>
                  <a:lnTo>
                    <a:pt x="788" y="872"/>
                  </a:lnTo>
                  <a:lnTo>
                    <a:pt x="786" y="880"/>
                  </a:lnTo>
                  <a:lnTo>
                    <a:pt x="786" y="890"/>
                  </a:lnTo>
                  <a:lnTo>
                    <a:pt x="786" y="890"/>
                  </a:lnTo>
                  <a:lnTo>
                    <a:pt x="816" y="918"/>
                  </a:lnTo>
                  <a:lnTo>
                    <a:pt x="823" y="935"/>
                  </a:lnTo>
                  <a:lnTo>
                    <a:pt x="825" y="943"/>
                  </a:lnTo>
                  <a:lnTo>
                    <a:pt x="829" y="954"/>
                  </a:lnTo>
                  <a:lnTo>
                    <a:pt x="828" y="957"/>
                  </a:lnTo>
                  <a:lnTo>
                    <a:pt x="823" y="956"/>
                  </a:lnTo>
                  <a:lnTo>
                    <a:pt x="813" y="956"/>
                  </a:lnTo>
                  <a:lnTo>
                    <a:pt x="809" y="958"/>
                  </a:lnTo>
                  <a:lnTo>
                    <a:pt x="798" y="971"/>
                  </a:lnTo>
                  <a:lnTo>
                    <a:pt x="793" y="977"/>
                  </a:lnTo>
                  <a:lnTo>
                    <a:pt x="789" y="981"/>
                  </a:lnTo>
                  <a:lnTo>
                    <a:pt x="776" y="997"/>
                  </a:lnTo>
                  <a:lnTo>
                    <a:pt x="770" y="1001"/>
                  </a:lnTo>
                  <a:lnTo>
                    <a:pt x="760" y="1004"/>
                  </a:lnTo>
                  <a:lnTo>
                    <a:pt x="745" y="998"/>
                  </a:lnTo>
                  <a:lnTo>
                    <a:pt x="736" y="996"/>
                  </a:lnTo>
                  <a:lnTo>
                    <a:pt x="729" y="996"/>
                  </a:lnTo>
                  <a:lnTo>
                    <a:pt x="719" y="994"/>
                  </a:lnTo>
                  <a:lnTo>
                    <a:pt x="714" y="993"/>
                  </a:lnTo>
                  <a:lnTo>
                    <a:pt x="706" y="993"/>
                  </a:lnTo>
                  <a:lnTo>
                    <a:pt x="700" y="990"/>
                  </a:lnTo>
                  <a:lnTo>
                    <a:pt x="686" y="983"/>
                  </a:lnTo>
                  <a:lnTo>
                    <a:pt x="679" y="978"/>
                  </a:lnTo>
                  <a:lnTo>
                    <a:pt x="674" y="974"/>
                  </a:lnTo>
                  <a:lnTo>
                    <a:pt x="666" y="970"/>
                  </a:lnTo>
                  <a:lnTo>
                    <a:pt x="662" y="966"/>
                  </a:lnTo>
                  <a:lnTo>
                    <a:pt x="656" y="960"/>
                  </a:lnTo>
                  <a:lnTo>
                    <a:pt x="653" y="953"/>
                  </a:lnTo>
                  <a:lnTo>
                    <a:pt x="651" y="934"/>
                  </a:lnTo>
                  <a:lnTo>
                    <a:pt x="647" y="924"/>
                  </a:lnTo>
                  <a:lnTo>
                    <a:pt x="640" y="920"/>
                  </a:lnTo>
                  <a:lnTo>
                    <a:pt x="634" y="920"/>
                  </a:lnTo>
                  <a:lnTo>
                    <a:pt x="627" y="928"/>
                  </a:lnTo>
                  <a:lnTo>
                    <a:pt x="624" y="934"/>
                  </a:lnTo>
                  <a:lnTo>
                    <a:pt x="619" y="937"/>
                  </a:lnTo>
                  <a:lnTo>
                    <a:pt x="610" y="941"/>
                  </a:lnTo>
                  <a:lnTo>
                    <a:pt x="604" y="944"/>
                  </a:lnTo>
                  <a:lnTo>
                    <a:pt x="597" y="945"/>
                  </a:lnTo>
                  <a:lnTo>
                    <a:pt x="590" y="943"/>
                  </a:lnTo>
                  <a:lnTo>
                    <a:pt x="580" y="935"/>
                  </a:lnTo>
                  <a:lnTo>
                    <a:pt x="574" y="934"/>
                  </a:lnTo>
                  <a:lnTo>
                    <a:pt x="568" y="930"/>
                  </a:lnTo>
                  <a:lnTo>
                    <a:pt x="576" y="920"/>
                  </a:lnTo>
                  <a:lnTo>
                    <a:pt x="581" y="918"/>
                  </a:lnTo>
                  <a:lnTo>
                    <a:pt x="576" y="911"/>
                  </a:lnTo>
                  <a:lnTo>
                    <a:pt x="560" y="897"/>
                  </a:lnTo>
                  <a:lnTo>
                    <a:pt x="556" y="891"/>
                  </a:lnTo>
                  <a:lnTo>
                    <a:pt x="550" y="885"/>
                  </a:lnTo>
                  <a:lnTo>
                    <a:pt x="544" y="878"/>
                  </a:lnTo>
                  <a:lnTo>
                    <a:pt x="543" y="878"/>
                  </a:lnTo>
                  <a:lnTo>
                    <a:pt x="540" y="875"/>
                  </a:lnTo>
                  <a:lnTo>
                    <a:pt x="535" y="868"/>
                  </a:lnTo>
                  <a:lnTo>
                    <a:pt x="531" y="861"/>
                  </a:lnTo>
                  <a:lnTo>
                    <a:pt x="531" y="852"/>
                  </a:lnTo>
                  <a:lnTo>
                    <a:pt x="535" y="842"/>
                  </a:lnTo>
                  <a:lnTo>
                    <a:pt x="530" y="838"/>
                  </a:lnTo>
                  <a:lnTo>
                    <a:pt x="525" y="832"/>
                  </a:lnTo>
                  <a:lnTo>
                    <a:pt x="527" y="825"/>
                  </a:lnTo>
                  <a:lnTo>
                    <a:pt x="533" y="819"/>
                  </a:lnTo>
                  <a:lnTo>
                    <a:pt x="538" y="814"/>
                  </a:lnTo>
                  <a:lnTo>
                    <a:pt x="543" y="808"/>
                  </a:lnTo>
                  <a:lnTo>
                    <a:pt x="543" y="801"/>
                  </a:lnTo>
                  <a:lnTo>
                    <a:pt x="540" y="795"/>
                  </a:lnTo>
                  <a:lnTo>
                    <a:pt x="538" y="794"/>
                  </a:lnTo>
                  <a:lnTo>
                    <a:pt x="537" y="789"/>
                  </a:lnTo>
                  <a:lnTo>
                    <a:pt x="534" y="785"/>
                  </a:lnTo>
                  <a:lnTo>
                    <a:pt x="535" y="779"/>
                  </a:lnTo>
                  <a:lnTo>
                    <a:pt x="535" y="772"/>
                  </a:lnTo>
                  <a:lnTo>
                    <a:pt x="533" y="768"/>
                  </a:lnTo>
                  <a:lnTo>
                    <a:pt x="528" y="766"/>
                  </a:lnTo>
                  <a:lnTo>
                    <a:pt x="525" y="769"/>
                  </a:lnTo>
                  <a:lnTo>
                    <a:pt x="523" y="772"/>
                  </a:lnTo>
                  <a:lnTo>
                    <a:pt x="520" y="774"/>
                  </a:lnTo>
                  <a:lnTo>
                    <a:pt x="514" y="775"/>
                  </a:lnTo>
                  <a:lnTo>
                    <a:pt x="508" y="772"/>
                  </a:lnTo>
                  <a:lnTo>
                    <a:pt x="504" y="772"/>
                  </a:lnTo>
                  <a:lnTo>
                    <a:pt x="497" y="764"/>
                  </a:lnTo>
                  <a:lnTo>
                    <a:pt x="494" y="761"/>
                  </a:lnTo>
                  <a:lnTo>
                    <a:pt x="490" y="756"/>
                  </a:lnTo>
                  <a:lnTo>
                    <a:pt x="485" y="749"/>
                  </a:lnTo>
                  <a:lnTo>
                    <a:pt x="481" y="746"/>
                  </a:lnTo>
                  <a:lnTo>
                    <a:pt x="475" y="752"/>
                  </a:lnTo>
                  <a:lnTo>
                    <a:pt x="467" y="761"/>
                  </a:lnTo>
                  <a:lnTo>
                    <a:pt x="461" y="766"/>
                  </a:lnTo>
                  <a:lnTo>
                    <a:pt x="454" y="761"/>
                  </a:lnTo>
                  <a:lnTo>
                    <a:pt x="450" y="758"/>
                  </a:lnTo>
                  <a:lnTo>
                    <a:pt x="442" y="756"/>
                  </a:lnTo>
                  <a:lnTo>
                    <a:pt x="434" y="755"/>
                  </a:lnTo>
                  <a:lnTo>
                    <a:pt x="431" y="751"/>
                  </a:lnTo>
                  <a:lnTo>
                    <a:pt x="431" y="744"/>
                  </a:lnTo>
                  <a:lnTo>
                    <a:pt x="434" y="736"/>
                  </a:lnTo>
                  <a:lnTo>
                    <a:pt x="437" y="729"/>
                  </a:lnTo>
                  <a:lnTo>
                    <a:pt x="437" y="725"/>
                  </a:lnTo>
                  <a:lnTo>
                    <a:pt x="435" y="722"/>
                  </a:lnTo>
                  <a:lnTo>
                    <a:pt x="432" y="719"/>
                  </a:lnTo>
                  <a:lnTo>
                    <a:pt x="432" y="712"/>
                  </a:lnTo>
                  <a:lnTo>
                    <a:pt x="432" y="706"/>
                  </a:lnTo>
                  <a:lnTo>
                    <a:pt x="428" y="703"/>
                  </a:lnTo>
                  <a:lnTo>
                    <a:pt x="415" y="702"/>
                  </a:lnTo>
                  <a:lnTo>
                    <a:pt x="408" y="696"/>
                  </a:lnTo>
                  <a:lnTo>
                    <a:pt x="405" y="693"/>
                  </a:lnTo>
                  <a:lnTo>
                    <a:pt x="398" y="682"/>
                  </a:lnTo>
                  <a:lnTo>
                    <a:pt x="389" y="683"/>
                  </a:lnTo>
                  <a:lnTo>
                    <a:pt x="385" y="691"/>
                  </a:lnTo>
                  <a:lnTo>
                    <a:pt x="381" y="695"/>
                  </a:lnTo>
                  <a:lnTo>
                    <a:pt x="378" y="695"/>
                  </a:lnTo>
                  <a:lnTo>
                    <a:pt x="378" y="688"/>
                  </a:lnTo>
                  <a:lnTo>
                    <a:pt x="378" y="682"/>
                  </a:lnTo>
                  <a:lnTo>
                    <a:pt x="379" y="675"/>
                  </a:lnTo>
                  <a:lnTo>
                    <a:pt x="379" y="670"/>
                  </a:lnTo>
                  <a:lnTo>
                    <a:pt x="377" y="669"/>
                  </a:lnTo>
                  <a:lnTo>
                    <a:pt x="371" y="668"/>
                  </a:lnTo>
                  <a:lnTo>
                    <a:pt x="365" y="672"/>
                  </a:lnTo>
                  <a:lnTo>
                    <a:pt x="362" y="673"/>
                  </a:lnTo>
                  <a:lnTo>
                    <a:pt x="359" y="678"/>
                  </a:lnTo>
                  <a:lnTo>
                    <a:pt x="358" y="679"/>
                  </a:lnTo>
                  <a:lnTo>
                    <a:pt x="352" y="679"/>
                  </a:lnTo>
                  <a:lnTo>
                    <a:pt x="351" y="681"/>
                  </a:lnTo>
                  <a:lnTo>
                    <a:pt x="345" y="682"/>
                  </a:lnTo>
                  <a:lnTo>
                    <a:pt x="341" y="676"/>
                  </a:lnTo>
                  <a:lnTo>
                    <a:pt x="336" y="672"/>
                  </a:lnTo>
                  <a:lnTo>
                    <a:pt x="334" y="668"/>
                  </a:lnTo>
                  <a:lnTo>
                    <a:pt x="328" y="672"/>
                  </a:lnTo>
                  <a:lnTo>
                    <a:pt x="324" y="676"/>
                  </a:lnTo>
                  <a:lnTo>
                    <a:pt x="322" y="679"/>
                  </a:lnTo>
                  <a:lnTo>
                    <a:pt x="319" y="682"/>
                  </a:lnTo>
                  <a:lnTo>
                    <a:pt x="318" y="683"/>
                  </a:lnTo>
                  <a:lnTo>
                    <a:pt x="311" y="688"/>
                  </a:lnTo>
                  <a:lnTo>
                    <a:pt x="298" y="691"/>
                  </a:lnTo>
                  <a:lnTo>
                    <a:pt x="289" y="691"/>
                  </a:lnTo>
                  <a:lnTo>
                    <a:pt x="282" y="689"/>
                  </a:lnTo>
                  <a:lnTo>
                    <a:pt x="273" y="686"/>
                  </a:lnTo>
                  <a:lnTo>
                    <a:pt x="263" y="686"/>
                  </a:lnTo>
                  <a:lnTo>
                    <a:pt x="260" y="686"/>
                  </a:lnTo>
                  <a:lnTo>
                    <a:pt x="256" y="686"/>
                  </a:lnTo>
                  <a:lnTo>
                    <a:pt x="252" y="679"/>
                  </a:lnTo>
                  <a:lnTo>
                    <a:pt x="250" y="672"/>
                  </a:lnTo>
                  <a:lnTo>
                    <a:pt x="248" y="659"/>
                  </a:lnTo>
                  <a:lnTo>
                    <a:pt x="243" y="652"/>
                  </a:lnTo>
                  <a:lnTo>
                    <a:pt x="239" y="646"/>
                  </a:lnTo>
                  <a:lnTo>
                    <a:pt x="236" y="640"/>
                  </a:lnTo>
                  <a:lnTo>
                    <a:pt x="232" y="630"/>
                  </a:lnTo>
                  <a:lnTo>
                    <a:pt x="233" y="620"/>
                  </a:lnTo>
                  <a:lnTo>
                    <a:pt x="233" y="612"/>
                  </a:lnTo>
                  <a:lnTo>
                    <a:pt x="236" y="603"/>
                  </a:lnTo>
                  <a:lnTo>
                    <a:pt x="236" y="599"/>
                  </a:lnTo>
                  <a:lnTo>
                    <a:pt x="236" y="595"/>
                  </a:lnTo>
                  <a:lnTo>
                    <a:pt x="229" y="586"/>
                  </a:lnTo>
                  <a:lnTo>
                    <a:pt x="228" y="580"/>
                  </a:lnTo>
                  <a:lnTo>
                    <a:pt x="226" y="573"/>
                  </a:lnTo>
                  <a:lnTo>
                    <a:pt x="228" y="562"/>
                  </a:lnTo>
                  <a:lnTo>
                    <a:pt x="223" y="554"/>
                  </a:lnTo>
                  <a:lnTo>
                    <a:pt x="219" y="552"/>
                  </a:lnTo>
                  <a:lnTo>
                    <a:pt x="215" y="550"/>
                  </a:lnTo>
                  <a:lnTo>
                    <a:pt x="209" y="552"/>
                  </a:lnTo>
                  <a:lnTo>
                    <a:pt x="203" y="556"/>
                  </a:lnTo>
                  <a:lnTo>
                    <a:pt x="203" y="563"/>
                  </a:lnTo>
                  <a:lnTo>
                    <a:pt x="202" y="565"/>
                  </a:lnTo>
                  <a:lnTo>
                    <a:pt x="203" y="572"/>
                  </a:lnTo>
                  <a:lnTo>
                    <a:pt x="205" y="580"/>
                  </a:lnTo>
                  <a:lnTo>
                    <a:pt x="200" y="586"/>
                  </a:lnTo>
                  <a:lnTo>
                    <a:pt x="195" y="586"/>
                  </a:lnTo>
                  <a:lnTo>
                    <a:pt x="192" y="595"/>
                  </a:lnTo>
                  <a:lnTo>
                    <a:pt x="190" y="602"/>
                  </a:lnTo>
                  <a:lnTo>
                    <a:pt x="179" y="615"/>
                  </a:lnTo>
                  <a:lnTo>
                    <a:pt x="172" y="616"/>
                  </a:lnTo>
                  <a:lnTo>
                    <a:pt x="165" y="613"/>
                  </a:lnTo>
                  <a:lnTo>
                    <a:pt x="159" y="610"/>
                  </a:lnTo>
                  <a:lnTo>
                    <a:pt x="157" y="602"/>
                  </a:lnTo>
                  <a:lnTo>
                    <a:pt x="157" y="595"/>
                  </a:lnTo>
                  <a:lnTo>
                    <a:pt x="163" y="589"/>
                  </a:lnTo>
                  <a:lnTo>
                    <a:pt x="173" y="582"/>
                  </a:lnTo>
                  <a:lnTo>
                    <a:pt x="185" y="575"/>
                  </a:lnTo>
                  <a:lnTo>
                    <a:pt x="186" y="569"/>
                  </a:lnTo>
                  <a:lnTo>
                    <a:pt x="182" y="563"/>
                  </a:lnTo>
                  <a:lnTo>
                    <a:pt x="183" y="556"/>
                  </a:lnTo>
                  <a:lnTo>
                    <a:pt x="182" y="550"/>
                  </a:lnTo>
                  <a:lnTo>
                    <a:pt x="180" y="534"/>
                  </a:lnTo>
                  <a:lnTo>
                    <a:pt x="183" y="522"/>
                  </a:lnTo>
                  <a:lnTo>
                    <a:pt x="187" y="514"/>
                  </a:lnTo>
                  <a:lnTo>
                    <a:pt x="185" y="497"/>
                  </a:lnTo>
                  <a:lnTo>
                    <a:pt x="179" y="483"/>
                  </a:lnTo>
                  <a:lnTo>
                    <a:pt x="175" y="481"/>
                  </a:lnTo>
                  <a:lnTo>
                    <a:pt x="172" y="477"/>
                  </a:lnTo>
                  <a:lnTo>
                    <a:pt x="170" y="476"/>
                  </a:lnTo>
                  <a:lnTo>
                    <a:pt x="169" y="474"/>
                  </a:lnTo>
                  <a:lnTo>
                    <a:pt x="167" y="471"/>
                  </a:lnTo>
                  <a:lnTo>
                    <a:pt x="165" y="470"/>
                  </a:lnTo>
                  <a:lnTo>
                    <a:pt x="163" y="469"/>
                  </a:lnTo>
                  <a:lnTo>
                    <a:pt x="165" y="464"/>
                  </a:lnTo>
                  <a:lnTo>
                    <a:pt x="165" y="463"/>
                  </a:lnTo>
                  <a:lnTo>
                    <a:pt x="166" y="463"/>
                  </a:lnTo>
                  <a:lnTo>
                    <a:pt x="167" y="459"/>
                  </a:lnTo>
                  <a:lnTo>
                    <a:pt x="169" y="451"/>
                  </a:lnTo>
                  <a:lnTo>
                    <a:pt x="169" y="450"/>
                  </a:lnTo>
                  <a:lnTo>
                    <a:pt x="170" y="450"/>
                  </a:lnTo>
                  <a:lnTo>
                    <a:pt x="173" y="449"/>
                  </a:lnTo>
                  <a:lnTo>
                    <a:pt x="175" y="447"/>
                  </a:lnTo>
                  <a:lnTo>
                    <a:pt x="175" y="447"/>
                  </a:lnTo>
                  <a:lnTo>
                    <a:pt x="176" y="446"/>
                  </a:lnTo>
                  <a:lnTo>
                    <a:pt x="176" y="443"/>
                  </a:lnTo>
                  <a:lnTo>
                    <a:pt x="176" y="440"/>
                  </a:lnTo>
                  <a:lnTo>
                    <a:pt x="176" y="438"/>
                  </a:lnTo>
                  <a:lnTo>
                    <a:pt x="176" y="437"/>
                  </a:lnTo>
                  <a:lnTo>
                    <a:pt x="176" y="436"/>
                  </a:lnTo>
                  <a:lnTo>
                    <a:pt x="175" y="434"/>
                  </a:lnTo>
                  <a:lnTo>
                    <a:pt x="173" y="434"/>
                  </a:lnTo>
                  <a:lnTo>
                    <a:pt x="173" y="433"/>
                  </a:lnTo>
                  <a:lnTo>
                    <a:pt x="173" y="433"/>
                  </a:lnTo>
                  <a:lnTo>
                    <a:pt x="172" y="433"/>
                  </a:lnTo>
                  <a:lnTo>
                    <a:pt x="172" y="431"/>
                  </a:lnTo>
                  <a:lnTo>
                    <a:pt x="172" y="431"/>
                  </a:lnTo>
                  <a:lnTo>
                    <a:pt x="172" y="430"/>
                  </a:lnTo>
                  <a:lnTo>
                    <a:pt x="172" y="430"/>
                  </a:lnTo>
                  <a:lnTo>
                    <a:pt x="170" y="430"/>
                  </a:lnTo>
                  <a:lnTo>
                    <a:pt x="170" y="428"/>
                  </a:lnTo>
                  <a:lnTo>
                    <a:pt x="170" y="428"/>
                  </a:lnTo>
                  <a:lnTo>
                    <a:pt x="170" y="426"/>
                  </a:lnTo>
                  <a:lnTo>
                    <a:pt x="170" y="426"/>
                  </a:lnTo>
                  <a:lnTo>
                    <a:pt x="170" y="424"/>
                  </a:lnTo>
                  <a:lnTo>
                    <a:pt x="170" y="424"/>
                  </a:lnTo>
                  <a:lnTo>
                    <a:pt x="172" y="423"/>
                  </a:lnTo>
                  <a:lnTo>
                    <a:pt x="172" y="423"/>
                  </a:lnTo>
                  <a:lnTo>
                    <a:pt x="172" y="421"/>
                  </a:lnTo>
                  <a:lnTo>
                    <a:pt x="172" y="420"/>
                  </a:lnTo>
                  <a:lnTo>
                    <a:pt x="170" y="420"/>
                  </a:lnTo>
                  <a:lnTo>
                    <a:pt x="170" y="417"/>
                  </a:lnTo>
                  <a:lnTo>
                    <a:pt x="170" y="414"/>
                  </a:lnTo>
                  <a:lnTo>
                    <a:pt x="169" y="413"/>
                  </a:lnTo>
                  <a:lnTo>
                    <a:pt x="170" y="413"/>
                  </a:lnTo>
                  <a:lnTo>
                    <a:pt x="169" y="413"/>
                  </a:lnTo>
                  <a:lnTo>
                    <a:pt x="167" y="413"/>
                  </a:lnTo>
                  <a:lnTo>
                    <a:pt x="162" y="406"/>
                  </a:lnTo>
                  <a:lnTo>
                    <a:pt x="160" y="404"/>
                  </a:lnTo>
                  <a:lnTo>
                    <a:pt x="159" y="404"/>
                  </a:lnTo>
                  <a:lnTo>
                    <a:pt x="157" y="404"/>
                  </a:lnTo>
                  <a:lnTo>
                    <a:pt x="155" y="403"/>
                  </a:lnTo>
                  <a:lnTo>
                    <a:pt x="152" y="401"/>
                  </a:lnTo>
                  <a:lnTo>
                    <a:pt x="152" y="401"/>
                  </a:lnTo>
                  <a:lnTo>
                    <a:pt x="150" y="400"/>
                  </a:lnTo>
                  <a:lnTo>
                    <a:pt x="150" y="398"/>
                  </a:lnTo>
                  <a:lnTo>
                    <a:pt x="149" y="397"/>
                  </a:lnTo>
                  <a:lnTo>
                    <a:pt x="147" y="396"/>
                  </a:lnTo>
                  <a:lnTo>
                    <a:pt x="144" y="394"/>
                  </a:lnTo>
                  <a:lnTo>
                    <a:pt x="142" y="393"/>
                  </a:lnTo>
                  <a:lnTo>
                    <a:pt x="139" y="393"/>
                  </a:lnTo>
                  <a:lnTo>
                    <a:pt x="136" y="390"/>
                  </a:lnTo>
                  <a:lnTo>
                    <a:pt x="134" y="391"/>
                  </a:lnTo>
                  <a:lnTo>
                    <a:pt x="132" y="381"/>
                  </a:lnTo>
                  <a:lnTo>
                    <a:pt x="129" y="377"/>
                  </a:lnTo>
                  <a:lnTo>
                    <a:pt x="120" y="377"/>
                  </a:lnTo>
                  <a:lnTo>
                    <a:pt x="116" y="368"/>
                  </a:lnTo>
                  <a:lnTo>
                    <a:pt x="109" y="368"/>
                  </a:lnTo>
                  <a:lnTo>
                    <a:pt x="102" y="364"/>
                  </a:lnTo>
                  <a:lnTo>
                    <a:pt x="102" y="364"/>
                  </a:lnTo>
                  <a:lnTo>
                    <a:pt x="113" y="327"/>
                  </a:lnTo>
                  <a:lnTo>
                    <a:pt x="123" y="318"/>
                  </a:lnTo>
                  <a:lnTo>
                    <a:pt x="124" y="314"/>
                  </a:lnTo>
                  <a:lnTo>
                    <a:pt x="124" y="314"/>
                  </a:lnTo>
                  <a:lnTo>
                    <a:pt x="120" y="311"/>
                  </a:lnTo>
                  <a:lnTo>
                    <a:pt x="114" y="310"/>
                  </a:lnTo>
                  <a:lnTo>
                    <a:pt x="104" y="310"/>
                  </a:lnTo>
                  <a:lnTo>
                    <a:pt x="104" y="310"/>
                  </a:lnTo>
                  <a:lnTo>
                    <a:pt x="96" y="308"/>
                  </a:lnTo>
                  <a:lnTo>
                    <a:pt x="90" y="305"/>
                  </a:lnTo>
                  <a:lnTo>
                    <a:pt x="79" y="295"/>
                  </a:lnTo>
                  <a:lnTo>
                    <a:pt x="79" y="295"/>
                  </a:lnTo>
                  <a:lnTo>
                    <a:pt x="69" y="295"/>
                  </a:lnTo>
                  <a:lnTo>
                    <a:pt x="61" y="297"/>
                  </a:lnTo>
                  <a:lnTo>
                    <a:pt x="56" y="301"/>
                  </a:lnTo>
                  <a:lnTo>
                    <a:pt x="51" y="310"/>
                  </a:lnTo>
                  <a:lnTo>
                    <a:pt x="34" y="304"/>
                  </a:lnTo>
                  <a:lnTo>
                    <a:pt x="39" y="290"/>
                  </a:lnTo>
                  <a:lnTo>
                    <a:pt x="39" y="290"/>
                  </a:lnTo>
                  <a:lnTo>
                    <a:pt x="27" y="290"/>
                  </a:lnTo>
                  <a:lnTo>
                    <a:pt x="27" y="290"/>
                  </a:lnTo>
                  <a:lnTo>
                    <a:pt x="18" y="281"/>
                  </a:lnTo>
                  <a:lnTo>
                    <a:pt x="10" y="272"/>
                  </a:lnTo>
                  <a:lnTo>
                    <a:pt x="11" y="265"/>
                  </a:lnTo>
                  <a:lnTo>
                    <a:pt x="11" y="265"/>
                  </a:lnTo>
                  <a:lnTo>
                    <a:pt x="16" y="265"/>
                  </a:lnTo>
                  <a:lnTo>
                    <a:pt x="21" y="265"/>
                  </a:lnTo>
                  <a:lnTo>
                    <a:pt x="31" y="268"/>
                  </a:lnTo>
                  <a:lnTo>
                    <a:pt x="33" y="265"/>
                  </a:lnTo>
                  <a:lnTo>
                    <a:pt x="33" y="265"/>
                  </a:lnTo>
                  <a:lnTo>
                    <a:pt x="30" y="255"/>
                  </a:lnTo>
                  <a:lnTo>
                    <a:pt x="27" y="245"/>
                  </a:lnTo>
                  <a:lnTo>
                    <a:pt x="27" y="245"/>
                  </a:lnTo>
                  <a:lnTo>
                    <a:pt x="18" y="239"/>
                  </a:lnTo>
                  <a:lnTo>
                    <a:pt x="11" y="234"/>
                  </a:lnTo>
                  <a:lnTo>
                    <a:pt x="8" y="231"/>
                  </a:lnTo>
                  <a:lnTo>
                    <a:pt x="7" y="227"/>
                  </a:lnTo>
                  <a:lnTo>
                    <a:pt x="6" y="222"/>
                  </a:lnTo>
                  <a:lnTo>
                    <a:pt x="6" y="216"/>
                  </a:lnTo>
                  <a:lnTo>
                    <a:pt x="0" y="206"/>
                  </a:lnTo>
                  <a:lnTo>
                    <a:pt x="7" y="204"/>
                  </a:lnTo>
                  <a:lnTo>
                    <a:pt x="11" y="204"/>
                  </a:lnTo>
                  <a:lnTo>
                    <a:pt x="17" y="204"/>
                  </a:lnTo>
                  <a:lnTo>
                    <a:pt x="21" y="205"/>
                  </a:lnTo>
                  <a:lnTo>
                    <a:pt x="26" y="204"/>
                  </a:lnTo>
                  <a:lnTo>
                    <a:pt x="28" y="204"/>
                  </a:lnTo>
                  <a:lnTo>
                    <a:pt x="41" y="209"/>
                  </a:lnTo>
                  <a:lnTo>
                    <a:pt x="49" y="206"/>
                  </a:lnTo>
                  <a:lnTo>
                    <a:pt x="54" y="208"/>
                  </a:lnTo>
                  <a:lnTo>
                    <a:pt x="57" y="209"/>
                  </a:lnTo>
                  <a:lnTo>
                    <a:pt x="64" y="211"/>
                  </a:lnTo>
                  <a:lnTo>
                    <a:pt x="70" y="209"/>
                  </a:lnTo>
                  <a:lnTo>
                    <a:pt x="74" y="214"/>
                  </a:lnTo>
                  <a:lnTo>
                    <a:pt x="79" y="214"/>
                  </a:lnTo>
                  <a:lnTo>
                    <a:pt x="83" y="212"/>
                  </a:lnTo>
                  <a:lnTo>
                    <a:pt x="87" y="211"/>
                  </a:lnTo>
                  <a:lnTo>
                    <a:pt x="94" y="204"/>
                  </a:lnTo>
                  <a:lnTo>
                    <a:pt x="97" y="196"/>
                  </a:lnTo>
                  <a:lnTo>
                    <a:pt x="100" y="189"/>
                  </a:lnTo>
                  <a:lnTo>
                    <a:pt x="103" y="185"/>
                  </a:lnTo>
                  <a:lnTo>
                    <a:pt x="106" y="184"/>
                  </a:lnTo>
                  <a:lnTo>
                    <a:pt x="124" y="185"/>
                  </a:lnTo>
                  <a:lnTo>
                    <a:pt x="136" y="176"/>
                  </a:lnTo>
                  <a:lnTo>
                    <a:pt x="136" y="174"/>
                  </a:lnTo>
                  <a:lnTo>
                    <a:pt x="133" y="171"/>
                  </a:lnTo>
                  <a:lnTo>
                    <a:pt x="130" y="166"/>
                  </a:lnTo>
                  <a:lnTo>
                    <a:pt x="137" y="159"/>
                  </a:lnTo>
                  <a:lnTo>
                    <a:pt x="142" y="166"/>
                  </a:lnTo>
                  <a:lnTo>
                    <a:pt x="144" y="168"/>
                  </a:lnTo>
                  <a:lnTo>
                    <a:pt x="144" y="165"/>
                  </a:lnTo>
                  <a:lnTo>
                    <a:pt x="144" y="161"/>
                  </a:lnTo>
                  <a:lnTo>
                    <a:pt x="144" y="158"/>
                  </a:lnTo>
                  <a:lnTo>
                    <a:pt x="147" y="155"/>
                  </a:lnTo>
                  <a:lnTo>
                    <a:pt x="152" y="152"/>
                  </a:lnTo>
                  <a:lnTo>
                    <a:pt x="155" y="148"/>
                  </a:lnTo>
                  <a:lnTo>
                    <a:pt x="160" y="153"/>
                  </a:lnTo>
                  <a:lnTo>
                    <a:pt x="156" y="158"/>
                  </a:lnTo>
                  <a:lnTo>
                    <a:pt x="162" y="163"/>
                  </a:lnTo>
                  <a:lnTo>
                    <a:pt x="166" y="165"/>
                  </a:lnTo>
                  <a:lnTo>
                    <a:pt x="170" y="165"/>
                  </a:lnTo>
                  <a:lnTo>
                    <a:pt x="175" y="163"/>
                  </a:lnTo>
                  <a:lnTo>
                    <a:pt x="179" y="159"/>
                  </a:lnTo>
                  <a:lnTo>
                    <a:pt x="182" y="158"/>
                  </a:lnTo>
                  <a:lnTo>
                    <a:pt x="186" y="155"/>
                  </a:lnTo>
                  <a:lnTo>
                    <a:pt x="187" y="152"/>
                  </a:lnTo>
                  <a:lnTo>
                    <a:pt x="187" y="146"/>
                  </a:lnTo>
                  <a:lnTo>
                    <a:pt x="186" y="143"/>
                  </a:lnTo>
                  <a:lnTo>
                    <a:pt x="192" y="141"/>
                  </a:lnTo>
                  <a:lnTo>
                    <a:pt x="197" y="145"/>
                  </a:lnTo>
                  <a:lnTo>
                    <a:pt x="205" y="145"/>
                  </a:lnTo>
                  <a:lnTo>
                    <a:pt x="213" y="141"/>
                  </a:lnTo>
                  <a:lnTo>
                    <a:pt x="219" y="141"/>
                  </a:lnTo>
                  <a:lnTo>
                    <a:pt x="229" y="143"/>
                  </a:lnTo>
                  <a:lnTo>
                    <a:pt x="236" y="139"/>
                  </a:lnTo>
                  <a:lnTo>
                    <a:pt x="239" y="142"/>
                  </a:lnTo>
                  <a:lnTo>
                    <a:pt x="245" y="138"/>
                  </a:lnTo>
                  <a:lnTo>
                    <a:pt x="248" y="131"/>
                  </a:lnTo>
                  <a:lnTo>
                    <a:pt x="253" y="129"/>
                  </a:lnTo>
                  <a:lnTo>
                    <a:pt x="256" y="126"/>
                  </a:lnTo>
                  <a:lnTo>
                    <a:pt x="262" y="123"/>
                  </a:lnTo>
                  <a:lnTo>
                    <a:pt x="269" y="125"/>
                  </a:lnTo>
                  <a:lnTo>
                    <a:pt x="271" y="122"/>
                  </a:lnTo>
                  <a:lnTo>
                    <a:pt x="271" y="116"/>
                  </a:lnTo>
                  <a:lnTo>
                    <a:pt x="273" y="113"/>
                  </a:lnTo>
                  <a:lnTo>
                    <a:pt x="279" y="109"/>
                  </a:lnTo>
                  <a:lnTo>
                    <a:pt x="282" y="108"/>
                  </a:lnTo>
                  <a:lnTo>
                    <a:pt x="281" y="103"/>
                  </a:lnTo>
                  <a:lnTo>
                    <a:pt x="282" y="100"/>
                  </a:lnTo>
                  <a:lnTo>
                    <a:pt x="285" y="98"/>
                  </a:lnTo>
                  <a:lnTo>
                    <a:pt x="285" y="92"/>
                  </a:lnTo>
                  <a:lnTo>
                    <a:pt x="286" y="86"/>
                  </a:lnTo>
                  <a:lnTo>
                    <a:pt x="291" y="80"/>
                  </a:lnTo>
                  <a:lnTo>
                    <a:pt x="298" y="83"/>
                  </a:lnTo>
                  <a:lnTo>
                    <a:pt x="332" y="65"/>
                  </a:lnTo>
                  <a:lnTo>
                    <a:pt x="344" y="58"/>
                  </a:lnTo>
                  <a:lnTo>
                    <a:pt x="349" y="56"/>
                  </a:lnTo>
                  <a:lnTo>
                    <a:pt x="355" y="58"/>
                  </a:lnTo>
                  <a:lnTo>
                    <a:pt x="356" y="55"/>
                  </a:lnTo>
                  <a:lnTo>
                    <a:pt x="361" y="50"/>
                  </a:lnTo>
                  <a:lnTo>
                    <a:pt x="365" y="45"/>
                  </a:lnTo>
                  <a:lnTo>
                    <a:pt x="371" y="43"/>
                  </a:lnTo>
                  <a:lnTo>
                    <a:pt x="375" y="42"/>
                  </a:lnTo>
                  <a:lnTo>
                    <a:pt x="369" y="33"/>
                  </a:lnTo>
                  <a:lnTo>
                    <a:pt x="374" y="23"/>
                  </a:lnTo>
                  <a:lnTo>
                    <a:pt x="368" y="17"/>
                  </a:lnTo>
                  <a:lnTo>
                    <a:pt x="368" y="16"/>
                  </a:lnTo>
                  <a:lnTo>
                    <a:pt x="374" y="12"/>
                  </a:lnTo>
                  <a:lnTo>
                    <a:pt x="378" y="9"/>
                  </a:lnTo>
                  <a:lnTo>
                    <a:pt x="382" y="7"/>
                  </a:lnTo>
                  <a:lnTo>
                    <a:pt x="394" y="0"/>
                  </a:lnTo>
                  <a:lnTo>
                    <a:pt x="398" y="0"/>
                  </a:lnTo>
                  <a:lnTo>
                    <a:pt x="402" y="5"/>
                  </a:lnTo>
                  <a:lnTo>
                    <a:pt x="404" y="6"/>
                  </a:lnTo>
                  <a:lnTo>
                    <a:pt x="408" y="7"/>
                  </a:lnTo>
                  <a:lnTo>
                    <a:pt x="417" y="6"/>
                  </a:lnTo>
                  <a:lnTo>
                    <a:pt x="419" y="12"/>
                  </a:lnTo>
                  <a:lnTo>
                    <a:pt x="424" y="13"/>
                  </a:lnTo>
                  <a:lnTo>
                    <a:pt x="431" y="19"/>
                  </a:lnTo>
                  <a:lnTo>
                    <a:pt x="422" y="25"/>
                  </a:lnTo>
                  <a:lnTo>
                    <a:pt x="424" y="40"/>
                  </a:lnTo>
                  <a:lnTo>
                    <a:pt x="429" y="42"/>
                  </a:lnTo>
                  <a:lnTo>
                    <a:pt x="435" y="40"/>
                  </a:lnTo>
                  <a:lnTo>
                    <a:pt x="440" y="40"/>
                  </a:lnTo>
                  <a:lnTo>
                    <a:pt x="442" y="37"/>
                  </a:lnTo>
                  <a:lnTo>
                    <a:pt x="447" y="36"/>
                  </a:lnTo>
                  <a:lnTo>
                    <a:pt x="450" y="37"/>
                  </a:lnTo>
                  <a:lnTo>
                    <a:pt x="454" y="39"/>
                  </a:lnTo>
                  <a:lnTo>
                    <a:pt x="455" y="42"/>
                  </a:lnTo>
                  <a:lnTo>
                    <a:pt x="455" y="46"/>
                  </a:lnTo>
                  <a:lnTo>
                    <a:pt x="454" y="49"/>
                  </a:lnTo>
                  <a:lnTo>
                    <a:pt x="452" y="53"/>
                  </a:lnTo>
                  <a:lnTo>
                    <a:pt x="450" y="55"/>
                  </a:lnTo>
                  <a:lnTo>
                    <a:pt x="447" y="55"/>
                  </a:lnTo>
                  <a:lnTo>
                    <a:pt x="441" y="55"/>
                  </a:lnTo>
                  <a:lnTo>
                    <a:pt x="435" y="52"/>
                  </a:lnTo>
                  <a:lnTo>
                    <a:pt x="434" y="50"/>
                  </a:lnTo>
                  <a:lnTo>
                    <a:pt x="429" y="52"/>
                  </a:lnTo>
                  <a:lnTo>
                    <a:pt x="427" y="55"/>
                  </a:lnTo>
                  <a:lnTo>
                    <a:pt x="425" y="60"/>
                  </a:lnTo>
                  <a:lnTo>
                    <a:pt x="427" y="65"/>
                  </a:lnTo>
                  <a:lnTo>
                    <a:pt x="428" y="68"/>
                  </a:lnTo>
                  <a:lnTo>
                    <a:pt x="422" y="70"/>
                  </a:lnTo>
                  <a:lnTo>
                    <a:pt x="418" y="73"/>
                  </a:lnTo>
                  <a:lnTo>
                    <a:pt x="422" y="79"/>
                  </a:lnTo>
                  <a:lnTo>
                    <a:pt x="427" y="78"/>
                  </a:lnTo>
                  <a:lnTo>
                    <a:pt x="432" y="80"/>
                  </a:lnTo>
                  <a:lnTo>
                    <a:pt x="434" y="82"/>
                  </a:lnTo>
                  <a:lnTo>
                    <a:pt x="432" y="89"/>
                  </a:lnTo>
                  <a:lnTo>
                    <a:pt x="431" y="92"/>
                  </a:lnTo>
                  <a:lnTo>
                    <a:pt x="431" y="99"/>
                  </a:lnTo>
                  <a:lnTo>
                    <a:pt x="431" y="105"/>
                  </a:lnTo>
                  <a:lnTo>
                    <a:pt x="432" y="109"/>
                  </a:lnTo>
                  <a:lnTo>
                    <a:pt x="445" y="105"/>
                  </a:lnTo>
                  <a:lnTo>
                    <a:pt x="445" y="105"/>
                  </a:lnTo>
                  <a:lnTo>
                    <a:pt x="444" y="111"/>
                  </a:lnTo>
                  <a:lnTo>
                    <a:pt x="435" y="125"/>
                  </a:lnTo>
                  <a:lnTo>
                    <a:pt x="428" y="145"/>
                  </a:lnTo>
                  <a:lnTo>
                    <a:pt x="428" y="151"/>
                  </a:lnTo>
                  <a:lnTo>
                    <a:pt x="429" y="155"/>
                  </a:lnTo>
                  <a:lnTo>
                    <a:pt x="431" y="159"/>
                  </a:lnTo>
                  <a:lnTo>
                    <a:pt x="434" y="166"/>
                  </a:lnTo>
                  <a:lnTo>
                    <a:pt x="432" y="172"/>
                  </a:lnTo>
                  <a:lnTo>
                    <a:pt x="431" y="192"/>
                  </a:lnTo>
                  <a:lnTo>
                    <a:pt x="431" y="201"/>
                  </a:lnTo>
                  <a:lnTo>
                    <a:pt x="432" y="205"/>
                  </a:lnTo>
                  <a:lnTo>
                    <a:pt x="434" y="212"/>
                  </a:lnTo>
                  <a:lnTo>
                    <a:pt x="431" y="216"/>
                  </a:lnTo>
                  <a:lnTo>
                    <a:pt x="428" y="222"/>
                  </a:lnTo>
                  <a:lnTo>
                    <a:pt x="431" y="227"/>
                  </a:lnTo>
                  <a:lnTo>
                    <a:pt x="434" y="235"/>
                  </a:lnTo>
                  <a:lnTo>
                    <a:pt x="440" y="238"/>
                  </a:lnTo>
                  <a:lnTo>
                    <a:pt x="445" y="239"/>
                  </a:lnTo>
                  <a:lnTo>
                    <a:pt x="450" y="249"/>
                  </a:lnTo>
                  <a:lnTo>
                    <a:pt x="448" y="272"/>
                  </a:lnTo>
                  <a:lnTo>
                    <a:pt x="450" y="275"/>
                  </a:lnTo>
                  <a:lnTo>
                    <a:pt x="451" y="282"/>
                  </a:lnTo>
                  <a:lnTo>
                    <a:pt x="457" y="285"/>
                  </a:lnTo>
                  <a:lnTo>
                    <a:pt x="461" y="284"/>
                  </a:lnTo>
                  <a:lnTo>
                    <a:pt x="468" y="284"/>
                  </a:lnTo>
                  <a:lnTo>
                    <a:pt x="471" y="287"/>
                  </a:lnTo>
                  <a:lnTo>
                    <a:pt x="468" y="295"/>
                  </a:lnTo>
                  <a:lnTo>
                    <a:pt x="467" y="300"/>
                  </a:lnTo>
                  <a:lnTo>
                    <a:pt x="462" y="307"/>
                  </a:lnTo>
                  <a:lnTo>
                    <a:pt x="460" y="314"/>
                  </a:lnTo>
                  <a:lnTo>
                    <a:pt x="458" y="317"/>
                  </a:lnTo>
                  <a:lnTo>
                    <a:pt x="457" y="322"/>
                  </a:lnTo>
                  <a:lnTo>
                    <a:pt x="455" y="332"/>
                  </a:lnTo>
                  <a:lnTo>
                    <a:pt x="455" y="340"/>
                  </a:lnTo>
                  <a:lnTo>
                    <a:pt x="454" y="344"/>
                  </a:lnTo>
                  <a:lnTo>
                    <a:pt x="450" y="361"/>
                  </a:lnTo>
                  <a:lnTo>
                    <a:pt x="452" y="364"/>
                  </a:lnTo>
                  <a:lnTo>
                    <a:pt x="457" y="364"/>
                  </a:lnTo>
                  <a:lnTo>
                    <a:pt x="462" y="367"/>
                  </a:lnTo>
                  <a:lnTo>
                    <a:pt x="465" y="367"/>
                  </a:lnTo>
                  <a:lnTo>
                    <a:pt x="468" y="371"/>
                  </a:lnTo>
                  <a:lnTo>
                    <a:pt x="465" y="378"/>
                  </a:lnTo>
                  <a:lnTo>
                    <a:pt x="462" y="383"/>
                  </a:lnTo>
                  <a:lnTo>
                    <a:pt x="460" y="387"/>
                  </a:lnTo>
                  <a:lnTo>
                    <a:pt x="455" y="393"/>
                  </a:lnTo>
                  <a:lnTo>
                    <a:pt x="452" y="393"/>
                  </a:lnTo>
                  <a:lnTo>
                    <a:pt x="450" y="391"/>
                  </a:lnTo>
                  <a:lnTo>
                    <a:pt x="448" y="387"/>
                  </a:lnTo>
                  <a:lnTo>
                    <a:pt x="448" y="383"/>
                  </a:lnTo>
                  <a:lnTo>
                    <a:pt x="451" y="380"/>
                  </a:lnTo>
                  <a:lnTo>
                    <a:pt x="451" y="375"/>
                  </a:lnTo>
                  <a:lnTo>
                    <a:pt x="450" y="373"/>
                  </a:lnTo>
                  <a:lnTo>
                    <a:pt x="448" y="371"/>
                  </a:lnTo>
                  <a:lnTo>
                    <a:pt x="442" y="383"/>
                  </a:lnTo>
                  <a:lnTo>
                    <a:pt x="440" y="390"/>
                  </a:lnTo>
                  <a:lnTo>
                    <a:pt x="440" y="393"/>
                  </a:lnTo>
                  <a:lnTo>
                    <a:pt x="444" y="394"/>
                  </a:lnTo>
                  <a:lnTo>
                    <a:pt x="448" y="397"/>
                  </a:lnTo>
                  <a:lnTo>
                    <a:pt x="451" y="400"/>
                  </a:lnTo>
                  <a:lnTo>
                    <a:pt x="452" y="407"/>
                  </a:lnTo>
                  <a:lnTo>
                    <a:pt x="451" y="416"/>
                  </a:lnTo>
                  <a:lnTo>
                    <a:pt x="447" y="420"/>
                  </a:lnTo>
                  <a:lnTo>
                    <a:pt x="441" y="420"/>
                  </a:lnTo>
                  <a:lnTo>
                    <a:pt x="437" y="418"/>
                  </a:lnTo>
                  <a:lnTo>
                    <a:pt x="437" y="427"/>
                  </a:lnTo>
                  <a:lnTo>
                    <a:pt x="435" y="436"/>
                  </a:lnTo>
                  <a:lnTo>
                    <a:pt x="441" y="440"/>
                  </a:lnTo>
                  <a:lnTo>
                    <a:pt x="440" y="446"/>
                  </a:lnTo>
                  <a:lnTo>
                    <a:pt x="440" y="450"/>
                  </a:lnTo>
                  <a:lnTo>
                    <a:pt x="441" y="453"/>
                  </a:lnTo>
                  <a:lnTo>
                    <a:pt x="444" y="454"/>
                  </a:lnTo>
                  <a:lnTo>
                    <a:pt x="450" y="449"/>
                  </a:lnTo>
                  <a:lnTo>
                    <a:pt x="450" y="446"/>
                  </a:lnTo>
                  <a:lnTo>
                    <a:pt x="450" y="453"/>
                  </a:lnTo>
                  <a:lnTo>
                    <a:pt x="445" y="457"/>
                  </a:lnTo>
                  <a:lnTo>
                    <a:pt x="452" y="461"/>
                  </a:lnTo>
                  <a:lnTo>
                    <a:pt x="465" y="457"/>
                  </a:lnTo>
                  <a:lnTo>
                    <a:pt x="470" y="456"/>
                  </a:lnTo>
                  <a:lnTo>
                    <a:pt x="477" y="454"/>
                  </a:lnTo>
                  <a:lnTo>
                    <a:pt x="490" y="451"/>
                  </a:lnTo>
                  <a:lnTo>
                    <a:pt x="494" y="451"/>
                  </a:lnTo>
                  <a:lnTo>
                    <a:pt x="500" y="453"/>
                  </a:lnTo>
                  <a:lnTo>
                    <a:pt x="504" y="454"/>
                  </a:lnTo>
                  <a:lnTo>
                    <a:pt x="503" y="461"/>
                  </a:lnTo>
                  <a:lnTo>
                    <a:pt x="504" y="463"/>
                  </a:lnTo>
                  <a:lnTo>
                    <a:pt x="508" y="466"/>
                  </a:lnTo>
                  <a:lnTo>
                    <a:pt x="511" y="469"/>
                  </a:lnTo>
                  <a:lnTo>
                    <a:pt x="518" y="470"/>
                  </a:lnTo>
                  <a:lnTo>
                    <a:pt x="518" y="474"/>
                  </a:lnTo>
                  <a:lnTo>
                    <a:pt x="511" y="476"/>
                  </a:lnTo>
                  <a:lnTo>
                    <a:pt x="505" y="477"/>
                  </a:lnTo>
                  <a:lnTo>
                    <a:pt x="504" y="480"/>
                  </a:lnTo>
                  <a:lnTo>
                    <a:pt x="501" y="484"/>
                  </a:lnTo>
                  <a:lnTo>
                    <a:pt x="503" y="487"/>
                  </a:lnTo>
                  <a:lnTo>
                    <a:pt x="505" y="493"/>
                  </a:lnTo>
                  <a:lnTo>
                    <a:pt x="503" y="499"/>
                  </a:lnTo>
                  <a:lnTo>
                    <a:pt x="497" y="503"/>
                  </a:lnTo>
                  <a:lnTo>
                    <a:pt x="491" y="510"/>
                  </a:lnTo>
                  <a:lnTo>
                    <a:pt x="482" y="512"/>
                  </a:lnTo>
                  <a:lnTo>
                    <a:pt x="477" y="510"/>
                  </a:lnTo>
                  <a:lnTo>
                    <a:pt x="474" y="509"/>
                  </a:lnTo>
                  <a:lnTo>
                    <a:pt x="470" y="509"/>
                  </a:lnTo>
                  <a:lnTo>
                    <a:pt x="465" y="507"/>
                  </a:lnTo>
                  <a:lnTo>
                    <a:pt x="462" y="509"/>
                  </a:lnTo>
                  <a:lnTo>
                    <a:pt x="460" y="510"/>
                  </a:lnTo>
                  <a:lnTo>
                    <a:pt x="458" y="520"/>
                  </a:lnTo>
                  <a:lnTo>
                    <a:pt x="460" y="524"/>
                  </a:lnTo>
                  <a:lnTo>
                    <a:pt x="465" y="526"/>
                  </a:lnTo>
                  <a:lnTo>
                    <a:pt x="474" y="526"/>
                  </a:lnTo>
                  <a:lnTo>
                    <a:pt x="482" y="526"/>
                  </a:lnTo>
                  <a:lnTo>
                    <a:pt x="484" y="527"/>
                  </a:lnTo>
                  <a:lnTo>
                    <a:pt x="481" y="529"/>
                  </a:lnTo>
                  <a:lnTo>
                    <a:pt x="474" y="532"/>
                  </a:lnTo>
                  <a:lnTo>
                    <a:pt x="470" y="532"/>
                  </a:lnTo>
                  <a:lnTo>
                    <a:pt x="468" y="534"/>
                  </a:lnTo>
                  <a:lnTo>
                    <a:pt x="470" y="540"/>
                  </a:lnTo>
                  <a:lnTo>
                    <a:pt x="474" y="539"/>
                  </a:lnTo>
                  <a:lnTo>
                    <a:pt x="477" y="536"/>
                  </a:lnTo>
                  <a:lnTo>
                    <a:pt x="480" y="536"/>
                  </a:lnTo>
                  <a:lnTo>
                    <a:pt x="482" y="537"/>
                  </a:lnTo>
                  <a:lnTo>
                    <a:pt x="484" y="543"/>
                  </a:lnTo>
                  <a:lnTo>
                    <a:pt x="490" y="552"/>
                  </a:lnTo>
                  <a:lnTo>
                    <a:pt x="488" y="554"/>
                  </a:lnTo>
                  <a:lnTo>
                    <a:pt x="482" y="560"/>
                  </a:lnTo>
                  <a:lnTo>
                    <a:pt x="481" y="566"/>
                  </a:lnTo>
                  <a:lnTo>
                    <a:pt x="484" y="570"/>
                  </a:lnTo>
                  <a:lnTo>
                    <a:pt x="484" y="575"/>
                  </a:lnTo>
                  <a:lnTo>
                    <a:pt x="480" y="575"/>
                  </a:lnTo>
                  <a:lnTo>
                    <a:pt x="474" y="572"/>
                  </a:lnTo>
                  <a:lnTo>
                    <a:pt x="470" y="575"/>
                  </a:lnTo>
                  <a:lnTo>
                    <a:pt x="468" y="576"/>
                  </a:lnTo>
                  <a:lnTo>
                    <a:pt x="460" y="585"/>
                  </a:lnTo>
                  <a:lnTo>
                    <a:pt x="457" y="587"/>
                  </a:lnTo>
                  <a:lnTo>
                    <a:pt x="457" y="602"/>
                  </a:lnTo>
                  <a:lnTo>
                    <a:pt x="454" y="609"/>
                  </a:lnTo>
                  <a:lnTo>
                    <a:pt x="452" y="613"/>
                  </a:lnTo>
                  <a:lnTo>
                    <a:pt x="442" y="622"/>
                  </a:lnTo>
                  <a:lnTo>
                    <a:pt x="445" y="626"/>
                  </a:lnTo>
                  <a:lnTo>
                    <a:pt x="454" y="622"/>
                  </a:lnTo>
                  <a:lnTo>
                    <a:pt x="457" y="620"/>
                  </a:lnTo>
                  <a:lnTo>
                    <a:pt x="464" y="619"/>
                  </a:lnTo>
                  <a:lnTo>
                    <a:pt x="464" y="616"/>
                  </a:lnTo>
                  <a:lnTo>
                    <a:pt x="465" y="610"/>
                  </a:lnTo>
                  <a:lnTo>
                    <a:pt x="465" y="607"/>
                  </a:lnTo>
                  <a:lnTo>
                    <a:pt x="467" y="599"/>
                  </a:lnTo>
                  <a:lnTo>
                    <a:pt x="472" y="603"/>
                  </a:lnTo>
                  <a:lnTo>
                    <a:pt x="474" y="609"/>
                  </a:lnTo>
                  <a:lnTo>
                    <a:pt x="478" y="612"/>
                  </a:lnTo>
                  <a:lnTo>
                    <a:pt x="485" y="618"/>
                  </a:lnTo>
                  <a:lnTo>
                    <a:pt x="482" y="620"/>
                  </a:lnTo>
                  <a:lnTo>
                    <a:pt x="477" y="626"/>
                  </a:lnTo>
                  <a:lnTo>
                    <a:pt x="472" y="630"/>
                  </a:lnTo>
                  <a:lnTo>
                    <a:pt x="474" y="638"/>
                  </a:lnTo>
                  <a:lnTo>
                    <a:pt x="475" y="643"/>
                  </a:lnTo>
                  <a:lnTo>
                    <a:pt x="478" y="648"/>
                  </a:lnTo>
                  <a:lnTo>
                    <a:pt x="478" y="649"/>
                  </a:lnTo>
                  <a:lnTo>
                    <a:pt x="493" y="650"/>
                  </a:lnTo>
                  <a:lnTo>
                    <a:pt x="497" y="649"/>
                  </a:lnTo>
                  <a:lnTo>
                    <a:pt x="505" y="649"/>
                  </a:lnTo>
                  <a:lnTo>
                    <a:pt x="508" y="646"/>
                  </a:lnTo>
                  <a:lnTo>
                    <a:pt x="511" y="645"/>
                  </a:lnTo>
                  <a:lnTo>
                    <a:pt x="515" y="649"/>
                  </a:lnTo>
                  <a:lnTo>
                    <a:pt x="520" y="653"/>
                  </a:lnTo>
                  <a:lnTo>
                    <a:pt x="524" y="655"/>
                  </a:lnTo>
                  <a:lnTo>
                    <a:pt x="530" y="653"/>
                  </a:lnTo>
                  <a:lnTo>
                    <a:pt x="534" y="650"/>
                  </a:lnTo>
                  <a:lnTo>
                    <a:pt x="535" y="645"/>
                  </a:lnTo>
                  <a:lnTo>
                    <a:pt x="540" y="642"/>
                  </a:lnTo>
                  <a:lnTo>
                    <a:pt x="543" y="642"/>
                  </a:lnTo>
                  <a:lnTo>
                    <a:pt x="548" y="643"/>
                  </a:lnTo>
                  <a:lnTo>
                    <a:pt x="551" y="648"/>
                  </a:lnTo>
                  <a:lnTo>
                    <a:pt x="554" y="650"/>
                  </a:lnTo>
                  <a:lnTo>
                    <a:pt x="563" y="656"/>
                  </a:lnTo>
                  <a:lnTo>
                    <a:pt x="564" y="662"/>
                  </a:lnTo>
                  <a:lnTo>
                    <a:pt x="570" y="678"/>
                  </a:lnTo>
                  <a:lnTo>
                    <a:pt x="571" y="686"/>
                  </a:lnTo>
                  <a:lnTo>
                    <a:pt x="571" y="691"/>
                  </a:lnTo>
                  <a:lnTo>
                    <a:pt x="574" y="693"/>
                  </a:lnTo>
                  <a:lnTo>
                    <a:pt x="588" y="695"/>
                  </a:lnTo>
                  <a:lnTo>
                    <a:pt x="590" y="696"/>
                  </a:lnTo>
                  <a:lnTo>
                    <a:pt x="594" y="699"/>
                  </a:lnTo>
                  <a:lnTo>
                    <a:pt x="598" y="699"/>
                  </a:lnTo>
                  <a:lnTo>
                    <a:pt x="601" y="705"/>
                  </a:lnTo>
                  <a:lnTo>
                    <a:pt x="607" y="706"/>
                  </a:lnTo>
                  <a:lnTo>
                    <a:pt x="613" y="708"/>
                  </a:lnTo>
                  <a:lnTo>
                    <a:pt x="617" y="706"/>
                  </a:lnTo>
                  <a:lnTo>
                    <a:pt x="623" y="705"/>
                  </a:lnTo>
                  <a:lnTo>
                    <a:pt x="626" y="703"/>
                  </a:lnTo>
                  <a:lnTo>
                    <a:pt x="630" y="698"/>
                  </a:lnTo>
                  <a:lnTo>
                    <a:pt x="636" y="689"/>
                  </a:lnTo>
                  <a:lnTo>
                    <a:pt x="639" y="678"/>
                  </a:lnTo>
                  <a:lnTo>
                    <a:pt x="647" y="682"/>
                  </a:lnTo>
                  <a:lnTo>
                    <a:pt x="654" y="673"/>
                  </a:lnTo>
                  <a:lnTo>
                    <a:pt x="647" y="666"/>
                  </a:lnTo>
                  <a:lnTo>
                    <a:pt x="656" y="655"/>
                  </a:lnTo>
                  <a:lnTo>
                    <a:pt x="672" y="648"/>
                  </a:lnTo>
                  <a:lnTo>
                    <a:pt x="682" y="656"/>
                  </a:lnTo>
                  <a:lnTo>
                    <a:pt x="689" y="663"/>
                  </a:lnTo>
                  <a:lnTo>
                    <a:pt x="692" y="630"/>
                  </a:lnTo>
                  <a:lnTo>
                    <a:pt x="693" y="625"/>
                  </a:lnTo>
                  <a:lnTo>
                    <a:pt x="697" y="628"/>
                  </a:lnTo>
                  <a:lnTo>
                    <a:pt x="703" y="632"/>
                  </a:lnTo>
                  <a:lnTo>
                    <a:pt x="704" y="633"/>
                  </a:lnTo>
                  <a:lnTo>
                    <a:pt x="712" y="638"/>
                  </a:lnTo>
                  <a:lnTo>
                    <a:pt x="706" y="648"/>
                  </a:lnTo>
                  <a:lnTo>
                    <a:pt x="706" y="653"/>
                  </a:lnTo>
                  <a:lnTo>
                    <a:pt x="707" y="660"/>
                  </a:lnTo>
                  <a:lnTo>
                    <a:pt x="707" y="666"/>
                  </a:lnTo>
                  <a:lnTo>
                    <a:pt x="707" y="670"/>
                  </a:lnTo>
                  <a:lnTo>
                    <a:pt x="707" y="678"/>
                  </a:lnTo>
                  <a:lnTo>
                    <a:pt x="707" y="679"/>
                  </a:lnTo>
                  <a:lnTo>
                    <a:pt x="709" y="683"/>
                  </a:lnTo>
                  <a:lnTo>
                    <a:pt x="710" y="682"/>
                  </a:lnTo>
                  <a:lnTo>
                    <a:pt x="712" y="678"/>
                  </a:lnTo>
                  <a:lnTo>
                    <a:pt x="716" y="673"/>
                  </a:lnTo>
                  <a:lnTo>
                    <a:pt x="720" y="669"/>
                  </a:lnTo>
                  <a:lnTo>
                    <a:pt x="722" y="666"/>
                  </a:lnTo>
                  <a:lnTo>
                    <a:pt x="726" y="660"/>
                  </a:lnTo>
                  <a:lnTo>
                    <a:pt x="729" y="659"/>
                  </a:lnTo>
                  <a:lnTo>
                    <a:pt x="730" y="658"/>
                  </a:lnTo>
                  <a:lnTo>
                    <a:pt x="735" y="656"/>
                  </a:lnTo>
                  <a:lnTo>
                    <a:pt x="737" y="656"/>
                  </a:lnTo>
                  <a:lnTo>
                    <a:pt x="740" y="660"/>
                  </a:lnTo>
                  <a:lnTo>
                    <a:pt x="745" y="662"/>
                  </a:lnTo>
                  <a:lnTo>
                    <a:pt x="752" y="663"/>
                  </a:lnTo>
                  <a:lnTo>
                    <a:pt x="752" y="665"/>
                  </a:lnTo>
                  <a:lnTo>
                    <a:pt x="749" y="669"/>
                  </a:lnTo>
                  <a:lnTo>
                    <a:pt x="749" y="670"/>
                  </a:lnTo>
                  <a:lnTo>
                    <a:pt x="750" y="673"/>
                  </a:lnTo>
                  <a:lnTo>
                    <a:pt x="755" y="676"/>
                  </a:lnTo>
                  <a:lnTo>
                    <a:pt x="757" y="678"/>
                  </a:lnTo>
                  <a:lnTo>
                    <a:pt x="763" y="682"/>
                  </a:lnTo>
                  <a:lnTo>
                    <a:pt x="765" y="686"/>
                  </a:lnTo>
                  <a:lnTo>
                    <a:pt x="766" y="688"/>
                  </a:lnTo>
                  <a:lnTo>
                    <a:pt x="770" y="688"/>
                  </a:lnTo>
                  <a:lnTo>
                    <a:pt x="779" y="688"/>
                  </a:lnTo>
                  <a:lnTo>
                    <a:pt x="782" y="692"/>
                  </a:lnTo>
                  <a:lnTo>
                    <a:pt x="785" y="696"/>
                  </a:lnTo>
                  <a:lnTo>
                    <a:pt x="790" y="703"/>
                  </a:lnTo>
                  <a:lnTo>
                    <a:pt x="796" y="711"/>
                  </a:lnTo>
                  <a:lnTo>
                    <a:pt x="798" y="715"/>
                  </a:lnTo>
                  <a:lnTo>
                    <a:pt x="795" y="721"/>
                  </a:lnTo>
                  <a:lnTo>
                    <a:pt x="788" y="731"/>
                  </a:lnTo>
                  <a:lnTo>
                    <a:pt x="782" y="734"/>
                  </a:lnTo>
                  <a:lnTo>
                    <a:pt x="776" y="735"/>
                  </a:lnTo>
                  <a:lnTo>
                    <a:pt x="772" y="736"/>
                  </a:lnTo>
                  <a:lnTo>
                    <a:pt x="766" y="738"/>
                  </a:lnTo>
                  <a:lnTo>
                    <a:pt x="760" y="738"/>
                  </a:lnTo>
                  <a:lnTo>
                    <a:pt x="756" y="739"/>
                  </a:lnTo>
                  <a:lnTo>
                    <a:pt x="752" y="742"/>
                  </a:lnTo>
                  <a:lnTo>
                    <a:pt x="746" y="748"/>
                  </a:lnTo>
                  <a:lnTo>
                    <a:pt x="749" y="755"/>
                  </a:lnTo>
                  <a:lnTo>
                    <a:pt x="750" y="76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77" name="Freeform 125"/>
            <p:cNvSpPr>
              <a:spLocks noEditPoints="1"/>
            </p:cNvSpPr>
            <p:nvPr/>
          </p:nvSpPr>
          <p:spPr bwMode="auto">
            <a:xfrm>
              <a:off x="2205418" y="4269813"/>
              <a:ext cx="217363" cy="407454"/>
            </a:xfrm>
            <a:custGeom>
              <a:avLst/>
              <a:gdLst>
                <a:gd name="T0" fmla="*/ 188 w 357"/>
                <a:gd name="T1" fmla="*/ 80 h 616"/>
                <a:gd name="T2" fmla="*/ 198 w 357"/>
                <a:gd name="T3" fmla="*/ 114 h 616"/>
                <a:gd name="T4" fmla="*/ 176 w 357"/>
                <a:gd name="T5" fmla="*/ 156 h 616"/>
                <a:gd name="T6" fmla="*/ 175 w 357"/>
                <a:gd name="T7" fmla="*/ 223 h 616"/>
                <a:gd name="T8" fmla="*/ 235 w 357"/>
                <a:gd name="T9" fmla="*/ 233 h 616"/>
                <a:gd name="T10" fmla="*/ 186 w 357"/>
                <a:gd name="T11" fmla="*/ 258 h 616"/>
                <a:gd name="T12" fmla="*/ 171 w 357"/>
                <a:gd name="T13" fmla="*/ 319 h 616"/>
                <a:gd name="T14" fmla="*/ 169 w 357"/>
                <a:gd name="T15" fmla="*/ 375 h 616"/>
                <a:gd name="T16" fmla="*/ 123 w 357"/>
                <a:gd name="T17" fmla="*/ 378 h 616"/>
                <a:gd name="T18" fmla="*/ 75 w 357"/>
                <a:gd name="T19" fmla="*/ 368 h 616"/>
                <a:gd name="T20" fmla="*/ 79 w 357"/>
                <a:gd name="T21" fmla="*/ 429 h 616"/>
                <a:gd name="T22" fmla="*/ 40 w 357"/>
                <a:gd name="T23" fmla="*/ 507 h 616"/>
                <a:gd name="T24" fmla="*/ 49 w 357"/>
                <a:gd name="T25" fmla="*/ 548 h 616"/>
                <a:gd name="T26" fmla="*/ 72 w 357"/>
                <a:gd name="T27" fmla="*/ 535 h 616"/>
                <a:gd name="T28" fmla="*/ 82 w 357"/>
                <a:gd name="T29" fmla="*/ 527 h 616"/>
                <a:gd name="T30" fmla="*/ 86 w 357"/>
                <a:gd name="T31" fmla="*/ 541 h 616"/>
                <a:gd name="T32" fmla="*/ 82 w 357"/>
                <a:gd name="T33" fmla="*/ 554 h 616"/>
                <a:gd name="T34" fmla="*/ 93 w 357"/>
                <a:gd name="T35" fmla="*/ 551 h 616"/>
                <a:gd name="T36" fmla="*/ 100 w 357"/>
                <a:gd name="T37" fmla="*/ 544 h 616"/>
                <a:gd name="T38" fmla="*/ 106 w 357"/>
                <a:gd name="T39" fmla="*/ 537 h 616"/>
                <a:gd name="T40" fmla="*/ 112 w 357"/>
                <a:gd name="T41" fmla="*/ 533 h 616"/>
                <a:gd name="T42" fmla="*/ 109 w 357"/>
                <a:gd name="T43" fmla="*/ 544 h 616"/>
                <a:gd name="T44" fmla="*/ 99 w 357"/>
                <a:gd name="T45" fmla="*/ 550 h 616"/>
                <a:gd name="T46" fmla="*/ 139 w 357"/>
                <a:gd name="T47" fmla="*/ 581 h 616"/>
                <a:gd name="T48" fmla="*/ 169 w 357"/>
                <a:gd name="T49" fmla="*/ 577 h 616"/>
                <a:gd name="T50" fmla="*/ 186 w 357"/>
                <a:gd name="T51" fmla="*/ 597 h 616"/>
                <a:gd name="T52" fmla="*/ 202 w 357"/>
                <a:gd name="T53" fmla="*/ 584 h 616"/>
                <a:gd name="T54" fmla="*/ 238 w 357"/>
                <a:gd name="T55" fmla="*/ 587 h 616"/>
                <a:gd name="T56" fmla="*/ 278 w 357"/>
                <a:gd name="T57" fmla="*/ 570 h 616"/>
                <a:gd name="T58" fmla="*/ 266 w 357"/>
                <a:gd name="T59" fmla="*/ 523 h 616"/>
                <a:gd name="T60" fmla="*/ 278 w 357"/>
                <a:gd name="T61" fmla="*/ 482 h 616"/>
                <a:gd name="T62" fmla="*/ 311 w 357"/>
                <a:gd name="T63" fmla="*/ 515 h 616"/>
                <a:gd name="T64" fmla="*/ 338 w 357"/>
                <a:gd name="T65" fmla="*/ 428 h 616"/>
                <a:gd name="T66" fmla="*/ 357 w 357"/>
                <a:gd name="T67" fmla="*/ 336 h 616"/>
                <a:gd name="T68" fmla="*/ 314 w 357"/>
                <a:gd name="T69" fmla="*/ 268 h 616"/>
                <a:gd name="T70" fmla="*/ 302 w 357"/>
                <a:gd name="T71" fmla="*/ 216 h 616"/>
                <a:gd name="T72" fmla="*/ 342 w 357"/>
                <a:gd name="T73" fmla="*/ 187 h 616"/>
                <a:gd name="T74" fmla="*/ 348 w 357"/>
                <a:gd name="T75" fmla="*/ 89 h 616"/>
                <a:gd name="T76" fmla="*/ 325 w 357"/>
                <a:gd name="T77" fmla="*/ 37 h 616"/>
                <a:gd name="T78" fmla="*/ 259 w 357"/>
                <a:gd name="T79" fmla="*/ 21 h 616"/>
                <a:gd name="T80" fmla="*/ 229 w 357"/>
                <a:gd name="T81" fmla="*/ 18 h 616"/>
                <a:gd name="T82" fmla="*/ 285 w 357"/>
                <a:gd name="T83" fmla="*/ 571 h 616"/>
                <a:gd name="T84" fmla="*/ 284 w 357"/>
                <a:gd name="T85" fmla="*/ 574 h 616"/>
                <a:gd name="T86" fmla="*/ 219 w 357"/>
                <a:gd name="T87" fmla="*/ 598 h 616"/>
                <a:gd name="T88" fmla="*/ 162 w 357"/>
                <a:gd name="T89" fmla="*/ 613 h 616"/>
                <a:gd name="T90" fmla="*/ 152 w 357"/>
                <a:gd name="T91" fmla="*/ 597 h 616"/>
                <a:gd name="T92" fmla="*/ 156 w 357"/>
                <a:gd name="T93" fmla="*/ 608 h 616"/>
                <a:gd name="T94" fmla="*/ 261 w 357"/>
                <a:gd name="T95" fmla="*/ 598 h 616"/>
                <a:gd name="T96" fmla="*/ 93 w 357"/>
                <a:gd name="T97" fmla="*/ 580 h 616"/>
                <a:gd name="T98" fmla="*/ 77 w 357"/>
                <a:gd name="T99" fmla="*/ 591 h 616"/>
                <a:gd name="T100" fmla="*/ 69 w 357"/>
                <a:gd name="T101" fmla="*/ 583 h 616"/>
                <a:gd name="T102" fmla="*/ 69 w 357"/>
                <a:gd name="T103" fmla="*/ 583 h 616"/>
                <a:gd name="T104" fmla="*/ 79 w 357"/>
                <a:gd name="T105" fmla="*/ 564 h 616"/>
                <a:gd name="T106" fmla="*/ 199 w 357"/>
                <a:gd name="T107" fmla="*/ 598 h 616"/>
                <a:gd name="T108" fmla="*/ 203 w 357"/>
                <a:gd name="T109" fmla="*/ 594 h 616"/>
                <a:gd name="T110" fmla="*/ 202 w 357"/>
                <a:gd name="T111" fmla="*/ 601 h 616"/>
                <a:gd name="T112" fmla="*/ 176 w 357"/>
                <a:gd name="T113" fmla="*/ 611 h 616"/>
                <a:gd name="T114" fmla="*/ 186 w 357"/>
                <a:gd name="T115" fmla="*/ 601 h 616"/>
                <a:gd name="T116" fmla="*/ 179 w 357"/>
                <a:gd name="T117" fmla="*/ 598 h 616"/>
                <a:gd name="T118" fmla="*/ 182 w 357"/>
                <a:gd name="T119" fmla="*/ 606 h 616"/>
                <a:gd name="T120" fmla="*/ 284 w 357"/>
                <a:gd name="T121" fmla="*/ 587 h 616"/>
                <a:gd name="T122" fmla="*/ 285 w 357"/>
                <a:gd name="T123" fmla="*/ 591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7" h="616">
                  <a:moveTo>
                    <a:pt x="183" y="17"/>
                  </a:moveTo>
                  <a:lnTo>
                    <a:pt x="183" y="26"/>
                  </a:lnTo>
                  <a:lnTo>
                    <a:pt x="185" y="34"/>
                  </a:lnTo>
                  <a:lnTo>
                    <a:pt x="185" y="43"/>
                  </a:lnTo>
                  <a:lnTo>
                    <a:pt x="186" y="58"/>
                  </a:lnTo>
                  <a:lnTo>
                    <a:pt x="188" y="64"/>
                  </a:lnTo>
                  <a:lnTo>
                    <a:pt x="188" y="71"/>
                  </a:lnTo>
                  <a:lnTo>
                    <a:pt x="188" y="74"/>
                  </a:lnTo>
                  <a:lnTo>
                    <a:pt x="188" y="80"/>
                  </a:lnTo>
                  <a:lnTo>
                    <a:pt x="186" y="94"/>
                  </a:lnTo>
                  <a:lnTo>
                    <a:pt x="186" y="99"/>
                  </a:lnTo>
                  <a:lnTo>
                    <a:pt x="192" y="99"/>
                  </a:lnTo>
                  <a:lnTo>
                    <a:pt x="195" y="100"/>
                  </a:lnTo>
                  <a:lnTo>
                    <a:pt x="201" y="99"/>
                  </a:lnTo>
                  <a:lnTo>
                    <a:pt x="209" y="101"/>
                  </a:lnTo>
                  <a:lnTo>
                    <a:pt x="206" y="109"/>
                  </a:lnTo>
                  <a:lnTo>
                    <a:pt x="203" y="113"/>
                  </a:lnTo>
                  <a:lnTo>
                    <a:pt x="198" y="114"/>
                  </a:lnTo>
                  <a:lnTo>
                    <a:pt x="193" y="117"/>
                  </a:lnTo>
                  <a:lnTo>
                    <a:pt x="189" y="120"/>
                  </a:lnTo>
                  <a:lnTo>
                    <a:pt x="186" y="123"/>
                  </a:lnTo>
                  <a:lnTo>
                    <a:pt x="183" y="126"/>
                  </a:lnTo>
                  <a:lnTo>
                    <a:pt x="181" y="132"/>
                  </a:lnTo>
                  <a:lnTo>
                    <a:pt x="178" y="139"/>
                  </a:lnTo>
                  <a:lnTo>
                    <a:pt x="178" y="146"/>
                  </a:lnTo>
                  <a:lnTo>
                    <a:pt x="176" y="152"/>
                  </a:lnTo>
                  <a:lnTo>
                    <a:pt x="176" y="156"/>
                  </a:lnTo>
                  <a:lnTo>
                    <a:pt x="178" y="159"/>
                  </a:lnTo>
                  <a:lnTo>
                    <a:pt x="176" y="163"/>
                  </a:lnTo>
                  <a:lnTo>
                    <a:pt x="171" y="174"/>
                  </a:lnTo>
                  <a:lnTo>
                    <a:pt x="172" y="179"/>
                  </a:lnTo>
                  <a:lnTo>
                    <a:pt x="171" y="196"/>
                  </a:lnTo>
                  <a:lnTo>
                    <a:pt x="172" y="205"/>
                  </a:lnTo>
                  <a:lnTo>
                    <a:pt x="171" y="213"/>
                  </a:lnTo>
                  <a:lnTo>
                    <a:pt x="171" y="219"/>
                  </a:lnTo>
                  <a:lnTo>
                    <a:pt x="175" y="223"/>
                  </a:lnTo>
                  <a:lnTo>
                    <a:pt x="183" y="232"/>
                  </a:lnTo>
                  <a:lnTo>
                    <a:pt x="189" y="232"/>
                  </a:lnTo>
                  <a:lnTo>
                    <a:pt x="196" y="230"/>
                  </a:lnTo>
                  <a:lnTo>
                    <a:pt x="201" y="230"/>
                  </a:lnTo>
                  <a:lnTo>
                    <a:pt x="208" y="229"/>
                  </a:lnTo>
                  <a:lnTo>
                    <a:pt x="216" y="229"/>
                  </a:lnTo>
                  <a:lnTo>
                    <a:pt x="222" y="230"/>
                  </a:lnTo>
                  <a:lnTo>
                    <a:pt x="234" y="232"/>
                  </a:lnTo>
                  <a:lnTo>
                    <a:pt x="235" y="233"/>
                  </a:lnTo>
                  <a:lnTo>
                    <a:pt x="238" y="238"/>
                  </a:lnTo>
                  <a:lnTo>
                    <a:pt x="236" y="243"/>
                  </a:lnTo>
                  <a:lnTo>
                    <a:pt x="232" y="245"/>
                  </a:lnTo>
                  <a:lnTo>
                    <a:pt x="222" y="245"/>
                  </a:lnTo>
                  <a:lnTo>
                    <a:pt x="209" y="243"/>
                  </a:lnTo>
                  <a:lnTo>
                    <a:pt x="205" y="243"/>
                  </a:lnTo>
                  <a:lnTo>
                    <a:pt x="192" y="240"/>
                  </a:lnTo>
                  <a:lnTo>
                    <a:pt x="188" y="252"/>
                  </a:lnTo>
                  <a:lnTo>
                    <a:pt x="186" y="258"/>
                  </a:lnTo>
                  <a:lnTo>
                    <a:pt x="183" y="262"/>
                  </a:lnTo>
                  <a:lnTo>
                    <a:pt x="182" y="268"/>
                  </a:lnTo>
                  <a:lnTo>
                    <a:pt x="179" y="279"/>
                  </a:lnTo>
                  <a:lnTo>
                    <a:pt x="178" y="285"/>
                  </a:lnTo>
                  <a:lnTo>
                    <a:pt x="175" y="291"/>
                  </a:lnTo>
                  <a:lnTo>
                    <a:pt x="171" y="305"/>
                  </a:lnTo>
                  <a:lnTo>
                    <a:pt x="166" y="311"/>
                  </a:lnTo>
                  <a:lnTo>
                    <a:pt x="169" y="313"/>
                  </a:lnTo>
                  <a:lnTo>
                    <a:pt x="171" y="319"/>
                  </a:lnTo>
                  <a:lnTo>
                    <a:pt x="173" y="325"/>
                  </a:lnTo>
                  <a:lnTo>
                    <a:pt x="173" y="328"/>
                  </a:lnTo>
                  <a:lnTo>
                    <a:pt x="165" y="338"/>
                  </a:lnTo>
                  <a:lnTo>
                    <a:pt x="168" y="342"/>
                  </a:lnTo>
                  <a:lnTo>
                    <a:pt x="175" y="346"/>
                  </a:lnTo>
                  <a:lnTo>
                    <a:pt x="176" y="351"/>
                  </a:lnTo>
                  <a:lnTo>
                    <a:pt x="173" y="354"/>
                  </a:lnTo>
                  <a:lnTo>
                    <a:pt x="171" y="364"/>
                  </a:lnTo>
                  <a:lnTo>
                    <a:pt x="169" y="375"/>
                  </a:lnTo>
                  <a:lnTo>
                    <a:pt x="168" y="381"/>
                  </a:lnTo>
                  <a:lnTo>
                    <a:pt x="162" y="381"/>
                  </a:lnTo>
                  <a:lnTo>
                    <a:pt x="158" y="385"/>
                  </a:lnTo>
                  <a:lnTo>
                    <a:pt x="152" y="385"/>
                  </a:lnTo>
                  <a:lnTo>
                    <a:pt x="148" y="382"/>
                  </a:lnTo>
                  <a:lnTo>
                    <a:pt x="142" y="376"/>
                  </a:lnTo>
                  <a:lnTo>
                    <a:pt x="136" y="375"/>
                  </a:lnTo>
                  <a:lnTo>
                    <a:pt x="132" y="375"/>
                  </a:lnTo>
                  <a:lnTo>
                    <a:pt x="123" y="378"/>
                  </a:lnTo>
                  <a:lnTo>
                    <a:pt x="118" y="384"/>
                  </a:lnTo>
                  <a:lnTo>
                    <a:pt x="116" y="388"/>
                  </a:lnTo>
                  <a:lnTo>
                    <a:pt x="112" y="392"/>
                  </a:lnTo>
                  <a:lnTo>
                    <a:pt x="108" y="389"/>
                  </a:lnTo>
                  <a:lnTo>
                    <a:pt x="100" y="384"/>
                  </a:lnTo>
                  <a:lnTo>
                    <a:pt x="98" y="372"/>
                  </a:lnTo>
                  <a:lnTo>
                    <a:pt x="93" y="371"/>
                  </a:lnTo>
                  <a:lnTo>
                    <a:pt x="87" y="369"/>
                  </a:lnTo>
                  <a:lnTo>
                    <a:pt x="75" y="368"/>
                  </a:lnTo>
                  <a:lnTo>
                    <a:pt x="67" y="366"/>
                  </a:lnTo>
                  <a:lnTo>
                    <a:pt x="79" y="405"/>
                  </a:lnTo>
                  <a:lnTo>
                    <a:pt x="75" y="411"/>
                  </a:lnTo>
                  <a:lnTo>
                    <a:pt x="70" y="415"/>
                  </a:lnTo>
                  <a:lnTo>
                    <a:pt x="67" y="417"/>
                  </a:lnTo>
                  <a:lnTo>
                    <a:pt x="66" y="421"/>
                  </a:lnTo>
                  <a:lnTo>
                    <a:pt x="67" y="424"/>
                  </a:lnTo>
                  <a:lnTo>
                    <a:pt x="72" y="427"/>
                  </a:lnTo>
                  <a:lnTo>
                    <a:pt x="79" y="429"/>
                  </a:lnTo>
                  <a:lnTo>
                    <a:pt x="85" y="434"/>
                  </a:lnTo>
                  <a:lnTo>
                    <a:pt x="86" y="437"/>
                  </a:lnTo>
                  <a:lnTo>
                    <a:pt x="0" y="481"/>
                  </a:lnTo>
                  <a:lnTo>
                    <a:pt x="20" y="491"/>
                  </a:lnTo>
                  <a:lnTo>
                    <a:pt x="26" y="498"/>
                  </a:lnTo>
                  <a:lnTo>
                    <a:pt x="30" y="502"/>
                  </a:lnTo>
                  <a:lnTo>
                    <a:pt x="33" y="508"/>
                  </a:lnTo>
                  <a:lnTo>
                    <a:pt x="37" y="507"/>
                  </a:lnTo>
                  <a:lnTo>
                    <a:pt x="40" y="507"/>
                  </a:lnTo>
                  <a:lnTo>
                    <a:pt x="43" y="500"/>
                  </a:lnTo>
                  <a:lnTo>
                    <a:pt x="55" y="505"/>
                  </a:lnTo>
                  <a:lnTo>
                    <a:pt x="55" y="505"/>
                  </a:lnTo>
                  <a:lnTo>
                    <a:pt x="53" y="514"/>
                  </a:lnTo>
                  <a:lnTo>
                    <a:pt x="50" y="521"/>
                  </a:lnTo>
                  <a:lnTo>
                    <a:pt x="46" y="535"/>
                  </a:lnTo>
                  <a:lnTo>
                    <a:pt x="45" y="541"/>
                  </a:lnTo>
                  <a:lnTo>
                    <a:pt x="46" y="545"/>
                  </a:lnTo>
                  <a:lnTo>
                    <a:pt x="49" y="548"/>
                  </a:lnTo>
                  <a:lnTo>
                    <a:pt x="55" y="550"/>
                  </a:lnTo>
                  <a:lnTo>
                    <a:pt x="59" y="548"/>
                  </a:lnTo>
                  <a:lnTo>
                    <a:pt x="62" y="548"/>
                  </a:lnTo>
                  <a:lnTo>
                    <a:pt x="67" y="547"/>
                  </a:lnTo>
                  <a:lnTo>
                    <a:pt x="72" y="540"/>
                  </a:lnTo>
                  <a:lnTo>
                    <a:pt x="72" y="540"/>
                  </a:lnTo>
                  <a:lnTo>
                    <a:pt x="72" y="538"/>
                  </a:lnTo>
                  <a:lnTo>
                    <a:pt x="72" y="538"/>
                  </a:lnTo>
                  <a:lnTo>
                    <a:pt x="72" y="535"/>
                  </a:lnTo>
                  <a:lnTo>
                    <a:pt x="72" y="534"/>
                  </a:lnTo>
                  <a:lnTo>
                    <a:pt x="72" y="530"/>
                  </a:lnTo>
                  <a:lnTo>
                    <a:pt x="75" y="524"/>
                  </a:lnTo>
                  <a:lnTo>
                    <a:pt x="77" y="521"/>
                  </a:lnTo>
                  <a:lnTo>
                    <a:pt x="77" y="521"/>
                  </a:lnTo>
                  <a:lnTo>
                    <a:pt x="79" y="521"/>
                  </a:lnTo>
                  <a:lnTo>
                    <a:pt x="79" y="521"/>
                  </a:lnTo>
                  <a:lnTo>
                    <a:pt x="80" y="524"/>
                  </a:lnTo>
                  <a:lnTo>
                    <a:pt x="82" y="527"/>
                  </a:lnTo>
                  <a:lnTo>
                    <a:pt x="82" y="530"/>
                  </a:lnTo>
                  <a:lnTo>
                    <a:pt x="82" y="537"/>
                  </a:lnTo>
                  <a:lnTo>
                    <a:pt x="82" y="538"/>
                  </a:lnTo>
                  <a:lnTo>
                    <a:pt x="82" y="538"/>
                  </a:lnTo>
                  <a:lnTo>
                    <a:pt x="83" y="540"/>
                  </a:lnTo>
                  <a:lnTo>
                    <a:pt x="83" y="541"/>
                  </a:lnTo>
                  <a:lnTo>
                    <a:pt x="83" y="541"/>
                  </a:lnTo>
                  <a:lnTo>
                    <a:pt x="86" y="541"/>
                  </a:lnTo>
                  <a:lnTo>
                    <a:pt x="86" y="541"/>
                  </a:lnTo>
                  <a:lnTo>
                    <a:pt x="86" y="545"/>
                  </a:lnTo>
                  <a:lnTo>
                    <a:pt x="85" y="547"/>
                  </a:lnTo>
                  <a:lnTo>
                    <a:pt x="83" y="550"/>
                  </a:lnTo>
                  <a:lnTo>
                    <a:pt x="83" y="550"/>
                  </a:lnTo>
                  <a:lnTo>
                    <a:pt x="83" y="551"/>
                  </a:lnTo>
                  <a:lnTo>
                    <a:pt x="82" y="551"/>
                  </a:lnTo>
                  <a:lnTo>
                    <a:pt x="82" y="553"/>
                  </a:lnTo>
                  <a:lnTo>
                    <a:pt x="82" y="553"/>
                  </a:lnTo>
                  <a:lnTo>
                    <a:pt x="82" y="554"/>
                  </a:lnTo>
                  <a:lnTo>
                    <a:pt x="83" y="554"/>
                  </a:lnTo>
                  <a:lnTo>
                    <a:pt x="86" y="551"/>
                  </a:lnTo>
                  <a:lnTo>
                    <a:pt x="87" y="551"/>
                  </a:lnTo>
                  <a:lnTo>
                    <a:pt x="89" y="551"/>
                  </a:lnTo>
                  <a:lnTo>
                    <a:pt x="90" y="551"/>
                  </a:lnTo>
                  <a:lnTo>
                    <a:pt x="90" y="551"/>
                  </a:lnTo>
                  <a:lnTo>
                    <a:pt x="92" y="550"/>
                  </a:lnTo>
                  <a:lnTo>
                    <a:pt x="92" y="550"/>
                  </a:lnTo>
                  <a:lnTo>
                    <a:pt x="93" y="551"/>
                  </a:lnTo>
                  <a:lnTo>
                    <a:pt x="95" y="550"/>
                  </a:lnTo>
                  <a:lnTo>
                    <a:pt x="96" y="550"/>
                  </a:lnTo>
                  <a:lnTo>
                    <a:pt x="98" y="548"/>
                  </a:lnTo>
                  <a:lnTo>
                    <a:pt x="99" y="547"/>
                  </a:lnTo>
                  <a:lnTo>
                    <a:pt x="99" y="547"/>
                  </a:lnTo>
                  <a:lnTo>
                    <a:pt x="100" y="547"/>
                  </a:lnTo>
                  <a:lnTo>
                    <a:pt x="100" y="545"/>
                  </a:lnTo>
                  <a:lnTo>
                    <a:pt x="100" y="545"/>
                  </a:lnTo>
                  <a:lnTo>
                    <a:pt x="100" y="544"/>
                  </a:lnTo>
                  <a:lnTo>
                    <a:pt x="102" y="544"/>
                  </a:lnTo>
                  <a:lnTo>
                    <a:pt x="102" y="544"/>
                  </a:lnTo>
                  <a:lnTo>
                    <a:pt x="102" y="543"/>
                  </a:lnTo>
                  <a:lnTo>
                    <a:pt x="103" y="543"/>
                  </a:lnTo>
                  <a:lnTo>
                    <a:pt x="105" y="541"/>
                  </a:lnTo>
                  <a:lnTo>
                    <a:pt x="105" y="540"/>
                  </a:lnTo>
                  <a:lnTo>
                    <a:pt x="105" y="540"/>
                  </a:lnTo>
                  <a:lnTo>
                    <a:pt x="106" y="538"/>
                  </a:lnTo>
                  <a:lnTo>
                    <a:pt x="106" y="537"/>
                  </a:lnTo>
                  <a:lnTo>
                    <a:pt x="106" y="537"/>
                  </a:lnTo>
                  <a:lnTo>
                    <a:pt x="106" y="537"/>
                  </a:lnTo>
                  <a:lnTo>
                    <a:pt x="108" y="534"/>
                  </a:lnTo>
                  <a:lnTo>
                    <a:pt x="108" y="534"/>
                  </a:lnTo>
                  <a:lnTo>
                    <a:pt x="109" y="533"/>
                  </a:lnTo>
                  <a:lnTo>
                    <a:pt x="109" y="533"/>
                  </a:lnTo>
                  <a:lnTo>
                    <a:pt x="112" y="533"/>
                  </a:lnTo>
                  <a:lnTo>
                    <a:pt x="112" y="533"/>
                  </a:lnTo>
                  <a:lnTo>
                    <a:pt x="112" y="533"/>
                  </a:lnTo>
                  <a:lnTo>
                    <a:pt x="113" y="533"/>
                  </a:lnTo>
                  <a:lnTo>
                    <a:pt x="113" y="534"/>
                  </a:lnTo>
                  <a:lnTo>
                    <a:pt x="113" y="534"/>
                  </a:lnTo>
                  <a:lnTo>
                    <a:pt x="113" y="535"/>
                  </a:lnTo>
                  <a:lnTo>
                    <a:pt x="113" y="537"/>
                  </a:lnTo>
                  <a:lnTo>
                    <a:pt x="113" y="538"/>
                  </a:lnTo>
                  <a:lnTo>
                    <a:pt x="112" y="540"/>
                  </a:lnTo>
                  <a:lnTo>
                    <a:pt x="110" y="541"/>
                  </a:lnTo>
                  <a:lnTo>
                    <a:pt x="109" y="544"/>
                  </a:lnTo>
                  <a:lnTo>
                    <a:pt x="109" y="544"/>
                  </a:lnTo>
                  <a:lnTo>
                    <a:pt x="108" y="545"/>
                  </a:lnTo>
                  <a:lnTo>
                    <a:pt x="108" y="545"/>
                  </a:lnTo>
                  <a:lnTo>
                    <a:pt x="106" y="545"/>
                  </a:lnTo>
                  <a:lnTo>
                    <a:pt x="105" y="547"/>
                  </a:lnTo>
                  <a:lnTo>
                    <a:pt x="105" y="547"/>
                  </a:lnTo>
                  <a:lnTo>
                    <a:pt x="102" y="548"/>
                  </a:lnTo>
                  <a:lnTo>
                    <a:pt x="100" y="550"/>
                  </a:lnTo>
                  <a:lnTo>
                    <a:pt x="99" y="550"/>
                  </a:lnTo>
                  <a:lnTo>
                    <a:pt x="99" y="551"/>
                  </a:lnTo>
                  <a:lnTo>
                    <a:pt x="102" y="551"/>
                  </a:lnTo>
                  <a:lnTo>
                    <a:pt x="105" y="551"/>
                  </a:lnTo>
                  <a:lnTo>
                    <a:pt x="108" y="554"/>
                  </a:lnTo>
                  <a:lnTo>
                    <a:pt x="120" y="565"/>
                  </a:lnTo>
                  <a:lnTo>
                    <a:pt x="126" y="571"/>
                  </a:lnTo>
                  <a:lnTo>
                    <a:pt x="132" y="577"/>
                  </a:lnTo>
                  <a:lnTo>
                    <a:pt x="138" y="581"/>
                  </a:lnTo>
                  <a:lnTo>
                    <a:pt x="139" y="581"/>
                  </a:lnTo>
                  <a:lnTo>
                    <a:pt x="139" y="581"/>
                  </a:lnTo>
                  <a:lnTo>
                    <a:pt x="140" y="581"/>
                  </a:lnTo>
                  <a:lnTo>
                    <a:pt x="142" y="581"/>
                  </a:lnTo>
                  <a:lnTo>
                    <a:pt x="143" y="583"/>
                  </a:lnTo>
                  <a:lnTo>
                    <a:pt x="145" y="583"/>
                  </a:lnTo>
                  <a:lnTo>
                    <a:pt x="149" y="580"/>
                  </a:lnTo>
                  <a:lnTo>
                    <a:pt x="152" y="580"/>
                  </a:lnTo>
                  <a:lnTo>
                    <a:pt x="162" y="578"/>
                  </a:lnTo>
                  <a:lnTo>
                    <a:pt x="169" y="577"/>
                  </a:lnTo>
                  <a:lnTo>
                    <a:pt x="173" y="577"/>
                  </a:lnTo>
                  <a:lnTo>
                    <a:pt x="176" y="581"/>
                  </a:lnTo>
                  <a:lnTo>
                    <a:pt x="178" y="583"/>
                  </a:lnTo>
                  <a:lnTo>
                    <a:pt x="179" y="584"/>
                  </a:lnTo>
                  <a:lnTo>
                    <a:pt x="181" y="586"/>
                  </a:lnTo>
                  <a:lnTo>
                    <a:pt x="181" y="588"/>
                  </a:lnTo>
                  <a:lnTo>
                    <a:pt x="182" y="593"/>
                  </a:lnTo>
                  <a:lnTo>
                    <a:pt x="183" y="596"/>
                  </a:lnTo>
                  <a:lnTo>
                    <a:pt x="186" y="597"/>
                  </a:lnTo>
                  <a:lnTo>
                    <a:pt x="189" y="597"/>
                  </a:lnTo>
                  <a:lnTo>
                    <a:pt x="191" y="597"/>
                  </a:lnTo>
                  <a:lnTo>
                    <a:pt x="192" y="597"/>
                  </a:lnTo>
                  <a:lnTo>
                    <a:pt x="195" y="593"/>
                  </a:lnTo>
                  <a:lnTo>
                    <a:pt x="196" y="590"/>
                  </a:lnTo>
                  <a:lnTo>
                    <a:pt x="198" y="588"/>
                  </a:lnTo>
                  <a:lnTo>
                    <a:pt x="198" y="586"/>
                  </a:lnTo>
                  <a:lnTo>
                    <a:pt x="198" y="586"/>
                  </a:lnTo>
                  <a:lnTo>
                    <a:pt x="202" y="584"/>
                  </a:lnTo>
                  <a:lnTo>
                    <a:pt x="203" y="584"/>
                  </a:lnTo>
                  <a:lnTo>
                    <a:pt x="205" y="586"/>
                  </a:lnTo>
                  <a:lnTo>
                    <a:pt x="206" y="587"/>
                  </a:lnTo>
                  <a:lnTo>
                    <a:pt x="211" y="588"/>
                  </a:lnTo>
                  <a:lnTo>
                    <a:pt x="218" y="590"/>
                  </a:lnTo>
                  <a:lnTo>
                    <a:pt x="224" y="588"/>
                  </a:lnTo>
                  <a:lnTo>
                    <a:pt x="229" y="588"/>
                  </a:lnTo>
                  <a:lnTo>
                    <a:pt x="232" y="588"/>
                  </a:lnTo>
                  <a:lnTo>
                    <a:pt x="238" y="587"/>
                  </a:lnTo>
                  <a:lnTo>
                    <a:pt x="246" y="587"/>
                  </a:lnTo>
                  <a:lnTo>
                    <a:pt x="249" y="587"/>
                  </a:lnTo>
                  <a:lnTo>
                    <a:pt x="255" y="587"/>
                  </a:lnTo>
                  <a:lnTo>
                    <a:pt x="261" y="584"/>
                  </a:lnTo>
                  <a:lnTo>
                    <a:pt x="265" y="581"/>
                  </a:lnTo>
                  <a:lnTo>
                    <a:pt x="269" y="578"/>
                  </a:lnTo>
                  <a:lnTo>
                    <a:pt x="274" y="574"/>
                  </a:lnTo>
                  <a:lnTo>
                    <a:pt x="275" y="573"/>
                  </a:lnTo>
                  <a:lnTo>
                    <a:pt x="278" y="570"/>
                  </a:lnTo>
                  <a:lnTo>
                    <a:pt x="282" y="568"/>
                  </a:lnTo>
                  <a:lnTo>
                    <a:pt x="282" y="567"/>
                  </a:lnTo>
                  <a:lnTo>
                    <a:pt x="281" y="554"/>
                  </a:lnTo>
                  <a:lnTo>
                    <a:pt x="281" y="554"/>
                  </a:lnTo>
                  <a:lnTo>
                    <a:pt x="277" y="547"/>
                  </a:lnTo>
                  <a:lnTo>
                    <a:pt x="271" y="538"/>
                  </a:lnTo>
                  <a:lnTo>
                    <a:pt x="268" y="531"/>
                  </a:lnTo>
                  <a:lnTo>
                    <a:pt x="266" y="527"/>
                  </a:lnTo>
                  <a:lnTo>
                    <a:pt x="266" y="523"/>
                  </a:lnTo>
                  <a:lnTo>
                    <a:pt x="266" y="523"/>
                  </a:lnTo>
                  <a:lnTo>
                    <a:pt x="259" y="511"/>
                  </a:lnTo>
                  <a:lnTo>
                    <a:pt x="259" y="511"/>
                  </a:lnTo>
                  <a:lnTo>
                    <a:pt x="258" y="498"/>
                  </a:lnTo>
                  <a:lnTo>
                    <a:pt x="258" y="485"/>
                  </a:lnTo>
                  <a:lnTo>
                    <a:pt x="258" y="485"/>
                  </a:lnTo>
                  <a:lnTo>
                    <a:pt x="265" y="481"/>
                  </a:lnTo>
                  <a:lnTo>
                    <a:pt x="271" y="481"/>
                  </a:lnTo>
                  <a:lnTo>
                    <a:pt x="278" y="482"/>
                  </a:lnTo>
                  <a:lnTo>
                    <a:pt x="285" y="487"/>
                  </a:lnTo>
                  <a:lnTo>
                    <a:pt x="285" y="487"/>
                  </a:lnTo>
                  <a:lnTo>
                    <a:pt x="288" y="501"/>
                  </a:lnTo>
                  <a:lnTo>
                    <a:pt x="289" y="507"/>
                  </a:lnTo>
                  <a:lnTo>
                    <a:pt x="295" y="511"/>
                  </a:lnTo>
                  <a:lnTo>
                    <a:pt x="295" y="511"/>
                  </a:lnTo>
                  <a:lnTo>
                    <a:pt x="301" y="514"/>
                  </a:lnTo>
                  <a:lnTo>
                    <a:pt x="305" y="515"/>
                  </a:lnTo>
                  <a:lnTo>
                    <a:pt x="311" y="515"/>
                  </a:lnTo>
                  <a:lnTo>
                    <a:pt x="317" y="514"/>
                  </a:lnTo>
                  <a:lnTo>
                    <a:pt x="321" y="495"/>
                  </a:lnTo>
                  <a:lnTo>
                    <a:pt x="321" y="495"/>
                  </a:lnTo>
                  <a:lnTo>
                    <a:pt x="322" y="478"/>
                  </a:lnTo>
                  <a:lnTo>
                    <a:pt x="325" y="460"/>
                  </a:lnTo>
                  <a:lnTo>
                    <a:pt x="331" y="442"/>
                  </a:lnTo>
                  <a:lnTo>
                    <a:pt x="334" y="435"/>
                  </a:lnTo>
                  <a:lnTo>
                    <a:pt x="338" y="428"/>
                  </a:lnTo>
                  <a:lnTo>
                    <a:pt x="338" y="428"/>
                  </a:lnTo>
                  <a:lnTo>
                    <a:pt x="342" y="417"/>
                  </a:lnTo>
                  <a:lnTo>
                    <a:pt x="348" y="408"/>
                  </a:lnTo>
                  <a:lnTo>
                    <a:pt x="348" y="399"/>
                  </a:lnTo>
                  <a:lnTo>
                    <a:pt x="345" y="392"/>
                  </a:lnTo>
                  <a:lnTo>
                    <a:pt x="345" y="392"/>
                  </a:lnTo>
                  <a:lnTo>
                    <a:pt x="348" y="375"/>
                  </a:lnTo>
                  <a:lnTo>
                    <a:pt x="352" y="359"/>
                  </a:lnTo>
                  <a:lnTo>
                    <a:pt x="355" y="343"/>
                  </a:lnTo>
                  <a:lnTo>
                    <a:pt x="357" y="336"/>
                  </a:lnTo>
                  <a:lnTo>
                    <a:pt x="355" y="328"/>
                  </a:lnTo>
                  <a:lnTo>
                    <a:pt x="352" y="319"/>
                  </a:lnTo>
                  <a:lnTo>
                    <a:pt x="352" y="319"/>
                  </a:lnTo>
                  <a:lnTo>
                    <a:pt x="341" y="312"/>
                  </a:lnTo>
                  <a:lnTo>
                    <a:pt x="331" y="302"/>
                  </a:lnTo>
                  <a:lnTo>
                    <a:pt x="324" y="292"/>
                  </a:lnTo>
                  <a:lnTo>
                    <a:pt x="319" y="286"/>
                  </a:lnTo>
                  <a:lnTo>
                    <a:pt x="318" y="280"/>
                  </a:lnTo>
                  <a:lnTo>
                    <a:pt x="314" y="268"/>
                  </a:lnTo>
                  <a:lnTo>
                    <a:pt x="307" y="266"/>
                  </a:lnTo>
                  <a:lnTo>
                    <a:pt x="295" y="275"/>
                  </a:lnTo>
                  <a:lnTo>
                    <a:pt x="291" y="270"/>
                  </a:lnTo>
                  <a:lnTo>
                    <a:pt x="287" y="249"/>
                  </a:lnTo>
                  <a:lnTo>
                    <a:pt x="287" y="249"/>
                  </a:lnTo>
                  <a:lnTo>
                    <a:pt x="294" y="239"/>
                  </a:lnTo>
                  <a:lnTo>
                    <a:pt x="301" y="230"/>
                  </a:lnTo>
                  <a:lnTo>
                    <a:pt x="302" y="216"/>
                  </a:lnTo>
                  <a:lnTo>
                    <a:pt x="302" y="216"/>
                  </a:lnTo>
                  <a:lnTo>
                    <a:pt x="309" y="215"/>
                  </a:lnTo>
                  <a:lnTo>
                    <a:pt x="315" y="215"/>
                  </a:lnTo>
                  <a:lnTo>
                    <a:pt x="328" y="216"/>
                  </a:lnTo>
                  <a:lnTo>
                    <a:pt x="324" y="205"/>
                  </a:lnTo>
                  <a:lnTo>
                    <a:pt x="324" y="205"/>
                  </a:lnTo>
                  <a:lnTo>
                    <a:pt x="332" y="199"/>
                  </a:lnTo>
                  <a:lnTo>
                    <a:pt x="337" y="196"/>
                  </a:lnTo>
                  <a:lnTo>
                    <a:pt x="340" y="193"/>
                  </a:lnTo>
                  <a:lnTo>
                    <a:pt x="342" y="187"/>
                  </a:lnTo>
                  <a:lnTo>
                    <a:pt x="328" y="162"/>
                  </a:lnTo>
                  <a:lnTo>
                    <a:pt x="317" y="130"/>
                  </a:lnTo>
                  <a:lnTo>
                    <a:pt x="314" y="119"/>
                  </a:lnTo>
                  <a:lnTo>
                    <a:pt x="314" y="119"/>
                  </a:lnTo>
                  <a:lnTo>
                    <a:pt x="328" y="113"/>
                  </a:lnTo>
                  <a:lnTo>
                    <a:pt x="342" y="106"/>
                  </a:lnTo>
                  <a:lnTo>
                    <a:pt x="352" y="100"/>
                  </a:lnTo>
                  <a:lnTo>
                    <a:pt x="348" y="91"/>
                  </a:lnTo>
                  <a:lnTo>
                    <a:pt x="348" y="89"/>
                  </a:lnTo>
                  <a:lnTo>
                    <a:pt x="345" y="83"/>
                  </a:lnTo>
                  <a:lnTo>
                    <a:pt x="345" y="77"/>
                  </a:lnTo>
                  <a:lnTo>
                    <a:pt x="342" y="70"/>
                  </a:lnTo>
                  <a:lnTo>
                    <a:pt x="344" y="56"/>
                  </a:lnTo>
                  <a:lnTo>
                    <a:pt x="342" y="48"/>
                  </a:lnTo>
                  <a:lnTo>
                    <a:pt x="341" y="47"/>
                  </a:lnTo>
                  <a:lnTo>
                    <a:pt x="337" y="43"/>
                  </a:lnTo>
                  <a:lnTo>
                    <a:pt x="332" y="40"/>
                  </a:lnTo>
                  <a:lnTo>
                    <a:pt x="325" y="37"/>
                  </a:lnTo>
                  <a:lnTo>
                    <a:pt x="319" y="36"/>
                  </a:lnTo>
                  <a:lnTo>
                    <a:pt x="317" y="36"/>
                  </a:lnTo>
                  <a:lnTo>
                    <a:pt x="314" y="34"/>
                  </a:lnTo>
                  <a:lnTo>
                    <a:pt x="309" y="34"/>
                  </a:lnTo>
                  <a:lnTo>
                    <a:pt x="304" y="34"/>
                  </a:lnTo>
                  <a:lnTo>
                    <a:pt x="292" y="36"/>
                  </a:lnTo>
                  <a:lnTo>
                    <a:pt x="278" y="34"/>
                  </a:lnTo>
                  <a:lnTo>
                    <a:pt x="271" y="28"/>
                  </a:lnTo>
                  <a:lnTo>
                    <a:pt x="259" y="21"/>
                  </a:lnTo>
                  <a:lnTo>
                    <a:pt x="246" y="11"/>
                  </a:lnTo>
                  <a:lnTo>
                    <a:pt x="244" y="3"/>
                  </a:lnTo>
                  <a:lnTo>
                    <a:pt x="235" y="3"/>
                  </a:lnTo>
                  <a:lnTo>
                    <a:pt x="232" y="3"/>
                  </a:lnTo>
                  <a:lnTo>
                    <a:pt x="232" y="10"/>
                  </a:lnTo>
                  <a:lnTo>
                    <a:pt x="234" y="17"/>
                  </a:lnTo>
                  <a:lnTo>
                    <a:pt x="235" y="23"/>
                  </a:lnTo>
                  <a:lnTo>
                    <a:pt x="231" y="23"/>
                  </a:lnTo>
                  <a:lnTo>
                    <a:pt x="229" y="18"/>
                  </a:lnTo>
                  <a:lnTo>
                    <a:pt x="228" y="11"/>
                  </a:lnTo>
                  <a:lnTo>
                    <a:pt x="222" y="8"/>
                  </a:lnTo>
                  <a:lnTo>
                    <a:pt x="209" y="0"/>
                  </a:lnTo>
                  <a:lnTo>
                    <a:pt x="183" y="17"/>
                  </a:lnTo>
                  <a:lnTo>
                    <a:pt x="183" y="17"/>
                  </a:lnTo>
                  <a:lnTo>
                    <a:pt x="183" y="17"/>
                  </a:lnTo>
                  <a:close/>
                  <a:moveTo>
                    <a:pt x="284" y="574"/>
                  </a:moveTo>
                  <a:lnTo>
                    <a:pt x="284" y="571"/>
                  </a:lnTo>
                  <a:lnTo>
                    <a:pt x="285" y="571"/>
                  </a:lnTo>
                  <a:lnTo>
                    <a:pt x="285" y="570"/>
                  </a:lnTo>
                  <a:lnTo>
                    <a:pt x="285" y="570"/>
                  </a:lnTo>
                  <a:lnTo>
                    <a:pt x="287" y="570"/>
                  </a:lnTo>
                  <a:lnTo>
                    <a:pt x="288" y="570"/>
                  </a:lnTo>
                  <a:lnTo>
                    <a:pt x="288" y="571"/>
                  </a:lnTo>
                  <a:lnTo>
                    <a:pt x="288" y="573"/>
                  </a:lnTo>
                  <a:lnTo>
                    <a:pt x="287" y="573"/>
                  </a:lnTo>
                  <a:lnTo>
                    <a:pt x="287" y="574"/>
                  </a:lnTo>
                  <a:lnTo>
                    <a:pt x="284" y="574"/>
                  </a:lnTo>
                  <a:lnTo>
                    <a:pt x="284" y="574"/>
                  </a:lnTo>
                  <a:close/>
                  <a:moveTo>
                    <a:pt x="222" y="598"/>
                  </a:moveTo>
                  <a:lnTo>
                    <a:pt x="222" y="601"/>
                  </a:lnTo>
                  <a:lnTo>
                    <a:pt x="221" y="604"/>
                  </a:lnTo>
                  <a:lnTo>
                    <a:pt x="218" y="607"/>
                  </a:lnTo>
                  <a:lnTo>
                    <a:pt x="215" y="607"/>
                  </a:lnTo>
                  <a:lnTo>
                    <a:pt x="214" y="604"/>
                  </a:lnTo>
                  <a:lnTo>
                    <a:pt x="216" y="601"/>
                  </a:lnTo>
                  <a:lnTo>
                    <a:pt x="219" y="598"/>
                  </a:lnTo>
                  <a:lnTo>
                    <a:pt x="219" y="597"/>
                  </a:lnTo>
                  <a:lnTo>
                    <a:pt x="221" y="597"/>
                  </a:lnTo>
                  <a:lnTo>
                    <a:pt x="222" y="598"/>
                  </a:lnTo>
                  <a:lnTo>
                    <a:pt x="222" y="598"/>
                  </a:lnTo>
                  <a:close/>
                  <a:moveTo>
                    <a:pt x="172" y="608"/>
                  </a:moveTo>
                  <a:lnTo>
                    <a:pt x="172" y="614"/>
                  </a:lnTo>
                  <a:lnTo>
                    <a:pt x="171" y="616"/>
                  </a:lnTo>
                  <a:lnTo>
                    <a:pt x="166" y="616"/>
                  </a:lnTo>
                  <a:lnTo>
                    <a:pt x="162" y="613"/>
                  </a:lnTo>
                  <a:lnTo>
                    <a:pt x="161" y="611"/>
                  </a:lnTo>
                  <a:lnTo>
                    <a:pt x="163" y="610"/>
                  </a:lnTo>
                  <a:lnTo>
                    <a:pt x="166" y="608"/>
                  </a:lnTo>
                  <a:lnTo>
                    <a:pt x="168" y="607"/>
                  </a:lnTo>
                  <a:lnTo>
                    <a:pt x="169" y="606"/>
                  </a:lnTo>
                  <a:lnTo>
                    <a:pt x="171" y="607"/>
                  </a:lnTo>
                  <a:lnTo>
                    <a:pt x="172" y="608"/>
                  </a:lnTo>
                  <a:lnTo>
                    <a:pt x="172" y="608"/>
                  </a:lnTo>
                  <a:close/>
                  <a:moveTo>
                    <a:pt x="152" y="597"/>
                  </a:moveTo>
                  <a:lnTo>
                    <a:pt x="158" y="594"/>
                  </a:lnTo>
                  <a:lnTo>
                    <a:pt x="159" y="594"/>
                  </a:lnTo>
                  <a:lnTo>
                    <a:pt x="158" y="598"/>
                  </a:lnTo>
                  <a:lnTo>
                    <a:pt x="153" y="600"/>
                  </a:lnTo>
                  <a:lnTo>
                    <a:pt x="150" y="600"/>
                  </a:lnTo>
                  <a:lnTo>
                    <a:pt x="152" y="597"/>
                  </a:lnTo>
                  <a:lnTo>
                    <a:pt x="152" y="597"/>
                  </a:lnTo>
                  <a:close/>
                  <a:moveTo>
                    <a:pt x="155" y="606"/>
                  </a:moveTo>
                  <a:lnTo>
                    <a:pt x="156" y="608"/>
                  </a:lnTo>
                  <a:lnTo>
                    <a:pt x="159" y="607"/>
                  </a:lnTo>
                  <a:lnTo>
                    <a:pt x="165" y="604"/>
                  </a:lnTo>
                  <a:lnTo>
                    <a:pt x="166" y="598"/>
                  </a:lnTo>
                  <a:lnTo>
                    <a:pt x="163" y="598"/>
                  </a:lnTo>
                  <a:lnTo>
                    <a:pt x="159" y="603"/>
                  </a:lnTo>
                  <a:lnTo>
                    <a:pt x="155" y="606"/>
                  </a:lnTo>
                  <a:lnTo>
                    <a:pt x="155" y="606"/>
                  </a:lnTo>
                  <a:close/>
                  <a:moveTo>
                    <a:pt x="265" y="591"/>
                  </a:moveTo>
                  <a:lnTo>
                    <a:pt x="261" y="598"/>
                  </a:lnTo>
                  <a:lnTo>
                    <a:pt x="255" y="598"/>
                  </a:lnTo>
                  <a:lnTo>
                    <a:pt x="255" y="593"/>
                  </a:lnTo>
                  <a:lnTo>
                    <a:pt x="262" y="587"/>
                  </a:lnTo>
                  <a:lnTo>
                    <a:pt x="266" y="587"/>
                  </a:lnTo>
                  <a:lnTo>
                    <a:pt x="266" y="588"/>
                  </a:lnTo>
                  <a:lnTo>
                    <a:pt x="265" y="591"/>
                  </a:lnTo>
                  <a:lnTo>
                    <a:pt x="265" y="591"/>
                  </a:lnTo>
                  <a:close/>
                  <a:moveTo>
                    <a:pt x="96" y="577"/>
                  </a:moveTo>
                  <a:lnTo>
                    <a:pt x="93" y="580"/>
                  </a:lnTo>
                  <a:lnTo>
                    <a:pt x="90" y="584"/>
                  </a:lnTo>
                  <a:lnTo>
                    <a:pt x="87" y="587"/>
                  </a:lnTo>
                  <a:lnTo>
                    <a:pt x="89" y="590"/>
                  </a:lnTo>
                  <a:lnTo>
                    <a:pt x="90" y="590"/>
                  </a:lnTo>
                  <a:lnTo>
                    <a:pt x="93" y="591"/>
                  </a:lnTo>
                  <a:lnTo>
                    <a:pt x="92" y="596"/>
                  </a:lnTo>
                  <a:lnTo>
                    <a:pt x="87" y="598"/>
                  </a:lnTo>
                  <a:lnTo>
                    <a:pt x="80" y="594"/>
                  </a:lnTo>
                  <a:lnTo>
                    <a:pt x="77" y="591"/>
                  </a:lnTo>
                  <a:lnTo>
                    <a:pt x="79" y="587"/>
                  </a:lnTo>
                  <a:lnTo>
                    <a:pt x="83" y="581"/>
                  </a:lnTo>
                  <a:lnTo>
                    <a:pt x="89" y="574"/>
                  </a:lnTo>
                  <a:lnTo>
                    <a:pt x="93" y="570"/>
                  </a:lnTo>
                  <a:lnTo>
                    <a:pt x="96" y="571"/>
                  </a:lnTo>
                  <a:lnTo>
                    <a:pt x="96" y="573"/>
                  </a:lnTo>
                  <a:lnTo>
                    <a:pt x="96" y="577"/>
                  </a:lnTo>
                  <a:lnTo>
                    <a:pt x="96" y="577"/>
                  </a:lnTo>
                  <a:close/>
                  <a:moveTo>
                    <a:pt x="69" y="583"/>
                  </a:moveTo>
                  <a:lnTo>
                    <a:pt x="69" y="586"/>
                  </a:lnTo>
                  <a:lnTo>
                    <a:pt x="66" y="587"/>
                  </a:lnTo>
                  <a:lnTo>
                    <a:pt x="63" y="586"/>
                  </a:lnTo>
                  <a:lnTo>
                    <a:pt x="62" y="583"/>
                  </a:lnTo>
                  <a:lnTo>
                    <a:pt x="63" y="580"/>
                  </a:lnTo>
                  <a:lnTo>
                    <a:pt x="66" y="580"/>
                  </a:lnTo>
                  <a:lnTo>
                    <a:pt x="69" y="581"/>
                  </a:lnTo>
                  <a:lnTo>
                    <a:pt x="69" y="583"/>
                  </a:lnTo>
                  <a:lnTo>
                    <a:pt x="69" y="583"/>
                  </a:lnTo>
                  <a:close/>
                  <a:moveTo>
                    <a:pt x="86" y="564"/>
                  </a:moveTo>
                  <a:lnTo>
                    <a:pt x="85" y="570"/>
                  </a:lnTo>
                  <a:lnTo>
                    <a:pt x="82" y="573"/>
                  </a:lnTo>
                  <a:lnTo>
                    <a:pt x="77" y="574"/>
                  </a:lnTo>
                  <a:lnTo>
                    <a:pt x="75" y="574"/>
                  </a:lnTo>
                  <a:lnTo>
                    <a:pt x="73" y="573"/>
                  </a:lnTo>
                  <a:lnTo>
                    <a:pt x="75" y="571"/>
                  </a:lnTo>
                  <a:lnTo>
                    <a:pt x="77" y="568"/>
                  </a:lnTo>
                  <a:lnTo>
                    <a:pt x="79" y="564"/>
                  </a:lnTo>
                  <a:lnTo>
                    <a:pt x="79" y="563"/>
                  </a:lnTo>
                  <a:lnTo>
                    <a:pt x="83" y="560"/>
                  </a:lnTo>
                  <a:lnTo>
                    <a:pt x="86" y="561"/>
                  </a:lnTo>
                  <a:lnTo>
                    <a:pt x="86" y="564"/>
                  </a:lnTo>
                  <a:lnTo>
                    <a:pt x="86" y="564"/>
                  </a:lnTo>
                  <a:close/>
                  <a:moveTo>
                    <a:pt x="202" y="601"/>
                  </a:moveTo>
                  <a:lnTo>
                    <a:pt x="201" y="601"/>
                  </a:lnTo>
                  <a:lnTo>
                    <a:pt x="201" y="600"/>
                  </a:lnTo>
                  <a:lnTo>
                    <a:pt x="199" y="598"/>
                  </a:lnTo>
                  <a:lnTo>
                    <a:pt x="199" y="598"/>
                  </a:lnTo>
                  <a:lnTo>
                    <a:pt x="201" y="597"/>
                  </a:lnTo>
                  <a:lnTo>
                    <a:pt x="201" y="597"/>
                  </a:lnTo>
                  <a:lnTo>
                    <a:pt x="201" y="596"/>
                  </a:lnTo>
                  <a:lnTo>
                    <a:pt x="201" y="594"/>
                  </a:lnTo>
                  <a:lnTo>
                    <a:pt x="202" y="594"/>
                  </a:lnTo>
                  <a:lnTo>
                    <a:pt x="202" y="594"/>
                  </a:lnTo>
                  <a:lnTo>
                    <a:pt x="203" y="594"/>
                  </a:lnTo>
                  <a:lnTo>
                    <a:pt x="203" y="594"/>
                  </a:lnTo>
                  <a:lnTo>
                    <a:pt x="203" y="594"/>
                  </a:lnTo>
                  <a:lnTo>
                    <a:pt x="205" y="594"/>
                  </a:lnTo>
                  <a:lnTo>
                    <a:pt x="205" y="596"/>
                  </a:lnTo>
                  <a:lnTo>
                    <a:pt x="205" y="596"/>
                  </a:lnTo>
                  <a:lnTo>
                    <a:pt x="205" y="597"/>
                  </a:lnTo>
                  <a:lnTo>
                    <a:pt x="205" y="600"/>
                  </a:lnTo>
                  <a:lnTo>
                    <a:pt x="205" y="601"/>
                  </a:lnTo>
                  <a:lnTo>
                    <a:pt x="202" y="601"/>
                  </a:lnTo>
                  <a:lnTo>
                    <a:pt x="202" y="601"/>
                  </a:lnTo>
                  <a:close/>
                  <a:moveTo>
                    <a:pt x="183" y="610"/>
                  </a:moveTo>
                  <a:lnTo>
                    <a:pt x="182" y="608"/>
                  </a:lnTo>
                  <a:lnTo>
                    <a:pt x="182" y="608"/>
                  </a:lnTo>
                  <a:lnTo>
                    <a:pt x="181" y="608"/>
                  </a:lnTo>
                  <a:lnTo>
                    <a:pt x="179" y="608"/>
                  </a:lnTo>
                  <a:lnTo>
                    <a:pt x="176" y="608"/>
                  </a:lnTo>
                  <a:lnTo>
                    <a:pt x="175" y="608"/>
                  </a:lnTo>
                  <a:lnTo>
                    <a:pt x="176" y="610"/>
                  </a:lnTo>
                  <a:lnTo>
                    <a:pt x="176" y="611"/>
                  </a:lnTo>
                  <a:lnTo>
                    <a:pt x="178" y="611"/>
                  </a:lnTo>
                  <a:lnTo>
                    <a:pt x="178" y="611"/>
                  </a:lnTo>
                  <a:lnTo>
                    <a:pt x="179" y="611"/>
                  </a:lnTo>
                  <a:lnTo>
                    <a:pt x="181" y="613"/>
                  </a:lnTo>
                  <a:lnTo>
                    <a:pt x="182" y="611"/>
                  </a:lnTo>
                  <a:lnTo>
                    <a:pt x="183" y="610"/>
                  </a:lnTo>
                  <a:lnTo>
                    <a:pt x="183" y="610"/>
                  </a:lnTo>
                  <a:close/>
                  <a:moveTo>
                    <a:pt x="188" y="603"/>
                  </a:moveTo>
                  <a:lnTo>
                    <a:pt x="186" y="601"/>
                  </a:lnTo>
                  <a:lnTo>
                    <a:pt x="185" y="601"/>
                  </a:lnTo>
                  <a:lnTo>
                    <a:pt x="185" y="601"/>
                  </a:lnTo>
                  <a:lnTo>
                    <a:pt x="183" y="601"/>
                  </a:lnTo>
                  <a:lnTo>
                    <a:pt x="183" y="600"/>
                  </a:lnTo>
                  <a:lnTo>
                    <a:pt x="182" y="600"/>
                  </a:lnTo>
                  <a:lnTo>
                    <a:pt x="182" y="600"/>
                  </a:lnTo>
                  <a:lnTo>
                    <a:pt x="181" y="598"/>
                  </a:lnTo>
                  <a:lnTo>
                    <a:pt x="179" y="598"/>
                  </a:lnTo>
                  <a:lnTo>
                    <a:pt x="179" y="598"/>
                  </a:lnTo>
                  <a:lnTo>
                    <a:pt x="178" y="598"/>
                  </a:lnTo>
                  <a:lnTo>
                    <a:pt x="179" y="601"/>
                  </a:lnTo>
                  <a:lnTo>
                    <a:pt x="179" y="603"/>
                  </a:lnTo>
                  <a:lnTo>
                    <a:pt x="179" y="604"/>
                  </a:lnTo>
                  <a:lnTo>
                    <a:pt x="181" y="604"/>
                  </a:lnTo>
                  <a:lnTo>
                    <a:pt x="181" y="606"/>
                  </a:lnTo>
                  <a:lnTo>
                    <a:pt x="181" y="606"/>
                  </a:lnTo>
                  <a:lnTo>
                    <a:pt x="182" y="606"/>
                  </a:lnTo>
                  <a:lnTo>
                    <a:pt x="182" y="606"/>
                  </a:lnTo>
                  <a:lnTo>
                    <a:pt x="183" y="606"/>
                  </a:lnTo>
                  <a:lnTo>
                    <a:pt x="186" y="606"/>
                  </a:lnTo>
                  <a:lnTo>
                    <a:pt x="186" y="606"/>
                  </a:lnTo>
                  <a:lnTo>
                    <a:pt x="188" y="603"/>
                  </a:lnTo>
                  <a:lnTo>
                    <a:pt x="188" y="603"/>
                  </a:lnTo>
                  <a:close/>
                  <a:moveTo>
                    <a:pt x="282" y="593"/>
                  </a:moveTo>
                  <a:lnTo>
                    <a:pt x="282" y="590"/>
                  </a:lnTo>
                  <a:lnTo>
                    <a:pt x="282" y="588"/>
                  </a:lnTo>
                  <a:lnTo>
                    <a:pt x="284" y="587"/>
                  </a:lnTo>
                  <a:lnTo>
                    <a:pt x="284" y="587"/>
                  </a:lnTo>
                  <a:lnTo>
                    <a:pt x="284" y="587"/>
                  </a:lnTo>
                  <a:lnTo>
                    <a:pt x="285" y="586"/>
                  </a:lnTo>
                  <a:lnTo>
                    <a:pt x="285" y="587"/>
                  </a:lnTo>
                  <a:lnTo>
                    <a:pt x="287" y="588"/>
                  </a:lnTo>
                  <a:lnTo>
                    <a:pt x="287" y="588"/>
                  </a:lnTo>
                  <a:lnTo>
                    <a:pt x="287" y="590"/>
                  </a:lnTo>
                  <a:lnTo>
                    <a:pt x="287" y="590"/>
                  </a:lnTo>
                  <a:lnTo>
                    <a:pt x="285" y="591"/>
                  </a:lnTo>
                  <a:lnTo>
                    <a:pt x="285" y="593"/>
                  </a:lnTo>
                  <a:lnTo>
                    <a:pt x="285" y="593"/>
                  </a:lnTo>
                  <a:lnTo>
                    <a:pt x="284" y="593"/>
                  </a:lnTo>
                  <a:lnTo>
                    <a:pt x="282" y="593"/>
                  </a:lnTo>
                  <a:close/>
                </a:path>
              </a:pathLst>
            </a:custGeom>
            <a:solidFill>
              <a:srgbClr val="DCDD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78" name="Freeform 126"/>
            <p:cNvSpPr>
              <a:spLocks noEditPoints="1"/>
            </p:cNvSpPr>
            <p:nvPr/>
          </p:nvSpPr>
          <p:spPr bwMode="auto">
            <a:xfrm>
              <a:off x="2205418" y="4269813"/>
              <a:ext cx="217363" cy="407454"/>
            </a:xfrm>
            <a:custGeom>
              <a:avLst/>
              <a:gdLst>
                <a:gd name="T0" fmla="*/ 188 w 357"/>
                <a:gd name="T1" fmla="*/ 80 h 616"/>
                <a:gd name="T2" fmla="*/ 198 w 357"/>
                <a:gd name="T3" fmla="*/ 114 h 616"/>
                <a:gd name="T4" fmla="*/ 176 w 357"/>
                <a:gd name="T5" fmla="*/ 156 h 616"/>
                <a:gd name="T6" fmla="*/ 175 w 357"/>
                <a:gd name="T7" fmla="*/ 223 h 616"/>
                <a:gd name="T8" fmla="*/ 235 w 357"/>
                <a:gd name="T9" fmla="*/ 233 h 616"/>
                <a:gd name="T10" fmla="*/ 186 w 357"/>
                <a:gd name="T11" fmla="*/ 258 h 616"/>
                <a:gd name="T12" fmla="*/ 171 w 357"/>
                <a:gd name="T13" fmla="*/ 319 h 616"/>
                <a:gd name="T14" fmla="*/ 169 w 357"/>
                <a:gd name="T15" fmla="*/ 375 h 616"/>
                <a:gd name="T16" fmla="*/ 123 w 357"/>
                <a:gd name="T17" fmla="*/ 378 h 616"/>
                <a:gd name="T18" fmla="*/ 75 w 357"/>
                <a:gd name="T19" fmla="*/ 368 h 616"/>
                <a:gd name="T20" fmla="*/ 79 w 357"/>
                <a:gd name="T21" fmla="*/ 429 h 616"/>
                <a:gd name="T22" fmla="*/ 40 w 357"/>
                <a:gd name="T23" fmla="*/ 507 h 616"/>
                <a:gd name="T24" fmla="*/ 49 w 357"/>
                <a:gd name="T25" fmla="*/ 548 h 616"/>
                <a:gd name="T26" fmla="*/ 72 w 357"/>
                <a:gd name="T27" fmla="*/ 535 h 616"/>
                <a:gd name="T28" fmla="*/ 82 w 357"/>
                <a:gd name="T29" fmla="*/ 527 h 616"/>
                <a:gd name="T30" fmla="*/ 86 w 357"/>
                <a:gd name="T31" fmla="*/ 541 h 616"/>
                <a:gd name="T32" fmla="*/ 82 w 357"/>
                <a:gd name="T33" fmla="*/ 554 h 616"/>
                <a:gd name="T34" fmla="*/ 93 w 357"/>
                <a:gd name="T35" fmla="*/ 551 h 616"/>
                <a:gd name="T36" fmla="*/ 100 w 357"/>
                <a:gd name="T37" fmla="*/ 544 h 616"/>
                <a:gd name="T38" fmla="*/ 106 w 357"/>
                <a:gd name="T39" fmla="*/ 537 h 616"/>
                <a:gd name="T40" fmla="*/ 112 w 357"/>
                <a:gd name="T41" fmla="*/ 533 h 616"/>
                <a:gd name="T42" fmla="*/ 109 w 357"/>
                <a:gd name="T43" fmla="*/ 544 h 616"/>
                <a:gd name="T44" fmla="*/ 99 w 357"/>
                <a:gd name="T45" fmla="*/ 550 h 616"/>
                <a:gd name="T46" fmla="*/ 139 w 357"/>
                <a:gd name="T47" fmla="*/ 581 h 616"/>
                <a:gd name="T48" fmla="*/ 169 w 357"/>
                <a:gd name="T49" fmla="*/ 577 h 616"/>
                <a:gd name="T50" fmla="*/ 186 w 357"/>
                <a:gd name="T51" fmla="*/ 597 h 616"/>
                <a:gd name="T52" fmla="*/ 202 w 357"/>
                <a:gd name="T53" fmla="*/ 584 h 616"/>
                <a:gd name="T54" fmla="*/ 238 w 357"/>
                <a:gd name="T55" fmla="*/ 587 h 616"/>
                <a:gd name="T56" fmla="*/ 278 w 357"/>
                <a:gd name="T57" fmla="*/ 570 h 616"/>
                <a:gd name="T58" fmla="*/ 266 w 357"/>
                <a:gd name="T59" fmla="*/ 523 h 616"/>
                <a:gd name="T60" fmla="*/ 278 w 357"/>
                <a:gd name="T61" fmla="*/ 482 h 616"/>
                <a:gd name="T62" fmla="*/ 311 w 357"/>
                <a:gd name="T63" fmla="*/ 515 h 616"/>
                <a:gd name="T64" fmla="*/ 338 w 357"/>
                <a:gd name="T65" fmla="*/ 428 h 616"/>
                <a:gd name="T66" fmla="*/ 357 w 357"/>
                <a:gd name="T67" fmla="*/ 336 h 616"/>
                <a:gd name="T68" fmla="*/ 314 w 357"/>
                <a:gd name="T69" fmla="*/ 268 h 616"/>
                <a:gd name="T70" fmla="*/ 302 w 357"/>
                <a:gd name="T71" fmla="*/ 216 h 616"/>
                <a:gd name="T72" fmla="*/ 342 w 357"/>
                <a:gd name="T73" fmla="*/ 187 h 616"/>
                <a:gd name="T74" fmla="*/ 348 w 357"/>
                <a:gd name="T75" fmla="*/ 89 h 616"/>
                <a:gd name="T76" fmla="*/ 325 w 357"/>
                <a:gd name="T77" fmla="*/ 37 h 616"/>
                <a:gd name="T78" fmla="*/ 259 w 357"/>
                <a:gd name="T79" fmla="*/ 21 h 616"/>
                <a:gd name="T80" fmla="*/ 229 w 357"/>
                <a:gd name="T81" fmla="*/ 18 h 616"/>
                <a:gd name="T82" fmla="*/ 288 w 357"/>
                <a:gd name="T83" fmla="*/ 571 h 616"/>
                <a:gd name="T84" fmla="*/ 222 w 357"/>
                <a:gd name="T85" fmla="*/ 598 h 616"/>
                <a:gd name="T86" fmla="*/ 221 w 357"/>
                <a:gd name="T87" fmla="*/ 597 h 616"/>
                <a:gd name="T88" fmla="*/ 163 w 357"/>
                <a:gd name="T89" fmla="*/ 610 h 616"/>
                <a:gd name="T90" fmla="*/ 159 w 357"/>
                <a:gd name="T91" fmla="*/ 594 h 616"/>
                <a:gd name="T92" fmla="*/ 166 w 357"/>
                <a:gd name="T93" fmla="*/ 598 h 616"/>
                <a:gd name="T94" fmla="*/ 255 w 357"/>
                <a:gd name="T95" fmla="*/ 593 h 616"/>
                <a:gd name="T96" fmla="*/ 87 w 357"/>
                <a:gd name="T97" fmla="*/ 587 h 616"/>
                <a:gd name="T98" fmla="*/ 83 w 357"/>
                <a:gd name="T99" fmla="*/ 581 h 616"/>
                <a:gd name="T100" fmla="*/ 66 w 357"/>
                <a:gd name="T101" fmla="*/ 587 h 616"/>
                <a:gd name="T102" fmla="*/ 85 w 357"/>
                <a:gd name="T103" fmla="*/ 570 h 616"/>
                <a:gd name="T104" fmla="*/ 83 w 357"/>
                <a:gd name="T105" fmla="*/ 560 h 616"/>
                <a:gd name="T106" fmla="*/ 205 w 357"/>
                <a:gd name="T107" fmla="*/ 596 h 616"/>
                <a:gd name="T108" fmla="*/ 201 w 357"/>
                <a:gd name="T109" fmla="*/ 597 h 616"/>
                <a:gd name="T110" fmla="*/ 182 w 357"/>
                <a:gd name="T111" fmla="*/ 608 h 616"/>
                <a:gd name="T112" fmla="*/ 178 w 357"/>
                <a:gd name="T113" fmla="*/ 611 h 616"/>
                <a:gd name="T114" fmla="*/ 185 w 357"/>
                <a:gd name="T115" fmla="*/ 601 h 616"/>
                <a:gd name="T116" fmla="*/ 179 w 357"/>
                <a:gd name="T117" fmla="*/ 601 h 616"/>
                <a:gd name="T118" fmla="*/ 186 w 357"/>
                <a:gd name="T119" fmla="*/ 606 h 616"/>
                <a:gd name="T120" fmla="*/ 287 w 357"/>
                <a:gd name="T121" fmla="*/ 590 h 616"/>
                <a:gd name="T122" fmla="*/ 282 w 357"/>
                <a:gd name="T123" fmla="*/ 588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7" h="616">
                  <a:moveTo>
                    <a:pt x="183" y="17"/>
                  </a:moveTo>
                  <a:lnTo>
                    <a:pt x="183" y="26"/>
                  </a:lnTo>
                  <a:lnTo>
                    <a:pt x="185" y="34"/>
                  </a:lnTo>
                  <a:lnTo>
                    <a:pt x="185" y="43"/>
                  </a:lnTo>
                  <a:lnTo>
                    <a:pt x="186" y="58"/>
                  </a:lnTo>
                  <a:lnTo>
                    <a:pt x="188" y="64"/>
                  </a:lnTo>
                  <a:lnTo>
                    <a:pt x="188" y="71"/>
                  </a:lnTo>
                  <a:lnTo>
                    <a:pt x="188" y="74"/>
                  </a:lnTo>
                  <a:lnTo>
                    <a:pt x="188" y="80"/>
                  </a:lnTo>
                  <a:lnTo>
                    <a:pt x="186" y="94"/>
                  </a:lnTo>
                  <a:lnTo>
                    <a:pt x="186" y="99"/>
                  </a:lnTo>
                  <a:lnTo>
                    <a:pt x="192" y="99"/>
                  </a:lnTo>
                  <a:lnTo>
                    <a:pt x="195" y="100"/>
                  </a:lnTo>
                  <a:lnTo>
                    <a:pt x="201" y="99"/>
                  </a:lnTo>
                  <a:lnTo>
                    <a:pt x="209" y="101"/>
                  </a:lnTo>
                  <a:lnTo>
                    <a:pt x="206" y="109"/>
                  </a:lnTo>
                  <a:lnTo>
                    <a:pt x="203" y="113"/>
                  </a:lnTo>
                  <a:lnTo>
                    <a:pt x="198" y="114"/>
                  </a:lnTo>
                  <a:lnTo>
                    <a:pt x="193" y="117"/>
                  </a:lnTo>
                  <a:lnTo>
                    <a:pt x="189" y="120"/>
                  </a:lnTo>
                  <a:lnTo>
                    <a:pt x="186" y="123"/>
                  </a:lnTo>
                  <a:lnTo>
                    <a:pt x="183" y="126"/>
                  </a:lnTo>
                  <a:lnTo>
                    <a:pt x="181" y="132"/>
                  </a:lnTo>
                  <a:lnTo>
                    <a:pt x="178" y="139"/>
                  </a:lnTo>
                  <a:lnTo>
                    <a:pt x="178" y="146"/>
                  </a:lnTo>
                  <a:lnTo>
                    <a:pt x="176" y="152"/>
                  </a:lnTo>
                  <a:lnTo>
                    <a:pt x="176" y="156"/>
                  </a:lnTo>
                  <a:lnTo>
                    <a:pt x="178" y="159"/>
                  </a:lnTo>
                  <a:lnTo>
                    <a:pt x="176" y="163"/>
                  </a:lnTo>
                  <a:lnTo>
                    <a:pt x="171" y="174"/>
                  </a:lnTo>
                  <a:lnTo>
                    <a:pt x="172" y="179"/>
                  </a:lnTo>
                  <a:lnTo>
                    <a:pt x="171" y="196"/>
                  </a:lnTo>
                  <a:lnTo>
                    <a:pt x="172" y="205"/>
                  </a:lnTo>
                  <a:lnTo>
                    <a:pt x="171" y="213"/>
                  </a:lnTo>
                  <a:lnTo>
                    <a:pt x="171" y="219"/>
                  </a:lnTo>
                  <a:lnTo>
                    <a:pt x="175" y="223"/>
                  </a:lnTo>
                  <a:lnTo>
                    <a:pt x="183" y="232"/>
                  </a:lnTo>
                  <a:lnTo>
                    <a:pt x="189" y="232"/>
                  </a:lnTo>
                  <a:lnTo>
                    <a:pt x="196" y="230"/>
                  </a:lnTo>
                  <a:lnTo>
                    <a:pt x="201" y="230"/>
                  </a:lnTo>
                  <a:lnTo>
                    <a:pt x="208" y="229"/>
                  </a:lnTo>
                  <a:lnTo>
                    <a:pt x="216" y="229"/>
                  </a:lnTo>
                  <a:lnTo>
                    <a:pt x="222" y="230"/>
                  </a:lnTo>
                  <a:lnTo>
                    <a:pt x="234" y="232"/>
                  </a:lnTo>
                  <a:lnTo>
                    <a:pt x="235" y="233"/>
                  </a:lnTo>
                  <a:lnTo>
                    <a:pt x="238" y="238"/>
                  </a:lnTo>
                  <a:lnTo>
                    <a:pt x="236" y="243"/>
                  </a:lnTo>
                  <a:lnTo>
                    <a:pt x="232" y="245"/>
                  </a:lnTo>
                  <a:lnTo>
                    <a:pt x="222" y="245"/>
                  </a:lnTo>
                  <a:lnTo>
                    <a:pt x="209" y="243"/>
                  </a:lnTo>
                  <a:lnTo>
                    <a:pt x="205" y="243"/>
                  </a:lnTo>
                  <a:lnTo>
                    <a:pt x="192" y="240"/>
                  </a:lnTo>
                  <a:lnTo>
                    <a:pt x="188" y="252"/>
                  </a:lnTo>
                  <a:lnTo>
                    <a:pt x="186" y="258"/>
                  </a:lnTo>
                  <a:lnTo>
                    <a:pt x="183" y="262"/>
                  </a:lnTo>
                  <a:lnTo>
                    <a:pt x="182" y="268"/>
                  </a:lnTo>
                  <a:lnTo>
                    <a:pt x="179" y="279"/>
                  </a:lnTo>
                  <a:lnTo>
                    <a:pt x="178" y="285"/>
                  </a:lnTo>
                  <a:lnTo>
                    <a:pt x="175" y="291"/>
                  </a:lnTo>
                  <a:lnTo>
                    <a:pt x="171" y="305"/>
                  </a:lnTo>
                  <a:lnTo>
                    <a:pt x="166" y="311"/>
                  </a:lnTo>
                  <a:lnTo>
                    <a:pt x="169" y="313"/>
                  </a:lnTo>
                  <a:lnTo>
                    <a:pt x="171" y="319"/>
                  </a:lnTo>
                  <a:lnTo>
                    <a:pt x="173" y="325"/>
                  </a:lnTo>
                  <a:lnTo>
                    <a:pt x="173" y="328"/>
                  </a:lnTo>
                  <a:lnTo>
                    <a:pt x="165" y="338"/>
                  </a:lnTo>
                  <a:lnTo>
                    <a:pt x="168" y="342"/>
                  </a:lnTo>
                  <a:lnTo>
                    <a:pt x="175" y="346"/>
                  </a:lnTo>
                  <a:lnTo>
                    <a:pt x="176" y="351"/>
                  </a:lnTo>
                  <a:lnTo>
                    <a:pt x="173" y="354"/>
                  </a:lnTo>
                  <a:lnTo>
                    <a:pt x="171" y="364"/>
                  </a:lnTo>
                  <a:lnTo>
                    <a:pt x="169" y="375"/>
                  </a:lnTo>
                  <a:lnTo>
                    <a:pt x="168" y="381"/>
                  </a:lnTo>
                  <a:lnTo>
                    <a:pt x="162" y="381"/>
                  </a:lnTo>
                  <a:lnTo>
                    <a:pt x="158" y="385"/>
                  </a:lnTo>
                  <a:lnTo>
                    <a:pt x="152" y="385"/>
                  </a:lnTo>
                  <a:lnTo>
                    <a:pt x="148" y="382"/>
                  </a:lnTo>
                  <a:lnTo>
                    <a:pt x="142" y="376"/>
                  </a:lnTo>
                  <a:lnTo>
                    <a:pt x="136" y="375"/>
                  </a:lnTo>
                  <a:lnTo>
                    <a:pt x="132" y="375"/>
                  </a:lnTo>
                  <a:lnTo>
                    <a:pt x="123" y="378"/>
                  </a:lnTo>
                  <a:lnTo>
                    <a:pt x="118" y="384"/>
                  </a:lnTo>
                  <a:lnTo>
                    <a:pt x="116" y="388"/>
                  </a:lnTo>
                  <a:lnTo>
                    <a:pt x="112" y="392"/>
                  </a:lnTo>
                  <a:lnTo>
                    <a:pt x="108" y="389"/>
                  </a:lnTo>
                  <a:lnTo>
                    <a:pt x="100" y="384"/>
                  </a:lnTo>
                  <a:lnTo>
                    <a:pt x="98" y="372"/>
                  </a:lnTo>
                  <a:lnTo>
                    <a:pt x="93" y="371"/>
                  </a:lnTo>
                  <a:lnTo>
                    <a:pt x="87" y="369"/>
                  </a:lnTo>
                  <a:lnTo>
                    <a:pt x="75" y="368"/>
                  </a:lnTo>
                  <a:lnTo>
                    <a:pt x="67" y="366"/>
                  </a:lnTo>
                  <a:lnTo>
                    <a:pt x="79" y="405"/>
                  </a:lnTo>
                  <a:lnTo>
                    <a:pt x="75" y="411"/>
                  </a:lnTo>
                  <a:lnTo>
                    <a:pt x="70" y="415"/>
                  </a:lnTo>
                  <a:lnTo>
                    <a:pt x="67" y="417"/>
                  </a:lnTo>
                  <a:lnTo>
                    <a:pt x="66" y="421"/>
                  </a:lnTo>
                  <a:lnTo>
                    <a:pt x="67" y="424"/>
                  </a:lnTo>
                  <a:lnTo>
                    <a:pt x="72" y="427"/>
                  </a:lnTo>
                  <a:lnTo>
                    <a:pt x="79" y="429"/>
                  </a:lnTo>
                  <a:lnTo>
                    <a:pt x="85" y="434"/>
                  </a:lnTo>
                  <a:lnTo>
                    <a:pt x="86" y="437"/>
                  </a:lnTo>
                  <a:lnTo>
                    <a:pt x="0" y="481"/>
                  </a:lnTo>
                  <a:lnTo>
                    <a:pt x="20" y="491"/>
                  </a:lnTo>
                  <a:lnTo>
                    <a:pt x="26" y="498"/>
                  </a:lnTo>
                  <a:lnTo>
                    <a:pt x="30" y="502"/>
                  </a:lnTo>
                  <a:lnTo>
                    <a:pt x="33" y="508"/>
                  </a:lnTo>
                  <a:lnTo>
                    <a:pt x="37" y="507"/>
                  </a:lnTo>
                  <a:lnTo>
                    <a:pt x="40" y="507"/>
                  </a:lnTo>
                  <a:lnTo>
                    <a:pt x="43" y="500"/>
                  </a:lnTo>
                  <a:lnTo>
                    <a:pt x="55" y="505"/>
                  </a:lnTo>
                  <a:lnTo>
                    <a:pt x="55" y="505"/>
                  </a:lnTo>
                  <a:lnTo>
                    <a:pt x="53" y="514"/>
                  </a:lnTo>
                  <a:lnTo>
                    <a:pt x="50" y="521"/>
                  </a:lnTo>
                  <a:lnTo>
                    <a:pt x="46" y="535"/>
                  </a:lnTo>
                  <a:lnTo>
                    <a:pt x="45" y="541"/>
                  </a:lnTo>
                  <a:lnTo>
                    <a:pt x="46" y="545"/>
                  </a:lnTo>
                  <a:lnTo>
                    <a:pt x="49" y="548"/>
                  </a:lnTo>
                  <a:lnTo>
                    <a:pt x="55" y="550"/>
                  </a:lnTo>
                  <a:lnTo>
                    <a:pt x="59" y="548"/>
                  </a:lnTo>
                  <a:lnTo>
                    <a:pt x="62" y="548"/>
                  </a:lnTo>
                  <a:lnTo>
                    <a:pt x="67" y="547"/>
                  </a:lnTo>
                  <a:lnTo>
                    <a:pt x="72" y="540"/>
                  </a:lnTo>
                  <a:lnTo>
                    <a:pt x="72" y="540"/>
                  </a:lnTo>
                  <a:lnTo>
                    <a:pt x="72" y="538"/>
                  </a:lnTo>
                  <a:lnTo>
                    <a:pt x="72" y="538"/>
                  </a:lnTo>
                  <a:lnTo>
                    <a:pt x="72" y="535"/>
                  </a:lnTo>
                  <a:lnTo>
                    <a:pt x="72" y="534"/>
                  </a:lnTo>
                  <a:lnTo>
                    <a:pt x="72" y="530"/>
                  </a:lnTo>
                  <a:lnTo>
                    <a:pt x="75" y="524"/>
                  </a:lnTo>
                  <a:lnTo>
                    <a:pt x="77" y="521"/>
                  </a:lnTo>
                  <a:lnTo>
                    <a:pt x="77" y="521"/>
                  </a:lnTo>
                  <a:lnTo>
                    <a:pt x="79" y="521"/>
                  </a:lnTo>
                  <a:lnTo>
                    <a:pt x="79" y="521"/>
                  </a:lnTo>
                  <a:lnTo>
                    <a:pt x="80" y="524"/>
                  </a:lnTo>
                  <a:lnTo>
                    <a:pt x="82" y="527"/>
                  </a:lnTo>
                  <a:lnTo>
                    <a:pt x="82" y="530"/>
                  </a:lnTo>
                  <a:lnTo>
                    <a:pt x="82" y="537"/>
                  </a:lnTo>
                  <a:lnTo>
                    <a:pt x="82" y="538"/>
                  </a:lnTo>
                  <a:lnTo>
                    <a:pt x="82" y="538"/>
                  </a:lnTo>
                  <a:lnTo>
                    <a:pt x="83" y="540"/>
                  </a:lnTo>
                  <a:lnTo>
                    <a:pt x="83" y="541"/>
                  </a:lnTo>
                  <a:lnTo>
                    <a:pt x="83" y="541"/>
                  </a:lnTo>
                  <a:lnTo>
                    <a:pt x="86" y="541"/>
                  </a:lnTo>
                  <a:lnTo>
                    <a:pt x="86" y="541"/>
                  </a:lnTo>
                  <a:lnTo>
                    <a:pt x="86" y="545"/>
                  </a:lnTo>
                  <a:lnTo>
                    <a:pt x="85" y="547"/>
                  </a:lnTo>
                  <a:lnTo>
                    <a:pt x="83" y="550"/>
                  </a:lnTo>
                  <a:lnTo>
                    <a:pt x="83" y="550"/>
                  </a:lnTo>
                  <a:lnTo>
                    <a:pt x="83" y="551"/>
                  </a:lnTo>
                  <a:lnTo>
                    <a:pt x="82" y="551"/>
                  </a:lnTo>
                  <a:lnTo>
                    <a:pt x="82" y="553"/>
                  </a:lnTo>
                  <a:lnTo>
                    <a:pt x="82" y="553"/>
                  </a:lnTo>
                  <a:lnTo>
                    <a:pt x="82" y="554"/>
                  </a:lnTo>
                  <a:lnTo>
                    <a:pt x="83" y="554"/>
                  </a:lnTo>
                  <a:lnTo>
                    <a:pt x="86" y="551"/>
                  </a:lnTo>
                  <a:lnTo>
                    <a:pt x="87" y="551"/>
                  </a:lnTo>
                  <a:lnTo>
                    <a:pt x="89" y="551"/>
                  </a:lnTo>
                  <a:lnTo>
                    <a:pt x="90" y="551"/>
                  </a:lnTo>
                  <a:lnTo>
                    <a:pt x="90" y="551"/>
                  </a:lnTo>
                  <a:lnTo>
                    <a:pt x="92" y="550"/>
                  </a:lnTo>
                  <a:lnTo>
                    <a:pt x="92" y="550"/>
                  </a:lnTo>
                  <a:lnTo>
                    <a:pt x="93" y="551"/>
                  </a:lnTo>
                  <a:lnTo>
                    <a:pt x="95" y="550"/>
                  </a:lnTo>
                  <a:lnTo>
                    <a:pt x="96" y="550"/>
                  </a:lnTo>
                  <a:lnTo>
                    <a:pt x="98" y="548"/>
                  </a:lnTo>
                  <a:lnTo>
                    <a:pt x="99" y="547"/>
                  </a:lnTo>
                  <a:lnTo>
                    <a:pt x="99" y="547"/>
                  </a:lnTo>
                  <a:lnTo>
                    <a:pt x="100" y="547"/>
                  </a:lnTo>
                  <a:lnTo>
                    <a:pt x="100" y="545"/>
                  </a:lnTo>
                  <a:lnTo>
                    <a:pt x="100" y="545"/>
                  </a:lnTo>
                  <a:lnTo>
                    <a:pt x="100" y="544"/>
                  </a:lnTo>
                  <a:lnTo>
                    <a:pt x="102" y="544"/>
                  </a:lnTo>
                  <a:lnTo>
                    <a:pt x="102" y="544"/>
                  </a:lnTo>
                  <a:lnTo>
                    <a:pt x="102" y="543"/>
                  </a:lnTo>
                  <a:lnTo>
                    <a:pt x="103" y="543"/>
                  </a:lnTo>
                  <a:lnTo>
                    <a:pt x="105" y="541"/>
                  </a:lnTo>
                  <a:lnTo>
                    <a:pt x="105" y="540"/>
                  </a:lnTo>
                  <a:lnTo>
                    <a:pt x="105" y="540"/>
                  </a:lnTo>
                  <a:lnTo>
                    <a:pt x="106" y="538"/>
                  </a:lnTo>
                  <a:lnTo>
                    <a:pt x="106" y="537"/>
                  </a:lnTo>
                  <a:lnTo>
                    <a:pt x="106" y="537"/>
                  </a:lnTo>
                  <a:lnTo>
                    <a:pt x="106" y="537"/>
                  </a:lnTo>
                  <a:lnTo>
                    <a:pt x="108" y="534"/>
                  </a:lnTo>
                  <a:lnTo>
                    <a:pt x="108" y="534"/>
                  </a:lnTo>
                  <a:lnTo>
                    <a:pt x="109" y="533"/>
                  </a:lnTo>
                  <a:lnTo>
                    <a:pt x="109" y="533"/>
                  </a:lnTo>
                  <a:lnTo>
                    <a:pt x="112" y="533"/>
                  </a:lnTo>
                  <a:lnTo>
                    <a:pt x="112" y="533"/>
                  </a:lnTo>
                  <a:lnTo>
                    <a:pt x="112" y="533"/>
                  </a:lnTo>
                  <a:lnTo>
                    <a:pt x="113" y="533"/>
                  </a:lnTo>
                  <a:lnTo>
                    <a:pt x="113" y="534"/>
                  </a:lnTo>
                  <a:lnTo>
                    <a:pt x="113" y="534"/>
                  </a:lnTo>
                  <a:lnTo>
                    <a:pt x="113" y="535"/>
                  </a:lnTo>
                  <a:lnTo>
                    <a:pt x="113" y="537"/>
                  </a:lnTo>
                  <a:lnTo>
                    <a:pt x="113" y="538"/>
                  </a:lnTo>
                  <a:lnTo>
                    <a:pt x="112" y="540"/>
                  </a:lnTo>
                  <a:lnTo>
                    <a:pt x="110" y="541"/>
                  </a:lnTo>
                  <a:lnTo>
                    <a:pt x="109" y="544"/>
                  </a:lnTo>
                  <a:lnTo>
                    <a:pt x="109" y="544"/>
                  </a:lnTo>
                  <a:lnTo>
                    <a:pt x="108" y="545"/>
                  </a:lnTo>
                  <a:lnTo>
                    <a:pt x="108" y="545"/>
                  </a:lnTo>
                  <a:lnTo>
                    <a:pt x="106" y="545"/>
                  </a:lnTo>
                  <a:lnTo>
                    <a:pt x="105" y="547"/>
                  </a:lnTo>
                  <a:lnTo>
                    <a:pt x="105" y="547"/>
                  </a:lnTo>
                  <a:lnTo>
                    <a:pt x="102" y="548"/>
                  </a:lnTo>
                  <a:lnTo>
                    <a:pt x="100" y="550"/>
                  </a:lnTo>
                  <a:lnTo>
                    <a:pt x="99" y="550"/>
                  </a:lnTo>
                  <a:lnTo>
                    <a:pt x="99" y="551"/>
                  </a:lnTo>
                  <a:lnTo>
                    <a:pt x="102" y="551"/>
                  </a:lnTo>
                  <a:lnTo>
                    <a:pt x="105" y="551"/>
                  </a:lnTo>
                  <a:lnTo>
                    <a:pt x="108" y="554"/>
                  </a:lnTo>
                  <a:lnTo>
                    <a:pt x="120" y="565"/>
                  </a:lnTo>
                  <a:lnTo>
                    <a:pt x="126" y="571"/>
                  </a:lnTo>
                  <a:lnTo>
                    <a:pt x="132" y="577"/>
                  </a:lnTo>
                  <a:lnTo>
                    <a:pt x="138" y="581"/>
                  </a:lnTo>
                  <a:lnTo>
                    <a:pt x="139" y="581"/>
                  </a:lnTo>
                  <a:lnTo>
                    <a:pt x="139" y="581"/>
                  </a:lnTo>
                  <a:lnTo>
                    <a:pt x="140" y="581"/>
                  </a:lnTo>
                  <a:lnTo>
                    <a:pt x="142" y="581"/>
                  </a:lnTo>
                  <a:lnTo>
                    <a:pt x="143" y="583"/>
                  </a:lnTo>
                  <a:lnTo>
                    <a:pt x="145" y="583"/>
                  </a:lnTo>
                  <a:lnTo>
                    <a:pt x="149" y="580"/>
                  </a:lnTo>
                  <a:lnTo>
                    <a:pt x="152" y="580"/>
                  </a:lnTo>
                  <a:lnTo>
                    <a:pt x="162" y="578"/>
                  </a:lnTo>
                  <a:lnTo>
                    <a:pt x="169" y="577"/>
                  </a:lnTo>
                  <a:lnTo>
                    <a:pt x="173" y="577"/>
                  </a:lnTo>
                  <a:lnTo>
                    <a:pt x="176" y="581"/>
                  </a:lnTo>
                  <a:lnTo>
                    <a:pt x="178" y="583"/>
                  </a:lnTo>
                  <a:lnTo>
                    <a:pt x="179" y="584"/>
                  </a:lnTo>
                  <a:lnTo>
                    <a:pt x="181" y="586"/>
                  </a:lnTo>
                  <a:lnTo>
                    <a:pt x="181" y="588"/>
                  </a:lnTo>
                  <a:lnTo>
                    <a:pt x="182" y="593"/>
                  </a:lnTo>
                  <a:lnTo>
                    <a:pt x="183" y="596"/>
                  </a:lnTo>
                  <a:lnTo>
                    <a:pt x="186" y="597"/>
                  </a:lnTo>
                  <a:lnTo>
                    <a:pt x="189" y="597"/>
                  </a:lnTo>
                  <a:lnTo>
                    <a:pt x="191" y="597"/>
                  </a:lnTo>
                  <a:lnTo>
                    <a:pt x="192" y="597"/>
                  </a:lnTo>
                  <a:lnTo>
                    <a:pt x="195" y="593"/>
                  </a:lnTo>
                  <a:lnTo>
                    <a:pt x="196" y="590"/>
                  </a:lnTo>
                  <a:lnTo>
                    <a:pt x="198" y="588"/>
                  </a:lnTo>
                  <a:lnTo>
                    <a:pt x="198" y="586"/>
                  </a:lnTo>
                  <a:lnTo>
                    <a:pt x="198" y="586"/>
                  </a:lnTo>
                  <a:lnTo>
                    <a:pt x="202" y="584"/>
                  </a:lnTo>
                  <a:lnTo>
                    <a:pt x="203" y="584"/>
                  </a:lnTo>
                  <a:lnTo>
                    <a:pt x="205" y="586"/>
                  </a:lnTo>
                  <a:lnTo>
                    <a:pt x="206" y="587"/>
                  </a:lnTo>
                  <a:lnTo>
                    <a:pt x="211" y="588"/>
                  </a:lnTo>
                  <a:lnTo>
                    <a:pt x="218" y="590"/>
                  </a:lnTo>
                  <a:lnTo>
                    <a:pt x="224" y="588"/>
                  </a:lnTo>
                  <a:lnTo>
                    <a:pt x="229" y="588"/>
                  </a:lnTo>
                  <a:lnTo>
                    <a:pt x="232" y="588"/>
                  </a:lnTo>
                  <a:lnTo>
                    <a:pt x="238" y="587"/>
                  </a:lnTo>
                  <a:lnTo>
                    <a:pt x="246" y="587"/>
                  </a:lnTo>
                  <a:lnTo>
                    <a:pt x="249" y="587"/>
                  </a:lnTo>
                  <a:lnTo>
                    <a:pt x="255" y="587"/>
                  </a:lnTo>
                  <a:lnTo>
                    <a:pt x="261" y="584"/>
                  </a:lnTo>
                  <a:lnTo>
                    <a:pt x="265" y="581"/>
                  </a:lnTo>
                  <a:lnTo>
                    <a:pt x="269" y="578"/>
                  </a:lnTo>
                  <a:lnTo>
                    <a:pt x="274" y="574"/>
                  </a:lnTo>
                  <a:lnTo>
                    <a:pt x="275" y="573"/>
                  </a:lnTo>
                  <a:lnTo>
                    <a:pt x="278" y="570"/>
                  </a:lnTo>
                  <a:lnTo>
                    <a:pt x="282" y="568"/>
                  </a:lnTo>
                  <a:lnTo>
                    <a:pt x="282" y="567"/>
                  </a:lnTo>
                  <a:lnTo>
                    <a:pt x="281" y="554"/>
                  </a:lnTo>
                  <a:lnTo>
                    <a:pt x="281" y="554"/>
                  </a:lnTo>
                  <a:lnTo>
                    <a:pt x="277" y="547"/>
                  </a:lnTo>
                  <a:lnTo>
                    <a:pt x="271" y="538"/>
                  </a:lnTo>
                  <a:lnTo>
                    <a:pt x="268" y="531"/>
                  </a:lnTo>
                  <a:lnTo>
                    <a:pt x="266" y="527"/>
                  </a:lnTo>
                  <a:lnTo>
                    <a:pt x="266" y="523"/>
                  </a:lnTo>
                  <a:lnTo>
                    <a:pt x="266" y="523"/>
                  </a:lnTo>
                  <a:lnTo>
                    <a:pt x="259" y="511"/>
                  </a:lnTo>
                  <a:lnTo>
                    <a:pt x="259" y="511"/>
                  </a:lnTo>
                  <a:lnTo>
                    <a:pt x="258" y="498"/>
                  </a:lnTo>
                  <a:lnTo>
                    <a:pt x="258" y="485"/>
                  </a:lnTo>
                  <a:lnTo>
                    <a:pt x="258" y="485"/>
                  </a:lnTo>
                  <a:lnTo>
                    <a:pt x="265" y="481"/>
                  </a:lnTo>
                  <a:lnTo>
                    <a:pt x="271" y="481"/>
                  </a:lnTo>
                  <a:lnTo>
                    <a:pt x="278" y="482"/>
                  </a:lnTo>
                  <a:lnTo>
                    <a:pt x="285" y="487"/>
                  </a:lnTo>
                  <a:lnTo>
                    <a:pt x="285" y="487"/>
                  </a:lnTo>
                  <a:lnTo>
                    <a:pt x="288" y="501"/>
                  </a:lnTo>
                  <a:lnTo>
                    <a:pt x="289" y="507"/>
                  </a:lnTo>
                  <a:lnTo>
                    <a:pt x="295" y="511"/>
                  </a:lnTo>
                  <a:lnTo>
                    <a:pt x="295" y="511"/>
                  </a:lnTo>
                  <a:lnTo>
                    <a:pt x="301" y="514"/>
                  </a:lnTo>
                  <a:lnTo>
                    <a:pt x="305" y="515"/>
                  </a:lnTo>
                  <a:lnTo>
                    <a:pt x="311" y="515"/>
                  </a:lnTo>
                  <a:lnTo>
                    <a:pt x="317" y="514"/>
                  </a:lnTo>
                  <a:lnTo>
                    <a:pt x="321" y="495"/>
                  </a:lnTo>
                  <a:lnTo>
                    <a:pt x="321" y="495"/>
                  </a:lnTo>
                  <a:lnTo>
                    <a:pt x="322" y="478"/>
                  </a:lnTo>
                  <a:lnTo>
                    <a:pt x="325" y="460"/>
                  </a:lnTo>
                  <a:lnTo>
                    <a:pt x="331" y="442"/>
                  </a:lnTo>
                  <a:lnTo>
                    <a:pt x="334" y="435"/>
                  </a:lnTo>
                  <a:lnTo>
                    <a:pt x="338" y="428"/>
                  </a:lnTo>
                  <a:lnTo>
                    <a:pt x="338" y="428"/>
                  </a:lnTo>
                  <a:lnTo>
                    <a:pt x="342" y="417"/>
                  </a:lnTo>
                  <a:lnTo>
                    <a:pt x="348" y="408"/>
                  </a:lnTo>
                  <a:lnTo>
                    <a:pt x="348" y="399"/>
                  </a:lnTo>
                  <a:lnTo>
                    <a:pt x="345" y="392"/>
                  </a:lnTo>
                  <a:lnTo>
                    <a:pt x="345" y="392"/>
                  </a:lnTo>
                  <a:lnTo>
                    <a:pt x="348" y="375"/>
                  </a:lnTo>
                  <a:lnTo>
                    <a:pt x="352" y="359"/>
                  </a:lnTo>
                  <a:lnTo>
                    <a:pt x="355" y="343"/>
                  </a:lnTo>
                  <a:lnTo>
                    <a:pt x="357" y="336"/>
                  </a:lnTo>
                  <a:lnTo>
                    <a:pt x="355" y="328"/>
                  </a:lnTo>
                  <a:lnTo>
                    <a:pt x="352" y="319"/>
                  </a:lnTo>
                  <a:lnTo>
                    <a:pt x="352" y="319"/>
                  </a:lnTo>
                  <a:lnTo>
                    <a:pt x="341" y="312"/>
                  </a:lnTo>
                  <a:lnTo>
                    <a:pt x="331" y="302"/>
                  </a:lnTo>
                  <a:lnTo>
                    <a:pt x="324" y="292"/>
                  </a:lnTo>
                  <a:lnTo>
                    <a:pt x="319" y="286"/>
                  </a:lnTo>
                  <a:lnTo>
                    <a:pt x="318" y="280"/>
                  </a:lnTo>
                  <a:lnTo>
                    <a:pt x="314" y="268"/>
                  </a:lnTo>
                  <a:lnTo>
                    <a:pt x="307" y="266"/>
                  </a:lnTo>
                  <a:lnTo>
                    <a:pt x="295" y="275"/>
                  </a:lnTo>
                  <a:lnTo>
                    <a:pt x="291" y="270"/>
                  </a:lnTo>
                  <a:lnTo>
                    <a:pt x="287" y="249"/>
                  </a:lnTo>
                  <a:lnTo>
                    <a:pt x="287" y="249"/>
                  </a:lnTo>
                  <a:lnTo>
                    <a:pt x="294" y="239"/>
                  </a:lnTo>
                  <a:lnTo>
                    <a:pt x="301" y="230"/>
                  </a:lnTo>
                  <a:lnTo>
                    <a:pt x="302" y="216"/>
                  </a:lnTo>
                  <a:lnTo>
                    <a:pt x="302" y="216"/>
                  </a:lnTo>
                  <a:lnTo>
                    <a:pt x="309" y="215"/>
                  </a:lnTo>
                  <a:lnTo>
                    <a:pt x="315" y="215"/>
                  </a:lnTo>
                  <a:lnTo>
                    <a:pt x="328" y="216"/>
                  </a:lnTo>
                  <a:lnTo>
                    <a:pt x="324" y="205"/>
                  </a:lnTo>
                  <a:lnTo>
                    <a:pt x="324" y="205"/>
                  </a:lnTo>
                  <a:lnTo>
                    <a:pt x="332" y="199"/>
                  </a:lnTo>
                  <a:lnTo>
                    <a:pt x="337" y="196"/>
                  </a:lnTo>
                  <a:lnTo>
                    <a:pt x="340" y="193"/>
                  </a:lnTo>
                  <a:lnTo>
                    <a:pt x="342" y="187"/>
                  </a:lnTo>
                  <a:lnTo>
                    <a:pt x="328" y="162"/>
                  </a:lnTo>
                  <a:lnTo>
                    <a:pt x="317" y="130"/>
                  </a:lnTo>
                  <a:lnTo>
                    <a:pt x="314" y="119"/>
                  </a:lnTo>
                  <a:lnTo>
                    <a:pt x="314" y="119"/>
                  </a:lnTo>
                  <a:lnTo>
                    <a:pt x="328" y="113"/>
                  </a:lnTo>
                  <a:lnTo>
                    <a:pt x="342" y="106"/>
                  </a:lnTo>
                  <a:lnTo>
                    <a:pt x="352" y="100"/>
                  </a:lnTo>
                  <a:lnTo>
                    <a:pt x="348" y="91"/>
                  </a:lnTo>
                  <a:lnTo>
                    <a:pt x="348" y="89"/>
                  </a:lnTo>
                  <a:lnTo>
                    <a:pt x="345" y="83"/>
                  </a:lnTo>
                  <a:lnTo>
                    <a:pt x="345" y="77"/>
                  </a:lnTo>
                  <a:lnTo>
                    <a:pt x="342" y="70"/>
                  </a:lnTo>
                  <a:lnTo>
                    <a:pt x="344" y="56"/>
                  </a:lnTo>
                  <a:lnTo>
                    <a:pt x="342" y="48"/>
                  </a:lnTo>
                  <a:lnTo>
                    <a:pt x="341" y="47"/>
                  </a:lnTo>
                  <a:lnTo>
                    <a:pt x="337" y="43"/>
                  </a:lnTo>
                  <a:lnTo>
                    <a:pt x="332" y="40"/>
                  </a:lnTo>
                  <a:lnTo>
                    <a:pt x="325" y="37"/>
                  </a:lnTo>
                  <a:lnTo>
                    <a:pt x="319" y="36"/>
                  </a:lnTo>
                  <a:lnTo>
                    <a:pt x="317" y="36"/>
                  </a:lnTo>
                  <a:lnTo>
                    <a:pt x="314" y="34"/>
                  </a:lnTo>
                  <a:lnTo>
                    <a:pt x="309" y="34"/>
                  </a:lnTo>
                  <a:lnTo>
                    <a:pt x="304" y="34"/>
                  </a:lnTo>
                  <a:lnTo>
                    <a:pt x="292" y="36"/>
                  </a:lnTo>
                  <a:lnTo>
                    <a:pt x="278" y="34"/>
                  </a:lnTo>
                  <a:lnTo>
                    <a:pt x="271" y="28"/>
                  </a:lnTo>
                  <a:lnTo>
                    <a:pt x="259" y="21"/>
                  </a:lnTo>
                  <a:lnTo>
                    <a:pt x="246" y="11"/>
                  </a:lnTo>
                  <a:lnTo>
                    <a:pt x="244" y="3"/>
                  </a:lnTo>
                  <a:lnTo>
                    <a:pt x="235" y="3"/>
                  </a:lnTo>
                  <a:lnTo>
                    <a:pt x="232" y="3"/>
                  </a:lnTo>
                  <a:lnTo>
                    <a:pt x="232" y="10"/>
                  </a:lnTo>
                  <a:lnTo>
                    <a:pt x="234" y="17"/>
                  </a:lnTo>
                  <a:lnTo>
                    <a:pt x="235" y="23"/>
                  </a:lnTo>
                  <a:lnTo>
                    <a:pt x="231" y="23"/>
                  </a:lnTo>
                  <a:lnTo>
                    <a:pt x="229" y="18"/>
                  </a:lnTo>
                  <a:lnTo>
                    <a:pt x="228" y="11"/>
                  </a:lnTo>
                  <a:lnTo>
                    <a:pt x="222" y="8"/>
                  </a:lnTo>
                  <a:lnTo>
                    <a:pt x="209" y="0"/>
                  </a:lnTo>
                  <a:lnTo>
                    <a:pt x="183" y="17"/>
                  </a:lnTo>
                  <a:close/>
                  <a:moveTo>
                    <a:pt x="284" y="574"/>
                  </a:moveTo>
                  <a:lnTo>
                    <a:pt x="287" y="574"/>
                  </a:lnTo>
                  <a:lnTo>
                    <a:pt x="287" y="573"/>
                  </a:lnTo>
                  <a:lnTo>
                    <a:pt x="288" y="573"/>
                  </a:lnTo>
                  <a:lnTo>
                    <a:pt x="288" y="571"/>
                  </a:lnTo>
                  <a:lnTo>
                    <a:pt x="288" y="570"/>
                  </a:lnTo>
                  <a:lnTo>
                    <a:pt x="287" y="570"/>
                  </a:lnTo>
                  <a:lnTo>
                    <a:pt x="285" y="570"/>
                  </a:lnTo>
                  <a:lnTo>
                    <a:pt x="285" y="570"/>
                  </a:lnTo>
                  <a:lnTo>
                    <a:pt x="285" y="571"/>
                  </a:lnTo>
                  <a:lnTo>
                    <a:pt x="284" y="571"/>
                  </a:lnTo>
                  <a:lnTo>
                    <a:pt x="284" y="574"/>
                  </a:lnTo>
                  <a:lnTo>
                    <a:pt x="284" y="574"/>
                  </a:lnTo>
                  <a:close/>
                  <a:moveTo>
                    <a:pt x="222" y="598"/>
                  </a:moveTo>
                  <a:lnTo>
                    <a:pt x="222" y="601"/>
                  </a:lnTo>
                  <a:lnTo>
                    <a:pt x="221" y="604"/>
                  </a:lnTo>
                  <a:lnTo>
                    <a:pt x="218" y="607"/>
                  </a:lnTo>
                  <a:lnTo>
                    <a:pt x="215" y="607"/>
                  </a:lnTo>
                  <a:lnTo>
                    <a:pt x="214" y="604"/>
                  </a:lnTo>
                  <a:lnTo>
                    <a:pt x="216" y="601"/>
                  </a:lnTo>
                  <a:lnTo>
                    <a:pt x="219" y="598"/>
                  </a:lnTo>
                  <a:lnTo>
                    <a:pt x="219" y="597"/>
                  </a:lnTo>
                  <a:lnTo>
                    <a:pt x="221" y="597"/>
                  </a:lnTo>
                  <a:lnTo>
                    <a:pt x="222" y="598"/>
                  </a:lnTo>
                  <a:lnTo>
                    <a:pt x="222" y="598"/>
                  </a:lnTo>
                  <a:close/>
                  <a:moveTo>
                    <a:pt x="172" y="608"/>
                  </a:moveTo>
                  <a:lnTo>
                    <a:pt x="172" y="614"/>
                  </a:lnTo>
                  <a:lnTo>
                    <a:pt x="171" y="616"/>
                  </a:lnTo>
                  <a:lnTo>
                    <a:pt x="166" y="616"/>
                  </a:lnTo>
                  <a:lnTo>
                    <a:pt x="162" y="613"/>
                  </a:lnTo>
                  <a:lnTo>
                    <a:pt x="161" y="611"/>
                  </a:lnTo>
                  <a:lnTo>
                    <a:pt x="163" y="610"/>
                  </a:lnTo>
                  <a:lnTo>
                    <a:pt x="166" y="608"/>
                  </a:lnTo>
                  <a:lnTo>
                    <a:pt x="168" y="607"/>
                  </a:lnTo>
                  <a:lnTo>
                    <a:pt x="169" y="606"/>
                  </a:lnTo>
                  <a:lnTo>
                    <a:pt x="171" y="607"/>
                  </a:lnTo>
                  <a:lnTo>
                    <a:pt x="172" y="608"/>
                  </a:lnTo>
                  <a:lnTo>
                    <a:pt x="172" y="608"/>
                  </a:lnTo>
                  <a:close/>
                  <a:moveTo>
                    <a:pt x="152" y="597"/>
                  </a:moveTo>
                  <a:lnTo>
                    <a:pt x="158" y="594"/>
                  </a:lnTo>
                  <a:lnTo>
                    <a:pt x="159" y="594"/>
                  </a:lnTo>
                  <a:lnTo>
                    <a:pt x="158" y="598"/>
                  </a:lnTo>
                  <a:lnTo>
                    <a:pt x="153" y="600"/>
                  </a:lnTo>
                  <a:lnTo>
                    <a:pt x="150" y="600"/>
                  </a:lnTo>
                  <a:lnTo>
                    <a:pt x="152" y="597"/>
                  </a:lnTo>
                  <a:lnTo>
                    <a:pt x="152" y="597"/>
                  </a:lnTo>
                  <a:close/>
                  <a:moveTo>
                    <a:pt x="155" y="606"/>
                  </a:moveTo>
                  <a:lnTo>
                    <a:pt x="159" y="603"/>
                  </a:lnTo>
                  <a:lnTo>
                    <a:pt x="163" y="598"/>
                  </a:lnTo>
                  <a:lnTo>
                    <a:pt x="166" y="598"/>
                  </a:lnTo>
                  <a:lnTo>
                    <a:pt x="165" y="604"/>
                  </a:lnTo>
                  <a:lnTo>
                    <a:pt x="159" y="607"/>
                  </a:lnTo>
                  <a:lnTo>
                    <a:pt x="156" y="608"/>
                  </a:lnTo>
                  <a:lnTo>
                    <a:pt x="155" y="606"/>
                  </a:lnTo>
                  <a:lnTo>
                    <a:pt x="155" y="606"/>
                  </a:lnTo>
                  <a:close/>
                  <a:moveTo>
                    <a:pt x="265" y="591"/>
                  </a:moveTo>
                  <a:lnTo>
                    <a:pt x="261" y="598"/>
                  </a:lnTo>
                  <a:lnTo>
                    <a:pt x="255" y="598"/>
                  </a:lnTo>
                  <a:lnTo>
                    <a:pt x="255" y="593"/>
                  </a:lnTo>
                  <a:lnTo>
                    <a:pt x="262" y="587"/>
                  </a:lnTo>
                  <a:lnTo>
                    <a:pt x="266" y="587"/>
                  </a:lnTo>
                  <a:lnTo>
                    <a:pt x="266" y="588"/>
                  </a:lnTo>
                  <a:lnTo>
                    <a:pt x="265" y="591"/>
                  </a:lnTo>
                  <a:lnTo>
                    <a:pt x="265" y="591"/>
                  </a:lnTo>
                  <a:close/>
                  <a:moveTo>
                    <a:pt x="96" y="577"/>
                  </a:moveTo>
                  <a:lnTo>
                    <a:pt x="93" y="580"/>
                  </a:lnTo>
                  <a:lnTo>
                    <a:pt x="90" y="584"/>
                  </a:lnTo>
                  <a:lnTo>
                    <a:pt x="87" y="587"/>
                  </a:lnTo>
                  <a:lnTo>
                    <a:pt x="89" y="590"/>
                  </a:lnTo>
                  <a:lnTo>
                    <a:pt x="90" y="590"/>
                  </a:lnTo>
                  <a:lnTo>
                    <a:pt x="93" y="591"/>
                  </a:lnTo>
                  <a:lnTo>
                    <a:pt x="92" y="596"/>
                  </a:lnTo>
                  <a:lnTo>
                    <a:pt x="87" y="598"/>
                  </a:lnTo>
                  <a:lnTo>
                    <a:pt x="80" y="594"/>
                  </a:lnTo>
                  <a:lnTo>
                    <a:pt x="77" y="591"/>
                  </a:lnTo>
                  <a:lnTo>
                    <a:pt x="79" y="587"/>
                  </a:lnTo>
                  <a:lnTo>
                    <a:pt x="83" y="581"/>
                  </a:lnTo>
                  <a:lnTo>
                    <a:pt x="89" y="574"/>
                  </a:lnTo>
                  <a:lnTo>
                    <a:pt x="93" y="570"/>
                  </a:lnTo>
                  <a:lnTo>
                    <a:pt x="96" y="571"/>
                  </a:lnTo>
                  <a:lnTo>
                    <a:pt x="96" y="573"/>
                  </a:lnTo>
                  <a:lnTo>
                    <a:pt x="96" y="577"/>
                  </a:lnTo>
                  <a:lnTo>
                    <a:pt x="96" y="577"/>
                  </a:lnTo>
                  <a:close/>
                  <a:moveTo>
                    <a:pt x="69" y="583"/>
                  </a:moveTo>
                  <a:lnTo>
                    <a:pt x="69" y="586"/>
                  </a:lnTo>
                  <a:lnTo>
                    <a:pt x="66" y="587"/>
                  </a:lnTo>
                  <a:lnTo>
                    <a:pt x="63" y="586"/>
                  </a:lnTo>
                  <a:lnTo>
                    <a:pt x="62" y="583"/>
                  </a:lnTo>
                  <a:lnTo>
                    <a:pt x="63" y="580"/>
                  </a:lnTo>
                  <a:lnTo>
                    <a:pt x="66" y="580"/>
                  </a:lnTo>
                  <a:lnTo>
                    <a:pt x="69" y="581"/>
                  </a:lnTo>
                  <a:lnTo>
                    <a:pt x="69" y="583"/>
                  </a:lnTo>
                  <a:lnTo>
                    <a:pt x="69" y="583"/>
                  </a:lnTo>
                  <a:close/>
                  <a:moveTo>
                    <a:pt x="86" y="564"/>
                  </a:moveTo>
                  <a:lnTo>
                    <a:pt x="85" y="570"/>
                  </a:lnTo>
                  <a:lnTo>
                    <a:pt x="82" y="573"/>
                  </a:lnTo>
                  <a:lnTo>
                    <a:pt x="77" y="574"/>
                  </a:lnTo>
                  <a:lnTo>
                    <a:pt x="75" y="574"/>
                  </a:lnTo>
                  <a:lnTo>
                    <a:pt x="73" y="573"/>
                  </a:lnTo>
                  <a:lnTo>
                    <a:pt x="75" y="571"/>
                  </a:lnTo>
                  <a:lnTo>
                    <a:pt x="77" y="568"/>
                  </a:lnTo>
                  <a:lnTo>
                    <a:pt x="79" y="564"/>
                  </a:lnTo>
                  <a:lnTo>
                    <a:pt x="79" y="563"/>
                  </a:lnTo>
                  <a:lnTo>
                    <a:pt x="83" y="560"/>
                  </a:lnTo>
                  <a:lnTo>
                    <a:pt x="86" y="561"/>
                  </a:lnTo>
                  <a:lnTo>
                    <a:pt x="86" y="564"/>
                  </a:lnTo>
                  <a:lnTo>
                    <a:pt x="86" y="564"/>
                  </a:lnTo>
                  <a:close/>
                  <a:moveTo>
                    <a:pt x="202" y="601"/>
                  </a:moveTo>
                  <a:lnTo>
                    <a:pt x="205" y="601"/>
                  </a:lnTo>
                  <a:lnTo>
                    <a:pt x="205" y="600"/>
                  </a:lnTo>
                  <a:lnTo>
                    <a:pt x="205" y="597"/>
                  </a:lnTo>
                  <a:lnTo>
                    <a:pt x="205" y="596"/>
                  </a:lnTo>
                  <a:lnTo>
                    <a:pt x="205" y="596"/>
                  </a:lnTo>
                  <a:lnTo>
                    <a:pt x="205" y="594"/>
                  </a:lnTo>
                  <a:lnTo>
                    <a:pt x="203" y="594"/>
                  </a:lnTo>
                  <a:lnTo>
                    <a:pt x="203" y="594"/>
                  </a:lnTo>
                  <a:lnTo>
                    <a:pt x="203" y="594"/>
                  </a:lnTo>
                  <a:lnTo>
                    <a:pt x="202" y="594"/>
                  </a:lnTo>
                  <a:lnTo>
                    <a:pt x="202" y="594"/>
                  </a:lnTo>
                  <a:lnTo>
                    <a:pt x="201" y="594"/>
                  </a:lnTo>
                  <a:lnTo>
                    <a:pt x="201" y="596"/>
                  </a:lnTo>
                  <a:lnTo>
                    <a:pt x="201" y="597"/>
                  </a:lnTo>
                  <a:lnTo>
                    <a:pt x="201" y="597"/>
                  </a:lnTo>
                  <a:lnTo>
                    <a:pt x="199" y="598"/>
                  </a:lnTo>
                  <a:lnTo>
                    <a:pt x="199" y="598"/>
                  </a:lnTo>
                  <a:lnTo>
                    <a:pt x="201" y="600"/>
                  </a:lnTo>
                  <a:lnTo>
                    <a:pt x="201" y="601"/>
                  </a:lnTo>
                  <a:lnTo>
                    <a:pt x="202" y="601"/>
                  </a:lnTo>
                  <a:lnTo>
                    <a:pt x="202" y="601"/>
                  </a:lnTo>
                  <a:close/>
                  <a:moveTo>
                    <a:pt x="183" y="610"/>
                  </a:moveTo>
                  <a:lnTo>
                    <a:pt x="182" y="608"/>
                  </a:lnTo>
                  <a:lnTo>
                    <a:pt x="182" y="608"/>
                  </a:lnTo>
                  <a:lnTo>
                    <a:pt x="181" y="608"/>
                  </a:lnTo>
                  <a:lnTo>
                    <a:pt x="179" y="608"/>
                  </a:lnTo>
                  <a:lnTo>
                    <a:pt x="176" y="608"/>
                  </a:lnTo>
                  <a:lnTo>
                    <a:pt x="175" y="608"/>
                  </a:lnTo>
                  <a:lnTo>
                    <a:pt x="176" y="610"/>
                  </a:lnTo>
                  <a:lnTo>
                    <a:pt x="176" y="611"/>
                  </a:lnTo>
                  <a:lnTo>
                    <a:pt x="178" y="611"/>
                  </a:lnTo>
                  <a:lnTo>
                    <a:pt x="178" y="611"/>
                  </a:lnTo>
                  <a:lnTo>
                    <a:pt x="179" y="611"/>
                  </a:lnTo>
                  <a:lnTo>
                    <a:pt x="181" y="613"/>
                  </a:lnTo>
                  <a:lnTo>
                    <a:pt x="182" y="611"/>
                  </a:lnTo>
                  <a:lnTo>
                    <a:pt x="183" y="610"/>
                  </a:lnTo>
                  <a:lnTo>
                    <a:pt x="183" y="610"/>
                  </a:lnTo>
                  <a:close/>
                  <a:moveTo>
                    <a:pt x="188" y="603"/>
                  </a:moveTo>
                  <a:lnTo>
                    <a:pt x="186" y="601"/>
                  </a:lnTo>
                  <a:lnTo>
                    <a:pt x="185" y="601"/>
                  </a:lnTo>
                  <a:lnTo>
                    <a:pt x="185" y="601"/>
                  </a:lnTo>
                  <a:lnTo>
                    <a:pt x="183" y="601"/>
                  </a:lnTo>
                  <a:lnTo>
                    <a:pt x="183" y="600"/>
                  </a:lnTo>
                  <a:lnTo>
                    <a:pt x="182" y="600"/>
                  </a:lnTo>
                  <a:lnTo>
                    <a:pt x="182" y="600"/>
                  </a:lnTo>
                  <a:lnTo>
                    <a:pt x="181" y="598"/>
                  </a:lnTo>
                  <a:lnTo>
                    <a:pt x="179" y="598"/>
                  </a:lnTo>
                  <a:lnTo>
                    <a:pt x="179" y="598"/>
                  </a:lnTo>
                  <a:lnTo>
                    <a:pt x="178" y="598"/>
                  </a:lnTo>
                  <a:lnTo>
                    <a:pt x="179" y="601"/>
                  </a:lnTo>
                  <a:lnTo>
                    <a:pt x="179" y="603"/>
                  </a:lnTo>
                  <a:lnTo>
                    <a:pt x="179" y="604"/>
                  </a:lnTo>
                  <a:lnTo>
                    <a:pt x="181" y="604"/>
                  </a:lnTo>
                  <a:lnTo>
                    <a:pt x="181" y="606"/>
                  </a:lnTo>
                  <a:lnTo>
                    <a:pt x="181" y="606"/>
                  </a:lnTo>
                  <a:lnTo>
                    <a:pt x="182" y="606"/>
                  </a:lnTo>
                  <a:lnTo>
                    <a:pt x="182" y="606"/>
                  </a:lnTo>
                  <a:lnTo>
                    <a:pt x="183" y="606"/>
                  </a:lnTo>
                  <a:lnTo>
                    <a:pt x="186" y="606"/>
                  </a:lnTo>
                  <a:lnTo>
                    <a:pt x="186" y="606"/>
                  </a:lnTo>
                  <a:lnTo>
                    <a:pt x="188" y="603"/>
                  </a:lnTo>
                  <a:lnTo>
                    <a:pt x="188" y="603"/>
                  </a:lnTo>
                  <a:close/>
                  <a:moveTo>
                    <a:pt x="282" y="593"/>
                  </a:moveTo>
                  <a:lnTo>
                    <a:pt x="284" y="593"/>
                  </a:lnTo>
                  <a:lnTo>
                    <a:pt x="285" y="593"/>
                  </a:lnTo>
                  <a:lnTo>
                    <a:pt x="285" y="593"/>
                  </a:lnTo>
                  <a:lnTo>
                    <a:pt x="285" y="591"/>
                  </a:lnTo>
                  <a:lnTo>
                    <a:pt x="287" y="590"/>
                  </a:lnTo>
                  <a:lnTo>
                    <a:pt x="287" y="590"/>
                  </a:lnTo>
                  <a:lnTo>
                    <a:pt x="287" y="588"/>
                  </a:lnTo>
                  <a:lnTo>
                    <a:pt x="287" y="588"/>
                  </a:lnTo>
                  <a:lnTo>
                    <a:pt x="285" y="587"/>
                  </a:lnTo>
                  <a:lnTo>
                    <a:pt x="285" y="586"/>
                  </a:lnTo>
                  <a:lnTo>
                    <a:pt x="284" y="587"/>
                  </a:lnTo>
                  <a:lnTo>
                    <a:pt x="284" y="587"/>
                  </a:lnTo>
                  <a:lnTo>
                    <a:pt x="284" y="587"/>
                  </a:lnTo>
                  <a:lnTo>
                    <a:pt x="282" y="588"/>
                  </a:lnTo>
                  <a:lnTo>
                    <a:pt x="282" y="590"/>
                  </a:lnTo>
                  <a:lnTo>
                    <a:pt x="282" y="59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79" name="Freeform 127"/>
            <p:cNvSpPr>
              <a:spLocks/>
            </p:cNvSpPr>
            <p:nvPr/>
          </p:nvSpPr>
          <p:spPr bwMode="auto">
            <a:xfrm>
              <a:off x="2205418" y="4269813"/>
              <a:ext cx="217363" cy="395548"/>
            </a:xfrm>
            <a:custGeom>
              <a:avLst/>
              <a:gdLst>
                <a:gd name="T0" fmla="*/ 188 w 357"/>
                <a:gd name="T1" fmla="*/ 64 h 597"/>
                <a:gd name="T2" fmla="*/ 192 w 357"/>
                <a:gd name="T3" fmla="*/ 99 h 597"/>
                <a:gd name="T4" fmla="*/ 198 w 357"/>
                <a:gd name="T5" fmla="*/ 114 h 597"/>
                <a:gd name="T6" fmla="*/ 178 w 357"/>
                <a:gd name="T7" fmla="*/ 139 h 597"/>
                <a:gd name="T8" fmla="*/ 171 w 357"/>
                <a:gd name="T9" fmla="*/ 174 h 597"/>
                <a:gd name="T10" fmla="*/ 175 w 357"/>
                <a:gd name="T11" fmla="*/ 223 h 597"/>
                <a:gd name="T12" fmla="*/ 216 w 357"/>
                <a:gd name="T13" fmla="*/ 229 h 597"/>
                <a:gd name="T14" fmla="*/ 232 w 357"/>
                <a:gd name="T15" fmla="*/ 245 h 597"/>
                <a:gd name="T16" fmla="*/ 186 w 357"/>
                <a:gd name="T17" fmla="*/ 258 h 597"/>
                <a:gd name="T18" fmla="*/ 171 w 357"/>
                <a:gd name="T19" fmla="*/ 305 h 597"/>
                <a:gd name="T20" fmla="*/ 165 w 357"/>
                <a:gd name="T21" fmla="*/ 338 h 597"/>
                <a:gd name="T22" fmla="*/ 169 w 357"/>
                <a:gd name="T23" fmla="*/ 375 h 597"/>
                <a:gd name="T24" fmla="*/ 142 w 357"/>
                <a:gd name="T25" fmla="*/ 376 h 597"/>
                <a:gd name="T26" fmla="*/ 112 w 357"/>
                <a:gd name="T27" fmla="*/ 392 h 597"/>
                <a:gd name="T28" fmla="*/ 75 w 357"/>
                <a:gd name="T29" fmla="*/ 368 h 597"/>
                <a:gd name="T30" fmla="*/ 66 w 357"/>
                <a:gd name="T31" fmla="*/ 421 h 597"/>
                <a:gd name="T32" fmla="*/ 0 w 357"/>
                <a:gd name="T33" fmla="*/ 481 h 597"/>
                <a:gd name="T34" fmla="*/ 40 w 357"/>
                <a:gd name="T35" fmla="*/ 507 h 597"/>
                <a:gd name="T36" fmla="*/ 46 w 357"/>
                <a:gd name="T37" fmla="*/ 535 h 597"/>
                <a:gd name="T38" fmla="*/ 62 w 357"/>
                <a:gd name="T39" fmla="*/ 548 h 597"/>
                <a:gd name="T40" fmla="*/ 72 w 357"/>
                <a:gd name="T41" fmla="*/ 535 h 597"/>
                <a:gd name="T42" fmla="*/ 79 w 357"/>
                <a:gd name="T43" fmla="*/ 521 h 597"/>
                <a:gd name="T44" fmla="*/ 82 w 357"/>
                <a:gd name="T45" fmla="*/ 538 h 597"/>
                <a:gd name="T46" fmla="*/ 86 w 357"/>
                <a:gd name="T47" fmla="*/ 541 h 597"/>
                <a:gd name="T48" fmla="*/ 82 w 357"/>
                <a:gd name="T49" fmla="*/ 551 h 597"/>
                <a:gd name="T50" fmla="*/ 87 w 357"/>
                <a:gd name="T51" fmla="*/ 551 h 597"/>
                <a:gd name="T52" fmla="*/ 93 w 357"/>
                <a:gd name="T53" fmla="*/ 551 h 597"/>
                <a:gd name="T54" fmla="*/ 100 w 357"/>
                <a:gd name="T55" fmla="*/ 547 h 597"/>
                <a:gd name="T56" fmla="*/ 102 w 357"/>
                <a:gd name="T57" fmla="*/ 543 h 597"/>
                <a:gd name="T58" fmla="*/ 106 w 357"/>
                <a:gd name="T59" fmla="*/ 537 h 597"/>
                <a:gd name="T60" fmla="*/ 109 w 357"/>
                <a:gd name="T61" fmla="*/ 533 h 597"/>
                <a:gd name="T62" fmla="*/ 113 w 357"/>
                <a:gd name="T63" fmla="*/ 534 h 597"/>
                <a:gd name="T64" fmla="*/ 109 w 357"/>
                <a:gd name="T65" fmla="*/ 544 h 597"/>
                <a:gd name="T66" fmla="*/ 105 w 357"/>
                <a:gd name="T67" fmla="*/ 547 h 597"/>
                <a:gd name="T68" fmla="*/ 105 w 357"/>
                <a:gd name="T69" fmla="*/ 551 h 597"/>
                <a:gd name="T70" fmla="*/ 139 w 357"/>
                <a:gd name="T71" fmla="*/ 581 h 597"/>
                <a:gd name="T72" fmla="*/ 149 w 357"/>
                <a:gd name="T73" fmla="*/ 580 h 597"/>
                <a:gd name="T74" fmla="*/ 178 w 357"/>
                <a:gd name="T75" fmla="*/ 583 h 597"/>
                <a:gd name="T76" fmla="*/ 186 w 357"/>
                <a:gd name="T77" fmla="*/ 597 h 597"/>
                <a:gd name="T78" fmla="*/ 198 w 357"/>
                <a:gd name="T79" fmla="*/ 588 h 597"/>
                <a:gd name="T80" fmla="*/ 206 w 357"/>
                <a:gd name="T81" fmla="*/ 587 h 597"/>
                <a:gd name="T82" fmla="*/ 238 w 357"/>
                <a:gd name="T83" fmla="*/ 587 h 597"/>
                <a:gd name="T84" fmla="*/ 269 w 357"/>
                <a:gd name="T85" fmla="*/ 578 h 597"/>
                <a:gd name="T86" fmla="*/ 281 w 357"/>
                <a:gd name="T87" fmla="*/ 554 h 597"/>
                <a:gd name="T88" fmla="*/ 266 w 357"/>
                <a:gd name="T89" fmla="*/ 523 h 597"/>
                <a:gd name="T90" fmla="*/ 258 w 357"/>
                <a:gd name="T91" fmla="*/ 485 h 597"/>
                <a:gd name="T92" fmla="*/ 288 w 357"/>
                <a:gd name="T93" fmla="*/ 501 h 597"/>
                <a:gd name="T94" fmla="*/ 311 w 357"/>
                <a:gd name="T95" fmla="*/ 515 h 597"/>
                <a:gd name="T96" fmla="*/ 331 w 357"/>
                <a:gd name="T97" fmla="*/ 442 h 597"/>
                <a:gd name="T98" fmla="*/ 348 w 357"/>
                <a:gd name="T99" fmla="*/ 399 h 597"/>
                <a:gd name="T100" fmla="*/ 357 w 357"/>
                <a:gd name="T101" fmla="*/ 336 h 597"/>
                <a:gd name="T102" fmla="*/ 324 w 357"/>
                <a:gd name="T103" fmla="*/ 292 h 597"/>
                <a:gd name="T104" fmla="*/ 291 w 357"/>
                <a:gd name="T105" fmla="*/ 270 h 597"/>
                <a:gd name="T106" fmla="*/ 302 w 357"/>
                <a:gd name="T107" fmla="*/ 216 h 597"/>
                <a:gd name="T108" fmla="*/ 332 w 357"/>
                <a:gd name="T109" fmla="*/ 199 h 597"/>
                <a:gd name="T110" fmla="*/ 314 w 357"/>
                <a:gd name="T111" fmla="*/ 119 h 597"/>
                <a:gd name="T112" fmla="*/ 348 w 357"/>
                <a:gd name="T113" fmla="*/ 89 h 597"/>
                <a:gd name="T114" fmla="*/ 341 w 357"/>
                <a:gd name="T115" fmla="*/ 47 h 597"/>
                <a:gd name="T116" fmla="*/ 314 w 357"/>
                <a:gd name="T117" fmla="*/ 34 h 597"/>
                <a:gd name="T118" fmla="*/ 259 w 357"/>
                <a:gd name="T119" fmla="*/ 21 h 597"/>
                <a:gd name="T120" fmla="*/ 234 w 357"/>
                <a:gd name="T121" fmla="*/ 17 h 597"/>
                <a:gd name="T122" fmla="*/ 209 w 357"/>
                <a:gd name="T123" fmla="*/ 0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7" h="597">
                  <a:moveTo>
                    <a:pt x="183" y="17"/>
                  </a:moveTo>
                  <a:lnTo>
                    <a:pt x="183" y="26"/>
                  </a:lnTo>
                  <a:lnTo>
                    <a:pt x="185" y="34"/>
                  </a:lnTo>
                  <a:lnTo>
                    <a:pt x="185" y="43"/>
                  </a:lnTo>
                  <a:lnTo>
                    <a:pt x="186" y="58"/>
                  </a:lnTo>
                  <a:lnTo>
                    <a:pt x="188" y="64"/>
                  </a:lnTo>
                  <a:lnTo>
                    <a:pt x="188" y="71"/>
                  </a:lnTo>
                  <a:lnTo>
                    <a:pt x="188" y="74"/>
                  </a:lnTo>
                  <a:lnTo>
                    <a:pt x="188" y="80"/>
                  </a:lnTo>
                  <a:lnTo>
                    <a:pt x="186" y="94"/>
                  </a:lnTo>
                  <a:lnTo>
                    <a:pt x="186" y="99"/>
                  </a:lnTo>
                  <a:lnTo>
                    <a:pt x="192" y="99"/>
                  </a:lnTo>
                  <a:lnTo>
                    <a:pt x="195" y="100"/>
                  </a:lnTo>
                  <a:lnTo>
                    <a:pt x="201" y="99"/>
                  </a:lnTo>
                  <a:lnTo>
                    <a:pt x="209" y="101"/>
                  </a:lnTo>
                  <a:lnTo>
                    <a:pt x="206" y="109"/>
                  </a:lnTo>
                  <a:lnTo>
                    <a:pt x="203" y="113"/>
                  </a:lnTo>
                  <a:lnTo>
                    <a:pt x="198" y="114"/>
                  </a:lnTo>
                  <a:lnTo>
                    <a:pt x="193" y="117"/>
                  </a:lnTo>
                  <a:lnTo>
                    <a:pt x="189" y="120"/>
                  </a:lnTo>
                  <a:lnTo>
                    <a:pt x="186" y="123"/>
                  </a:lnTo>
                  <a:lnTo>
                    <a:pt x="183" y="126"/>
                  </a:lnTo>
                  <a:lnTo>
                    <a:pt x="181" y="132"/>
                  </a:lnTo>
                  <a:lnTo>
                    <a:pt x="178" y="139"/>
                  </a:lnTo>
                  <a:lnTo>
                    <a:pt x="178" y="146"/>
                  </a:lnTo>
                  <a:lnTo>
                    <a:pt x="176" y="152"/>
                  </a:lnTo>
                  <a:lnTo>
                    <a:pt x="176" y="156"/>
                  </a:lnTo>
                  <a:lnTo>
                    <a:pt x="178" y="159"/>
                  </a:lnTo>
                  <a:lnTo>
                    <a:pt x="176" y="163"/>
                  </a:lnTo>
                  <a:lnTo>
                    <a:pt x="171" y="174"/>
                  </a:lnTo>
                  <a:lnTo>
                    <a:pt x="172" y="179"/>
                  </a:lnTo>
                  <a:lnTo>
                    <a:pt x="171" y="196"/>
                  </a:lnTo>
                  <a:lnTo>
                    <a:pt x="172" y="205"/>
                  </a:lnTo>
                  <a:lnTo>
                    <a:pt x="171" y="213"/>
                  </a:lnTo>
                  <a:lnTo>
                    <a:pt x="171" y="219"/>
                  </a:lnTo>
                  <a:lnTo>
                    <a:pt x="175" y="223"/>
                  </a:lnTo>
                  <a:lnTo>
                    <a:pt x="183" y="232"/>
                  </a:lnTo>
                  <a:lnTo>
                    <a:pt x="189" y="232"/>
                  </a:lnTo>
                  <a:lnTo>
                    <a:pt x="196" y="230"/>
                  </a:lnTo>
                  <a:lnTo>
                    <a:pt x="201" y="230"/>
                  </a:lnTo>
                  <a:lnTo>
                    <a:pt x="208" y="229"/>
                  </a:lnTo>
                  <a:lnTo>
                    <a:pt x="216" y="229"/>
                  </a:lnTo>
                  <a:lnTo>
                    <a:pt x="222" y="230"/>
                  </a:lnTo>
                  <a:lnTo>
                    <a:pt x="234" y="232"/>
                  </a:lnTo>
                  <a:lnTo>
                    <a:pt x="235" y="233"/>
                  </a:lnTo>
                  <a:lnTo>
                    <a:pt x="238" y="238"/>
                  </a:lnTo>
                  <a:lnTo>
                    <a:pt x="236" y="243"/>
                  </a:lnTo>
                  <a:lnTo>
                    <a:pt x="232" y="245"/>
                  </a:lnTo>
                  <a:lnTo>
                    <a:pt x="222" y="245"/>
                  </a:lnTo>
                  <a:lnTo>
                    <a:pt x="209" y="243"/>
                  </a:lnTo>
                  <a:lnTo>
                    <a:pt x="205" y="243"/>
                  </a:lnTo>
                  <a:lnTo>
                    <a:pt x="192" y="240"/>
                  </a:lnTo>
                  <a:lnTo>
                    <a:pt x="188" y="252"/>
                  </a:lnTo>
                  <a:lnTo>
                    <a:pt x="186" y="258"/>
                  </a:lnTo>
                  <a:lnTo>
                    <a:pt x="183" y="262"/>
                  </a:lnTo>
                  <a:lnTo>
                    <a:pt x="182" y="268"/>
                  </a:lnTo>
                  <a:lnTo>
                    <a:pt x="179" y="279"/>
                  </a:lnTo>
                  <a:lnTo>
                    <a:pt x="178" y="285"/>
                  </a:lnTo>
                  <a:lnTo>
                    <a:pt x="175" y="291"/>
                  </a:lnTo>
                  <a:lnTo>
                    <a:pt x="171" y="305"/>
                  </a:lnTo>
                  <a:lnTo>
                    <a:pt x="166" y="311"/>
                  </a:lnTo>
                  <a:lnTo>
                    <a:pt x="169" y="313"/>
                  </a:lnTo>
                  <a:lnTo>
                    <a:pt x="171" y="319"/>
                  </a:lnTo>
                  <a:lnTo>
                    <a:pt x="173" y="325"/>
                  </a:lnTo>
                  <a:lnTo>
                    <a:pt x="173" y="328"/>
                  </a:lnTo>
                  <a:lnTo>
                    <a:pt x="165" y="338"/>
                  </a:lnTo>
                  <a:lnTo>
                    <a:pt x="168" y="342"/>
                  </a:lnTo>
                  <a:lnTo>
                    <a:pt x="175" y="346"/>
                  </a:lnTo>
                  <a:lnTo>
                    <a:pt x="176" y="351"/>
                  </a:lnTo>
                  <a:lnTo>
                    <a:pt x="173" y="354"/>
                  </a:lnTo>
                  <a:lnTo>
                    <a:pt x="171" y="364"/>
                  </a:lnTo>
                  <a:lnTo>
                    <a:pt x="169" y="375"/>
                  </a:lnTo>
                  <a:lnTo>
                    <a:pt x="168" y="381"/>
                  </a:lnTo>
                  <a:lnTo>
                    <a:pt x="162" y="381"/>
                  </a:lnTo>
                  <a:lnTo>
                    <a:pt x="158" y="385"/>
                  </a:lnTo>
                  <a:lnTo>
                    <a:pt x="152" y="385"/>
                  </a:lnTo>
                  <a:lnTo>
                    <a:pt x="148" y="382"/>
                  </a:lnTo>
                  <a:lnTo>
                    <a:pt x="142" y="376"/>
                  </a:lnTo>
                  <a:lnTo>
                    <a:pt x="136" y="375"/>
                  </a:lnTo>
                  <a:lnTo>
                    <a:pt x="132" y="375"/>
                  </a:lnTo>
                  <a:lnTo>
                    <a:pt x="123" y="378"/>
                  </a:lnTo>
                  <a:lnTo>
                    <a:pt x="118" y="384"/>
                  </a:lnTo>
                  <a:lnTo>
                    <a:pt x="116" y="388"/>
                  </a:lnTo>
                  <a:lnTo>
                    <a:pt x="112" y="392"/>
                  </a:lnTo>
                  <a:lnTo>
                    <a:pt x="108" y="389"/>
                  </a:lnTo>
                  <a:lnTo>
                    <a:pt x="100" y="384"/>
                  </a:lnTo>
                  <a:lnTo>
                    <a:pt x="98" y="372"/>
                  </a:lnTo>
                  <a:lnTo>
                    <a:pt x="93" y="371"/>
                  </a:lnTo>
                  <a:lnTo>
                    <a:pt x="87" y="369"/>
                  </a:lnTo>
                  <a:lnTo>
                    <a:pt x="75" y="368"/>
                  </a:lnTo>
                  <a:lnTo>
                    <a:pt x="67" y="366"/>
                  </a:lnTo>
                  <a:lnTo>
                    <a:pt x="79" y="405"/>
                  </a:lnTo>
                  <a:lnTo>
                    <a:pt x="75" y="411"/>
                  </a:lnTo>
                  <a:lnTo>
                    <a:pt x="70" y="415"/>
                  </a:lnTo>
                  <a:lnTo>
                    <a:pt x="67" y="417"/>
                  </a:lnTo>
                  <a:lnTo>
                    <a:pt x="66" y="421"/>
                  </a:lnTo>
                  <a:lnTo>
                    <a:pt x="67" y="424"/>
                  </a:lnTo>
                  <a:lnTo>
                    <a:pt x="72" y="427"/>
                  </a:lnTo>
                  <a:lnTo>
                    <a:pt x="79" y="429"/>
                  </a:lnTo>
                  <a:lnTo>
                    <a:pt x="85" y="434"/>
                  </a:lnTo>
                  <a:lnTo>
                    <a:pt x="86" y="437"/>
                  </a:lnTo>
                  <a:lnTo>
                    <a:pt x="0" y="481"/>
                  </a:lnTo>
                  <a:lnTo>
                    <a:pt x="20" y="491"/>
                  </a:lnTo>
                  <a:lnTo>
                    <a:pt x="26" y="498"/>
                  </a:lnTo>
                  <a:lnTo>
                    <a:pt x="30" y="502"/>
                  </a:lnTo>
                  <a:lnTo>
                    <a:pt x="33" y="508"/>
                  </a:lnTo>
                  <a:lnTo>
                    <a:pt x="37" y="507"/>
                  </a:lnTo>
                  <a:lnTo>
                    <a:pt x="40" y="507"/>
                  </a:lnTo>
                  <a:lnTo>
                    <a:pt x="43" y="500"/>
                  </a:lnTo>
                  <a:lnTo>
                    <a:pt x="55" y="505"/>
                  </a:lnTo>
                  <a:lnTo>
                    <a:pt x="55" y="505"/>
                  </a:lnTo>
                  <a:lnTo>
                    <a:pt x="53" y="514"/>
                  </a:lnTo>
                  <a:lnTo>
                    <a:pt x="50" y="521"/>
                  </a:lnTo>
                  <a:lnTo>
                    <a:pt x="46" y="535"/>
                  </a:lnTo>
                  <a:lnTo>
                    <a:pt x="45" y="541"/>
                  </a:lnTo>
                  <a:lnTo>
                    <a:pt x="46" y="545"/>
                  </a:lnTo>
                  <a:lnTo>
                    <a:pt x="49" y="548"/>
                  </a:lnTo>
                  <a:lnTo>
                    <a:pt x="55" y="550"/>
                  </a:lnTo>
                  <a:lnTo>
                    <a:pt x="59" y="548"/>
                  </a:lnTo>
                  <a:lnTo>
                    <a:pt x="62" y="548"/>
                  </a:lnTo>
                  <a:lnTo>
                    <a:pt x="67" y="547"/>
                  </a:lnTo>
                  <a:lnTo>
                    <a:pt x="72" y="540"/>
                  </a:lnTo>
                  <a:lnTo>
                    <a:pt x="72" y="540"/>
                  </a:lnTo>
                  <a:lnTo>
                    <a:pt x="72" y="538"/>
                  </a:lnTo>
                  <a:lnTo>
                    <a:pt x="72" y="538"/>
                  </a:lnTo>
                  <a:lnTo>
                    <a:pt x="72" y="535"/>
                  </a:lnTo>
                  <a:lnTo>
                    <a:pt x="72" y="534"/>
                  </a:lnTo>
                  <a:lnTo>
                    <a:pt x="72" y="530"/>
                  </a:lnTo>
                  <a:lnTo>
                    <a:pt x="75" y="524"/>
                  </a:lnTo>
                  <a:lnTo>
                    <a:pt x="77" y="521"/>
                  </a:lnTo>
                  <a:lnTo>
                    <a:pt x="77" y="521"/>
                  </a:lnTo>
                  <a:lnTo>
                    <a:pt x="79" y="521"/>
                  </a:lnTo>
                  <a:lnTo>
                    <a:pt x="79" y="521"/>
                  </a:lnTo>
                  <a:lnTo>
                    <a:pt x="80" y="524"/>
                  </a:lnTo>
                  <a:lnTo>
                    <a:pt x="82" y="527"/>
                  </a:lnTo>
                  <a:lnTo>
                    <a:pt x="82" y="530"/>
                  </a:lnTo>
                  <a:lnTo>
                    <a:pt x="82" y="537"/>
                  </a:lnTo>
                  <a:lnTo>
                    <a:pt x="82" y="538"/>
                  </a:lnTo>
                  <a:lnTo>
                    <a:pt x="82" y="538"/>
                  </a:lnTo>
                  <a:lnTo>
                    <a:pt x="83" y="540"/>
                  </a:lnTo>
                  <a:lnTo>
                    <a:pt x="83" y="541"/>
                  </a:lnTo>
                  <a:lnTo>
                    <a:pt x="83" y="541"/>
                  </a:lnTo>
                  <a:lnTo>
                    <a:pt x="86" y="541"/>
                  </a:lnTo>
                  <a:lnTo>
                    <a:pt x="86" y="541"/>
                  </a:lnTo>
                  <a:lnTo>
                    <a:pt x="86" y="545"/>
                  </a:lnTo>
                  <a:lnTo>
                    <a:pt x="85" y="547"/>
                  </a:lnTo>
                  <a:lnTo>
                    <a:pt x="83" y="550"/>
                  </a:lnTo>
                  <a:lnTo>
                    <a:pt x="83" y="550"/>
                  </a:lnTo>
                  <a:lnTo>
                    <a:pt x="83" y="551"/>
                  </a:lnTo>
                  <a:lnTo>
                    <a:pt x="82" y="551"/>
                  </a:lnTo>
                  <a:lnTo>
                    <a:pt x="82" y="553"/>
                  </a:lnTo>
                  <a:lnTo>
                    <a:pt x="82" y="553"/>
                  </a:lnTo>
                  <a:lnTo>
                    <a:pt x="82" y="554"/>
                  </a:lnTo>
                  <a:lnTo>
                    <a:pt x="83" y="554"/>
                  </a:lnTo>
                  <a:lnTo>
                    <a:pt x="86" y="551"/>
                  </a:lnTo>
                  <a:lnTo>
                    <a:pt x="87" y="551"/>
                  </a:lnTo>
                  <a:lnTo>
                    <a:pt x="89" y="551"/>
                  </a:lnTo>
                  <a:lnTo>
                    <a:pt x="90" y="551"/>
                  </a:lnTo>
                  <a:lnTo>
                    <a:pt x="90" y="551"/>
                  </a:lnTo>
                  <a:lnTo>
                    <a:pt x="92" y="550"/>
                  </a:lnTo>
                  <a:lnTo>
                    <a:pt x="92" y="550"/>
                  </a:lnTo>
                  <a:lnTo>
                    <a:pt x="93" y="551"/>
                  </a:lnTo>
                  <a:lnTo>
                    <a:pt x="95" y="550"/>
                  </a:lnTo>
                  <a:lnTo>
                    <a:pt x="96" y="550"/>
                  </a:lnTo>
                  <a:lnTo>
                    <a:pt x="98" y="548"/>
                  </a:lnTo>
                  <a:lnTo>
                    <a:pt x="99" y="547"/>
                  </a:lnTo>
                  <a:lnTo>
                    <a:pt x="99" y="547"/>
                  </a:lnTo>
                  <a:lnTo>
                    <a:pt x="100" y="547"/>
                  </a:lnTo>
                  <a:lnTo>
                    <a:pt x="100" y="545"/>
                  </a:lnTo>
                  <a:lnTo>
                    <a:pt x="100" y="545"/>
                  </a:lnTo>
                  <a:lnTo>
                    <a:pt x="100" y="544"/>
                  </a:lnTo>
                  <a:lnTo>
                    <a:pt x="102" y="544"/>
                  </a:lnTo>
                  <a:lnTo>
                    <a:pt x="102" y="544"/>
                  </a:lnTo>
                  <a:lnTo>
                    <a:pt x="102" y="543"/>
                  </a:lnTo>
                  <a:lnTo>
                    <a:pt x="103" y="543"/>
                  </a:lnTo>
                  <a:lnTo>
                    <a:pt x="105" y="541"/>
                  </a:lnTo>
                  <a:lnTo>
                    <a:pt x="105" y="540"/>
                  </a:lnTo>
                  <a:lnTo>
                    <a:pt x="105" y="540"/>
                  </a:lnTo>
                  <a:lnTo>
                    <a:pt x="106" y="538"/>
                  </a:lnTo>
                  <a:lnTo>
                    <a:pt x="106" y="537"/>
                  </a:lnTo>
                  <a:lnTo>
                    <a:pt x="106" y="537"/>
                  </a:lnTo>
                  <a:lnTo>
                    <a:pt x="106" y="537"/>
                  </a:lnTo>
                  <a:lnTo>
                    <a:pt x="108" y="534"/>
                  </a:lnTo>
                  <a:lnTo>
                    <a:pt x="108" y="534"/>
                  </a:lnTo>
                  <a:lnTo>
                    <a:pt x="109" y="533"/>
                  </a:lnTo>
                  <a:lnTo>
                    <a:pt x="109" y="533"/>
                  </a:lnTo>
                  <a:lnTo>
                    <a:pt x="112" y="533"/>
                  </a:lnTo>
                  <a:lnTo>
                    <a:pt x="112" y="533"/>
                  </a:lnTo>
                  <a:lnTo>
                    <a:pt x="112" y="533"/>
                  </a:lnTo>
                  <a:lnTo>
                    <a:pt x="113" y="533"/>
                  </a:lnTo>
                  <a:lnTo>
                    <a:pt x="113" y="534"/>
                  </a:lnTo>
                  <a:lnTo>
                    <a:pt x="113" y="534"/>
                  </a:lnTo>
                  <a:lnTo>
                    <a:pt x="113" y="535"/>
                  </a:lnTo>
                  <a:lnTo>
                    <a:pt x="113" y="537"/>
                  </a:lnTo>
                  <a:lnTo>
                    <a:pt x="113" y="538"/>
                  </a:lnTo>
                  <a:lnTo>
                    <a:pt x="112" y="540"/>
                  </a:lnTo>
                  <a:lnTo>
                    <a:pt x="110" y="541"/>
                  </a:lnTo>
                  <a:lnTo>
                    <a:pt x="109" y="544"/>
                  </a:lnTo>
                  <a:lnTo>
                    <a:pt x="109" y="544"/>
                  </a:lnTo>
                  <a:lnTo>
                    <a:pt x="108" y="545"/>
                  </a:lnTo>
                  <a:lnTo>
                    <a:pt x="108" y="545"/>
                  </a:lnTo>
                  <a:lnTo>
                    <a:pt x="106" y="545"/>
                  </a:lnTo>
                  <a:lnTo>
                    <a:pt x="105" y="547"/>
                  </a:lnTo>
                  <a:lnTo>
                    <a:pt x="105" y="547"/>
                  </a:lnTo>
                  <a:lnTo>
                    <a:pt x="102" y="548"/>
                  </a:lnTo>
                  <a:lnTo>
                    <a:pt x="100" y="550"/>
                  </a:lnTo>
                  <a:lnTo>
                    <a:pt x="99" y="550"/>
                  </a:lnTo>
                  <a:lnTo>
                    <a:pt x="99" y="551"/>
                  </a:lnTo>
                  <a:lnTo>
                    <a:pt x="102" y="551"/>
                  </a:lnTo>
                  <a:lnTo>
                    <a:pt x="105" y="551"/>
                  </a:lnTo>
                  <a:lnTo>
                    <a:pt x="108" y="554"/>
                  </a:lnTo>
                  <a:lnTo>
                    <a:pt x="120" y="565"/>
                  </a:lnTo>
                  <a:lnTo>
                    <a:pt x="126" y="571"/>
                  </a:lnTo>
                  <a:lnTo>
                    <a:pt x="132" y="577"/>
                  </a:lnTo>
                  <a:lnTo>
                    <a:pt x="138" y="581"/>
                  </a:lnTo>
                  <a:lnTo>
                    <a:pt x="139" y="581"/>
                  </a:lnTo>
                  <a:lnTo>
                    <a:pt x="139" y="581"/>
                  </a:lnTo>
                  <a:lnTo>
                    <a:pt x="140" y="581"/>
                  </a:lnTo>
                  <a:lnTo>
                    <a:pt x="142" y="581"/>
                  </a:lnTo>
                  <a:lnTo>
                    <a:pt x="143" y="583"/>
                  </a:lnTo>
                  <a:lnTo>
                    <a:pt x="145" y="583"/>
                  </a:lnTo>
                  <a:lnTo>
                    <a:pt x="149" y="580"/>
                  </a:lnTo>
                  <a:lnTo>
                    <a:pt x="152" y="580"/>
                  </a:lnTo>
                  <a:lnTo>
                    <a:pt x="162" y="578"/>
                  </a:lnTo>
                  <a:lnTo>
                    <a:pt x="169" y="577"/>
                  </a:lnTo>
                  <a:lnTo>
                    <a:pt x="173" y="577"/>
                  </a:lnTo>
                  <a:lnTo>
                    <a:pt x="176" y="581"/>
                  </a:lnTo>
                  <a:lnTo>
                    <a:pt x="178" y="583"/>
                  </a:lnTo>
                  <a:lnTo>
                    <a:pt x="179" y="584"/>
                  </a:lnTo>
                  <a:lnTo>
                    <a:pt x="181" y="586"/>
                  </a:lnTo>
                  <a:lnTo>
                    <a:pt x="181" y="588"/>
                  </a:lnTo>
                  <a:lnTo>
                    <a:pt x="182" y="593"/>
                  </a:lnTo>
                  <a:lnTo>
                    <a:pt x="183" y="596"/>
                  </a:lnTo>
                  <a:lnTo>
                    <a:pt x="186" y="597"/>
                  </a:lnTo>
                  <a:lnTo>
                    <a:pt x="189" y="597"/>
                  </a:lnTo>
                  <a:lnTo>
                    <a:pt x="191" y="597"/>
                  </a:lnTo>
                  <a:lnTo>
                    <a:pt x="192" y="597"/>
                  </a:lnTo>
                  <a:lnTo>
                    <a:pt x="195" y="593"/>
                  </a:lnTo>
                  <a:lnTo>
                    <a:pt x="196" y="590"/>
                  </a:lnTo>
                  <a:lnTo>
                    <a:pt x="198" y="588"/>
                  </a:lnTo>
                  <a:lnTo>
                    <a:pt x="198" y="586"/>
                  </a:lnTo>
                  <a:lnTo>
                    <a:pt x="198" y="586"/>
                  </a:lnTo>
                  <a:lnTo>
                    <a:pt x="202" y="584"/>
                  </a:lnTo>
                  <a:lnTo>
                    <a:pt x="203" y="584"/>
                  </a:lnTo>
                  <a:lnTo>
                    <a:pt x="205" y="586"/>
                  </a:lnTo>
                  <a:lnTo>
                    <a:pt x="206" y="587"/>
                  </a:lnTo>
                  <a:lnTo>
                    <a:pt x="211" y="588"/>
                  </a:lnTo>
                  <a:lnTo>
                    <a:pt x="218" y="590"/>
                  </a:lnTo>
                  <a:lnTo>
                    <a:pt x="224" y="588"/>
                  </a:lnTo>
                  <a:lnTo>
                    <a:pt x="229" y="588"/>
                  </a:lnTo>
                  <a:lnTo>
                    <a:pt x="232" y="588"/>
                  </a:lnTo>
                  <a:lnTo>
                    <a:pt x="238" y="587"/>
                  </a:lnTo>
                  <a:lnTo>
                    <a:pt x="246" y="587"/>
                  </a:lnTo>
                  <a:lnTo>
                    <a:pt x="249" y="587"/>
                  </a:lnTo>
                  <a:lnTo>
                    <a:pt x="255" y="587"/>
                  </a:lnTo>
                  <a:lnTo>
                    <a:pt x="261" y="584"/>
                  </a:lnTo>
                  <a:lnTo>
                    <a:pt x="265" y="581"/>
                  </a:lnTo>
                  <a:lnTo>
                    <a:pt x="269" y="578"/>
                  </a:lnTo>
                  <a:lnTo>
                    <a:pt x="274" y="574"/>
                  </a:lnTo>
                  <a:lnTo>
                    <a:pt x="275" y="573"/>
                  </a:lnTo>
                  <a:lnTo>
                    <a:pt x="278" y="570"/>
                  </a:lnTo>
                  <a:lnTo>
                    <a:pt x="282" y="568"/>
                  </a:lnTo>
                  <a:lnTo>
                    <a:pt x="282" y="567"/>
                  </a:lnTo>
                  <a:lnTo>
                    <a:pt x="281" y="554"/>
                  </a:lnTo>
                  <a:lnTo>
                    <a:pt x="281" y="554"/>
                  </a:lnTo>
                  <a:lnTo>
                    <a:pt x="277" y="547"/>
                  </a:lnTo>
                  <a:lnTo>
                    <a:pt x="271" y="538"/>
                  </a:lnTo>
                  <a:lnTo>
                    <a:pt x="268" y="531"/>
                  </a:lnTo>
                  <a:lnTo>
                    <a:pt x="266" y="527"/>
                  </a:lnTo>
                  <a:lnTo>
                    <a:pt x="266" y="523"/>
                  </a:lnTo>
                  <a:lnTo>
                    <a:pt x="266" y="523"/>
                  </a:lnTo>
                  <a:lnTo>
                    <a:pt x="259" y="511"/>
                  </a:lnTo>
                  <a:lnTo>
                    <a:pt x="259" y="511"/>
                  </a:lnTo>
                  <a:lnTo>
                    <a:pt x="258" y="498"/>
                  </a:lnTo>
                  <a:lnTo>
                    <a:pt x="258" y="485"/>
                  </a:lnTo>
                  <a:lnTo>
                    <a:pt x="258" y="485"/>
                  </a:lnTo>
                  <a:lnTo>
                    <a:pt x="265" y="481"/>
                  </a:lnTo>
                  <a:lnTo>
                    <a:pt x="271" y="481"/>
                  </a:lnTo>
                  <a:lnTo>
                    <a:pt x="278" y="482"/>
                  </a:lnTo>
                  <a:lnTo>
                    <a:pt x="285" y="487"/>
                  </a:lnTo>
                  <a:lnTo>
                    <a:pt x="285" y="487"/>
                  </a:lnTo>
                  <a:lnTo>
                    <a:pt x="288" y="501"/>
                  </a:lnTo>
                  <a:lnTo>
                    <a:pt x="289" y="507"/>
                  </a:lnTo>
                  <a:lnTo>
                    <a:pt x="295" y="511"/>
                  </a:lnTo>
                  <a:lnTo>
                    <a:pt x="295" y="511"/>
                  </a:lnTo>
                  <a:lnTo>
                    <a:pt x="301" y="514"/>
                  </a:lnTo>
                  <a:lnTo>
                    <a:pt x="305" y="515"/>
                  </a:lnTo>
                  <a:lnTo>
                    <a:pt x="311" y="515"/>
                  </a:lnTo>
                  <a:lnTo>
                    <a:pt x="317" y="514"/>
                  </a:lnTo>
                  <a:lnTo>
                    <a:pt x="321" y="495"/>
                  </a:lnTo>
                  <a:lnTo>
                    <a:pt x="321" y="495"/>
                  </a:lnTo>
                  <a:lnTo>
                    <a:pt x="322" y="478"/>
                  </a:lnTo>
                  <a:lnTo>
                    <a:pt x="325" y="460"/>
                  </a:lnTo>
                  <a:lnTo>
                    <a:pt x="331" y="442"/>
                  </a:lnTo>
                  <a:lnTo>
                    <a:pt x="334" y="435"/>
                  </a:lnTo>
                  <a:lnTo>
                    <a:pt x="338" y="428"/>
                  </a:lnTo>
                  <a:lnTo>
                    <a:pt x="338" y="428"/>
                  </a:lnTo>
                  <a:lnTo>
                    <a:pt x="342" y="417"/>
                  </a:lnTo>
                  <a:lnTo>
                    <a:pt x="348" y="408"/>
                  </a:lnTo>
                  <a:lnTo>
                    <a:pt x="348" y="399"/>
                  </a:lnTo>
                  <a:lnTo>
                    <a:pt x="345" y="392"/>
                  </a:lnTo>
                  <a:lnTo>
                    <a:pt x="345" y="392"/>
                  </a:lnTo>
                  <a:lnTo>
                    <a:pt x="348" y="375"/>
                  </a:lnTo>
                  <a:lnTo>
                    <a:pt x="352" y="359"/>
                  </a:lnTo>
                  <a:lnTo>
                    <a:pt x="355" y="343"/>
                  </a:lnTo>
                  <a:lnTo>
                    <a:pt x="357" y="336"/>
                  </a:lnTo>
                  <a:lnTo>
                    <a:pt x="355" y="328"/>
                  </a:lnTo>
                  <a:lnTo>
                    <a:pt x="352" y="319"/>
                  </a:lnTo>
                  <a:lnTo>
                    <a:pt x="352" y="319"/>
                  </a:lnTo>
                  <a:lnTo>
                    <a:pt x="341" y="312"/>
                  </a:lnTo>
                  <a:lnTo>
                    <a:pt x="331" y="302"/>
                  </a:lnTo>
                  <a:lnTo>
                    <a:pt x="324" y="292"/>
                  </a:lnTo>
                  <a:lnTo>
                    <a:pt x="319" y="286"/>
                  </a:lnTo>
                  <a:lnTo>
                    <a:pt x="318" y="280"/>
                  </a:lnTo>
                  <a:lnTo>
                    <a:pt x="314" y="268"/>
                  </a:lnTo>
                  <a:lnTo>
                    <a:pt x="307" y="266"/>
                  </a:lnTo>
                  <a:lnTo>
                    <a:pt x="295" y="275"/>
                  </a:lnTo>
                  <a:lnTo>
                    <a:pt x="291" y="270"/>
                  </a:lnTo>
                  <a:lnTo>
                    <a:pt x="287" y="249"/>
                  </a:lnTo>
                  <a:lnTo>
                    <a:pt x="287" y="249"/>
                  </a:lnTo>
                  <a:lnTo>
                    <a:pt x="294" y="239"/>
                  </a:lnTo>
                  <a:lnTo>
                    <a:pt x="301" y="230"/>
                  </a:lnTo>
                  <a:lnTo>
                    <a:pt x="302" y="216"/>
                  </a:lnTo>
                  <a:lnTo>
                    <a:pt x="302" y="216"/>
                  </a:lnTo>
                  <a:lnTo>
                    <a:pt x="309" y="215"/>
                  </a:lnTo>
                  <a:lnTo>
                    <a:pt x="315" y="215"/>
                  </a:lnTo>
                  <a:lnTo>
                    <a:pt x="328" y="216"/>
                  </a:lnTo>
                  <a:lnTo>
                    <a:pt x="324" y="205"/>
                  </a:lnTo>
                  <a:lnTo>
                    <a:pt x="324" y="205"/>
                  </a:lnTo>
                  <a:lnTo>
                    <a:pt x="332" y="199"/>
                  </a:lnTo>
                  <a:lnTo>
                    <a:pt x="337" y="196"/>
                  </a:lnTo>
                  <a:lnTo>
                    <a:pt x="340" y="193"/>
                  </a:lnTo>
                  <a:lnTo>
                    <a:pt x="342" y="187"/>
                  </a:lnTo>
                  <a:lnTo>
                    <a:pt x="328" y="162"/>
                  </a:lnTo>
                  <a:lnTo>
                    <a:pt x="317" y="130"/>
                  </a:lnTo>
                  <a:lnTo>
                    <a:pt x="314" y="119"/>
                  </a:lnTo>
                  <a:lnTo>
                    <a:pt x="314" y="119"/>
                  </a:lnTo>
                  <a:lnTo>
                    <a:pt x="328" y="113"/>
                  </a:lnTo>
                  <a:lnTo>
                    <a:pt x="342" y="106"/>
                  </a:lnTo>
                  <a:lnTo>
                    <a:pt x="352" y="100"/>
                  </a:lnTo>
                  <a:lnTo>
                    <a:pt x="348" y="91"/>
                  </a:lnTo>
                  <a:lnTo>
                    <a:pt x="348" y="89"/>
                  </a:lnTo>
                  <a:lnTo>
                    <a:pt x="345" y="83"/>
                  </a:lnTo>
                  <a:lnTo>
                    <a:pt x="345" y="77"/>
                  </a:lnTo>
                  <a:lnTo>
                    <a:pt x="342" y="70"/>
                  </a:lnTo>
                  <a:lnTo>
                    <a:pt x="344" y="56"/>
                  </a:lnTo>
                  <a:lnTo>
                    <a:pt x="342" y="48"/>
                  </a:lnTo>
                  <a:lnTo>
                    <a:pt x="341" y="47"/>
                  </a:lnTo>
                  <a:lnTo>
                    <a:pt x="337" y="43"/>
                  </a:lnTo>
                  <a:lnTo>
                    <a:pt x="332" y="40"/>
                  </a:lnTo>
                  <a:lnTo>
                    <a:pt x="325" y="37"/>
                  </a:lnTo>
                  <a:lnTo>
                    <a:pt x="319" y="36"/>
                  </a:lnTo>
                  <a:lnTo>
                    <a:pt x="317" y="36"/>
                  </a:lnTo>
                  <a:lnTo>
                    <a:pt x="314" y="34"/>
                  </a:lnTo>
                  <a:lnTo>
                    <a:pt x="309" y="34"/>
                  </a:lnTo>
                  <a:lnTo>
                    <a:pt x="304" y="34"/>
                  </a:lnTo>
                  <a:lnTo>
                    <a:pt x="292" y="36"/>
                  </a:lnTo>
                  <a:lnTo>
                    <a:pt x="278" y="34"/>
                  </a:lnTo>
                  <a:lnTo>
                    <a:pt x="271" y="28"/>
                  </a:lnTo>
                  <a:lnTo>
                    <a:pt x="259" y="21"/>
                  </a:lnTo>
                  <a:lnTo>
                    <a:pt x="246" y="11"/>
                  </a:lnTo>
                  <a:lnTo>
                    <a:pt x="244" y="3"/>
                  </a:lnTo>
                  <a:lnTo>
                    <a:pt x="235" y="3"/>
                  </a:lnTo>
                  <a:lnTo>
                    <a:pt x="232" y="3"/>
                  </a:lnTo>
                  <a:lnTo>
                    <a:pt x="232" y="10"/>
                  </a:lnTo>
                  <a:lnTo>
                    <a:pt x="234" y="17"/>
                  </a:lnTo>
                  <a:lnTo>
                    <a:pt x="235" y="23"/>
                  </a:lnTo>
                  <a:lnTo>
                    <a:pt x="231" y="23"/>
                  </a:lnTo>
                  <a:lnTo>
                    <a:pt x="229" y="18"/>
                  </a:lnTo>
                  <a:lnTo>
                    <a:pt x="228" y="11"/>
                  </a:lnTo>
                  <a:lnTo>
                    <a:pt x="222" y="8"/>
                  </a:lnTo>
                  <a:lnTo>
                    <a:pt x="209" y="0"/>
                  </a:lnTo>
                  <a:lnTo>
                    <a:pt x="183" y="17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80" name="Freeform 128"/>
            <p:cNvSpPr>
              <a:spLocks/>
            </p:cNvSpPr>
            <p:nvPr/>
          </p:nvSpPr>
          <p:spPr bwMode="auto">
            <a:xfrm>
              <a:off x="2377599" y="4646841"/>
              <a:ext cx="2442" cy="3969"/>
            </a:xfrm>
            <a:custGeom>
              <a:avLst/>
              <a:gdLst>
                <a:gd name="T0" fmla="*/ 0 w 4"/>
                <a:gd name="T1" fmla="*/ 4 h 4"/>
                <a:gd name="T2" fmla="*/ 3 w 4"/>
                <a:gd name="T3" fmla="*/ 4 h 4"/>
                <a:gd name="T4" fmla="*/ 3 w 4"/>
                <a:gd name="T5" fmla="*/ 3 h 4"/>
                <a:gd name="T6" fmla="*/ 4 w 4"/>
                <a:gd name="T7" fmla="*/ 3 h 4"/>
                <a:gd name="T8" fmla="*/ 4 w 4"/>
                <a:gd name="T9" fmla="*/ 1 h 4"/>
                <a:gd name="T10" fmla="*/ 4 w 4"/>
                <a:gd name="T11" fmla="*/ 0 h 4"/>
                <a:gd name="T12" fmla="*/ 3 w 4"/>
                <a:gd name="T13" fmla="*/ 0 h 4"/>
                <a:gd name="T14" fmla="*/ 1 w 4"/>
                <a:gd name="T15" fmla="*/ 0 h 4"/>
                <a:gd name="T16" fmla="*/ 1 w 4"/>
                <a:gd name="T17" fmla="*/ 0 h 4"/>
                <a:gd name="T18" fmla="*/ 1 w 4"/>
                <a:gd name="T19" fmla="*/ 1 h 4"/>
                <a:gd name="T20" fmla="*/ 0 w 4"/>
                <a:gd name="T21" fmla="*/ 1 h 4"/>
                <a:gd name="T22" fmla="*/ 0 w 4"/>
                <a:gd name="T23" fmla="*/ 4 h 4"/>
                <a:gd name="T24" fmla="*/ 0 w 4"/>
                <a:gd name="T2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3" y="4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1"/>
                  </a:lnTo>
                  <a:lnTo>
                    <a:pt x="4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4"/>
                  </a:lnTo>
                  <a:lnTo>
                    <a:pt x="0" y="4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81" name="Freeform 129"/>
            <p:cNvSpPr>
              <a:spLocks/>
            </p:cNvSpPr>
            <p:nvPr/>
          </p:nvSpPr>
          <p:spPr bwMode="auto">
            <a:xfrm>
              <a:off x="2334859" y="4665361"/>
              <a:ext cx="6106" cy="6615"/>
            </a:xfrm>
            <a:custGeom>
              <a:avLst/>
              <a:gdLst>
                <a:gd name="T0" fmla="*/ 8 w 8"/>
                <a:gd name="T1" fmla="*/ 1 h 10"/>
                <a:gd name="T2" fmla="*/ 8 w 8"/>
                <a:gd name="T3" fmla="*/ 4 h 10"/>
                <a:gd name="T4" fmla="*/ 7 w 8"/>
                <a:gd name="T5" fmla="*/ 7 h 10"/>
                <a:gd name="T6" fmla="*/ 4 w 8"/>
                <a:gd name="T7" fmla="*/ 10 h 10"/>
                <a:gd name="T8" fmla="*/ 1 w 8"/>
                <a:gd name="T9" fmla="*/ 10 h 10"/>
                <a:gd name="T10" fmla="*/ 0 w 8"/>
                <a:gd name="T11" fmla="*/ 7 h 10"/>
                <a:gd name="T12" fmla="*/ 2 w 8"/>
                <a:gd name="T13" fmla="*/ 4 h 10"/>
                <a:gd name="T14" fmla="*/ 5 w 8"/>
                <a:gd name="T15" fmla="*/ 1 h 10"/>
                <a:gd name="T16" fmla="*/ 5 w 8"/>
                <a:gd name="T17" fmla="*/ 0 h 10"/>
                <a:gd name="T18" fmla="*/ 7 w 8"/>
                <a:gd name="T19" fmla="*/ 0 h 10"/>
                <a:gd name="T20" fmla="*/ 8 w 8"/>
                <a:gd name="T21" fmla="*/ 1 h 10"/>
                <a:gd name="T22" fmla="*/ 8 w 8"/>
                <a:gd name="T23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10">
                  <a:moveTo>
                    <a:pt x="8" y="1"/>
                  </a:moveTo>
                  <a:lnTo>
                    <a:pt x="8" y="4"/>
                  </a:lnTo>
                  <a:lnTo>
                    <a:pt x="7" y="7"/>
                  </a:lnTo>
                  <a:lnTo>
                    <a:pt x="4" y="10"/>
                  </a:lnTo>
                  <a:lnTo>
                    <a:pt x="1" y="10"/>
                  </a:lnTo>
                  <a:lnTo>
                    <a:pt x="0" y="7"/>
                  </a:lnTo>
                  <a:lnTo>
                    <a:pt x="2" y="4"/>
                  </a:lnTo>
                  <a:lnTo>
                    <a:pt x="5" y="1"/>
                  </a:lnTo>
                  <a:lnTo>
                    <a:pt x="5" y="0"/>
                  </a:lnTo>
                  <a:lnTo>
                    <a:pt x="7" y="0"/>
                  </a:lnTo>
                  <a:lnTo>
                    <a:pt x="8" y="1"/>
                  </a:lnTo>
                  <a:lnTo>
                    <a:pt x="8" y="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82" name="Freeform 130"/>
            <p:cNvSpPr>
              <a:spLocks/>
            </p:cNvSpPr>
            <p:nvPr/>
          </p:nvSpPr>
          <p:spPr bwMode="auto">
            <a:xfrm>
              <a:off x="2303109" y="4670653"/>
              <a:ext cx="6106" cy="6615"/>
            </a:xfrm>
            <a:custGeom>
              <a:avLst/>
              <a:gdLst>
                <a:gd name="T0" fmla="*/ 11 w 11"/>
                <a:gd name="T1" fmla="*/ 2 h 10"/>
                <a:gd name="T2" fmla="*/ 11 w 11"/>
                <a:gd name="T3" fmla="*/ 8 h 10"/>
                <a:gd name="T4" fmla="*/ 10 w 11"/>
                <a:gd name="T5" fmla="*/ 10 h 10"/>
                <a:gd name="T6" fmla="*/ 5 w 11"/>
                <a:gd name="T7" fmla="*/ 10 h 10"/>
                <a:gd name="T8" fmla="*/ 1 w 11"/>
                <a:gd name="T9" fmla="*/ 7 h 10"/>
                <a:gd name="T10" fmla="*/ 0 w 11"/>
                <a:gd name="T11" fmla="*/ 5 h 10"/>
                <a:gd name="T12" fmla="*/ 2 w 11"/>
                <a:gd name="T13" fmla="*/ 4 h 10"/>
                <a:gd name="T14" fmla="*/ 5 w 11"/>
                <a:gd name="T15" fmla="*/ 2 h 10"/>
                <a:gd name="T16" fmla="*/ 7 w 11"/>
                <a:gd name="T17" fmla="*/ 1 h 10"/>
                <a:gd name="T18" fmla="*/ 8 w 11"/>
                <a:gd name="T19" fmla="*/ 0 h 10"/>
                <a:gd name="T20" fmla="*/ 10 w 11"/>
                <a:gd name="T21" fmla="*/ 1 h 10"/>
                <a:gd name="T22" fmla="*/ 11 w 11"/>
                <a:gd name="T23" fmla="*/ 2 h 10"/>
                <a:gd name="T24" fmla="*/ 11 w 11"/>
                <a:gd name="T2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0">
                  <a:moveTo>
                    <a:pt x="11" y="2"/>
                  </a:moveTo>
                  <a:lnTo>
                    <a:pt x="11" y="8"/>
                  </a:lnTo>
                  <a:lnTo>
                    <a:pt x="10" y="10"/>
                  </a:lnTo>
                  <a:lnTo>
                    <a:pt x="5" y="10"/>
                  </a:lnTo>
                  <a:lnTo>
                    <a:pt x="1" y="7"/>
                  </a:lnTo>
                  <a:lnTo>
                    <a:pt x="0" y="5"/>
                  </a:lnTo>
                  <a:lnTo>
                    <a:pt x="2" y="4"/>
                  </a:lnTo>
                  <a:lnTo>
                    <a:pt x="5" y="2"/>
                  </a:lnTo>
                  <a:lnTo>
                    <a:pt x="7" y="1"/>
                  </a:lnTo>
                  <a:lnTo>
                    <a:pt x="8" y="0"/>
                  </a:lnTo>
                  <a:lnTo>
                    <a:pt x="10" y="1"/>
                  </a:lnTo>
                  <a:lnTo>
                    <a:pt x="11" y="2"/>
                  </a:lnTo>
                  <a:lnTo>
                    <a:pt x="11" y="2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83" name="Freeform 131"/>
            <p:cNvSpPr>
              <a:spLocks/>
            </p:cNvSpPr>
            <p:nvPr/>
          </p:nvSpPr>
          <p:spPr bwMode="auto">
            <a:xfrm>
              <a:off x="2297004" y="4664038"/>
              <a:ext cx="4885" cy="2646"/>
            </a:xfrm>
            <a:custGeom>
              <a:avLst/>
              <a:gdLst>
                <a:gd name="T0" fmla="*/ 2 w 9"/>
                <a:gd name="T1" fmla="*/ 3 h 6"/>
                <a:gd name="T2" fmla="*/ 8 w 9"/>
                <a:gd name="T3" fmla="*/ 0 h 6"/>
                <a:gd name="T4" fmla="*/ 9 w 9"/>
                <a:gd name="T5" fmla="*/ 0 h 6"/>
                <a:gd name="T6" fmla="*/ 8 w 9"/>
                <a:gd name="T7" fmla="*/ 4 h 6"/>
                <a:gd name="T8" fmla="*/ 3 w 9"/>
                <a:gd name="T9" fmla="*/ 6 h 6"/>
                <a:gd name="T10" fmla="*/ 0 w 9"/>
                <a:gd name="T11" fmla="*/ 6 h 6"/>
                <a:gd name="T12" fmla="*/ 2 w 9"/>
                <a:gd name="T13" fmla="*/ 3 h 6"/>
                <a:gd name="T14" fmla="*/ 2 w 9"/>
                <a:gd name="T1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2" y="3"/>
                  </a:moveTo>
                  <a:lnTo>
                    <a:pt x="8" y="0"/>
                  </a:lnTo>
                  <a:lnTo>
                    <a:pt x="9" y="0"/>
                  </a:lnTo>
                  <a:lnTo>
                    <a:pt x="8" y="4"/>
                  </a:lnTo>
                  <a:lnTo>
                    <a:pt x="3" y="6"/>
                  </a:lnTo>
                  <a:lnTo>
                    <a:pt x="0" y="6"/>
                  </a:lnTo>
                  <a:lnTo>
                    <a:pt x="2" y="3"/>
                  </a:lnTo>
                  <a:lnTo>
                    <a:pt x="2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84" name="Freeform 132"/>
            <p:cNvSpPr>
              <a:spLocks/>
            </p:cNvSpPr>
            <p:nvPr/>
          </p:nvSpPr>
          <p:spPr bwMode="auto">
            <a:xfrm>
              <a:off x="2299446" y="4666684"/>
              <a:ext cx="7327" cy="6615"/>
            </a:xfrm>
            <a:custGeom>
              <a:avLst/>
              <a:gdLst>
                <a:gd name="T0" fmla="*/ 0 w 11"/>
                <a:gd name="T1" fmla="*/ 8 h 10"/>
                <a:gd name="T2" fmla="*/ 4 w 11"/>
                <a:gd name="T3" fmla="*/ 5 h 10"/>
                <a:gd name="T4" fmla="*/ 8 w 11"/>
                <a:gd name="T5" fmla="*/ 0 h 10"/>
                <a:gd name="T6" fmla="*/ 11 w 11"/>
                <a:gd name="T7" fmla="*/ 0 h 10"/>
                <a:gd name="T8" fmla="*/ 10 w 11"/>
                <a:gd name="T9" fmla="*/ 6 h 10"/>
                <a:gd name="T10" fmla="*/ 4 w 11"/>
                <a:gd name="T11" fmla="*/ 9 h 10"/>
                <a:gd name="T12" fmla="*/ 1 w 11"/>
                <a:gd name="T13" fmla="*/ 10 h 10"/>
                <a:gd name="T14" fmla="*/ 0 w 11"/>
                <a:gd name="T15" fmla="*/ 8 h 10"/>
                <a:gd name="T16" fmla="*/ 0 w 11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0">
                  <a:moveTo>
                    <a:pt x="0" y="8"/>
                  </a:moveTo>
                  <a:lnTo>
                    <a:pt x="4" y="5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0" y="6"/>
                  </a:lnTo>
                  <a:lnTo>
                    <a:pt x="4" y="9"/>
                  </a:lnTo>
                  <a:lnTo>
                    <a:pt x="1" y="10"/>
                  </a:lnTo>
                  <a:lnTo>
                    <a:pt x="0" y="8"/>
                  </a:lnTo>
                  <a:lnTo>
                    <a:pt x="0" y="8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85" name="Freeform 133"/>
            <p:cNvSpPr>
              <a:spLocks/>
            </p:cNvSpPr>
            <p:nvPr/>
          </p:nvSpPr>
          <p:spPr bwMode="auto">
            <a:xfrm>
              <a:off x="2360503" y="4658747"/>
              <a:ext cx="7327" cy="7937"/>
            </a:xfrm>
            <a:custGeom>
              <a:avLst/>
              <a:gdLst>
                <a:gd name="T0" fmla="*/ 10 w 11"/>
                <a:gd name="T1" fmla="*/ 4 h 11"/>
                <a:gd name="T2" fmla="*/ 6 w 11"/>
                <a:gd name="T3" fmla="*/ 11 h 11"/>
                <a:gd name="T4" fmla="*/ 0 w 11"/>
                <a:gd name="T5" fmla="*/ 11 h 11"/>
                <a:gd name="T6" fmla="*/ 0 w 11"/>
                <a:gd name="T7" fmla="*/ 6 h 11"/>
                <a:gd name="T8" fmla="*/ 7 w 11"/>
                <a:gd name="T9" fmla="*/ 0 h 11"/>
                <a:gd name="T10" fmla="*/ 11 w 11"/>
                <a:gd name="T11" fmla="*/ 0 h 11"/>
                <a:gd name="T12" fmla="*/ 11 w 11"/>
                <a:gd name="T13" fmla="*/ 1 h 11"/>
                <a:gd name="T14" fmla="*/ 10 w 11"/>
                <a:gd name="T15" fmla="*/ 4 h 11"/>
                <a:gd name="T16" fmla="*/ 10 w 11"/>
                <a:gd name="T17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11">
                  <a:moveTo>
                    <a:pt x="10" y="4"/>
                  </a:moveTo>
                  <a:lnTo>
                    <a:pt x="6" y="11"/>
                  </a:lnTo>
                  <a:lnTo>
                    <a:pt x="0" y="11"/>
                  </a:lnTo>
                  <a:lnTo>
                    <a:pt x="0" y="6"/>
                  </a:lnTo>
                  <a:lnTo>
                    <a:pt x="7" y="0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0" y="4"/>
                  </a:lnTo>
                  <a:lnTo>
                    <a:pt x="10" y="4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86" name="Freeform 134"/>
            <p:cNvSpPr>
              <a:spLocks/>
            </p:cNvSpPr>
            <p:nvPr/>
          </p:nvSpPr>
          <p:spPr bwMode="auto">
            <a:xfrm>
              <a:off x="2251822" y="4646841"/>
              <a:ext cx="12211" cy="19844"/>
            </a:xfrm>
            <a:custGeom>
              <a:avLst/>
              <a:gdLst>
                <a:gd name="T0" fmla="*/ 19 w 19"/>
                <a:gd name="T1" fmla="*/ 7 h 28"/>
                <a:gd name="T2" fmla="*/ 16 w 19"/>
                <a:gd name="T3" fmla="*/ 10 h 28"/>
                <a:gd name="T4" fmla="*/ 13 w 19"/>
                <a:gd name="T5" fmla="*/ 14 h 28"/>
                <a:gd name="T6" fmla="*/ 10 w 19"/>
                <a:gd name="T7" fmla="*/ 17 h 28"/>
                <a:gd name="T8" fmla="*/ 12 w 19"/>
                <a:gd name="T9" fmla="*/ 20 h 28"/>
                <a:gd name="T10" fmla="*/ 13 w 19"/>
                <a:gd name="T11" fmla="*/ 20 h 28"/>
                <a:gd name="T12" fmla="*/ 16 w 19"/>
                <a:gd name="T13" fmla="*/ 21 h 28"/>
                <a:gd name="T14" fmla="*/ 15 w 19"/>
                <a:gd name="T15" fmla="*/ 26 h 28"/>
                <a:gd name="T16" fmla="*/ 10 w 19"/>
                <a:gd name="T17" fmla="*/ 28 h 28"/>
                <a:gd name="T18" fmla="*/ 3 w 19"/>
                <a:gd name="T19" fmla="*/ 24 h 28"/>
                <a:gd name="T20" fmla="*/ 0 w 19"/>
                <a:gd name="T21" fmla="*/ 21 h 28"/>
                <a:gd name="T22" fmla="*/ 2 w 19"/>
                <a:gd name="T23" fmla="*/ 17 h 28"/>
                <a:gd name="T24" fmla="*/ 6 w 19"/>
                <a:gd name="T25" fmla="*/ 11 h 28"/>
                <a:gd name="T26" fmla="*/ 12 w 19"/>
                <a:gd name="T27" fmla="*/ 4 h 28"/>
                <a:gd name="T28" fmla="*/ 16 w 19"/>
                <a:gd name="T29" fmla="*/ 0 h 28"/>
                <a:gd name="T30" fmla="*/ 19 w 19"/>
                <a:gd name="T31" fmla="*/ 1 h 28"/>
                <a:gd name="T32" fmla="*/ 19 w 19"/>
                <a:gd name="T33" fmla="*/ 3 h 28"/>
                <a:gd name="T34" fmla="*/ 19 w 19"/>
                <a:gd name="T35" fmla="*/ 7 h 28"/>
                <a:gd name="T36" fmla="*/ 19 w 19"/>
                <a:gd name="T37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" h="28">
                  <a:moveTo>
                    <a:pt x="19" y="7"/>
                  </a:moveTo>
                  <a:lnTo>
                    <a:pt x="16" y="10"/>
                  </a:lnTo>
                  <a:lnTo>
                    <a:pt x="13" y="14"/>
                  </a:lnTo>
                  <a:lnTo>
                    <a:pt x="10" y="17"/>
                  </a:lnTo>
                  <a:lnTo>
                    <a:pt x="12" y="20"/>
                  </a:lnTo>
                  <a:lnTo>
                    <a:pt x="13" y="20"/>
                  </a:lnTo>
                  <a:lnTo>
                    <a:pt x="16" y="21"/>
                  </a:lnTo>
                  <a:lnTo>
                    <a:pt x="15" y="26"/>
                  </a:lnTo>
                  <a:lnTo>
                    <a:pt x="10" y="28"/>
                  </a:lnTo>
                  <a:lnTo>
                    <a:pt x="3" y="24"/>
                  </a:lnTo>
                  <a:lnTo>
                    <a:pt x="0" y="21"/>
                  </a:lnTo>
                  <a:lnTo>
                    <a:pt x="2" y="17"/>
                  </a:lnTo>
                  <a:lnTo>
                    <a:pt x="6" y="11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9" y="1"/>
                  </a:lnTo>
                  <a:lnTo>
                    <a:pt x="19" y="3"/>
                  </a:lnTo>
                  <a:lnTo>
                    <a:pt x="19" y="7"/>
                  </a:lnTo>
                  <a:lnTo>
                    <a:pt x="19" y="7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87" name="Freeform 135"/>
            <p:cNvSpPr>
              <a:spLocks/>
            </p:cNvSpPr>
            <p:nvPr/>
          </p:nvSpPr>
          <p:spPr bwMode="auto">
            <a:xfrm>
              <a:off x="2242052" y="4653455"/>
              <a:ext cx="4885" cy="5292"/>
            </a:xfrm>
            <a:custGeom>
              <a:avLst/>
              <a:gdLst>
                <a:gd name="T0" fmla="*/ 7 w 7"/>
                <a:gd name="T1" fmla="*/ 3 h 7"/>
                <a:gd name="T2" fmla="*/ 7 w 7"/>
                <a:gd name="T3" fmla="*/ 6 h 7"/>
                <a:gd name="T4" fmla="*/ 4 w 7"/>
                <a:gd name="T5" fmla="*/ 7 h 7"/>
                <a:gd name="T6" fmla="*/ 1 w 7"/>
                <a:gd name="T7" fmla="*/ 6 h 7"/>
                <a:gd name="T8" fmla="*/ 0 w 7"/>
                <a:gd name="T9" fmla="*/ 3 h 7"/>
                <a:gd name="T10" fmla="*/ 1 w 7"/>
                <a:gd name="T11" fmla="*/ 0 h 7"/>
                <a:gd name="T12" fmla="*/ 4 w 7"/>
                <a:gd name="T13" fmla="*/ 0 h 7"/>
                <a:gd name="T14" fmla="*/ 7 w 7"/>
                <a:gd name="T15" fmla="*/ 1 h 7"/>
                <a:gd name="T16" fmla="*/ 7 w 7"/>
                <a:gd name="T17" fmla="*/ 3 h 7"/>
                <a:gd name="T18" fmla="*/ 7 w 7"/>
                <a:gd name="T1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7">
                  <a:moveTo>
                    <a:pt x="7" y="3"/>
                  </a:moveTo>
                  <a:lnTo>
                    <a:pt x="7" y="6"/>
                  </a:lnTo>
                  <a:lnTo>
                    <a:pt x="4" y="7"/>
                  </a:lnTo>
                  <a:lnTo>
                    <a:pt x="1" y="6"/>
                  </a:lnTo>
                  <a:lnTo>
                    <a:pt x="0" y="3"/>
                  </a:lnTo>
                  <a:lnTo>
                    <a:pt x="1" y="0"/>
                  </a:lnTo>
                  <a:lnTo>
                    <a:pt x="4" y="0"/>
                  </a:lnTo>
                  <a:lnTo>
                    <a:pt x="7" y="1"/>
                  </a:lnTo>
                  <a:lnTo>
                    <a:pt x="7" y="3"/>
                  </a:lnTo>
                  <a:lnTo>
                    <a:pt x="7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88" name="Freeform 136"/>
            <p:cNvSpPr>
              <a:spLocks/>
            </p:cNvSpPr>
            <p:nvPr/>
          </p:nvSpPr>
          <p:spPr bwMode="auto">
            <a:xfrm>
              <a:off x="2249379" y="4640226"/>
              <a:ext cx="8548" cy="10583"/>
            </a:xfrm>
            <a:custGeom>
              <a:avLst/>
              <a:gdLst>
                <a:gd name="T0" fmla="*/ 13 w 13"/>
                <a:gd name="T1" fmla="*/ 4 h 14"/>
                <a:gd name="T2" fmla="*/ 12 w 13"/>
                <a:gd name="T3" fmla="*/ 10 h 14"/>
                <a:gd name="T4" fmla="*/ 9 w 13"/>
                <a:gd name="T5" fmla="*/ 13 h 14"/>
                <a:gd name="T6" fmla="*/ 4 w 13"/>
                <a:gd name="T7" fmla="*/ 14 h 14"/>
                <a:gd name="T8" fmla="*/ 2 w 13"/>
                <a:gd name="T9" fmla="*/ 14 h 14"/>
                <a:gd name="T10" fmla="*/ 0 w 13"/>
                <a:gd name="T11" fmla="*/ 13 h 14"/>
                <a:gd name="T12" fmla="*/ 2 w 13"/>
                <a:gd name="T13" fmla="*/ 11 h 14"/>
                <a:gd name="T14" fmla="*/ 4 w 13"/>
                <a:gd name="T15" fmla="*/ 8 h 14"/>
                <a:gd name="T16" fmla="*/ 6 w 13"/>
                <a:gd name="T17" fmla="*/ 4 h 14"/>
                <a:gd name="T18" fmla="*/ 6 w 13"/>
                <a:gd name="T19" fmla="*/ 3 h 14"/>
                <a:gd name="T20" fmla="*/ 10 w 13"/>
                <a:gd name="T21" fmla="*/ 0 h 14"/>
                <a:gd name="T22" fmla="*/ 13 w 13"/>
                <a:gd name="T23" fmla="*/ 1 h 14"/>
                <a:gd name="T24" fmla="*/ 13 w 13"/>
                <a:gd name="T25" fmla="*/ 4 h 14"/>
                <a:gd name="T26" fmla="*/ 13 w 13"/>
                <a:gd name="T27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4">
                  <a:moveTo>
                    <a:pt x="13" y="4"/>
                  </a:moveTo>
                  <a:lnTo>
                    <a:pt x="12" y="10"/>
                  </a:lnTo>
                  <a:lnTo>
                    <a:pt x="9" y="13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0" y="13"/>
                  </a:lnTo>
                  <a:lnTo>
                    <a:pt x="2" y="11"/>
                  </a:lnTo>
                  <a:lnTo>
                    <a:pt x="4" y="8"/>
                  </a:lnTo>
                  <a:lnTo>
                    <a:pt x="6" y="4"/>
                  </a:lnTo>
                  <a:lnTo>
                    <a:pt x="6" y="3"/>
                  </a:lnTo>
                  <a:lnTo>
                    <a:pt x="10" y="0"/>
                  </a:lnTo>
                  <a:lnTo>
                    <a:pt x="13" y="1"/>
                  </a:lnTo>
                  <a:lnTo>
                    <a:pt x="13" y="4"/>
                  </a:lnTo>
                  <a:lnTo>
                    <a:pt x="13" y="4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89" name="Freeform 137"/>
            <p:cNvSpPr>
              <a:spLocks/>
            </p:cNvSpPr>
            <p:nvPr/>
          </p:nvSpPr>
          <p:spPr bwMode="auto">
            <a:xfrm>
              <a:off x="2326311" y="4664038"/>
              <a:ext cx="3663" cy="3969"/>
            </a:xfrm>
            <a:custGeom>
              <a:avLst/>
              <a:gdLst>
                <a:gd name="T0" fmla="*/ 3 w 6"/>
                <a:gd name="T1" fmla="*/ 7 h 7"/>
                <a:gd name="T2" fmla="*/ 6 w 6"/>
                <a:gd name="T3" fmla="*/ 7 h 7"/>
                <a:gd name="T4" fmla="*/ 6 w 6"/>
                <a:gd name="T5" fmla="*/ 6 h 7"/>
                <a:gd name="T6" fmla="*/ 6 w 6"/>
                <a:gd name="T7" fmla="*/ 3 h 7"/>
                <a:gd name="T8" fmla="*/ 6 w 6"/>
                <a:gd name="T9" fmla="*/ 2 h 7"/>
                <a:gd name="T10" fmla="*/ 6 w 6"/>
                <a:gd name="T11" fmla="*/ 2 h 7"/>
                <a:gd name="T12" fmla="*/ 6 w 6"/>
                <a:gd name="T13" fmla="*/ 0 h 7"/>
                <a:gd name="T14" fmla="*/ 4 w 6"/>
                <a:gd name="T15" fmla="*/ 0 h 7"/>
                <a:gd name="T16" fmla="*/ 4 w 6"/>
                <a:gd name="T17" fmla="*/ 0 h 7"/>
                <a:gd name="T18" fmla="*/ 4 w 6"/>
                <a:gd name="T19" fmla="*/ 0 h 7"/>
                <a:gd name="T20" fmla="*/ 3 w 6"/>
                <a:gd name="T21" fmla="*/ 0 h 7"/>
                <a:gd name="T22" fmla="*/ 3 w 6"/>
                <a:gd name="T23" fmla="*/ 0 h 7"/>
                <a:gd name="T24" fmla="*/ 2 w 6"/>
                <a:gd name="T25" fmla="*/ 0 h 7"/>
                <a:gd name="T26" fmla="*/ 2 w 6"/>
                <a:gd name="T27" fmla="*/ 2 h 7"/>
                <a:gd name="T28" fmla="*/ 2 w 6"/>
                <a:gd name="T29" fmla="*/ 3 h 7"/>
                <a:gd name="T30" fmla="*/ 2 w 6"/>
                <a:gd name="T31" fmla="*/ 3 h 7"/>
                <a:gd name="T32" fmla="*/ 0 w 6"/>
                <a:gd name="T33" fmla="*/ 4 h 7"/>
                <a:gd name="T34" fmla="*/ 0 w 6"/>
                <a:gd name="T35" fmla="*/ 4 h 7"/>
                <a:gd name="T36" fmla="*/ 2 w 6"/>
                <a:gd name="T37" fmla="*/ 6 h 7"/>
                <a:gd name="T38" fmla="*/ 2 w 6"/>
                <a:gd name="T39" fmla="*/ 7 h 7"/>
                <a:gd name="T40" fmla="*/ 3 w 6"/>
                <a:gd name="T41" fmla="*/ 7 h 7"/>
                <a:gd name="T42" fmla="*/ 3 w 6"/>
                <a:gd name="T4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" h="7">
                  <a:moveTo>
                    <a:pt x="3" y="7"/>
                  </a:moveTo>
                  <a:lnTo>
                    <a:pt x="6" y="7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7"/>
                  </a:lnTo>
                  <a:lnTo>
                    <a:pt x="3" y="7"/>
                  </a:lnTo>
                  <a:lnTo>
                    <a:pt x="3" y="7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90" name="Freeform 138"/>
            <p:cNvSpPr>
              <a:spLocks/>
            </p:cNvSpPr>
            <p:nvPr/>
          </p:nvSpPr>
          <p:spPr bwMode="auto">
            <a:xfrm>
              <a:off x="2311657" y="4673299"/>
              <a:ext cx="4885" cy="2646"/>
            </a:xfrm>
            <a:custGeom>
              <a:avLst/>
              <a:gdLst>
                <a:gd name="T0" fmla="*/ 8 w 8"/>
                <a:gd name="T1" fmla="*/ 2 h 5"/>
                <a:gd name="T2" fmla="*/ 7 w 8"/>
                <a:gd name="T3" fmla="*/ 0 h 5"/>
                <a:gd name="T4" fmla="*/ 7 w 8"/>
                <a:gd name="T5" fmla="*/ 0 h 5"/>
                <a:gd name="T6" fmla="*/ 6 w 8"/>
                <a:gd name="T7" fmla="*/ 0 h 5"/>
                <a:gd name="T8" fmla="*/ 4 w 8"/>
                <a:gd name="T9" fmla="*/ 0 h 5"/>
                <a:gd name="T10" fmla="*/ 1 w 8"/>
                <a:gd name="T11" fmla="*/ 0 h 5"/>
                <a:gd name="T12" fmla="*/ 0 w 8"/>
                <a:gd name="T13" fmla="*/ 0 h 5"/>
                <a:gd name="T14" fmla="*/ 1 w 8"/>
                <a:gd name="T15" fmla="*/ 2 h 5"/>
                <a:gd name="T16" fmla="*/ 1 w 8"/>
                <a:gd name="T17" fmla="*/ 3 h 5"/>
                <a:gd name="T18" fmla="*/ 3 w 8"/>
                <a:gd name="T19" fmla="*/ 3 h 5"/>
                <a:gd name="T20" fmla="*/ 3 w 8"/>
                <a:gd name="T21" fmla="*/ 3 h 5"/>
                <a:gd name="T22" fmla="*/ 4 w 8"/>
                <a:gd name="T23" fmla="*/ 3 h 5"/>
                <a:gd name="T24" fmla="*/ 6 w 8"/>
                <a:gd name="T25" fmla="*/ 5 h 5"/>
                <a:gd name="T26" fmla="*/ 7 w 8"/>
                <a:gd name="T27" fmla="*/ 3 h 5"/>
                <a:gd name="T28" fmla="*/ 8 w 8"/>
                <a:gd name="T29" fmla="*/ 2 h 5"/>
                <a:gd name="T30" fmla="*/ 8 w 8"/>
                <a:gd name="T3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5">
                  <a:moveTo>
                    <a:pt x="8" y="2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2"/>
                  </a:lnTo>
                  <a:lnTo>
                    <a:pt x="1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6" y="5"/>
                  </a:lnTo>
                  <a:lnTo>
                    <a:pt x="7" y="3"/>
                  </a:lnTo>
                  <a:lnTo>
                    <a:pt x="8" y="2"/>
                  </a:lnTo>
                  <a:lnTo>
                    <a:pt x="8" y="2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91" name="Freeform 139"/>
            <p:cNvSpPr>
              <a:spLocks/>
            </p:cNvSpPr>
            <p:nvPr/>
          </p:nvSpPr>
          <p:spPr bwMode="auto">
            <a:xfrm>
              <a:off x="2312879" y="4666684"/>
              <a:ext cx="6106" cy="3969"/>
            </a:xfrm>
            <a:custGeom>
              <a:avLst/>
              <a:gdLst>
                <a:gd name="T0" fmla="*/ 10 w 10"/>
                <a:gd name="T1" fmla="*/ 5 h 8"/>
                <a:gd name="T2" fmla="*/ 8 w 10"/>
                <a:gd name="T3" fmla="*/ 3 h 8"/>
                <a:gd name="T4" fmla="*/ 7 w 10"/>
                <a:gd name="T5" fmla="*/ 3 h 8"/>
                <a:gd name="T6" fmla="*/ 7 w 10"/>
                <a:gd name="T7" fmla="*/ 3 h 8"/>
                <a:gd name="T8" fmla="*/ 5 w 10"/>
                <a:gd name="T9" fmla="*/ 3 h 8"/>
                <a:gd name="T10" fmla="*/ 5 w 10"/>
                <a:gd name="T11" fmla="*/ 2 h 8"/>
                <a:gd name="T12" fmla="*/ 4 w 10"/>
                <a:gd name="T13" fmla="*/ 2 h 8"/>
                <a:gd name="T14" fmla="*/ 4 w 10"/>
                <a:gd name="T15" fmla="*/ 2 h 8"/>
                <a:gd name="T16" fmla="*/ 3 w 10"/>
                <a:gd name="T17" fmla="*/ 0 h 8"/>
                <a:gd name="T18" fmla="*/ 1 w 10"/>
                <a:gd name="T19" fmla="*/ 0 h 8"/>
                <a:gd name="T20" fmla="*/ 1 w 10"/>
                <a:gd name="T21" fmla="*/ 0 h 8"/>
                <a:gd name="T22" fmla="*/ 0 w 10"/>
                <a:gd name="T23" fmla="*/ 0 h 8"/>
                <a:gd name="T24" fmla="*/ 1 w 10"/>
                <a:gd name="T25" fmla="*/ 3 h 8"/>
                <a:gd name="T26" fmla="*/ 1 w 10"/>
                <a:gd name="T27" fmla="*/ 5 h 8"/>
                <a:gd name="T28" fmla="*/ 1 w 10"/>
                <a:gd name="T29" fmla="*/ 6 h 8"/>
                <a:gd name="T30" fmla="*/ 3 w 10"/>
                <a:gd name="T31" fmla="*/ 6 h 8"/>
                <a:gd name="T32" fmla="*/ 3 w 10"/>
                <a:gd name="T33" fmla="*/ 8 h 8"/>
                <a:gd name="T34" fmla="*/ 3 w 10"/>
                <a:gd name="T35" fmla="*/ 8 h 8"/>
                <a:gd name="T36" fmla="*/ 4 w 10"/>
                <a:gd name="T37" fmla="*/ 8 h 8"/>
                <a:gd name="T38" fmla="*/ 4 w 10"/>
                <a:gd name="T39" fmla="*/ 8 h 8"/>
                <a:gd name="T40" fmla="*/ 5 w 10"/>
                <a:gd name="T41" fmla="*/ 8 h 8"/>
                <a:gd name="T42" fmla="*/ 8 w 10"/>
                <a:gd name="T43" fmla="*/ 8 h 8"/>
                <a:gd name="T44" fmla="*/ 8 w 10"/>
                <a:gd name="T45" fmla="*/ 8 h 8"/>
                <a:gd name="T46" fmla="*/ 10 w 10"/>
                <a:gd name="T47" fmla="*/ 5 h 8"/>
                <a:gd name="T48" fmla="*/ 10 w 10"/>
                <a:gd name="T4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" h="8">
                  <a:moveTo>
                    <a:pt x="10" y="5"/>
                  </a:moveTo>
                  <a:lnTo>
                    <a:pt x="8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3"/>
                  </a:lnTo>
                  <a:lnTo>
                    <a:pt x="1" y="5"/>
                  </a:lnTo>
                  <a:lnTo>
                    <a:pt x="1" y="6"/>
                  </a:lnTo>
                  <a:lnTo>
                    <a:pt x="3" y="6"/>
                  </a:lnTo>
                  <a:lnTo>
                    <a:pt x="3" y="8"/>
                  </a:lnTo>
                  <a:lnTo>
                    <a:pt x="3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5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0" y="5"/>
                  </a:lnTo>
                  <a:lnTo>
                    <a:pt x="10" y="5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92" name="Freeform 140"/>
            <p:cNvSpPr>
              <a:spLocks/>
            </p:cNvSpPr>
            <p:nvPr/>
          </p:nvSpPr>
          <p:spPr bwMode="auto">
            <a:xfrm>
              <a:off x="2377599" y="4657424"/>
              <a:ext cx="2442" cy="5292"/>
            </a:xfrm>
            <a:custGeom>
              <a:avLst/>
              <a:gdLst>
                <a:gd name="T0" fmla="*/ 0 w 5"/>
                <a:gd name="T1" fmla="*/ 7 h 7"/>
                <a:gd name="T2" fmla="*/ 2 w 5"/>
                <a:gd name="T3" fmla="*/ 7 h 7"/>
                <a:gd name="T4" fmla="*/ 3 w 5"/>
                <a:gd name="T5" fmla="*/ 7 h 7"/>
                <a:gd name="T6" fmla="*/ 3 w 5"/>
                <a:gd name="T7" fmla="*/ 7 h 7"/>
                <a:gd name="T8" fmla="*/ 3 w 5"/>
                <a:gd name="T9" fmla="*/ 5 h 7"/>
                <a:gd name="T10" fmla="*/ 5 w 5"/>
                <a:gd name="T11" fmla="*/ 4 h 7"/>
                <a:gd name="T12" fmla="*/ 5 w 5"/>
                <a:gd name="T13" fmla="*/ 4 h 7"/>
                <a:gd name="T14" fmla="*/ 5 w 5"/>
                <a:gd name="T15" fmla="*/ 2 h 7"/>
                <a:gd name="T16" fmla="*/ 5 w 5"/>
                <a:gd name="T17" fmla="*/ 2 h 7"/>
                <a:gd name="T18" fmla="*/ 3 w 5"/>
                <a:gd name="T19" fmla="*/ 1 h 7"/>
                <a:gd name="T20" fmla="*/ 3 w 5"/>
                <a:gd name="T21" fmla="*/ 0 h 7"/>
                <a:gd name="T22" fmla="*/ 2 w 5"/>
                <a:gd name="T23" fmla="*/ 1 h 7"/>
                <a:gd name="T24" fmla="*/ 2 w 5"/>
                <a:gd name="T25" fmla="*/ 1 h 7"/>
                <a:gd name="T26" fmla="*/ 2 w 5"/>
                <a:gd name="T27" fmla="*/ 1 h 7"/>
                <a:gd name="T28" fmla="*/ 0 w 5"/>
                <a:gd name="T29" fmla="*/ 2 h 7"/>
                <a:gd name="T30" fmla="*/ 0 w 5"/>
                <a:gd name="T31" fmla="*/ 4 h 7"/>
                <a:gd name="T32" fmla="*/ 0 w 5"/>
                <a:gd name="T3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" h="7">
                  <a:moveTo>
                    <a:pt x="0" y="7"/>
                  </a:moveTo>
                  <a:lnTo>
                    <a:pt x="2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5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1"/>
                  </a:lnTo>
                  <a:lnTo>
                    <a:pt x="3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7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93" name="Freeform 141"/>
            <p:cNvSpPr>
              <a:spLocks/>
            </p:cNvSpPr>
            <p:nvPr/>
          </p:nvSpPr>
          <p:spPr bwMode="auto">
            <a:xfrm>
              <a:off x="2851402" y="3769755"/>
              <a:ext cx="156306" cy="165363"/>
            </a:xfrm>
            <a:custGeom>
              <a:avLst/>
              <a:gdLst>
                <a:gd name="T0" fmla="*/ 8 w 256"/>
                <a:gd name="T1" fmla="*/ 152 h 251"/>
                <a:gd name="T2" fmla="*/ 14 w 256"/>
                <a:gd name="T3" fmla="*/ 135 h 251"/>
                <a:gd name="T4" fmla="*/ 25 w 256"/>
                <a:gd name="T5" fmla="*/ 120 h 251"/>
                <a:gd name="T6" fmla="*/ 32 w 256"/>
                <a:gd name="T7" fmla="*/ 112 h 251"/>
                <a:gd name="T8" fmla="*/ 18 w 256"/>
                <a:gd name="T9" fmla="*/ 118 h 251"/>
                <a:gd name="T10" fmla="*/ 12 w 256"/>
                <a:gd name="T11" fmla="*/ 113 h 251"/>
                <a:gd name="T12" fmla="*/ 0 w 256"/>
                <a:gd name="T13" fmla="*/ 100 h 251"/>
                <a:gd name="T14" fmla="*/ 11 w 256"/>
                <a:gd name="T15" fmla="*/ 93 h 251"/>
                <a:gd name="T16" fmla="*/ 15 w 256"/>
                <a:gd name="T17" fmla="*/ 92 h 251"/>
                <a:gd name="T18" fmla="*/ 18 w 256"/>
                <a:gd name="T19" fmla="*/ 90 h 251"/>
                <a:gd name="T20" fmla="*/ 32 w 256"/>
                <a:gd name="T21" fmla="*/ 87 h 251"/>
                <a:gd name="T22" fmla="*/ 55 w 256"/>
                <a:gd name="T23" fmla="*/ 89 h 251"/>
                <a:gd name="T24" fmla="*/ 58 w 256"/>
                <a:gd name="T25" fmla="*/ 82 h 251"/>
                <a:gd name="T26" fmla="*/ 64 w 256"/>
                <a:gd name="T27" fmla="*/ 82 h 251"/>
                <a:gd name="T28" fmla="*/ 73 w 256"/>
                <a:gd name="T29" fmla="*/ 83 h 251"/>
                <a:gd name="T30" fmla="*/ 77 w 256"/>
                <a:gd name="T31" fmla="*/ 85 h 251"/>
                <a:gd name="T32" fmla="*/ 80 w 256"/>
                <a:gd name="T33" fmla="*/ 80 h 251"/>
                <a:gd name="T34" fmla="*/ 81 w 256"/>
                <a:gd name="T35" fmla="*/ 65 h 251"/>
                <a:gd name="T36" fmla="*/ 74 w 256"/>
                <a:gd name="T37" fmla="*/ 59 h 251"/>
                <a:gd name="T38" fmla="*/ 74 w 256"/>
                <a:gd name="T39" fmla="*/ 52 h 251"/>
                <a:gd name="T40" fmla="*/ 75 w 256"/>
                <a:gd name="T41" fmla="*/ 26 h 251"/>
                <a:gd name="T42" fmla="*/ 107 w 256"/>
                <a:gd name="T43" fmla="*/ 16 h 251"/>
                <a:gd name="T44" fmla="*/ 130 w 256"/>
                <a:gd name="T45" fmla="*/ 0 h 251"/>
                <a:gd name="T46" fmla="*/ 161 w 256"/>
                <a:gd name="T47" fmla="*/ 7 h 251"/>
                <a:gd name="T48" fmla="*/ 180 w 256"/>
                <a:gd name="T49" fmla="*/ 23 h 251"/>
                <a:gd name="T50" fmla="*/ 196 w 256"/>
                <a:gd name="T51" fmla="*/ 23 h 251"/>
                <a:gd name="T52" fmla="*/ 216 w 256"/>
                <a:gd name="T53" fmla="*/ 30 h 251"/>
                <a:gd name="T54" fmla="*/ 230 w 256"/>
                <a:gd name="T55" fmla="*/ 33 h 251"/>
                <a:gd name="T56" fmla="*/ 246 w 256"/>
                <a:gd name="T57" fmla="*/ 43 h 251"/>
                <a:gd name="T58" fmla="*/ 236 w 256"/>
                <a:gd name="T59" fmla="*/ 59 h 251"/>
                <a:gd name="T60" fmla="*/ 242 w 256"/>
                <a:gd name="T61" fmla="*/ 77 h 251"/>
                <a:gd name="T62" fmla="*/ 256 w 256"/>
                <a:gd name="T63" fmla="*/ 99 h 251"/>
                <a:gd name="T64" fmla="*/ 246 w 256"/>
                <a:gd name="T65" fmla="*/ 142 h 251"/>
                <a:gd name="T66" fmla="*/ 252 w 256"/>
                <a:gd name="T67" fmla="*/ 162 h 251"/>
                <a:gd name="T68" fmla="*/ 234 w 256"/>
                <a:gd name="T69" fmla="*/ 171 h 251"/>
                <a:gd name="T70" fmla="*/ 214 w 256"/>
                <a:gd name="T71" fmla="*/ 166 h 251"/>
                <a:gd name="T72" fmla="*/ 210 w 256"/>
                <a:gd name="T73" fmla="*/ 176 h 251"/>
                <a:gd name="T74" fmla="*/ 194 w 256"/>
                <a:gd name="T75" fmla="*/ 183 h 251"/>
                <a:gd name="T76" fmla="*/ 171 w 256"/>
                <a:gd name="T77" fmla="*/ 188 h 251"/>
                <a:gd name="T78" fmla="*/ 160 w 256"/>
                <a:gd name="T79" fmla="*/ 188 h 251"/>
                <a:gd name="T80" fmla="*/ 153 w 256"/>
                <a:gd name="T81" fmla="*/ 181 h 251"/>
                <a:gd name="T82" fmla="*/ 140 w 256"/>
                <a:gd name="T83" fmla="*/ 192 h 251"/>
                <a:gd name="T84" fmla="*/ 154 w 256"/>
                <a:gd name="T85" fmla="*/ 198 h 251"/>
                <a:gd name="T86" fmla="*/ 163 w 256"/>
                <a:gd name="T87" fmla="*/ 199 h 251"/>
                <a:gd name="T88" fmla="*/ 157 w 256"/>
                <a:gd name="T89" fmla="*/ 224 h 251"/>
                <a:gd name="T90" fmla="*/ 144 w 256"/>
                <a:gd name="T91" fmla="*/ 232 h 251"/>
                <a:gd name="T92" fmla="*/ 137 w 256"/>
                <a:gd name="T93" fmla="*/ 241 h 251"/>
                <a:gd name="T94" fmla="*/ 136 w 256"/>
                <a:gd name="T95" fmla="*/ 251 h 251"/>
                <a:gd name="T96" fmla="*/ 117 w 256"/>
                <a:gd name="T97" fmla="*/ 241 h 251"/>
                <a:gd name="T98" fmla="*/ 105 w 256"/>
                <a:gd name="T99" fmla="*/ 234 h 251"/>
                <a:gd name="T100" fmla="*/ 94 w 256"/>
                <a:gd name="T101" fmla="*/ 234 h 251"/>
                <a:gd name="T102" fmla="*/ 84 w 256"/>
                <a:gd name="T103" fmla="*/ 225 h 251"/>
                <a:gd name="T104" fmla="*/ 73 w 256"/>
                <a:gd name="T105" fmla="*/ 219 h 251"/>
                <a:gd name="T106" fmla="*/ 68 w 256"/>
                <a:gd name="T107" fmla="*/ 231 h 251"/>
                <a:gd name="T108" fmla="*/ 64 w 256"/>
                <a:gd name="T109" fmla="*/ 231 h 251"/>
                <a:gd name="T110" fmla="*/ 54 w 256"/>
                <a:gd name="T111" fmla="*/ 244 h 251"/>
                <a:gd name="T112" fmla="*/ 40 w 256"/>
                <a:gd name="T113" fmla="*/ 222 h 251"/>
                <a:gd name="T114" fmla="*/ 40 w 256"/>
                <a:gd name="T115" fmla="*/ 206 h 251"/>
                <a:gd name="T116" fmla="*/ 27 w 256"/>
                <a:gd name="T117" fmla="*/ 205 h 251"/>
                <a:gd name="T118" fmla="*/ 17 w 256"/>
                <a:gd name="T119" fmla="*/ 199 h 251"/>
                <a:gd name="T120" fmla="*/ 8 w 256"/>
                <a:gd name="T121" fmla="*/ 18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6" h="251">
                  <a:moveTo>
                    <a:pt x="4" y="161"/>
                  </a:moveTo>
                  <a:lnTo>
                    <a:pt x="4" y="161"/>
                  </a:lnTo>
                  <a:lnTo>
                    <a:pt x="5" y="158"/>
                  </a:lnTo>
                  <a:lnTo>
                    <a:pt x="8" y="152"/>
                  </a:lnTo>
                  <a:lnTo>
                    <a:pt x="12" y="149"/>
                  </a:lnTo>
                  <a:lnTo>
                    <a:pt x="15" y="145"/>
                  </a:lnTo>
                  <a:lnTo>
                    <a:pt x="15" y="140"/>
                  </a:lnTo>
                  <a:lnTo>
                    <a:pt x="14" y="135"/>
                  </a:lnTo>
                  <a:lnTo>
                    <a:pt x="14" y="130"/>
                  </a:lnTo>
                  <a:lnTo>
                    <a:pt x="17" y="126"/>
                  </a:lnTo>
                  <a:lnTo>
                    <a:pt x="21" y="123"/>
                  </a:lnTo>
                  <a:lnTo>
                    <a:pt x="25" y="120"/>
                  </a:lnTo>
                  <a:lnTo>
                    <a:pt x="28" y="119"/>
                  </a:lnTo>
                  <a:lnTo>
                    <a:pt x="31" y="116"/>
                  </a:lnTo>
                  <a:lnTo>
                    <a:pt x="31" y="115"/>
                  </a:lnTo>
                  <a:lnTo>
                    <a:pt x="32" y="112"/>
                  </a:lnTo>
                  <a:lnTo>
                    <a:pt x="31" y="110"/>
                  </a:lnTo>
                  <a:lnTo>
                    <a:pt x="27" y="112"/>
                  </a:lnTo>
                  <a:lnTo>
                    <a:pt x="24" y="115"/>
                  </a:lnTo>
                  <a:lnTo>
                    <a:pt x="18" y="118"/>
                  </a:lnTo>
                  <a:lnTo>
                    <a:pt x="14" y="119"/>
                  </a:lnTo>
                  <a:lnTo>
                    <a:pt x="11" y="118"/>
                  </a:lnTo>
                  <a:lnTo>
                    <a:pt x="10" y="116"/>
                  </a:lnTo>
                  <a:lnTo>
                    <a:pt x="12" y="113"/>
                  </a:lnTo>
                  <a:lnTo>
                    <a:pt x="17" y="110"/>
                  </a:lnTo>
                  <a:lnTo>
                    <a:pt x="11" y="105"/>
                  </a:lnTo>
                  <a:lnTo>
                    <a:pt x="8" y="100"/>
                  </a:lnTo>
                  <a:lnTo>
                    <a:pt x="0" y="100"/>
                  </a:lnTo>
                  <a:lnTo>
                    <a:pt x="8" y="96"/>
                  </a:lnTo>
                  <a:lnTo>
                    <a:pt x="10" y="95"/>
                  </a:lnTo>
                  <a:lnTo>
                    <a:pt x="10" y="95"/>
                  </a:lnTo>
                  <a:lnTo>
                    <a:pt x="11" y="93"/>
                  </a:lnTo>
                  <a:lnTo>
                    <a:pt x="11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5" y="92"/>
                  </a:lnTo>
                  <a:lnTo>
                    <a:pt x="15" y="92"/>
                  </a:lnTo>
                  <a:lnTo>
                    <a:pt x="17" y="90"/>
                  </a:lnTo>
                  <a:lnTo>
                    <a:pt x="17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24" y="90"/>
                  </a:lnTo>
                  <a:lnTo>
                    <a:pt x="28" y="87"/>
                  </a:lnTo>
                  <a:lnTo>
                    <a:pt x="32" y="87"/>
                  </a:lnTo>
                  <a:lnTo>
                    <a:pt x="37" y="86"/>
                  </a:lnTo>
                  <a:lnTo>
                    <a:pt x="41" y="87"/>
                  </a:lnTo>
                  <a:lnTo>
                    <a:pt x="55" y="90"/>
                  </a:lnTo>
                  <a:lnTo>
                    <a:pt x="55" y="89"/>
                  </a:lnTo>
                  <a:lnTo>
                    <a:pt x="55" y="85"/>
                  </a:lnTo>
                  <a:lnTo>
                    <a:pt x="55" y="82"/>
                  </a:lnTo>
                  <a:lnTo>
                    <a:pt x="57" y="80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61" y="83"/>
                  </a:lnTo>
                  <a:lnTo>
                    <a:pt x="61" y="82"/>
                  </a:lnTo>
                  <a:lnTo>
                    <a:pt x="64" y="82"/>
                  </a:lnTo>
                  <a:lnTo>
                    <a:pt x="65" y="80"/>
                  </a:lnTo>
                  <a:lnTo>
                    <a:pt x="68" y="80"/>
                  </a:lnTo>
                  <a:lnTo>
                    <a:pt x="71" y="82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4" y="85"/>
                  </a:lnTo>
                  <a:lnTo>
                    <a:pt x="75" y="85"/>
                  </a:lnTo>
                  <a:lnTo>
                    <a:pt x="77" y="85"/>
                  </a:lnTo>
                  <a:lnTo>
                    <a:pt x="77" y="85"/>
                  </a:lnTo>
                  <a:lnTo>
                    <a:pt x="78" y="83"/>
                  </a:lnTo>
                  <a:lnTo>
                    <a:pt x="80" y="83"/>
                  </a:lnTo>
                  <a:lnTo>
                    <a:pt x="80" y="80"/>
                  </a:lnTo>
                  <a:lnTo>
                    <a:pt x="81" y="76"/>
                  </a:lnTo>
                  <a:lnTo>
                    <a:pt x="81" y="72"/>
                  </a:lnTo>
                  <a:lnTo>
                    <a:pt x="81" y="66"/>
                  </a:lnTo>
                  <a:lnTo>
                    <a:pt x="81" y="65"/>
                  </a:lnTo>
                  <a:lnTo>
                    <a:pt x="81" y="62"/>
                  </a:lnTo>
                  <a:lnTo>
                    <a:pt x="78" y="60"/>
                  </a:lnTo>
                  <a:lnTo>
                    <a:pt x="77" y="59"/>
                  </a:lnTo>
                  <a:lnTo>
                    <a:pt x="74" y="59"/>
                  </a:lnTo>
                  <a:lnTo>
                    <a:pt x="73" y="59"/>
                  </a:lnTo>
                  <a:lnTo>
                    <a:pt x="73" y="56"/>
                  </a:lnTo>
                  <a:lnTo>
                    <a:pt x="73" y="55"/>
                  </a:lnTo>
                  <a:lnTo>
                    <a:pt x="74" y="52"/>
                  </a:lnTo>
                  <a:lnTo>
                    <a:pt x="75" y="49"/>
                  </a:lnTo>
                  <a:lnTo>
                    <a:pt x="70" y="35"/>
                  </a:lnTo>
                  <a:lnTo>
                    <a:pt x="70" y="33"/>
                  </a:lnTo>
                  <a:lnTo>
                    <a:pt x="75" y="26"/>
                  </a:lnTo>
                  <a:lnTo>
                    <a:pt x="81" y="22"/>
                  </a:lnTo>
                  <a:lnTo>
                    <a:pt x="91" y="19"/>
                  </a:lnTo>
                  <a:lnTo>
                    <a:pt x="103" y="19"/>
                  </a:lnTo>
                  <a:lnTo>
                    <a:pt x="107" y="16"/>
                  </a:lnTo>
                  <a:lnTo>
                    <a:pt x="114" y="12"/>
                  </a:lnTo>
                  <a:lnTo>
                    <a:pt x="120" y="7"/>
                  </a:lnTo>
                  <a:lnTo>
                    <a:pt x="123" y="3"/>
                  </a:lnTo>
                  <a:lnTo>
                    <a:pt x="130" y="0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53" y="4"/>
                  </a:lnTo>
                  <a:lnTo>
                    <a:pt x="161" y="7"/>
                  </a:lnTo>
                  <a:lnTo>
                    <a:pt x="171" y="13"/>
                  </a:lnTo>
                  <a:lnTo>
                    <a:pt x="174" y="16"/>
                  </a:lnTo>
                  <a:lnTo>
                    <a:pt x="177" y="20"/>
                  </a:lnTo>
                  <a:lnTo>
                    <a:pt x="180" y="23"/>
                  </a:lnTo>
                  <a:lnTo>
                    <a:pt x="183" y="24"/>
                  </a:lnTo>
                  <a:lnTo>
                    <a:pt x="190" y="26"/>
                  </a:lnTo>
                  <a:lnTo>
                    <a:pt x="190" y="26"/>
                  </a:lnTo>
                  <a:lnTo>
                    <a:pt x="196" y="23"/>
                  </a:lnTo>
                  <a:lnTo>
                    <a:pt x="201" y="23"/>
                  </a:lnTo>
                  <a:lnTo>
                    <a:pt x="201" y="23"/>
                  </a:lnTo>
                  <a:lnTo>
                    <a:pt x="210" y="26"/>
                  </a:lnTo>
                  <a:lnTo>
                    <a:pt x="216" y="30"/>
                  </a:lnTo>
                  <a:lnTo>
                    <a:pt x="220" y="33"/>
                  </a:lnTo>
                  <a:lnTo>
                    <a:pt x="224" y="35"/>
                  </a:lnTo>
                  <a:lnTo>
                    <a:pt x="227" y="32"/>
                  </a:lnTo>
                  <a:lnTo>
                    <a:pt x="230" y="33"/>
                  </a:lnTo>
                  <a:lnTo>
                    <a:pt x="234" y="39"/>
                  </a:lnTo>
                  <a:lnTo>
                    <a:pt x="239" y="42"/>
                  </a:lnTo>
                  <a:lnTo>
                    <a:pt x="242" y="43"/>
                  </a:lnTo>
                  <a:lnTo>
                    <a:pt x="246" y="43"/>
                  </a:lnTo>
                  <a:lnTo>
                    <a:pt x="247" y="46"/>
                  </a:lnTo>
                  <a:lnTo>
                    <a:pt x="247" y="49"/>
                  </a:lnTo>
                  <a:lnTo>
                    <a:pt x="244" y="52"/>
                  </a:lnTo>
                  <a:lnTo>
                    <a:pt x="236" y="59"/>
                  </a:lnTo>
                  <a:lnTo>
                    <a:pt x="234" y="63"/>
                  </a:lnTo>
                  <a:lnTo>
                    <a:pt x="236" y="69"/>
                  </a:lnTo>
                  <a:lnTo>
                    <a:pt x="240" y="75"/>
                  </a:lnTo>
                  <a:lnTo>
                    <a:pt x="242" y="77"/>
                  </a:lnTo>
                  <a:lnTo>
                    <a:pt x="244" y="83"/>
                  </a:lnTo>
                  <a:lnTo>
                    <a:pt x="246" y="85"/>
                  </a:lnTo>
                  <a:lnTo>
                    <a:pt x="250" y="89"/>
                  </a:lnTo>
                  <a:lnTo>
                    <a:pt x="256" y="99"/>
                  </a:lnTo>
                  <a:lnTo>
                    <a:pt x="256" y="108"/>
                  </a:lnTo>
                  <a:lnTo>
                    <a:pt x="252" y="118"/>
                  </a:lnTo>
                  <a:lnTo>
                    <a:pt x="246" y="129"/>
                  </a:lnTo>
                  <a:lnTo>
                    <a:pt x="246" y="142"/>
                  </a:lnTo>
                  <a:lnTo>
                    <a:pt x="250" y="146"/>
                  </a:lnTo>
                  <a:lnTo>
                    <a:pt x="250" y="153"/>
                  </a:lnTo>
                  <a:lnTo>
                    <a:pt x="249" y="156"/>
                  </a:lnTo>
                  <a:lnTo>
                    <a:pt x="252" y="162"/>
                  </a:lnTo>
                  <a:lnTo>
                    <a:pt x="254" y="169"/>
                  </a:lnTo>
                  <a:lnTo>
                    <a:pt x="253" y="171"/>
                  </a:lnTo>
                  <a:lnTo>
                    <a:pt x="239" y="172"/>
                  </a:lnTo>
                  <a:lnTo>
                    <a:pt x="234" y="171"/>
                  </a:lnTo>
                  <a:lnTo>
                    <a:pt x="229" y="168"/>
                  </a:lnTo>
                  <a:lnTo>
                    <a:pt x="221" y="169"/>
                  </a:lnTo>
                  <a:lnTo>
                    <a:pt x="219" y="168"/>
                  </a:lnTo>
                  <a:lnTo>
                    <a:pt x="214" y="166"/>
                  </a:lnTo>
                  <a:lnTo>
                    <a:pt x="211" y="166"/>
                  </a:lnTo>
                  <a:lnTo>
                    <a:pt x="211" y="169"/>
                  </a:lnTo>
                  <a:lnTo>
                    <a:pt x="211" y="172"/>
                  </a:lnTo>
                  <a:lnTo>
                    <a:pt x="210" y="176"/>
                  </a:lnTo>
                  <a:lnTo>
                    <a:pt x="210" y="182"/>
                  </a:lnTo>
                  <a:lnTo>
                    <a:pt x="207" y="188"/>
                  </a:lnTo>
                  <a:lnTo>
                    <a:pt x="200" y="183"/>
                  </a:lnTo>
                  <a:lnTo>
                    <a:pt x="194" y="183"/>
                  </a:lnTo>
                  <a:lnTo>
                    <a:pt x="189" y="181"/>
                  </a:lnTo>
                  <a:lnTo>
                    <a:pt x="184" y="182"/>
                  </a:lnTo>
                  <a:lnTo>
                    <a:pt x="179" y="183"/>
                  </a:lnTo>
                  <a:lnTo>
                    <a:pt x="171" y="188"/>
                  </a:lnTo>
                  <a:lnTo>
                    <a:pt x="166" y="191"/>
                  </a:lnTo>
                  <a:lnTo>
                    <a:pt x="163" y="192"/>
                  </a:lnTo>
                  <a:lnTo>
                    <a:pt x="161" y="191"/>
                  </a:lnTo>
                  <a:lnTo>
                    <a:pt x="160" y="188"/>
                  </a:lnTo>
                  <a:lnTo>
                    <a:pt x="158" y="185"/>
                  </a:lnTo>
                  <a:lnTo>
                    <a:pt x="157" y="181"/>
                  </a:lnTo>
                  <a:lnTo>
                    <a:pt x="154" y="178"/>
                  </a:lnTo>
                  <a:lnTo>
                    <a:pt x="153" y="181"/>
                  </a:lnTo>
                  <a:lnTo>
                    <a:pt x="151" y="185"/>
                  </a:lnTo>
                  <a:lnTo>
                    <a:pt x="148" y="189"/>
                  </a:lnTo>
                  <a:lnTo>
                    <a:pt x="144" y="191"/>
                  </a:lnTo>
                  <a:lnTo>
                    <a:pt x="140" y="192"/>
                  </a:lnTo>
                  <a:lnTo>
                    <a:pt x="141" y="196"/>
                  </a:lnTo>
                  <a:lnTo>
                    <a:pt x="146" y="199"/>
                  </a:lnTo>
                  <a:lnTo>
                    <a:pt x="150" y="198"/>
                  </a:lnTo>
                  <a:lnTo>
                    <a:pt x="154" y="198"/>
                  </a:lnTo>
                  <a:lnTo>
                    <a:pt x="153" y="202"/>
                  </a:lnTo>
                  <a:lnTo>
                    <a:pt x="157" y="206"/>
                  </a:lnTo>
                  <a:lnTo>
                    <a:pt x="160" y="204"/>
                  </a:lnTo>
                  <a:lnTo>
                    <a:pt x="163" y="199"/>
                  </a:lnTo>
                  <a:lnTo>
                    <a:pt x="166" y="201"/>
                  </a:lnTo>
                  <a:lnTo>
                    <a:pt x="164" y="212"/>
                  </a:lnTo>
                  <a:lnTo>
                    <a:pt x="160" y="216"/>
                  </a:lnTo>
                  <a:lnTo>
                    <a:pt x="157" y="224"/>
                  </a:lnTo>
                  <a:lnTo>
                    <a:pt x="157" y="224"/>
                  </a:lnTo>
                  <a:lnTo>
                    <a:pt x="153" y="228"/>
                  </a:lnTo>
                  <a:lnTo>
                    <a:pt x="147" y="231"/>
                  </a:lnTo>
                  <a:lnTo>
                    <a:pt x="144" y="232"/>
                  </a:lnTo>
                  <a:lnTo>
                    <a:pt x="141" y="231"/>
                  </a:lnTo>
                  <a:lnTo>
                    <a:pt x="138" y="228"/>
                  </a:lnTo>
                  <a:lnTo>
                    <a:pt x="137" y="238"/>
                  </a:lnTo>
                  <a:lnTo>
                    <a:pt x="137" y="241"/>
                  </a:lnTo>
                  <a:lnTo>
                    <a:pt x="136" y="244"/>
                  </a:lnTo>
                  <a:lnTo>
                    <a:pt x="136" y="246"/>
                  </a:lnTo>
                  <a:lnTo>
                    <a:pt x="138" y="251"/>
                  </a:lnTo>
                  <a:lnTo>
                    <a:pt x="136" y="251"/>
                  </a:lnTo>
                  <a:lnTo>
                    <a:pt x="130" y="249"/>
                  </a:lnTo>
                  <a:lnTo>
                    <a:pt x="126" y="246"/>
                  </a:lnTo>
                  <a:lnTo>
                    <a:pt x="120" y="244"/>
                  </a:lnTo>
                  <a:lnTo>
                    <a:pt x="117" y="241"/>
                  </a:lnTo>
                  <a:lnTo>
                    <a:pt x="116" y="236"/>
                  </a:lnTo>
                  <a:lnTo>
                    <a:pt x="113" y="235"/>
                  </a:lnTo>
                  <a:lnTo>
                    <a:pt x="110" y="235"/>
                  </a:lnTo>
                  <a:lnTo>
                    <a:pt x="105" y="234"/>
                  </a:lnTo>
                  <a:lnTo>
                    <a:pt x="107" y="232"/>
                  </a:lnTo>
                  <a:lnTo>
                    <a:pt x="103" y="231"/>
                  </a:lnTo>
                  <a:lnTo>
                    <a:pt x="98" y="235"/>
                  </a:lnTo>
                  <a:lnTo>
                    <a:pt x="94" y="234"/>
                  </a:lnTo>
                  <a:lnTo>
                    <a:pt x="90" y="231"/>
                  </a:lnTo>
                  <a:lnTo>
                    <a:pt x="87" y="229"/>
                  </a:lnTo>
                  <a:lnTo>
                    <a:pt x="85" y="228"/>
                  </a:lnTo>
                  <a:lnTo>
                    <a:pt x="84" y="225"/>
                  </a:lnTo>
                  <a:lnTo>
                    <a:pt x="81" y="222"/>
                  </a:lnTo>
                  <a:lnTo>
                    <a:pt x="77" y="219"/>
                  </a:lnTo>
                  <a:lnTo>
                    <a:pt x="74" y="219"/>
                  </a:lnTo>
                  <a:lnTo>
                    <a:pt x="73" y="219"/>
                  </a:lnTo>
                  <a:lnTo>
                    <a:pt x="70" y="224"/>
                  </a:lnTo>
                  <a:lnTo>
                    <a:pt x="68" y="224"/>
                  </a:lnTo>
                  <a:lnTo>
                    <a:pt x="70" y="228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5" y="232"/>
                  </a:lnTo>
                  <a:lnTo>
                    <a:pt x="64" y="231"/>
                  </a:lnTo>
                  <a:lnTo>
                    <a:pt x="64" y="231"/>
                  </a:lnTo>
                  <a:lnTo>
                    <a:pt x="61" y="231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54" y="244"/>
                  </a:lnTo>
                  <a:lnTo>
                    <a:pt x="45" y="239"/>
                  </a:lnTo>
                  <a:lnTo>
                    <a:pt x="51" y="228"/>
                  </a:lnTo>
                  <a:lnTo>
                    <a:pt x="44" y="226"/>
                  </a:lnTo>
                  <a:lnTo>
                    <a:pt x="40" y="222"/>
                  </a:lnTo>
                  <a:lnTo>
                    <a:pt x="38" y="221"/>
                  </a:lnTo>
                  <a:lnTo>
                    <a:pt x="40" y="215"/>
                  </a:lnTo>
                  <a:lnTo>
                    <a:pt x="40" y="209"/>
                  </a:lnTo>
                  <a:lnTo>
                    <a:pt x="40" y="206"/>
                  </a:lnTo>
                  <a:lnTo>
                    <a:pt x="37" y="204"/>
                  </a:lnTo>
                  <a:lnTo>
                    <a:pt x="32" y="202"/>
                  </a:lnTo>
                  <a:lnTo>
                    <a:pt x="31" y="202"/>
                  </a:lnTo>
                  <a:lnTo>
                    <a:pt x="27" y="205"/>
                  </a:lnTo>
                  <a:lnTo>
                    <a:pt x="22" y="205"/>
                  </a:lnTo>
                  <a:lnTo>
                    <a:pt x="20" y="204"/>
                  </a:lnTo>
                  <a:lnTo>
                    <a:pt x="17" y="202"/>
                  </a:lnTo>
                  <a:lnTo>
                    <a:pt x="17" y="199"/>
                  </a:lnTo>
                  <a:lnTo>
                    <a:pt x="17" y="196"/>
                  </a:lnTo>
                  <a:lnTo>
                    <a:pt x="17" y="193"/>
                  </a:lnTo>
                  <a:lnTo>
                    <a:pt x="14" y="188"/>
                  </a:lnTo>
                  <a:lnTo>
                    <a:pt x="8" y="181"/>
                  </a:lnTo>
                  <a:lnTo>
                    <a:pt x="7" y="175"/>
                  </a:lnTo>
                  <a:lnTo>
                    <a:pt x="4" y="166"/>
                  </a:lnTo>
                  <a:lnTo>
                    <a:pt x="4" y="16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94" name="Freeform 142"/>
            <p:cNvSpPr>
              <a:spLocks/>
            </p:cNvSpPr>
            <p:nvPr/>
          </p:nvSpPr>
          <p:spPr bwMode="auto">
            <a:xfrm>
              <a:off x="2872162" y="3866327"/>
              <a:ext cx="374891" cy="371736"/>
            </a:xfrm>
            <a:custGeom>
              <a:avLst/>
              <a:gdLst>
                <a:gd name="T0" fmla="*/ 441 w 614"/>
                <a:gd name="T1" fmla="*/ 206 h 561"/>
                <a:gd name="T2" fmla="*/ 468 w 614"/>
                <a:gd name="T3" fmla="*/ 229 h 561"/>
                <a:gd name="T4" fmla="*/ 525 w 614"/>
                <a:gd name="T5" fmla="*/ 265 h 561"/>
                <a:gd name="T6" fmla="*/ 557 w 614"/>
                <a:gd name="T7" fmla="*/ 262 h 561"/>
                <a:gd name="T8" fmla="*/ 547 w 614"/>
                <a:gd name="T9" fmla="*/ 226 h 561"/>
                <a:gd name="T10" fmla="*/ 603 w 614"/>
                <a:gd name="T11" fmla="*/ 216 h 561"/>
                <a:gd name="T12" fmla="*/ 576 w 614"/>
                <a:gd name="T13" fmla="*/ 279 h 561"/>
                <a:gd name="T14" fmla="*/ 603 w 614"/>
                <a:gd name="T15" fmla="*/ 273 h 561"/>
                <a:gd name="T16" fmla="*/ 589 w 614"/>
                <a:gd name="T17" fmla="*/ 306 h 561"/>
                <a:gd name="T18" fmla="*/ 583 w 614"/>
                <a:gd name="T19" fmla="*/ 328 h 561"/>
                <a:gd name="T20" fmla="*/ 600 w 614"/>
                <a:gd name="T21" fmla="*/ 349 h 561"/>
                <a:gd name="T22" fmla="*/ 586 w 614"/>
                <a:gd name="T23" fmla="*/ 404 h 561"/>
                <a:gd name="T24" fmla="*/ 537 w 614"/>
                <a:gd name="T25" fmla="*/ 419 h 561"/>
                <a:gd name="T26" fmla="*/ 488 w 614"/>
                <a:gd name="T27" fmla="*/ 411 h 561"/>
                <a:gd name="T28" fmla="*/ 464 w 614"/>
                <a:gd name="T29" fmla="*/ 406 h 561"/>
                <a:gd name="T30" fmla="*/ 467 w 614"/>
                <a:gd name="T31" fmla="*/ 422 h 561"/>
                <a:gd name="T32" fmla="*/ 471 w 614"/>
                <a:gd name="T33" fmla="*/ 458 h 561"/>
                <a:gd name="T34" fmla="*/ 473 w 614"/>
                <a:gd name="T35" fmla="*/ 467 h 561"/>
                <a:gd name="T36" fmla="*/ 418 w 614"/>
                <a:gd name="T37" fmla="*/ 497 h 561"/>
                <a:gd name="T38" fmla="*/ 361 w 614"/>
                <a:gd name="T39" fmla="*/ 534 h 561"/>
                <a:gd name="T40" fmla="*/ 356 w 614"/>
                <a:gd name="T41" fmla="*/ 504 h 561"/>
                <a:gd name="T42" fmla="*/ 381 w 614"/>
                <a:gd name="T43" fmla="*/ 491 h 561"/>
                <a:gd name="T44" fmla="*/ 351 w 614"/>
                <a:gd name="T45" fmla="*/ 465 h 561"/>
                <a:gd name="T46" fmla="*/ 305 w 614"/>
                <a:gd name="T47" fmla="*/ 429 h 561"/>
                <a:gd name="T48" fmla="*/ 298 w 614"/>
                <a:gd name="T49" fmla="*/ 355 h 561"/>
                <a:gd name="T50" fmla="*/ 265 w 614"/>
                <a:gd name="T51" fmla="*/ 341 h 561"/>
                <a:gd name="T52" fmla="*/ 216 w 614"/>
                <a:gd name="T53" fmla="*/ 348 h 561"/>
                <a:gd name="T54" fmla="*/ 200 w 614"/>
                <a:gd name="T55" fmla="*/ 313 h 561"/>
                <a:gd name="T56" fmla="*/ 169 w 614"/>
                <a:gd name="T57" fmla="*/ 267 h 561"/>
                <a:gd name="T58" fmla="*/ 175 w 614"/>
                <a:gd name="T59" fmla="*/ 216 h 561"/>
                <a:gd name="T60" fmla="*/ 135 w 614"/>
                <a:gd name="T61" fmla="*/ 180 h 561"/>
                <a:gd name="T62" fmla="*/ 87 w 614"/>
                <a:gd name="T63" fmla="*/ 159 h 561"/>
                <a:gd name="T64" fmla="*/ 82 w 614"/>
                <a:gd name="T65" fmla="*/ 127 h 561"/>
                <a:gd name="T66" fmla="*/ 63 w 614"/>
                <a:gd name="T67" fmla="*/ 130 h 561"/>
                <a:gd name="T68" fmla="*/ 59 w 614"/>
                <a:gd name="T69" fmla="*/ 110 h 561"/>
                <a:gd name="T70" fmla="*/ 3 w 614"/>
                <a:gd name="T71" fmla="*/ 100 h 561"/>
                <a:gd name="T72" fmla="*/ 21 w 614"/>
                <a:gd name="T73" fmla="*/ 91 h 561"/>
                <a:gd name="T74" fmla="*/ 36 w 614"/>
                <a:gd name="T75" fmla="*/ 81 h 561"/>
                <a:gd name="T76" fmla="*/ 53 w 614"/>
                <a:gd name="T77" fmla="*/ 81 h 561"/>
                <a:gd name="T78" fmla="*/ 86 w 614"/>
                <a:gd name="T79" fmla="*/ 96 h 561"/>
                <a:gd name="T80" fmla="*/ 104 w 614"/>
                <a:gd name="T81" fmla="*/ 80 h 561"/>
                <a:gd name="T82" fmla="*/ 129 w 614"/>
                <a:gd name="T83" fmla="*/ 51 h 561"/>
                <a:gd name="T84" fmla="*/ 114 w 614"/>
                <a:gd name="T85" fmla="*/ 41 h 561"/>
                <a:gd name="T86" fmla="*/ 137 w 614"/>
                <a:gd name="T87" fmla="*/ 40 h 561"/>
                <a:gd name="T88" fmla="*/ 177 w 614"/>
                <a:gd name="T89" fmla="*/ 24 h 561"/>
                <a:gd name="T90" fmla="*/ 220 w 614"/>
                <a:gd name="T91" fmla="*/ 21 h 561"/>
                <a:gd name="T92" fmla="*/ 258 w 614"/>
                <a:gd name="T93" fmla="*/ 14 h 561"/>
                <a:gd name="T94" fmla="*/ 278 w 614"/>
                <a:gd name="T95" fmla="*/ 17 h 561"/>
                <a:gd name="T96" fmla="*/ 298 w 614"/>
                <a:gd name="T97" fmla="*/ 7 h 561"/>
                <a:gd name="T98" fmla="*/ 325 w 614"/>
                <a:gd name="T99" fmla="*/ 7 h 561"/>
                <a:gd name="T100" fmla="*/ 346 w 614"/>
                <a:gd name="T101" fmla="*/ 20 h 561"/>
                <a:gd name="T102" fmla="*/ 375 w 614"/>
                <a:gd name="T103" fmla="*/ 18 h 561"/>
                <a:gd name="T104" fmla="*/ 384 w 614"/>
                <a:gd name="T105" fmla="*/ 48 h 561"/>
                <a:gd name="T106" fmla="*/ 404 w 614"/>
                <a:gd name="T107" fmla="*/ 53 h 561"/>
                <a:gd name="T108" fmla="*/ 420 w 614"/>
                <a:gd name="T109" fmla="*/ 31 h 561"/>
                <a:gd name="T110" fmla="*/ 441 w 614"/>
                <a:gd name="T111" fmla="*/ 43 h 561"/>
                <a:gd name="T112" fmla="*/ 430 w 614"/>
                <a:gd name="T113" fmla="*/ 93 h 561"/>
                <a:gd name="T114" fmla="*/ 441 w 614"/>
                <a:gd name="T115" fmla="*/ 101 h 561"/>
                <a:gd name="T116" fmla="*/ 441 w 614"/>
                <a:gd name="T117" fmla="*/ 167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14" h="561">
                  <a:moveTo>
                    <a:pt x="455" y="179"/>
                  </a:moveTo>
                  <a:lnTo>
                    <a:pt x="461" y="184"/>
                  </a:lnTo>
                  <a:lnTo>
                    <a:pt x="465" y="186"/>
                  </a:lnTo>
                  <a:lnTo>
                    <a:pt x="468" y="189"/>
                  </a:lnTo>
                  <a:lnTo>
                    <a:pt x="462" y="194"/>
                  </a:lnTo>
                  <a:lnTo>
                    <a:pt x="452" y="193"/>
                  </a:lnTo>
                  <a:lnTo>
                    <a:pt x="451" y="192"/>
                  </a:lnTo>
                  <a:lnTo>
                    <a:pt x="445" y="192"/>
                  </a:lnTo>
                  <a:lnTo>
                    <a:pt x="434" y="204"/>
                  </a:lnTo>
                  <a:lnTo>
                    <a:pt x="441" y="206"/>
                  </a:lnTo>
                  <a:lnTo>
                    <a:pt x="445" y="210"/>
                  </a:lnTo>
                  <a:lnTo>
                    <a:pt x="450" y="216"/>
                  </a:lnTo>
                  <a:lnTo>
                    <a:pt x="455" y="217"/>
                  </a:lnTo>
                  <a:lnTo>
                    <a:pt x="457" y="222"/>
                  </a:lnTo>
                  <a:lnTo>
                    <a:pt x="452" y="226"/>
                  </a:lnTo>
                  <a:lnTo>
                    <a:pt x="452" y="229"/>
                  </a:lnTo>
                  <a:lnTo>
                    <a:pt x="451" y="230"/>
                  </a:lnTo>
                  <a:lnTo>
                    <a:pt x="455" y="230"/>
                  </a:lnTo>
                  <a:lnTo>
                    <a:pt x="462" y="229"/>
                  </a:lnTo>
                  <a:lnTo>
                    <a:pt x="468" y="229"/>
                  </a:lnTo>
                  <a:lnTo>
                    <a:pt x="473" y="229"/>
                  </a:lnTo>
                  <a:lnTo>
                    <a:pt x="473" y="240"/>
                  </a:lnTo>
                  <a:lnTo>
                    <a:pt x="488" y="242"/>
                  </a:lnTo>
                  <a:lnTo>
                    <a:pt x="504" y="233"/>
                  </a:lnTo>
                  <a:lnTo>
                    <a:pt x="511" y="235"/>
                  </a:lnTo>
                  <a:lnTo>
                    <a:pt x="511" y="245"/>
                  </a:lnTo>
                  <a:lnTo>
                    <a:pt x="515" y="252"/>
                  </a:lnTo>
                  <a:lnTo>
                    <a:pt x="523" y="255"/>
                  </a:lnTo>
                  <a:lnTo>
                    <a:pt x="527" y="257"/>
                  </a:lnTo>
                  <a:lnTo>
                    <a:pt x="525" y="265"/>
                  </a:lnTo>
                  <a:lnTo>
                    <a:pt x="527" y="267"/>
                  </a:lnTo>
                  <a:lnTo>
                    <a:pt x="531" y="269"/>
                  </a:lnTo>
                  <a:lnTo>
                    <a:pt x="537" y="266"/>
                  </a:lnTo>
                  <a:lnTo>
                    <a:pt x="540" y="259"/>
                  </a:lnTo>
                  <a:lnTo>
                    <a:pt x="543" y="256"/>
                  </a:lnTo>
                  <a:lnTo>
                    <a:pt x="546" y="255"/>
                  </a:lnTo>
                  <a:lnTo>
                    <a:pt x="548" y="255"/>
                  </a:lnTo>
                  <a:lnTo>
                    <a:pt x="548" y="263"/>
                  </a:lnTo>
                  <a:lnTo>
                    <a:pt x="553" y="265"/>
                  </a:lnTo>
                  <a:lnTo>
                    <a:pt x="557" y="262"/>
                  </a:lnTo>
                  <a:lnTo>
                    <a:pt x="557" y="257"/>
                  </a:lnTo>
                  <a:lnTo>
                    <a:pt x="558" y="255"/>
                  </a:lnTo>
                  <a:lnTo>
                    <a:pt x="557" y="252"/>
                  </a:lnTo>
                  <a:lnTo>
                    <a:pt x="556" y="246"/>
                  </a:lnTo>
                  <a:lnTo>
                    <a:pt x="553" y="242"/>
                  </a:lnTo>
                  <a:lnTo>
                    <a:pt x="548" y="237"/>
                  </a:lnTo>
                  <a:lnTo>
                    <a:pt x="546" y="233"/>
                  </a:lnTo>
                  <a:lnTo>
                    <a:pt x="544" y="229"/>
                  </a:lnTo>
                  <a:lnTo>
                    <a:pt x="546" y="227"/>
                  </a:lnTo>
                  <a:lnTo>
                    <a:pt x="547" y="226"/>
                  </a:lnTo>
                  <a:lnTo>
                    <a:pt x="553" y="225"/>
                  </a:lnTo>
                  <a:lnTo>
                    <a:pt x="561" y="226"/>
                  </a:lnTo>
                  <a:lnTo>
                    <a:pt x="566" y="226"/>
                  </a:lnTo>
                  <a:lnTo>
                    <a:pt x="567" y="225"/>
                  </a:lnTo>
                  <a:lnTo>
                    <a:pt x="571" y="223"/>
                  </a:lnTo>
                  <a:lnTo>
                    <a:pt x="576" y="223"/>
                  </a:lnTo>
                  <a:lnTo>
                    <a:pt x="586" y="227"/>
                  </a:lnTo>
                  <a:lnTo>
                    <a:pt x="593" y="223"/>
                  </a:lnTo>
                  <a:lnTo>
                    <a:pt x="594" y="214"/>
                  </a:lnTo>
                  <a:lnTo>
                    <a:pt x="603" y="216"/>
                  </a:lnTo>
                  <a:lnTo>
                    <a:pt x="606" y="222"/>
                  </a:lnTo>
                  <a:lnTo>
                    <a:pt x="610" y="235"/>
                  </a:lnTo>
                  <a:lnTo>
                    <a:pt x="601" y="236"/>
                  </a:lnTo>
                  <a:lnTo>
                    <a:pt x="590" y="236"/>
                  </a:lnTo>
                  <a:lnTo>
                    <a:pt x="577" y="247"/>
                  </a:lnTo>
                  <a:lnTo>
                    <a:pt x="574" y="253"/>
                  </a:lnTo>
                  <a:lnTo>
                    <a:pt x="573" y="260"/>
                  </a:lnTo>
                  <a:lnTo>
                    <a:pt x="573" y="267"/>
                  </a:lnTo>
                  <a:lnTo>
                    <a:pt x="574" y="273"/>
                  </a:lnTo>
                  <a:lnTo>
                    <a:pt x="576" y="279"/>
                  </a:lnTo>
                  <a:lnTo>
                    <a:pt x="577" y="285"/>
                  </a:lnTo>
                  <a:lnTo>
                    <a:pt x="580" y="289"/>
                  </a:lnTo>
                  <a:lnTo>
                    <a:pt x="581" y="290"/>
                  </a:lnTo>
                  <a:lnTo>
                    <a:pt x="587" y="289"/>
                  </a:lnTo>
                  <a:lnTo>
                    <a:pt x="590" y="283"/>
                  </a:lnTo>
                  <a:lnTo>
                    <a:pt x="591" y="276"/>
                  </a:lnTo>
                  <a:lnTo>
                    <a:pt x="594" y="272"/>
                  </a:lnTo>
                  <a:lnTo>
                    <a:pt x="596" y="269"/>
                  </a:lnTo>
                  <a:lnTo>
                    <a:pt x="601" y="270"/>
                  </a:lnTo>
                  <a:lnTo>
                    <a:pt x="603" y="273"/>
                  </a:lnTo>
                  <a:lnTo>
                    <a:pt x="604" y="276"/>
                  </a:lnTo>
                  <a:lnTo>
                    <a:pt x="607" y="276"/>
                  </a:lnTo>
                  <a:lnTo>
                    <a:pt x="610" y="277"/>
                  </a:lnTo>
                  <a:lnTo>
                    <a:pt x="611" y="277"/>
                  </a:lnTo>
                  <a:lnTo>
                    <a:pt x="610" y="279"/>
                  </a:lnTo>
                  <a:lnTo>
                    <a:pt x="614" y="285"/>
                  </a:lnTo>
                  <a:lnTo>
                    <a:pt x="613" y="293"/>
                  </a:lnTo>
                  <a:lnTo>
                    <a:pt x="610" y="295"/>
                  </a:lnTo>
                  <a:lnTo>
                    <a:pt x="606" y="295"/>
                  </a:lnTo>
                  <a:lnTo>
                    <a:pt x="589" y="306"/>
                  </a:lnTo>
                  <a:lnTo>
                    <a:pt x="591" y="309"/>
                  </a:lnTo>
                  <a:lnTo>
                    <a:pt x="583" y="315"/>
                  </a:lnTo>
                  <a:lnTo>
                    <a:pt x="580" y="313"/>
                  </a:lnTo>
                  <a:lnTo>
                    <a:pt x="564" y="320"/>
                  </a:lnTo>
                  <a:lnTo>
                    <a:pt x="564" y="320"/>
                  </a:lnTo>
                  <a:lnTo>
                    <a:pt x="567" y="323"/>
                  </a:lnTo>
                  <a:lnTo>
                    <a:pt x="573" y="325"/>
                  </a:lnTo>
                  <a:lnTo>
                    <a:pt x="573" y="325"/>
                  </a:lnTo>
                  <a:lnTo>
                    <a:pt x="580" y="326"/>
                  </a:lnTo>
                  <a:lnTo>
                    <a:pt x="583" y="328"/>
                  </a:lnTo>
                  <a:lnTo>
                    <a:pt x="586" y="329"/>
                  </a:lnTo>
                  <a:lnTo>
                    <a:pt x="586" y="329"/>
                  </a:lnTo>
                  <a:lnTo>
                    <a:pt x="589" y="335"/>
                  </a:lnTo>
                  <a:lnTo>
                    <a:pt x="593" y="339"/>
                  </a:lnTo>
                  <a:lnTo>
                    <a:pt x="593" y="339"/>
                  </a:lnTo>
                  <a:lnTo>
                    <a:pt x="596" y="342"/>
                  </a:lnTo>
                  <a:lnTo>
                    <a:pt x="597" y="345"/>
                  </a:lnTo>
                  <a:lnTo>
                    <a:pt x="599" y="345"/>
                  </a:lnTo>
                  <a:lnTo>
                    <a:pt x="599" y="345"/>
                  </a:lnTo>
                  <a:lnTo>
                    <a:pt x="600" y="349"/>
                  </a:lnTo>
                  <a:lnTo>
                    <a:pt x="599" y="369"/>
                  </a:lnTo>
                  <a:lnTo>
                    <a:pt x="601" y="376"/>
                  </a:lnTo>
                  <a:lnTo>
                    <a:pt x="600" y="379"/>
                  </a:lnTo>
                  <a:lnTo>
                    <a:pt x="607" y="399"/>
                  </a:lnTo>
                  <a:lnTo>
                    <a:pt x="604" y="402"/>
                  </a:lnTo>
                  <a:lnTo>
                    <a:pt x="604" y="402"/>
                  </a:lnTo>
                  <a:lnTo>
                    <a:pt x="599" y="402"/>
                  </a:lnTo>
                  <a:lnTo>
                    <a:pt x="594" y="404"/>
                  </a:lnTo>
                  <a:lnTo>
                    <a:pt x="594" y="404"/>
                  </a:lnTo>
                  <a:lnTo>
                    <a:pt x="586" y="404"/>
                  </a:lnTo>
                  <a:lnTo>
                    <a:pt x="586" y="404"/>
                  </a:lnTo>
                  <a:lnTo>
                    <a:pt x="574" y="402"/>
                  </a:lnTo>
                  <a:lnTo>
                    <a:pt x="568" y="402"/>
                  </a:lnTo>
                  <a:lnTo>
                    <a:pt x="566" y="404"/>
                  </a:lnTo>
                  <a:lnTo>
                    <a:pt x="563" y="405"/>
                  </a:lnTo>
                  <a:lnTo>
                    <a:pt x="557" y="411"/>
                  </a:lnTo>
                  <a:lnTo>
                    <a:pt x="553" y="415"/>
                  </a:lnTo>
                  <a:lnTo>
                    <a:pt x="551" y="418"/>
                  </a:lnTo>
                  <a:lnTo>
                    <a:pt x="547" y="421"/>
                  </a:lnTo>
                  <a:lnTo>
                    <a:pt x="537" y="419"/>
                  </a:lnTo>
                  <a:lnTo>
                    <a:pt x="531" y="415"/>
                  </a:lnTo>
                  <a:lnTo>
                    <a:pt x="530" y="414"/>
                  </a:lnTo>
                  <a:lnTo>
                    <a:pt x="527" y="412"/>
                  </a:lnTo>
                  <a:lnTo>
                    <a:pt x="523" y="412"/>
                  </a:lnTo>
                  <a:lnTo>
                    <a:pt x="514" y="412"/>
                  </a:lnTo>
                  <a:lnTo>
                    <a:pt x="510" y="414"/>
                  </a:lnTo>
                  <a:lnTo>
                    <a:pt x="503" y="415"/>
                  </a:lnTo>
                  <a:lnTo>
                    <a:pt x="498" y="414"/>
                  </a:lnTo>
                  <a:lnTo>
                    <a:pt x="493" y="411"/>
                  </a:lnTo>
                  <a:lnTo>
                    <a:pt x="488" y="411"/>
                  </a:lnTo>
                  <a:lnTo>
                    <a:pt x="481" y="411"/>
                  </a:lnTo>
                  <a:lnTo>
                    <a:pt x="481" y="411"/>
                  </a:lnTo>
                  <a:lnTo>
                    <a:pt x="475" y="406"/>
                  </a:lnTo>
                  <a:lnTo>
                    <a:pt x="471" y="404"/>
                  </a:lnTo>
                  <a:lnTo>
                    <a:pt x="467" y="402"/>
                  </a:lnTo>
                  <a:lnTo>
                    <a:pt x="467" y="402"/>
                  </a:lnTo>
                  <a:lnTo>
                    <a:pt x="464" y="402"/>
                  </a:lnTo>
                  <a:lnTo>
                    <a:pt x="462" y="404"/>
                  </a:lnTo>
                  <a:lnTo>
                    <a:pt x="464" y="406"/>
                  </a:lnTo>
                  <a:lnTo>
                    <a:pt x="464" y="406"/>
                  </a:lnTo>
                  <a:lnTo>
                    <a:pt x="464" y="409"/>
                  </a:lnTo>
                  <a:lnTo>
                    <a:pt x="462" y="412"/>
                  </a:lnTo>
                  <a:lnTo>
                    <a:pt x="462" y="412"/>
                  </a:lnTo>
                  <a:lnTo>
                    <a:pt x="462" y="415"/>
                  </a:lnTo>
                  <a:lnTo>
                    <a:pt x="462" y="418"/>
                  </a:lnTo>
                  <a:lnTo>
                    <a:pt x="462" y="418"/>
                  </a:lnTo>
                  <a:lnTo>
                    <a:pt x="464" y="421"/>
                  </a:lnTo>
                  <a:lnTo>
                    <a:pt x="465" y="422"/>
                  </a:lnTo>
                  <a:lnTo>
                    <a:pt x="467" y="422"/>
                  </a:lnTo>
                  <a:lnTo>
                    <a:pt x="467" y="422"/>
                  </a:lnTo>
                  <a:lnTo>
                    <a:pt x="471" y="431"/>
                  </a:lnTo>
                  <a:lnTo>
                    <a:pt x="471" y="431"/>
                  </a:lnTo>
                  <a:lnTo>
                    <a:pt x="473" y="438"/>
                  </a:lnTo>
                  <a:lnTo>
                    <a:pt x="471" y="444"/>
                  </a:lnTo>
                  <a:lnTo>
                    <a:pt x="471" y="444"/>
                  </a:lnTo>
                  <a:lnTo>
                    <a:pt x="468" y="448"/>
                  </a:lnTo>
                  <a:lnTo>
                    <a:pt x="468" y="448"/>
                  </a:lnTo>
                  <a:lnTo>
                    <a:pt x="470" y="454"/>
                  </a:lnTo>
                  <a:lnTo>
                    <a:pt x="471" y="458"/>
                  </a:lnTo>
                  <a:lnTo>
                    <a:pt x="471" y="458"/>
                  </a:lnTo>
                  <a:lnTo>
                    <a:pt x="473" y="458"/>
                  </a:lnTo>
                  <a:lnTo>
                    <a:pt x="475" y="457"/>
                  </a:lnTo>
                  <a:lnTo>
                    <a:pt x="478" y="455"/>
                  </a:lnTo>
                  <a:lnTo>
                    <a:pt x="478" y="455"/>
                  </a:lnTo>
                  <a:lnTo>
                    <a:pt x="481" y="457"/>
                  </a:lnTo>
                  <a:lnTo>
                    <a:pt x="481" y="459"/>
                  </a:lnTo>
                  <a:lnTo>
                    <a:pt x="481" y="459"/>
                  </a:lnTo>
                  <a:lnTo>
                    <a:pt x="480" y="462"/>
                  </a:lnTo>
                  <a:lnTo>
                    <a:pt x="478" y="464"/>
                  </a:lnTo>
                  <a:lnTo>
                    <a:pt x="473" y="467"/>
                  </a:lnTo>
                  <a:lnTo>
                    <a:pt x="464" y="468"/>
                  </a:lnTo>
                  <a:lnTo>
                    <a:pt x="458" y="471"/>
                  </a:lnTo>
                  <a:lnTo>
                    <a:pt x="457" y="477"/>
                  </a:lnTo>
                  <a:lnTo>
                    <a:pt x="460" y="479"/>
                  </a:lnTo>
                  <a:lnTo>
                    <a:pt x="457" y="482"/>
                  </a:lnTo>
                  <a:lnTo>
                    <a:pt x="454" y="484"/>
                  </a:lnTo>
                  <a:lnTo>
                    <a:pt x="447" y="488"/>
                  </a:lnTo>
                  <a:lnTo>
                    <a:pt x="441" y="489"/>
                  </a:lnTo>
                  <a:lnTo>
                    <a:pt x="431" y="491"/>
                  </a:lnTo>
                  <a:lnTo>
                    <a:pt x="418" y="497"/>
                  </a:lnTo>
                  <a:lnTo>
                    <a:pt x="409" y="504"/>
                  </a:lnTo>
                  <a:lnTo>
                    <a:pt x="407" y="512"/>
                  </a:lnTo>
                  <a:lnTo>
                    <a:pt x="391" y="534"/>
                  </a:lnTo>
                  <a:lnTo>
                    <a:pt x="372" y="557"/>
                  </a:lnTo>
                  <a:lnTo>
                    <a:pt x="359" y="561"/>
                  </a:lnTo>
                  <a:lnTo>
                    <a:pt x="358" y="557"/>
                  </a:lnTo>
                  <a:lnTo>
                    <a:pt x="358" y="551"/>
                  </a:lnTo>
                  <a:lnTo>
                    <a:pt x="358" y="544"/>
                  </a:lnTo>
                  <a:lnTo>
                    <a:pt x="359" y="541"/>
                  </a:lnTo>
                  <a:lnTo>
                    <a:pt x="361" y="534"/>
                  </a:lnTo>
                  <a:lnTo>
                    <a:pt x="359" y="532"/>
                  </a:lnTo>
                  <a:lnTo>
                    <a:pt x="354" y="530"/>
                  </a:lnTo>
                  <a:lnTo>
                    <a:pt x="349" y="531"/>
                  </a:lnTo>
                  <a:lnTo>
                    <a:pt x="345" y="525"/>
                  </a:lnTo>
                  <a:lnTo>
                    <a:pt x="349" y="522"/>
                  </a:lnTo>
                  <a:lnTo>
                    <a:pt x="355" y="520"/>
                  </a:lnTo>
                  <a:lnTo>
                    <a:pt x="354" y="517"/>
                  </a:lnTo>
                  <a:lnTo>
                    <a:pt x="352" y="512"/>
                  </a:lnTo>
                  <a:lnTo>
                    <a:pt x="354" y="507"/>
                  </a:lnTo>
                  <a:lnTo>
                    <a:pt x="356" y="504"/>
                  </a:lnTo>
                  <a:lnTo>
                    <a:pt x="361" y="502"/>
                  </a:lnTo>
                  <a:lnTo>
                    <a:pt x="362" y="504"/>
                  </a:lnTo>
                  <a:lnTo>
                    <a:pt x="368" y="507"/>
                  </a:lnTo>
                  <a:lnTo>
                    <a:pt x="374" y="507"/>
                  </a:lnTo>
                  <a:lnTo>
                    <a:pt x="377" y="507"/>
                  </a:lnTo>
                  <a:lnTo>
                    <a:pt x="379" y="505"/>
                  </a:lnTo>
                  <a:lnTo>
                    <a:pt x="381" y="501"/>
                  </a:lnTo>
                  <a:lnTo>
                    <a:pt x="382" y="498"/>
                  </a:lnTo>
                  <a:lnTo>
                    <a:pt x="382" y="494"/>
                  </a:lnTo>
                  <a:lnTo>
                    <a:pt x="381" y="491"/>
                  </a:lnTo>
                  <a:lnTo>
                    <a:pt x="377" y="489"/>
                  </a:lnTo>
                  <a:lnTo>
                    <a:pt x="374" y="488"/>
                  </a:lnTo>
                  <a:lnTo>
                    <a:pt x="369" y="489"/>
                  </a:lnTo>
                  <a:lnTo>
                    <a:pt x="367" y="492"/>
                  </a:lnTo>
                  <a:lnTo>
                    <a:pt x="362" y="492"/>
                  </a:lnTo>
                  <a:lnTo>
                    <a:pt x="356" y="494"/>
                  </a:lnTo>
                  <a:lnTo>
                    <a:pt x="351" y="492"/>
                  </a:lnTo>
                  <a:lnTo>
                    <a:pt x="349" y="477"/>
                  </a:lnTo>
                  <a:lnTo>
                    <a:pt x="358" y="471"/>
                  </a:lnTo>
                  <a:lnTo>
                    <a:pt x="351" y="465"/>
                  </a:lnTo>
                  <a:lnTo>
                    <a:pt x="346" y="464"/>
                  </a:lnTo>
                  <a:lnTo>
                    <a:pt x="344" y="458"/>
                  </a:lnTo>
                  <a:lnTo>
                    <a:pt x="335" y="459"/>
                  </a:lnTo>
                  <a:lnTo>
                    <a:pt x="331" y="458"/>
                  </a:lnTo>
                  <a:lnTo>
                    <a:pt x="329" y="457"/>
                  </a:lnTo>
                  <a:lnTo>
                    <a:pt x="325" y="452"/>
                  </a:lnTo>
                  <a:lnTo>
                    <a:pt x="321" y="452"/>
                  </a:lnTo>
                  <a:lnTo>
                    <a:pt x="316" y="446"/>
                  </a:lnTo>
                  <a:lnTo>
                    <a:pt x="309" y="436"/>
                  </a:lnTo>
                  <a:lnTo>
                    <a:pt x="305" y="429"/>
                  </a:lnTo>
                  <a:lnTo>
                    <a:pt x="306" y="426"/>
                  </a:lnTo>
                  <a:lnTo>
                    <a:pt x="309" y="425"/>
                  </a:lnTo>
                  <a:lnTo>
                    <a:pt x="308" y="421"/>
                  </a:lnTo>
                  <a:lnTo>
                    <a:pt x="305" y="416"/>
                  </a:lnTo>
                  <a:lnTo>
                    <a:pt x="304" y="415"/>
                  </a:lnTo>
                  <a:lnTo>
                    <a:pt x="305" y="412"/>
                  </a:lnTo>
                  <a:lnTo>
                    <a:pt x="311" y="404"/>
                  </a:lnTo>
                  <a:lnTo>
                    <a:pt x="306" y="395"/>
                  </a:lnTo>
                  <a:lnTo>
                    <a:pt x="296" y="379"/>
                  </a:lnTo>
                  <a:lnTo>
                    <a:pt x="298" y="355"/>
                  </a:lnTo>
                  <a:lnTo>
                    <a:pt x="289" y="366"/>
                  </a:lnTo>
                  <a:lnTo>
                    <a:pt x="282" y="359"/>
                  </a:lnTo>
                  <a:lnTo>
                    <a:pt x="285" y="355"/>
                  </a:lnTo>
                  <a:lnTo>
                    <a:pt x="281" y="352"/>
                  </a:lnTo>
                  <a:lnTo>
                    <a:pt x="278" y="348"/>
                  </a:lnTo>
                  <a:lnTo>
                    <a:pt x="279" y="341"/>
                  </a:lnTo>
                  <a:lnTo>
                    <a:pt x="278" y="338"/>
                  </a:lnTo>
                  <a:lnTo>
                    <a:pt x="275" y="339"/>
                  </a:lnTo>
                  <a:lnTo>
                    <a:pt x="269" y="341"/>
                  </a:lnTo>
                  <a:lnTo>
                    <a:pt x="265" y="341"/>
                  </a:lnTo>
                  <a:lnTo>
                    <a:pt x="259" y="341"/>
                  </a:lnTo>
                  <a:lnTo>
                    <a:pt x="253" y="341"/>
                  </a:lnTo>
                  <a:lnTo>
                    <a:pt x="248" y="342"/>
                  </a:lnTo>
                  <a:lnTo>
                    <a:pt x="245" y="349"/>
                  </a:lnTo>
                  <a:lnTo>
                    <a:pt x="238" y="356"/>
                  </a:lnTo>
                  <a:lnTo>
                    <a:pt x="230" y="363"/>
                  </a:lnTo>
                  <a:lnTo>
                    <a:pt x="226" y="363"/>
                  </a:lnTo>
                  <a:lnTo>
                    <a:pt x="223" y="359"/>
                  </a:lnTo>
                  <a:lnTo>
                    <a:pt x="219" y="353"/>
                  </a:lnTo>
                  <a:lnTo>
                    <a:pt x="216" y="348"/>
                  </a:lnTo>
                  <a:lnTo>
                    <a:pt x="218" y="342"/>
                  </a:lnTo>
                  <a:lnTo>
                    <a:pt x="219" y="335"/>
                  </a:lnTo>
                  <a:lnTo>
                    <a:pt x="215" y="332"/>
                  </a:lnTo>
                  <a:lnTo>
                    <a:pt x="213" y="333"/>
                  </a:lnTo>
                  <a:lnTo>
                    <a:pt x="208" y="333"/>
                  </a:lnTo>
                  <a:lnTo>
                    <a:pt x="195" y="335"/>
                  </a:lnTo>
                  <a:lnTo>
                    <a:pt x="187" y="335"/>
                  </a:lnTo>
                  <a:lnTo>
                    <a:pt x="193" y="330"/>
                  </a:lnTo>
                  <a:lnTo>
                    <a:pt x="199" y="323"/>
                  </a:lnTo>
                  <a:lnTo>
                    <a:pt x="200" y="313"/>
                  </a:lnTo>
                  <a:lnTo>
                    <a:pt x="200" y="309"/>
                  </a:lnTo>
                  <a:lnTo>
                    <a:pt x="195" y="309"/>
                  </a:lnTo>
                  <a:lnTo>
                    <a:pt x="189" y="310"/>
                  </a:lnTo>
                  <a:lnTo>
                    <a:pt x="186" y="308"/>
                  </a:lnTo>
                  <a:lnTo>
                    <a:pt x="190" y="300"/>
                  </a:lnTo>
                  <a:lnTo>
                    <a:pt x="189" y="292"/>
                  </a:lnTo>
                  <a:lnTo>
                    <a:pt x="187" y="289"/>
                  </a:lnTo>
                  <a:lnTo>
                    <a:pt x="180" y="279"/>
                  </a:lnTo>
                  <a:lnTo>
                    <a:pt x="173" y="275"/>
                  </a:lnTo>
                  <a:lnTo>
                    <a:pt x="169" y="267"/>
                  </a:lnTo>
                  <a:lnTo>
                    <a:pt x="170" y="262"/>
                  </a:lnTo>
                  <a:lnTo>
                    <a:pt x="170" y="257"/>
                  </a:lnTo>
                  <a:lnTo>
                    <a:pt x="167" y="253"/>
                  </a:lnTo>
                  <a:lnTo>
                    <a:pt x="166" y="247"/>
                  </a:lnTo>
                  <a:lnTo>
                    <a:pt x="167" y="240"/>
                  </a:lnTo>
                  <a:lnTo>
                    <a:pt x="169" y="233"/>
                  </a:lnTo>
                  <a:lnTo>
                    <a:pt x="167" y="230"/>
                  </a:lnTo>
                  <a:lnTo>
                    <a:pt x="169" y="225"/>
                  </a:lnTo>
                  <a:lnTo>
                    <a:pt x="172" y="222"/>
                  </a:lnTo>
                  <a:lnTo>
                    <a:pt x="175" y="216"/>
                  </a:lnTo>
                  <a:lnTo>
                    <a:pt x="179" y="210"/>
                  </a:lnTo>
                  <a:lnTo>
                    <a:pt x="180" y="203"/>
                  </a:lnTo>
                  <a:lnTo>
                    <a:pt x="177" y="193"/>
                  </a:lnTo>
                  <a:lnTo>
                    <a:pt x="175" y="190"/>
                  </a:lnTo>
                  <a:lnTo>
                    <a:pt x="169" y="193"/>
                  </a:lnTo>
                  <a:lnTo>
                    <a:pt x="165" y="194"/>
                  </a:lnTo>
                  <a:lnTo>
                    <a:pt x="160" y="189"/>
                  </a:lnTo>
                  <a:lnTo>
                    <a:pt x="152" y="187"/>
                  </a:lnTo>
                  <a:lnTo>
                    <a:pt x="146" y="186"/>
                  </a:lnTo>
                  <a:lnTo>
                    <a:pt x="135" y="180"/>
                  </a:lnTo>
                  <a:lnTo>
                    <a:pt x="132" y="180"/>
                  </a:lnTo>
                  <a:lnTo>
                    <a:pt x="127" y="182"/>
                  </a:lnTo>
                  <a:lnTo>
                    <a:pt x="120" y="189"/>
                  </a:lnTo>
                  <a:lnTo>
                    <a:pt x="114" y="193"/>
                  </a:lnTo>
                  <a:lnTo>
                    <a:pt x="110" y="193"/>
                  </a:lnTo>
                  <a:lnTo>
                    <a:pt x="99" y="184"/>
                  </a:lnTo>
                  <a:lnTo>
                    <a:pt x="92" y="176"/>
                  </a:lnTo>
                  <a:lnTo>
                    <a:pt x="89" y="173"/>
                  </a:lnTo>
                  <a:lnTo>
                    <a:pt x="87" y="169"/>
                  </a:lnTo>
                  <a:lnTo>
                    <a:pt x="87" y="159"/>
                  </a:lnTo>
                  <a:lnTo>
                    <a:pt x="84" y="154"/>
                  </a:lnTo>
                  <a:lnTo>
                    <a:pt x="90" y="149"/>
                  </a:lnTo>
                  <a:lnTo>
                    <a:pt x="79" y="150"/>
                  </a:lnTo>
                  <a:lnTo>
                    <a:pt x="80" y="143"/>
                  </a:lnTo>
                  <a:lnTo>
                    <a:pt x="87" y="143"/>
                  </a:lnTo>
                  <a:lnTo>
                    <a:pt x="87" y="143"/>
                  </a:lnTo>
                  <a:lnTo>
                    <a:pt x="84" y="131"/>
                  </a:lnTo>
                  <a:lnTo>
                    <a:pt x="83" y="127"/>
                  </a:lnTo>
                  <a:lnTo>
                    <a:pt x="83" y="127"/>
                  </a:lnTo>
                  <a:lnTo>
                    <a:pt x="82" y="127"/>
                  </a:lnTo>
                  <a:lnTo>
                    <a:pt x="82" y="127"/>
                  </a:lnTo>
                  <a:lnTo>
                    <a:pt x="76" y="130"/>
                  </a:lnTo>
                  <a:lnTo>
                    <a:pt x="73" y="130"/>
                  </a:lnTo>
                  <a:lnTo>
                    <a:pt x="71" y="129"/>
                  </a:lnTo>
                  <a:lnTo>
                    <a:pt x="70" y="124"/>
                  </a:lnTo>
                  <a:lnTo>
                    <a:pt x="70" y="124"/>
                  </a:lnTo>
                  <a:lnTo>
                    <a:pt x="70" y="123"/>
                  </a:lnTo>
                  <a:lnTo>
                    <a:pt x="67" y="124"/>
                  </a:lnTo>
                  <a:lnTo>
                    <a:pt x="63" y="130"/>
                  </a:lnTo>
                  <a:lnTo>
                    <a:pt x="63" y="130"/>
                  </a:lnTo>
                  <a:lnTo>
                    <a:pt x="61" y="131"/>
                  </a:lnTo>
                  <a:lnTo>
                    <a:pt x="60" y="133"/>
                  </a:lnTo>
                  <a:lnTo>
                    <a:pt x="59" y="131"/>
                  </a:lnTo>
                  <a:lnTo>
                    <a:pt x="57" y="127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0"/>
                  </a:lnTo>
                  <a:lnTo>
                    <a:pt x="60" y="117"/>
                  </a:lnTo>
                  <a:lnTo>
                    <a:pt x="61" y="113"/>
                  </a:lnTo>
                  <a:lnTo>
                    <a:pt x="59" y="110"/>
                  </a:lnTo>
                  <a:lnTo>
                    <a:pt x="53" y="107"/>
                  </a:lnTo>
                  <a:lnTo>
                    <a:pt x="49" y="110"/>
                  </a:lnTo>
                  <a:lnTo>
                    <a:pt x="44" y="111"/>
                  </a:lnTo>
                  <a:lnTo>
                    <a:pt x="34" y="119"/>
                  </a:lnTo>
                  <a:lnTo>
                    <a:pt x="24" y="117"/>
                  </a:lnTo>
                  <a:lnTo>
                    <a:pt x="20" y="113"/>
                  </a:lnTo>
                  <a:lnTo>
                    <a:pt x="4" y="107"/>
                  </a:lnTo>
                  <a:lnTo>
                    <a:pt x="0" y="106"/>
                  </a:lnTo>
                  <a:lnTo>
                    <a:pt x="0" y="103"/>
                  </a:lnTo>
                  <a:lnTo>
                    <a:pt x="3" y="100"/>
                  </a:lnTo>
                  <a:lnTo>
                    <a:pt x="3" y="98"/>
                  </a:lnTo>
                  <a:lnTo>
                    <a:pt x="10" y="91"/>
                  </a:lnTo>
                  <a:lnTo>
                    <a:pt x="11" y="91"/>
                  </a:lnTo>
                  <a:lnTo>
                    <a:pt x="11" y="91"/>
                  </a:lnTo>
                  <a:lnTo>
                    <a:pt x="14" y="91"/>
                  </a:lnTo>
                  <a:lnTo>
                    <a:pt x="17" y="93"/>
                  </a:lnTo>
                  <a:lnTo>
                    <a:pt x="18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1" y="91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31" y="83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6" y="81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77"/>
                  </a:lnTo>
                  <a:lnTo>
                    <a:pt x="36" y="74"/>
                  </a:lnTo>
                  <a:lnTo>
                    <a:pt x="39" y="73"/>
                  </a:lnTo>
                  <a:lnTo>
                    <a:pt x="43" y="71"/>
                  </a:lnTo>
                  <a:lnTo>
                    <a:pt x="47" y="74"/>
                  </a:lnTo>
                  <a:lnTo>
                    <a:pt x="50" y="77"/>
                  </a:lnTo>
                  <a:lnTo>
                    <a:pt x="51" y="80"/>
                  </a:lnTo>
                  <a:lnTo>
                    <a:pt x="53" y="81"/>
                  </a:lnTo>
                  <a:lnTo>
                    <a:pt x="56" y="83"/>
                  </a:lnTo>
                  <a:lnTo>
                    <a:pt x="60" y="86"/>
                  </a:lnTo>
                  <a:lnTo>
                    <a:pt x="64" y="87"/>
                  </a:lnTo>
                  <a:lnTo>
                    <a:pt x="69" y="83"/>
                  </a:lnTo>
                  <a:lnTo>
                    <a:pt x="73" y="84"/>
                  </a:lnTo>
                  <a:lnTo>
                    <a:pt x="71" y="86"/>
                  </a:lnTo>
                  <a:lnTo>
                    <a:pt x="79" y="87"/>
                  </a:lnTo>
                  <a:lnTo>
                    <a:pt x="82" y="88"/>
                  </a:lnTo>
                  <a:lnTo>
                    <a:pt x="83" y="93"/>
                  </a:lnTo>
                  <a:lnTo>
                    <a:pt x="86" y="96"/>
                  </a:lnTo>
                  <a:lnTo>
                    <a:pt x="92" y="98"/>
                  </a:lnTo>
                  <a:lnTo>
                    <a:pt x="92" y="98"/>
                  </a:lnTo>
                  <a:lnTo>
                    <a:pt x="103" y="104"/>
                  </a:lnTo>
                  <a:lnTo>
                    <a:pt x="104" y="104"/>
                  </a:lnTo>
                  <a:lnTo>
                    <a:pt x="104" y="103"/>
                  </a:lnTo>
                  <a:lnTo>
                    <a:pt x="102" y="98"/>
                  </a:lnTo>
                  <a:lnTo>
                    <a:pt x="102" y="96"/>
                  </a:lnTo>
                  <a:lnTo>
                    <a:pt x="103" y="93"/>
                  </a:lnTo>
                  <a:lnTo>
                    <a:pt x="103" y="93"/>
                  </a:lnTo>
                  <a:lnTo>
                    <a:pt x="104" y="80"/>
                  </a:lnTo>
                  <a:lnTo>
                    <a:pt x="106" y="80"/>
                  </a:lnTo>
                  <a:lnTo>
                    <a:pt x="106" y="81"/>
                  </a:lnTo>
                  <a:lnTo>
                    <a:pt x="107" y="83"/>
                  </a:lnTo>
                  <a:lnTo>
                    <a:pt x="112" y="84"/>
                  </a:lnTo>
                  <a:lnTo>
                    <a:pt x="116" y="81"/>
                  </a:lnTo>
                  <a:lnTo>
                    <a:pt x="123" y="76"/>
                  </a:lnTo>
                  <a:lnTo>
                    <a:pt x="126" y="68"/>
                  </a:lnTo>
                  <a:lnTo>
                    <a:pt x="130" y="64"/>
                  </a:lnTo>
                  <a:lnTo>
                    <a:pt x="132" y="53"/>
                  </a:lnTo>
                  <a:lnTo>
                    <a:pt x="129" y="51"/>
                  </a:lnTo>
                  <a:lnTo>
                    <a:pt x="126" y="56"/>
                  </a:lnTo>
                  <a:lnTo>
                    <a:pt x="123" y="58"/>
                  </a:lnTo>
                  <a:lnTo>
                    <a:pt x="119" y="54"/>
                  </a:lnTo>
                  <a:lnTo>
                    <a:pt x="120" y="50"/>
                  </a:lnTo>
                  <a:lnTo>
                    <a:pt x="116" y="50"/>
                  </a:lnTo>
                  <a:lnTo>
                    <a:pt x="112" y="51"/>
                  </a:lnTo>
                  <a:lnTo>
                    <a:pt x="107" y="48"/>
                  </a:lnTo>
                  <a:lnTo>
                    <a:pt x="106" y="44"/>
                  </a:lnTo>
                  <a:lnTo>
                    <a:pt x="110" y="43"/>
                  </a:lnTo>
                  <a:lnTo>
                    <a:pt x="114" y="41"/>
                  </a:lnTo>
                  <a:lnTo>
                    <a:pt x="117" y="37"/>
                  </a:lnTo>
                  <a:lnTo>
                    <a:pt x="119" y="33"/>
                  </a:lnTo>
                  <a:lnTo>
                    <a:pt x="120" y="30"/>
                  </a:lnTo>
                  <a:lnTo>
                    <a:pt x="123" y="33"/>
                  </a:lnTo>
                  <a:lnTo>
                    <a:pt x="124" y="37"/>
                  </a:lnTo>
                  <a:lnTo>
                    <a:pt x="126" y="40"/>
                  </a:lnTo>
                  <a:lnTo>
                    <a:pt x="127" y="43"/>
                  </a:lnTo>
                  <a:lnTo>
                    <a:pt x="129" y="44"/>
                  </a:lnTo>
                  <a:lnTo>
                    <a:pt x="132" y="43"/>
                  </a:lnTo>
                  <a:lnTo>
                    <a:pt x="137" y="40"/>
                  </a:lnTo>
                  <a:lnTo>
                    <a:pt x="145" y="35"/>
                  </a:lnTo>
                  <a:lnTo>
                    <a:pt x="150" y="34"/>
                  </a:lnTo>
                  <a:lnTo>
                    <a:pt x="155" y="33"/>
                  </a:lnTo>
                  <a:lnTo>
                    <a:pt x="160" y="35"/>
                  </a:lnTo>
                  <a:lnTo>
                    <a:pt x="166" y="35"/>
                  </a:lnTo>
                  <a:lnTo>
                    <a:pt x="173" y="40"/>
                  </a:lnTo>
                  <a:lnTo>
                    <a:pt x="175" y="38"/>
                  </a:lnTo>
                  <a:lnTo>
                    <a:pt x="176" y="34"/>
                  </a:lnTo>
                  <a:lnTo>
                    <a:pt x="176" y="28"/>
                  </a:lnTo>
                  <a:lnTo>
                    <a:pt x="177" y="24"/>
                  </a:lnTo>
                  <a:lnTo>
                    <a:pt x="177" y="21"/>
                  </a:lnTo>
                  <a:lnTo>
                    <a:pt x="177" y="18"/>
                  </a:lnTo>
                  <a:lnTo>
                    <a:pt x="180" y="18"/>
                  </a:lnTo>
                  <a:lnTo>
                    <a:pt x="185" y="20"/>
                  </a:lnTo>
                  <a:lnTo>
                    <a:pt x="187" y="21"/>
                  </a:lnTo>
                  <a:lnTo>
                    <a:pt x="195" y="20"/>
                  </a:lnTo>
                  <a:lnTo>
                    <a:pt x="200" y="23"/>
                  </a:lnTo>
                  <a:lnTo>
                    <a:pt x="205" y="24"/>
                  </a:lnTo>
                  <a:lnTo>
                    <a:pt x="219" y="23"/>
                  </a:lnTo>
                  <a:lnTo>
                    <a:pt x="220" y="21"/>
                  </a:lnTo>
                  <a:lnTo>
                    <a:pt x="222" y="20"/>
                  </a:lnTo>
                  <a:lnTo>
                    <a:pt x="229" y="18"/>
                  </a:lnTo>
                  <a:lnTo>
                    <a:pt x="232" y="14"/>
                  </a:lnTo>
                  <a:lnTo>
                    <a:pt x="233" y="13"/>
                  </a:lnTo>
                  <a:lnTo>
                    <a:pt x="239" y="13"/>
                  </a:lnTo>
                  <a:lnTo>
                    <a:pt x="242" y="14"/>
                  </a:lnTo>
                  <a:lnTo>
                    <a:pt x="248" y="18"/>
                  </a:lnTo>
                  <a:lnTo>
                    <a:pt x="251" y="20"/>
                  </a:lnTo>
                  <a:lnTo>
                    <a:pt x="252" y="18"/>
                  </a:lnTo>
                  <a:lnTo>
                    <a:pt x="258" y="14"/>
                  </a:lnTo>
                  <a:lnTo>
                    <a:pt x="259" y="13"/>
                  </a:lnTo>
                  <a:lnTo>
                    <a:pt x="263" y="13"/>
                  </a:lnTo>
                  <a:lnTo>
                    <a:pt x="265" y="14"/>
                  </a:lnTo>
                  <a:lnTo>
                    <a:pt x="265" y="20"/>
                  </a:lnTo>
                  <a:lnTo>
                    <a:pt x="265" y="23"/>
                  </a:lnTo>
                  <a:lnTo>
                    <a:pt x="266" y="23"/>
                  </a:lnTo>
                  <a:lnTo>
                    <a:pt x="271" y="24"/>
                  </a:lnTo>
                  <a:lnTo>
                    <a:pt x="272" y="23"/>
                  </a:lnTo>
                  <a:lnTo>
                    <a:pt x="276" y="17"/>
                  </a:lnTo>
                  <a:lnTo>
                    <a:pt x="278" y="17"/>
                  </a:lnTo>
                  <a:lnTo>
                    <a:pt x="283" y="18"/>
                  </a:lnTo>
                  <a:lnTo>
                    <a:pt x="289" y="18"/>
                  </a:lnTo>
                  <a:lnTo>
                    <a:pt x="298" y="23"/>
                  </a:lnTo>
                  <a:lnTo>
                    <a:pt x="299" y="24"/>
                  </a:lnTo>
                  <a:lnTo>
                    <a:pt x="301" y="24"/>
                  </a:lnTo>
                  <a:lnTo>
                    <a:pt x="304" y="23"/>
                  </a:lnTo>
                  <a:lnTo>
                    <a:pt x="302" y="18"/>
                  </a:lnTo>
                  <a:lnTo>
                    <a:pt x="298" y="13"/>
                  </a:lnTo>
                  <a:lnTo>
                    <a:pt x="298" y="8"/>
                  </a:lnTo>
                  <a:lnTo>
                    <a:pt x="298" y="7"/>
                  </a:lnTo>
                  <a:lnTo>
                    <a:pt x="301" y="7"/>
                  </a:lnTo>
                  <a:lnTo>
                    <a:pt x="304" y="7"/>
                  </a:lnTo>
                  <a:lnTo>
                    <a:pt x="308" y="8"/>
                  </a:lnTo>
                  <a:lnTo>
                    <a:pt x="312" y="5"/>
                  </a:lnTo>
                  <a:lnTo>
                    <a:pt x="316" y="3"/>
                  </a:lnTo>
                  <a:lnTo>
                    <a:pt x="321" y="0"/>
                  </a:lnTo>
                  <a:lnTo>
                    <a:pt x="328" y="0"/>
                  </a:lnTo>
                  <a:lnTo>
                    <a:pt x="329" y="1"/>
                  </a:lnTo>
                  <a:lnTo>
                    <a:pt x="326" y="4"/>
                  </a:lnTo>
                  <a:lnTo>
                    <a:pt x="325" y="7"/>
                  </a:lnTo>
                  <a:lnTo>
                    <a:pt x="329" y="7"/>
                  </a:lnTo>
                  <a:lnTo>
                    <a:pt x="332" y="5"/>
                  </a:lnTo>
                  <a:lnTo>
                    <a:pt x="335" y="7"/>
                  </a:lnTo>
                  <a:lnTo>
                    <a:pt x="336" y="13"/>
                  </a:lnTo>
                  <a:lnTo>
                    <a:pt x="335" y="17"/>
                  </a:lnTo>
                  <a:lnTo>
                    <a:pt x="335" y="18"/>
                  </a:lnTo>
                  <a:lnTo>
                    <a:pt x="339" y="18"/>
                  </a:lnTo>
                  <a:lnTo>
                    <a:pt x="342" y="17"/>
                  </a:lnTo>
                  <a:lnTo>
                    <a:pt x="345" y="20"/>
                  </a:lnTo>
                  <a:lnTo>
                    <a:pt x="346" y="20"/>
                  </a:lnTo>
                  <a:lnTo>
                    <a:pt x="349" y="18"/>
                  </a:lnTo>
                  <a:lnTo>
                    <a:pt x="351" y="15"/>
                  </a:lnTo>
                  <a:lnTo>
                    <a:pt x="355" y="13"/>
                  </a:lnTo>
                  <a:lnTo>
                    <a:pt x="359" y="13"/>
                  </a:lnTo>
                  <a:lnTo>
                    <a:pt x="359" y="17"/>
                  </a:lnTo>
                  <a:lnTo>
                    <a:pt x="358" y="21"/>
                  </a:lnTo>
                  <a:lnTo>
                    <a:pt x="359" y="23"/>
                  </a:lnTo>
                  <a:lnTo>
                    <a:pt x="364" y="23"/>
                  </a:lnTo>
                  <a:lnTo>
                    <a:pt x="368" y="20"/>
                  </a:lnTo>
                  <a:lnTo>
                    <a:pt x="375" y="18"/>
                  </a:lnTo>
                  <a:lnTo>
                    <a:pt x="382" y="21"/>
                  </a:lnTo>
                  <a:lnTo>
                    <a:pt x="385" y="24"/>
                  </a:lnTo>
                  <a:lnTo>
                    <a:pt x="388" y="25"/>
                  </a:lnTo>
                  <a:lnTo>
                    <a:pt x="389" y="27"/>
                  </a:lnTo>
                  <a:lnTo>
                    <a:pt x="388" y="28"/>
                  </a:lnTo>
                  <a:lnTo>
                    <a:pt x="384" y="30"/>
                  </a:lnTo>
                  <a:lnTo>
                    <a:pt x="381" y="33"/>
                  </a:lnTo>
                  <a:lnTo>
                    <a:pt x="384" y="38"/>
                  </a:lnTo>
                  <a:lnTo>
                    <a:pt x="384" y="43"/>
                  </a:lnTo>
                  <a:lnTo>
                    <a:pt x="384" y="48"/>
                  </a:lnTo>
                  <a:lnTo>
                    <a:pt x="385" y="51"/>
                  </a:lnTo>
                  <a:lnTo>
                    <a:pt x="388" y="54"/>
                  </a:lnTo>
                  <a:lnTo>
                    <a:pt x="391" y="51"/>
                  </a:lnTo>
                  <a:lnTo>
                    <a:pt x="394" y="50"/>
                  </a:lnTo>
                  <a:lnTo>
                    <a:pt x="397" y="45"/>
                  </a:lnTo>
                  <a:lnTo>
                    <a:pt x="399" y="45"/>
                  </a:lnTo>
                  <a:lnTo>
                    <a:pt x="401" y="48"/>
                  </a:lnTo>
                  <a:lnTo>
                    <a:pt x="401" y="51"/>
                  </a:lnTo>
                  <a:lnTo>
                    <a:pt x="399" y="54"/>
                  </a:lnTo>
                  <a:lnTo>
                    <a:pt x="404" y="53"/>
                  </a:lnTo>
                  <a:lnTo>
                    <a:pt x="407" y="50"/>
                  </a:lnTo>
                  <a:lnTo>
                    <a:pt x="411" y="51"/>
                  </a:lnTo>
                  <a:lnTo>
                    <a:pt x="417" y="51"/>
                  </a:lnTo>
                  <a:lnTo>
                    <a:pt x="421" y="51"/>
                  </a:lnTo>
                  <a:lnTo>
                    <a:pt x="422" y="48"/>
                  </a:lnTo>
                  <a:lnTo>
                    <a:pt x="421" y="45"/>
                  </a:lnTo>
                  <a:lnTo>
                    <a:pt x="420" y="41"/>
                  </a:lnTo>
                  <a:lnTo>
                    <a:pt x="417" y="40"/>
                  </a:lnTo>
                  <a:lnTo>
                    <a:pt x="417" y="35"/>
                  </a:lnTo>
                  <a:lnTo>
                    <a:pt x="420" y="31"/>
                  </a:lnTo>
                  <a:lnTo>
                    <a:pt x="424" y="34"/>
                  </a:lnTo>
                  <a:lnTo>
                    <a:pt x="425" y="38"/>
                  </a:lnTo>
                  <a:lnTo>
                    <a:pt x="427" y="40"/>
                  </a:lnTo>
                  <a:lnTo>
                    <a:pt x="431" y="41"/>
                  </a:lnTo>
                  <a:lnTo>
                    <a:pt x="431" y="47"/>
                  </a:lnTo>
                  <a:lnTo>
                    <a:pt x="432" y="50"/>
                  </a:lnTo>
                  <a:lnTo>
                    <a:pt x="434" y="48"/>
                  </a:lnTo>
                  <a:lnTo>
                    <a:pt x="437" y="45"/>
                  </a:lnTo>
                  <a:lnTo>
                    <a:pt x="437" y="38"/>
                  </a:lnTo>
                  <a:lnTo>
                    <a:pt x="441" y="43"/>
                  </a:lnTo>
                  <a:lnTo>
                    <a:pt x="440" y="48"/>
                  </a:lnTo>
                  <a:lnTo>
                    <a:pt x="438" y="50"/>
                  </a:lnTo>
                  <a:lnTo>
                    <a:pt x="438" y="60"/>
                  </a:lnTo>
                  <a:lnTo>
                    <a:pt x="438" y="68"/>
                  </a:lnTo>
                  <a:lnTo>
                    <a:pt x="438" y="76"/>
                  </a:lnTo>
                  <a:lnTo>
                    <a:pt x="437" y="80"/>
                  </a:lnTo>
                  <a:lnTo>
                    <a:pt x="434" y="83"/>
                  </a:lnTo>
                  <a:lnTo>
                    <a:pt x="428" y="83"/>
                  </a:lnTo>
                  <a:lnTo>
                    <a:pt x="428" y="87"/>
                  </a:lnTo>
                  <a:lnTo>
                    <a:pt x="430" y="93"/>
                  </a:lnTo>
                  <a:lnTo>
                    <a:pt x="430" y="97"/>
                  </a:lnTo>
                  <a:lnTo>
                    <a:pt x="428" y="98"/>
                  </a:lnTo>
                  <a:lnTo>
                    <a:pt x="424" y="100"/>
                  </a:lnTo>
                  <a:lnTo>
                    <a:pt x="425" y="104"/>
                  </a:lnTo>
                  <a:lnTo>
                    <a:pt x="430" y="110"/>
                  </a:lnTo>
                  <a:lnTo>
                    <a:pt x="431" y="116"/>
                  </a:lnTo>
                  <a:lnTo>
                    <a:pt x="434" y="119"/>
                  </a:lnTo>
                  <a:lnTo>
                    <a:pt x="437" y="116"/>
                  </a:lnTo>
                  <a:lnTo>
                    <a:pt x="440" y="108"/>
                  </a:lnTo>
                  <a:lnTo>
                    <a:pt x="441" y="101"/>
                  </a:lnTo>
                  <a:lnTo>
                    <a:pt x="444" y="100"/>
                  </a:lnTo>
                  <a:lnTo>
                    <a:pt x="445" y="106"/>
                  </a:lnTo>
                  <a:lnTo>
                    <a:pt x="444" y="117"/>
                  </a:lnTo>
                  <a:lnTo>
                    <a:pt x="442" y="120"/>
                  </a:lnTo>
                  <a:lnTo>
                    <a:pt x="435" y="126"/>
                  </a:lnTo>
                  <a:lnTo>
                    <a:pt x="427" y="127"/>
                  </a:lnTo>
                  <a:lnTo>
                    <a:pt x="425" y="131"/>
                  </a:lnTo>
                  <a:lnTo>
                    <a:pt x="432" y="139"/>
                  </a:lnTo>
                  <a:lnTo>
                    <a:pt x="437" y="156"/>
                  </a:lnTo>
                  <a:lnTo>
                    <a:pt x="441" y="167"/>
                  </a:lnTo>
                  <a:lnTo>
                    <a:pt x="441" y="176"/>
                  </a:lnTo>
                  <a:lnTo>
                    <a:pt x="455" y="17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95" name="Freeform 143"/>
            <p:cNvSpPr>
              <a:spLocks/>
            </p:cNvSpPr>
            <p:nvPr/>
          </p:nvSpPr>
          <p:spPr bwMode="auto">
            <a:xfrm>
              <a:off x="2701202" y="3542216"/>
              <a:ext cx="427400" cy="293685"/>
            </a:xfrm>
            <a:custGeom>
              <a:avLst/>
              <a:gdLst>
                <a:gd name="T0" fmla="*/ 401 w 701"/>
                <a:gd name="T1" fmla="*/ 0 h 442"/>
                <a:gd name="T2" fmla="*/ 414 w 701"/>
                <a:gd name="T3" fmla="*/ 18 h 442"/>
                <a:gd name="T4" fmla="*/ 427 w 701"/>
                <a:gd name="T5" fmla="*/ 51 h 442"/>
                <a:gd name="T6" fmla="*/ 471 w 701"/>
                <a:gd name="T7" fmla="*/ 61 h 442"/>
                <a:gd name="T8" fmla="*/ 513 w 701"/>
                <a:gd name="T9" fmla="*/ 61 h 442"/>
                <a:gd name="T10" fmla="*/ 554 w 701"/>
                <a:gd name="T11" fmla="*/ 41 h 442"/>
                <a:gd name="T12" fmla="*/ 572 w 701"/>
                <a:gd name="T13" fmla="*/ 96 h 442"/>
                <a:gd name="T14" fmla="*/ 635 w 701"/>
                <a:gd name="T15" fmla="*/ 132 h 442"/>
                <a:gd name="T16" fmla="*/ 645 w 701"/>
                <a:gd name="T17" fmla="*/ 149 h 442"/>
                <a:gd name="T18" fmla="*/ 690 w 701"/>
                <a:gd name="T19" fmla="*/ 199 h 442"/>
                <a:gd name="T20" fmla="*/ 693 w 701"/>
                <a:gd name="T21" fmla="*/ 210 h 442"/>
                <a:gd name="T22" fmla="*/ 696 w 701"/>
                <a:gd name="T23" fmla="*/ 233 h 442"/>
                <a:gd name="T24" fmla="*/ 659 w 701"/>
                <a:gd name="T25" fmla="*/ 249 h 442"/>
                <a:gd name="T26" fmla="*/ 635 w 701"/>
                <a:gd name="T27" fmla="*/ 259 h 442"/>
                <a:gd name="T28" fmla="*/ 625 w 701"/>
                <a:gd name="T29" fmla="*/ 246 h 442"/>
                <a:gd name="T30" fmla="*/ 602 w 701"/>
                <a:gd name="T31" fmla="*/ 219 h 442"/>
                <a:gd name="T32" fmla="*/ 576 w 701"/>
                <a:gd name="T33" fmla="*/ 228 h 442"/>
                <a:gd name="T34" fmla="*/ 569 w 701"/>
                <a:gd name="T35" fmla="*/ 240 h 442"/>
                <a:gd name="T36" fmla="*/ 549 w 701"/>
                <a:gd name="T37" fmla="*/ 260 h 442"/>
                <a:gd name="T38" fmla="*/ 527 w 701"/>
                <a:gd name="T39" fmla="*/ 278 h 442"/>
                <a:gd name="T40" fmla="*/ 510 w 701"/>
                <a:gd name="T41" fmla="*/ 258 h 442"/>
                <a:gd name="T42" fmla="*/ 471 w 701"/>
                <a:gd name="T43" fmla="*/ 240 h 442"/>
                <a:gd name="T44" fmla="*/ 438 w 701"/>
                <a:gd name="T45" fmla="*/ 253 h 442"/>
                <a:gd name="T46" fmla="*/ 407 w 701"/>
                <a:gd name="T47" fmla="*/ 258 h 442"/>
                <a:gd name="T48" fmla="*/ 408 w 701"/>
                <a:gd name="T49" fmla="*/ 291 h 442"/>
                <a:gd name="T50" fmla="*/ 394 w 701"/>
                <a:gd name="T51" fmla="*/ 322 h 442"/>
                <a:gd name="T52" fmla="*/ 367 w 701"/>
                <a:gd name="T53" fmla="*/ 349 h 442"/>
                <a:gd name="T54" fmla="*/ 317 w 701"/>
                <a:gd name="T55" fmla="*/ 377 h 442"/>
                <a:gd name="T56" fmla="*/ 325 w 701"/>
                <a:gd name="T57" fmla="*/ 402 h 442"/>
                <a:gd name="T58" fmla="*/ 325 w 701"/>
                <a:gd name="T59" fmla="*/ 425 h 442"/>
                <a:gd name="T60" fmla="*/ 315 w 701"/>
                <a:gd name="T61" fmla="*/ 422 h 442"/>
                <a:gd name="T62" fmla="*/ 302 w 701"/>
                <a:gd name="T63" fmla="*/ 424 h 442"/>
                <a:gd name="T64" fmla="*/ 271 w 701"/>
                <a:gd name="T65" fmla="*/ 432 h 442"/>
                <a:gd name="T66" fmla="*/ 241 w 701"/>
                <a:gd name="T67" fmla="*/ 402 h 442"/>
                <a:gd name="T68" fmla="*/ 195 w 701"/>
                <a:gd name="T69" fmla="*/ 418 h 442"/>
                <a:gd name="T70" fmla="*/ 156 w 701"/>
                <a:gd name="T71" fmla="*/ 412 h 442"/>
                <a:gd name="T72" fmla="*/ 126 w 701"/>
                <a:gd name="T73" fmla="*/ 435 h 442"/>
                <a:gd name="T74" fmla="*/ 98 w 701"/>
                <a:gd name="T75" fmla="*/ 411 h 442"/>
                <a:gd name="T76" fmla="*/ 96 w 701"/>
                <a:gd name="T77" fmla="*/ 399 h 442"/>
                <a:gd name="T78" fmla="*/ 89 w 701"/>
                <a:gd name="T79" fmla="*/ 354 h 442"/>
                <a:gd name="T80" fmla="*/ 95 w 701"/>
                <a:gd name="T81" fmla="*/ 329 h 442"/>
                <a:gd name="T82" fmla="*/ 75 w 701"/>
                <a:gd name="T83" fmla="*/ 281 h 442"/>
                <a:gd name="T84" fmla="*/ 46 w 701"/>
                <a:gd name="T85" fmla="*/ 266 h 442"/>
                <a:gd name="T86" fmla="*/ 23 w 701"/>
                <a:gd name="T87" fmla="*/ 239 h 442"/>
                <a:gd name="T88" fmla="*/ 10 w 701"/>
                <a:gd name="T89" fmla="*/ 225 h 442"/>
                <a:gd name="T90" fmla="*/ 25 w 701"/>
                <a:gd name="T91" fmla="*/ 213 h 442"/>
                <a:gd name="T92" fmla="*/ 26 w 701"/>
                <a:gd name="T93" fmla="*/ 206 h 442"/>
                <a:gd name="T94" fmla="*/ 33 w 701"/>
                <a:gd name="T95" fmla="*/ 199 h 442"/>
                <a:gd name="T96" fmla="*/ 4 w 701"/>
                <a:gd name="T97" fmla="*/ 165 h 442"/>
                <a:gd name="T98" fmla="*/ 3 w 701"/>
                <a:gd name="T99" fmla="*/ 144 h 442"/>
                <a:gd name="T100" fmla="*/ 42 w 701"/>
                <a:gd name="T101" fmla="*/ 130 h 442"/>
                <a:gd name="T102" fmla="*/ 59 w 701"/>
                <a:gd name="T103" fmla="*/ 130 h 442"/>
                <a:gd name="T104" fmla="*/ 85 w 701"/>
                <a:gd name="T105" fmla="*/ 114 h 442"/>
                <a:gd name="T106" fmla="*/ 116 w 701"/>
                <a:gd name="T107" fmla="*/ 106 h 442"/>
                <a:gd name="T108" fmla="*/ 158 w 701"/>
                <a:gd name="T109" fmla="*/ 107 h 442"/>
                <a:gd name="T110" fmla="*/ 183 w 701"/>
                <a:gd name="T111" fmla="*/ 109 h 442"/>
                <a:gd name="T112" fmla="*/ 225 w 701"/>
                <a:gd name="T113" fmla="*/ 64 h 442"/>
                <a:gd name="T114" fmla="*/ 257 w 701"/>
                <a:gd name="T115" fmla="*/ 63 h 442"/>
                <a:gd name="T116" fmla="*/ 268 w 701"/>
                <a:gd name="T117" fmla="*/ 43 h 442"/>
                <a:gd name="T118" fmla="*/ 314 w 701"/>
                <a:gd name="T119" fmla="*/ 57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01" h="442">
                  <a:moveTo>
                    <a:pt x="377" y="7"/>
                  </a:moveTo>
                  <a:lnTo>
                    <a:pt x="381" y="7"/>
                  </a:lnTo>
                  <a:lnTo>
                    <a:pt x="387" y="4"/>
                  </a:lnTo>
                  <a:lnTo>
                    <a:pt x="391" y="1"/>
                  </a:lnTo>
                  <a:lnTo>
                    <a:pt x="391" y="1"/>
                  </a:lnTo>
                  <a:lnTo>
                    <a:pt x="393" y="0"/>
                  </a:lnTo>
                  <a:lnTo>
                    <a:pt x="395" y="0"/>
                  </a:lnTo>
                  <a:lnTo>
                    <a:pt x="401" y="0"/>
                  </a:lnTo>
                  <a:lnTo>
                    <a:pt x="401" y="0"/>
                  </a:lnTo>
                  <a:lnTo>
                    <a:pt x="410" y="1"/>
                  </a:lnTo>
                  <a:lnTo>
                    <a:pt x="410" y="1"/>
                  </a:lnTo>
                  <a:lnTo>
                    <a:pt x="416" y="3"/>
                  </a:lnTo>
                  <a:lnTo>
                    <a:pt x="416" y="6"/>
                  </a:lnTo>
                  <a:lnTo>
                    <a:pt x="414" y="8"/>
                  </a:lnTo>
                  <a:lnTo>
                    <a:pt x="413" y="11"/>
                  </a:lnTo>
                  <a:lnTo>
                    <a:pt x="414" y="18"/>
                  </a:lnTo>
                  <a:lnTo>
                    <a:pt x="411" y="24"/>
                  </a:lnTo>
                  <a:lnTo>
                    <a:pt x="410" y="27"/>
                  </a:lnTo>
                  <a:lnTo>
                    <a:pt x="408" y="33"/>
                  </a:lnTo>
                  <a:lnTo>
                    <a:pt x="410" y="39"/>
                  </a:lnTo>
                  <a:lnTo>
                    <a:pt x="414" y="44"/>
                  </a:lnTo>
                  <a:lnTo>
                    <a:pt x="418" y="46"/>
                  </a:lnTo>
                  <a:lnTo>
                    <a:pt x="421" y="49"/>
                  </a:lnTo>
                  <a:lnTo>
                    <a:pt x="427" y="51"/>
                  </a:lnTo>
                  <a:lnTo>
                    <a:pt x="433" y="54"/>
                  </a:lnTo>
                  <a:lnTo>
                    <a:pt x="438" y="56"/>
                  </a:lnTo>
                  <a:lnTo>
                    <a:pt x="444" y="56"/>
                  </a:lnTo>
                  <a:lnTo>
                    <a:pt x="448" y="57"/>
                  </a:lnTo>
                  <a:lnTo>
                    <a:pt x="451" y="60"/>
                  </a:lnTo>
                  <a:lnTo>
                    <a:pt x="458" y="63"/>
                  </a:lnTo>
                  <a:lnTo>
                    <a:pt x="466" y="61"/>
                  </a:lnTo>
                  <a:lnTo>
                    <a:pt x="471" y="61"/>
                  </a:lnTo>
                  <a:lnTo>
                    <a:pt x="474" y="60"/>
                  </a:lnTo>
                  <a:lnTo>
                    <a:pt x="489" y="60"/>
                  </a:lnTo>
                  <a:lnTo>
                    <a:pt x="491" y="61"/>
                  </a:lnTo>
                  <a:lnTo>
                    <a:pt x="496" y="67"/>
                  </a:lnTo>
                  <a:lnTo>
                    <a:pt x="501" y="67"/>
                  </a:lnTo>
                  <a:lnTo>
                    <a:pt x="506" y="64"/>
                  </a:lnTo>
                  <a:lnTo>
                    <a:pt x="511" y="64"/>
                  </a:lnTo>
                  <a:lnTo>
                    <a:pt x="513" y="61"/>
                  </a:lnTo>
                  <a:lnTo>
                    <a:pt x="516" y="59"/>
                  </a:lnTo>
                  <a:lnTo>
                    <a:pt x="521" y="57"/>
                  </a:lnTo>
                  <a:lnTo>
                    <a:pt x="526" y="57"/>
                  </a:lnTo>
                  <a:lnTo>
                    <a:pt x="530" y="50"/>
                  </a:lnTo>
                  <a:lnTo>
                    <a:pt x="537" y="44"/>
                  </a:lnTo>
                  <a:lnTo>
                    <a:pt x="543" y="39"/>
                  </a:lnTo>
                  <a:lnTo>
                    <a:pt x="546" y="37"/>
                  </a:lnTo>
                  <a:lnTo>
                    <a:pt x="554" y="41"/>
                  </a:lnTo>
                  <a:lnTo>
                    <a:pt x="572" y="56"/>
                  </a:lnTo>
                  <a:lnTo>
                    <a:pt x="566" y="66"/>
                  </a:lnTo>
                  <a:lnTo>
                    <a:pt x="570" y="69"/>
                  </a:lnTo>
                  <a:lnTo>
                    <a:pt x="574" y="73"/>
                  </a:lnTo>
                  <a:lnTo>
                    <a:pt x="579" y="79"/>
                  </a:lnTo>
                  <a:lnTo>
                    <a:pt x="576" y="86"/>
                  </a:lnTo>
                  <a:lnTo>
                    <a:pt x="572" y="90"/>
                  </a:lnTo>
                  <a:lnTo>
                    <a:pt x="572" y="96"/>
                  </a:lnTo>
                  <a:lnTo>
                    <a:pt x="573" y="104"/>
                  </a:lnTo>
                  <a:lnTo>
                    <a:pt x="589" y="103"/>
                  </a:lnTo>
                  <a:lnTo>
                    <a:pt x="593" y="102"/>
                  </a:lnTo>
                  <a:lnTo>
                    <a:pt x="599" y="102"/>
                  </a:lnTo>
                  <a:lnTo>
                    <a:pt x="609" y="107"/>
                  </a:lnTo>
                  <a:lnTo>
                    <a:pt x="635" y="129"/>
                  </a:lnTo>
                  <a:lnTo>
                    <a:pt x="636" y="129"/>
                  </a:lnTo>
                  <a:lnTo>
                    <a:pt x="635" y="132"/>
                  </a:lnTo>
                  <a:lnTo>
                    <a:pt x="635" y="139"/>
                  </a:lnTo>
                  <a:lnTo>
                    <a:pt x="633" y="140"/>
                  </a:lnTo>
                  <a:lnTo>
                    <a:pt x="637" y="142"/>
                  </a:lnTo>
                  <a:lnTo>
                    <a:pt x="640" y="142"/>
                  </a:lnTo>
                  <a:lnTo>
                    <a:pt x="642" y="142"/>
                  </a:lnTo>
                  <a:lnTo>
                    <a:pt x="643" y="142"/>
                  </a:lnTo>
                  <a:lnTo>
                    <a:pt x="643" y="144"/>
                  </a:lnTo>
                  <a:lnTo>
                    <a:pt x="645" y="149"/>
                  </a:lnTo>
                  <a:lnTo>
                    <a:pt x="648" y="153"/>
                  </a:lnTo>
                  <a:lnTo>
                    <a:pt x="653" y="157"/>
                  </a:lnTo>
                  <a:lnTo>
                    <a:pt x="659" y="165"/>
                  </a:lnTo>
                  <a:lnTo>
                    <a:pt x="666" y="173"/>
                  </a:lnTo>
                  <a:lnTo>
                    <a:pt x="670" y="177"/>
                  </a:lnTo>
                  <a:lnTo>
                    <a:pt x="675" y="179"/>
                  </a:lnTo>
                  <a:lnTo>
                    <a:pt x="683" y="187"/>
                  </a:lnTo>
                  <a:lnTo>
                    <a:pt x="690" y="199"/>
                  </a:lnTo>
                  <a:lnTo>
                    <a:pt x="695" y="202"/>
                  </a:lnTo>
                  <a:lnTo>
                    <a:pt x="695" y="205"/>
                  </a:lnTo>
                  <a:lnTo>
                    <a:pt x="690" y="205"/>
                  </a:lnTo>
                  <a:lnTo>
                    <a:pt x="692" y="206"/>
                  </a:lnTo>
                  <a:lnTo>
                    <a:pt x="692" y="208"/>
                  </a:lnTo>
                  <a:lnTo>
                    <a:pt x="693" y="209"/>
                  </a:lnTo>
                  <a:lnTo>
                    <a:pt x="693" y="209"/>
                  </a:lnTo>
                  <a:lnTo>
                    <a:pt x="693" y="210"/>
                  </a:lnTo>
                  <a:lnTo>
                    <a:pt x="695" y="213"/>
                  </a:lnTo>
                  <a:lnTo>
                    <a:pt x="695" y="215"/>
                  </a:lnTo>
                  <a:lnTo>
                    <a:pt x="698" y="220"/>
                  </a:lnTo>
                  <a:lnTo>
                    <a:pt x="701" y="223"/>
                  </a:lnTo>
                  <a:lnTo>
                    <a:pt x="701" y="225"/>
                  </a:lnTo>
                  <a:lnTo>
                    <a:pt x="701" y="228"/>
                  </a:lnTo>
                  <a:lnTo>
                    <a:pt x="699" y="233"/>
                  </a:lnTo>
                  <a:lnTo>
                    <a:pt x="696" y="233"/>
                  </a:lnTo>
                  <a:lnTo>
                    <a:pt x="685" y="233"/>
                  </a:lnTo>
                  <a:lnTo>
                    <a:pt x="680" y="233"/>
                  </a:lnTo>
                  <a:lnTo>
                    <a:pt x="675" y="236"/>
                  </a:lnTo>
                  <a:lnTo>
                    <a:pt x="672" y="243"/>
                  </a:lnTo>
                  <a:lnTo>
                    <a:pt x="669" y="243"/>
                  </a:lnTo>
                  <a:lnTo>
                    <a:pt x="666" y="243"/>
                  </a:lnTo>
                  <a:lnTo>
                    <a:pt x="660" y="245"/>
                  </a:lnTo>
                  <a:lnTo>
                    <a:pt x="659" y="249"/>
                  </a:lnTo>
                  <a:lnTo>
                    <a:pt x="655" y="252"/>
                  </a:lnTo>
                  <a:lnTo>
                    <a:pt x="650" y="256"/>
                  </a:lnTo>
                  <a:lnTo>
                    <a:pt x="646" y="256"/>
                  </a:lnTo>
                  <a:lnTo>
                    <a:pt x="643" y="256"/>
                  </a:lnTo>
                  <a:lnTo>
                    <a:pt x="640" y="258"/>
                  </a:lnTo>
                  <a:lnTo>
                    <a:pt x="637" y="259"/>
                  </a:lnTo>
                  <a:lnTo>
                    <a:pt x="636" y="260"/>
                  </a:lnTo>
                  <a:lnTo>
                    <a:pt x="635" y="259"/>
                  </a:lnTo>
                  <a:lnTo>
                    <a:pt x="632" y="258"/>
                  </a:lnTo>
                  <a:lnTo>
                    <a:pt x="632" y="258"/>
                  </a:lnTo>
                  <a:lnTo>
                    <a:pt x="629" y="258"/>
                  </a:lnTo>
                  <a:lnTo>
                    <a:pt x="629" y="256"/>
                  </a:lnTo>
                  <a:lnTo>
                    <a:pt x="632" y="250"/>
                  </a:lnTo>
                  <a:lnTo>
                    <a:pt x="635" y="248"/>
                  </a:lnTo>
                  <a:lnTo>
                    <a:pt x="630" y="243"/>
                  </a:lnTo>
                  <a:lnTo>
                    <a:pt x="625" y="246"/>
                  </a:lnTo>
                  <a:lnTo>
                    <a:pt x="619" y="243"/>
                  </a:lnTo>
                  <a:lnTo>
                    <a:pt x="619" y="240"/>
                  </a:lnTo>
                  <a:lnTo>
                    <a:pt x="615" y="239"/>
                  </a:lnTo>
                  <a:lnTo>
                    <a:pt x="607" y="236"/>
                  </a:lnTo>
                  <a:lnTo>
                    <a:pt x="605" y="233"/>
                  </a:lnTo>
                  <a:lnTo>
                    <a:pt x="603" y="228"/>
                  </a:lnTo>
                  <a:lnTo>
                    <a:pt x="603" y="222"/>
                  </a:lnTo>
                  <a:lnTo>
                    <a:pt x="602" y="219"/>
                  </a:lnTo>
                  <a:lnTo>
                    <a:pt x="595" y="219"/>
                  </a:lnTo>
                  <a:lnTo>
                    <a:pt x="593" y="222"/>
                  </a:lnTo>
                  <a:lnTo>
                    <a:pt x="590" y="223"/>
                  </a:lnTo>
                  <a:lnTo>
                    <a:pt x="587" y="223"/>
                  </a:lnTo>
                  <a:lnTo>
                    <a:pt x="583" y="222"/>
                  </a:lnTo>
                  <a:lnTo>
                    <a:pt x="577" y="222"/>
                  </a:lnTo>
                  <a:lnTo>
                    <a:pt x="574" y="223"/>
                  </a:lnTo>
                  <a:lnTo>
                    <a:pt x="576" y="228"/>
                  </a:lnTo>
                  <a:lnTo>
                    <a:pt x="577" y="229"/>
                  </a:lnTo>
                  <a:lnTo>
                    <a:pt x="577" y="230"/>
                  </a:lnTo>
                  <a:lnTo>
                    <a:pt x="572" y="229"/>
                  </a:lnTo>
                  <a:lnTo>
                    <a:pt x="569" y="229"/>
                  </a:lnTo>
                  <a:lnTo>
                    <a:pt x="564" y="232"/>
                  </a:lnTo>
                  <a:lnTo>
                    <a:pt x="564" y="235"/>
                  </a:lnTo>
                  <a:lnTo>
                    <a:pt x="567" y="239"/>
                  </a:lnTo>
                  <a:lnTo>
                    <a:pt x="569" y="240"/>
                  </a:lnTo>
                  <a:lnTo>
                    <a:pt x="566" y="248"/>
                  </a:lnTo>
                  <a:lnTo>
                    <a:pt x="563" y="249"/>
                  </a:lnTo>
                  <a:lnTo>
                    <a:pt x="563" y="253"/>
                  </a:lnTo>
                  <a:lnTo>
                    <a:pt x="559" y="256"/>
                  </a:lnTo>
                  <a:lnTo>
                    <a:pt x="556" y="255"/>
                  </a:lnTo>
                  <a:lnTo>
                    <a:pt x="553" y="250"/>
                  </a:lnTo>
                  <a:lnTo>
                    <a:pt x="549" y="255"/>
                  </a:lnTo>
                  <a:lnTo>
                    <a:pt x="549" y="260"/>
                  </a:lnTo>
                  <a:lnTo>
                    <a:pt x="546" y="266"/>
                  </a:lnTo>
                  <a:lnTo>
                    <a:pt x="539" y="269"/>
                  </a:lnTo>
                  <a:lnTo>
                    <a:pt x="534" y="272"/>
                  </a:lnTo>
                  <a:lnTo>
                    <a:pt x="533" y="276"/>
                  </a:lnTo>
                  <a:lnTo>
                    <a:pt x="532" y="279"/>
                  </a:lnTo>
                  <a:lnTo>
                    <a:pt x="527" y="281"/>
                  </a:lnTo>
                  <a:lnTo>
                    <a:pt x="526" y="279"/>
                  </a:lnTo>
                  <a:lnTo>
                    <a:pt x="527" y="278"/>
                  </a:lnTo>
                  <a:lnTo>
                    <a:pt x="524" y="275"/>
                  </a:lnTo>
                  <a:lnTo>
                    <a:pt x="521" y="275"/>
                  </a:lnTo>
                  <a:lnTo>
                    <a:pt x="519" y="276"/>
                  </a:lnTo>
                  <a:lnTo>
                    <a:pt x="514" y="276"/>
                  </a:lnTo>
                  <a:lnTo>
                    <a:pt x="510" y="272"/>
                  </a:lnTo>
                  <a:lnTo>
                    <a:pt x="511" y="268"/>
                  </a:lnTo>
                  <a:lnTo>
                    <a:pt x="511" y="262"/>
                  </a:lnTo>
                  <a:lnTo>
                    <a:pt x="510" y="258"/>
                  </a:lnTo>
                  <a:lnTo>
                    <a:pt x="504" y="252"/>
                  </a:lnTo>
                  <a:lnTo>
                    <a:pt x="497" y="255"/>
                  </a:lnTo>
                  <a:lnTo>
                    <a:pt x="493" y="255"/>
                  </a:lnTo>
                  <a:lnTo>
                    <a:pt x="489" y="253"/>
                  </a:lnTo>
                  <a:lnTo>
                    <a:pt x="481" y="249"/>
                  </a:lnTo>
                  <a:lnTo>
                    <a:pt x="476" y="248"/>
                  </a:lnTo>
                  <a:lnTo>
                    <a:pt x="473" y="245"/>
                  </a:lnTo>
                  <a:lnTo>
                    <a:pt x="471" y="240"/>
                  </a:lnTo>
                  <a:lnTo>
                    <a:pt x="470" y="239"/>
                  </a:lnTo>
                  <a:lnTo>
                    <a:pt x="468" y="238"/>
                  </a:lnTo>
                  <a:lnTo>
                    <a:pt x="464" y="239"/>
                  </a:lnTo>
                  <a:lnTo>
                    <a:pt x="461" y="240"/>
                  </a:lnTo>
                  <a:lnTo>
                    <a:pt x="450" y="249"/>
                  </a:lnTo>
                  <a:lnTo>
                    <a:pt x="444" y="245"/>
                  </a:lnTo>
                  <a:lnTo>
                    <a:pt x="443" y="250"/>
                  </a:lnTo>
                  <a:lnTo>
                    <a:pt x="438" y="253"/>
                  </a:lnTo>
                  <a:lnTo>
                    <a:pt x="434" y="253"/>
                  </a:lnTo>
                  <a:lnTo>
                    <a:pt x="428" y="249"/>
                  </a:lnTo>
                  <a:lnTo>
                    <a:pt x="423" y="248"/>
                  </a:lnTo>
                  <a:lnTo>
                    <a:pt x="421" y="248"/>
                  </a:lnTo>
                  <a:lnTo>
                    <a:pt x="417" y="249"/>
                  </a:lnTo>
                  <a:lnTo>
                    <a:pt x="414" y="252"/>
                  </a:lnTo>
                  <a:lnTo>
                    <a:pt x="408" y="253"/>
                  </a:lnTo>
                  <a:lnTo>
                    <a:pt x="407" y="258"/>
                  </a:lnTo>
                  <a:lnTo>
                    <a:pt x="404" y="268"/>
                  </a:lnTo>
                  <a:lnTo>
                    <a:pt x="404" y="273"/>
                  </a:lnTo>
                  <a:lnTo>
                    <a:pt x="407" y="279"/>
                  </a:lnTo>
                  <a:lnTo>
                    <a:pt x="410" y="281"/>
                  </a:lnTo>
                  <a:lnTo>
                    <a:pt x="416" y="282"/>
                  </a:lnTo>
                  <a:lnTo>
                    <a:pt x="416" y="286"/>
                  </a:lnTo>
                  <a:lnTo>
                    <a:pt x="414" y="289"/>
                  </a:lnTo>
                  <a:lnTo>
                    <a:pt x="408" y="291"/>
                  </a:lnTo>
                  <a:lnTo>
                    <a:pt x="405" y="295"/>
                  </a:lnTo>
                  <a:lnTo>
                    <a:pt x="398" y="302"/>
                  </a:lnTo>
                  <a:lnTo>
                    <a:pt x="395" y="301"/>
                  </a:lnTo>
                  <a:lnTo>
                    <a:pt x="391" y="299"/>
                  </a:lnTo>
                  <a:lnTo>
                    <a:pt x="388" y="302"/>
                  </a:lnTo>
                  <a:lnTo>
                    <a:pt x="387" y="305"/>
                  </a:lnTo>
                  <a:lnTo>
                    <a:pt x="390" y="312"/>
                  </a:lnTo>
                  <a:lnTo>
                    <a:pt x="394" y="322"/>
                  </a:lnTo>
                  <a:lnTo>
                    <a:pt x="395" y="331"/>
                  </a:lnTo>
                  <a:lnTo>
                    <a:pt x="393" y="335"/>
                  </a:lnTo>
                  <a:lnTo>
                    <a:pt x="381" y="335"/>
                  </a:lnTo>
                  <a:lnTo>
                    <a:pt x="381" y="344"/>
                  </a:lnTo>
                  <a:lnTo>
                    <a:pt x="381" y="344"/>
                  </a:lnTo>
                  <a:lnTo>
                    <a:pt x="377" y="342"/>
                  </a:lnTo>
                  <a:lnTo>
                    <a:pt x="370" y="345"/>
                  </a:lnTo>
                  <a:lnTo>
                    <a:pt x="367" y="349"/>
                  </a:lnTo>
                  <a:lnTo>
                    <a:pt x="361" y="354"/>
                  </a:lnTo>
                  <a:lnTo>
                    <a:pt x="354" y="358"/>
                  </a:lnTo>
                  <a:lnTo>
                    <a:pt x="350" y="361"/>
                  </a:lnTo>
                  <a:lnTo>
                    <a:pt x="338" y="361"/>
                  </a:lnTo>
                  <a:lnTo>
                    <a:pt x="328" y="364"/>
                  </a:lnTo>
                  <a:lnTo>
                    <a:pt x="322" y="368"/>
                  </a:lnTo>
                  <a:lnTo>
                    <a:pt x="317" y="375"/>
                  </a:lnTo>
                  <a:lnTo>
                    <a:pt x="317" y="377"/>
                  </a:lnTo>
                  <a:lnTo>
                    <a:pt x="322" y="391"/>
                  </a:lnTo>
                  <a:lnTo>
                    <a:pt x="321" y="394"/>
                  </a:lnTo>
                  <a:lnTo>
                    <a:pt x="320" y="397"/>
                  </a:lnTo>
                  <a:lnTo>
                    <a:pt x="320" y="398"/>
                  </a:lnTo>
                  <a:lnTo>
                    <a:pt x="320" y="401"/>
                  </a:lnTo>
                  <a:lnTo>
                    <a:pt x="321" y="401"/>
                  </a:lnTo>
                  <a:lnTo>
                    <a:pt x="324" y="401"/>
                  </a:lnTo>
                  <a:lnTo>
                    <a:pt x="325" y="402"/>
                  </a:lnTo>
                  <a:lnTo>
                    <a:pt x="328" y="404"/>
                  </a:lnTo>
                  <a:lnTo>
                    <a:pt x="328" y="407"/>
                  </a:lnTo>
                  <a:lnTo>
                    <a:pt x="328" y="408"/>
                  </a:lnTo>
                  <a:lnTo>
                    <a:pt x="328" y="414"/>
                  </a:lnTo>
                  <a:lnTo>
                    <a:pt x="328" y="418"/>
                  </a:lnTo>
                  <a:lnTo>
                    <a:pt x="327" y="422"/>
                  </a:lnTo>
                  <a:lnTo>
                    <a:pt x="327" y="425"/>
                  </a:lnTo>
                  <a:lnTo>
                    <a:pt x="325" y="425"/>
                  </a:lnTo>
                  <a:lnTo>
                    <a:pt x="324" y="427"/>
                  </a:lnTo>
                  <a:lnTo>
                    <a:pt x="324" y="427"/>
                  </a:lnTo>
                  <a:lnTo>
                    <a:pt x="322" y="427"/>
                  </a:lnTo>
                  <a:lnTo>
                    <a:pt x="321" y="427"/>
                  </a:lnTo>
                  <a:lnTo>
                    <a:pt x="320" y="425"/>
                  </a:lnTo>
                  <a:lnTo>
                    <a:pt x="320" y="425"/>
                  </a:lnTo>
                  <a:lnTo>
                    <a:pt x="318" y="424"/>
                  </a:lnTo>
                  <a:lnTo>
                    <a:pt x="315" y="422"/>
                  </a:lnTo>
                  <a:lnTo>
                    <a:pt x="312" y="422"/>
                  </a:lnTo>
                  <a:lnTo>
                    <a:pt x="311" y="424"/>
                  </a:lnTo>
                  <a:lnTo>
                    <a:pt x="308" y="424"/>
                  </a:lnTo>
                  <a:lnTo>
                    <a:pt x="308" y="425"/>
                  </a:lnTo>
                  <a:lnTo>
                    <a:pt x="305" y="424"/>
                  </a:lnTo>
                  <a:lnTo>
                    <a:pt x="305" y="424"/>
                  </a:lnTo>
                  <a:lnTo>
                    <a:pt x="304" y="422"/>
                  </a:lnTo>
                  <a:lnTo>
                    <a:pt x="302" y="424"/>
                  </a:lnTo>
                  <a:lnTo>
                    <a:pt x="302" y="427"/>
                  </a:lnTo>
                  <a:lnTo>
                    <a:pt x="302" y="431"/>
                  </a:lnTo>
                  <a:lnTo>
                    <a:pt x="302" y="432"/>
                  </a:lnTo>
                  <a:lnTo>
                    <a:pt x="288" y="429"/>
                  </a:lnTo>
                  <a:lnTo>
                    <a:pt x="284" y="428"/>
                  </a:lnTo>
                  <a:lnTo>
                    <a:pt x="279" y="429"/>
                  </a:lnTo>
                  <a:lnTo>
                    <a:pt x="275" y="429"/>
                  </a:lnTo>
                  <a:lnTo>
                    <a:pt x="271" y="432"/>
                  </a:lnTo>
                  <a:lnTo>
                    <a:pt x="244" y="442"/>
                  </a:lnTo>
                  <a:lnTo>
                    <a:pt x="234" y="424"/>
                  </a:lnTo>
                  <a:lnTo>
                    <a:pt x="245" y="418"/>
                  </a:lnTo>
                  <a:lnTo>
                    <a:pt x="248" y="417"/>
                  </a:lnTo>
                  <a:lnTo>
                    <a:pt x="252" y="412"/>
                  </a:lnTo>
                  <a:lnTo>
                    <a:pt x="255" y="409"/>
                  </a:lnTo>
                  <a:lnTo>
                    <a:pt x="245" y="399"/>
                  </a:lnTo>
                  <a:lnTo>
                    <a:pt x="241" y="402"/>
                  </a:lnTo>
                  <a:lnTo>
                    <a:pt x="234" y="404"/>
                  </a:lnTo>
                  <a:lnTo>
                    <a:pt x="224" y="401"/>
                  </a:lnTo>
                  <a:lnTo>
                    <a:pt x="216" y="405"/>
                  </a:lnTo>
                  <a:lnTo>
                    <a:pt x="214" y="405"/>
                  </a:lnTo>
                  <a:lnTo>
                    <a:pt x="211" y="408"/>
                  </a:lnTo>
                  <a:lnTo>
                    <a:pt x="202" y="418"/>
                  </a:lnTo>
                  <a:lnTo>
                    <a:pt x="198" y="421"/>
                  </a:lnTo>
                  <a:lnTo>
                    <a:pt x="195" y="418"/>
                  </a:lnTo>
                  <a:lnTo>
                    <a:pt x="191" y="412"/>
                  </a:lnTo>
                  <a:lnTo>
                    <a:pt x="188" y="411"/>
                  </a:lnTo>
                  <a:lnTo>
                    <a:pt x="176" y="415"/>
                  </a:lnTo>
                  <a:lnTo>
                    <a:pt x="172" y="418"/>
                  </a:lnTo>
                  <a:lnTo>
                    <a:pt x="171" y="414"/>
                  </a:lnTo>
                  <a:lnTo>
                    <a:pt x="166" y="408"/>
                  </a:lnTo>
                  <a:lnTo>
                    <a:pt x="159" y="409"/>
                  </a:lnTo>
                  <a:lnTo>
                    <a:pt x="156" y="412"/>
                  </a:lnTo>
                  <a:lnTo>
                    <a:pt x="153" y="415"/>
                  </a:lnTo>
                  <a:lnTo>
                    <a:pt x="153" y="419"/>
                  </a:lnTo>
                  <a:lnTo>
                    <a:pt x="141" y="432"/>
                  </a:lnTo>
                  <a:lnTo>
                    <a:pt x="136" y="432"/>
                  </a:lnTo>
                  <a:lnTo>
                    <a:pt x="135" y="435"/>
                  </a:lnTo>
                  <a:lnTo>
                    <a:pt x="138" y="441"/>
                  </a:lnTo>
                  <a:lnTo>
                    <a:pt x="135" y="442"/>
                  </a:lnTo>
                  <a:lnTo>
                    <a:pt x="126" y="435"/>
                  </a:lnTo>
                  <a:lnTo>
                    <a:pt x="120" y="431"/>
                  </a:lnTo>
                  <a:lnTo>
                    <a:pt x="115" y="429"/>
                  </a:lnTo>
                  <a:lnTo>
                    <a:pt x="112" y="427"/>
                  </a:lnTo>
                  <a:lnTo>
                    <a:pt x="109" y="421"/>
                  </a:lnTo>
                  <a:lnTo>
                    <a:pt x="108" y="417"/>
                  </a:lnTo>
                  <a:lnTo>
                    <a:pt x="100" y="415"/>
                  </a:lnTo>
                  <a:lnTo>
                    <a:pt x="98" y="414"/>
                  </a:lnTo>
                  <a:lnTo>
                    <a:pt x="98" y="411"/>
                  </a:lnTo>
                  <a:lnTo>
                    <a:pt x="102" y="409"/>
                  </a:lnTo>
                  <a:lnTo>
                    <a:pt x="108" y="409"/>
                  </a:lnTo>
                  <a:lnTo>
                    <a:pt x="110" y="407"/>
                  </a:lnTo>
                  <a:lnTo>
                    <a:pt x="110" y="402"/>
                  </a:lnTo>
                  <a:lnTo>
                    <a:pt x="106" y="404"/>
                  </a:lnTo>
                  <a:lnTo>
                    <a:pt x="103" y="404"/>
                  </a:lnTo>
                  <a:lnTo>
                    <a:pt x="99" y="402"/>
                  </a:lnTo>
                  <a:lnTo>
                    <a:pt x="96" y="399"/>
                  </a:lnTo>
                  <a:lnTo>
                    <a:pt x="95" y="394"/>
                  </a:lnTo>
                  <a:lnTo>
                    <a:pt x="93" y="388"/>
                  </a:lnTo>
                  <a:lnTo>
                    <a:pt x="96" y="385"/>
                  </a:lnTo>
                  <a:lnTo>
                    <a:pt x="98" y="382"/>
                  </a:lnTo>
                  <a:lnTo>
                    <a:pt x="96" y="378"/>
                  </a:lnTo>
                  <a:lnTo>
                    <a:pt x="93" y="371"/>
                  </a:lnTo>
                  <a:lnTo>
                    <a:pt x="88" y="358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95" y="349"/>
                  </a:lnTo>
                  <a:lnTo>
                    <a:pt x="96" y="346"/>
                  </a:lnTo>
                  <a:lnTo>
                    <a:pt x="93" y="342"/>
                  </a:lnTo>
                  <a:lnTo>
                    <a:pt x="90" y="341"/>
                  </a:lnTo>
                  <a:lnTo>
                    <a:pt x="90" y="335"/>
                  </a:lnTo>
                  <a:lnTo>
                    <a:pt x="93" y="334"/>
                  </a:lnTo>
                  <a:lnTo>
                    <a:pt x="95" y="329"/>
                  </a:lnTo>
                  <a:lnTo>
                    <a:pt x="95" y="326"/>
                  </a:lnTo>
                  <a:lnTo>
                    <a:pt x="92" y="319"/>
                  </a:lnTo>
                  <a:lnTo>
                    <a:pt x="89" y="315"/>
                  </a:lnTo>
                  <a:lnTo>
                    <a:pt x="88" y="312"/>
                  </a:lnTo>
                  <a:lnTo>
                    <a:pt x="85" y="308"/>
                  </a:lnTo>
                  <a:lnTo>
                    <a:pt x="86" y="301"/>
                  </a:lnTo>
                  <a:lnTo>
                    <a:pt x="83" y="292"/>
                  </a:lnTo>
                  <a:lnTo>
                    <a:pt x="75" y="281"/>
                  </a:lnTo>
                  <a:lnTo>
                    <a:pt x="79" y="278"/>
                  </a:lnTo>
                  <a:lnTo>
                    <a:pt x="78" y="275"/>
                  </a:lnTo>
                  <a:lnTo>
                    <a:pt x="82" y="271"/>
                  </a:lnTo>
                  <a:lnTo>
                    <a:pt x="78" y="265"/>
                  </a:lnTo>
                  <a:lnTo>
                    <a:pt x="73" y="260"/>
                  </a:lnTo>
                  <a:lnTo>
                    <a:pt x="69" y="259"/>
                  </a:lnTo>
                  <a:lnTo>
                    <a:pt x="63" y="265"/>
                  </a:lnTo>
                  <a:lnTo>
                    <a:pt x="46" y="266"/>
                  </a:lnTo>
                  <a:lnTo>
                    <a:pt x="45" y="263"/>
                  </a:lnTo>
                  <a:lnTo>
                    <a:pt x="40" y="263"/>
                  </a:lnTo>
                  <a:lnTo>
                    <a:pt x="39" y="262"/>
                  </a:lnTo>
                  <a:lnTo>
                    <a:pt x="36" y="258"/>
                  </a:lnTo>
                  <a:lnTo>
                    <a:pt x="25" y="259"/>
                  </a:lnTo>
                  <a:lnTo>
                    <a:pt x="22" y="255"/>
                  </a:lnTo>
                  <a:lnTo>
                    <a:pt x="27" y="248"/>
                  </a:lnTo>
                  <a:lnTo>
                    <a:pt x="23" y="239"/>
                  </a:lnTo>
                  <a:lnTo>
                    <a:pt x="20" y="236"/>
                  </a:lnTo>
                  <a:lnTo>
                    <a:pt x="17" y="239"/>
                  </a:lnTo>
                  <a:lnTo>
                    <a:pt x="13" y="236"/>
                  </a:lnTo>
                  <a:lnTo>
                    <a:pt x="12" y="239"/>
                  </a:lnTo>
                  <a:lnTo>
                    <a:pt x="9" y="238"/>
                  </a:lnTo>
                  <a:lnTo>
                    <a:pt x="6" y="235"/>
                  </a:lnTo>
                  <a:lnTo>
                    <a:pt x="10" y="225"/>
                  </a:lnTo>
                  <a:lnTo>
                    <a:pt x="10" y="225"/>
                  </a:lnTo>
                  <a:lnTo>
                    <a:pt x="14" y="212"/>
                  </a:lnTo>
                  <a:lnTo>
                    <a:pt x="14" y="212"/>
                  </a:lnTo>
                  <a:lnTo>
                    <a:pt x="17" y="215"/>
                  </a:lnTo>
                  <a:lnTo>
                    <a:pt x="20" y="216"/>
                  </a:lnTo>
                  <a:lnTo>
                    <a:pt x="22" y="216"/>
                  </a:lnTo>
                  <a:lnTo>
                    <a:pt x="22" y="216"/>
                  </a:lnTo>
                  <a:lnTo>
                    <a:pt x="25" y="213"/>
                  </a:lnTo>
                  <a:lnTo>
                    <a:pt x="25" y="213"/>
                  </a:lnTo>
                  <a:lnTo>
                    <a:pt x="25" y="212"/>
                  </a:lnTo>
                  <a:lnTo>
                    <a:pt x="23" y="212"/>
                  </a:lnTo>
                  <a:lnTo>
                    <a:pt x="22" y="210"/>
                  </a:lnTo>
                  <a:lnTo>
                    <a:pt x="22" y="210"/>
                  </a:lnTo>
                  <a:lnTo>
                    <a:pt x="22" y="208"/>
                  </a:lnTo>
                  <a:lnTo>
                    <a:pt x="23" y="208"/>
                  </a:lnTo>
                  <a:lnTo>
                    <a:pt x="26" y="206"/>
                  </a:lnTo>
                  <a:lnTo>
                    <a:pt x="26" y="206"/>
                  </a:lnTo>
                  <a:lnTo>
                    <a:pt x="29" y="208"/>
                  </a:lnTo>
                  <a:lnTo>
                    <a:pt x="30" y="208"/>
                  </a:lnTo>
                  <a:lnTo>
                    <a:pt x="30" y="208"/>
                  </a:lnTo>
                  <a:lnTo>
                    <a:pt x="32" y="208"/>
                  </a:lnTo>
                  <a:lnTo>
                    <a:pt x="33" y="208"/>
                  </a:lnTo>
                  <a:lnTo>
                    <a:pt x="33" y="202"/>
                  </a:lnTo>
                  <a:lnTo>
                    <a:pt x="33" y="202"/>
                  </a:lnTo>
                  <a:lnTo>
                    <a:pt x="33" y="199"/>
                  </a:lnTo>
                  <a:lnTo>
                    <a:pt x="30" y="196"/>
                  </a:lnTo>
                  <a:lnTo>
                    <a:pt x="29" y="193"/>
                  </a:lnTo>
                  <a:lnTo>
                    <a:pt x="22" y="187"/>
                  </a:lnTo>
                  <a:lnTo>
                    <a:pt x="14" y="186"/>
                  </a:lnTo>
                  <a:lnTo>
                    <a:pt x="10" y="185"/>
                  </a:lnTo>
                  <a:lnTo>
                    <a:pt x="7" y="180"/>
                  </a:lnTo>
                  <a:lnTo>
                    <a:pt x="4" y="172"/>
                  </a:lnTo>
                  <a:lnTo>
                    <a:pt x="4" y="165"/>
                  </a:lnTo>
                  <a:lnTo>
                    <a:pt x="10" y="165"/>
                  </a:lnTo>
                  <a:lnTo>
                    <a:pt x="16" y="163"/>
                  </a:lnTo>
                  <a:lnTo>
                    <a:pt x="17" y="162"/>
                  </a:lnTo>
                  <a:lnTo>
                    <a:pt x="16" y="156"/>
                  </a:lnTo>
                  <a:lnTo>
                    <a:pt x="7" y="156"/>
                  </a:lnTo>
                  <a:lnTo>
                    <a:pt x="2" y="155"/>
                  </a:lnTo>
                  <a:lnTo>
                    <a:pt x="0" y="149"/>
                  </a:lnTo>
                  <a:lnTo>
                    <a:pt x="3" y="144"/>
                  </a:lnTo>
                  <a:lnTo>
                    <a:pt x="6" y="142"/>
                  </a:lnTo>
                  <a:lnTo>
                    <a:pt x="9" y="139"/>
                  </a:lnTo>
                  <a:lnTo>
                    <a:pt x="17" y="137"/>
                  </a:lnTo>
                  <a:lnTo>
                    <a:pt x="23" y="133"/>
                  </a:lnTo>
                  <a:lnTo>
                    <a:pt x="27" y="133"/>
                  </a:lnTo>
                  <a:lnTo>
                    <a:pt x="33" y="134"/>
                  </a:lnTo>
                  <a:lnTo>
                    <a:pt x="39" y="132"/>
                  </a:lnTo>
                  <a:lnTo>
                    <a:pt x="42" y="130"/>
                  </a:lnTo>
                  <a:lnTo>
                    <a:pt x="43" y="130"/>
                  </a:lnTo>
                  <a:lnTo>
                    <a:pt x="46" y="129"/>
                  </a:lnTo>
                  <a:lnTo>
                    <a:pt x="49" y="130"/>
                  </a:lnTo>
                  <a:lnTo>
                    <a:pt x="50" y="132"/>
                  </a:lnTo>
                  <a:lnTo>
                    <a:pt x="53" y="130"/>
                  </a:lnTo>
                  <a:lnTo>
                    <a:pt x="56" y="129"/>
                  </a:lnTo>
                  <a:lnTo>
                    <a:pt x="57" y="129"/>
                  </a:lnTo>
                  <a:lnTo>
                    <a:pt x="59" y="130"/>
                  </a:lnTo>
                  <a:lnTo>
                    <a:pt x="62" y="133"/>
                  </a:lnTo>
                  <a:lnTo>
                    <a:pt x="65" y="133"/>
                  </a:lnTo>
                  <a:lnTo>
                    <a:pt x="67" y="132"/>
                  </a:lnTo>
                  <a:lnTo>
                    <a:pt x="70" y="129"/>
                  </a:lnTo>
                  <a:lnTo>
                    <a:pt x="73" y="124"/>
                  </a:lnTo>
                  <a:lnTo>
                    <a:pt x="78" y="120"/>
                  </a:lnTo>
                  <a:lnTo>
                    <a:pt x="82" y="117"/>
                  </a:lnTo>
                  <a:lnTo>
                    <a:pt x="85" y="114"/>
                  </a:lnTo>
                  <a:lnTo>
                    <a:pt x="89" y="112"/>
                  </a:lnTo>
                  <a:lnTo>
                    <a:pt x="95" y="110"/>
                  </a:lnTo>
                  <a:lnTo>
                    <a:pt x="96" y="112"/>
                  </a:lnTo>
                  <a:lnTo>
                    <a:pt x="99" y="112"/>
                  </a:lnTo>
                  <a:lnTo>
                    <a:pt x="103" y="110"/>
                  </a:lnTo>
                  <a:lnTo>
                    <a:pt x="108" y="109"/>
                  </a:lnTo>
                  <a:lnTo>
                    <a:pt x="116" y="110"/>
                  </a:lnTo>
                  <a:lnTo>
                    <a:pt x="116" y="106"/>
                  </a:lnTo>
                  <a:lnTo>
                    <a:pt x="123" y="104"/>
                  </a:lnTo>
                  <a:lnTo>
                    <a:pt x="128" y="107"/>
                  </a:lnTo>
                  <a:lnTo>
                    <a:pt x="135" y="109"/>
                  </a:lnTo>
                  <a:lnTo>
                    <a:pt x="138" y="107"/>
                  </a:lnTo>
                  <a:lnTo>
                    <a:pt x="145" y="104"/>
                  </a:lnTo>
                  <a:lnTo>
                    <a:pt x="149" y="104"/>
                  </a:lnTo>
                  <a:lnTo>
                    <a:pt x="152" y="104"/>
                  </a:lnTo>
                  <a:lnTo>
                    <a:pt x="158" y="107"/>
                  </a:lnTo>
                  <a:lnTo>
                    <a:pt x="161" y="109"/>
                  </a:lnTo>
                  <a:lnTo>
                    <a:pt x="162" y="113"/>
                  </a:lnTo>
                  <a:lnTo>
                    <a:pt x="159" y="119"/>
                  </a:lnTo>
                  <a:lnTo>
                    <a:pt x="163" y="123"/>
                  </a:lnTo>
                  <a:lnTo>
                    <a:pt x="171" y="117"/>
                  </a:lnTo>
                  <a:lnTo>
                    <a:pt x="171" y="114"/>
                  </a:lnTo>
                  <a:lnTo>
                    <a:pt x="176" y="109"/>
                  </a:lnTo>
                  <a:lnTo>
                    <a:pt x="183" y="109"/>
                  </a:lnTo>
                  <a:lnTo>
                    <a:pt x="189" y="110"/>
                  </a:lnTo>
                  <a:lnTo>
                    <a:pt x="192" y="114"/>
                  </a:lnTo>
                  <a:lnTo>
                    <a:pt x="194" y="117"/>
                  </a:lnTo>
                  <a:lnTo>
                    <a:pt x="198" y="106"/>
                  </a:lnTo>
                  <a:lnTo>
                    <a:pt x="211" y="81"/>
                  </a:lnTo>
                  <a:lnTo>
                    <a:pt x="215" y="61"/>
                  </a:lnTo>
                  <a:lnTo>
                    <a:pt x="219" y="57"/>
                  </a:lnTo>
                  <a:lnTo>
                    <a:pt x="225" y="64"/>
                  </a:lnTo>
                  <a:lnTo>
                    <a:pt x="231" y="71"/>
                  </a:lnTo>
                  <a:lnTo>
                    <a:pt x="235" y="79"/>
                  </a:lnTo>
                  <a:lnTo>
                    <a:pt x="238" y="76"/>
                  </a:lnTo>
                  <a:lnTo>
                    <a:pt x="244" y="73"/>
                  </a:lnTo>
                  <a:lnTo>
                    <a:pt x="245" y="70"/>
                  </a:lnTo>
                  <a:lnTo>
                    <a:pt x="249" y="67"/>
                  </a:lnTo>
                  <a:lnTo>
                    <a:pt x="251" y="63"/>
                  </a:lnTo>
                  <a:lnTo>
                    <a:pt x="257" y="63"/>
                  </a:lnTo>
                  <a:lnTo>
                    <a:pt x="261" y="59"/>
                  </a:lnTo>
                  <a:lnTo>
                    <a:pt x="257" y="59"/>
                  </a:lnTo>
                  <a:lnTo>
                    <a:pt x="252" y="56"/>
                  </a:lnTo>
                  <a:lnTo>
                    <a:pt x="252" y="53"/>
                  </a:lnTo>
                  <a:lnTo>
                    <a:pt x="255" y="50"/>
                  </a:lnTo>
                  <a:lnTo>
                    <a:pt x="258" y="49"/>
                  </a:lnTo>
                  <a:lnTo>
                    <a:pt x="265" y="46"/>
                  </a:lnTo>
                  <a:lnTo>
                    <a:pt x="268" y="43"/>
                  </a:lnTo>
                  <a:lnTo>
                    <a:pt x="271" y="39"/>
                  </a:lnTo>
                  <a:lnTo>
                    <a:pt x="278" y="37"/>
                  </a:lnTo>
                  <a:lnTo>
                    <a:pt x="284" y="39"/>
                  </a:lnTo>
                  <a:lnTo>
                    <a:pt x="288" y="43"/>
                  </a:lnTo>
                  <a:lnTo>
                    <a:pt x="292" y="47"/>
                  </a:lnTo>
                  <a:lnTo>
                    <a:pt x="297" y="50"/>
                  </a:lnTo>
                  <a:lnTo>
                    <a:pt x="305" y="54"/>
                  </a:lnTo>
                  <a:lnTo>
                    <a:pt x="314" y="57"/>
                  </a:lnTo>
                  <a:lnTo>
                    <a:pt x="321" y="46"/>
                  </a:lnTo>
                  <a:lnTo>
                    <a:pt x="321" y="34"/>
                  </a:lnTo>
                  <a:lnTo>
                    <a:pt x="328" y="24"/>
                  </a:lnTo>
                  <a:lnTo>
                    <a:pt x="347" y="13"/>
                  </a:lnTo>
                  <a:lnTo>
                    <a:pt x="364" y="7"/>
                  </a:lnTo>
                  <a:lnTo>
                    <a:pt x="377" y="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96" name="Freeform 144"/>
            <p:cNvSpPr>
              <a:spLocks/>
            </p:cNvSpPr>
            <p:nvPr/>
          </p:nvSpPr>
          <p:spPr bwMode="auto">
            <a:xfrm>
              <a:off x="2826979" y="3347749"/>
              <a:ext cx="394429" cy="280456"/>
            </a:xfrm>
            <a:custGeom>
              <a:avLst/>
              <a:gdLst>
                <a:gd name="T0" fmla="*/ 152 w 648"/>
                <a:gd name="T1" fmla="*/ 286 h 424"/>
                <a:gd name="T2" fmla="*/ 144 w 648"/>
                <a:gd name="T3" fmla="*/ 272 h 424"/>
                <a:gd name="T4" fmla="*/ 178 w 648"/>
                <a:gd name="T5" fmla="*/ 240 h 424"/>
                <a:gd name="T6" fmla="*/ 167 w 648"/>
                <a:gd name="T7" fmla="*/ 239 h 424"/>
                <a:gd name="T8" fmla="*/ 152 w 648"/>
                <a:gd name="T9" fmla="*/ 217 h 424"/>
                <a:gd name="T10" fmla="*/ 139 w 648"/>
                <a:gd name="T11" fmla="*/ 215 h 424"/>
                <a:gd name="T12" fmla="*/ 118 w 648"/>
                <a:gd name="T13" fmla="*/ 173 h 424"/>
                <a:gd name="T14" fmla="*/ 106 w 648"/>
                <a:gd name="T15" fmla="*/ 156 h 424"/>
                <a:gd name="T16" fmla="*/ 81 w 648"/>
                <a:gd name="T17" fmla="*/ 175 h 424"/>
                <a:gd name="T18" fmla="*/ 43 w 648"/>
                <a:gd name="T19" fmla="*/ 149 h 424"/>
                <a:gd name="T20" fmla="*/ 8 w 648"/>
                <a:gd name="T21" fmla="*/ 123 h 424"/>
                <a:gd name="T22" fmla="*/ 13 w 648"/>
                <a:gd name="T23" fmla="*/ 97 h 424"/>
                <a:gd name="T24" fmla="*/ 45 w 648"/>
                <a:gd name="T25" fmla="*/ 97 h 424"/>
                <a:gd name="T26" fmla="*/ 73 w 648"/>
                <a:gd name="T27" fmla="*/ 86 h 424"/>
                <a:gd name="T28" fmla="*/ 85 w 648"/>
                <a:gd name="T29" fmla="*/ 67 h 424"/>
                <a:gd name="T30" fmla="*/ 111 w 648"/>
                <a:gd name="T31" fmla="*/ 63 h 424"/>
                <a:gd name="T32" fmla="*/ 132 w 648"/>
                <a:gd name="T33" fmla="*/ 60 h 424"/>
                <a:gd name="T34" fmla="*/ 164 w 648"/>
                <a:gd name="T35" fmla="*/ 61 h 424"/>
                <a:gd name="T36" fmla="*/ 177 w 648"/>
                <a:gd name="T37" fmla="*/ 50 h 424"/>
                <a:gd name="T38" fmla="*/ 182 w 648"/>
                <a:gd name="T39" fmla="*/ 18 h 424"/>
                <a:gd name="T40" fmla="*/ 207 w 648"/>
                <a:gd name="T41" fmla="*/ 28 h 424"/>
                <a:gd name="T42" fmla="*/ 242 w 648"/>
                <a:gd name="T43" fmla="*/ 6 h 424"/>
                <a:gd name="T44" fmla="*/ 271 w 648"/>
                <a:gd name="T45" fmla="*/ 11 h 424"/>
                <a:gd name="T46" fmla="*/ 303 w 648"/>
                <a:gd name="T47" fmla="*/ 30 h 424"/>
                <a:gd name="T48" fmla="*/ 327 w 648"/>
                <a:gd name="T49" fmla="*/ 27 h 424"/>
                <a:gd name="T50" fmla="*/ 337 w 648"/>
                <a:gd name="T51" fmla="*/ 13 h 424"/>
                <a:gd name="T52" fmla="*/ 356 w 648"/>
                <a:gd name="T53" fmla="*/ 10 h 424"/>
                <a:gd name="T54" fmla="*/ 350 w 648"/>
                <a:gd name="T55" fmla="*/ 27 h 424"/>
                <a:gd name="T56" fmla="*/ 353 w 648"/>
                <a:gd name="T57" fmla="*/ 41 h 424"/>
                <a:gd name="T58" fmla="*/ 364 w 648"/>
                <a:gd name="T59" fmla="*/ 51 h 424"/>
                <a:gd name="T60" fmla="*/ 364 w 648"/>
                <a:gd name="T61" fmla="*/ 86 h 424"/>
                <a:gd name="T62" fmla="*/ 397 w 648"/>
                <a:gd name="T63" fmla="*/ 112 h 424"/>
                <a:gd name="T64" fmla="*/ 411 w 648"/>
                <a:gd name="T65" fmla="*/ 116 h 424"/>
                <a:gd name="T66" fmla="*/ 424 w 648"/>
                <a:gd name="T67" fmla="*/ 127 h 424"/>
                <a:gd name="T68" fmla="*/ 430 w 648"/>
                <a:gd name="T69" fmla="*/ 157 h 424"/>
                <a:gd name="T70" fmla="*/ 440 w 648"/>
                <a:gd name="T71" fmla="*/ 175 h 424"/>
                <a:gd name="T72" fmla="*/ 454 w 648"/>
                <a:gd name="T73" fmla="*/ 195 h 424"/>
                <a:gd name="T74" fmla="*/ 483 w 648"/>
                <a:gd name="T75" fmla="*/ 228 h 424"/>
                <a:gd name="T76" fmla="*/ 523 w 648"/>
                <a:gd name="T77" fmla="*/ 263 h 424"/>
                <a:gd name="T78" fmla="*/ 545 w 648"/>
                <a:gd name="T79" fmla="*/ 273 h 424"/>
                <a:gd name="T80" fmla="*/ 563 w 648"/>
                <a:gd name="T81" fmla="*/ 279 h 424"/>
                <a:gd name="T82" fmla="*/ 583 w 648"/>
                <a:gd name="T83" fmla="*/ 285 h 424"/>
                <a:gd name="T84" fmla="*/ 618 w 648"/>
                <a:gd name="T85" fmla="*/ 266 h 424"/>
                <a:gd name="T86" fmla="*/ 633 w 648"/>
                <a:gd name="T87" fmla="*/ 281 h 424"/>
                <a:gd name="T88" fmla="*/ 648 w 648"/>
                <a:gd name="T89" fmla="*/ 299 h 424"/>
                <a:gd name="T90" fmla="*/ 626 w 648"/>
                <a:gd name="T91" fmla="*/ 336 h 424"/>
                <a:gd name="T92" fmla="*/ 612 w 648"/>
                <a:gd name="T93" fmla="*/ 362 h 424"/>
                <a:gd name="T94" fmla="*/ 609 w 648"/>
                <a:gd name="T95" fmla="*/ 382 h 424"/>
                <a:gd name="T96" fmla="*/ 588 w 648"/>
                <a:gd name="T97" fmla="*/ 395 h 424"/>
                <a:gd name="T98" fmla="*/ 570 w 648"/>
                <a:gd name="T99" fmla="*/ 401 h 424"/>
                <a:gd name="T100" fmla="*/ 546 w 648"/>
                <a:gd name="T101" fmla="*/ 395 h 424"/>
                <a:gd name="T102" fmla="*/ 516 w 648"/>
                <a:gd name="T103" fmla="*/ 391 h 424"/>
                <a:gd name="T104" fmla="*/ 473 w 648"/>
                <a:gd name="T105" fmla="*/ 394 h 424"/>
                <a:gd name="T106" fmla="*/ 443 w 648"/>
                <a:gd name="T107" fmla="*/ 409 h 424"/>
                <a:gd name="T108" fmla="*/ 387 w 648"/>
                <a:gd name="T109" fmla="*/ 395 h 424"/>
                <a:gd name="T110" fmla="*/ 368 w 648"/>
                <a:gd name="T111" fmla="*/ 368 h 424"/>
                <a:gd name="T112" fmla="*/ 331 w 648"/>
                <a:gd name="T113" fmla="*/ 338 h 424"/>
                <a:gd name="T114" fmla="*/ 300 w 648"/>
                <a:gd name="T115" fmla="*/ 359 h 424"/>
                <a:gd name="T116" fmla="*/ 260 w 648"/>
                <a:gd name="T117" fmla="*/ 355 h 424"/>
                <a:gd name="T118" fmla="*/ 221 w 648"/>
                <a:gd name="T119" fmla="*/ 346 h 424"/>
                <a:gd name="T120" fmla="*/ 205 w 648"/>
                <a:gd name="T121" fmla="*/ 318 h 424"/>
                <a:gd name="T122" fmla="*/ 204 w 648"/>
                <a:gd name="T123" fmla="*/ 296 h 424"/>
                <a:gd name="T124" fmla="*/ 181 w 648"/>
                <a:gd name="T125" fmla="*/ 299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8" h="424">
                  <a:moveTo>
                    <a:pt x="171" y="301"/>
                  </a:moveTo>
                  <a:lnTo>
                    <a:pt x="169" y="301"/>
                  </a:lnTo>
                  <a:lnTo>
                    <a:pt x="169" y="301"/>
                  </a:lnTo>
                  <a:lnTo>
                    <a:pt x="164" y="296"/>
                  </a:lnTo>
                  <a:lnTo>
                    <a:pt x="159" y="293"/>
                  </a:lnTo>
                  <a:lnTo>
                    <a:pt x="157" y="292"/>
                  </a:lnTo>
                  <a:lnTo>
                    <a:pt x="152" y="286"/>
                  </a:lnTo>
                  <a:lnTo>
                    <a:pt x="152" y="286"/>
                  </a:lnTo>
                  <a:lnTo>
                    <a:pt x="148" y="282"/>
                  </a:lnTo>
                  <a:lnTo>
                    <a:pt x="144" y="276"/>
                  </a:lnTo>
                  <a:lnTo>
                    <a:pt x="144" y="276"/>
                  </a:lnTo>
                  <a:lnTo>
                    <a:pt x="144" y="273"/>
                  </a:lnTo>
                  <a:lnTo>
                    <a:pt x="144" y="272"/>
                  </a:lnTo>
                  <a:lnTo>
                    <a:pt x="144" y="272"/>
                  </a:lnTo>
                  <a:lnTo>
                    <a:pt x="157" y="262"/>
                  </a:lnTo>
                  <a:lnTo>
                    <a:pt x="168" y="253"/>
                  </a:lnTo>
                  <a:lnTo>
                    <a:pt x="175" y="249"/>
                  </a:lnTo>
                  <a:lnTo>
                    <a:pt x="175" y="249"/>
                  </a:lnTo>
                  <a:lnTo>
                    <a:pt x="177" y="246"/>
                  </a:lnTo>
                  <a:lnTo>
                    <a:pt x="178" y="245"/>
                  </a:lnTo>
                  <a:lnTo>
                    <a:pt x="178" y="240"/>
                  </a:lnTo>
                  <a:lnTo>
                    <a:pt x="175" y="238"/>
                  </a:lnTo>
                  <a:lnTo>
                    <a:pt x="174" y="236"/>
                  </a:lnTo>
                  <a:lnTo>
                    <a:pt x="172" y="236"/>
                  </a:lnTo>
                  <a:lnTo>
                    <a:pt x="172" y="236"/>
                  </a:lnTo>
                  <a:lnTo>
                    <a:pt x="171" y="238"/>
                  </a:lnTo>
                  <a:lnTo>
                    <a:pt x="168" y="239"/>
                  </a:lnTo>
                  <a:lnTo>
                    <a:pt x="167" y="239"/>
                  </a:lnTo>
                  <a:lnTo>
                    <a:pt x="167" y="239"/>
                  </a:lnTo>
                  <a:lnTo>
                    <a:pt x="157" y="232"/>
                  </a:lnTo>
                  <a:lnTo>
                    <a:pt x="151" y="228"/>
                  </a:lnTo>
                  <a:lnTo>
                    <a:pt x="149" y="225"/>
                  </a:lnTo>
                  <a:lnTo>
                    <a:pt x="149" y="223"/>
                  </a:lnTo>
                  <a:lnTo>
                    <a:pt x="149" y="223"/>
                  </a:lnTo>
                  <a:lnTo>
                    <a:pt x="152" y="217"/>
                  </a:lnTo>
                  <a:lnTo>
                    <a:pt x="152" y="215"/>
                  </a:lnTo>
                  <a:lnTo>
                    <a:pt x="152" y="213"/>
                  </a:lnTo>
                  <a:lnTo>
                    <a:pt x="149" y="212"/>
                  </a:lnTo>
                  <a:lnTo>
                    <a:pt x="149" y="212"/>
                  </a:lnTo>
                  <a:lnTo>
                    <a:pt x="146" y="213"/>
                  </a:lnTo>
                  <a:lnTo>
                    <a:pt x="139" y="215"/>
                  </a:lnTo>
                  <a:lnTo>
                    <a:pt x="139" y="215"/>
                  </a:lnTo>
                  <a:lnTo>
                    <a:pt x="135" y="215"/>
                  </a:lnTo>
                  <a:lnTo>
                    <a:pt x="132" y="215"/>
                  </a:lnTo>
                  <a:lnTo>
                    <a:pt x="126" y="210"/>
                  </a:lnTo>
                  <a:lnTo>
                    <a:pt x="124" y="206"/>
                  </a:lnTo>
                  <a:lnTo>
                    <a:pt x="121" y="199"/>
                  </a:lnTo>
                  <a:lnTo>
                    <a:pt x="118" y="185"/>
                  </a:lnTo>
                  <a:lnTo>
                    <a:pt x="118" y="173"/>
                  </a:lnTo>
                  <a:lnTo>
                    <a:pt x="118" y="173"/>
                  </a:lnTo>
                  <a:lnTo>
                    <a:pt x="118" y="166"/>
                  </a:lnTo>
                  <a:lnTo>
                    <a:pt x="116" y="160"/>
                  </a:lnTo>
                  <a:lnTo>
                    <a:pt x="115" y="154"/>
                  </a:lnTo>
                  <a:lnTo>
                    <a:pt x="112" y="153"/>
                  </a:lnTo>
                  <a:lnTo>
                    <a:pt x="111" y="153"/>
                  </a:lnTo>
                  <a:lnTo>
                    <a:pt x="106" y="156"/>
                  </a:lnTo>
                  <a:lnTo>
                    <a:pt x="106" y="156"/>
                  </a:lnTo>
                  <a:lnTo>
                    <a:pt x="104" y="162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93" y="170"/>
                  </a:lnTo>
                  <a:lnTo>
                    <a:pt x="85" y="173"/>
                  </a:lnTo>
                  <a:lnTo>
                    <a:pt x="81" y="175"/>
                  </a:lnTo>
                  <a:lnTo>
                    <a:pt x="76" y="175"/>
                  </a:lnTo>
                  <a:lnTo>
                    <a:pt x="66" y="169"/>
                  </a:lnTo>
                  <a:lnTo>
                    <a:pt x="61" y="162"/>
                  </a:lnTo>
                  <a:lnTo>
                    <a:pt x="56" y="156"/>
                  </a:lnTo>
                  <a:lnTo>
                    <a:pt x="52" y="152"/>
                  </a:lnTo>
                  <a:lnTo>
                    <a:pt x="49" y="150"/>
                  </a:lnTo>
                  <a:lnTo>
                    <a:pt x="43" y="149"/>
                  </a:lnTo>
                  <a:lnTo>
                    <a:pt x="39" y="147"/>
                  </a:lnTo>
                  <a:lnTo>
                    <a:pt x="38" y="149"/>
                  </a:lnTo>
                  <a:lnTo>
                    <a:pt x="30" y="146"/>
                  </a:lnTo>
                  <a:lnTo>
                    <a:pt x="22" y="143"/>
                  </a:lnTo>
                  <a:lnTo>
                    <a:pt x="19" y="139"/>
                  </a:lnTo>
                  <a:lnTo>
                    <a:pt x="13" y="132"/>
                  </a:lnTo>
                  <a:lnTo>
                    <a:pt x="8" y="123"/>
                  </a:lnTo>
                  <a:lnTo>
                    <a:pt x="0" y="119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5" y="106"/>
                  </a:lnTo>
                  <a:lnTo>
                    <a:pt x="8" y="103"/>
                  </a:lnTo>
                  <a:lnTo>
                    <a:pt x="10" y="101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8" y="97"/>
                  </a:lnTo>
                  <a:lnTo>
                    <a:pt x="22" y="99"/>
                  </a:lnTo>
                  <a:lnTo>
                    <a:pt x="26" y="100"/>
                  </a:lnTo>
                  <a:lnTo>
                    <a:pt x="32" y="101"/>
                  </a:lnTo>
                  <a:lnTo>
                    <a:pt x="33" y="90"/>
                  </a:lnTo>
                  <a:lnTo>
                    <a:pt x="45" y="97"/>
                  </a:lnTo>
                  <a:lnTo>
                    <a:pt x="53" y="96"/>
                  </a:lnTo>
                  <a:lnTo>
                    <a:pt x="53" y="96"/>
                  </a:lnTo>
                  <a:lnTo>
                    <a:pt x="59" y="91"/>
                  </a:lnTo>
                  <a:lnTo>
                    <a:pt x="62" y="87"/>
                  </a:lnTo>
                  <a:lnTo>
                    <a:pt x="66" y="86"/>
                  </a:lnTo>
                  <a:lnTo>
                    <a:pt x="69" y="86"/>
                  </a:lnTo>
                  <a:lnTo>
                    <a:pt x="73" y="86"/>
                  </a:lnTo>
                  <a:lnTo>
                    <a:pt x="73" y="86"/>
                  </a:lnTo>
                  <a:lnTo>
                    <a:pt x="73" y="80"/>
                  </a:lnTo>
                  <a:lnTo>
                    <a:pt x="75" y="76"/>
                  </a:lnTo>
                  <a:lnTo>
                    <a:pt x="78" y="73"/>
                  </a:lnTo>
                  <a:lnTo>
                    <a:pt x="83" y="69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91" y="66"/>
                  </a:lnTo>
                  <a:lnTo>
                    <a:pt x="93" y="64"/>
                  </a:lnTo>
                  <a:lnTo>
                    <a:pt x="101" y="60"/>
                  </a:lnTo>
                  <a:lnTo>
                    <a:pt x="101" y="60"/>
                  </a:lnTo>
                  <a:lnTo>
                    <a:pt x="104" y="60"/>
                  </a:lnTo>
                  <a:lnTo>
                    <a:pt x="105" y="61"/>
                  </a:lnTo>
                  <a:lnTo>
                    <a:pt x="111" y="63"/>
                  </a:lnTo>
                  <a:lnTo>
                    <a:pt x="112" y="61"/>
                  </a:lnTo>
                  <a:lnTo>
                    <a:pt x="115" y="61"/>
                  </a:lnTo>
                  <a:lnTo>
                    <a:pt x="119" y="63"/>
                  </a:lnTo>
                  <a:lnTo>
                    <a:pt x="125" y="63"/>
                  </a:lnTo>
                  <a:lnTo>
                    <a:pt x="128" y="61"/>
                  </a:lnTo>
                  <a:lnTo>
                    <a:pt x="131" y="60"/>
                  </a:lnTo>
                  <a:lnTo>
                    <a:pt x="132" y="60"/>
                  </a:lnTo>
                  <a:lnTo>
                    <a:pt x="136" y="59"/>
                  </a:lnTo>
                  <a:lnTo>
                    <a:pt x="138" y="60"/>
                  </a:lnTo>
                  <a:lnTo>
                    <a:pt x="144" y="61"/>
                  </a:lnTo>
                  <a:lnTo>
                    <a:pt x="148" y="60"/>
                  </a:lnTo>
                  <a:lnTo>
                    <a:pt x="152" y="59"/>
                  </a:lnTo>
                  <a:lnTo>
                    <a:pt x="158" y="60"/>
                  </a:lnTo>
                  <a:lnTo>
                    <a:pt x="164" y="61"/>
                  </a:lnTo>
                  <a:lnTo>
                    <a:pt x="168" y="63"/>
                  </a:lnTo>
                  <a:lnTo>
                    <a:pt x="169" y="61"/>
                  </a:lnTo>
                  <a:lnTo>
                    <a:pt x="169" y="61"/>
                  </a:lnTo>
                  <a:lnTo>
                    <a:pt x="174" y="56"/>
                  </a:lnTo>
                  <a:lnTo>
                    <a:pt x="175" y="53"/>
                  </a:lnTo>
                  <a:lnTo>
                    <a:pt x="177" y="50"/>
                  </a:lnTo>
                  <a:lnTo>
                    <a:pt x="177" y="50"/>
                  </a:lnTo>
                  <a:lnTo>
                    <a:pt x="179" y="41"/>
                  </a:lnTo>
                  <a:lnTo>
                    <a:pt x="182" y="33"/>
                  </a:lnTo>
                  <a:lnTo>
                    <a:pt x="182" y="33"/>
                  </a:lnTo>
                  <a:lnTo>
                    <a:pt x="181" y="26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82" y="18"/>
                  </a:lnTo>
                  <a:lnTo>
                    <a:pt x="182" y="18"/>
                  </a:lnTo>
                  <a:lnTo>
                    <a:pt x="185" y="18"/>
                  </a:lnTo>
                  <a:lnTo>
                    <a:pt x="189" y="20"/>
                  </a:lnTo>
                  <a:lnTo>
                    <a:pt x="192" y="24"/>
                  </a:lnTo>
                  <a:lnTo>
                    <a:pt x="197" y="26"/>
                  </a:lnTo>
                  <a:lnTo>
                    <a:pt x="201" y="27"/>
                  </a:lnTo>
                  <a:lnTo>
                    <a:pt x="207" y="28"/>
                  </a:lnTo>
                  <a:lnTo>
                    <a:pt x="218" y="30"/>
                  </a:lnTo>
                  <a:lnTo>
                    <a:pt x="227" y="17"/>
                  </a:lnTo>
                  <a:lnTo>
                    <a:pt x="230" y="11"/>
                  </a:lnTo>
                  <a:lnTo>
                    <a:pt x="232" y="10"/>
                  </a:lnTo>
                  <a:lnTo>
                    <a:pt x="235" y="16"/>
                  </a:lnTo>
                  <a:lnTo>
                    <a:pt x="241" y="13"/>
                  </a:lnTo>
                  <a:lnTo>
                    <a:pt x="242" y="6"/>
                  </a:lnTo>
                  <a:lnTo>
                    <a:pt x="248" y="0"/>
                  </a:lnTo>
                  <a:lnTo>
                    <a:pt x="251" y="1"/>
                  </a:lnTo>
                  <a:lnTo>
                    <a:pt x="254" y="1"/>
                  </a:lnTo>
                  <a:lnTo>
                    <a:pt x="255" y="6"/>
                  </a:lnTo>
                  <a:lnTo>
                    <a:pt x="260" y="8"/>
                  </a:lnTo>
                  <a:lnTo>
                    <a:pt x="261" y="10"/>
                  </a:lnTo>
                  <a:lnTo>
                    <a:pt x="271" y="11"/>
                  </a:lnTo>
                  <a:lnTo>
                    <a:pt x="275" y="14"/>
                  </a:lnTo>
                  <a:lnTo>
                    <a:pt x="285" y="18"/>
                  </a:lnTo>
                  <a:lnTo>
                    <a:pt x="290" y="20"/>
                  </a:lnTo>
                  <a:lnTo>
                    <a:pt x="294" y="18"/>
                  </a:lnTo>
                  <a:lnTo>
                    <a:pt x="297" y="20"/>
                  </a:lnTo>
                  <a:lnTo>
                    <a:pt x="298" y="24"/>
                  </a:lnTo>
                  <a:lnTo>
                    <a:pt x="303" y="30"/>
                  </a:lnTo>
                  <a:lnTo>
                    <a:pt x="305" y="30"/>
                  </a:lnTo>
                  <a:lnTo>
                    <a:pt x="313" y="36"/>
                  </a:lnTo>
                  <a:lnTo>
                    <a:pt x="318" y="37"/>
                  </a:lnTo>
                  <a:lnTo>
                    <a:pt x="323" y="36"/>
                  </a:lnTo>
                  <a:lnTo>
                    <a:pt x="326" y="34"/>
                  </a:lnTo>
                  <a:lnTo>
                    <a:pt x="327" y="31"/>
                  </a:lnTo>
                  <a:lnTo>
                    <a:pt x="327" y="27"/>
                  </a:lnTo>
                  <a:lnTo>
                    <a:pt x="328" y="21"/>
                  </a:lnTo>
                  <a:lnTo>
                    <a:pt x="328" y="18"/>
                  </a:lnTo>
                  <a:lnTo>
                    <a:pt x="330" y="16"/>
                  </a:lnTo>
                  <a:lnTo>
                    <a:pt x="330" y="13"/>
                  </a:lnTo>
                  <a:lnTo>
                    <a:pt x="333" y="13"/>
                  </a:lnTo>
                  <a:lnTo>
                    <a:pt x="334" y="13"/>
                  </a:lnTo>
                  <a:lnTo>
                    <a:pt x="337" y="13"/>
                  </a:lnTo>
                  <a:lnTo>
                    <a:pt x="340" y="11"/>
                  </a:lnTo>
                  <a:lnTo>
                    <a:pt x="343" y="8"/>
                  </a:lnTo>
                  <a:lnTo>
                    <a:pt x="344" y="7"/>
                  </a:lnTo>
                  <a:lnTo>
                    <a:pt x="350" y="4"/>
                  </a:lnTo>
                  <a:lnTo>
                    <a:pt x="353" y="4"/>
                  </a:lnTo>
                  <a:lnTo>
                    <a:pt x="354" y="7"/>
                  </a:lnTo>
                  <a:lnTo>
                    <a:pt x="356" y="10"/>
                  </a:lnTo>
                  <a:lnTo>
                    <a:pt x="356" y="14"/>
                  </a:lnTo>
                  <a:lnTo>
                    <a:pt x="356" y="16"/>
                  </a:lnTo>
                  <a:lnTo>
                    <a:pt x="356" y="20"/>
                  </a:lnTo>
                  <a:lnTo>
                    <a:pt x="356" y="21"/>
                  </a:lnTo>
                  <a:lnTo>
                    <a:pt x="356" y="23"/>
                  </a:lnTo>
                  <a:lnTo>
                    <a:pt x="351" y="26"/>
                  </a:lnTo>
                  <a:lnTo>
                    <a:pt x="350" y="27"/>
                  </a:lnTo>
                  <a:lnTo>
                    <a:pt x="350" y="30"/>
                  </a:lnTo>
                  <a:lnTo>
                    <a:pt x="347" y="33"/>
                  </a:lnTo>
                  <a:lnTo>
                    <a:pt x="347" y="36"/>
                  </a:lnTo>
                  <a:lnTo>
                    <a:pt x="346" y="40"/>
                  </a:lnTo>
                  <a:lnTo>
                    <a:pt x="346" y="41"/>
                  </a:lnTo>
                  <a:lnTo>
                    <a:pt x="348" y="43"/>
                  </a:lnTo>
                  <a:lnTo>
                    <a:pt x="353" y="41"/>
                  </a:lnTo>
                  <a:lnTo>
                    <a:pt x="356" y="43"/>
                  </a:lnTo>
                  <a:lnTo>
                    <a:pt x="358" y="43"/>
                  </a:lnTo>
                  <a:lnTo>
                    <a:pt x="360" y="46"/>
                  </a:lnTo>
                  <a:lnTo>
                    <a:pt x="361" y="47"/>
                  </a:lnTo>
                  <a:lnTo>
                    <a:pt x="361" y="48"/>
                  </a:lnTo>
                  <a:lnTo>
                    <a:pt x="363" y="50"/>
                  </a:lnTo>
                  <a:lnTo>
                    <a:pt x="364" y="51"/>
                  </a:lnTo>
                  <a:lnTo>
                    <a:pt x="368" y="54"/>
                  </a:lnTo>
                  <a:lnTo>
                    <a:pt x="370" y="57"/>
                  </a:lnTo>
                  <a:lnTo>
                    <a:pt x="368" y="61"/>
                  </a:lnTo>
                  <a:lnTo>
                    <a:pt x="367" y="61"/>
                  </a:lnTo>
                  <a:lnTo>
                    <a:pt x="366" y="64"/>
                  </a:lnTo>
                  <a:lnTo>
                    <a:pt x="364" y="80"/>
                  </a:lnTo>
                  <a:lnTo>
                    <a:pt x="364" y="86"/>
                  </a:lnTo>
                  <a:lnTo>
                    <a:pt x="373" y="90"/>
                  </a:lnTo>
                  <a:lnTo>
                    <a:pt x="386" y="93"/>
                  </a:lnTo>
                  <a:lnTo>
                    <a:pt x="391" y="96"/>
                  </a:lnTo>
                  <a:lnTo>
                    <a:pt x="391" y="100"/>
                  </a:lnTo>
                  <a:lnTo>
                    <a:pt x="393" y="104"/>
                  </a:lnTo>
                  <a:lnTo>
                    <a:pt x="396" y="110"/>
                  </a:lnTo>
                  <a:lnTo>
                    <a:pt x="397" y="112"/>
                  </a:lnTo>
                  <a:lnTo>
                    <a:pt x="400" y="110"/>
                  </a:lnTo>
                  <a:lnTo>
                    <a:pt x="401" y="106"/>
                  </a:lnTo>
                  <a:lnTo>
                    <a:pt x="404" y="106"/>
                  </a:lnTo>
                  <a:lnTo>
                    <a:pt x="409" y="107"/>
                  </a:lnTo>
                  <a:lnTo>
                    <a:pt x="410" y="109"/>
                  </a:lnTo>
                  <a:lnTo>
                    <a:pt x="411" y="113"/>
                  </a:lnTo>
                  <a:lnTo>
                    <a:pt x="411" y="116"/>
                  </a:lnTo>
                  <a:lnTo>
                    <a:pt x="409" y="120"/>
                  </a:lnTo>
                  <a:lnTo>
                    <a:pt x="407" y="124"/>
                  </a:lnTo>
                  <a:lnTo>
                    <a:pt x="407" y="127"/>
                  </a:lnTo>
                  <a:lnTo>
                    <a:pt x="413" y="127"/>
                  </a:lnTo>
                  <a:lnTo>
                    <a:pt x="416" y="126"/>
                  </a:lnTo>
                  <a:lnTo>
                    <a:pt x="420" y="126"/>
                  </a:lnTo>
                  <a:lnTo>
                    <a:pt x="424" y="127"/>
                  </a:lnTo>
                  <a:lnTo>
                    <a:pt x="426" y="130"/>
                  </a:lnTo>
                  <a:lnTo>
                    <a:pt x="426" y="134"/>
                  </a:lnTo>
                  <a:lnTo>
                    <a:pt x="424" y="137"/>
                  </a:lnTo>
                  <a:lnTo>
                    <a:pt x="423" y="142"/>
                  </a:lnTo>
                  <a:lnTo>
                    <a:pt x="424" y="147"/>
                  </a:lnTo>
                  <a:lnTo>
                    <a:pt x="424" y="153"/>
                  </a:lnTo>
                  <a:lnTo>
                    <a:pt x="430" y="157"/>
                  </a:lnTo>
                  <a:lnTo>
                    <a:pt x="434" y="157"/>
                  </a:lnTo>
                  <a:lnTo>
                    <a:pt x="437" y="159"/>
                  </a:lnTo>
                  <a:lnTo>
                    <a:pt x="437" y="163"/>
                  </a:lnTo>
                  <a:lnTo>
                    <a:pt x="436" y="166"/>
                  </a:lnTo>
                  <a:lnTo>
                    <a:pt x="436" y="170"/>
                  </a:lnTo>
                  <a:lnTo>
                    <a:pt x="439" y="175"/>
                  </a:lnTo>
                  <a:lnTo>
                    <a:pt x="440" y="175"/>
                  </a:lnTo>
                  <a:lnTo>
                    <a:pt x="440" y="179"/>
                  </a:lnTo>
                  <a:lnTo>
                    <a:pt x="439" y="183"/>
                  </a:lnTo>
                  <a:lnTo>
                    <a:pt x="443" y="185"/>
                  </a:lnTo>
                  <a:lnTo>
                    <a:pt x="447" y="185"/>
                  </a:lnTo>
                  <a:lnTo>
                    <a:pt x="449" y="187"/>
                  </a:lnTo>
                  <a:lnTo>
                    <a:pt x="452" y="193"/>
                  </a:lnTo>
                  <a:lnTo>
                    <a:pt x="454" y="195"/>
                  </a:lnTo>
                  <a:lnTo>
                    <a:pt x="459" y="200"/>
                  </a:lnTo>
                  <a:lnTo>
                    <a:pt x="463" y="207"/>
                  </a:lnTo>
                  <a:lnTo>
                    <a:pt x="466" y="212"/>
                  </a:lnTo>
                  <a:lnTo>
                    <a:pt x="469" y="213"/>
                  </a:lnTo>
                  <a:lnTo>
                    <a:pt x="476" y="222"/>
                  </a:lnTo>
                  <a:lnTo>
                    <a:pt x="482" y="228"/>
                  </a:lnTo>
                  <a:lnTo>
                    <a:pt x="483" y="228"/>
                  </a:lnTo>
                  <a:lnTo>
                    <a:pt x="487" y="225"/>
                  </a:lnTo>
                  <a:lnTo>
                    <a:pt x="493" y="232"/>
                  </a:lnTo>
                  <a:lnTo>
                    <a:pt x="502" y="242"/>
                  </a:lnTo>
                  <a:lnTo>
                    <a:pt x="503" y="243"/>
                  </a:lnTo>
                  <a:lnTo>
                    <a:pt x="506" y="240"/>
                  </a:lnTo>
                  <a:lnTo>
                    <a:pt x="515" y="253"/>
                  </a:lnTo>
                  <a:lnTo>
                    <a:pt x="523" y="263"/>
                  </a:lnTo>
                  <a:lnTo>
                    <a:pt x="525" y="266"/>
                  </a:lnTo>
                  <a:lnTo>
                    <a:pt x="526" y="273"/>
                  </a:lnTo>
                  <a:lnTo>
                    <a:pt x="527" y="275"/>
                  </a:lnTo>
                  <a:lnTo>
                    <a:pt x="530" y="278"/>
                  </a:lnTo>
                  <a:lnTo>
                    <a:pt x="535" y="279"/>
                  </a:lnTo>
                  <a:lnTo>
                    <a:pt x="540" y="273"/>
                  </a:lnTo>
                  <a:lnTo>
                    <a:pt x="545" y="273"/>
                  </a:lnTo>
                  <a:lnTo>
                    <a:pt x="548" y="270"/>
                  </a:lnTo>
                  <a:lnTo>
                    <a:pt x="550" y="268"/>
                  </a:lnTo>
                  <a:lnTo>
                    <a:pt x="555" y="265"/>
                  </a:lnTo>
                  <a:lnTo>
                    <a:pt x="556" y="268"/>
                  </a:lnTo>
                  <a:lnTo>
                    <a:pt x="559" y="272"/>
                  </a:lnTo>
                  <a:lnTo>
                    <a:pt x="562" y="276"/>
                  </a:lnTo>
                  <a:lnTo>
                    <a:pt x="563" y="279"/>
                  </a:lnTo>
                  <a:lnTo>
                    <a:pt x="566" y="276"/>
                  </a:lnTo>
                  <a:lnTo>
                    <a:pt x="569" y="275"/>
                  </a:lnTo>
                  <a:lnTo>
                    <a:pt x="570" y="275"/>
                  </a:lnTo>
                  <a:lnTo>
                    <a:pt x="575" y="281"/>
                  </a:lnTo>
                  <a:lnTo>
                    <a:pt x="578" y="285"/>
                  </a:lnTo>
                  <a:lnTo>
                    <a:pt x="582" y="286"/>
                  </a:lnTo>
                  <a:lnTo>
                    <a:pt x="583" y="285"/>
                  </a:lnTo>
                  <a:lnTo>
                    <a:pt x="586" y="282"/>
                  </a:lnTo>
                  <a:lnTo>
                    <a:pt x="589" y="281"/>
                  </a:lnTo>
                  <a:lnTo>
                    <a:pt x="592" y="279"/>
                  </a:lnTo>
                  <a:lnTo>
                    <a:pt x="593" y="275"/>
                  </a:lnTo>
                  <a:lnTo>
                    <a:pt x="599" y="270"/>
                  </a:lnTo>
                  <a:lnTo>
                    <a:pt x="611" y="260"/>
                  </a:lnTo>
                  <a:lnTo>
                    <a:pt x="618" y="266"/>
                  </a:lnTo>
                  <a:lnTo>
                    <a:pt x="621" y="269"/>
                  </a:lnTo>
                  <a:lnTo>
                    <a:pt x="621" y="272"/>
                  </a:lnTo>
                  <a:lnTo>
                    <a:pt x="622" y="275"/>
                  </a:lnTo>
                  <a:lnTo>
                    <a:pt x="623" y="279"/>
                  </a:lnTo>
                  <a:lnTo>
                    <a:pt x="626" y="282"/>
                  </a:lnTo>
                  <a:lnTo>
                    <a:pt x="629" y="279"/>
                  </a:lnTo>
                  <a:lnTo>
                    <a:pt x="633" y="281"/>
                  </a:lnTo>
                  <a:lnTo>
                    <a:pt x="636" y="283"/>
                  </a:lnTo>
                  <a:lnTo>
                    <a:pt x="638" y="285"/>
                  </a:lnTo>
                  <a:lnTo>
                    <a:pt x="639" y="288"/>
                  </a:lnTo>
                  <a:lnTo>
                    <a:pt x="642" y="291"/>
                  </a:lnTo>
                  <a:lnTo>
                    <a:pt x="643" y="293"/>
                  </a:lnTo>
                  <a:lnTo>
                    <a:pt x="646" y="296"/>
                  </a:lnTo>
                  <a:lnTo>
                    <a:pt x="648" y="299"/>
                  </a:lnTo>
                  <a:lnTo>
                    <a:pt x="643" y="305"/>
                  </a:lnTo>
                  <a:lnTo>
                    <a:pt x="638" y="305"/>
                  </a:lnTo>
                  <a:lnTo>
                    <a:pt x="629" y="312"/>
                  </a:lnTo>
                  <a:lnTo>
                    <a:pt x="625" y="315"/>
                  </a:lnTo>
                  <a:lnTo>
                    <a:pt x="623" y="322"/>
                  </a:lnTo>
                  <a:lnTo>
                    <a:pt x="625" y="331"/>
                  </a:lnTo>
                  <a:lnTo>
                    <a:pt x="626" y="336"/>
                  </a:lnTo>
                  <a:lnTo>
                    <a:pt x="626" y="338"/>
                  </a:lnTo>
                  <a:lnTo>
                    <a:pt x="626" y="342"/>
                  </a:lnTo>
                  <a:lnTo>
                    <a:pt x="622" y="345"/>
                  </a:lnTo>
                  <a:lnTo>
                    <a:pt x="621" y="346"/>
                  </a:lnTo>
                  <a:lnTo>
                    <a:pt x="615" y="349"/>
                  </a:lnTo>
                  <a:lnTo>
                    <a:pt x="612" y="354"/>
                  </a:lnTo>
                  <a:lnTo>
                    <a:pt x="612" y="362"/>
                  </a:lnTo>
                  <a:lnTo>
                    <a:pt x="611" y="366"/>
                  </a:lnTo>
                  <a:lnTo>
                    <a:pt x="615" y="371"/>
                  </a:lnTo>
                  <a:lnTo>
                    <a:pt x="619" y="371"/>
                  </a:lnTo>
                  <a:lnTo>
                    <a:pt x="621" y="371"/>
                  </a:lnTo>
                  <a:lnTo>
                    <a:pt x="619" y="375"/>
                  </a:lnTo>
                  <a:lnTo>
                    <a:pt x="613" y="378"/>
                  </a:lnTo>
                  <a:lnTo>
                    <a:pt x="609" y="382"/>
                  </a:lnTo>
                  <a:lnTo>
                    <a:pt x="611" y="388"/>
                  </a:lnTo>
                  <a:lnTo>
                    <a:pt x="609" y="392"/>
                  </a:lnTo>
                  <a:lnTo>
                    <a:pt x="605" y="402"/>
                  </a:lnTo>
                  <a:lnTo>
                    <a:pt x="600" y="405"/>
                  </a:lnTo>
                  <a:lnTo>
                    <a:pt x="598" y="407"/>
                  </a:lnTo>
                  <a:lnTo>
                    <a:pt x="592" y="404"/>
                  </a:lnTo>
                  <a:lnTo>
                    <a:pt x="588" y="395"/>
                  </a:lnTo>
                  <a:lnTo>
                    <a:pt x="583" y="391"/>
                  </a:lnTo>
                  <a:lnTo>
                    <a:pt x="578" y="389"/>
                  </a:lnTo>
                  <a:lnTo>
                    <a:pt x="576" y="392"/>
                  </a:lnTo>
                  <a:lnTo>
                    <a:pt x="578" y="395"/>
                  </a:lnTo>
                  <a:lnTo>
                    <a:pt x="575" y="397"/>
                  </a:lnTo>
                  <a:lnTo>
                    <a:pt x="570" y="397"/>
                  </a:lnTo>
                  <a:lnTo>
                    <a:pt x="570" y="401"/>
                  </a:lnTo>
                  <a:lnTo>
                    <a:pt x="569" y="407"/>
                  </a:lnTo>
                  <a:lnTo>
                    <a:pt x="563" y="404"/>
                  </a:lnTo>
                  <a:lnTo>
                    <a:pt x="558" y="398"/>
                  </a:lnTo>
                  <a:lnTo>
                    <a:pt x="555" y="395"/>
                  </a:lnTo>
                  <a:lnTo>
                    <a:pt x="552" y="395"/>
                  </a:lnTo>
                  <a:lnTo>
                    <a:pt x="549" y="395"/>
                  </a:lnTo>
                  <a:lnTo>
                    <a:pt x="546" y="395"/>
                  </a:lnTo>
                  <a:lnTo>
                    <a:pt x="540" y="395"/>
                  </a:lnTo>
                  <a:lnTo>
                    <a:pt x="536" y="398"/>
                  </a:lnTo>
                  <a:lnTo>
                    <a:pt x="532" y="404"/>
                  </a:lnTo>
                  <a:lnTo>
                    <a:pt x="527" y="402"/>
                  </a:lnTo>
                  <a:lnTo>
                    <a:pt x="525" y="398"/>
                  </a:lnTo>
                  <a:lnTo>
                    <a:pt x="519" y="394"/>
                  </a:lnTo>
                  <a:lnTo>
                    <a:pt x="516" y="391"/>
                  </a:lnTo>
                  <a:lnTo>
                    <a:pt x="513" y="389"/>
                  </a:lnTo>
                  <a:lnTo>
                    <a:pt x="507" y="388"/>
                  </a:lnTo>
                  <a:lnTo>
                    <a:pt x="497" y="386"/>
                  </a:lnTo>
                  <a:lnTo>
                    <a:pt x="493" y="391"/>
                  </a:lnTo>
                  <a:lnTo>
                    <a:pt x="489" y="392"/>
                  </a:lnTo>
                  <a:lnTo>
                    <a:pt x="480" y="397"/>
                  </a:lnTo>
                  <a:lnTo>
                    <a:pt x="473" y="394"/>
                  </a:lnTo>
                  <a:lnTo>
                    <a:pt x="467" y="391"/>
                  </a:lnTo>
                  <a:lnTo>
                    <a:pt x="460" y="394"/>
                  </a:lnTo>
                  <a:lnTo>
                    <a:pt x="457" y="397"/>
                  </a:lnTo>
                  <a:lnTo>
                    <a:pt x="457" y="401"/>
                  </a:lnTo>
                  <a:lnTo>
                    <a:pt x="452" y="407"/>
                  </a:lnTo>
                  <a:lnTo>
                    <a:pt x="450" y="409"/>
                  </a:lnTo>
                  <a:lnTo>
                    <a:pt x="443" y="409"/>
                  </a:lnTo>
                  <a:lnTo>
                    <a:pt x="440" y="412"/>
                  </a:lnTo>
                  <a:lnTo>
                    <a:pt x="433" y="421"/>
                  </a:lnTo>
                  <a:lnTo>
                    <a:pt x="430" y="424"/>
                  </a:lnTo>
                  <a:lnTo>
                    <a:pt x="429" y="422"/>
                  </a:lnTo>
                  <a:lnTo>
                    <a:pt x="403" y="402"/>
                  </a:lnTo>
                  <a:lnTo>
                    <a:pt x="393" y="395"/>
                  </a:lnTo>
                  <a:lnTo>
                    <a:pt x="387" y="395"/>
                  </a:lnTo>
                  <a:lnTo>
                    <a:pt x="383" y="397"/>
                  </a:lnTo>
                  <a:lnTo>
                    <a:pt x="367" y="398"/>
                  </a:lnTo>
                  <a:lnTo>
                    <a:pt x="366" y="391"/>
                  </a:lnTo>
                  <a:lnTo>
                    <a:pt x="366" y="385"/>
                  </a:lnTo>
                  <a:lnTo>
                    <a:pt x="370" y="379"/>
                  </a:lnTo>
                  <a:lnTo>
                    <a:pt x="373" y="374"/>
                  </a:lnTo>
                  <a:lnTo>
                    <a:pt x="368" y="368"/>
                  </a:lnTo>
                  <a:lnTo>
                    <a:pt x="364" y="362"/>
                  </a:lnTo>
                  <a:lnTo>
                    <a:pt x="360" y="359"/>
                  </a:lnTo>
                  <a:lnTo>
                    <a:pt x="366" y="351"/>
                  </a:lnTo>
                  <a:lnTo>
                    <a:pt x="348" y="336"/>
                  </a:lnTo>
                  <a:lnTo>
                    <a:pt x="340" y="331"/>
                  </a:lnTo>
                  <a:lnTo>
                    <a:pt x="337" y="334"/>
                  </a:lnTo>
                  <a:lnTo>
                    <a:pt x="331" y="338"/>
                  </a:lnTo>
                  <a:lnTo>
                    <a:pt x="324" y="344"/>
                  </a:lnTo>
                  <a:lnTo>
                    <a:pt x="320" y="351"/>
                  </a:lnTo>
                  <a:lnTo>
                    <a:pt x="315" y="352"/>
                  </a:lnTo>
                  <a:lnTo>
                    <a:pt x="310" y="354"/>
                  </a:lnTo>
                  <a:lnTo>
                    <a:pt x="307" y="355"/>
                  </a:lnTo>
                  <a:lnTo>
                    <a:pt x="305" y="359"/>
                  </a:lnTo>
                  <a:lnTo>
                    <a:pt x="300" y="359"/>
                  </a:lnTo>
                  <a:lnTo>
                    <a:pt x="295" y="362"/>
                  </a:lnTo>
                  <a:lnTo>
                    <a:pt x="290" y="362"/>
                  </a:lnTo>
                  <a:lnTo>
                    <a:pt x="285" y="356"/>
                  </a:lnTo>
                  <a:lnTo>
                    <a:pt x="283" y="354"/>
                  </a:lnTo>
                  <a:lnTo>
                    <a:pt x="268" y="355"/>
                  </a:lnTo>
                  <a:lnTo>
                    <a:pt x="265" y="355"/>
                  </a:lnTo>
                  <a:lnTo>
                    <a:pt x="260" y="355"/>
                  </a:lnTo>
                  <a:lnTo>
                    <a:pt x="252" y="356"/>
                  </a:lnTo>
                  <a:lnTo>
                    <a:pt x="245" y="355"/>
                  </a:lnTo>
                  <a:lnTo>
                    <a:pt x="242" y="351"/>
                  </a:lnTo>
                  <a:lnTo>
                    <a:pt x="238" y="351"/>
                  </a:lnTo>
                  <a:lnTo>
                    <a:pt x="232" y="349"/>
                  </a:lnTo>
                  <a:lnTo>
                    <a:pt x="227" y="349"/>
                  </a:lnTo>
                  <a:lnTo>
                    <a:pt x="221" y="346"/>
                  </a:lnTo>
                  <a:lnTo>
                    <a:pt x="215" y="344"/>
                  </a:lnTo>
                  <a:lnTo>
                    <a:pt x="212" y="341"/>
                  </a:lnTo>
                  <a:lnTo>
                    <a:pt x="208" y="338"/>
                  </a:lnTo>
                  <a:lnTo>
                    <a:pt x="204" y="332"/>
                  </a:lnTo>
                  <a:lnTo>
                    <a:pt x="202" y="326"/>
                  </a:lnTo>
                  <a:lnTo>
                    <a:pt x="204" y="322"/>
                  </a:lnTo>
                  <a:lnTo>
                    <a:pt x="205" y="318"/>
                  </a:lnTo>
                  <a:lnTo>
                    <a:pt x="208" y="313"/>
                  </a:lnTo>
                  <a:lnTo>
                    <a:pt x="207" y="306"/>
                  </a:lnTo>
                  <a:lnTo>
                    <a:pt x="208" y="303"/>
                  </a:lnTo>
                  <a:lnTo>
                    <a:pt x="210" y="301"/>
                  </a:lnTo>
                  <a:lnTo>
                    <a:pt x="210" y="296"/>
                  </a:lnTo>
                  <a:lnTo>
                    <a:pt x="210" y="296"/>
                  </a:lnTo>
                  <a:lnTo>
                    <a:pt x="204" y="296"/>
                  </a:lnTo>
                  <a:lnTo>
                    <a:pt x="204" y="296"/>
                  </a:lnTo>
                  <a:lnTo>
                    <a:pt x="195" y="295"/>
                  </a:lnTo>
                  <a:lnTo>
                    <a:pt x="195" y="295"/>
                  </a:lnTo>
                  <a:lnTo>
                    <a:pt x="189" y="293"/>
                  </a:lnTo>
                  <a:lnTo>
                    <a:pt x="187" y="295"/>
                  </a:lnTo>
                  <a:lnTo>
                    <a:pt x="185" y="296"/>
                  </a:lnTo>
                  <a:lnTo>
                    <a:pt x="181" y="299"/>
                  </a:lnTo>
                  <a:lnTo>
                    <a:pt x="175" y="301"/>
                  </a:lnTo>
                  <a:lnTo>
                    <a:pt x="171" y="30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97" name="Freeform 145"/>
            <p:cNvSpPr>
              <a:spLocks/>
            </p:cNvSpPr>
            <p:nvPr/>
          </p:nvSpPr>
          <p:spPr bwMode="auto">
            <a:xfrm>
              <a:off x="3019920" y="3442998"/>
              <a:ext cx="478688" cy="542391"/>
            </a:xfrm>
            <a:custGeom>
              <a:avLst/>
              <a:gdLst>
                <a:gd name="T0" fmla="*/ 544 w 785"/>
                <a:gd name="T1" fmla="*/ 46 h 821"/>
                <a:gd name="T2" fmla="*/ 485 w 785"/>
                <a:gd name="T3" fmla="*/ 165 h 821"/>
                <a:gd name="T4" fmla="*/ 447 w 785"/>
                <a:gd name="T5" fmla="*/ 311 h 821"/>
                <a:gd name="T6" fmla="*/ 465 w 785"/>
                <a:gd name="T7" fmla="*/ 347 h 821"/>
                <a:gd name="T8" fmla="*/ 514 w 785"/>
                <a:gd name="T9" fmla="*/ 314 h 821"/>
                <a:gd name="T10" fmla="*/ 567 w 785"/>
                <a:gd name="T11" fmla="*/ 324 h 821"/>
                <a:gd name="T12" fmla="*/ 613 w 785"/>
                <a:gd name="T13" fmla="*/ 325 h 821"/>
                <a:gd name="T14" fmla="*/ 634 w 785"/>
                <a:gd name="T15" fmla="*/ 365 h 821"/>
                <a:gd name="T16" fmla="*/ 706 w 785"/>
                <a:gd name="T17" fmla="*/ 344 h 821"/>
                <a:gd name="T18" fmla="*/ 740 w 785"/>
                <a:gd name="T19" fmla="*/ 411 h 821"/>
                <a:gd name="T20" fmla="*/ 776 w 785"/>
                <a:gd name="T21" fmla="*/ 468 h 821"/>
                <a:gd name="T22" fmla="*/ 723 w 785"/>
                <a:gd name="T23" fmla="*/ 503 h 821"/>
                <a:gd name="T24" fmla="*/ 667 w 785"/>
                <a:gd name="T25" fmla="*/ 553 h 821"/>
                <a:gd name="T26" fmla="*/ 687 w 785"/>
                <a:gd name="T27" fmla="*/ 599 h 821"/>
                <a:gd name="T28" fmla="*/ 637 w 785"/>
                <a:gd name="T29" fmla="*/ 643 h 821"/>
                <a:gd name="T30" fmla="*/ 591 w 785"/>
                <a:gd name="T31" fmla="*/ 656 h 821"/>
                <a:gd name="T32" fmla="*/ 554 w 785"/>
                <a:gd name="T33" fmla="*/ 627 h 821"/>
                <a:gd name="T34" fmla="*/ 501 w 785"/>
                <a:gd name="T35" fmla="*/ 567 h 821"/>
                <a:gd name="T36" fmla="*/ 455 w 785"/>
                <a:gd name="T37" fmla="*/ 594 h 821"/>
                <a:gd name="T38" fmla="*/ 428 w 785"/>
                <a:gd name="T39" fmla="*/ 640 h 821"/>
                <a:gd name="T40" fmla="*/ 371 w 785"/>
                <a:gd name="T41" fmla="*/ 665 h 821"/>
                <a:gd name="T42" fmla="*/ 312 w 785"/>
                <a:gd name="T43" fmla="*/ 663 h 821"/>
                <a:gd name="T44" fmla="*/ 289 w 785"/>
                <a:gd name="T45" fmla="*/ 728 h 821"/>
                <a:gd name="T46" fmla="*/ 255 w 785"/>
                <a:gd name="T47" fmla="*/ 745 h 821"/>
                <a:gd name="T48" fmla="*/ 229 w 785"/>
                <a:gd name="T49" fmla="*/ 782 h 821"/>
                <a:gd name="T50" fmla="*/ 228 w 785"/>
                <a:gd name="T51" fmla="*/ 818 h 821"/>
                <a:gd name="T52" fmla="*/ 193 w 785"/>
                <a:gd name="T53" fmla="*/ 768 h 821"/>
                <a:gd name="T54" fmla="*/ 182 w 785"/>
                <a:gd name="T55" fmla="*/ 742 h 821"/>
                <a:gd name="T56" fmla="*/ 198 w 785"/>
                <a:gd name="T57" fmla="*/ 690 h 821"/>
                <a:gd name="T58" fmla="*/ 180 w 785"/>
                <a:gd name="T59" fmla="*/ 670 h 821"/>
                <a:gd name="T60" fmla="*/ 189 w 785"/>
                <a:gd name="T61" fmla="*/ 629 h 821"/>
                <a:gd name="T62" fmla="*/ 178 w 785"/>
                <a:gd name="T63" fmla="*/ 594 h 821"/>
                <a:gd name="T64" fmla="*/ 175 w 785"/>
                <a:gd name="T65" fmla="*/ 540 h 821"/>
                <a:gd name="T66" fmla="*/ 125 w 785"/>
                <a:gd name="T67" fmla="*/ 511 h 821"/>
                <a:gd name="T68" fmla="*/ 82 w 785"/>
                <a:gd name="T69" fmla="*/ 500 h 821"/>
                <a:gd name="T70" fmla="*/ 37 w 785"/>
                <a:gd name="T71" fmla="*/ 483 h 821"/>
                <a:gd name="T72" fmla="*/ 21 w 785"/>
                <a:gd name="T73" fmla="*/ 454 h 821"/>
                <a:gd name="T74" fmla="*/ 16 w 785"/>
                <a:gd name="T75" fmla="*/ 421 h 821"/>
                <a:gd name="T76" fmla="*/ 41 w 785"/>
                <a:gd name="T77" fmla="*/ 387 h 821"/>
                <a:gd name="T78" fmla="*/ 70 w 785"/>
                <a:gd name="T79" fmla="*/ 374 h 821"/>
                <a:gd name="T80" fmla="*/ 112 w 785"/>
                <a:gd name="T81" fmla="*/ 400 h 821"/>
                <a:gd name="T82" fmla="*/ 127 w 785"/>
                <a:gd name="T83" fmla="*/ 408 h 821"/>
                <a:gd name="T84" fmla="*/ 178 w 785"/>
                <a:gd name="T85" fmla="*/ 380 h 821"/>
                <a:gd name="T86" fmla="*/ 172 w 785"/>
                <a:gd name="T87" fmla="*/ 357 h 821"/>
                <a:gd name="T88" fmla="*/ 120 w 785"/>
                <a:gd name="T89" fmla="*/ 294 h 821"/>
                <a:gd name="T90" fmla="*/ 132 w 785"/>
                <a:gd name="T91" fmla="*/ 266 h 821"/>
                <a:gd name="T92" fmla="*/ 196 w 785"/>
                <a:gd name="T93" fmla="*/ 246 h 821"/>
                <a:gd name="T94" fmla="*/ 241 w 785"/>
                <a:gd name="T95" fmla="*/ 256 h 821"/>
                <a:gd name="T96" fmla="*/ 281 w 785"/>
                <a:gd name="T97" fmla="*/ 264 h 821"/>
                <a:gd name="T98" fmla="*/ 295 w 785"/>
                <a:gd name="T99" fmla="*/ 219 h 821"/>
                <a:gd name="T100" fmla="*/ 321 w 785"/>
                <a:gd name="T101" fmla="*/ 163 h 821"/>
                <a:gd name="T102" fmla="*/ 342 w 785"/>
                <a:gd name="T103" fmla="*/ 125 h 821"/>
                <a:gd name="T104" fmla="*/ 387 w 785"/>
                <a:gd name="T105" fmla="*/ 90 h 821"/>
                <a:gd name="T106" fmla="*/ 359 w 785"/>
                <a:gd name="T107" fmla="*/ 74 h 821"/>
                <a:gd name="T108" fmla="*/ 362 w 785"/>
                <a:gd name="T109" fmla="*/ 36 h 821"/>
                <a:gd name="T110" fmla="*/ 378 w 785"/>
                <a:gd name="T111" fmla="*/ 60 h 821"/>
                <a:gd name="T112" fmla="*/ 402 w 785"/>
                <a:gd name="T113" fmla="*/ 47 h 821"/>
                <a:gd name="T114" fmla="*/ 447 w 785"/>
                <a:gd name="T115" fmla="*/ 34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85" h="821">
                  <a:moveTo>
                    <a:pt x="475" y="14"/>
                  </a:moveTo>
                  <a:lnTo>
                    <a:pt x="478" y="13"/>
                  </a:lnTo>
                  <a:lnTo>
                    <a:pt x="488" y="9"/>
                  </a:lnTo>
                  <a:lnTo>
                    <a:pt x="495" y="7"/>
                  </a:lnTo>
                  <a:lnTo>
                    <a:pt x="501" y="3"/>
                  </a:lnTo>
                  <a:lnTo>
                    <a:pt x="507" y="0"/>
                  </a:lnTo>
                  <a:lnTo>
                    <a:pt x="511" y="4"/>
                  </a:lnTo>
                  <a:lnTo>
                    <a:pt x="517" y="7"/>
                  </a:lnTo>
                  <a:lnTo>
                    <a:pt x="533" y="23"/>
                  </a:lnTo>
                  <a:lnTo>
                    <a:pt x="531" y="29"/>
                  </a:lnTo>
                  <a:lnTo>
                    <a:pt x="536" y="34"/>
                  </a:lnTo>
                  <a:lnTo>
                    <a:pt x="544" y="46"/>
                  </a:lnTo>
                  <a:lnTo>
                    <a:pt x="530" y="60"/>
                  </a:lnTo>
                  <a:lnTo>
                    <a:pt x="550" y="87"/>
                  </a:lnTo>
                  <a:lnTo>
                    <a:pt x="550" y="87"/>
                  </a:lnTo>
                  <a:lnTo>
                    <a:pt x="531" y="125"/>
                  </a:lnTo>
                  <a:lnTo>
                    <a:pt x="526" y="126"/>
                  </a:lnTo>
                  <a:lnTo>
                    <a:pt x="523" y="130"/>
                  </a:lnTo>
                  <a:lnTo>
                    <a:pt x="518" y="135"/>
                  </a:lnTo>
                  <a:lnTo>
                    <a:pt x="511" y="145"/>
                  </a:lnTo>
                  <a:lnTo>
                    <a:pt x="510" y="149"/>
                  </a:lnTo>
                  <a:lnTo>
                    <a:pt x="511" y="165"/>
                  </a:lnTo>
                  <a:lnTo>
                    <a:pt x="501" y="168"/>
                  </a:lnTo>
                  <a:lnTo>
                    <a:pt x="485" y="165"/>
                  </a:lnTo>
                  <a:lnTo>
                    <a:pt x="471" y="169"/>
                  </a:lnTo>
                  <a:lnTo>
                    <a:pt x="464" y="185"/>
                  </a:lnTo>
                  <a:lnTo>
                    <a:pt x="427" y="223"/>
                  </a:lnTo>
                  <a:lnTo>
                    <a:pt x="457" y="264"/>
                  </a:lnTo>
                  <a:lnTo>
                    <a:pt x="444" y="272"/>
                  </a:lnTo>
                  <a:lnTo>
                    <a:pt x="432" y="281"/>
                  </a:lnTo>
                  <a:lnTo>
                    <a:pt x="441" y="286"/>
                  </a:lnTo>
                  <a:lnTo>
                    <a:pt x="445" y="291"/>
                  </a:lnTo>
                  <a:lnTo>
                    <a:pt x="445" y="296"/>
                  </a:lnTo>
                  <a:lnTo>
                    <a:pt x="445" y="301"/>
                  </a:lnTo>
                  <a:lnTo>
                    <a:pt x="441" y="305"/>
                  </a:lnTo>
                  <a:lnTo>
                    <a:pt x="447" y="311"/>
                  </a:lnTo>
                  <a:lnTo>
                    <a:pt x="451" y="315"/>
                  </a:lnTo>
                  <a:lnTo>
                    <a:pt x="452" y="319"/>
                  </a:lnTo>
                  <a:lnTo>
                    <a:pt x="451" y="324"/>
                  </a:lnTo>
                  <a:lnTo>
                    <a:pt x="441" y="331"/>
                  </a:lnTo>
                  <a:lnTo>
                    <a:pt x="434" y="337"/>
                  </a:lnTo>
                  <a:lnTo>
                    <a:pt x="428" y="341"/>
                  </a:lnTo>
                  <a:lnTo>
                    <a:pt x="438" y="351"/>
                  </a:lnTo>
                  <a:lnTo>
                    <a:pt x="447" y="361"/>
                  </a:lnTo>
                  <a:lnTo>
                    <a:pt x="455" y="354"/>
                  </a:lnTo>
                  <a:lnTo>
                    <a:pt x="460" y="351"/>
                  </a:lnTo>
                  <a:lnTo>
                    <a:pt x="464" y="348"/>
                  </a:lnTo>
                  <a:lnTo>
                    <a:pt x="465" y="347"/>
                  </a:lnTo>
                  <a:lnTo>
                    <a:pt x="467" y="344"/>
                  </a:lnTo>
                  <a:lnTo>
                    <a:pt x="464" y="338"/>
                  </a:lnTo>
                  <a:lnTo>
                    <a:pt x="473" y="334"/>
                  </a:lnTo>
                  <a:lnTo>
                    <a:pt x="477" y="329"/>
                  </a:lnTo>
                  <a:lnTo>
                    <a:pt x="481" y="325"/>
                  </a:lnTo>
                  <a:lnTo>
                    <a:pt x="481" y="322"/>
                  </a:lnTo>
                  <a:lnTo>
                    <a:pt x="483" y="318"/>
                  </a:lnTo>
                  <a:lnTo>
                    <a:pt x="491" y="314"/>
                  </a:lnTo>
                  <a:lnTo>
                    <a:pt x="500" y="308"/>
                  </a:lnTo>
                  <a:lnTo>
                    <a:pt x="504" y="308"/>
                  </a:lnTo>
                  <a:lnTo>
                    <a:pt x="507" y="311"/>
                  </a:lnTo>
                  <a:lnTo>
                    <a:pt x="514" y="314"/>
                  </a:lnTo>
                  <a:lnTo>
                    <a:pt x="516" y="312"/>
                  </a:lnTo>
                  <a:lnTo>
                    <a:pt x="513" y="307"/>
                  </a:lnTo>
                  <a:lnTo>
                    <a:pt x="526" y="304"/>
                  </a:lnTo>
                  <a:lnTo>
                    <a:pt x="531" y="312"/>
                  </a:lnTo>
                  <a:lnTo>
                    <a:pt x="534" y="319"/>
                  </a:lnTo>
                  <a:lnTo>
                    <a:pt x="540" y="319"/>
                  </a:lnTo>
                  <a:lnTo>
                    <a:pt x="543" y="317"/>
                  </a:lnTo>
                  <a:lnTo>
                    <a:pt x="548" y="314"/>
                  </a:lnTo>
                  <a:lnTo>
                    <a:pt x="556" y="315"/>
                  </a:lnTo>
                  <a:lnTo>
                    <a:pt x="560" y="319"/>
                  </a:lnTo>
                  <a:lnTo>
                    <a:pt x="563" y="322"/>
                  </a:lnTo>
                  <a:lnTo>
                    <a:pt x="567" y="324"/>
                  </a:lnTo>
                  <a:lnTo>
                    <a:pt x="573" y="327"/>
                  </a:lnTo>
                  <a:lnTo>
                    <a:pt x="576" y="331"/>
                  </a:lnTo>
                  <a:lnTo>
                    <a:pt x="580" y="338"/>
                  </a:lnTo>
                  <a:lnTo>
                    <a:pt x="586" y="338"/>
                  </a:lnTo>
                  <a:lnTo>
                    <a:pt x="589" y="334"/>
                  </a:lnTo>
                  <a:lnTo>
                    <a:pt x="590" y="332"/>
                  </a:lnTo>
                  <a:lnTo>
                    <a:pt x="593" y="332"/>
                  </a:lnTo>
                  <a:lnTo>
                    <a:pt x="599" y="331"/>
                  </a:lnTo>
                  <a:lnTo>
                    <a:pt x="601" y="329"/>
                  </a:lnTo>
                  <a:lnTo>
                    <a:pt x="606" y="329"/>
                  </a:lnTo>
                  <a:lnTo>
                    <a:pt x="609" y="327"/>
                  </a:lnTo>
                  <a:lnTo>
                    <a:pt x="613" y="325"/>
                  </a:lnTo>
                  <a:lnTo>
                    <a:pt x="617" y="324"/>
                  </a:lnTo>
                  <a:lnTo>
                    <a:pt x="620" y="327"/>
                  </a:lnTo>
                  <a:lnTo>
                    <a:pt x="621" y="329"/>
                  </a:lnTo>
                  <a:lnTo>
                    <a:pt x="623" y="334"/>
                  </a:lnTo>
                  <a:lnTo>
                    <a:pt x="626" y="338"/>
                  </a:lnTo>
                  <a:lnTo>
                    <a:pt x="630" y="344"/>
                  </a:lnTo>
                  <a:lnTo>
                    <a:pt x="629" y="349"/>
                  </a:lnTo>
                  <a:lnTo>
                    <a:pt x="627" y="355"/>
                  </a:lnTo>
                  <a:lnTo>
                    <a:pt x="624" y="360"/>
                  </a:lnTo>
                  <a:lnTo>
                    <a:pt x="624" y="364"/>
                  </a:lnTo>
                  <a:lnTo>
                    <a:pt x="629" y="367"/>
                  </a:lnTo>
                  <a:lnTo>
                    <a:pt x="634" y="365"/>
                  </a:lnTo>
                  <a:lnTo>
                    <a:pt x="640" y="364"/>
                  </a:lnTo>
                  <a:lnTo>
                    <a:pt x="646" y="362"/>
                  </a:lnTo>
                  <a:lnTo>
                    <a:pt x="649" y="362"/>
                  </a:lnTo>
                  <a:lnTo>
                    <a:pt x="653" y="362"/>
                  </a:lnTo>
                  <a:lnTo>
                    <a:pt x="660" y="361"/>
                  </a:lnTo>
                  <a:lnTo>
                    <a:pt x="667" y="360"/>
                  </a:lnTo>
                  <a:lnTo>
                    <a:pt x="673" y="357"/>
                  </a:lnTo>
                  <a:lnTo>
                    <a:pt x="674" y="355"/>
                  </a:lnTo>
                  <a:lnTo>
                    <a:pt x="690" y="349"/>
                  </a:lnTo>
                  <a:lnTo>
                    <a:pt x="696" y="347"/>
                  </a:lnTo>
                  <a:lnTo>
                    <a:pt x="702" y="345"/>
                  </a:lnTo>
                  <a:lnTo>
                    <a:pt x="706" y="344"/>
                  </a:lnTo>
                  <a:lnTo>
                    <a:pt x="707" y="349"/>
                  </a:lnTo>
                  <a:lnTo>
                    <a:pt x="709" y="357"/>
                  </a:lnTo>
                  <a:lnTo>
                    <a:pt x="709" y="362"/>
                  </a:lnTo>
                  <a:lnTo>
                    <a:pt x="709" y="368"/>
                  </a:lnTo>
                  <a:lnTo>
                    <a:pt x="710" y="375"/>
                  </a:lnTo>
                  <a:lnTo>
                    <a:pt x="712" y="381"/>
                  </a:lnTo>
                  <a:lnTo>
                    <a:pt x="717" y="388"/>
                  </a:lnTo>
                  <a:lnTo>
                    <a:pt x="723" y="397"/>
                  </a:lnTo>
                  <a:lnTo>
                    <a:pt x="727" y="401"/>
                  </a:lnTo>
                  <a:lnTo>
                    <a:pt x="733" y="407"/>
                  </a:lnTo>
                  <a:lnTo>
                    <a:pt x="737" y="411"/>
                  </a:lnTo>
                  <a:lnTo>
                    <a:pt x="740" y="411"/>
                  </a:lnTo>
                  <a:lnTo>
                    <a:pt x="750" y="420"/>
                  </a:lnTo>
                  <a:lnTo>
                    <a:pt x="758" y="425"/>
                  </a:lnTo>
                  <a:lnTo>
                    <a:pt x="760" y="430"/>
                  </a:lnTo>
                  <a:lnTo>
                    <a:pt x="766" y="435"/>
                  </a:lnTo>
                  <a:lnTo>
                    <a:pt x="773" y="434"/>
                  </a:lnTo>
                  <a:lnTo>
                    <a:pt x="778" y="430"/>
                  </a:lnTo>
                  <a:lnTo>
                    <a:pt x="782" y="434"/>
                  </a:lnTo>
                  <a:lnTo>
                    <a:pt x="785" y="441"/>
                  </a:lnTo>
                  <a:lnTo>
                    <a:pt x="783" y="448"/>
                  </a:lnTo>
                  <a:lnTo>
                    <a:pt x="780" y="455"/>
                  </a:lnTo>
                  <a:lnTo>
                    <a:pt x="779" y="460"/>
                  </a:lnTo>
                  <a:lnTo>
                    <a:pt x="776" y="468"/>
                  </a:lnTo>
                  <a:lnTo>
                    <a:pt x="773" y="476"/>
                  </a:lnTo>
                  <a:lnTo>
                    <a:pt x="769" y="480"/>
                  </a:lnTo>
                  <a:lnTo>
                    <a:pt x="765" y="484"/>
                  </a:lnTo>
                  <a:lnTo>
                    <a:pt x="756" y="493"/>
                  </a:lnTo>
                  <a:lnTo>
                    <a:pt x="752" y="498"/>
                  </a:lnTo>
                  <a:lnTo>
                    <a:pt x="748" y="501"/>
                  </a:lnTo>
                  <a:lnTo>
                    <a:pt x="745" y="504"/>
                  </a:lnTo>
                  <a:lnTo>
                    <a:pt x="740" y="507"/>
                  </a:lnTo>
                  <a:lnTo>
                    <a:pt x="737" y="504"/>
                  </a:lnTo>
                  <a:lnTo>
                    <a:pt x="735" y="501"/>
                  </a:lnTo>
                  <a:lnTo>
                    <a:pt x="729" y="500"/>
                  </a:lnTo>
                  <a:lnTo>
                    <a:pt x="723" y="503"/>
                  </a:lnTo>
                  <a:lnTo>
                    <a:pt x="715" y="510"/>
                  </a:lnTo>
                  <a:lnTo>
                    <a:pt x="712" y="511"/>
                  </a:lnTo>
                  <a:lnTo>
                    <a:pt x="706" y="517"/>
                  </a:lnTo>
                  <a:lnTo>
                    <a:pt x="699" y="520"/>
                  </a:lnTo>
                  <a:lnTo>
                    <a:pt x="690" y="523"/>
                  </a:lnTo>
                  <a:lnTo>
                    <a:pt x="683" y="527"/>
                  </a:lnTo>
                  <a:lnTo>
                    <a:pt x="677" y="530"/>
                  </a:lnTo>
                  <a:lnTo>
                    <a:pt x="673" y="530"/>
                  </a:lnTo>
                  <a:lnTo>
                    <a:pt x="672" y="531"/>
                  </a:lnTo>
                  <a:lnTo>
                    <a:pt x="669" y="543"/>
                  </a:lnTo>
                  <a:lnTo>
                    <a:pt x="667" y="547"/>
                  </a:lnTo>
                  <a:lnTo>
                    <a:pt x="667" y="553"/>
                  </a:lnTo>
                  <a:lnTo>
                    <a:pt x="667" y="557"/>
                  </a:lnTo>
                  <a:lnTo>
                    <a:pt x="666" y="563"/>
                  </a:lnTo>
                  <a:lnTo>
                    <a:pt x="666" y="566"/>
                  </a:lnTo>
                  <a:lnTo>
                    <a:pt x="672" y="569"/>
                  </a:lnTo>
                  <a:lnTo>
                    <a:pt x="674" y="573"/>
                  </a:lnTo>
                  <a:lnTo>
                    <a:pt x="679" y="577"/>
                  </a:lnTo>
                  <a:lnTo>
                    <a:pt x="683" y="589"/>
                  </a:lnTo>
                  <a:lnTo>
                    <a:pt x="689" y="586"/>
                  </a:lnTo>
                  <a:lnTo>
                    <a:pt x="690" y="583"/>
                  </a:lnTo>
                  <a:lnTo>
                    <a:pt x="693" y="589"/>
                  </a:lnTo>
                  <a:lnTo>
                    <a:pt x="692" y="593"/>
                  </a:lnTo>
                  <a:lnTo>
                    <a:pt x="687" y="599"/>
                  </a:lnTo>
                  <a:lnTo>
                    <a:pt x="674" y="599"/>
                  </a:lnTo>
                  <a:lnTo>
                    <a:pt x="664" y="612"/>
                  </a:lnTo>
                  <a:lnTo>
                    <a:pt x="664" y="617"/>
                  </a:lnTo>
                  <a:lnTo>
                    <a:pt x="663" y="624"/>
                  </a:lnTo>
                  <a:lnTo>
                    <a:pt x="663" y="629"/>
                  </a:lnTo>
                  <a:lnTo>
                    <a:pt x="662" y="634"/>
                  </a:lnTo>
                  <a:lnTo>
                    <a:pt x="660" y="637"/>
                  </a:lnTo>
                  <a:lnTo>
                    <a:pt x="657" y="639"/>
                  </a:lnTo>
                  <a:lnTo>
                    <a:pt x="654" y="639"/>
                  </a:lnTo>
                  <a:lnTo>
                    <a:pt x="649" y="639"/>
                  </a:lnTo>
                  <a:lnTo>
                    <a:pt x="643" y="639"/>
                  </a:lnTo>
                  <a:lnTo>
                    <a:pt x="637" y="643"/>
                  </a:lnTo>
                  <a:lnTo>
                    <a:pt x="632" y="647"/>
                  </a:lnTo>
                  <a:lnTo>
                    <a:pt x="627" y="649"/>
                  </a:lnTo>
                  <a:lnTo>
                    <a:pt x="626" y="653"/>
                  </a:lnTo>
                  <a:lnTo>
                    <a:pt x="623" y="656"/>
                  </a:lnTo>
                  <a:lnTo>
                    <a:pt x="623" y="660"/>
                  </a:lnTo>
                  <a:lnTo>
                    <a:pt x="621" y="665"/>
                  </a:lnTo>
                  <a:lnTo>
                    <a:pt x="619" y="670"/>
                  </a:lnTo>
                  <a:lnTo>
                    <a:pt x="611" y="662"/>
                  </a:lnTo>
                  <a:lnTo>
                    <a:pt x="607" y="662"/>
                  </a:lnTo>
                  <a:lnTo>
                    <a:pt x="604" y="660"/>
                  </a:lnTo>
                  <a:lnTo>
                    <a:pt x="599" y="659"/>
                  </a:lnTo>
                  <a:lnTo>
                    <a:pt x="591" y="656"/>
                  </a:lnTo>
                  <a:lnTo>
                    <a:pt x="586" y="656"/>
                  </a:lnTo>
                  <a:lnTo>
                    <a:pt x="580" y="645"/>
                  </a:lnTo>
                  <a:lnTo>
                    <a:pt x="581" y="640"/>
                  </a:lnTo>
                  <a:lnTo>
                    <a:pt x="587" y="637"/>
                  </a:lnTo>
                  <a:lnTo>
                    <a:pt x="589" y="632"/>
                  </a:lnTo>
                  <a:lnTo>
                    <a:pt x="587" y="627"/>
                  </a:lnTo>
                  <a:lnTo>
                    <a:pt x="580" y="620"/>
                  </a:lnTo>
                  <a:lnTo>
                    <a:pt x="573" y="617"/>
                  </a:lnTo>
                  <a:lnTo>
                    <a:pt x="568" y="617"/>
                  </a:lnTo>
                  <a:lnTo>
                    <a:pt x="563" y="620"/>
                  </a:lnTo>
                  <a:lnTo>
                    <a:pt x="558" y="623"/>
                  </a:lnTo>
                  <a:lnTo>
                    <a:pt x="554" y="627"/>
                  </a:lnTo>
                  <a:lnTo>
                    <a:pt x="551" y="629"/>
                  </a:lnTo>
                  <a:lnTo>
                    <a:pt x="550" y="627"/>
                  </a:lnTo>
                  <a:lnTo>
                    <a:pt x="547" y="624"/>
                  </a:lnTo>
                  <a:lnTo>
                    <a:pt x="544" y="619"/>
                  </a:lnTo>
                  <a:lnTo>
                    <a:pt x="540" y="614"/>
                  </a:lnTo>
                  <a:lnTo>
                    <a:pt x="531" y="600"/>
                  </a:lnTo>
                  <a:lnTo>
                    <a:pt x="524" y="592"/>
                  </a:lnTo>
                  <a:lnTo>
                    <a:pt x="523" y="584"/>
                  </a:lnTo>
                  <a:lnTo>
                    <a:pt x="521" y="577"/>
                  </a:lnTo>
                  <a:lnTo>
                    <a:pt x="513" y="571"/>
                  </a:lnTo>
                  <a:lnTo>
                    <a:pt x="507" y="571"/>
                  </a:lnTo>
                  <a:lnTo>
                    <a:pt x="501" y="567"/>
                  </a:lnTo>
                  <a:lnTo>
                    <a:pt x="493" y="569"/>
                  </a:lnTo>
                  <a:lnTo>
                    <a:pt x="481" y="573"/>
                  </a:lnTo>
                  <a:lnTo>
                    <a:pt x="478" y="576"/>
                  </a:lnTo>
                  <a:lnTo>
                    <a:pt x="465" y="577"/>
                  </a:lnTo>
                  <a:lnTo>
                    <a:pt x="461" y="577"/>
                  </a:lnTo>
                  <a:lnTo>
                    <a:pt x="460" y="583"/>
                  </a:lnTo>
                  <a:lnTo>
                    <a:pt x="457" y="586"/>
                  </a:lnTo>
                  <a:lnTo>
                    <a:pt x="452" y="587"/>
                  </a:lnTo>
                  <a:lnTo>
                    <a:pt x="447" y="587"/>
                  </a:lnTo>
                  <a:lnTo>
                    <a:pt x="445" y="590"/>
                  </a:lnTo>
                  <a:lnTo>
                    <a:pt x="450" y="593"/>
                  </a:lnTo>
                  <a:lnTo>
                    <a:pt x="455" y="594"/>
                  </a:lnTo>
                  <a:lnTo>
                    <a:pt x="457" y="599"/>
                  </a:lnTo>
                  <a:lnTo>
                    <a:pt x="455" y="602"/>
                  </a:lnTo>
                  <a:lnTo>
                    <a:pt x="451" y="607"/>
                  </a:lnTo>
                  <a:lnTo>
                    <a:pt x="447" y="610"/>
                  </a:lnTo>
                  <a:lnTo>
                    <a:pt x="448" y="622"/>
                  </a:lnTo>
                  <a:lnTo>
                    <a:pt x="450" y="626"/>
                  </a:lnTo>
                  <a:lnTo>
                    <a:pt x="447" y="627"/>
                  </a:lnTo>
                  <a:lnTo>
                    <a:pt x="440" y="626"/>
                  </a:lnTo>
                  <a:lnTo>
                    <a:pt x="432" y="627"/>
                  </a:lnTo>
                  <a:lnTo>
                    <a:pt x="427" y="632"/>
                  </a:lnTo>
                  <a:lnTo>
                    <a:pt x="428" y="634"/>
                  </a:lnTo>
                  <a:lnTo>
                    <a:pt x="428" y="640"/>
                  </a:lnTo>
                  <a:lnTo>
                    <a:pt x="427" y="645"/>
                  </a:lnTo>
                  <a:lnTo>
                    <a:pt x="421" y="649"/>
                  </a:lnTo>
                  <a:lnTo>
                    <a:pt x="415" y="652"/>
                  </a:lnTo>
                  <a:lnTo>
                    <a:pt x="411" y="656"/>
                  </a:lnTo>
                  <a:lnTo>
                    <a:pt x="407" y="660"/>
                  </a:lnTo>
                  <a:lnTo>
                    <a:pt x="404" y="662"/>
                  </a:lnTo>
                  <a:lnTo>
                    <a:pt x="401" y="662"/>
                  </a:lnTo>
                  <a:lnTo>
                    <a:pt x="394" y="662"/>
                  </a:lnTo>
                  <a:lnTo>
                    <a:pt x="389" y="666"/>
                  </a:lnTo>
                  <a:lnTo>
                    <a:pt x="382" y="666"/>
                  </a:lnTo>
                  <a:lnTo>
                    <a:pt x="377" y="665"/>
                  </a:lnTo>
                  <a:lnTo>
                    <a:pt x="371" y="665"/>
                  </a:lnTo>
                  <a:lnTo>
                    <a:pt x="367" y="670"/>
                  </a:lnTo>
                  <a:lnTo>
                    <a:pt x="362" y="666"/>
                  </a:lnTo>
                  <a:lnTo>
                    <a:pt x="361" y="660"/>
                  </a:lnTo>
                  <a:lnTo>
                    <a:pt x="354" y="653"/>
                  </a:lnTo>
                  <a:lnTo>
                    <a:pt x="349" y="652"/>
                  </a:lnTo>
                  <a:lnTo>
                    <a:pt x="347" y="650"/>
                  </a:lnTo>
                  <a:lnTo>
                    <a:pt x="338" y="645"/>
                  </a:lnTo>
                  <a:lnTo>
                    <a:pt x="329" y="649"/>
                  </a:lnTo>
                  <a:lnTo>
                    <a:pt x="326" y="655"/>
                  </a:lnTo>
                  <a:lnTo>
                    <a:pt x="324" y="656"/>
                  </a:lnTo>
                  <a:lnTo>
                    <a:pt x="319" y="660"/>
                  </a:lnTo>
                  <a:lnTo>
                    <a:pt x="312" y="663"/>
                  </a:lnTo>
                  <a:lnTo>
                    <a:pt x="314" y="667"/>
                  </a:lnTo>
                  <a:lnTo>
                    <a:pt x="316" y="670"/>
                  </a:lnTo>
                  <a:lnTo>
                    <a:pt x="315" y="676"/>
                  </a:lnTo>
                  <a:lnTo>
                    <a:pt x="312" y="679"/>
                  </a:lnTo>
                  <a:lnTo>
                    <a:pt x="309" y="682"/>
                  </a:lnTo>
                  <a:lnTo>
                    <a:pt x="309" y="686"/>
                  </a:lnTo>
                  <a:lnTo>
                    <a:pt x="299" y="700"/>
                  </a:lnTo>
                  <a:lnTo>
                    <a:pt x="298" y="705"/>
                  </a:lnTo>
                  <a:lnTo>
                    <a:pt x="295" y="713"/>
                  </a:lnTo>
                  <a:lnTo>
                    <a:pt x="295" y="720"/>
                  </a:lnTo>
                  <a:lnTo>
                    <a:pt x="294" y="723"/>
                  </a:lnTo>
                  <a:lnTo>
                    <a:pt x="289" y="728"/>
                  </a:lnTo>
                  <a:lnTo>
                    <a:pt x="292" y="733"/>
                  </a:lnTo>
                  <a:lnTo>
                    <a:pt x="299" y="739"/>
                  </a:lnTo>
                  <a:lnTo>
                    <a:pt x="295" y="740"/>
                  </a:lnTo>
                  <a:lnTo>
                    <a:pt x="289" y="742"/>
                  </a:lnTo>
                  <a:lnTo>
                    <a:pt x="282" y="745"/>
                  </a:lnTo>
                  <a:lnTo>
                    <a:pt x="276" y="743"/>
                  </a:lnTo>
                  <a:lnTo>
                    <a:pt x="271" y="746"/>
                  </a:lnTo>
                  <a:lnTo>
                    <a:pt x="269" y="752"/>
                  </a:lnTo>
                  <a:lnTo>
                    <a:pt x="266" y="753"/>
                  </a:lnTo>
                  <a:lnTo>
                    <a:pt x="263" y="753"/>
                  </a:lnTo>
                  <a:lnTo>
                    <a:pt x="259" y="748"/>
                  </a:lnTo>
                  <a:lnTo>
                    <a:pt x="255" y="745"/>
                  </a:lnTo>
                  <a:lnTo>
                    <a:pt x="251" y="740"/>
                  </a:lnTo>
                  <a:lnTo>
                    <a:pt x="245" y="745"/>
                  </a:lnTo>
                  <a:lnTo>
                    <a:pt x="242" y="748"/>
                  </a:lnTo>
                  <a:lnTo>
                    <a:pt x="241" y="750"/>
                  </a:lnTo>
                  <a:lnTo>
                    <a:pt x="238" y="756"/>
                  </a:lnTo>
                  <a:lnTo>
                    <a:pt x="233" y="759"/>
                  </a:lnTo>
                  <a:lnTo>
                    <a:pt x="229" y="765"/>
                  </a:lnTo>
                  <a:lnTo>
                    <a:pt x="228" y="771"/>
                  </a:lnTo>
                  <a:lnTo>
                    <a:pt x="229" y="772"/>
                  </a:lnTo>
                  <a:lnTo>
                    <a:pt x="235" y="776"/>
                  </a:lnTo>
                  <a:lnTo>
                    <a:pt x="235" y="781"/>
                  </a:lnTo>
                  <a:lnTo>
                    <a:pt x="229" y="782"/>
                  </a:lnTo>
                  <a:lnTo>
                    <a:pt x="226" y="782"/>
                  </a:lnTo>
                  <a:lnTo>
                    <a:pt x="226" y="786"/>
                  </a:lnTo>
                  <a:lnTo>
                    <a:pt x="228" y="791"/>
                  </a:lnTo>
                  <a:lnTo>
                    <a:pt x="229" y="795"/>
                  </a:lnTo>
                  <a:lnTo>
                    <a:pt x="229" y="801"/>
                  </a:lnTo>
                  <a:lnTo>
                    <a:pt x="226" y="805"/>
                  </a:lnTo>
                  <a:lnTo>
                    <a:pt x="222" y="806"/>
                  </a:lnTo>
                  <a:lnTo>
                    <a:pt x="220" y="806"/>
                  </a:lnTo>
                  <a:lnTo>
                    <a:pt x="218" y="809"/>
                  </a:lnTo>
                  <a:lnTo>
                    <a:pt x="218" y="812"/>
                  </a:lnTo>
                  <a:lnTo>
                    <a:pt x="222" y="815"/>
                  </a:lnTo>
                  <a:lnTo>
                    <a:pt x="228" y="818"/>
                  </a:lnTo>
                  <a:lnTo>
                    <a:pt x="223" y="819"/>
                  </a:lnTo>
                  <a:lnTo>
                    <a:pt x="220" y="819"/>
                  </a:lnTo>
                  <a:lnTo>
                    <a:pt x="216" y="819"/>
                  </a:lnTo>
                  <a:lnTo>
                    <a:pt x="215" y="819"/>
                  </a:lnTo>
                  <a:lnTo>
                    <a:pt x="213" y="821"/>
                  </a:lnTo>
                  <a:lnTo>
                    <a:pt x="199" y="818"/>
                  </a:lnTo>
                  <a:lnTo>
                    <a:pt x="199" y="809"/>
                  </a:lnTo>
                  <a:lnTo>
                    <a:pt x="195" y="798"/>
                  </a:lnTo>
                  <a:lnTo>
                    <a:pt x="190" y="781"/>
                  </a:lnTo>
                  <a:lnTo>
                    <a:pt x="183" y="773"/>
                  </a:lnTo>
                  <a:lnTo>
                    <a:pt x="185" y="769"/>
                  </a:lnTo>
                  <a:lnTo>
                    <a:pt x="193" y="768"/>
                  </a:lnTo>
                  <a:lnTo>
                    <a:pt x="200" y="762"/>
                  </a:lnTo>
                  <a:lnTo>
                    <a:pt x="202" y="759"/>
                  </a:lnTo>
                  <a:lnTo>
                    <a:pt x="203" y="748"/>
                  </a:lnTo>
                  <a:lnTo>
                    <a:pt x="202" y="742"/>
                  </a:lnTo>
                  <a:lnTo>
                    <a:pt x="199" y="743"/>
                  </a:lnTo>
                  <a:lnTo>
                    <a:pt x="198" y="750"/>
                  </a:lnTo>
                  <a:lnTo>
                    <a:pt x="195" y="758"/>
                  </a:lnTo>
                  <a:lnTo>
                    <a:pt x="192" y="761"/>
                  </a:lnTo>
                  <a:lnTo>
                    <a:pt x="189" y="758"/>
                  </a:lnTo>
                  <a:lnTo>
                    <a:pt x="188" y="752"/>
                  </a:lnTo>
                  <a:lnTo>
                    <a:pt x="183" y="746"/>
                  </a:lnTo>
                  <a:lnTo>
                    <a:pt x="182" y="742"/>
                  </a:lnTo>
                  <a:lnTo>
                    <a:pt x="186" y="740"/>
                  </a:lnTo>
                  <a:lnTo>
                    <a:pt x="188" y="739"/>
                  </a:lnTo>
                  <a:lnTo>
                    <a:pt x="188" y="735"/>
                  </a:lnTo>
                  <a:lnTo>
                    <a:pt x="186" y="729"/>
                  </a:lnTo>
                  <a:lnTo>
                    <a:pt x="186" y="725"/>
                  </a:lnTo>
                  <a:lnTo>
                    <a:pt x="192" y="725"/>
                  </a:lnTo>
                  <a:lnTo>
                    <a:pt x="195" y="722"/>
                  </a:lnTo>
                  <a:lnTo>
                    <a:pt x="196" y="718"/>
                  </a:lnTo>
                  <a:lnTo>
                    <a:pt x="196" y="710"/>
                  </a:lnTo>
                  <a:lnTo>
                    <a:pt x="196" y="702"/>
                  </a:lnTo>
                  <a:lnTo>
                    <a:pt x="196" y="692"/>
                  </a:lnTo>
                  <a:lnTo>
                    <a:pt x="198" y="690"/>
                  </a:lnTo>
                  <a:lnTo>
                    <a:pt x="199" y="685"/>
                  </a:lnTo>
                  <a:lnTo>
                    <a:pt x="195" y="680"/>
                  </a:lnTo>
                  <a:lnTo>
                    <a:pt x="195" y="687"/>
                  </a:lnTo>
                  <a:lnTo>
                    <a:pt x="192" y="690"/>
                  </a:lnTo>
                  <a:lnTo>
                    <a:pt x="190" y="692"/>
                  </a:lnTo>
                  <a:lnTo>
                    <a:pt x="189" y="689"/>
                  </a:lnTo>
                  <a:lnTo>
                    <a:pt x="189" y="683"/>
                  </a:lnTo>
                  <a:lnTo>
                    <a:pt x="185" y="682"/>
                  </a:lnTo>
                  <a:lnTo>
                    <a:pt x="183" y="680"/>
                  </a:lnTo>
                  <a:lnTo>
                    <a:pt x="182" y="676"/>
                  </a:lnTo>
                  <a:lnTo>
                    <a:pt x="178" y="673"/>
                  </a:lnTo>
                  <a:lnTo>
                    <a:pt x="180" y="670"/>
                  </a:lnTo>
                  <a:lnTo>
                    <a:pt x="183" y="666"/>
                  </a:lnTo>
                  <a:lnTo>
                    <a:pt x="185" y="663"/>
                  </a:lnTo>
                  <a:lnTo>
                    <a:pt x="190" y="662"/>
                  </a:lnTo>
                  <a:lnTo>
                    <a:pt x="195" y="660"/>
                  </a:lnTo>
                  <a:lnTo>
                    <a:pt x="198" y="660"/>
                  </a:lnTo>
                  <a:lnTo>
                    <a:pt x="198" y="656"/>
                  </a:lnTo>
                  <a:lnTo>
                    <a:pt x="200" y="650"/>
                  </a:lnTo>
                  <a:lnTo>
                    <a:pt x="203" y="646"/>
                  </a:lnTo>
                  <a:lnTo>
                    <a:pt x="206" y="640"/>
                  </a:lnTo>
                  <a:lnTo>
                    <a:pt x="208" y="634"/>
                  </a:lnTo>
                  <a:lnTo>
                    <a:pt x="205" y="633"/>
                  </a:lnTo>
                  <a:lnTo>
                    <a:pt x="189" y="629"/>
                  </a:lnTo>
                  <a:lnTo>
                    <a:pt x="186" y="622"/>
                  </a:lnTo>
                  <a:lnTo>
                    <a:pt x="188" y="619"/>
                  </a:lnTo>
                  <a:lnTo>
                    <a:pt x="190" y="617"/>
                  </a:lnTo>
                  <a:lnTo>
                    <a:pt x="193" y="614"/>
                  </a:lnTo>
                  <a:lnTo>
                    <a:pt x="198" y="606"/>
                  </a:lnTo>
                  <a:lnTo>
                    <a:pt x="199" y="604"/>
                  </a:lnTo>
                  <a:lnTo>
                    <a:pt x="199" y="599"/>
                  </a:lnTo>
                  <a:lnTo>
                    <a:pt x="196" y="594"/>
                  </a:lnTo>
                  <a:lnTo>
                    <a:pt x="193" y="593"/>
                  </a:lnTo>
                  <a:lnTo>
                    <a:pt x="189" y="594"/>
                  </a:lnTo>
                  <a:lnTo>
                    <a:pt x="183" y="594"/>
                  </a:lnTo>
                  <a:lnTo>
                    <a:pt x="178" y="594"/>
                  </a:lnTo>
                  <a:lnTo>
                    <a:pt x="175" y="587"/>
                  </a:lnTo>
                  <a:lnTo>
                    <a:pt x="172" y="583"/>
                  </a:lnTo>
                  <a:lnTo>
                    <a:pt x="170" y="576"/>
                  </a:lnTo>
                  <a:lnTo>
                    <a:pt x="178" y="566"/>
                  </a:lnTo>
                  <a:lnTo>
                    <a:pt x="180" y="561"/>
                  </a:lnTo>
                  <a:lnTo>
                    <a:pt x="188" y="550"/>
                  </a:lnTo>
                  <a:lnTo>
                    <a:pt x="189" y="547"/>
                  </a:lnTo>
                  <a:lnTo>
                    <a:pt x="199" y="534"/>
                  </a:lnTo>
                  <a:lnTo>
                    <a:pt x="195" y="534"/>
                  </a:lnTo>
                  <a:lnTo>
                    <a:pt x="189" y="537"/>
                  </a:lnTo>
                  <a:lnTo>
                    <a:pt x="183" y="537"/>
                  </a:lnTo>
                  <a:lnTo>
                    <a:pt x="175" y="540"/>
                  </a:lnTo>
                  <a:lnTo>
                    <a:pt x="166" y="540"/>
                  </a:lnTo>
                  <a:lnTo>
                    <a:pt x="145" y="543"/>
                  </a:lnTo>
                  <a:lnTo>
                    <a:pt x="143" y="541"/>
                  </a:lnTo>
                  <a:lnTo>
                    <a:pt x="149" y="537"/>
                  </a:lnTo>
                  <a:lnTo>
                    <a:pt x="155" y="531"/>
                  </a:lnTo>
                  <a:lnTo>
                    <a:pt x="150" y="527"/>
                  </a:lnTo>
                  <a:lnTo>
                    <a:pt x="143" y="526"/>
                  </a:lnTo>
                  <a:lnTo>
                    <a:pt x="140" y="521"/>
                  </a:lnTo>
                  <a:lnTo>
                    <a:pt x="137" y="517"/>
                  </a:lnTo>
                  <a:lnTo>
                    <a:pt x="135" y="518"/>
                  </a:lnTo>
                  <a:lnTo>
                    <a:pt x="129" y="517"/>
                  </a:lnTo>
                  <a:lnTo>
                    <a:pt x="125" y="511"/>
                  </a:lnTo>
                  <a:lnTo>
                    <a:pt x="123" y="504"/>
                  </a:lnTo>
                  <a:lnTo>
                    <a:pt x="122" y="504"/>
                  </a:lnTo>
                  <a:lnTo>
                    <a:pt x="117" y="504"/>
                  </a:lnTo>
                  <a:lnTo>
                    <a:pt x="116" y="504"/>
                  </a:lnTo>
                  <a:lnTo>
                    <a:pt x="114" y="506"/>
                  </a:lnTo>
                  <a:lnTo>
                    <a:pt x="113" y="507"/>
                  </a:lnTo>
                  <a:lnTo>
                    <a:pt x="110" y="506"/>
                  </a:lnTo>
                  <a:lnTo>
                    <a:pt x="109" y="506"/>
                  </a:lnTo>
                  <a:lnTo>
                    <a:pt x="106" y="510"/>
                  </a:lnTo>
                  <a:lnTo>
                    <a:pt x="102" y="510"/>
                  </a:lnTo>
                  <a:lnTo>
                    <a:pt x="90" y="506"/>
                  </a:lnTo>
                  <a:lnTo>
                    <a:pt x="82" y="500"/>
                  </a:lnTo>
                  <a:lnTo>
                    <a:pt x="80" y="493"/>
                  </a:lnTo>
                  <a:lnTo>
                    <a:pt x="82" y="488"/>
                  </a:lnTo>
                  <a:lnTo>
                    <a:pt x="80" y="486"/>
                  </a:lnTo>
                  <a:lnTo>
                    <a:pt x="76" y="484"/>
                  </a:lnTo>
                  <a:lnTo>
                    <a:pt x="64" y="483"/>
                  </a:lnTo>
                  <a:lnTo>
                    <a:pt x="60" y="483"/>
                  </a:lnTo>
                  <a:lnTo>
                    <a:pt x="56" y="483"/>
                  </a:lnTo>
                  <a:lnTo>
                    <a:pt x="51" y="483"/>
                  </a:lnTo>
                  <a:lnTo>
                    <a:pt x="49" y="484"/>
                  </a:lnTo>
                  <a:lnTo>
                    <a:pt x="46" y="490"/>
                  </a:lnTo>
                  <a:lnTo>
                    <a:pt x="39" y="490"/>
                  </a:lnTo>
                  <a:lnTo>
                    <a:pt x="37" y="483"/>
                  </a:lnTo>
                  <a:lnTo>
                    <a:pt x="33" y="480"/>
                  </a:lnTo>
                  <a:lnTo>
                    <a:pt x="29" y="476"/>
                  </a:lnTo>
                  <a:lnTo>
                    <a:pt x="19" y="473"/>
                  </a:lnTo>
                  <a:lnTo>
                    <a:pt x="14" y="473"/>
                  </a:lnTo>
                  <a:lnTo>
                    <a:pt x="11" y="471"/>
                  </a:lnTo>
                  <a:lnTo>
                    <a:pt x="11" y="467"/>
                  </a:lnTo>
                  <a:lnTo>
                    <a:pt x="16" y="467"/>
                  </a:lnTo>
                  <a:lnTo>
                    <a:pt x="19" y="467"/>
                  </a:lnTo>
                  <a:lnTo>
                    <a:pt x="26" y="463"/>
                  </a:lnTo>
                  <a:lnTo>
                    <a:pt x="26" y="460"/>
                  </a:lnTo>
                  <a:lnTo>
                    <a:pt x="24" y="455"/>
                  </a:lnTo>
                  <a:lnTo>
                    <a:pt x="21" y="454"/>
                  </a:lnTo>
                  <a:lnTo>
                    <a:pt x="17" y="453"/>
                  </a:lnTo>
                  <a:lnTo>
                    <a:pt x="17" y="451"/>
                  </a:lnTo>
                  <a:lnTo>
                    <a:pt x="7" y="448"/>
                  </a:lnTo>
                  <a:lnTo>
                    <a:pt x="0" y="444"/>
                  </a:lnTo>
                  <a:lnTo>
                    <a:pt x="1" y="437"/>
                  </a:lnTo>
                  <a:lnTo>
                    <a:pt x="1" y="433"/>
                  </a:lnTo>
                  <a:lnTo>
                    <a:pt x="3" y="431"/>
                  </a:lnTo>
                  <a:lnTo>
                    <a:pt x="4" y="433"/>
                  </a:lnTo>
                  <a:lnTo>
                    <a:pt x="9" y="431"/>
                  </a:lnTo>
                  <a:lnTo>
                    <a:pt x="10" y="428"/>
                  </a:lnTo>
                  <a:lnTo>
                    <a:pt x="11" y="424"/>
                  </a:lnTo>
                  <a:lnTo>
                    <a:pt x="16" y="421"/>
                  </a:lnTo>
                  <a:lnTo>
                    <a:pt x="23" y="418"/>
                  </a:lnTo>
                  <a:lnTo>
                    <a:pt x="26" y="412"/>
                  </a:lnTo>
                  <a:lnTo>
                    <a:pt x="26" y="407"/>
                  </a:lnTo>
                  <a:lnTo>
                    <a:pt x="30" y="402"/>
                  </a:lnTo>
                  <a:lnTo>
                    <a:pt x="33" y="407"/>
                  </a:lnTo>
                  <a:lnTo>
                    <a:pt x="36" y="408"/>
                  </a:lnTo>
                  <a:lnTo>
                    <a:pt x="40" y="405"/>
                  </a:lnTo>
                  <a:lnTo>
                    <a:pt x="40" y="401"/>
                  </a:lnTo>
                  <a:lnTo>
                    <a:pt x="43" y="400"/>
                  </a:lnTo>
                  <a:lnTo>
                    <a:pt x="46" y="392"/>
                  </a:lnTo>
                  <a:lnTo>
                    <a:pt x="44" y="391"/>
                  </a:lnTo>
                  <a:lnTo>
                    <a:pt x="41" y="387"/>
                  </a:lnTo>
                  <a:lnTo>
                    <a:pt x="41" y="384"/>
                  </a:lnTo>
                  <a:lnTo>
                    <a:pt x="46" y="381"/>
                  </a:lnTo>
                  <a:lnTo>
                    <a:pt x="49" y="381"/>
                  </a:lnTo>
                  <a:lnTo>
                    <a:pt x="54" y="382"/>
                  </a:lnTo>
                  <a:lnTo>
                    <a:pt x="54" y="381"/>
                  </a:lnTo>
                  <a:lnTo>
                    <a:pt x="53" y="380"/>
                  </a:lnTo>
                  <a:lnTo>
                    <a:pt x="51" y="375"/>
                  </a:lnTo>
                  <a:lnTo>
                    <a:pt x="54" y="374"/>
                  </a:lnTo>
                  <a:lnTo>
                    <a:pt x="60" y="374"/>
                  </a:lnTo>
                  <a:lnTo>
                    <a:pt x="64" y="375"/>
                  </a:lnTo>
                  <a:lnTo>
                    <a:pt x="67" y="375"/>
                  </a:lnTo>
                  <a:lnTo>
                    <a:pt x="70" y="374"/>
                  </a:lnTo>
                  <a:lnTo>
                    <a:pt x="72" y="371"/>
                  </a:lnTo>
                  <a:lnTo>
                    <a:pt x="79" y="371"/>
                  </a:lnTo>
                  <a:lnTo>
                    <a:pt x="80" y="374"/>
                  </a:lnTo>
                  <a:lnTo>
                    <a:pt x="80" y="380"/>
                  </a:lnTo>
                  <a:lnTo>
                    <a:pt x="82" y="385"/>
                  </a:lnTo>
                  <a:lnTo>
                    <a:pt x="84" y="388"/>
                  </a:lnTo>
                  <a:lnTo>
                    <a:pt x="92" y="391"/>
                  </a:lnTo>
                  <a:lnTo>
                    <a:pt x="96" y="392"/>
                  </a:lnTo>
                  <a:lnTo>
                    <a:pt x="96" y="395"/>
                  </a:lnTo>
                  <a:lnTo>
                    <a:pt x="102" y="398"/>
                  </a:lnTo>
                  <a:lnTo>
                    <a:pt x="107" y="395"/>
                  </a:lnTo>
                  <a:lnTo>
                    <a:pt x="112" y="400"/>
                  </a:lnTo>
                  <a:lnTo>
                    <a:pt x="109" y="402"/>
                  </a:lnTo>
                  <a:lnTo>
                    <a:pt x="106" y="408"/>
                  </a:lnTo>
                  <a:lnTo>
                    <a:pt x="106" y="410"/>
                  </a:lnTo>
                  <a:lnTo>
                    <a:pt x="109" y="410"/>
                  </a:lnTo>
                  <a:lnTo>
                    <a:pt x="109" y="410"/>
                  </a:lnTo>
                  <a:lnTo>
                    <a:pt x="112" y="411"/>
                  </a:lnTo>
                  <a:lnTo>
                    <a:pt x="113" y="412"/>
                  </a:lnTo>
                  <a:lnTo>
                    <a:pt x="114" y="411"/>
                  </a:lnTo>
                  <a:lnTo>
                    <a:pt x="117" y="410"/>
                  </a:lnTo>
                  <a:lnTo>
                    <a:pt x="120" y="408"/>
                  </a:lnTo>
                  <a:lnTo>
                    <a:pt x="123" y="408"/>
                  </a:lnTo>
                  <a:lnTo>
                    <a:pt x="127" y="408"/>
                  </a:lnTo>
                  <a:lnTo>
                    <a:pt x="132" y="404"/>
                  </a:lnTo>
                  <a:lnTo>
                    <a:pt x="136" y="401"/>
                  </a:lnTo>
                  <a:lnTo>
                    <a:pt x="137" y="397"/>
                  </a:lnTo>
                  <a:lnTo>
                    <a:pt x="143" y="395"/>
                  </a:lnTo>
                  <a:lnTo>
                    <a:pt x="146" y="395"/>
                  </a:lnTo>
                  <a:lnTo>
                    <a:pt x="149" y="395"/>
                  </a:lnTo>
                  <a:lnTo>
                    <a:pt x="152" y="388"/>
                  </a:lnTo>
                  <a:lnTo>
                    <a:pt x="157" y="385"/>
                  </a:lnTo>
                  <a:lnTo>
                    <a:pt x="162" y="385"/>
                  </a:lnTo>
                  <a:lnTo>
                    <a:pt x="173" y="385"/>
                  </a:lnTo>
                  <a:lnTo>
                    <a:pt x="176" y="385"/>
                  </a:lnTo>
                  <a:lnTo>
                    <a:pt x="178" y="380"/>
                  </a:lnTo>
                  <a:lnTo>
                    <a:pt x="178" y="377"/>
                  </a:lnTo>
                  <a:lnTo>
                    <a:pt x="178" y="375"/>
                  </a:lnTo>
                  <a:lnTo>
                    <a:pt x="175" y="372"/>
                  </a:lnTo>
                  <a:lnTo>
                    <a:pt x="172" y="367"/>
                  </a:lnTo>
                  <a:lnTo>
                    <a:pt x="172" y="365"/>
                  </a:lnTo>
                  <a:lnTo>
                    <a:pt x="170" y="362"/>
                  </a:lnTo>
                  <a:lnTo>
                    <a:pt x="170" y="361"/>
                  </a:lnTo>
                  <a:lnTo>
                    <a:pt x="170" y="361"/>
                  </a:lnTo>
                  <a:lnTo>
                    <a:pt x="169" y="360"/>
                  </a:lnTo>
                  <a:lnTo>
                    <a:pt x="169" y="358"/>
                  </a:lnTo>
                  <a:lnTo>
                    <a:pt x="167" y="357"/>
                  </a:lnTo>
                  <a:lnTo>
                    <a:pt x="172" y="357"/>
                  </a:lnTo>
                  <a:lnTo>
                    <a:pt x="172" y="354"/>
                  </a:lnTo>
                  <a:lnTo>
                    <a:pt x="167" y="351"/>
                  </a:lnTo>
                  <a:lnTo>
                    <a:pt x="160" y="339"/>
                  </a:lnTo>
                  <a:lnTo>
                    <a:pt x="152" y="331"/>
                  </a:lnTo>
                  <a:lnTo>
                    <a:pt x="147" y="329"/>
                  </a:lnTo>
                  <a:lnTo>
                    <a:pt x="143" y="325"/>
                  </a:lnTo>
                  <a:lnTo>
                    <a:pt x="136" y="317"/>
                  </a:lnTo>
                  <a:lnTo>
                    <a:pt x="130" y="309"/>
                  </a:lnTo>
                  <a:lnTo>
                    <a:pt x="125" y="305"/>
                  </a:lnTo>
                  <a:lnTo>
                    <a:pt x="122" y="301"/>
                  </a:lnTo>
                  <a:lnTo>
                    <a:pt x="120" y="296"/>
                  </a:lnTo>
                  <a:lnTo>
                    <a:pt x="120" y="294"/>
                  </a:lnTo>
                  <a:lnTo>
                    <a:pt x="119" y="294"/>
                  </a:lnTo>
                  <a:lnTo>
                    <a:pt x="117" y="294"/>
                  </a:lnTo>
                  <a:lnTo>
                    <a:pt x="114" y="294"/>
                  </a:lnTo>
                  <a:lnTo>
                    <a:pt x="110" y="292"/>
                  </a:lnTo>
                  <a:lnTo>
                    <a:pt x="112" y="291"/>
                  </a:lnTo>
                  <a:lnTo>
                    <a:pt x="112" y="284"/>
                  </a:lnTo>
                  <a:lnTo>
                    <a:pt x="113" y="281"/>
                  </a:lnTo>
                  <a:lnTo>
                    <a:pt x="113" y="282"/>
                  </a:lnTo>
                  <a:lnTo>
                    <a:pt x="116" y="278"/>
                  </a:lnTo>
                  <a:lnTo>
                    <a:pt x="123" y="271"/>
                  </a:lnTo>
                  <a:lnTo>
                    <a:pt x="126" y="266"/>
                  </a:lnTo>
                  <a:lnTo>
                    <a:pt x="132" y="266"/>
                  </a:lnTo>
                  <a:lnTo>
                    <a:pt x="135" y="264"/>
                  </a:lnTo>
                  <a:lnTo>
                    <a:pt x="140" y="258"/>
                  </a:lnTo>
                  <a:lnTo>
                    <a:pt x="140" y="255"/>
                  </a:lnTo>
                  <a:lnTo>
                    <a:pt x="143" y="251"/>
                  </a:lnTo>
                  <a:lnTo>
                    <a:pt x="150" y="248"/>
                  </a:lnTo>
                  <a:lnTo>
                    <a:pt x="156" y="252"/>
                  </a:lnTo>
                  <a:lnTo>
                    <a:pt x="163" y="254"/>
                  </a:lnTo>
                  <a:lnTo>
                    <a:pt x="172" y="251"/>
                  </a:lnTo>
                  <a:lnTo>
                    <a:pt x="176" y="248"/>
                  </a:lnTo>
                  <a:lnTo>
                    <a:pt x="180" y="245"/>
                  </a:lnTo>
                  <a:lnTo>
                    <a:pt x="190" y="245"/>
                  </a:lnTo>
                  <a:lnTo>
                    <a:pt x="196" y="246"/>
                  </a:lnTo>
                  <a:lnTo>
                    <a:pt x="199" y="249"/>
                  </a:lnTo>
                  <a:lnTo>
                    <a:pt x="202" y="251"/>
                  </a:lnTo>
                  <a:lnTo>
                    <a:pt x="208" y="256"/>
                  </a:lnTo>
                  <a:lnTo>
                    <a:pt x="210" y="259"/>
                  </a:lnTo>
                  <a:lnTo>
                    <a:pt x="215" y="261"/>
                  </a:lnTo>
                  <a:lnTo>
                    <a:pt x="219" y="256"/>
                  </a:lnTo>
                  <a:lnTo>
                    <a:pt x="223" y="252"/>
                  </a:lnTo>
                  <a:lnTo>
                    <a:pt x="229" y="254"/>
                  </a:lnTo>
                  <a:lnTo>
                    <a:pt x="232" y="254"/>
                  </a:lnTo>
                  <a:lnTo>
                    <a:pt x="235" y="254"/>
                  </a:lnTo>
                  <a:lnTo>
                    <a:pt x="238" y="254"/>
                  </a:lnTo>
                  <a:lnTo>
                    <a:pt x="241" y="256"/>
                  </a:lnTo>
                  <a:lnTo>
                    <a:pt x="246" y="262"/>
                  </a:lnTo>
                  <a:lnTo>
                    <a:pt x="252" y="264"/>
                  </a:lnTo>
                  <a:lnTo>
                    <a:pt x="253" y="259"/>
                  </a:lnTo>
                  <a:lnTo>
                    <a:pt x="253" y="255"/>
                  </a:lnTo>
                  <a:lnTo>
                    <a:pt x="258" y="255"/>
                  </a:lnTo>
                  <a:lnTo>
                    <a:pt x="261" y="254"/>
                  </a:lnTo>
                  <a:lnTo>
                    <a:pt x="259" y="251"/>
                  </a:lnTo>
                  <a:lnTo>
                    <a:pt x="261" y="246"/>
                  </a:lnTo>
                  <a:lnTo>
                    <a:pt x="266" y="248"/>
                  </a:lnTo>
                  <a:lnTo>
                    <a:pt x="271" y="252"/>
                  </a:lnTo>
                  <a:lnTo>
                    <a:pt x="275" y="261"/>
                  </a:lnTo>
                  <a:lnTo>
                    <a:pt x="281" y="264"/>
                  </a:lnTo>
                  <a:lnTo>
                    <a:pt x="283" y="264"/>
                  </a:lnTo>
                  <a:lnTo>
                    <a:pt x="288" y="259"/>
                  </a:lnTo>
                  <a:lnTo>
                    <a:pt x="292" y="251"/>
                  </a:lnTo>
                  <a:lnTo>
                    <a:pt x="294" y="245"/>
                  </a:lnTo>
                  <a:lnTo>
                    <a:pt x="292" y="241"/>
                  </a:lnTo>
                  <a:lnTo>
                    <a:pt x="296" y="235"/>
                  </a:lnTo>
                  <a:lnTo>
                    <a:pt x="302" y="232"/>
                  </a:lnTo>
                  <a:lnTo>
                    <a:pt x="304" y="229"/>
                  </a:lnTo>
                  <a:lnTo>
                    <a:pt x="302" y="229"/>
                  </a:lnTo>
                  <a:lnTo>
                    <a:pt x="296" y="228"/>
                  </a:lnTo>
                  <a:lnTo>
                    <a:pt x="294" y="225"/>
                  </a:lnTo>
                  <a:lnTo>
                    <a:pt x="295" y="219"/>
                  </a:lnTo>
                  <a:lnTo>
                    <a:pt x="295" y="212"/>
                  </a:lnTo>
                  <a:lnTo>
                    <a:pt x="298" y="208"/>
                  </a:lnTo>
                  <a:lnTo>
                    <a:pt x="302" y="205"/>
                  </a:lnTo>
                  <a:lnTo>
                    <a:pt x="305" y="203"/>
                  </a:lnTo>
                  <a:lnTo>
                    <a:pt x="309" y="199"/>
                  </a:lnTo>
                  <a:lnTo>
                    <a:pt x="309" y="196"/>
                  </a:lnTo>
                  <a:lnTo>
                    <a:pt x="309" y="193"/>
                  </a:lnTo>
                  <a:lnTo>
                    <a:pt x="308" y="189"/>
                  </a:lnTo>
                  <a:lnTo>
                    <a:pt x="306" y="180"/>
                  </a:lnTo>
                  <a:lnTo>
                    <a:pt x="308" y="172"/>
                  </a:lnTo>
                  <a:lnTo>
                    <a:pt x="312" y="169"/>
                  </a:lnTo>
                  <a:lnTo>
                    <a:pt x="321" y="163"/>
                  </a:lnTo>
                  <a:lnTo>
                    <a:pt x="326" y="162"/>
                  </a:lnTo>
                  <a:lnTo>
                    <a:pt x="331" y="158"/>
                  </a:lnTo>
                  <a:lnTo>
                    <a:pt x="334" y="156"/>
                  </a:lnTo>
                  <a:lnTo>
                    <a:pt x="338" y="153"/>
                  </a:lnTo>
                  <a:lnTo>
                    <a:pt x="344" y="149"/>
                  </a:lnTo>
                  <a:lnTo>
                    <a:pt x="349" y="145"/>
                  </a:lnTo>
                  <a:lnTo>
                    <a:pt x="351" y="140"/>
                  </a:lnTo>
                  <a:lnTo>
                    <a:pt x="352" y="138"/>
                  </a:lnTo>
                  <a:lnTo>
                    <a:pt x="351" y="133"/>
                  </a:lnTo>
                  <a:lnTo>
                    <a:pt x="347" y="129"/>
                  </a:lnTo>
                  <a:lnTo>
                    <a:pt x="342" y="126"/>
                  </a:lnTo>
                  <a:lnTo>
                    <a:pt x="342" y="125"/>
                  </a:lnTo>
                  <a:lnTo>
                    <a:pt x="345" y="120"/>
                  </a:lnTo>
                  <a:lnTo>
                    <a:pt x="347" y="119"/>
                  </a:lnTo>
                  <a:lnTo>
                    <a:pt x="354" y="116"/>
                  </a:lnTo>
                  <a:lnTo>
                    <a:pt x="358" y="113"/>
                  </a:lnTo>
                  <a:lnTo>
                    <a:pt x="361" y="110"/>
                  </a:lnTo>
                  <a:lnTo>
                    <a:pt x="368" y="109"/>
                  </a:lnTo>
                  <a:lnTo>
                    <a:pt x="372" y="106"/>
                  </a:lnTo>
                  <a:lnTo>
                    <a:pt x="375" y="103"/>
                  </a:lnTo>
                  <a:lnTo>
                    <a:pt x="379" y="102"/>
                  </a:lnTo>
                  <a:lnTo>
                    <a:pt x="382" y="97"/>
                  </a:lnTo>
                  <a:lnTo>
                    <a:pt x="385" y="95"/>
                  </a:lnTo>
                  <a:lnTo>
                    <a:pt x="387" y="90"/>
                  </a:lnTo>
                  <a:lnTo>
                    <a:pt x="384" y="86"/>
                  </a:lnTo>
                  <a:lnTo>
                    <a:pt x="381" y="85"/>
                  </a:lnTo>
                  <a:lnTo>
                    <a:pt x="379" y="86"/>
                  </a:lnTo>
                  <a:lnTo>
                    <a:pt x="377" y="87"/>
                  </a:lnTo>
                  <a:lnTo>
                    <a:pt x="372" y="86"/>
                  </a:lnTo>
                  <a:lnTo>
                    <a:pt x="371" y="85"/>
                  </a:lnTo>
                  <a:lnTo>
                    <a:pt x="367" y="86"/>
                  </a:lnTo>
                  <a:lnTo>
                    <a:pt x="365" y="86"/>
                  </a:lnTo>
                  <a:lnTo>
                    <a:pt x="368" y="79"/>
                  </a:lnTo>
                  <a:lnTo>
                    <a:pt x="367" y="74"/>
                  </a:lnTo>
                  <a:lnTo>
                    <a:pt x="364" y="74"/>
                  </a:lnTo>
                  <a:lnTo>
                    <a:pt x="359" y="74"/>
                  </a:lnTo>
                  <a:lnTo>
                    <a:pt x="359" y="73"/>
                  </a:lnTo>
                  <a:lnTo>
                    <a:pt x="357" y="66"/>
                  </a:lnTo>
                  <a:lnTo>
                    <a:pt x="355" y="62"/>
                  </a:lnTo>
                  <a:lnTo>
                    <a:pt x="351" y="60"/>
                  </a:lnTo>
                  <a:lnTo>
                    <a:pt x="349" y="56"/>
                  </a:lnTo>
                  <a:lnTo>
                    <a:pt x="351" y="53"/>
                  </a:lnTo>
                  <a:lnTo>
                    <a:pt x="355" y="50"/>
                  </a:lnTo>
                  <a:lnTo>
                    <a:pt x="357" y="47"/>
                  </a:lnTo>
                  <a:lnTo>
                    <a:pt x="359" y="47"/>
                  </a:lnTo>
                  <a:lnTo>
                    <a:pt x="361" y="42"/>
                  </a:lnTo>
                  <a:lnTo>
                    <a:pt x="361" y="37"/>
                  </a:lnTo>
                  <a:lnTo>
                    <a:pt x="362" y="36"/>
                  </a:lnTo>
                  <a:lnTo>
                    <a:pt x="367" y="36"/>
                  </a:lnTo>
                  <a:lnTo>
                    <a:pt x="371" y="36"/>
                  </a:lnTo>
                  <a:lnTo>
                    <a:pt x="372" y="39"/>
                  </a:lnTo>
                  <a:lnTo>
                    <a:pt x="371" y="40"/>
                  </a:lnTo>
                  <a:lnTo>
                    <a:pt x="372" y="44"/>
                  </a:lnTo>
                  <a:lnTo>
                    <a:pt x="371" y="47"/>
                  </a:lnTo>
                  <a:lnTo>
                    <a:pt x="371" y="52"/>
                  </a:lnTo>
                  <a:lnTo>
                    <a:pt x="372" y="53"/>
                  </a:lnTo>
                  <a:lnTo>
                    <a:pt x="372" y="56"/>
                  </a:lnTo>
                  <a:lnTo>
                    <a:pt x="374" y="57"/>
                  </a:lnTo>
                  <a:lnTo>
                    <a:pt x="377" y="60"/>
                  </a:lnTo>
                  <a:lnTo>
                    <a:pt x="378" y="60"/>
                  </a:lnTo>
                  <a:lnTo>
                    <a:pt x="382" y="62"/>
                  </a:lnTo>
                  <a:lnTo>
                    <a:pt x="387" y="62"/>
                  </a:lnTo>
                  <a:lnTo>
                    <a:pt x="389" y="62"/>
                  </a:lnTo>
                  <a:lnTo>
                    <a:pt x="389" y="62"/>
                  </a:lnTo>
                  <a:lnTo>
                    <a:pt x="394" y="63"/>
                  </a:lnTo>
                  <a:lnTo>
                    <a:pt x="398" y="63"/>
                  </a:lnTo>
                  <a:lnTo>
                    <a:pt x="399" y="60"/>
                  </a:lnTo>
                  <a:lnTo>
                    <a:pt x="401" y="59"/>
                  </a:lnTo>
                  <a:lnTo>
                    <a:pt x="405" y="56"/>
                  </a:lnTo>
                  <a:lnTo>
                    <a:pt x="405" y="53"/>
                  </a:lnTo>
                  <a:lnTo>
                    <a:pt x="402" y="52"/>
                  </a:lnTo>
                  <a:lnTo>
                    <a:pt x="402" y="47"/>
                  </a:lnTo>
                  <a:lnTo>
                    <a:pt x="410" y="43"/>
                  </a:lnTo>
                  <a:lnTo>
                    <a:pt x="415" y="44"/>
                  </a:lnTo>
                  <a:lnTo>
                    <a:pt x="420" y="42"/>
                  </a:lnTo>
                  <a:lnTo>
                    <a:pt x="427" y="42"/>
                  </a:lnTo>
                  <a:lnTo>
                    <a:pt x="432" y="37"/>
                  </a:lnTo>
                  <a:lnTo>
                    <a:pt x="434" y="37"/>
                  </a:lnTo>
                  <a:lnTo>
                    <a:pt x="435" y="39"/>
                  </a:lnTo>
                  <a:lnTo>
                    <a:pt x="437" y="43"/>
                  </a:lnTo>
                  <a:lnTo>
                    <a:pt x="438" y="46"/>
                  </a:lnTo>
                  <a:lnTo>
                    <a:pt x="441" y="43"/>
                  </a:lnTo>
                  <a:lnTo>
                    <a:pt x="445" y="39"/>
                  </a:lnTo>
                  <a:lnTo>
                    <a:pt x="447" y="34"/>
                  </a:lnTo>
                  <a:lnTo>
                    <a:pt x="445" y="32"/>
                  </a:lnTo>
                  <a:lnTo>
                    <a:pt x="450" y="29"/>
                  </a:lnTo>
                  <a:lnTo>
                    <a:pt x="452" y="27"/>
                  </a:lnTo>
                  <a:lnTo>
                    <a:pt x="455" y="24"/>
                  </a:lnTo>
                  <a:lnTo>
                    <a:pt x="458" y="22"/>
                  </a:lnTo>
                  <a:lnTo>
                    <a:pt x="460" y="17"/>
                  </a:lnTo>
                  <a:lnTo>
                    <a:pt x="467" y="20"/>
                  </a:lnTo>
                  <a:lnTo>
                    <a:pt x="473" y="19"/>
                  </a:lnTo>
                  <a:lnTo>
                    <a:pt x="475" y="1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98" name="Freeform 146"/>
            <p:cNvSpPr>
              <a:spLocks/>
            </p:cNvSpPr>
            <p:nvPr/>
          </p:nvSpPr>
          <p:spPr bwMode="auto">
            <a:xfrm>
              <a:off x="2933219" y="3699641"/>
              <a:ext cx="213700" cy="203727"/>
            </a:xfrm>
            <a:custGeom>
              <a:avLst/>
              <a:gdLst>
                <a:gd name="T0" fmla="*/ 149 w 350"/>
                <a:gd name="T1" fmla="*/ 58 h 306"/>
                <a:gd name="T2" fmla="*/ 168 w 350"/>
                <a:gd name="T3" fmla="*/ 70 h 306"/>
                <a:gd name="T4" fmla="*/ 153 w 350"/>
                <a:gd name="T5" fmla="*/ 81 h 306"/>
                <a:gd name="T6" fmla="*/ 179 w 350"/>
                <a:gd name="T7" fmla="*/ 93 h 306"/>
                <a:gd name="T8" fmla="*/ 198 w 350"/>
                <a:gd name="T9" fmla="*/ 93 h 306"/>
                <a:gd name="T10" fmla="*/ 224 w 350"/>
                <a:gd name="T11" fmla="*/ 98 h 306"/>
                <a:gd name="T12" fmla="*/ 248 w 350"/>
                <a:gd name="T13" fmla="*/ 120 h 306"/>
                <a:gd name="T14" fmla="*/ 258 w 350"/>
                <a:gd name="T15" fmla="*/ 114 h 306"/>
                <a:gd name="T16" fmla="*/ 271 w 350"/>
                <a:gd name="T17" fmla="*/ 127 h 306"/>
                <a:gd name="T18" fmla="*/ 292 w 350"/>
                <a:gd name="T19" fmla="*/ 137 h 306"/>
                <a:gd name="T20" fmla="*/ 308 w 350"/>
                <a:gd name="T21" fmla="*/ 150 h 306"/>
                <a:gd name="T22" fmla="*/ 341 w 350"/>
                <a:gd name="T23" fmla="*/ 144 h 306"/>
                <a:gd name="T24" fmla="*/ 312 w 350"/>
                <a:gd name="T25" fmla="*/ 186 h 306"/>
                <a:gd name="T26" fmla="*/ 331 w 350"/>
                <a:gd name="T27" fmla="*/ 204 h 306"/>
                <a:gd name="T28" fmla="*/ 340 w 350"/>
                <a:gd name="T29" fmla="*/ 216 h 306"/>
                <a:gd name="T30" fmla="*/ 331 w 350"/>
                <a:gd name="T31" fmla="*/ 239 h 306"/>
                <a:gd name="T32" fmla="*/ 342 w 350"/>
                <a:gd name="T33" fmla="*/ 260 h 306"/>
                <a:gd name="T34" fmla="*/ 327 w 350"/>
                <a:gd name="T35" fmla="*/ 273 h 306"/>
                <a:gd name="T36" fmla="*/ 317 w 350"/>
                <a:gd name="T37" fmla="*/ 292 h 306"/>
                <a:gd name="T38" fmla="*/ 317 w 350"/>
                <a:gd name="T39" fmla="*/ 303 h 306"/>
                <a:gd name="T40" fmla="*/ 301 w 350"/>
                <a:gd name="T41" fmla="*/ 303 h 306"/>
                <a:gd name="T42" fmla="*/ 291 w 350"/>
                <a:gd name="T43" fmla="*/ 303 h 306"/>
                <a:gd name="T44" fmla="*/ 284 w 350"/>
                <a:gd name="T45" fmla="*/ 290 h 306"/>
                <a:gd name="T46" fmla="*/ 288 w 350"/>
                <a:gd name="T47" fmla="*/ 277 h 306"/>
                <a:gd name="T48" fmla="*/ 264 w 350"/>
                <a:gd name="T49" fmla="*/ 275 h 306"/>
                <a:gd name="T50" fmla="*/ 255 w 350"/>
                <a:gd name="T51" fmla="*/ 265 h 306"/>
                <a:gd name="T52" fmla="*/ 242 w 350"/>
                <a:gd name="T53" fmla="*/ 269 h 306"/>
                <a:gd name="T54" fmla="*/ 235 w 350"/>
                <a:gd name="T55" fmla="*/ 259 h 306"/>
                <a:gd name="T56" fmla="*/ 229 w 350"/>
                <a:gd name="T57" fmla="*/ 253 h 306"/>
                <a:gd name="T58" fmla="*/ 208 w 350"/>
                <a:gd name="T59" fmla="*/ 260 h 306"/>
                <a:gd name="T60" fmla="*/ 198 w 350"/>
                <a:gd name="T61" fmla="*/ 265 h 306"/>
                <a:gd name="T62" fmla="*/ 198 w 350"/>
                <a:gd name="T63" fmla="*/ 275 h 306"/>
                <a:gd name="T64" fmla="*/ 172 w 350"/>
                <a:gd name="T65" fmla="*/ 275 h 306"/>
                <a:gd name="T66" fmla="*/ 165 w 350"/>
                <a:gd name="T67" fmla="*/ 266 h 306"/>
                <a:gd name="T68" fmla="*/ 151 w 350"/>
                <a:gd name="T69" fmla="*/ 272 h 306"/>
                <a:gd name="T70" fmla="*/ 132 w 350"/>
                <a:gd name="T71" fmla="*/ 266 h 306"/>
                <a:gd name="T72" fmla="*/ 115 w 350"/>
                <a:gd name="T73" fmla="*/ 260 h 306"/>
                <a:gd name="T74" fmla="*/ 118 w 350"/>
                <a:gd name="T75" fmla="*/ 222 h 306"/>
                <a:gd name="T76" fmla="*/ 110 w 350"/>
                <a:gd name="T77" fmla="*/ 187 h 306"/>
                <a:gd name="T78" fmla="*/ 102 w 350"/>
                <a:gd name="T79" fmla="*/ 163 h 306"/>
                <a:gd name="T80" fmla="*/ 108 w 350"/>
                <a:gd name="T81" fmla="*/ 147 h 306"/>
                <a:gd name="T82" fmla="*/ 90 w 350"/>
                <a:gd name="T83" fmla="*/ 139 h 306"/>
                <a:gd name="T84" fmla="*/ 67 w 350"/>
                <a:gd name="T85" fmla="*/ 127 h 306"/>
                <a:gd name="T86" fmla="*/ 46 w 350"/>
                <a:gd name="T87" fmla="*/ 127 h 306"/>
                <a:gd name="T88" fmla="*/ 19 w 350"/>
                <a:gd name="T89" fmla="*/ 108 h 306"/>
                <a:gd name="T90" fmla="*/ 13 w 350"/>
                <a:gd name="T91" fmla="*/ 84 h 306"/>
                <a:gd name="T92" fmla="*/ 14 w 350"/>
                <a:gd name="T93" fmla="*/ 63 h 306"/>
                <a:gd name="T94" fmla="*/ 35 w 350"/>
                <a:gd name="T95" fmla="*/ 48 h 306"/>
                <a:gd name="T96" fmla="*/ 23 w 350"/>
                <a:gd name="T97" fmla="*/ 30 h 306"/>
                <a:gd name="T98" fmla="*/ 40 w 350"/>
                <a:gd name="T99" fmla="*/ 10 h 306"/>
                <a:gd name="T100" fmla="*/ 62 w 350"/>
                <a:gd name="T101" fmla="*/ 12 h 306"/>
                <a:gd name="T102" fmla="*/ 87 w 350"/>
                <a:gd name="T103" fmla="*/ 0 h 306"/>
                <a:gd name="T104" fmla="*/ 100 w 350"/>
                <a:gd name="T105" fmla="*/ 11 h 306"/>
                <a:gd name="T106" fmla="*/ 129 w 350"/>
                <a:gd name="T107" fmla="*/ 20 h 306"/>
                <a:gd name="T108" fmla="*/ 138 w 350"/>
                <a:gd name="T109" fmla="*/ 38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50" h="306">
                  <a:moveTo>
                    <a:pt x="145" y="41"/>
                  </a:moveTo>
                  <a:lnTo>
                    <a:pt x="143" y="43"/>
                  </a:lnTo>
                  <a:lnTo>
                    <a:pt x="143" y="47"/>
                  </a:lnTo>
                  <a:lnTo>
                    <a:pt x="142" y="54"/>
                  </a:lnTo>
                  <a:lnTo>
                    <a:pt x="149" y="58"/>
                  </a:lnTo>
                  <a:lnTo>
                    <a:pt x="159" y="61"/>
                  </a:lnTo>
                  <a:lnTo>
                    <a:pt x="159" y="63"/>
                  </a:lnTo>
                  <a:lnTo>
                    <a:pt x="163" y="64"/>
                  </a:lnTo>
                  <a:lnTo>
                    <a:pt x="166" y="65"/>
                  </a:lnTo>
                  <a:lnTo>
                    <a:pt x="168" y="70"/>
                  </a:lnTo>
                  <a:lnTo>
                    <a:pt x="168" y="73"/>
                  </a:lnTo>
                  <a:lnTo>
                    <a:pt x="161" y="77"/>
                  </a:lnTo>
                  <a:lnTo>
                    <a:pt x="158" y="77"/>
                  </a:lnTo>
                  <a:lnTo>
                    <a:pt x="153" y="77"/>
                  </a:lnTo>
                  <a:lnTo>
                    <a:pt x="153" y="81"/>
                  </a:lnTo>
                  <a:lnTo>
                    <a:pt x="156" y="83"/>
                  </a:lnTo>
                  <a:lnTo>
                    <a:pt x="161" y="83"/>
                  </a:lnTo>
                  <a:lnTo>
                    <a:pt x="171" y="86"/>
                  </a:lnTo>
                  <a:lnTo>
                    <a:pt x="175" y="90"/>
                  </a:lnTo>
                  <a:lnTo>
                    <a:pt x="179" y="93"/>
                  </a:lnTo>
                  <a:lnTo>
                    <a:pt x="181" y="100"/>
                  </a:lnTo>
                  <a:lnTo>
                    <a:pt x="188" y="100"/>
                  </a:lnTo>
                  <a:lnTo>
                    <a:pt x="191" y="94"/>
                  </a:lnTo>
                  <a:lnTo>
                    <a:pt x="193" y="93"/>
                  </a:lnTo>
                  <a:lnTo>
                    <a:pt x="198" y="93"/>
                  </a:lnTo>
                  <a:lnTo>
                    <a:pt x="202" y="93"/>
                  </a:lnTo>
                  <a:lnTo>
                    <a:pt x="206" y="93"/>
                  </a:lnTo>
                  <a:lnTo>
                    <a:pt x="218" y="94"/>
                  </a:lnTo>
                  <a:lnTo>
                    <a:pt x="222" y="96"/>
                  </a:lnTo>
                  <a:lnTo>
                    <a:pt x="224" y="98"/>
                  </a:lnTo>
                  <a:lnTo>
                    <a:pt x="222" y="103"/>
                  </a:lnTo>
                  <a:lnTo>
                    <a:pt x="224" y="110"/>
                  </a:lnTo>
                  <a:lnTo>
                    <a:pt x="232" y="116"/>
                  </a:lnTo>
                  <a:lnTo>
                    <a:pt x="244" y="120"/>
                  </a:lnTo>
                  <a:lnTo>
                    <a:pt x="248" y="120"/>
                  </a:lnTo>
                  <a:lnTo>
                    <a:pt x="251" y="116"/>
                  </a:lnTo>
                  <a:lnTo>
                    <a:pt x="252" y="116"/>
                  </a:lnTo>
                  <a:lnTo>
                    <a:pt x="255" y="117"/>
                  </a:lnTo>
                  <a:lnTo>
                    <a:pt x="256" y="116"/>
                  </a:lnTo>
                  <a:lnTo>
                    <a:pt x="258" y="114"/>
                  </a:lnTo>
                  <a:lnTo>
                    <a:pt x="259" y="114"/>
                  </a:lnTo>
                  <a:lnTo>
                    <a:pt x="264" y="114"/>
                  </a:lnTo>
                  <a:lnTo>
                    <a:pt x="265" y="114"/>
                  </a:lnTo>
                  <a:lnTo>
                    <a:pt x="267" y="121"/>
                  </a:lnTo>
                  <a:lnTo>
                    <a:pt x="271" y="127"/>
                  </a:lnTo>
                  <a:lnTo>
                    <a:pt x="277" y="128"/>
                  </a:lnTo>
                  <a:lnTo>
                    <a:pt x="279" y="127"/>
                  </a:lnTo>
                  <a:lnTo>
                    <a:pt x="282" y="131"/>
                  </a:lnTo>
                  <a:lnTo>
                    <a:pt x="285" y="136"/>
                  </a:lnTo>
                  <a:lnTo>
                    <a:pt x="292" y="137"/>
                  </a:lnTo>
                  <a:lnTo>
                    <a:pt x="297" y="141"/>
                  </a:lnTo>
                  <a:lnTo>
                    <a:pt x="291" y="147"/>
                  </a:lnTo>
                  <a:lnTo>
                    <a:pt x="285" y="151"/>
                  </a:lnTo>
                  <a:lnTo>
                    <a:pt x="287" y="153"/>
                  </a:lnTo>
                  <a:lnTo>
                    <a:pt x="308" y="150"/>
                  </a:lnTo>
                  <a:lnTo>
                    <a:pt x="317" y="150"/>
                  </a:lnTo>
                  <a:lnTo>
                    <a:pt x="325" y="147"/>
                  </a:lnTo>
                  <a:lnTo>
                    <a:pt x="331" y="147"/>
                  </a:lnTo>
                  <a:lnTo>
                    <a:pt x="337" y="144"/>
                  </a:lnTo>
                  <a:lnTo>
                    <a:pt x="341" y="144"/>
                  </a:lnTo>
                  <a:lnTo>
                    <a:pt x="331" y="157"/>
                  </a:lnTo>
                  <a:lnTo>
                    <a:pt x="330" y="160"/>
                  </a:lnTo>
                  <a:lnTo>
                    <a:pt x="322" y="171"/>
                  </a:lnTo>
                  <a:lnTo>
                    <a:pt x="320" y="176"/>
                  </a:lnTo>
                  <a:lnTo>
                    <a:pt x="312" y="186"/>
                  </a:lnTo>
                  <a:lnTo>
                    <a:pt x="314" y="193"/>
                  </a:lnTo>
                  <a:lnTo>
                    <a:pt x="317" y="197"/>
                  </a:lnTo>
                  <a:lnTo>
                    <a:pt x="320" y="204"/>
                  </a:lnTo>
                  <a:lnTo>
                    <a:pt x="325" y="204"/>
                  </a:lnTo>
                  <a:lnTo>
                    <a:pt x="331" y="204"/>
                  </a:lnTo>
                  <a:lnTo>
                    <a:pt x="335" y="203"/>
                  </a:lnTo>
                  <a:lnTo>
                    <a:pt x="338" y="204"/>
                  </a:lnTo>
                  <a:lnTo>
                    <a:pt x="341" y="209"/>
                  </a:lnTo>
                  <a:lnTo>
                    <a:pt x="341" y="214"/>
                  </a:lnTo>
                  <a:lnTo>
                    <a:pt x="340" y="216"/>
                  </a:lnTo>
                  <a:lnTo>
                    <a:pt x="335" y="224"/>
                  </a:lnTo>
                  <a:lnTo>
                    <a:pt x="332" y="227"/>
                  </a:lnTo>
                  <a:lnTo>
                    <a:pt x="330" y="229"/>
                  </a:lnTo>
                  <a:lnTo>
                    <a:pt x="328" y="232"/>
                  </a:lnTo>
                  <a:lnTo>
                    <a:pt x="331" y="239"/>
                  </a:lnTo>
                  <a:lnTo>
                    <a:pt x="347" y="243"/>
                  </a:lnTo>
                  <a:lnTo>
                    <a:pt x="350" y="244"/>
                  </a:lnTo>
                  <a:lnTo>
                    <a:pt x="348" y="250"/>
                  </a:lnTo>
                  <a:lnTo>
                    <a:pt x="345" y="256"/>
                  </a:lnTo>
                  <a:lnTo>
                    <a:pt x="342" y="260"/>
                  </a:lnTo>
                  <a:lnTo>
                    <a:pt x="340" y="266"/>
                  </a:lnTo>
                  <a:lnTo>
                    <a:pt x="340" y="270"/>
                  </a:lnTo>
                  <a:lnTo>
                    <a:pt x="337" y="270"/>
                  </a:lnTo>
                  <a:lnTo>
                    <a:pt x="332" y="272"/>
                  </a:lnTo>
                  <a:lnTo>
                    <a:pt x="327" y="273"/>
                  </a:lnTo>
                  <a:lnTo>
                    <a:pt x="325" y="276"/>
                  </a:lnTo>
                  <a:lnTo>
                    <a:pt x="322" y="280"/>
                  </a:lnTo>
                  <a:lnTo>
                    <a:pt x="320" y="283"/>
                  </a:lnTo>
                  <a:lnTo>
                    <a:pt x="317" y="287"/>
                  </a:lnTo>
                  <a:lnTo>
                    <a:pt x="317" y="292"/>
                  </a:lnTo>
                  <a:lnTo>
                    <a:pt x="320" y="293"/>
                  </a:lnTo>
                  <a:lnTo>
                    <a:pt x="321" y="297"/>
                  </a:lnTo>
                  <a:lnTo>
                    <a:pt x="322" y="300"/>
                  </a:lnTo>
                  <a:lnTo>
                    <a:pt x="321" y="303"/>
                  </a:lnTo>
                  <a:lnTo>
                    <a:pt x="317" y="303"/>
                  </a:lnTo>
                  <a:lnTo>
                    <a:pt x="311" y="303"/>
                  </a:lnTo>
                  <a:lnTo>
                    <a:pt x="307" y="302"/>
                  </a:lnTo>
                  <a:lnTo>
                    <a:pt x="304" y="305"/>
                  </a:lnTo>
                  <a:lnTo>
                    <a:pt x="299" y="306"/>
                  </a:lnTo>
                  <a:lnTo>
                    <a:pt x="301" y="303"/>
                  </a:lnTo>
                  <a:lnTo>
                    <a:pt x="301" y="300"/>
                  </a:lnTo>
                  <a:lnTo>
                    <a:pt x="299" y="297"/>
                  </a:lnTo>
                  <a:lnTo>
                    <a:pt x="297" y="297"/>
                  </a:lnTo>
                  <a:lnTo>
                    <a:pt x="294" y="302"/>
                  </a:lnTo>
                  <a:lnTo>
                    <a:pt x="291" y="303"/>
                  </a:lnTo>
                  <a:lnTo>
                    <a:pt x="288" y="306"/>
                  </a:lnTo>
                  <a:lnTo>
                    <a:pt x="285" y="303"/>
                  </a:lnTo>
                  <a:lnTo>
                    <a:pt x="284" y="300"/>
                  </a:lnTo>
                  <a:lnTo>
                    <a:pt x="284" y="295"/>
                  </a:lnTo>
                  <a:lnTo>
                    <a:pt x="284" y="290"/>
                  </a:lnTo>
                  <a:lnTo>
                    <a:pt x="281" y="285"/>
                  </a:lnTo>
                  <a:lnTo>
                    <a:pt x="284" y="282"/>
                  </a:lnTo>
                  <a:lnTo>
                    <a:pt x="288" y="280"/>
                  </a:lnTo>
                  <a:lnTo>
                    <a:pt x="289" y="279"/>
                  </a:lnTo>
                  <a:lnTo>
                    <a:pt x="288" y="277"/>
                  </a:lnTo>
                  <a:lnTo>
                    <a:pt x="285" y="276"/>
                  </a:lnTo>
                  <a:lnTo>
                    <a:pt x="282" y="273"/>
                  </a:lnTo>
                  <a:lnTo>
                    <a:pt x="275" y="270"/>
                  </a:lnTo>
                  <a:lnTo>
                    <a:pt x="268" y="272"/>
                  </a:lnTo>
                  <a:lnTo>
                    <a:pt x="264" y="275"/>
                  </a:lnTo>
                  <a:lnTo>
                    <a:pt x="259" y="275"/>
                  </a:lnTo>
                  <a:lnTo>
                    <a:pt x="258" y="273"/>
                  </a:lnTo>
                  <a:lnTo>
                    <a:pt x="259" y="269"/>
                  </a:lnTo>
                  <a:lnTo>
                    <a:pt x="259" y="265"/>
                  </a:lnTo>
                  <a:lnTo>
                    <a:pt x="255" y="265"/>
                  </a:lnTo>
                  <a:lnTo>
                    <a:pt x="251" y="267"/>
                  </a:lnTo>
                  <a:lnTo>
                    <a:pt x="249" y="270"/>
                  </a:lnTo>
                  <a:lnTo>
                    <a:pt x="246" y="272"/>
                  </a:lnTo>
                  <a:lnTo>
                    <a:pt x="245" y="272"/>
                  </a:lnTo>
                  <a:lnTo>
                    <a:pt x="242" y="269"/>
                  </a:lnTo>
                  <a:lnTo>
                    <a:pt x="239" y="270"/>
                  </a:lnTo>
                  <a:lnTo>
                    <a:pt x="235" y="270"/>
                  </a:lnTo>
                  <a:lnTo>
                    <a:pt x="235" y="269"/>
                  </a:lnTo>
                  <a:lnTo>
                    <a:pt x="236" y="265"/>
                  </a:lnTo>
                  <a:lnTo>
                    <a:pt x="235" y="259"/>
                  </a:lnTo>
                  <a:lnTo>
                    <a:pt x="232" y="257"/>
                  </a:lnTo>
                  <a:lnTo>
                    <a:pt x="229" y="259"/>
                  </a:lnTo>
                  <a:lnTo>
                    <a:pt x="225" y="259"/>
                  </a:lnTo>
                  <a:lnTo>
                    <a:pt x="226" y="256"/>
                  </a:lnTo>
                  <a:lnTo>
                    <a:pt x="229" y="253"/>
                  </a:lnTo>
                  <a:lnTo>
                    <a:pt x="228" y="252"/>
                  </a:lnTo>
                  <a:lnTo>
                    <a:pt x="221" y="252"/>
                  </a:lnTo>
                  <a:lnTo>
                    <a:pt x="216" y="255"/>
                  </a:lnTo>
                  <a:lnTo>
                    <a:pt x="212" y="257"/>
                  </a:lnTo>
                  <a:lnTo>
                    <a:pt x="208" y="260"/>
                  </a:lnTo>
                  <a:lnTo>
                    <a:pt x="204" y="259"/>
                  </a:lnTo>
                  <a:lnTo>
                    <a:pt x="201" y="259"/>
                  </a:lnTo>
                  <a:lnTo>
                    <a:pt x="198" y="259"/>
                  </a:lnTo>
                  <a:lnTo>
                    <a:pt x="198" y="260"/>
                  </a:lnTo>
                  <a:lnTo>
                    <a:pt x="198" y="265"/>
                  </a:lnTo>
                  <a:lnTo>
                    <a:pt x="202" y="270"/>
                  </a:lnTo>
                  <a:lnTo>
                    <a:pt x="204" y="275"/>
                  </a:lnTo>
                  <a:lnTo>
                    <a:pt x="201" y="276"/>
                  </a:lnTo>
                  <a:lnTo>
                    <a:pt x="199" y="276"/>
                  </a:lnTo>
                  <a:lnTo>
                    <a:pt x="198" y="275"/>
                  </a:lnTo>
                  <a:lnTo>
                    <a:pt x="189" y="270"/>
                  </a:lnTo>
                  <a:lnTo>
                    <a:pt x="183" y="270"/>
                  </a:lnTo>
                  <a:lnTo>
                    <a:pt x="178" y="269"/>
                  </a:lnTo>
                  <a:lnTo>
                    <a:pt x="176" y="269"/>
                  </a:lnTo>
                  <a:lnTo>
                    <a:pt x="172" y="275"/>
                  </a:lnTo>
                  <a:lnTo>
                    <a:pt x="171" y="276"/>
                  </a:lnTo>
                  <a:lnTo>
                    <a:pt x="166" y="275"/>
                  </a:lnTo>
                  <a:lnTo>
                    <a:pt x="165" y="275"/>
                  </a:lnTo>
                  <a:lnTo>
                    <a:pt x="165" y="272"/>
                  </a:lnTo>
                  <a:lnTo>
                    <a:pt x="165" y="266"/>
                  </a:lnTo>
                  <a:lnTo>
                    <a:pt x="163" y="265"/>
                  </a:lnTo>
                  <a:lnTo>
                    <a:pt x="159" y="265"/>
                  </a:lnTo>
                  <a:lnTo>
                    <a:pt x="158" y="266"/>
                  </a:lnTo>
                  <a:lnTo>
                    <a:pt x="152" y="270"/>
                  </a:lnTo>
                  <a:lnTo>
                    <a:pt x="151" y="272"/>
                  </a:lnTo>
                  <a:lnTo>
                    <a:pt x="148" y="270"/>
                  </a:lnTo>
                  <a:lnTo>
                    <a:pt x="142" y="266"/>
                  </a:lnTo>
                  <a:lnTo>
                    <a:pt x="139" y="265"/>
                  </a:lnTo>
                  <a:lnTo>
                    <a:pt x="133" y="265"/>
                  </a:lnTo>
                  <a:lnTo>
                    <a:pt x="132" y="266"/>
                  </a:lnTo>
                  <a:lnTo>
                    <a:pt x="129" y="270"/>
                  </a:lnTo>
                  <a:lnTo>
                    <a:pt x="122" y="272"/>
                  </a:lnTo>
                  <a:lnTo>
                    <a:pt x="120" y="273"/>
                  </a:lnTo>
                  <a:lnTo>
                    <a:pt x="118" y="266"/>
                  </a:lnTo>
                  <a:lnTo>
                    <a:pt x="115" y="260"/>
                  </a:lnTo>
                  <a:lnTo>
                    <a:pt x="116" y="257"/>
                  </a:lnTo>
                  <a:lnTo>
                    <a:pt x="116" y="250"/>
                  </a:lnTo>
                  <a:lnTo>
                    <a:pt x="112" y="246"/>
                  </a:lnTo>
                  <a:lnTo>
                    <a:pt x="112" y="233"/>
                  </a:lnTo>
                  <a:lnTo>
                    <a:pt x="118" y="222"/>
                  </a:lnTo>
                  <a:lnTo>
                    <a:pt x="122" y="212"/>
                  </a:lnTo>
                  <a:lnTo>
                    <a:pt x="122" y="203"/>
                  </a:lnTo>
                  <a:lnTo>
                    <a:pt x="116" y="193"/>
                  </a:lnTo>
                  <a:lnTo>
                    <a:pt x="112" y="189"/>
                  </a:lnTo>
                  <a:lnTo>
                    <a:pt x="110" y="187"/>
                  </a:lnTo>
                  <a:lnTo>
                    <a:pt x="108" y="181"/>
                  </a:lnTo>
                  <a:lnTo>
                    <a:pt x="106" y="179"/>
                  </a:lnTo>
                  <a:lnTo>
                    <a:pt x="102" y="173"/>
                  </a:lnTo>
                  <a:lnTo>
                    <a:pt x="100" y="167"/>
                  </a:lnTo>
                  <a:lnTo>
                    <a:pt x="102" y="163"/>
                  </a:lnTo>
                  <a:lnTo>
                    <a:pt x="110" y="156"/>
                  </a:lnTo>
                  <a:lnTo>
                    <a:pt x="113" y="153"/>
                  </a:lnTo>
                  <a:lnTo>
                    <a:pt x="113" y="150"/>
                  </a:lnTo>
                  <a:lnTo>
                    <a:pt x="112" y="147"/>
                  </a:lnTo>
                  <a:lnTo>
                    <a:pt x="108" y="147"/>
                  </a:lnTo>
                  <a:lnTo>
                    <a:pt x="105" y="146"/>
                  </a:lnTo>
                  <a:lnTo>
                    <a:pt x="100" y="143"/>
                  </a:lnTo>
                  <a:lnTo>
                    <a:pt x="96" y="137"/>
                  </a:lnTo>
                  <a:lnTo>
                    <a:pt x="93" y="136"/>
                  </a:lnTo>
                  <a:lnTo>
                    <a:pt x="90" y="139"/>
                  </a:lnTo>
                  <a:lnTo>
                    <a:pt x="86" y="137"/>
                  </a:lnTo>
                  <a:lnTo>
                    <a:pt x="82" y="134"/>
                  </a:lnTo>
                  <a:lnTo>
                    <a:pt x="82" y="134"/>
                  </a:lnTo>
                  <a:lnTo>
                    <a:pt x="76" y="130"/>
                  </a:lnTo>
                  <a:lnTo>
                    <a:pt x="67" y="127"/>
                  </a:lnTo>
                  <a:lnTo>
                    <a:pt x="67" y="127"/>
                  </a:lnTo>
                  <a:lnTo>
                    <a:pt x="62" y="127"/>
                  </a:lnTo>
                  <a:lnTo>
                    <a:pt x="56" y="130"/>
                  </a:lnTo>
                  <a:lnTo>
                    <a:pt x="49" y="128"/>
                  </a:lnTo>
                  <a:lnTo>
                    <a:pt x="46" y="127"/>
                  </a:lnTo>
                  <a:lnTo>
                    <a:pt x="43" y="124"/>
                  </a:lnTo>
                  <a:lnTo>
                    <a:pt x="40" y="120"/>
                  </a:lnTo>
                  <a:lnTo>
                    <a:pt x="37" y="117"/>
                  </a:lnTo>
                  <a:lnTo>
                    <a:pt x="27" y="111"/>
                  </a:lnTo>
                  <a:lnTo>
                    <a:pt x="19" y="108"/>
                  </a:lnTo>
                  <a:lnTo>
                    <a:pt x="0" y="106"/>
                  </a:lnTo>
                  <a:lnTo>
                    <a:pt x="0" y="97"/>
                  </a:lnTo>
                  <a:lnTo>
                    <a:pt x="12" y="97"/>
                  </a:lnTo>
                  <a:lnTo>
                    <a:pt x="14" y="93"/>
                  </a:lnTo>
                  <a:lnTo>
                    <a:pt x="13" y="84"/>
                  </a:lnTo>
                  <a:lnTo>
                    <a:pt x="9" y="74"/>
                  </a:lnTo>
                  <a:lnTo>
                    <a:pt x="6" y="67"/>
                  </a:lnTo>
                  <a:lnTo>
                    <a:pt x="7" y="64"/>
                  </a:lnTo>
                  <a:lnTo>
                    <a:pt x="10" y="61"/>
                  </a:lnTo>
                  <a:lnTo>
                    <a:pt x="14" y="63"/>
                  </a:lnTo>
                  <a:lnTo>
                    <a:pt x="17" y="64"/>
                  </a:lnTo>
                  <a:lnTo>
                    <a:pt x="24" y="57"/>
                  </a:lnTo>
                  <a:lnTo>
                    <a:pt x="27" y="53"/>
                  </a:lnTo>
                  <a:lnTo>
                    <a:pt x="33" y="51"/>
                  </a:lnTo>
                  <a:lnTo>
                    <a:pt x="35" y="48"/>
                  </a:lnTo>
                  <a:lnTo>
                    <a:pt x="35" y="44"/>
                  </a:lnTo>
                  <a:lnTo>
                    <a:pt x="29" y="43"/>
                  </a:lnTo>
                  <a:lnTo>
                    <a:pt x="26" y="41"/>
                  </a:lnTo>
                  <a:lnTo>
                    <a:pt x="23" y="35"/>
                  </a:lnTo>
                  <a:lnTo>
                    <a:pt x="23" y="30"/>
                  </a:lnTo>
                  <a:lnTo>
                    <a:pt x="26" y="20"/>
                  </a:lnTo>
                  <a:lnTo>
                    <a:pt x="27" y="15"/>
                  </a:lnTo>
                  <a:lnTo>
                    <a:pt x="33" y="14"/>
                  </a:lnTo>
                  <a:lnTo>
                    <a:pt x="36" y="11"/>
                  </a:lnTo>
                  <a:lnTo>
                    <a:pt x="40" y="10"/>
                  </a:lnTo>
                  <a:lnTo>
                    <a:pt x="42" y="10"/>
                  </a:lnTo>
                  <a:lnTo>
                    <a:pt x="47" y="11"/>
                  </a:lnTo>
                  <a:lnTo>
                    <a:pt x="53" y="15"/>
                  </a:lnTo>
                  <a:lnTo>
                    <a:pt x="57" y="15"/>
                  </a:lnTo>
                  <a:lnTo>
                    <a:pt x="62" y="12"/>
                  </a:lnTo>
                  <a:lnTo>
                    <a:pt x="63" y="7"/>
                  </a:lnTo>
                  <a:lnTo>
                    <a:pt x="69" y="11"/>
                  </a:lnTo>
                  <a:lnTo>
                    <a:pt x="80" y="2"/>
                  </a:lnTo>
                  <a:lnTo>
                    <a:pt x="83" y="1"/>
                  </a:lnTo>
                  <a:lnTo>
                    <a:pt x="87" y="0"/>
                  </a:lnTo>
                  <a:lnTo>
                    <a:pt x="89" y="1"/>
                  </a:lnTo>
                  <a:lnTo>
                    <a:pt x="90" y="2"/>
                  </a:lnTo>
                  <a:lnTo>
                    <a:pt x="92" y="7"/>
                  </a:lnTo>
                  <a:lnTo>
                    <a:pt x="95" y="10"/>
                  </a:lnTo>
                  <a:lnTo>
                    <a:pt x="100" y="11"/>
                  </a:lnTo>
                  <a:lnTo>
                    <a:pt x="108" y="15"/>
                  </a:lnTo>
                  <a:lnTo>
                    <a:pt x="112" y="17"/>
                  </a:lnTo>
                  <a:lnTo>
                    <a:pt x="116" y="17"/>
                  </a:lnTo>
                  <a:lnTo>
                    <a:pt x="123" y="14"/>
                  </a:lnTo>
                  <a:lnTo>
                    <a:pt x="129" y="20"/>
                  </a:lnTo>
                  <a:lnTo>
                    <a:pt x="130" y="24"/>
                  </a:lnTo>
                  <a:lnTo>
                    <a:pt x="130" y="30"/>
                  </a:lnTo>
                  <a:lnTo>
                    <a:pt x="129" y="34"/>
                  </a:lnTo>
                  <a:lnTo>
                    <a:pt x="133" y="38"/>
                  </a:lnTo>
                  <a:lnTo>
                    <a:pt x="138" y="38"/>
                  </a:lnTo>
                  <a:lnTo>
                    <a:pt x="140" y="37"/>
                  </a:lnTo>
                  <a:lnTo>
                    <a:pt x="143" y="37"/>
                  </a:lnTo>
                  <a:lnTo>
                    <a:pt x="146" y="40"/>
                  </a:lnTo>
                  <a:lnTo>
                    <a:pt x="145" y="4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99" name="Freeform 147"/>
            <p:cNvSpPr>
              <a:spLocks noEditPoints="1"/>
            </p:cNvSpPr>
            <p:nvPr/>
          </p:nvSpPr>
          <p:spPr bwMode="auto">
            <a:xfrm>
              <a:off x="3037016" y="2723338"/>
              <a:ext cx="1376227" cy="785805"/>
            </a:xfrm>
            <a:custGeom>
              <a:avLst/>
              <a:gdLst>
                <a:gd name="T0" fmla="*/ 2098 w 2254"/>
                <a:gd name="T1" fmla="*/ 929 h 1187"/>
                <a:gd name="T2" fmla="*/ 2234 w 2254"/>
                <a:gd name="T3" fmla="*/ 798 h 1187"/>
                <a:gd name="T4" fmla="*/ 2166 w 2254"/>
                <a:gd name="T5" fmla="*/ 646 h 1187"/>
                <a:gd name="T6" fmla="*/ 2060 w 2254"/>
                <a:gd name="T7" fmla="*/ 589 h 1187"/>
                <a:gd name="T8" fmla="*/ 1992 w 2254"/>
                <a:gd name="T9" fmla="*/ 722 h 1187"/>
                <a:gd name="T10" fmla="*/ 1890 w 2254"/>
                <a:gd name="T11" fmla="*/ 728 h 1187"/>
                <a:gd name="T12" fmla="*/ 1946 w 2254"/>
                <a:gd name="T13" fmla="*/ 649 h 1187"/>
                <a:gd name="T14" fmla="*/ 1786 w 2254"/>
                <a:gd name="T15" fmla="*/ 602 h 1187"/>
                <a:gd name="T16" fmla="*/ 1682 w 2254"/>
                <a:gd name="T17" fmla="*/ 569 h 1187"/>
                <a:gd name="T18" fmla="*/ 1602 w 2254"/>
                <a:gd name="T19" fmla="*/ 580 h 1187"/>
                <a:gd name="T20" fmla="*/ 1627 w 2254"/>
                <a:gd name="T21" fmla="*/ 551 h 1187"/>
                <a:gd name="T22" fmla="*/ 1574 w 2254"/>
                <a:gd name="T23" fmla="*/ 526 h 1187"/>
                <a:gd name="T24" fmla="*/ 1648 w 2254"/>
                <a:gd name="T25" fmla="*/ 490 h 1187"/>
                <a:gd name="T26" fmla="*/ 1724 w 2254"/>
                <a:gd name="T27" fmla="*/ 477 h 1187"/>
                <a:gd name="T28" fmla="*/ 1586 w 2254"/>
                <a:gd name="T29" fmla="*/ 450 h 1187"/>
                <a:gd name="T30" fmla="*/ 1568 w 2254"/>
                <a:gd name="T31" fmla="*/ 441 h 1187"/>
                <a:gd name="T32" fmla="*/ 1459 w 2254"/>
                <a:gd name="T33" fmla="*/ 408 h 1187"/>
                <a:gd name="T34" fmla="*/ 1320 w 2254"/>
                <a:gd name="T35" fmla="*/ 398 h 1187"/>
                <a:gd name="T36" fmla="*/ 1200 w 2254"/>
                <a:gd name="T37" fmla="*/ 431 h 1187"/>
                <a:gd name="T38" fmla="*/ 1101 w 2254"/>
                <a:gd name="T39" fmla="*/ 377 h 1187"/>
                <a:gd name="T40" fmla="*/ 1175 w 2254"/>
                <a:gd name="T41" fmla="*/ 249 h 1187"/>
                <a:gd name="T42" fmla="*/ 1280 w 2254"/>
                <a:gd name="T43" fmla="*/ 209 h 1187"/>
                <a:gd name="T44" fmla="*/ 1171 w 2254"/>
                <a:gd name="T45" fmla="*/ 153 h 1187"/>
                <a:gd name="T46" fmla="*/ 1071 w 2254"/>
                <a:gd name="T47" fmla="*/ 209 h 1187"/>
                <a:gd name="T48" fmla="*/ 1014 w 2254"/>
                <a:gd name="T49" fmla="*/ 304 h 1187"/>
                <a:gd name="T50" fmla="*/ 909 w 2254"/>
                <a:gd name="T51" fmla="*/ 369 h 1187"/>
                <a:gd name="T52" fmla="*/ 926 w 2254"/>
                <a:gd name="T53" fmla="*/ 306 h 1187"/>
                <a:gd name="T54" fmla="*/ 826 w 2254"/>
                <a:gd name="T55" fmla="*/ 226 h 1187"/>
                <a:gd name="T56" fmla="*/ 628 w 2254"/>
                <a:gd name="T57" fmla="*/ 255 h 1187"/>
                <a:gd name="T58" fmla="*/ 577 w 2254"/>
                <a:gd name="T59" fmla="*/ 384 h 1187"/>
                <a:gd name="T60" fmla="*/ 531 w 2254"/>
                <a:gd name="T61" fmla="*/ 239 h 1187"/>
                <a:gd name="T62" fmla="*/ 495 w 2254"/>
                <a:gd name="T63" fmla="*/ 179 h 1187"/>
                <a:gd name="T64" fmla="*/ 512 w 2254"/>
                <a:gd name="T65" fmla="*/ 87 h 1187"/>
                <a:gd name="T66" fmla="*/ 446 w 2254"/>
                <a:gd name="T67" fmla="*/ 87 h 1187"/>
                <a:gd name="T68" fmla="*/ 444 w 2254"/>
                <a:gd name="T69" fmla="*/ 193 h 1187"/>
                <a:gd name="T70" fmla="*/ 372 w 2254"/>
                <a:gd name="T71" fmla="*/ 245 h 1187"/>
                <a:gd name="T72" fmla="*/ 315 w 2254"/>
                <a:gd name="T73" fmla="*/ 185 h 1187"/>
                <a:gd name="T74" fmla="*/ 216 w 2254"/>
                <a:gd name="T75" fmla="*/ 231 h 1187"/>
                <a:gd name="T76" fmla="*/ 191 w 2254"/>
                <a:gd name="T77" fmla="*/ 359 h 1187"/>
                <a:gd name="T78" fmla="*/ 71 w 2254"/>
                <a:gd name="T79" fmla="*/ 465 h 1187"/>
                <a:gd name="T80" fmla="*/ 28 w 2254"/>
                <a:gd name="T81" fmla="*/ 549 h 1187"/>
                <a:gd name="T82" fmla="*/ 4 w 2254"/>
                <a:gd name="T83" fmla="*/ 600 h 1187"/>
                <a:gd name="T84" fmla="*/ 90 w 2254"/>
                <a:gd name="T85" fmla="*/ 710 h 1187"/>
                <a:gd name="T86" fmla="*/ 170 w 2254"/>
                <a:gd name="T87" fmla="*/ 783 h 1187"/>
                <a:gd name="T88" fmla="*/ 232 w 2254"/>
                <a:gd name="T89" fmla="*/ 875 h 1187"/>
                <a:gd name="T90" fmla="*/ 365 w 2254"/>
                <a:gd name="T91" fmla="*/ 978 h 1187"/>
                <a:gd name="T92" fmla="*/ 446 w 2254"/>
                <a:gd name="T93" fmla="*/ 1101 h 1187"/>
                <a:gd name="T94" fmla="*/ 698 w 2254"/>
                <a:gd name="T95" fmla="*/ 991 h 1187"/>
                <a:gd name="T96" fmla="*/ 749 w 2254"/>
                <a:gd name="T97" fmla="*/ 652 h 1187"/>
                <a:gd name="T98" fmla="*/ 449 w 2254"/>
                <a:gd name="T99" fmla="*/ 36 h 1187"/>
                <a:gd name="T100" fmla="*/ 1783 w 2254"/>
                <a:gd name="T101" fmla="*/ 566 h 1187"/>
                <a:gd name="T102" fmla="*/ 1765 w 2254"/>
                <a:gd name="T103" fmla="*/ 521 h 1187"/>
                <a:gd name="T104" fmla="*/ 1698 w 2254"/>
                <a:gd name="T105" fmla="*/ 496 h 1187"/>
                <a:gd name="T106" fmla="*/ 1523 w 2254"/>
                <a:gd name="T107" fmla="*/ 420 h 1187"/>
                <a:gd name="T108" fmla="*/ 1972 w 2254"/>
                <a:gd name="T109" fmla="*/ 636 h 1187"/>
                <a:gd name="T110" fmla="*/ 1963 w 2254"/>
                <a:gd name="T111" fmla="*/ 619 h 1187"/>
                <a:gd name="T112" fmla="*/ 1963 w 2254"/>
                <a:gd name="T113" fmla="*/ 640 h 1187"/>
                <a:gd name="T114" fmla="*/ 451 w 2254"/>
                <a:gd name="T115" fmla="*/ 27 h 1187"/>
                <a:gd name="T116" fmla="*/ 449 w 2254"/>
                <a:gd name="T117" fmla="*/ 1 h 1187"/>
                <a:gd name="T118" fmla="*/ 615 w 2254"/>
                <a:gd name="T119" fmla="*/ 279 h 1187"/>
                <a:gd name="T120" fmla="*/ 575 w 2254"/>
                <a:gd name="T121" fmla="*/ 325 h 1187"/>
                <a:gd name="T122" fmla="*/ 584 w 2254"/>
                <a:gd name="T123" fmla="*/ 292 h 1187"/>
                <a:gd name="T124" fmla="*/ 575 w 2254"/>
                <a:gd name="T125" fmla="*/ 285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54" h="1187">
                  <a:moveTo>
                    <a:pt x="1155" y="600"/>
                  </a:moveTo>
                  <a:lnTo>
                    <a:pt x="1354" y="627"/>
                  </a:lnTo>
                  <a:lnTo>
                    <a:pt x="1412" y="614"/>
                  </a:lnTo>
                  <a:lnTo>
                    <a:pt x="1425" y="634"/>
                  </a:lnTo>
                  <a:lnTo>
                    <a:pt x="1459" y="673"/>
                  </a:lnTo>
                  <a:lnTo>
                    <a:pt x="1486" y="702"/>
                  </a:lnTo>
                  <a:lnTo>
                    <a:pt x="1511" y="723"/>
                  </a:lnTo>
                  <a:lnTo>
                    <a:pt x="1562" y="763"/>
                  </a:lnTo>
                  <a:lnTo>
                    <a:pt x="1647" y="828"/>
                  </a:lnTo>
                  <a:lnTo>
                    <a:pt x="1757" y="909"/>
                  </a:lnTo>
                  <a:lnTo>
                    <a:pt x="1793" y="934"/>
                  </a:lnTo>
                  <a:lnTo>
                    <a:pt x="1787" y="941"/>
                  </a:lnTo>
                  <a:lnTo>
                    <a:pt x="1804" y="942"/>
                  </a:lnTo>
                  <a:lnTo>
                    <a:pt x="1870" y="988"/>
                  </a:lnTo>
                  <a:lnTo>
                    <a:pt x="1903" y="985"/>
                  </a:lnTo>
                  <a:lnTo>
                    <a:pt x="1982" y="985"/>
                  </a:lnTo>
                  <a:lnTo>
                    <a:pt x="2002" y="968"/>
                  </a:lnTo>
                  <a:lnTo>
                    <a:pt x="2003" y="965"/>
                  </a:lnTo>
                  <a:lnTo>
                    <a:pt x="2012" y="957"/>
                  </a:lnTo>
                  <a:lnTo>
                    <a:pt x="2020" y="954"/>
                  </a:lnTo>
                  <a:lnTo>
                    <a:pt x="2026" y="951"/>
                  </a:lnTo>
                  <a:lnTo>
                    <a:pt x="2030" y="951"/>
                  </a:lnTo>
                  <a:lnTo>
                    <a:pt x="2035" y="951"/>
                  </a:lnTo>
                  <a:lnTo>
                    <a:pt x="2036" y="951"/>
                  </a:lnTo>
                  <a:lnTo>
                    <a:pt x="2040" y="948"/>
                  </a:lnTo>
                  <a:lnTo>
                    <a:pt x="2045" y="948"/>
                  </a:lnTo>
                  <a:lnTo>
                    <a:pt x="2048" y="951"/>
                  </a:lnTo>
                  <a:lnTo>
                    <a:pt x="2048" y="955"/>
                  </a:lnTo>
                  <a:lnTo>
                    <a:pt x="2048" y="960"/>
                  </a:lnTo>
                  <a:lnTo>
                    <a:pt x="2062" y="962"/>
                  </a:lnTo>
                  <a:lnTo>
                    <a:pt x="2065" y="955"/>
                  </a:lnTo>
                  <a:lnTo>
                    <a:pt x="2085" y="944"/>
                  </a:lnTo>
                  <a:lnTo>
                    <a:pt x="2085" y="941"/>
                  </a:lnTo>
                  <a:lnTo>
                    <a:pt x="2086" y="935"/>
                  </a:lnTo>
                  <a:lnTo>
                    <a:pt x="2092" y="931"/>
                  </a:lnTo>
                  <a:lnTo>
                    <a:pt x="2098" y="929"/>
                  </a:lnTo>
                  <a:lnTo>
                    <a:pt x="2102" y="928"/>
                  </a:lnTo>
                  <a:lnTo>
                    <a:pt x="2159" y="905"/>
                  </a:lnTo>
                  <a:lnTo>
                    <a:pt x="2169" y="907"/>
                  </a:lnTo>
                  <a:lnTo>
                    <a:pt x="2174" y="909"/>
                  </a:lnTo>
                  <a:lnTo>
                    <a:pt x="2178" y="912"/>
                  </a:lnTo>
                  <a:lnTo>
                    <a:pt x="2182" y="914"/>
                  </a:lnTo>
                  <a:lnTo>
                    <a:pt x="2187" y="914"/>
                  </a:lnTo>
                  <a:lnTo>
                    <a:pt x="2189" y="915"/>
                  </a:lnTo>
                  <a:lnTo>
                    <a:pt x="2195" y="918"/>
                  </a:lnTo>
                  <a:lnTo>
                    <a:pt x="2217" y="928"/>
                  </a:lnTo>
                  <a:lnTo>
                    <a:pt x="2217" y="928"/>
                  </a:lnTo>
                  <a:lnTo>
                    <a:pt x="2219" y="924"/>
                  </a:lnTo>
                  <a:lnTo>
                    <a:pt x="2224" y="922"/>
                  </a:lnTo>
                  <a:lnTo>
                    <a:pt x="2232" y="917"/>
                  </a:lnTo>
                  <a:lnTo>
                    <a:pt x="2237" y="915"/>
                  </a:lnTo>
                  <a:lnTo>
                    <a:pt x="2241" y="911"/>
                  </a:lnTo>
                  <a:lnTo>
                    <a:pt x="2242" y="907"/>
                  </a:lnTo>
                  <a:lnTo>
                    <a:pt x="2244" y="901"/>
                  </a:lnTo>
                  <a:lnTo>
                    <a:pt x="2244" y="901"/>
                  </a:lnTo>
                  <a:lnTo>
                    <a:pt x="2242" y="895"/>
                  </a:lnTo>
                  <a:lnTo>
                    <a:pt x="2240" y="889"/>
                  </a:lnTo>
                  <a:lnTo>
                    <a:pt x="2248" y="875"/>
                  </a:lnTo>
                  <a:lnTo>
                    <a:pt x="2244" y="859"/>
                  </a:lnTo>
                  <a:lnTo>
                    <a:pt x="2219" y="823"/>
                  </a:lnTo>
                  <a:lnTo>
                    <a:pt x="2225" y="821"/>
                  </a:lnTo>
                  <a:lnTo>
                    <a:pt x="2238" y="819"/>
                  </a:lnTo>
                  <a:lnTo>
                    <a:pt x="2245" y="811"/>
                  </a:lnTo>
                  <a:lnTo>
                    <a:pt x="2252" y="788"/>
                  </a:lnTo>
                  <a:lnTo>
                    <a:pt x="2250" y="786"/>
                  </a:lnTo>
                  <a:lnTo>
                    <a:pt x="2247" y="786"/>
                  </a:lnTo>
                  <a:lnTo>
                    <a:pt x="2247" y="789"/>
                  </a:lnTo>
                  <a:lnTo>
                    <a:pt x="2245" y="793"/>
                  </a:lnTo>
                  <a:lnTo>
                    <a:pt x="2242" y="796"/>
                  </a:lnTo>
                  <a:lnTo>
                    <a:pt x="2240" y="799"/>
                  </a:lnTo>
                  <a:lnTo>
                    <a:pt x="2235" y="799"/>
                  </a:lnTo>
                  <a:lnTo>
                    <a:pt x="2234" y="798"/>
                  </a:lnTo>
                  <a:lnTo>
                    <a:pt x="2234" y="798"/>
                  </a:lnTo>
                  <a:lnTo>
                    <a:pt x="2234" y="795"/>
                  </a:lnTo>
                  <a:lnTo>
                    <a:pt x="2234" y="793"/>
                  </a:lnTo>
                  <a:lnTo>
                    <a:pt x="2235" y="791"/>
                  </a:lnTo>
                  <a:lnTo>
                    <a:pt x="2237" y="789"/>
                  </a:lnTo>
                  <a:lnTo>
                    <a:pt x="2240" y="786"/>
                  </a:lnTo>
                  <a:lnTo>
                    <a:pt x="2240" y="785"/>
                  </a:lnTo>
                  <a:lnTo>
                    <a:pt x="2238" y="782"/>
                  </a:lnTo>
                  <a:lnTo>
                    <a:pt x="2238" y="782"/>
                  </a:lnTo>
                  <a:lnTo>
                    <a:pt x="2241" y="782"/>
                  </a:lnTo>
                  <a:lnTo>
                    <a:pt x="2242" y="783"/>
                  </a:lnTo>
                  <a:lnTo>
                    <a:pt x="2244" y="783"/>
                  </a:lnTo>
                  <a:lnTo>
                    <a:pt x="2245" y="782"/>
                  </a:lnTo>
                  <a:lnTo>
                    <a:pt x="2245" y="781"/>
                  </a:lnTo>
                  <a:lnTo>
                    <a:pt x="2247" y="781"/>
                  </a:lnTo>
                  <a:lnTo>
                    <a:pt x="2250" y="782"/>
                  </a:lnTo>
                  <a:lnTo>
                    <a:pt x="2251" y="783"/>
                  </a:lnTo>
                  <a:lnTo>
                    <a:pt x="2252" y="785"/>
                  </a:lnTo>
                  <a:lnTo>
                    <a:pt x="2254" y="783"/>
                  </a:lnTo>
                  <a:lnTo>
                    <a:pt x="2252" y="778"/>
                  </a:lnTo>
                  <a:lnTo>
                    <a:pt x="2251" y="775"/>
                  </a:lnTo>
                  <a:lnTo>
                    <a:pt x="2251" y="769"/>
                  </a:lnTo>
                  <a:lnTo>
                    <a:pt x="2248" y="759"/>
                  </a:lnTo>
                  <a:lnTo>
                    <a:pt x="2245" y="748"/>
                  </a:lnTo>
                  <a:lnTo>
                    <a:pt x="2240" y="736"/>
                  </a:lnTo>
                  <a:lnTo>
                    <a:pt x="2235" y="726"/>
                  </a:lnTo>
                  <a:lnTo>
                    <a:pt x="2229" y="719"/>
                  </a:lnTo>
                  <a:lnTo>
                    <a:pt x="2218" y="700"/>
                  </a:lnTo>
                  <a:lnTo>
                    <a:pt x="2212" y="693"/>
                  </a:lnTo>
                  <a:lnTo>
                    <a:pt x="2209" y="686"/>
                  </a:lnTo>
                  <a:lnTo>
                    <a:pt x="2202" y="679"/>
                  </a:lnTo>
                  <a:lnTo>
                    <a:pt x="2192" y="669"/>
                  </a:lnTo>
                  <a:lnTo>
                    <a:pt x="2191" y="667"/>
                  </a:lnTo>
                  <a:lnTo>
                    <a:pt x="2187" y="663"/>
                  </a:lnTo>
                  <a:lnTo>
                    <a:pt x="2179" y="654"/>
                  </a:lnTo>
                  <a:lnTo>
                    <a:pt x="2166" y="646"/>
                  </a:lnTo>
                  <a:lnTo>
                    <a:pt x="2158" y="637"/>
                  </a:lnTo>
                  <a:lnTo>
                    <a:pt x="2154" y="634"/>
                  </a:lnTo>
                  <a:lnTo>
                    <a:pt x="2145" y="630"/>
                  </a:lnTo>
                  <a:lnTo>
                    <a:pt x="2142" y="626"/>
                  </a:lnTo>
                  <a:lnTo>
                    <a:pt x="2138" y="622"/>
                  </a:lnTo>
                  <a:lnTo>
                    <a:pt x="2132" y="620"/>
                  </a:lnTo>
                  <a:lnTo>
                    <a:pt x="2126" y="617"/>
                  </a:lnTo>
                  <a:lnTo>
                    <a:pt x="2124" y="613"/>
                  </a:lnTo>
                  <a:lnTo>
                    <a:pt x="2124" y="606"/>
                  </a:lnTo>
                  <a:lnTo>
                    <a:pt x="2122" y="600"/>
                  </a:lnTo>
                  <a:lnTo>
                    <a:pt x="2119" y="596"/>
                  </a:lnTo>
                  <a:lnTo>
                    <a:pt x="2116" y="591"/>
                  </a:lnTo>
                  <a:lnTo>
                    <a:pt x="2116" y="589"/>
                  </a:lnTo>
                  <a:lnTo>
                    <a:pt x="2115" y="587"/>
                  </a:lnTo>
                  <a:lnTo>
                    <a:pt x="2112" y="589"/>
                  </a:lnTo>
                  <a:lnTo>
                    <a:pt x="2111" y="587"/>
                  </a:lnTo>
                  <a:lnTo>
                    <a:pt x="2109" y="586"/>
                  </a:lnTo>
                  <a:lnTo>
                    <a:pt x="2105" y="581"/>
                  </a:lnTo>
                  <a:lnTo>
                    <a:pt x="2098" y="579"/>
                  </a:lnTo>
                  <a:lnTo>
                    <a:pt x="2093" y="579"/>
                  </a:lnTo>
                  <a:lnTo>
                    <a:pt x="2091" y="580"/>
                  </a:lnTo>
                  <a:lnTo>
                    <a:pt x="2089" y="584"/>
                  </a:lnTo>
                  <a:lnTo>
                    <a:pt x="2088" y="590"/>
                  </a:lnTo>
                  <a:lnTo>
                    <a:pt x="2088" y="591"/>
                  </a:lnTo>
                  <a:lnTo>
                    <a:pt x="2086" y="593"/>
                  </a:lnTo>
                  <a:lnTo>
                    <a:pt x="2083" y="591"/>
                  </a:lnTo>
                  <a:lnTo>
                    <a:pt x="2081" y="591"/>
                  </a:lnTo>
                  <a:lnTo>
                    <a:pt x="2081" y="593"/>
                  </a:lnTo>
                  <a:lnTo>
                    <a:pt x="2079" y="596"/>
                  </a:lnTo>
                  <a:lnTo>
                    <a:pt x="2079" y="597"/>
                  </a:lnTo>
                  <a:lnTo>
                    <a:pt x="2079" y="599"/>
                  </a:lnTo>
                  <a:lnTo>
                    <a:pt x="2076" y="597"/>
                  </a:lnTo>
                  <a:lnTo>
                    <a:pt x="2073" y="596"/>
                  </a:lnTo>
                  <a:lnTo>
                    <a:pt x="2069" y="593"/>
                  </a:lnTo>
                  <a:lnTo>
                    <a:pt x="2063" y="589"/>
                  </a:lnTo>
                  <a:lnTo>
                    <a:pt x="2060" y="589"/>
                  </a:lnTo>
                  <a:lnTo>
                    <a:pt x="2055" y="589"/>
                  </a:lnTo>
                  <a:lnTo>
                    <a:pt x="2049" y="590"/>
                  </a:lnTo>
                  <a:lnTo>
                    <a:pt x="2046" y="593"/>
                  </a:lnTo>
                  <a:lnTo>
                    <a:pt x="2043" y="599"/>
                  </a:lnTo>
                  <a:lnTo>
                    <a:pt x="2043" y="602"/>
                  </a:lnTo>
                  <a:lnTo>
                    <a:pt x="2042" y="606"/>
                  </a:lnTo>
                  <a:lnTo>
                    <a:pt x="2040" y="612"/>
                  </a:lnTo>
                  <a:lnTo>
                    <a:pt x="2040" y="622"/>
                  </a:lnTo>
                  <a:lnTo>
                    <a:pt x="2040" y="629"/>
                  </a:lnTo>
                  <a:lnTo>
                    <a:pt x="2039" y="637"/>
                  </a:lnTo>
                  <a:lnTo>
                    <a:pt x="2038" y="646"/>
                  </a:lnTo>
                  <a:lnTo>
                    <a:pt x="2038" y="654"/>
                  </a:lnTo>
                  <a:lnTo>
                    <a:pt x="2035" y="659"/>
                  </a:lnTo>
                  <a:lnTo>
                    <a:pt x="2030" y="663"/>
                  </a:lnTo>
                  <a:lnTo>
                    <a:pt x="2028" y="667"/>
                  </a:lnTo>
                  <a:lnTo>
                    <a:pt x="2026" y="670"/>
                  </a:lnTo>
                  <a:lnTo>
                    <a:pt x="2026" y="676"/>
                  </a:lnTo>
                  <a:lnTo>
                    <a:pt x="2028" y="680"/>
                  </a:lnTo>
                  <a:lnTo>
                    <a:pt x="2029" y="680"/>
                  </a:lnTo>
                  <a:lnTo>
                    <a:pt x="2030" y="679"/>
                  </a:lnTo>
                  <a:lnTo>
                    <a:pt x="2032" y="675"/>
                  </a:lnTo>
                  <a:lnTo>
                    <a:pt x="2033" y="670"/>
                  </a:lnTo>
                  <a:lnTo>
                    <a:pt x="2035" y="669"/>
                  </a:lnTo>
                  <a:lnTo>
                    <a:pt x="2036" y="669"/>
                  </a:lnTo>
                  <a:lnTo>
                    <a:pt x="2038" y="672"/>
                  </a:lnTo>
                  <a:lnTo>
                    <a:pt x="2038" y="679"/>
                  </a:lnTo>
                  <a:lnTo>
                    <a:pt x="2036" y="689"/>
                  </a:lnTo>
                  <a:lnTo>
                    <a:pt x="2033" y="695"/>
                  </a:lnTo>
                  <a:lnTo>
                    <a:pt x="2030" y="700"/>
                  </a:lnTo>
                  <a:lnTo>
                    <a:pt x="2026" y="706"/>
                  </a:lnTo>
                  <a:lnTo>
                    <a:pt x="2022" y="710"/>
                  </a:lnTo>
                  <a:lnTo>
                    <a:pt x="2018" y="712"/>
                  </a:lnTo>
                  <a:lnTo>
                    <a:pt x="2015" y="715"/>
                  </a:lnTo>
                  <a:lnTo>
                    <a:pt x="2007" y="716"/>
                  </a:lnTo>
                  <a:lnTo>
                    <a:pt x="1999" y="720"/>
                  </a:lnTo>
                  <a:lnTo>
                    <a:pt x="1992" y="722"/>
                  </a:lnTo>
                  <a:lnTo>
                    <a:pt x="1983" y="723"/>
                  </a:lnTo>
                  <a:lnTo>
                    <a:pt x="1975" y="723"/>
                  </a:lnTo>
                  <a:lnTo>
                    <a:pt x="1967" y="720"/>
                  </a:lnTo>
                  <a:lnTo>
                    <a:pt x="1963" y="718"/>
                  </a:lnTo>
                  <a:lnTo>
                    <a:pt x="1957" y="712"/>
                  </a:lnTo>
                  <a:lnTo>
                    <a:pt x="1956" y="710"/>
                  </a:lnTo>
                  <a:lnTo>
                    <a:pt x="1953" y="709"/>
                  </a:lnTo>
                  <a:lnTo>
                    <a:pt x="1950" y="706"/>
                  </a:lnTo>
                  <a:lnTo>
                    <a:pt x="1944" y="706"/>
                  </a:lnTo>
                  <a:lnTo>
                    <a:pt x="1939" y="709"/>
                  </a:lnTo>
                  <a:lnTo>
                    <a:pt x="1936" y="710"/>
                  </a:lnTo>
                  <a:lnTo>
                    <a:pt x="1934" y="715"/>
                  </a:lnTo>
                  <a:lnTo>
                    <a:pt x="1934" y="718"/>
                  </a:lnTo>
                  <a:lnTo>
                    <a:pt x="1932" y="716"/>
                  </a:lnTo>
                  <a:lnTo>
                    <a:pt x="1930" y="718"/>
                  </a:lnTo>
                  <a:lnTo>
                    <a:pt x="1930" y="719"/>
                  </a:lnTo>
                  <a:lnTo>
                    <a:pt x="1932" y="722"/>
                  </a:lnTo>
                  <a:lnTo>
                    <a:pt x="1934" y="726"/>
                  </a:lnTo>
                  <a:lnTo>
                    <a:pt x="1934" y="732"/>
                  </a:lnTo>
                  <a:lnTo>
                    <a:pt x="1933" y="738"/>
                  </a:lnTo>
                  <a:lnTo>
                    <a:pt x="1929" y="743"/>
                  </a:lnTo>
                  <a:lnTo>
                    <a:pt x="1924" y="746"/>
                  </a:lnTo>
                  <a:lnTo>
                    <a:pt x="1922" y="748"/>
                  </a:lnTo>
                  <a:lnTo>
                    <a:pt x="1919" y="749"/>
                  </a:lnTo>
                  <a:lnTo>
                    <a:pt x="1916" y="750"/>
                  </a:lnTo>
                  <a:lnTo>
                    <a:pt x="1913" y="749"/>
                  </a:lnTo>
                  <a:lnTo>
                    <a:pt x="1910" y="749"/>
                  </a:lnTo>
                  <a:lnTo>
                    <a:pt x="1909" y="750"/>
                  </a:lnTo>
                  <a:lnTo>
                    <a:pt x="1907" y="750"/>
                  </a:lnTo>
                  <a:lnTo>
                    <a:pt x="1904" y="750"/>
                  </a:lnTo>
                  <a:lnTo>
                    <a:pt x="1902" y="746"/>
                  </a:lnTo>
                  <a:lnTo>
                    <a:pt x="1900" y="742"/>
                  </a:lnTo>
                  <a:lnTo>
                    <a:pt x="1897" y="740"/>
                  </a:lnTo>
                  <a:lnTo>
                    <a:pt x="1897" y="738"/>
                  </a:lnTo>
                  <a:lnTo>
                    <a:pt x="1894" y="733"/>
                  </a:lnTo>
                  <a:lnTo>
                    <a:pt x="1890" y="728"/>
                  </a:lnTo>
                  <a:lnTo>
                    <a:pt x="1886" y="722"/>
                  </a:lnTo>
                  <a:lnTo>
                    <a:pt x="1884" y="719"/>
                  </a:lnTo>
                  <a:lnTo>
                    <a:pt x="1884" y="715"/>
                  </a:lnTo>
                  <a:lnTo>
                    <a:pt x="1889" y="712"/>
                  </a:lnTo>
                  <a:lnTo>
                    <a:pt x="1894" y="706"/>
                  </a:lnTo>
                  <a:lnTo>
                    <a:pt x="1896" y="703"/>
                  </a:lnTo>
                  <a:lnTo>
                    <a:pt x="1897" y="700"/>
                  </a:lnTo>
                  <a:lnTo>
                    <a:pt x="1897" y="697"/>
                  </a:lnTo>
                  <a:lnTo>
                    <a:pt x="1899" y="693"/>
                  </a:lnTo>
                  <a:lnTo>
                    <a:pt x="1903" y="690"/>
                  </a:lnTo>
                  <a:lnTo>
                    <a:pt x="1907" y="687"/>
                  </a:lnTo>
                  <a:lnTo>
                    <a:pt x="1909" y="686"/>
                  </a:lnTo>
                  <a:lnTo>
                    <a:pt x="1912" y="685"/>
                  </a:lnTo>
                  <a:lnTo>
                    <a:pt x="1914" y="686"/>
                  </a:lnTo>
                  <a:lnTo>
                    <a:pt x="1916" y="687"/>
                  </a:lnTo>
                  <a:lnTo>
                    <a:pt x="1919" y="690"/>
                  </a:lnTo>
                  <a:lnTo>
                    <a:pt x="1920" y="692"/>
                  </a:lnTo>
                  <a:lnTo>
                    <a:pt x="1924" y="693"/>
                  </a:lnTo>
                  <a:lnTo>
                    <a:pt x="1927" y="692"/>
                  </a:lnTo>
                  <a:lnTo>
                    <a:pt x="1929" y="690"/>
                  </a:lnTo>
                  <a:lnTo>
                    <a:pt x="1932" y="686"/>
                  </a:lnTo>
                  <a:lnTo>
                    <a:pt x="1932" y="682"/>
                  </a:lnTo>
                  <a:lnTo>
                    <a:pt x="1932" y="677"/>
                  </a:lnTo>
                  <a:lnTo>
                    <a:pt x="1932" y="673"/>
                  </a:lnTo>
                  <a:lnTo>
                    <a:pt x="1930" y="665"/>
                  </a:lnTo>
                  <a:lnTo>
                    <a:pt x="1929" y="656"/>
                  </a:lnTo>
                  <a:lnTo>
                    <a:pt x="1926" y="649"/>
                  </a:lnTo>
                  <a:lnTo>
                    <a:pt x="1922" y="646"/>
                  </a:lnTo>
                  <a:lnTo>
                    <a:pt x="1920" y="643"/>
                  </a:lnTo>
                  <a:lnTo>
                    <a:pt x="1922" y="642"/>
                  </a:lnTo>
                  <a:lnTo>
                    <a:pt x="1924" y="642"/>
                  </a:lnTo>
                  <a:lnTo>
                    <a:pt x="1933" y="644"/>
                  </a:lnTo>
                  <a:lnTo>
                    <a:pt x="1936" y="644"/>
                  </a:lnTo>
                  <a:lnTo>
                    <a:pt x="1940" y="649"/>
                  </a:lnTo>
                  <a:lnTo>
                    <a:pt x="1943" y="650"/>
                  </a:lnTo>
                  <a:lnTo>
                    <a:pt x="1946" y="649"/>
                  </a:lnTo>
                  <a:lnTo>
                    <a:pt x="1946" y="649"/>
                  </a:lnTo>
                  <a:lnTo>
                    <a:pt x="1944" y="644"/>
                  </a:lnTo>
                  <a:lnTo>
                    <a:pt x="1942" y="642"/>
                  </a:lnTo>
                  <a:lnTo>
                    <a:pt x="1932" y="636"/>
                  </a:lnTo>
                  <a:lnTo>
                    <a:pt x="1920" y="632"/>
                  </a:lnTo>
                  <a:lnTo>
                    <a:pt x="1912" y="629"/>
                  </a:lnTo>
                  <a:lnTo>
                    <a:pt x="1903" y="627"/>
                  </a:lnTo>
                  <a:lnTo>
                    <a:pt x="1890" y="626"/>
                  </a:lnTo>
                  <a:lnTo>
                    <a:pt x="1886" y="626"/>
                  </a:lnTo>
                  <a:lnTo>
                    <a:pt x="1883" y="624"/>
                  </a:lnTo>
                  <a:lnTo>
                    <a:pt x="1876" y="624"/>
                  </a:lnTo>
                  <a:lnTo>
                    <a:pt x="1869" y="623"/>
                  </a:lnTo>
                  <a:lnTo>
                    <a:pt x="1867" y="622"/>
                  </a:lnTo>
                  <a:lnTo>
                    <a:pt x="1866" y="626"/>
                  </a:lnTo>
                  <a:lnTo>
                    <a:pt x="1863" y="630"/>
                  </a:lnTo>
                  <a:lnTo>
                    <a:pt x="1859" y="632"/>
                  </a:lnTo>
                  <a:lnTo>
                    <a:pt x="1857" y="630"/>
                  </a:lnTo>
                  <a:lnTo>
                    <a:pt x="1851" y="627"/>
                  </a:lnTo>
                  <a:lnTo>
                    <a:pt x="1846" y="623"/>
                  </a:lnTo>
                  <a:lnTo>
                    <a:pt x="1843" y="623"/>
                  </a:lnTo>
                  <a:lnTo>
                    <a:pt x="1838" y="623"/>
                  </a:lnTo>
                  <a:lnTo>
                    <a:pt x="1836" y="626"/>
                  </a:lnTo>
                  <a:lnTo>
                    <a:pt x="1831" y="627"/>
                  </a:lnTo>
                  <a:lnTo>
                    <a:pt x="1827" y="627"/>
                  </a:lnTo>
                  <a:lnTo>
                    <a:pt x="1826" y="630"/>
                  </a:lnTo>
                  <a:lnTo>
                    <a:pt x="1824" y="633"/>
                  </a:lnTo>
                  <a:lnTo>
                    <a:pt x="1823" y="636"/>
                  </a:lnTo>
                  <a:lnTo>
                    <a:pt x="1816" y="637"/>
                  </a:lnTo>
                  <a:lnTo>
                    <a:pt x="1808" y="637"/>
                  </a:lnTo>
                  <a:lnTo>
                    <a:pt x="1801" y="634"/>
                  </a:lnTo>
                  <a:lnTo>
                    <a:pt x="1793" y="627"/>
                  </a:lnTo>
                  <a:lnTo>
                    <a:pt x="1790" y="622"/>
                  </a:lnTo>
                  <a:lnTo>
                    <a:pt x="1790" y="613"/>
                  </a:lnTo>
                  <a:lnTo>
                    <a:pt x="1788" y="606"/>
                  </a:lnTo>
                  <a:lnTo>
                    <a:pt x="1787" y="603"/>
                  </a:lnTo>
                  <a:lnTo>
                    <a:pt x="1786" y="602"/>
                  </a:lnTo>
                  <a:lnTo>
                    <a:pt x="1783" y="602"/>
                  </a:lnTo>
                  <a:lnTo>
                    <a:pt x="1781" y="603"/>
                  </a:lnTo>
                  <a:lnTo>
                    <a:pt x="1780" y="604"/>
                  </a:lnTo>
                  <a:lnTo>
                    <a:pt x="1775" y="606"/>
                  </a:lnTo>
                  <a:lnTo>
                    <a:pt x="1774" y="604"/>
                  </a:lnTo>
                  <a:lnTo>
                    <a:pt x="1774" y="603"/>
                  </a:lnTo>
                  <a:lnTo>
                    <a:pt x="1775" y="603"/>
                  </a:lnTo>
                  <a:lnTo>
                    <a:pt x="1778" y="603"/>
                  </a:lnTo>
                  <a:lnTo>
                    <a:pt x="1780" y="600"/>
                  </a:lnTo>
                  <a:lnTo>
                    <a:pt x="1780" y="599"/>
                  </a:lnTo>
                  <a:lnTo>
                    <a:pt x="1777" y="597"/>
                  </a:lnTo>
                  <a:lnTo>
                    <a:pt x="1771" y="597"/>
                  </a:lnTo>
                  <a:lnTo>
                    <a:pt x="1767" y="594"/>
                  </a:lnTo>
                  <a:lnTo>
                    <a:pt x="1764" y="589"/>
                  </a:lnTo>
                  <a:lnTo>
                    <a:pt x="1761" y="583"/>
                  </a:lnTo>
                  <a:lnTo>
                    <a:pt x="1758" y="576"/>
                  </a:lnTo>
                  <a:lnTo>
                    <a:pt x="1755" y="573"/>
                  </a:lnTo>
                  <a:lnTo>
                    <a:pt x="1754" y="571"/>
                  </a:lnTo>
                  <a:lnTo>
                    <a:pt x="1750" y="573"/>
                  </a:lnTo>
                  <a:lnTo>
                    <a:pt x="1745" y="574"/>
                  </a:lnTo>
                  <a:lnTo>
                    <a:pt x="1737" y="574"/>
                  </a:lnTo>
                  <a:lnTo>
                    <a:pt x="1730" y="571"/>
                  </a:lnTo>
                  <a:lnTo>
                    <a:pt x="1727" y="570"/>
                  </a:lnTo>
                  <a:lnTo>
                    <a:pt x="1725" y="567"/>
                  </a:lnTo>
                  <a:lnTo>
                    <a:pt x="1722" y="564"/>
                  </a:lnTo>
                  <a:lnTo>
                    <a:pt x="1721" y="563"/>
                  </a:lnTo>
                  <a:lnTo>
                    <a:pt x="1717" y="563"/>
                  </a:lnTo>
                  <a:lnTo>
                    <a:pt x="1711" y="564"/>
                  </a:lnTo>
                  <a:lnTo>
                    <a:pt x="1702" y="564"/>
                  </a:lnTo>
                  <a:lnTo>
                    <a:pt x="1698" y="563"/>
                  </a:lnTo>
                  <a:lnTo>
                    <a:pt x="1694" y="564"/>
                  </a:lnTo>
                  <a:lnTo>
                    <a:pt x="1692" y="567"/>
                  </a:lnTo>
                  <a:lnTo>
                    <a:pt x="1690" y="567"/>
                  </a:lnTo>
                  <a:lnTo>
                    <a:pt x="1688" y="566"/>
                  </a:lnTo>
                  <a:lnTo>
                    <a:pt x="1685" y="566"/>
                  </a:lnTo>
                  <a:lnTo>
                    <a:pt x="1682" y="569"/>
                  </a:lnTo>
                  <a:lnTo>
                    <a:pt x="1677" y="571"/>
                  </a:lnTo>
                  <a:lnTo>
                    <a:pt x="1671" y="571"/>
                  </a:lnTo>
                  <a:lnTo>
                    <a:pt x="1668" y="573"/>
                  </a:lnTo>
                  <a:lnTo>
                    <a:pt x="1668" y="574"/>
                  </a:lnTo>
                  <a:lnTo>
                    <a:pt x="1669" y="576"/>
                  </a:lnTo>
                  <a:lnTo>
                    <a:pt x="1669" y="579"/>
                  </a:lnTo>
                  <a:lnTo>
                    <a:pt x="1669" y="580"/>
                  </a:lnTo>
                  <a:lnTo>
                    <a:pt x="1668" y="583"/>
                  </a:lnTo>
                  <a:lnTo>
                    <a:pt x="1664" y="586"/>
                  </a:lnTo>
                  <a:lnTo>
                    <a:pt x="1659" y="590"/>
                  </a:lnTo>
                  <a:lnTo>
                    <a:pt x="1655" y="594"/>
                  </a:lnTo>
                  <a:lnTo>
                    <a:pt x="1654" y="596"/>
                  </a:lnTo>
                  <a:lnTo>
                    <a:pt x="1652" y="596"/>
                  </a:lnTo>
                  <a:lnTo>
                    <a:pt x="1652" y="594"/>
                  </a:lnTo>
                  <a:lnTo>
                    <a:pt x="1651" y="591"/>
                  </a:lnTo>
                  <a:lnTo>
                    <a:pt x="1649" y="589"/>
                  </a:lnTo>
                  <a:lnTo>
                    <a:pt x="1647" y="586"/>
                  </a:lnTo>
                  <a:lnTo>
                    <a:pt x="1647" y="581"/>
                  </a:lnTo>
                  <a:lnTo>
                    <a:pt x="1647" y="577"/>
                  </a:lnTo>
                  <a:lnTo>
                    <a:pt x="1647" y="574"/>
                  </a:lnTo>
                  <a:lnTo>
                    <a:pt x="1649" y="571"/>
                  </a:lnTo>
                  <a:lnTo>
                    <a:pt x="1651" y="567"/>
                  </a:lnTo>
                  <a:lnTo>
                    <a:pt x="1651" y="564"/>
                  </a:lnTo>
                  <a:lnTo>
                    <a:pt x="1651" y="563"/>
                  </a:lnTo>
                  <a:lnTo>
                    <a:pt x="1647" y="563"/>
                  </a:lnTo>
                  <a:lnTo>
                    <a:pt x="1642" y="564"/>
                  </a:lnTo>
                  <a:lnTo>
                    <a:pt x="1639" y="564"/>
                  </a:lnTo>
                  <a:lnTo>
                    <a:pt x="1637" y="563"/>
                  </a:lnTo>
                  <a:lnTo>
                    <a:pt x="1634" y="561"/>
                  </a:lnTo>
                  <a:lnTo>
                    <a:pt x="1632" y="561"/>
                  </a:lnTo>
                  <a:lnTo>
                    <a:pt x="1631" y="561"/>
                  </a:lnTo>
                  <a:lnTo>
                    <a:pt x="1627" y="567"/>
                  </a:lnTo>
                  <a:lnTo>
                    <a:pt x="1622" y="569"/>
                  </a:lnTo>
                  <a:lnTo>
                    <a:pt x="1615" y="573"/>
                  </a:lnTo>
                  <a:lnTo>
                    <a:pt x="1608" y="576"/>
                  </a:lnTo>
                  <a:lnTo>
                    <a:pt x="1602" y="580"/>
                  </a:lnTo>
                  <a:lnTo>
                    <a:pt x="1599" y="581"/>
                  </a:lnTo>
                  <a:lnTo>
                    <a:pt x="1594" y="580"/>
                  </a:lnTo>
                  <a:lnTo>
                    <a:pt x="1591" y="580"/>
                  </a:lnTo>
                  <a:lnTo>
                    <a:pt x="1584" y="580"/>
                  </a:lnTo>
                  <a:lnTo>
                    <a:pt x="1576" y="584"/>
                  </a:lnTo>
                  <a:lnTo>
                    <a:pt x="1572" y="584"/>
                  </a:lnTo>
                  <a:lnTo>
                    <a:pt x="1571" y="583"/>
                  </a:lnTo>
                  <a:lnTo>
                    <a:pt x="1569" y="581"/>
                  </a:lnTo>
                  <a:lnTo>
                    <a:pt x="1571" y="577"/>
                  </a:lnTo>
                  <a:lnTo>
                    <a:pt x="1574" y="577"/>
                  </a:lnTo>
                  <a:lnTo>
                    <a:pt x="1578" y="577"/>
                  </a:lnTo>
                  <a:lnTo>
                    <a:pt x="1582" y="577"/>
                  </a:lnTo>
                  <a:lnTo>
                    <a:pt x="1585" y="576"/>
                  </a:lnTo>
                  <a:lnTo>
                    <a:pt x="1588" y="574"/>
                  </a:lnTo>
                  <a:lnTo>
                    <a:pt x="1594" y="576"/>
                  </a:lnTo>
                  <a:lnTo>
                    <a:pt x="1598" y="576"/>
                  </a:lnTo>
                  <a:lnTo>
                    <a:pt x="1604" y="574"/>
                  </a:lnTo>
                  <a:lnTo>
                    <a:pt x="1611" y="571"/>
                  </a:lnTo>
                  <a:lnTo>
                    <a:pt x="1615" y="569"/>
                  </a:lnTo>
                  <a:lnTo>
                    <a:pt x="1622" y="564"/>
                  </a:lnTo>
                  <a:lnTo>
                    <a:pt x="1628" y="561"/>
                  </a:lnTo>
                  <a:lnTo>
                    <a:pt x="1629" y="559"/>
                  </a:lnTo>
                  <a:lnTo>
                    <a:pt x="1629" y="557"/>
                  </a:lnTo>
                  <a:lnTo>
                    <a:pt x="1632" y="557"/>
                  </a:lnTo>
                  <a:lnTo>
                    <a:pt x="1637" y="560"/>
                  </a:lnTo>
                  <a:lnTo>
                    <a:pt x="1642" y="560"/>
                  </a:lnTo>
                  <a:lnTo>
                    <a:pt x="1644" y="559"/>
                  </a:lnTo>
                  <a:lnTo>
                    <a:pt x="1645" y="557"/>
                  </a:lnTo>
                  <a:lnTo>
                    <a:pt x="1647" y="554"/>
                  </a:lnTo>
                  <a:lnTo>
                    <a:pt x="1645" y="553"/>
                  </a:lnTo>
                  <a:lnTo>
                    <a:pt x="1644" y="551"/>
                  </a:lnTo>
                  <a:lnTo>
                    <a:pt x="1638" y="550"/>
                  </a:lnTo>
                  <a:lnTo>
                    <a:pt x="1637" y="550"/>
                  </a:lnTo>
                  <a:lnTo>
                    <a:pt x="1634" y="550"/>
                  </a:lnTo>
                  <a:lnTo>
                    <a:pt x="1629" y="550"/>
                  </a:lnTo>
                  <a:lnTo>
                    <a:pt x="1627" y="551"/>
                  </a:lnTo>
                  <a:lnTo>
                    <a:pt x="1625" y="551"/>
                  </a:lnTo>
                  <a:lnTo>
                    <a:pt x="1622" y="553"/>
                  </a:lnTo>
                  <a:lnTo>
                    <a:pt x="1617" y="553"/>
                  </a:lnTo>
                  <a:lnTo>
                    <a:pt x="1611" y="551"/>
                  </a:lnTo>
                  <a:lnTo>
                    <a:pt x="1611" y="550"/>
                  </a:lnTo>
                  <a:lnTo>
                    <a:pt x="1614" y="547"/>
                  </a:lnTo>
                  <a:lnTo>
                    <a:pt x="1614" y="546"/>
                  </a:lnTo>
                  <a:lnTo>
                    <a:pt x="1611" y="541"/>
                  </a:lnTo>
                  <a:lnTo>
                    <a:pt x="1608" y="538"/>
                  </a:lnTo>
                  <a:lnTo>
                    <a:pt x="1604" y="533"/>
                  </a:lnTo>
                  <a:lnTo>
                    <a:pt x="1601" y="530"/>
                  </a:lnTo>
                  <a:lnTo>
                    <a:pt x="1596" y="528"/>
                  </a:lnTo>
                  <a:lnTo>
                    <a:pt x="1595" y="528"/>
                  </a:lnTo>
                  <a:lnTo>
                    <a:pt x="1592" y="527"/>
                  </a:lnTo>
                  <a:lnTo>
                    <a:pt x="1591" y="526"/>
                  </a:lnTo>
                  <a:lnTo>
                    <a:pt x="1589" y="523"/>
                  </a:lnTo>
                  <a:lnTo>
                    <a:pt x="1588" y="523"/>
                  </a:lnTo>
                  <a:lnTo>
                    <a:pt x="1585" y="524"/>
                  </a:lnTo>
                  <a:lnTo>
                    <a:pt x="1581" y="527"/>
                  </a:lnTo>
                  <a:lnTo>
                    <a:pt x="1578" y="530"/>
                  </a:lnTo>
                  <a:lnTo>
                    <a:pt x="1575" y="531"/>
                  </a:lnTo>
                  <a:lnTo>
                    <a:pt x="1571" y="533"/>
                  </a:lnTo>
                  <a:lnTo>
                    <a:pt x="1564" y="533"/>
                  </a:lnTo>
                  <a:lnTo>
                    <a:pt x="1561" y="533"/>
                  </a:lnTo>
                  <a:lnTo>
                    <a:pt x="1558" y="536"/>
                  </a:lnTo>
                  <a:lnTo>
                    <a:pt x="1555" y="538"/>
                  </a:lnTo>
                  <a:lnTo>
                    <a:pt x="1552" y="538"/>
                  </a:lnTo>
                  <a:lnTo>
                    <a:pt x="1552" y="537"/>
                  </a:lnTo>
                  <a:lnTo>
                    <a:pt x="1552" y="536"/>
                  </a:lnTo>
                  <a:lnTo>
                    <a:pt x="1553" y="534"/>
                  </a:lnTo>
                  <a:lnTo>
                    <a:pt x="1559" y="531"/>
                  </a:lnTo>
                  <a:lnTo>
                    <a:pt x="1568" y="528"/>
                  </a:lnTo>
                  <a:lnTo>
                    <a:pt x="1571" y="527"/>
                  </a:lnTo>
                  <a:lnTo>
                    <a:pt x="1574" y="527"/>
                  </a:lnTo>
                  <a:lnTo>
                    <a:pt x="1575" y="526"/>
                  </a:lnTo>
                  <a:lnTo>
                    <a:pt x="1574" y="526"/>
                  </a:lnTo>
                  <a:lnTo>
                    <a:pt x="1572" y="524"/>
                  </a:lnTo>
                  <a:lnTo>
                    <a:pt x="1572" y="523"/>
                  </a:lnTo>
                  <a:lnTo>
                    <a:pt x="1578" y="523"/>
                  </a:lnTo>
                  <a:lnTo>
                    <a:pt x="1582" y="523"/>
                  </a:lnTo>
                  <a:lnTo>
                    <a:pt x="1585" y="518"/>
                  </a:lnTo>
                  <a:lnTo>
                    <a:pt x="1591" y="514"/>
                  </a:lnTo>
                  <a:lnTo>
                    <a:pt x="1598" y="511"/>
                  </a:lnTo>
                  <a:lnTo>
                    <a:pt x="1602" y="513"/>
                  </a:lnTo>
                  <a:lnTo>
                    <a:pt x="1608" y="513"/>
                  </a:lnTo>
                  <a:lnTo>
                    <a:pt x="1611" y="516"/>
                  </a:lnTo>
                  <a:lnTo>
                    <a:pt x="1614" y="518"/>
                  </a:lnTo>
                  <a:lnTo>
                    <a:pt x="1612" y="520"/>
                  </a:lnTo>
                  <a:lnTo>
                    <a:pt x="1612" y="524"/>
                  </a:lnTo>
                  <a:lnTo>
                    <a:pt x="1611" y="527"/>
                  </a:lnTo>
                  <a:lnTo>
                    <a:pt x="1614" y="527"/>
                  </a:lnTo>
                  <a:lnTo>
                    <a:pt x="1615" y="524"/>
                  </a:lnTo>
                  <a:lnTo>
                    <a:pt x="1617" y="520"/>
                  </a:lnTo>
                  <a:lnTo>
                    <a:pt x="1621" y="518"/>
                  </a:lnTo>
                  <a:lnTo>
                    <a:pt x="1622" y="518"/>
                  </a:lnTo>
                  <a:lnTo>
                    <a:pt x="1624" y="520"/>
                  </a:lnTo>
                  <a:lnTo>
                    <a:pt x="1622" y="527"/>
                  </a:lnTo>
                  <a:lnTo>
                    <a:pt x="1622" y="528"/>
                  </a:lnTo>
                  <a:lnTo>
                    <a:pt x="1624" y="528"/>
                  </a:lnTo>
                  <a:lnTo>
                    <a:pt x="1627" y="527"/>
                  </a:lnTo>
                  <a:lnTo>
                    <a:pt x="1632" y="527"/>
                  </a:lnTo>
                  <a:lnTo>
                    <a:pt x="1634" y="527"/>
                  </a:lnTo>
                  <a:lnTo>
                    <a:pt x="1639" y="523"/>
                  </a:lnTo>
                  <a:lnTo>
                    <a:pt x="1644" y="517"/>
                  </a:lnTo>
                  <a:lnTo>
                    <a:pt x="1647" y="513"/>
                  </a:lnTo>
                  <a:lnTo>
                    <a:pt x="1647" y="508"/>
                  </a:lnTo>
                  <a:lnTo>
                    <a:pt x="1648" y="504"/>
                  </a:lnTo>
                  <a:lnTo>
                    <a:pt x="1647" y="500"/>
                  </a:lnTo>
                  <a:lnTo>
                    <a:pt x="1647" y="498"/>
                  </a:lnTo>
                  <a:lnTo>
                    <a:pt x="1647" y="496"/>
                  </a:lnTo>
                  <a:lnTo>
                    <a:pt x="1647" y="493"/>
                  </a:lnTo>
                  <a:lnTo>
                    <a:pt x="1648" y="490"/>
                  </a:lnTo>
                  <a:lnTo>
                    <a:pt x="1652" y="488"/>
                  </a:lnTo>
                  <a:lnTo>
                    <a:pt x="1657" y="487"/>
                  </a:lnTo>
                  <a:lnTo>
                    <a:pt x="1661" y="485"/>
                  </a:lnTo>
                  <a:lnTo>
                    <a:pt x="1662" y="484"/>
                  </a:lnTo>
                  <a:lnTo>
                    <a:pt x="1667" y="480"/>
                  </a:lnTo>
                  <a:lnTo>
                    <a:pt x="1671" y="477"/>
                  </a:lnTo>
                  <a:lnTo>
                    <a:pt x="1674" y="474"/>
                  </a:lnTo>
                  <a:lnTo>
                    <a:pt x="1675" y="475"/>
                  </a:lnTo>
                  <a:lnTo>
                    <a:pt x="1677" y="477"/>
                  </a:lnTo>
                  <a:lnTo>
                    <a:pt x="1678" y="478"/>
                  </a:lnTo>
                  <a:lnTo>
                    <a:pt x="1682" y="475"/>
                  </a:lnTo>
                  <a:lnTo>
                    <a:pt x="1687" y="475"/>
                  </a:lnTo>
                  <a:lnTo>
                    <a:pt x="1687" y="474"/>
                  </a:lnTo>
                  <a:lnTo>
                    <a:pt x="1685" y="471"/>
                  </a:lnTo>
                  <a:lnTo>
                    <a:pt x="1682" y="467"/>
                  </a:lnTo>
                  <a:lnTo>
                    <a:pt x="1678" y="460"/>
                  </a:lnTo>
                  <a:lnTo>
                    <a:pt x="1675" y="457"/>
                  </a:lnTo>
                  <a:lnTo>
                    <a:pt x="1674" y="457"/>
                  </a:lnTo>
                  <a:lnTo>
                    <a:pt x="1672" y="461"/>
                  </a:lnTo>
                  <a:lnTo>
                    <a:pt x="1671" y="465"/>
                  </a:lnTo>
                  <a:lnTo>
                    <a:pt x="1671" y="465"/>
                  </a:lnTo>
                  <a:lnTo>
                    <a:pt x="1669" y="464"/>
                  </a:lnTo>
                  <a:lnTo>
                    <a:pt x="1671" y="458"/>
                  </a:lnTo>
                  <a:lnTo>
                    <a:pt x="1671" y="454"/>
                  </a:lnTo>
                  <a:lnTo>
                    <a:pt x="1674" y="453"/>
                  </a:lnTo>
                  <a:lnTo>
                    <a:pt x="1678" y="453"/>
                  </a:lnTo>
                  <a:lnTo>
                    <a:pt x="1682" y="457"/>
                  </a:lnTo>
                  <a:lnTo>
                    <a:pt x="1688" y="460"/>
                  </a:lnTo>
                  <a:lnTo>
                    <a:pt x="1692" y="463"/>
                  </a:lnTo>
                  <a:lnTo>
                    <a:pt x="1700" y="465"/>
                  </a:lnTo>
                  <a:lnTo>
                    <a:pt x="1707" y="473"/>
                  </a:lnTo>
                  <a:lnTo>
                    <a:pt x="1712" y="474"/>
                  </a:lnTo>
                  <a:lnTo>
                    <a:pt x="1717" y="474"/>
                  </a:lnTo>
                  <a:lnTo>
                    <a:pt x="1720" y="474"/>
                  </a:lnTo>
                  <a:lnTo>
                    <a:pt x="1721" y="475"/>
                  </a:lnTo>
                  <a:lnTo>
                    <a:pt x="1724" y="477"/>
                  </a:lnTo>
                  <a:lnTo>
                    <a:pt x="1724" y="475"/>
                  </a:lnTo>
                  <a:lnTo>
                    <a:pt x="1724" y="473"/>
                  </a:lnTo>
                  <a:lnTo>
                    <a:pt x="1720" y="470"/>
                  </a:lnTo>
                  <a:lnTo>
                    <a:pt x="1708" y="461"/>
                  </a:lnTo>
                  <a:lnTo>
                    <a:pt x="1700" y="454"/>
                  </a:lnTo>
                  <a:lnTo>
                    <a:pt x="1688" y="448"/>
                  </a:lnTo>
                  <a:lnTo>
                    <a:pt x="1681" y="447"/>
                  </a:lnTo>
                  <a:lnTo>
                    <a:pt x="1669" y="444"/>
                  </a:lnTo>
                  <a:lnTo>
                    <a:pt x="1655" y="441"/>
                  </a:lnTo>
                  <a:lnTo>
                    <a:pt x="1644" y="441"/>
                  </a:lnTo>
                  <a:lnTo>
                    <a:pt x="1635" y="440"/>
                  </a:lnTo>
                  <a:lnTo>
                    <a:pt x="1622" y="438"/>
                  </a:lnTo>
                  <a:lnTo>
                    <a:pt x="1612" y="438"/>
                  </a:lnTo>
                  <a:lnTo>
                    <a:pt x="1599" y="438"/>
                  </a:lnTo>
                  <a:lnTo>
                    <a:pt x="1591" y="437"/>
                  </a:lnTo>
                  <a:lnTo>
                    <a:pt x="1584" y="435"/>
                  </a:lnTo>
                  <a:lnTo>
                    <a:pt x="1581" y="437"/>
                  </a:lnTo>
                  <a:lnTo>
                    <a:pt x="1579" y="437"/>
                  </a:lnTo>
                  <a:lnTo>
                    <a:pt x="1581" y="440"/>
                  </a:lnTo>
                  <a:lnTo>
                    <a:pt x="1582" y="443"/>
                  </a:lnTo>
                  <a:lnTo>
                    <a:pt x="1584" y="444"/>
                  </a:lnTo>
                  <a:lnTo>
                    <a:pt x="1586" y="444"/>
                  </a:lnTo>
                  <a:lnTo>
                    <a:pt x="1589" y="443"/>
                  </a:lnTo>
                  <a:lnTo>
                    <a:pt x="1592" y="443"/>
                  </a:lnTo>
                  <a:lnTo>
                    <a:pt x="1595" y="443"/>
                  </a:lnTo>
                  <a:lnTo>
                    <a:pt x="1598" y="444"/>
                  </a:lnTo>
                  <a:lnTo>
                    <a:pt x="1599" y="445"/>
                  </a:lnTo>
                  <a:lnTo>
                    <a:pt x="1601" y="448"/>
                  </a:lnTo>
                  <a:lnTo>
                    <a:pt x="1601" y="448"/>
                  </a:lnTo>
                  <a:lnTo>
                    <a:pt x="1598" y="450"/>
                  </a:lnTo>
                  <a:lnTo>
                    <a:pt x="1595" y="448"/>
                  </a:lnTo>
                  <a:lnTo>
                    <a:pt x="1592" y="445"/>
                  </a:lnTo>
                  <a:lnTo>
                    <a:pt x="1591" y="445"/>
                  </a:lnTo>
                  <a:lnTo>
                    <a:pt x="1588" y="445"/>
                  </a:lnTo>
                  <a:lnTo>
                    <a:pt x="1586" y="448"/>
                  </a:lnTo>
                  <a:lnTo>
                    <a:pt x="1586" y="450"/>
                  </a:lnTo>
                  <a:lnTo>
                    <a:pt x="1586" y="453"/>
                  </a:lnTo>
                  <a:lnTo>
                    <a:pt x="1588" y="455"/>
                  </a:lnTo>
                  <a:lnTo>
                    <a:pt x="1586" y="458"/>
                  </a:lnTo>
                  <a:lnTo>
                    <a:pt x="1586" y="461"/>
                  </a:lnTo>
                  <a:lnTo>
                    <a:pt x="1588" y="465"/>
                  </a:lnTo>
                  <a:lnTo>
                    <a:pt x="1589" y="468"/>
                  </a:lnTo>
                  <a:lnTo>
                    <a:pt x="1588" y="471"/>
                  </a:lnTo>
                  <a:lnTo>
                    <a:pt x="1585" y="474"/>
                  </a:lnTo>
                  <a:lnTo>
                    <a:pt x="1579" y="475"/>
                  </a:lnTo>
                  <a:lnTo>
                    <a:pt x="1575" y="474"/>
                  </a:lnTo>
                  <a:lnTo>
                    <a:pt x="1571" y="474"/>
                  </a:lnTo>
                  <a:lnTo>
                    <a:pt x="1569" y="475"/>
                  </a:lnTo>
                  <a:lnTo>
                    <a:pt x="1564" y="477"/>
                  </a:lnTo>
                  <a:lnTo>
                    <a:pt x="1561" y="475"/>
                  </a:lnTo>
                  <a:lnTo>
                    <a:pt x="1555" y="475"/>
                  </a:lnTo>
                  <a:lnTo>
                    <a:pt x="1552" y="475"/>
                  </a:lnTo>
                  <a:lnTo>
                    <a:pt x="1549" y="474"/>
                  </a:lnTo>
                  <a:lnTo>
                    <a:pt x="1549" y="473"/>
                  </a:lnTo>
                  <a:lnTo>
                    <a:pt x="1548" y="470"/>
                  </a:lnTo>
                  <a:lnTo>
                    <a:pt x="1549" y="464"/>
                  </a:lnTo>
                  <a:lnTo>
                    <a:pt x="1549" y="461"/>
                  </a:lnTo>
                  <a:lnTo>
                    <a:pt x="1553" y="461"/>
                  </a:lnTo>
                  <a:lnTo>
                    <a:pt x="1558" y="461"/>
                  </a:lnTo>
                  <a:lnTo>
                    <a:pt x="1562" y="461"/>
                  </a:lnTo>
                  <a:lnTo>
                    <a:pt x="1565" y="458"/>
                  </a:lnTo>
                  <a:lnTo>
                    <a:pt x="1566" y="453"/>
                  </a:lnTo>
                  <a:lnTo>
                    <a:pt x="1565" y="448"/>
                  </a:lnTo>
                  <a:lnTo>
                    <a:pt x="1565" y="445"/>
                  </a:lnTo>
                  <a:lnTo>
                    <a:pt x="1562" y="444"/>
                  </a:lnTo>
                  <a:lnTo>
                    <a:pt x="1559" y="444"/>
                  </a:lnTo>
                  <a:lnTo>
                    <a:pt x="1558" y="444"/>
                  </a:lnTo>
                  <a:lnTo>
                    <a:pt x="1556" y="443"/>
                  </a:lnTo>
                  <a:lnTo>
                    <a:pt x="1558" y="443"/>
                  </a:lnTo>
                  <a:lnTo>
                    <a:pt x="1561" y="441"/>
                  </a:lnTo>
                  <a:lnTo>
                    <a:pt x="1564" y="441"/>
                  </a:lnTo>
                  <a:lnTo>
                    <a:pt x="1568" y="441"/>
                  </a:lnTo>
                  <a:lnTo>
                    <a:pt x="1571" y="440"/>
                  </a:lnTo>
                  <a:lnTo>
                    <a:pt x="1574" y="440"/>
                  </a:lnTo>
                  <a:lnTo>
                    <a:pt x="1575" y="440"/>
                  </a:lnTo>
                  <a:lnTo>
                    <a:pt x="1575" y="437"/>
                  </a:lnTo>
                  <a:lnTo>
                    <a:pt x="1572" y="434"/>
                  </a:lnTo>
                  <a:lnTo>
                    <a:pt x="1564" y="434"/>
                  </a:lnTo>
                  <a:lnTo>
                    <a:pt x="1555" y="433"/>
                  </a:lnTo>
                  <a:lnTo>
                    <a:pt x="1548" y="430"/>
                  </a:lnTo>
                  <a:lnTo>
                    <a:pt x="1542" y="428"/>
                  </a:lnTo>
                  <a:lnTo>
                    <a:pt x="1536" y="424"/>
                  </a:lnTo>
                  <a:lnTo>
                    <a:pt x="1532" y="424"/>
                  </a:lnTo>
                  <a:lnTo>
                    <a:pt x="1531" y="425"/>
                  </a:lnTo>
                  <a:lnTo>
                    <a:pt x="1531" y="428"/>
                  </a:lnTo>
                  <a:lnTo>
                    <a:pt x="1531" y="431"/>
                  </a:lnTo>
                  <a:lnTo>
                    <a:pt x="1528" y="431"/>
                  </a:lnTo>
                  <a:lnTo>
                    <a:pt x="1525" y="430"/>
                  </a:lnTo>
                  <a:lnTo>
                    <a:pt x="1523" y="425"/>
                  </a:lnTo>
                  <a:lnTo>
                    <a:pt x="1519" y="425"/>
                  </a:lnTo>
                  <a:lnTo>
                    <a:pt x="1512" y="424"/>
                  </a:lnTo>
                  <a:lnTo>
                    <a:pt x="1505" y="424"/>
                  </a:lnTo>
                  <a:lnTo>
                    <a:pt x="1501" y="421"/>
                  </a:lnTo>
                  <a:lnTo>
                    <a:pt x="1496" y="418"/>
                  </a:lnTo>
                  <a:lnTo>
                    <a:pt x="1492" y="417"/>
                  </a:lnTo>
                  <a:lnTo>
                    <a:pt x="1489" y="415"/>
                  </a:lnTo>
                  <a:lnTo>
                    <a:pt x="1486" y="414"/>
                  </a:lnTo>
                  <a:lnTo>
                    <a:pt x="1486" y="412"/>
                  </a:lnTo>
                  <a:lnTo>
                    <a:pt x="1486" y="411"/>
                  </a:lnTo>
                  <a:lnTo>
                    <a:pt x="1488" y="408"/>
                  </a:lnTo>
                  <a:lnTo>
                    <a:pt x="1488" y="407"/>
                  </a:lnTo>
                  <a:lnTo>
                    <a:pt x="1485" y="407"/>
                  </a:lnTo>
                  <a:lnTo>
                    <a:pt x="1479" y="408"/>
                  </a:lnTo>
                  <a:lnTo>
                    <a:pt x="1465" y="410"/>
                  </a:lnTo>
                  <a:lnTo>
                    <a:pt x="1460" y="411"/>
                  </a:lnTo>
                  <a:lnTo>
                    <a:pt x="1458" y="411"/>
                  </a:lnTo>
                  <a:lnTo>
                    <a:pt x="1459" y="410"/>
                  </a:lnTo>
                  <a:lnTo>
                    <a:pt x="1459" y="408"/>
                  </a:lnTo>
                  <a:lnTo>
                    <a:pt x="1458" y="408"/>
                  </a:lnTo>
                  <a:lnTo>
                    <a:pt x="1453" y="408"/>
                  </a:lnTo>
                  <a:lnTo>
                    <a:pt x="1450" y="408"/>
                  </a:lnTo>
                  <a:lnTo>
                    <a:pt x="1442" y="410"/>
                  </a:lnTo>
                  <a:lnTo>
                    <a:pt x="1435" y="410"/>
                  </a:lnTo>
                  <a:lnTo>
                    <a:pt x="1427" y="410"/>
                  </a:lnTo>
                  <a:lnTo>
                    <a:pt x="1423" y="408"/>
                  </a:lnTo>
                  <a:lnTo>
                    <a:pt x="1422" y="408"/>
                  </a:lnTo>
                  <a:lnTo>
                    <a:pt x="1419" y="410"/>
                  </a:lnTo>
                  <a:lnTo>
                    <a:pt x="1417" y="408"/>
                  </a:lnTo>
                  <a:lnTo>
                    <a:pt x="1416" y="408"/>
                  </a:lnTo>
                  <a:lnTo>
                    <a:pt x="1412" y="408"/>
                  </a:lnTo>
                  <a:lnTo>
                    <a:pt x="1399" y="407"/>
                  </a:lnTo>
                  <a:lnTo>
                    <a:pt x="1377" y="405"/>
                  </a:lnTo>
                  <a:lnTo>
                    <a:pt x="1373" y="405"/>
                  </a:lnTo>
                  <a:lnTo>
                    <a:pt x="1367" y="404"/>
                  </a:lnTo>
                  <a:lnTo>
                    <a:pt x="1360" y="402"/>
                  </a:lnTo>
                  <a:lnTo>
                    <a:pt x="1356" y="401"/>
                  </a:lnTo>
                  <a:lnTo>
                    <a:pt x="1349" y="397"/>
                  </a:lnTo>
                  <a:lnTo>
                    <a:pt x="1344" y="392"/>
                  </a:lnTo>
                  <a:lnTo>
                    <a:pt x="1342" y="390"/>
                  </a:lnTo>
                  <a:lnTo>
                    <a:pt x="1340" y="385"/>
                  </a:lnTo>
                  <a:lnTo>
                    <a:pt x="1339" y="380"/>
                  </a:lnTo>
                  <a:lnTo>
                    <a:pt x="1339" y="374"/>
                  </a:lnTo>
                  <a:lnTo>
                    <a:pt x="1340" y="367"/>
                  </a:lnTo>
                  <a:lnTo>
                    <a:pt x="1339" y="365"/>
                  </a:lnTo>
                  <a:lnTo>
                    <a:pt x="1336" y="365"/>
                  </a:lnTo>
                  <a:lnTo>
                    <a:pt x="1334" y="367"/>
                  </a:lnTo>
                  <a:lnTo>
                    <a:pt x="1334" y="372"/>
                  </a:lnTo>
                  <a:lnTo>
                    <a:pt x="1334" y="377"/>
                  </a:lnTo>
                  <a:lnTo>
                    <a:pt x="1336" y="380"/>
                  </a:lnTo>
                  <a:lnTo>
                    <a:pt x="1336" y="384"/>
                  </a:lnTo>
                  <a:lnTo>
                    <a:pt x="1334" y="388"/>
                  </a:lnTo>
                  <a:lnTo>
                    <a:pt x="1330" y="392"/>
                  </a:lnTo>
                  <a:lnTo>
                    <a:pt x="1324" y="395"/>
                  </a:lnTo>
                  <a:lnTo>
                    <a:pt x="1320" y="398"/>
                  </a:lnTo>
                  <a:lnTo>
                    <a:pt x="1316" y="398"/>
                  </a:lnTo>
                  <a:lnTo>
                    <a:pt x="1314" y="397"/>
                  </a:lnTo>
                  <a:lnTo>
                    <a:pt x="1307" y="397"/>
                  </a:lnTo>
                  <a:lnTo>
                    <a:pt x="1303" y="395"/>
                  </a:lnTo>
                  <a:lnTo>
                    <a:pt x="1301" y="394"/>
                  </a:lnTo>
                  <a:lnTo>
                    <a:pt x="1299" y="391"/>
                  </a:lnTo>
                  <a:lnTo>
                    <a:pt x="1297" y="387"/>
                  </a:lnTo>
                  <a:lnTo>
                    <a:pt x="1296" y="385"/>
                  </a:lnTo>
                  <a:lnTo>
                    <a:pt x="1291" y="384"/>
                  </a:lnTo>
                  <a:lnTo>
                    <a:pt x="1289" y="384"/>
                  </a:lnTo>
                  <a:lnTo>
                    <a:pt x="1284" y="382"/>
                  </a:lnTo>
                  <a:lnTo>
                    <a:pt x="1281" y="381"/>
                  </a:lnTo>
                  <a:lnTo>
                    <a:pt x="1280" y="377"/>
                  </a:lnTo>
                  <a:lnTo>
                    <a:pt x="1279" y="374"/>
                  </a:lnTo>
                  <a:lnTo>
                    <a:pt x="1274" y="372"/>
                  </a:lnTo>
                  <a:lnTo>
                    <a:pt x="1270" y="372"/>
                  </a:lnTo>
                  <a:lnTo>
                    <a:pt x="1266" y="374"/>
                  </a:lnTo>
                  <a:lnTo>
                    <a:pt x="1263" y="378"/>
                  </a:lnTo>
                  <a:lnTo>
                    <a:pt x="1261" y="384"/>
                  </a:lnTo>
                  <a:lnTo>
                    <a:pt x="1260" y="391"/>
                  </a:lnTo>
                  <a:lnTo>
                    <a:pt x="1256" y="394"/>
                  </a:lnTo>
                  <a:lnTo>
                    <a:pt x="1250" y="395"/>
                  </a:lnTo>
                  <a:lnTo>
                    <a:pt x="1243" y="398"/>
                  </a:lnTo>
                  <a:lnTo>
                    <a:pt x="1234" y="400"/>
                  </a:lnTo>
                  <a:lnTo>
                    <a:pt x="1231" y="402"/>
                  </a:lnTo>
                  <a:lnTo>
                    <a:pt x="1228" y="407"/>
                  </a:lnTo>
                  <a:lnTo>
                    <a:pt x="1227" y="410"/>
                  </a:lnTo>
                  <a:lnTo>
                    <a:pt x="1224" y="411"/>
                  </a:lnTo>
                  <a:lnTo>
                    <a:pt x="1220" y="410"/>
                  </a:lnTo>
                  <a:lnTo>
                    <a:pt x="1217" y="411"/>
                  </a:lnTo>
                  <a:lnTo>
                    <a:pt x="1215" y="412"/>
                  </a:lnTo>
                  <a:lnTo>
                    <a:pt x="1214" y="415"/>
                  </a:lnTo>
                  <a:lnTo>
                    <a:pt x="1213" y="421"/>
                  </a:lnTo>
                  <a:lnTo>
                    <a:pt x="1210" y="424"/>
                  </a:lnTo>
                  <a:lnTo>
                    <a:pt x="1207" y="427"/>
                  </a:lnTo>
                  <a:lnTo>
                    <a:pt x="1200" y="431"/>
                  </a:lnTo>
                  <a:lnTo>
                    <a:pt x="1194" y="435"/>
                  </a:lnTo>
                  <a:lnTo>
                    <a:pt x="1185" y="437"/>
                  </a:lnTo>
                  <a:lnTo>
                    <a:pt x="1181" y="437"/>
                  </a:lnTo>
                  <a:lnTo>
                    <a:pt x="1177" y="437"/>
                  </a:lnTo>
                  <a:lnTo>
                    <a:pt x="1175" y="435"/>
                  </a:lnTo>
                  <a:lnTo>
                    <a:pt x="1173" y="431"/>
                  </a:lnTo>
                  <a:lnTo>
                    <a:pt x="1168" y="427"/>
                  </a:lnTo>
                  <a:lnTo>
                    <a:pt x="1164" y="425"/>
                  </a:lnTo>
                  <a:lnTo>
                    <a:pt x="1154" y="422"/>
                  </a:lnTo>
                  <a:lnTo>
                    <a:pt x="1148" y="418"/>
                  </a:lnTo>
                  <a:lnTo>
                    <a:pt x="1145" y="415"/>
                  </a:lnTo>
                  <a:lnTo>
                    <a:pt x="1142" y="415"/>
                  </a:lnTo>
                  <a:lnTo>
                    <a:pt x="1138" y="420"/>
                  </a:lnTo>
                  <a:lnTo>
                    <a:pt x="1137" y="418"/>
                  </a:lnTo>
                  <a:lnTo>
                    <a:pt x="1137" y="415"/>
                  </a:lnTo>
                  <a:lnTo>
                    <a:pt x="1137" y="411"/>
                  </a:lnTo>
                  <a:lnTo>
                    <a:pt x="1137" y="408"/>
                  </a:lnTo>
                  <a:lnTo>
                    <a:pt x="1135" y="407"/>
                  </a:lnTo>
                  <a:lnTo>
                    <a:pt x="1134" y="405"/>
                  </a:lnTo>
                  <a:lnTo>
                    <a:pt x="1130" y="405"/>
                  </a:lnTo>
                  <a:lnTo>
                    <a:pt x="1127" y="404"/>
                  </a:lnTo>
                  <a:lnTo>
                    <a:pt x="1125" y="401"/>
                  </a:lnTo>
                  <a:lnTo>
                    <a:pt x="1124" y="400"/>
                  </a:lnTo>
                  <a:lnTo>
                    <a:pt x="1122" y="401"/>
                  </a:lnTo>
                  <a:lnTo>
                    <a:pt x="1120" y="400"/>
                  </a:lnTo>
                  <a:lnTo>
                    <a:pt x="1120" y="398"/>
                  </a:lnTo>
                  <a:lnTo>
                    <a:pt x="1122" y="398"/>
                  </a:lnTo>
                  <a:lnTo>
                    <a:pt x="1124" y="397"/>
                  </a:lnTo>
                  <a:lnTo>
                    <a:pt x="1125" y="398"/>
                  </a:lnTo>
                  <a:lnTo>
                    <a:pt x="1127" y="394"/>
                  </a:lnTo>
                  <a:lnTo>
                    <a:pt x="1124" y="391"/>
                  </a:lnTo>
                  <a:lnTo>
                    <a:pt x="1121" y="388"/>
                  </a:lnTo>
                  <a:lnTo>
                    <a:pt x="1114" y="387"/>
                  </a:lnTo>
                  <a:lnTo>
                    <a:pt x="1110" y="384"/>
                  </a:lnTo>
                  <a:lnTo>
                    <a:pt x="1107" y="381"/>
                  </a:lnTo>
                  <a:lnTo>
                    <a:pt x="1101" y="377"/>
                  </a:lnTo>
                  <a:lnTo>
                    <a:pt x="1101" y="374"/>
                  </a:lnTo>
                  <a:lnTo>
                    <a:pt x="1099" y="365"/>
                  </a:lnTo>
                  <a:lnTo>
                    <a:pt x="1099" y="359"/>
                  </a:lnTo>
                  <a:lnTo>
                    <a:pt x="1101" y="351"/>
                  </a:lnTo>
                  <a:lnTo>
                    <a:pt x="1102" y="345"/>
                  </a:lnTo>
                  <a:lnTo>
                    <a:pt x="1105" y="341"/>
                  </a:lnTo>
                  <a:lnTo>
                    <a:pt x="1110" y="335"/>
                  </a:lnTo>
                  <a:lnTo>
                    <a:pt x="1111" y="329"/>
                  </a:lnTo>
                  <a:lnTo>
                    <a:pt x="1112" y="327"/>
                  </a:lnTo>
                  <a:lnTo>
                    <a:pt x="1117" y="322"/>
                  </a:lnTo>
                  <a:lnTo>
                    <a:pt x="1120" y="318"/>
                  </a:lnTo>
                  <a:lnTo>
                    <a:pt x="1121" y="314"/>
                  </a:lnTo>
                  <a:lnTo>
                    <a:pt x="1120" y="308"/>
                  </a:lnTo>
                  <a:lnTo>
                    <a:pt x="1118" y="305"/>
                  </a:lnTo>
                  <a:lnTo>
                    <a:pt x="1118" y="302"/>
                  </a:lnTo>
                  <a:lnTo>
                    <a:pt x="1117" y="298"/>
                  </a:lnTo>
                  <a:lnTo>
                    <a:pt x="1114" y="296"/>
                  </a:lnTo>
                  <a:lnTo>
                    <a:pt x="1114" y="288"/>
                  </a:lnTo>
                  <a:lnTo>
                    <a:pt x="1112" y="281"/>
                  </a:lnTo>
                  <a:lnTo>
                    <a:pt x="1112" y="275"/>
                  </a:lnTo>
                  <a:lnTo>
                    <a:pt x="1114" y="265"/>
                  </a:lnTo>
                  <a:lnTo>
                    <a:pt x="1118" y="259"/>
                  </a:lnTo>
                  <a:lnTo>
                    <a:pt x="1128" y="256"/>
                  </a:lnTo>
                  <a:lnTo>
                    <a:pt x="1137" y="253"/>
                  </a:lnTo>
                  <a:lnTo>
                    <a:pt x="1141" y="253"/>
                  </a:lnTo>
                  <a:lnTo>
                    <a:pt x="1145" y="253"/>
                  </a:lnTo>
                  <a:lnTo>
                    <a:pt x="1150" y="253"/>
                  </a:lnTo>
                  <a:lnTo>
                    <a:pt x="1155" y="255"/>
                  </a:lnTo>
                  <a:lnTo>
                    <a:pt x="1161" y="255"/>
                  </a:lnTo>
                  <a:lnTo>
                    <a:pt x="1164" y="255"/>
                  </a:lnTo>
                  <a:lnTo>
                    <a:pt x="1165" y="256"/>
                  </a:lnTo>
                  <a:lnTo>
                    <a:pt x="1167" y="256"/>
                  </a:lnTo>
                  <a:lnTo>
                    <a:pt x="1168" y="253"/>
                  </a:lnTo>
                  <a:lnTo>
                    <a:pt x="1168" y="251"/>
                  </a:lnTo>
                  <a:lnTo>
                    <a:pt x="1171" y="249"/>
                  </a:lnTo>
                  <a:lnTo>
                    <a:pt x="1175" y="249"/>
                  </a:lnTo>
                  <a:lnTo>
                    <a:pt x="1180" y="251"/>
                  </a:lnTo>
                  <a:lnTo>
                    <a:pt x="1181" y="251"/>
                  </a:lnTo>
                  <a:lnTo>
                    <a:pt x="1185" y="252"/>
                  </a:lnTo>
                  <a:lnTo>
                    <a:pt x="1190" y="255"/>
                  </a:lnTo>
                  <a:lnTo>
                    <a:pt x="1194" y="259"/>
                  </a:lnTo>
                  <a:lnTo>
                    <a:pt x="1203" y="265"/>
                  </a:lnTo>
                  <a:lnTo>
                    <a:pt x="1207" y="266"/>
                  </a:lnTo>
                  <a:lnTo>
                    <a:pt x="1211" y="268"/>
                  </a:lnTo>
                  <a:lnTo>
                    <a:pt x="1215" y="272"/>
                  </a:lnTo>
                  <a:lnTo>
                    <a:pt x="1221" y="278"/>
                  </a:lnTo>
                  <a:lnTo>
                    <a:pt x="1227" y="279"/>
                  </a:lnTo>
                  <a:lnTo>
                    <a:pt x="1230" y="281"/>
                  </a:lnTo>
                  <a:lnTo>
                    <a:pt x="1233" y="282"/>
                  </a:lnTo>
                  <a:lnTo>
                    <a:pt x="1236" y="288"/>
                  </a:lnTo>
                  <a:lnTo>
                    <a:pt x="1240" y="294"/>
                  </a:lnTo>
                  <a:lnTo>
                    <a:pt x="1243" y="295"/>
                  </a:lnTo>
                  <a:lnTo>
                    <a:pt x="1246" y="295"/>
                  </a:lnTo>
                  <a:lnTo>
                    <a:pt x="1248" y="294"/>
                  </a:lnTo>
                  <a:lnTo>
                    <a:pt x="1250" y="292"/>
                  </a:lnTo>
                  <a:lnTo>
                    <a:pt x="1253" y="289"/>
                  </a:lnTo>
                  <a:lnTo>
                    <a:pt x="1254" y="284"/>
                  </a:lnTo>
                  <a:lnTo>
                    <a:pt x="1257" y="276"/>
                  </a:lnTo>
                  <a:lnTo>
                    <a:pt x="1260" y="269"/>
                  </a:lnTo>
                  <a:lnTo>
                    <a:pt x="1266" y="264"/>
                  </a:lnTo>
                  <a:lnTo>
                    <a:pt x="1268" y="259"/>
                  </a:lnTo>
                  <a:lnTo>
                    <a:pt x="1271" y="258"/>
                  </a:lnTo>
                  <a:lnTo>
                    <a:pt x="1274" y="255"/>
                  </a:lnTo>
                  <a:lnTo>
                    <a:pt x="1276" y="251"/>
                  </a:lnTo>
                  <a:lnTo>
                    <a:pt x="1277" y="245"/>
                  </a:lnTo>
                  <a:lnTo>
                    <a:pt x="1277" y="239"/>
                  </a:lnTo>
                  <a:lnTo>
                    <a:pt x="1274" y="232"/>
                  </a:lnTo>
                  <a:lnTo>
                    <a:pt x="1276" y="226"/>
                  </a:lnTo>
                  <a:lnTo>
                    <a:pt x="1277" y="219"/>
                  </a:lnTo>
                  <a:lnTo>
                    <a:pt x="1279" y="215"/>
                  </a:lnTo>
                  <a:lnTo>
                    <a:pt x="1279" y="212"/>
                  </a:lnTo>
                  <a:lnTo>
                    <a:pt x="1280" y="209"/>
                  </a:lnTo>
                  <a:lnTo>
                    <a:pt x="1281" y="206"/>
                  </a:lnTo>
                  <a:lnTo>
                    <a:pt x="1281" y="202"/>
                  </a:lnTo>
                  <a:lnTo>
                    <a:pt x="1283" y="196"/>
                  </a:lnTo>
                  <a:lnTo>
                    <a:pt x="1284" y="193"/>
                  </a:lnTo>
                  <a:lnTo>
                    <a:pt x="1289" y="193"/>
                  </a:lnTo>
                  <a:lnTo>
                    <a:pt x="1290" y="192"/>
                  </a:lnTo>
                  <a:lnTo>
                    <a:pt x="1290" y="189"/>
                  </a:lnTo>
                  <a:lnTo>
                    <a:pt x="1286" y="179"/>
                  </a:lnTo>
                  <a:lnTo>
                    <a:pt x="1283" y="168"/>
                  </a:lnTo>
                  <a:lnTo>
                    <a:pt x="1277" y="155"/>
                  </a:lnTo>
                  <a:lnTo>
                    <a:pt x="1264" y="137"/>
                  </a:lnTo>
                  <a:lnTo>
                    <a:pt x="1251" y="125"/>
                  </a:lnTo>
                  <a:lnTo>
                    <a:pt x="1244" y="119"/>
                  </a:lnTo>
                  <a:lnTo>
                    <a:pt x="1233" y="109"/>
                  </a:lnTo>
                  <a:lnTo>
                    <a:pt x="1226" y="103"/>
                  </a:lnTo>
                  <a:lnTo>
                    <a:pt x="1224" y="99"/>
                  </a:lnTo>
                  <a:lnTo>
                    <a:pt x="1223" y="92"/>
                  </a:lnTo>
                  <a:lnTo>
                    <a:pt x="1223" y="84"/>
                  </a:lnTo>
                  <a:lnTo>
                    <a:pt x="1223" y="79"/>
                  </a:lnTo>
                  <a:lnTo>
                    <a:pt x="1221" y="74"/>
                  </a:lnTo>
                  <a:lnTo>
                    <a:pt x="1220" y="64"/>
                  </a:lnTo>
                  <a:lnTo>
                    <a:pt x="1217" y="54"/>
                  </a:lnTo>
                  <a:lnTo>
                    <a:pt x="1214" y="50"/>
                  </a:lnTo>
                  <a:lnTo>
                    <a:pt x="1210" y="50"/>
                  </a:lnTo>
                  <a:lnTo>
                    <a:pt x="1207" y="53"/>
                  </a:lnTo>
                  <a:lnTo>
                    <a:pt x="1204" y="62"/>
                  </a:lnTo>
                  <a:lnTo>
                    <a:pt x="1204" y="73"/>
                  </a:lnTo>
                  <a:lnTo>
                    <a:pt x="1204" y="92"/>
                  </a:lnTo>
                  <a:lnTo>
                    <a:pt x="1204" y="117"/>
                  </a:lnTo>
                  <a:lnTo>
                    <a:pt x="1203" y="129"/>
                  </a:lnTo>
                  <a:lnTo>
                    <a:pt x="1201" y="135"/>
                  </a:lnTo>
                  <a:lnTo>
                    <a:pt x="1195" y="140"/>
                  </a:lnTo>
                  <a:lnTo>
                    <a:pt x="1181" y="149"/>
                  </a:lnTo>
                  <a:lnTo>
                    <a:pt x="1180" y="150"/>
                  </a:lnTo>
                  <a:lnTo>
                    <a:pt x="1175" y="150"/>
                  </a:lnTo>
                  <a:lnTo>
                    <a:pt x="1171" y="153"/>
                  </a:lnTo>
                  <a:lnTo>
                    <a:pt x="1168" y="155"/>
                  </a:lnTo>
                  <a:lnTo>
                    <a:pt x="1167" y="155"/>
                  </a:lnTo>
                  <a:lnTo>
                    <a:pt x="1167" y="159"/>
                  </a:lnTo>
                  <a:lnTo>
                    <a:pt x="1165" y="159"/>
                  </a:lnTo>
                  <a:lnTo>
                    <a:pt x="1160" y="160"/>
                  </a:lnTo>
                  <a:lnTo>
                    <a:pt x="1158" y="160"/>
                  </a:lnTo>
                  <a:lnTo>
                    <a:pt x="1154" y="163"/>
                  </a:lnTo>
                  <a:lnTo>
                    <a:pt x="1151" y="165"/>
                  </a:lnTo>
                  <a:lnTo>
                    <a:pt x="1148" y="166"/>
                  </a:lnTo>
                  <a:lnTo>
                    <a:pt x="1148" y="169"/>
                  </a:lnTo>
                  <a:lnTo>
                    <a:pt x="1150" y="170"/>
                  </a:lnTo>
                  <a:lnTo>
                    <a:pt x="1152" y="170"/>
                  </a:lnTo>
                  <a:lnTo>
                    <a:pt x="1154" y="173"/>
                  </a:lnTo>
                  <a:lnTo>
                    <a:pt x="1152" y="176"/>
                  </a:lnTo>
                  <a:lnTo>
                    <a:pt x="1148" y="176"/>
                  </a:lnTo>
                  <a:lnTo>
                    <a:pt x="1145" y="173"/>
                  </a:lnTo>
                  <a:lnTo>
                    <a:pt x="1144" y="172"/>
                  </a:lnTo>
                  <a:lnTo>
                    <a:pt x="1140" y="170"/>
                  </a:lnTo>
                  <a:lnTo>
                    <a:pt x="1138" y="172"/>
                  </a:lnTo>
                  <a:lnTo>
                    <a:pt x="1134" y="176"/>
                  </a:lnTo>
                  <a:lnTo>
                    <a:pt x="1131" y="179"/>
                  </a:lnTo>
                  <a:lnTo>
                    <a:pt x="1128" y="182"/>
                  </a:lnTo>
                  <a:lnTo>
                    <a:pt x="1124" y="185"/>
                  </a:lnTo>
                  <a:lnTo>
                    <a:pt x="1122" y="186"/>
                  </a:lnTo>
                  <a:lnTo>
                    <a:pt x="1118" y="188"/>
                  </a:lnTo>
                  <a:lnTo>
                    <a:pt x="1117" y="189"/>
                  </a:lnTo>
                  <a:lnTo>
                    <a:pt x="1118" y="190"/>
                  </a:lnTo>
                  <a:lnTo>
                    <a:pt x="1120" y="193"/>
                  </a:lnTo>
                  <a:lnTo>
                    <a:pt x="1108" y="196"/>
                  </a:lnTo>
                  <a:lnTo>
                    <a:pt x="1105" y="196"/>
                  </a:lnTo>
                  <a:lnTo>
                    <a:pt x="1101" y="199"/>
                  </a:lnTo>
                  <a:lnTo>
                    <a:pt x="1095" y="200"/>
                  </a:lnTo>
                  <a:lnTo>
                    <a:pt x="1087" y="205"/>
                  </a:lnTo>
                  <a:lnTo>
                    <a:pt x="1082" y="205"/>
                  </a:lnTo>
                  <a:lnTo>
                    <a:pt x="1081" y="205"/>
                  </a:lnTo>
                  <a:lnTo>
                    <a:pt x="1071" y="209"/>
                  </a:lnTo>
                  <a:lnTo>
                    <a:pt x="1058" y="215"/>
                  </a:lnTo>
                  <a:lnTo>
                    <a:pt x="1049" y="219"/>
                  </a:lnTo>
                  <a:lnTo>
                    <a:pt x="1046" y="221"/>
                  </a:lnTo>
                  <a:lnTo>
                    <a:pt x="1045" y="223"/>
                  </a:lnTo>
                  <a:lnTo>
                    <a:pt x="1044" y="233"/>
                  </a:lnTo>
                  <a:lnTo>
                    <a:pt x="1045" y="236"/>
                  </a:lnTo>
                  <a:lnTo>
                    <a:pt x="1049" y="239"/>
                  </a:lnTo>
                  <a:lnTo>
                    <a:pt x="1051" y="242"/>
                  </a:lnTo>
                  <a:lnTo>
                    <a:pt x="1051" y="248"/>
                  </a:lnTo>
                  <a:lnTo>
                    <a:pt x="1049" y="252"/>
                  </a:lnTo>
                  <a:lnTo>
                    <a:pt x="1049" y="261"/>
                  </a:lnTo>
                  <a:lnTo>
                    <a:pt x="1051" y="262"/>
                  </a:lnTo>
                  <a:lnTo>
                    <a:pt x="1052" y="264"/>
                  </a:lnTo>
                  <a:lnTo>
                    <a:pt x="1054" y="265"/>
                  </a:lnTo>
                  <a:lnTo>
                    <a:pt x="1052" y="266"/>
                  </a:lnTo>
                  <a:lnTo>
                    <a:pt x="1048" y="266"/>
                  </a:lnTo>
                  <a:lnTo>
                    <a:pt x="1048" y="269"/>
                  </a:lnTo>
                  <a:lnTo>
                    <a:pt x="1046" y="274"/>
                  </a:lnTo>
                  <a:lnTo>
                    <a:pt x="1045" y="276"/>
                  </a:lnTo>
                  <a:lnTo>
                    <a:pt x="1044" y="282"/>
                  </a:lnTo>
                  <a:lnTo>
                    <a:pt x="1042" y="284"/>
                  </a:lnTo>
                  <a:lnTo>
                    <a:pt x="1041" y="286"/>
                  </a:lnTo>
                  <a:lnTo>
                    <a:pt x="1041" y="288"/>
                  </a:lnTo>
                  <a:lnTo>
                    <a:pt x="1042" y="291"/>
                  </a:lnTo>
                  <a:lnTo>
                    <a:pt x="1041" y="292"/>
                  </a:lnTo>
                  <a:lnTo>
                    <a:pt x="1039" y="291"/>
                  </a:lnTo>
                  <a:lnTo>
                    <a:pt x="1038" y="291"/>
                  </a:lnTo>
                  <a:lnTo>
                    <a:pt x="1035" y="292"/>
                  </a:lnTo>
                  <a:lnTo>
                    <a:pt x="1034" y="294"/>
                  </a:lnTo>
                  <a:lnTo>
                    <a:pt x="1034" y="296"/>
                  </a:lnTo>
                  <a:lnTo>
                    <a:pt x="1031" y="298"/>
                  </a:lnTo>
                  <a:lnTo>
                    <a:pt x="1028" y="299"/>
                  </a:lnTo>
                  <a:lnTo>
                    <a:pt x="1024" y="299"/>
                  </a:lnTo>
                  <a:lnTo>
                    <a:pt x="1019" y="299"/>
                  </a:lnTo>
                  <a:lnTo>
                    <a:pt x="1016" y="301"/>
                  </a:lnTo>
                  <a:lnTo>
                    <a:pt x="1014" y="304"/>
                  </a:lnTo>
                  <a:lnTo>
                    <a:pt x="1014" y="306"/>
                  </a:lnTo>
                  <a:lnTo>
                    <a:pt x="1012" y="309"/>
                  </a:lnTo>
                  <a:lnTo>
                    <a:pt x="1011" y="315"/>
                  </a:lnTo>
                  <a:lnTo>
                    <a:pt x="1011" y="318"/>
                  </a:lnTo>
                  <a:lnTo>
                    <a:pt x="1011" y="321"/>
                  </a:lnTo>
                  <a:lnTo>
                    <a:pt x="1008" y="319"/>
                  </a:lnTo>
                  <a:lnTo>
                    <a:pt x="1002" y="318"/>
                  </a:lnTo>
                  <a:lnTo>
                    <a:pt x="995" y="322"/>
                  </a:lnTo>
                  <a:lnTo>
                    <a:pt x="994" y="325"/>
                  </a:lnTo>
                  <a:lnTo>
                    <a:pt x="986" y="328"/>
                  </a:lnTo>
                  <a:lnTo>
                    <a:pt x="985" y="329"/>
                  </a:lnTo>
                  <a:lnTo>
                    <a:pt x="963" y="334"/>
                  </a:lnTo>
                  <a:lnTo>
                    <a:pt x="959" y="335"/>
                  </a:lnTo>
                  <a:lnTo>
                    <a:pt x="953" y="338"/>
                  </a:lnTo>
                  <a:lnTo>
                    <a:pt x="951" y="339"/>
                  </a:lnTo>
                  <a:lnTo>
                    <a:pt x="946" y="341"/>
                  </a:lnTo>
                  <a:lnTo>
                    <a:pt x="942" y="344"/>
                  </a:lnTo>
                  <a:lnTo>
                    <a:pt x="938" y="349"/>
                  </a:lnTo>
                  <a:lnTo>
                    <a:pt x="935" y="352"/>
                  </a:lnTo>
                  <a:lnTo>
                    <a:pt x="932" y="355"/>
                  </a:lnTo>
                  <a:lnTo>
                    <a:pt x="930" y="359"/>
                  </a:lnTo>
                  <a:lnTo>
                    <a:pt x="925" y="364"/>
                  </a:lnTo>
                  <a:lnTo>
                    <a:pt x="922" y="367"/>
                  </a:lnTo>
                  <a:lnTo>
                    <a:pt x="916" y="371"/>
                  </a:lnTo>
                  <a:lnTo>
                    <a:pt x="913" y="372"/>
                  </a:lnTo>
                  <a:lnTo>
                    <a:pt x="912" y="375"/>
                  </a:lnTo>
                  <a:lnTo>
                    <a:pt x="910" y="380"/>
                  </a:lnTo>
                  <a:lnTo>
                    <a:pt x="908" y="382"/>
                  </a:lnTo>
                  <a:lnTo>
                    <a:pt x="902" y="390"/>
                  </a:lnTo>
                  <a:lnTo>
                    <a:pt x="899" y="395"/>
                  </a:lnTo>
                  <a:lnTo>
                    <a:pt x="898" y="395"/>
                  </a:lnTo>
                  <a:lnTo>
                    <a:pt x="899" y="390"/>
                  </a:lnTo>
                  <a:lnTo>
                    <a:pt x="902" y="385"/>
                  </a:lnTo>
                  <a:lnTo>
                    <a:pt x="906" y="378"/>
                  </a:lnTo>
                  <a:lnTo>
                    <a:pt x="908" y="374"/>
                  </a:lnTo>
                  <a:lnTo>
                    <a:pt x="909" y="369"/>
                  </a:lnTo>
                  <a:lnTo>
                    <a:pt x="912" y="368"/>
                  </a:lnTo>
                  <a:lnTo>
                    <a:pt x="916" y="365"/>
                  </a:lnTo>
                  <a:lnTo>
                    <a:pt x="919" y="362"/>
                  </a:lnTo>
                  <a:lnTo>
                    <a:pt x="919" y="359"/>
                  </a:lnTo>
                  <a:lnTo>
                    <a:pt x="920" y="355"/>
                  </a:lnTo>
                  <a:lnTo>
                    <a:pt x="922" y="352"/>
                  </a:lnTo>
                  <a:lnTo>
                    <a:pt x="923" y="348"/>
                  </a:lnTo>
                  <a:lnTo>
                    <a:pt x="926" y="342"/>
                  </a:lnTo>
                  <a:lnTo>
                    <a:pt x="926" y="338"/>
                  </a:lnTo>
                  <a:lnTo>
                    <a:pt x="925" y="337"/>
                  </a:lnTo>
                  <a:lnTo>
                    <a:pt x="922" y="332"/>
                  </a:lnTo>
                  <a:lnTo>
                    <a:pt x="920" y="331"/>
                  </a:lnTo>
                  <a:lnTo>
                    <a:pt x="915" y="331"/>
                  </a:lnTo>
                  <a:lnTo>
                    <a:pt x="909" y="329"/>
                  </a:lnTo>
                  <a:lnTo>
                    <a:pt x="905" y="328"/>
                  </a:lnTo>
                  <a:lnTo>
                    <a:pt x="900" y="327"/>
                  </a:lnTo>
                  <a:lnTo>
                    <a:pt x="895" y="325"/>
                  </a:lnTo>
                  <a:lnTo>
                    <a:pt x="892" y="327"/>
                  </a:lnTo>
                  <a:lnTo>
                    <a:pt x="890" y="329"/>
                  </a:lnTo>
                  <a:lnTo>
                    <a:pt x="888" y="332"/>
                  </a:lnTo>
                  <a:lnTo>
                    <a:pt x="886" y="334"/>
                  </a:lnTo>
                  <a:lnTo>
                    <a:pt x="885" y="329"/>
                  </a:lnTo>
                  <a:lnTo>
                    <a:pt x="886" y="327"/>
                  </a:lnTo>
                  <a:lnTo>
                    <a:pt x="888" y="324"/>
                  </a:lnTo>
                  <a:lnTo>
                    <a:pt x="890" y="321"/>
                  </a:lnTo>
                  <a:lnTo>
                    <a:pt x="896" y="321"/>
                  </a:lnTo>
                  <a:lnTo>
                    <a:pt x="900" y="322"/>
                  </a:lnTo>
                  <a:lnTo>
                    <a:pt x="905" y="322"/>
                  </a:lnTo>
                  <a:lnTo>
                    <a:pt x="908" y="322"/>
                  </a:lnTo>
                  <a:lnTo>
                    <a:pt x="912" y="324"/>
                  </a:lnTo>
                  <a:lnTo>
                    <a:pt x="916" y="325"/>
                  </a:lnTo>
                  <a:lnTo>
                    <a:pt x="919" y="325"/>
                  </a:lnTo>
                  <a:lnTo>
                    <a:pt x="922" y="324"/>
                  </a:lnTo>
                  <a:lnTo>
                    <a:pt x="925" y="318"/>
                  </a:lnTo>
                  <a:lnTo>
                    <a:pt x="926" y="312"/>
                  </a:lnTo>
                  <a:lnTo>
                    <a:pt x="926" y="306"/>
                  </a:lnTo>
                  <a:lnTo>
                    <a:pt x="923" y="302"/>
                  </a:lnTo>
                  <a:lnTo>
                    <a:pt x="923" y="298"/>
                  </a:lnTo>
                  <a:lnTo>
                    <a:pt x="926" y="295"/>
                  </a:lnTo>
                  <a:lnTo>
                    <a:pt x="929" y="289"/>
                  </a:lnTo>
                  <a:lnTo>
                    <a:pt x="928" y="284"/>
                  </a:lnTo>
                  <a:lnTo>
                    <a:pt x="925" y="278"/>
                  </a:lnTo>
                  <a:lnTo>
                    <a:pt x="919" y="274"/>
                  </a:lnTo>
                  <a:lnTo>
                    <a:pt x="913" y="269"/>
                  </a:lnTo>
                  <a:lnTo>
                    <a:pt x="909" y="266"/>
                  </a:lnTo>
                  <a:lnTo>
                    <a:pt x="908" y="264"/>
                  </a:lnTo>
                  <a:lnTo>
                    <a:pt x="903" y="261"/>
                  </a:lnTo>
                  <a:lnTo>
                    <a:pt x="900" y="258"/>
                  </a:lnTo>
                  <a:lnTo>
                    <a:pt x="899" y="255"/>
                  </a:lnTo>
                  <a:lnTo>
                    <a:pt x="896" y="253"/>
                  </a:lnTo>
                  <a:lnTo>
                    <a:pt x="896" y="252"/>
                  </a:lnTo>
                  <a:lnTo>
                    <a:pt x="903" y="251"/>
                  </a:lnTo>
                  <a:lnTo>
                    <a:pt x="902" y="248"/>
                  </a:lnTo>
                  <a:lnTo>
                    <a:pt x="902" y="241"/>
                  </a:lnTo>
                  <a:lnTo>
                    <a:pt x="900" y="236"/>
                  </a:lnTo>
                  <a:lnTo>
                    <a:pt x="900" y="229"/>
                  </a:lnTo>
                  <a:lnTo>
                    <a:pt x="899" y="223"/>
                  </a:lnTo>
                  <a:lnTo>
                    <a:pt x="896" y="222"/>
                  </a:lnTo>
                  <a:lnTo>
                    <a:pt x="892" y="221"/>
                  </a:lnTo>
                  <a:lnTo>
                    <a:pt x="885" y="221"/>
                  </a:lnTo>
                  <a:lnTo>
                    <a:pt x="879" y="222"/>
                  </a:lnTo>
                  <a:lnTo>
                    <a:pt x="873" y="223"/>
                  </a:lnTo>
                  <a:lnTo>
                    <a:pt x="869" y="226"/>
                  </a:lnTo>
                  <a:lnTo>
                    <a:pt x="863" y="228"/>
                  </a:lnTo>
                  <a:lnTo>
                    <a:pt x="859" y="228"/>
                  </a:lnTo>
                  <a:lnTo>
                    <a:pt x="852" y="228"/>
                  </a:lnTo>
                  <a:lnTo>
                    <a:pt x="846" y="228"/>
                  </a:lnTo>
                  <a:lnTo>
                    <a:pt x="840" y="228"/>
                  </a:lnTo>
                  <a:lnTo>
                    <a:pt x="836" y="229"/>
                  </a:lnTo>
                  <a:lnTo>
                    <a:pt x="832" y="228"/>
                  </a:lnTo>
                  <a:lnTo>
                    <a:pt x="827" y="229"/>
                  </a:lnTo>
                  <a:lnTo>
                    <a:pt x="826" y="226"/>
                  </a:lnTo>
                  <a:lnTo>
                    <a:pt x="820" y="226"/>
                  </a:lnTo>
                  <a:lnTo>
                    <a:pt x="816" y="226"/>
                  </a:lnTo>
                  <a:lnTo>
                    <a:pt x="809" y="225"/>
                  </a:lnTo>
                  <a:lnTo>
                    <a:pt x="804" y="223"/>
                  </a:lnTo>
                  <a:lnTo>
                    <a:pt x="800" y="222"/>
                  </a:lnTo>
                  <a:lnTo>
                    <a:pt x="797" y="219"/>
                  </a:lnTo>
                  <a:lnTo>
                    <a:pt x="792" y="218"/>
                  </a:lnTo>
                  <a:lnTo>
                    <a:pt x="777" y="211"/>
                  </a:lnTo>
                  <a:lnTo>
                    <a:pt x="779" y="209"/>
                  </a:lnTo>
                  <a:lnTo>
                    <a:pt x="772" y="208"/>
                  </a:lnTo>
                  <a:lnTo>
                    <a:pt x="766" y="205"/>
                  </a:lnTo>
                  <a:lnTo>
                    <a:pt x="764" y="205"/>
                  </a:lnTo>
                  <a:lnTo>
                    <a:pt x="757" y="203"/>
                  </a:lnTo>
                  <a:lnTo>
                    <a:pt x="746" y="205"/>
                  </a:lnTo>
                  <a:lnTo>
                    <a:pt x="739" y="206"/>
                  </a:lnTo>
                  <a:lnTo>
                    <a:pt x="733" y="206"/>
                  </a:lnTo>
                  <a:lnTo>
                    <a:pt x="724" y="205"/>
                  </a:lnTo>
                  <a:lnTo>
                    <a:pt x="717" y="203"/>
                  </a:lnTo>
                  <a:lnTo>
                    <a:pt x="710" y="202"/>
                  </a:lnTo>
                  <a:lnTo>
                    <a:pt x="703" y="200"/>
                  </a:lnTo>
                  <a:lnTo>
                    <a:pt x="698" y="200"/>
                  </a:lnTo>
                  <a:lnTo>
                    <a:pt x="694" y="196"/>
                  </a:lnTo>
                  <a:lnTo>
                    <a:pt x="687" y="195"/>
                  </a:lnTo>
                  <a:lnTo>
                    <a:pt x="681" y="195"/>
                  </a:lnTo>
                  <a:lnTo>
                    <a:pt x="668" y="199"/>
                  </a:lnTo>
                  <a:lnTo>
                    <a:pt x="666" y="199"/>
                  </a:lnTo>
                  <a:lnTo>
                    <a:pt x="660" y="200"/>
                  </a:lnTo>
                  <a:lnTo>
                    <a:pt x="651" y="203"/>
                  </a:lnTo>
                  <a:lnTo>
                    <a:pt x="645" y="208"/>
                  </a:lnTo>
                  <a:lnTo>
                    <a:pt x="643" y="216"/>
                  </a:lnTo>
                  <a:lnTo>
                    <a:pt x="640" y="225"/>
                  </a:lnTo>
                  <a:lnTo>
                    <a:pt x="638" y="233"/>
                  </a:lnTo>
                  <a:lnTo>
                    <a:pt x="635" y="238"/>
                  </a:lnTo>
                  <a:lnTo>
                    <a:pt x="631" y="249"/>
                  </a:lnTo>
                  <a:lnTo>
                    <a:pt x="630" y="252"/>
                  </a:lnTo>
                  <a:lnTo>
                    <a:pt x="628" y="255"/>
                  </a:lnTo>
                  <a:lnTo>
                    <a:pt x="625" y="258"/>
                  </a:lnTo>
                  <a:lnTo>
                    <a:pt x="625" y="261"/>
                  </a:lnTo>
                  <a:lnTo>
                    <a:pt x="624" y="265"/>
                  </a:lnTo>
                  <a:lnTo>
                    <a:pt x="624" y="268"/>
                  </a:lnTo>
                  <a:lnTo>
                    <a:pt x="625" y="271"/>
                  </a:lnTo>
                  <a:lnTo>
                    <a:pt x="624" y="275"/>
                  </a:lnTo>
                  <a:lnTo>
                    <a:pt x="623" y="279"/>
                  </a:lnTo>
                  <a:lnTo>
                    <a:pt x="623" y="281"/>
                  </a:lnTo>
                  <a:lnTo>
                    <a:pt x="620" y="282"/>
                  </a:lnTo>
                  <a:lnTo>
                    <a:pt x="618" y="285"/>
                  </a:lnTo>
                  <a:lnTo>
                    <a:pt x="617" y="288"/>
                  </a:lnTo>
                  <a:lnTo>
                    <a:pt x="615" y="296"/>
                  </a:lnTo>
                  <a:lnTo>
                    <a:pt x="613" y="299"/>
                  </a:lnTo>
                  <a:lnTo>
                    <a:pt x="610" y="301"/>
                  </a:lnTo>
                  <a:lnTo>
                    <a:pt x="607" y="302"/>
                  </a:lnTo>
                  <a:lnTo>
                    <a:pt x="604" y="304"/>
                  </a:lnTo>
                  <a:lnTo>
                    <a:pt x="603" y="308"/>
                  </a:lnTo>
                  <a:lnTo>
                    <a:pt x="604" y="314"/>
                  </a:lnTo>
                  <a:lnTo>
                    <a:pt x="604" y="318"/>
                  </a:lnTo>
                  <a:lnTo>
                    <a:pt x="603" y="315"/>
                  </a:lnTo>
                  <a:lnTo>
                    <a:pt x="600" y="314"/>
                  </a:lnTo>
                  <a:lnTo>
                    <a:pt x="595" y="314"/>
                  </a:lnTo>
                  <a:lnTo>
                    <a:pt x="591" y="316"/>
                  </a:lnTo>
                  <a:lnTo>
                    <a:pt x="588" y="319"/>
                  </a:lnTo>
                  <a:lnTo>
                    <a:pt x="585" y="321"/>
                  </a:lnTo>
                  <a:lnTo>
                    <a:pt x="582" y="322"/>
                  </a:lnTo>
                  <a:lnTo>
                    <a:pt x="582" y="325"/>
                  </a:lnTo>
                  <a:lnTo>
                    <a:pt x="581" y="331"/>
                  </a:lnTo>
                  <a:lnTo>
                    <a:pt x="580" y="334"/>
                  </a:lnTo>
                  <a:lnTo>
                    <a:pt x="577" y="338"/>
                  </a:lnTo>
                  <a:lnTo>
                    <a:pt x="577" y="341"/>
                  </a:lnTo>
                  <a:lnTo>
                    <a:pt x="580" y="345"/>
                  </a:lnTo>
                  <a:lnTo>
                    <a:pt x="580" y="357"/>
                  </a:lnTo>
                  <a:lnTo>
                    <a:pt x="578" y="364"/>
                  </a:lnTo>
                  <a:lnTo>
                    <a:pt x="577" y="374"/>
                  </a:lnTo>
                  <a:lnTo>
                    <a:pt x="577" y="384"/>
                  </a:lnTo>
                  <a:lnTo>
                    <a:pt x="572" y="384"/>
                  </a:lnTo>
                  <a:lnTo>
                    <a:pt x="568" y="381"/>
                  </a:lnTo>
                  <a:lnTo>
                    <a:pt x="568" y="377"/>
                  </a:lnTo>
                  <a:lnTo>
                    <a:pt x="568" y="375"/>
                  </a:lnTo>
                  <a:lnTo>
                    <a:pt x="572" y="371"/>
                  </a:lnTo>
                  <a:lnTo>
                    <a:pt x="575" y="364"/>
                  </a:lnTo>
                  <a:lnTo>
                    <a:pt x="575" y="354"/>
                  </a:lnTo>
                  <a:lnTo>
                    <a:pt x="572" y="348"/>
                  </a:lnTo>
                  <a:lnTo>
                    <a:pt x="570" y="342"/>
                  </a:lnTo>
                  <a:lnTo>
                    <a:pt x="570" y="337"/>
                  </a:lnTo>
                  <a:lnTo>
                    <a:pt x="570" y="334"/>
                  </a:lnTo>
                  <a:lnTo>
                    <a:pt x="570" y="329"/>
                  </a:lnTo>
                  <a:lnTo>
                    <a:pt x="567" y="327"/>
                  </a:lnTo>
                  <a:lnTo>
                    <a:pt x="565" y="322"/>
                  </a:lnTo>
                  <a:lnTo>
                    <a:pt x="562" y="319"/>
                  </a:lnTo>
                  <a:lnTo>
                    <a:pt x="561" y="316"/>
                  </a:lnTo>
                  <a:lnTo>
                    <a:pt x="562" y="312"/>
                  </a:lnTo>
                  <a:lnTo>
                    <a:pt x="564" y="309"/>
                  </a:lnTo>
                  <a:lnTo>
                    <a:pt x="564" y="306"/>
                  </a:lnTo>
                  <a:lnTo>
                    <a:pt x="564" y="301"/>
                  </a:lnTo>
                  <a:lnTo>
                    <a:pt x="562" y="298"/>
                  </a:lnTo>
                  <a:lnTo>
                    <a:pt x="561" y="294"/>
                  </a:lnTo>
                  <a:lnTo>
                    <a:pt x="558" y="291"/>
                  </a:lnTo>
                  <a:lnTo>
                    <a:pt x="555" y="289"/>
                  </a:lnTo>
                  <a:lnTo>
                    <a:pt x="550" y="291"/>
                  </a:lnTo>
                  <a:lnTo>
                    <a:pt x="544" y="291"/>
                  </a:lnTo>
                  <a:lnTo>
                    <a:pt x="539" y="289"/>
                  </a:lnTo>
                  <a:lnTo>
                    <a:pt x="537" y="286"/>
                  </a:lnTo>
                  <a:lnTo>
                    <a:pt x="534" y="284"/>
                  </a:lnTo>
                  <a:lnTo>
                    <a:pt x="532" y="279"/>
                  </a:lnTo>
                  <a:lnTo>
                    <a:pt x="534" y="269"/>
                  </a:lnTo>
                  <a:lnTo>
                    <a:pt x="537" y="262"/>
                  </a:lnTo>
                  <a:lnTo>
                    <a:pt x="535" y="255"/>
                  </a:lnTo>
                  <a:lnTo>
                    <a:pt x="531" y="249"/>
                  </a:lnTo>
                  <a:lnTo>
                    <a:pt x="531" y="246"/>
                  </a:lnTo>
                  <a:lnTo>
                    <a:pt x="531" y="239"/>
                  </a:lnTo>
                  <a:lnTo>
                    <a:pt x="532" y="233"/>
                  </a:lnTo>
                  <a:lnTo>
                    <a:pt x="532" y="229"/>
                  </a:lnTo>
                  <a:lnTo>
                    <a:pt x="531" y="228"/>
                  </a:lnTo>
                  <a:lnTo>
                    <a:pt x="529" y="225"/>
                  </a:lnTo>
                  <a:lnTo>
                    <a:pt x="527" y="219"/>
                  </a:lnTo>
                  <a:lnTo>
                    <a:pt x="525" y="216"/>
                  </a:lnTo>
                  <a:lnTo>
                    <a:pt x="524" y="212"/>
                  </a:lnTo>
                  <a:lnTo>
                    <a:pt x="522" y="209"/>
                  </a:lnTo>
                  <a:lnTo>
                    <a:pt x="521" y="206"/>
                  </a:lnTo>
                  <a:lnTo>
                    <a:pt x="522" y="200"/>
                  </a:lnTo>
                  <a:lnTo>
                    <a:pt x="522" y="198"/>
                  </a:lnTo>
                  <a:lnTo>
                    <a:pt x="521" y="196"/>
                  </a:lnTo>
                  <a:lnTo>
                    <a:pt x="518" y="198"/>
                  </a:lnTo>
                  <a:lnTo>
                    <a:pt x="517" y="202"/>
                  </a:lnTo>
                  <a:lnTo>
                    <a:pt x="515" y="205"/>
                  </a:lnTo>
                  <a:lnTo>
                    <a:pt x="514" y="205"/>
                  </a:lnTo>
                  <a:lnTo>
                    <a:pt x="509" y="202"/>
                  </a:lnTo>
                  <a:lnTo>
                    <a:pt x="507" y="199"/>
                  </a:lnTo>
                  <a:lnTo>
                    <a:pt x="501" y="196"/>
                  </a:lnTo>
                  <a:lnTo>
                    <a:pt x="498" y="193"/>
                  </a:lnTo>
                  <a:lnTo>
                    <a:pt x="494" y="192"/>
                  </a:lnTo>
                  <a:lnTo>
                    <a:pt x="492" y="193"/>
                  </a:lnTo>
                  <a:lnTo>
                    <a:pt x="489" y="196"/>
                  </a:lnTo>
                  <a:lnTo>
                    <a:pt x="485" y="195"/>
                  </a:lnTo>
                  <a:lnTo>
                    <a:pt x="482" y="193"/>
                  </a:lnTo>
                  <a:lnTo>
                    <a:pt x="478" y="195"/>
                  </a:lnTo>
                  <a:lnTo>
                    <a:pt x="475" y="195"/>
                  </a:lnTo>
                  <a:lnTo>
                    <a:pt x="476" y="192"/>
                  </a:lnTo>
                  <a:lnTo>
                    <a:pt x="479" y="190"/>
                  </a:lnTo>
                  <a:lnTo>
                    <a:pt x="484" y="190"/>
                  </a:lnTo>
                  <a:lnTo>
                    <a:pt x="488" y="190"/>
                  </a:lnTo>
                  <a:lnTo>
                    <a:pt x="491" y="189"/>
                  </a:lnTo>
                  <a:lnTo>
                    <a:pt x="492" y="186"/>
                  </a:lnTo>
                  <a:lnTo>
                    <a:pt x="489" y="180"/>
                  </a:lnTo>
                  <a:lnTo>
                    <a:pt x="492" y="179"/>
                  </a:lnTo>
                  <a:lnTo>
                    <a:pt x="495" y="179"/>
                  </a:lnTo>
                  <a:lnTo>
                    <a:pt x="498" y="179"/>
                  </a:lnTo>
                  <a:lnTo>
                    <a:pt x="502" y="180"/>
                  </a:lnTo>
                  <a:lnTo>
                    <a:pt x="505" y="183"/>
                  </a:lnTo>
                  <a:lnTo>
                    <a:pt x="507" y="186"/>
                  </a:lnTo>
                  <a:lnTo>
                    <a:pt x="508" y="189"/>
                  </a:lnTo>
                  <a:lnTo>
                    <a:pt x="511" y="189"/>
                  </a:lnTo>
                  <a:lnTo>
                    <a:pt x="512" y="190"/>
                  </a:lnTo>
                  <a:lnTo>
                    <a:pt x="511" y="195"/>
                  </a:lnTo>
                  <a:lnTo>
                    <a:pt x="512" y="198"/>
                  </a:lnTo>
                  <a:lnTo>
                    <a:pt x="515" y="196"/>
                  </a:lnTo>
                  <a:lnTo>
                    <a:pt x="518" y="193"/>
                  </a:lnTo>
                  <a:lnTo>
                    <a:pt x="518" y="190"/>
                  </a:lnTo>
                  <a:lnTo>
                    <a:pt x="522" y="192"/>
                  </a:lnTo>
                  <a:lnTo>
                    <a:pt x="522" y="189"/>
                  </a:lnTo>
                  <a:lnTo>
                    <a:pt x="519" y="185"/>
                  </a:lnTo>
                  <a:lnTo>
                    <a:pt x="517" y="180"/>
                  </a:lnTo>
                  <a:lnTo>
                    <a:pt x="514" y="175"/>
                  </a:lnTo>
                  <a:lnTo>
                    <a:pt x="512" y="172"/>
                  </a:lnTo>
                  <a:lnTo>
                    <a:pt x="511" y="166"/>
                  </a:lnTo>
                  <a:lnTo>
                    <a:pt x="511" y="162"/>
                  </a:lnTo>
                  <a:lnTo>
                    <a:pt x="509" y="156"/>
                  </a:lnTo>
                  <a:lnTo>
                    <a:pt x="509" y="152"/>
                  </a:lnTo>
                  <a:lnTo>
                    <a:pt x="509" y="147"/>
                  </a:lnTo>
                  <a:lnTo>
                    <a:pt x="509" y="142"/>
                  </a:lnTo>
                  <a:lnTo>
                    <a:pt x="514" y="140"/>
                  </a:lnTo>
                  <a:lnTo>
                    <a:pt x="517" y="137"/>
                  </a:lnTo>
                  <a:lnTo>
                    <a:pt x="518" y="132"/>
                  </a:lnTo>
                  <a:lnTo>
                    <a:pt x="517" y="127"/>
                  </a:lnTo>
                  <a:lnTo>
                    <a:pt x="517" y="122"/>
                  </a:lnTo>
                  <a:lnTo>
                    <a:pt x="517" y="115"/>
                  </a:lnTo>
                  <a:lnTo>
                    <a:pt x="517" y="112"/>
                  </a:lnTo>
                  <a:lnTo>
                    <a:pt x="517" y="102"/>
                  </a:lnTo>
                  <a:lnTo>
                    <a:pt x="517" y="97"/>
                  </a:lnTo>
                  <a:lnTo>
                    <a:pt x="514" y="95"/>
                  </a:lnTo>
                  <a:lnTo>
                    <a:pt x="512" y="90"/>
                  </a:lnTo>
                  <a:lnTo>
                    <a:pt x="512" y="87"/>
                  </a:lnTo>
                  <a:lnTo>
                    <a:pt x="511" y="83"/>
                  </a:lnTo>
                  <a:lnTo>
                    <a:pt x="509" y="82"/>
                  </a:lnTo>
                  <a:lnTo>
                    <a:pt x="508" y="80"/>
                  </a:lnTo>
                  <a:lnTo>
                    <a:pt x="507" y="79"/>
                  </a:lnTo>
                  <a:lnTo>
                    <a:pt x="504" y="76"/>
                  </a:lnTo>
                  <a:lnTo>
                    <a:pt x="501" y="74"/>
                  </a:lnTo>
                  <a:lnTo>
                    <a:pt x="501" y="74"/>
                  </a:lnTo>
                  <a:lnTo>
                    <a:pt x="497" y="74"/>
                  </a:lnTo>
                  <a:lnTo>
                    <a:pt x="495" y="77"/>
                  </a:lnTo>
                  <a:lnTo>
                    <a:pt x="494" y="79"/>
                  </a:lnTo>
                  <a:lnTo>
                    <a:pt x="492" y="83"/>
                  </a:lnTo>
                  <a:lnTo>
                    <a:pt x="491" y="83"/>
                  </a:lnTo>
                  <a:lnTo>
                    <a:pt x="489" y="84"/>
                  </a:lnTo>
                  <a:lnTo>
                    <a:pt x="485" y="86"/>
                  </a:lnTo>
                  <a:lnTo>
                    <a:pt x="482" y="87"/>
                  </a:lnTo>
                  <a:lnTo>
                    <a:pt x="478" y="87"/>
                  </a:lnTo>
                  <a:lnTo>
                    <a:pt x="478" y="87"/>
                  </a:lnTo>
                  <a:lnTo>
                    <a:pt x="476" y="90"/>
                  </a:lnTo>
                  <a:lnTo>
                    <a:pt x="475" y="92"/>
                  </a:lnTo>
                  <a:lnTo>
                    <a:pt x="474" y="92"/>
                  </a:lnTo>
                  <a:lnTo>
                    <a:pt x="474" y="92"/>
                  </a:lnTo>
                  <a:lnTo>
                    <a:pt x="471" y="90"/>
                  </a:lnTo>
                  <a:lnTo>
                    <a:pt x="468" y="89"/>
                  </a:lnTo>
                  <a:lnTo>
                    <a:pt x="464" y="87"/>
                  </a:lnTo>
                  <a:lnTo>
                    <a:pt x="462" y="86"/>
                  </a:lnTo>
                  <a:lnTo>
                    <a:pt x="461" y="86"/>
                  </a:lnTo>
                  <a:lnTo>
                    <a:pt x="458" y="86"/>
                  </a:lnTo>
                  <a:lnTo>
                    <a:pt x="456" y="83"/>
                  </a:lnTo>
                  <a:lnTo>
                    <a:pt x="458" y="80"/>
                  </a:lnTo>
                  <a:lnTo>
                    <a:pt x="458" y="76"/>
                  </a:lnTo>
                  <a:lnTo>
                    <a:pt x="455" y="73"/>
                  </a:lnTo>
                  <a:lnTo>
                    <a:pt x="452" y="76"/>
                  </a:lnTo>
                  <a:lnTo>
                    <a:pt x="449" y="79"/>
                  </a:lnTo>
                  <a:lnTo>
                    <a:pt x="448" y="82"/>
                  </a:lnTo>
                  <a:lnTo>
                    <a:pt x="446" y="86"/>
                  </a:lnTo>
                  <a:lnTo>
                    <a:pt x="446" y="87"/>
                  </a:lnTo>
                  <a:lnTo>
                    <a:pt x="445" y="87"/>
                  </a:lnTo>
                  <a:lnTo>
                    <a:pt x="445" y="86"/>
                  </a:lnTo>
                  <a:lnTo>
                    <a:pt x="442" y="84"/>
                  </a:lnTo>
                  <a:lnTo>
                    <a:pt x="441" y="87"/>
                  </a:lnTo>
                  <a:lnTo>
                    <a:pt x="439" y="92"/>
                  </a:lnTo>
                  <a:lnTo>
                    <a:pt x="438" y="93"/>
                  </a:lnTo>
                  <a:lnTo>
                    <a:pt x="436" y="96"/>
                  </a:lnTo>
                  <a:lnTo>
                    <a:pt x="431" y="97"/>
                  </a:lnTo>
                  <a:lnTo>
                    <a:pt x="432" y="100"/>
                  </a:lnTo>
                  <a:lnTo>
                    <a:pt x="434" y="102"/>
                  </a:lnTo>
                  <a:lnTo>
                    <a:pt x="435" y="103"/>
                  </a:lnTo>
                  <a:lnTo>
                    <a:pt x="432" y="110"/>
                  </a:lnTo>
                  <a:lnTo>
                    <a:pt x="432" y="115"/>
                  </a:lnTo>
                  <a:lnTo>
                    <a:pt x="431" y="117"/>
                  </a:lnTo>
                  <a:lnTo>
                    <a:pt x="428" y="120"/>
                  </a:lnTo>
                  <a:lnTo>
                    <a:pt x="426" y="126"/>
                  </a:lnTo>
                  <a:lnTo>
                    <a:pt x="422" y="132"/>
                  </a:lnTo>
                  <a:lnTo>
                    <a:pt x="419" y="137"/>
                  </a:lnTo>
                  <a:lnTo>
                    <a:pt x="419" y="142"/>
                  </a:lnTo>
                  <a:lnTo>
                    <a:pt x="416" y="146"/>
                  </a:lnTo>
                  <a:lnTo>
                    <a:pt x="415" y="152"/>
                  </a:lnTo>
                  <a:lnTo>
                    <a:pt x="413" y="156"/>
                  </a:lnTo>
                  <a:lnTo>
                    <a:pt x="411" y="162"/>
                  </a:lnTo>
                  <a:lnTo>
                    <a:pt x="411" y="166"/>
                  </a:lnTo>
                  <a:lnTo>
                    <a:pt x="412" y="168"/>
                  </a:lnTo>
                  <a:lnTo>
                    <a:pt x="413" y="179"/>
                  </a:lnTo>
                  <a:lnTo>
                    <a:pt x="415" y="182"/>
                  </a:lnTo>
                  <a:lnTo>
                    <a:pt x="419" y="183"/>
                  </a:lnTo>
                  <a:lnTo>
                    <a:pt x="422" y="185"/>
                  </a:lnTo>
                  <a:lnTo>
                    <a:pt x="425" y="186"/>
                  </a:lnTo>
                  <a:lnTo>
                    <a:pt x="426" y="189"/>
                  </a:lnTo>
                  <a:lnTo>
                    <a:pt x="426" y="193"/>
                  </a:lnTo>
                  <a:lnTo>
                    <a:pt x="432" y="192"/>
                  </a:lnTo>
                  <a:lnTo>
                    <a:pt x="439" y="190"/>
                  </a:lnTo>
                  <a:lnTo>
                    <a:pt x="441" y="192"/>
                  </a:lnTo>
                  <a:lnTo>
                    <a:pt x="444" y="193"/>
                  </a:lnTo>
                  <a:lnTo>
                    <a:pt x="441" y="196"/>
                  </a:lnTo>
                  <a:lnTo>
                    <a:pt x="436" y="199"/>
                  </a:lnTo>
                  <a:lnTo>
                    <a:pt x="434" y="200"/>
                  </a:lnTo>
                  <a:lnTo>
                    <a:pt x="434" y="205"/>
                  </a:lnTo>
                  <a:lnTo>
                    <a:pt x="435" y="206"/>
                  </a:lnTo>
                  <a:lnTo>
                    <a:pt x="438" y="211"/>
                  </a:lnTo>
                  <a:lnTo>
                    <a:pt x="438" y="215"/>
                  </a:lnTo>
                  <a:lnTo>
                    <a:pt x="434" y="213"/>
                  </a:lnTo>
                  <a:lnTo>
                    <a:pt x="434" y="216"/>
                  </a:lnTo>
                  <a:lnTo>
                    <a:pt x="435" y="218"/>
                  </a:lnTo>
                  <a:lnTo>
                    <a:pt x="435" y="221"/>
                  </a:lnTo>
                  <a:lnTo>
                    <a:pt x="432" y="222"/>
                  </a:lnTo>
                  <a:lnTo>
                    <a:pt x="429" y="221"/>
                  </a:lnTo>
                  <a:lnTo>
                    <a:pt x="425" y="221"/>
                  </a:lnTo>
                  <a:lnTo>
                    <a:pt x="421" y="221"/>
                  </a:lnTo>
                  <a:lnTo>
                    <a:pt x="419" y="222"/>
                  </a:lnTo>
                  <a:lnTo>
                    <a:pt x="416" y="225"/>
                  </a:lnTo>
                  <a:lnTo>
                    <a:pt x="413" y="229"/>
                  </a:lnTo>
                  <a:lnTo>
                    <a:pt x="413" y="233"/>
                  </a:lnTo>
                  <a:lnTo>
                    <a:pt x="415" y="236"/>
                  </a:lnTo>
                  <a:lnTo>
                    <a:pt x="413" y="239"/>
                  </a:lnTo>
                  <a:lnTo>
                    <a:pt x="412" y="239"/>
                  </a:lnTo>
                  <a:lnTo>
                    <a:pt x="408" y="243"/>
                  </a:lnTo>
                  <a:lnTo>
                    <a:pt x="406" y="246"/>
                  </a:lnTo>
                  <a:lnTo>
                    <a:pt x="402" y="248"/>
                  </a:lnTo>
                  <a:lnTo>
                    <a:pt x="399" y="252"/>
                  </a:lnTo>
                  <a:lnTo>
                    <a:pt x="398" y="255"/>
                  </a:lnTo>
                  <a:lnTo>
                    <a:pt x="395" y="255"/>
                  </a:lnTo>
                  <a:lnTo>
                    <a:pt x="391" y="255"/>
                  </a:lnTo>
                  <a:lnTo>
                    <a:pt x="389" y="255"/>
                  </a:lnTo>
                  <a:lnTo>
                    <a:pt x="386" y="256"/>
                  </a:lnTo>
                  <a:lnTo>
                    <a:pt x="382" y="255"/>
                  </a:lnTo>
                  <a:lnTo>
                    <a:pt x="379" y="253"/>
                  </a:lnTo>
                  <a:lnTo>
                    <a:pt x="376" y="251"/>
                  </a:lnTo>
                  <a:lnTo>
                    <a:pt x="373" y="249"/>
                  </a:lnTo>
                  <a:lnTo>
                    <a:pt x="372" y="245"/>
                  </a:lnTo>
                  <a:lnTo>
                    <a:pt x="370" y="241"/>
                  </a:lnTo>
                  <a:lnTo>
                    <a:pt x="370" y="239"/>
                  </a:lnTo>
                  <a:lnTo>
                    <a:pt x="368" y="238"/>
                  </a:lnTo>
                  <a:lnTo>
                    <a:pt x="363" y="241"/>
                  </a:lnTo>
                  <a:lnTo>
                    <a:pt x="360" y="242"/>
                  </a:lnTo>
                  <a:lnTo>
                    <a:pt x="358" y="245"/>
                  </a:lnTo>
                  <a:lnTo>
                    <a:pt x="353" y="243"/>
                  </a:lnTo>
                  <a:lnTo>
                    <a:pt x="350" y="239"/>
                  </a:lnTo>
                  <a:lnTo>
                    <a:pt x="346" y="235"/>
                  </a:lnTo>
                  <a:lnTo>
                    <a:pt x="345" y="233"/>
                  </a:lnTo>
                  <a:lnTo>
                    <a:pt x="345" y="229"/>
                  </a:lnTo>
                  <a:lnTo>
                    <a:pt x="343" y="228"/>
                  </a:lnTo>
                  <a:lnTo>
                    <a:pt x="343" y="223"/>
                  </a:lnTo>
                  <a:lnTo>
                    <a:pt x="345" y="221"/>
                  </a:lnTo>
                  <a:lnTo>
                    <a:pt x="346" y="219"/>
                  </a:lnTo>
                  <a:lnTo>
                    <a:pt x="346" y="215"/>
                  </a:lnTo>
                  <a:lnTo>
                    <a:pt x="346" y="212"/>
                  </a:lnTo>
                  <a:lnTo>
                    <a:pt x="345" y="209"/>
                  </a:lnTo>
                  <a:lnTo>
                    <a:pt x="342" y="205"/>
                  </a:lnTo>
                  <a:lnTo>
                    <a:pt x="340" y="200"/>
                  </a:lnTo>
                  <a:lnTo>
                    <a:pt x="342" y="196"/>
                  </a:lnTo>
                  <a:lnTo>
                    <a:pt x="338" y="195"/>
                  </a:lnTo>
                  <a:lnTo>
                    <a:pt x="336" y="193"/>
                  </a:lnTo>
                  <a:lnTo>
                    <a:pt x="335" y="189"/>
                  </a:lnTo>
                  <a:lnTo>
                    <a:pt x="336" y="186"/>
                  </a:lnTo>
                  <a:lnTo>
                    <a:pt x="336" y="185"/>
                  </a:lnTo>
                  <a:lnTo>
                    <a:pt x="332" y="183"/>
                  </a:lnTo>
                  <a:lnTo>
                    <a:pt x="330" y="180"/>
                  </a:lnTo>
                  <a:lnTo>
                    <a:pt x="330" y="176"/>
                  </a:lnTo>
                  <a:lnTo>
                    <a:pt x="330" y="172"/>
                  </a:lnTo>
                  <a:lnTo>
                    <a:pt x="330" y="172"/>
                  </a:lnTo>
                  <a:lnTo>
                    <a:pt x="330" y="172"/>
                  </a:lnTo>
                  <a:lnTo>
                    <a:pt x="329" y="173"/>
                  </a:lnTo>
                  <a:lnTo>
                    <a:pt x="323" y="176"/>
                  </a:lnTo>
                  <a:lnTo>
                    <a:pt x="319" y="180"/>
                  </a:lnTo>
                  <a:lnTo>
                    <a:pt x="315" y="185"/>
                  </a:lnTo>
                  <a:lnTo>
                    <a:pt x="312" y="188"/>
                  </a:lnTo>
                  <a:lnTo>
                    <a:pt x="306" y="190"/>
                  </a:lnTo>
                  <a:lnTo>
                    <a:pt x="299" y="193"/>
                  </a:lnTo>
                  <a:lnTo>
                    <a:pt x="296" y="193"/>
                  </a:lnTo>
                  <a:lnTo>
                    <a:pt x="292" y="192"/>
                  </a:lnTo>
                  <a:lnTo>
                    <a:pt x="287" y="192"/>
                  </a:lnTo>
                  <a:lnTo>
                    <a:pt x="285" y="190"/>
                  </a:lnTo>
                  <a:lnTo>
                    <a:pt x="280" y="186"/>
                  </a:lnTo>
                  <a:lnTo>
                    <a:pt x="275" y="180"/>
                  </a:lnTo>
                  <a:lnTo>
                    <a:pt x="273" y="176"/>
                  </a:lnTo>
                  <a:lnTo>
                    <a:pt x="272" y="172"/>
                  </a:lnTo>
                  <a:lnTo>
                    <a:pt x="269" y="168"/>
                  </a:lnTo>
                  <a:lnTo>
                    <a:pt x="266" y="163"/>
                  </a:lnTo>
                  <a:lnTo>
                    <a:pt x="263" y="162"/>
                  </a:lnTo>
                  <a:lnTo>
                    <a:pt x="260" y="160"/>
                  </a:lnTo>
                  <a:lnTo>
                    <a:pt x="256" y="162"/>
                  </a:lnTo>
                  <a:lnTo>
                    <a:pt x="253" y="163"/>
                  </a:lnTo>
                  <a:lnTo>
                    <a:pt x="252" y="170"/>
                  </a:lnTo>
                  <a:lnTo>
                    <a:pt x="250" y="179"/>
                  </a:lnTo>
                  <a:lnTo>
                    <a:pt x="249" y="188"/>
                  </a:lnTo>
                  <a:lnTo>
                    <a:pt x="249" y="193"/>
                  </a:lnTo>
                  <a:lnTo>
                    <a:pt x="246" y="196"/>
                  </a:lnTo>
                  <a:lnTo>
                    <a:pt x="242" y="199"/>
                  </a:lnTo>
                  <a:lnTo>
                    <a:pt x="242" y="202"/>
                  </a:lnTo>
                  <a:lnTo>
                    <a:pt x="237" y="205"/>
                  </a:lnTo>
                  <a:lnTo>
                    <a:pt x="234" y="206"/>
                  </a:lnTo>
                  <a:lnTo>
                    <a:pt x="226" y="213"/>
                  </a:lnTo>
                  <a:lnTo>
                    <a:pt x="223" y="216"/>
                  </a:lnTo>
                  <a:lnTo>
                    <a:pt x="220" y="219"/>
                  </a:lnTo>
                  <a:lnTo>
                    <a:pt x="220" y="221"/>
                  </a:lnTo>
                  <a:lnTo>
                    <a:pt x="222" y="223"/>
                  </a:lnTo>
                  <a:lnTo>
                    <a:pt x="224" y="225"/>
                  </a:lnTo>
                  <a:lnTo>
                    <a:pt x="224" y="229"/>
                  </a:lnTo>
                  <a:lnTo>
                    <a:pt x="223" y="233"/>
                  </a:lnTo>
                  <a:lnTo>
                    <a:pt x="219" y="232"/>
                  </a:lnTo>
                  <a:lnTo>
                    <a:pt x="216" y="231"/>
                  </a:lnTo>
                  <a:lnTo>
                    <a:pt x="212" y="231"/>
                  </a:lnTo>
                  <a:lnTo>
                    <a:pt x="209" y="235"/>
                  </a:lnTo>
                  <a:lnTo>
                    <a:pt x="206" y="233"/>
                  </a:lnTo>
                  <a:lnTo>
                    <a:pt x="200" y="233"/>
                  </a:lnTo>
                  <a:lnTo>
                    <a:pt x="197" y="236"/>
                  </a:lnTo>
                  <a:lnTo>
                    <a:pt x="196" y="238"/>
                  </a:lnTo>
                  <a:lnTo>
                    <a:pt x="193" y="241"/>
                  </a:lnTo>
                  <a:lnTo>
                    <a:pt x="189" y="246"/>
                  </a:lnTo>
                  <a:lnTo>
                    <a:pt x="187" y="252"/>
                  </a:lnTo>
                  <a:lnTo>
                    <a:pt x="186" y="256"/>
                  </a:lnTo>
                  <a:lnTo>
                    <a:pt x="179" y="271"/>
                  </a:lnTo>
                  <a:lnTo>
                    <a:pt x="177" y="271"/>
                  </a:lnTo>
                  <a:lnTo>
                    <a:pt x="174" y="276"/>
                  </a:lnTo>
                  <a:lnTo>
                    <a:pt x="171" y="279"/>
                  </a:lnTo>
                  <a:lnTo>
                    <a:pt x="171" y="285"/>
                  </a:lnTo>
                  <a:lnTo>
                    <a:pt x="171" y="289"/>
                  </a:lnTo>
                  <a:lnTo>
                    <a:pt x="170" y="294"/>
                  </a:lnTo>
                  <a:lnTo>
                    <a:pt x="170" y="299"/>
                  </a:lnTo>
                  <a:lnTo>
                    <a:pt x="173" y="302"/>
                  </a:lnTo>
                  <a:lnTo>
                    <a:pt x="176" y="306"/>
                  </a:lnTo>
                  <a:lnTo>
                    <a:pt x="177" y="309"/>
                  </a:lnTo>
                  <a:lnTo>
                    <a:pt x="179" y="312"/>
                  </a:lnTo>
                  <a:lnTo>
                    <a:pt x="180" y="315"/>
                  </a:lnTo>
                  <a:lnTo>
                    <a:pt x="180" y="321"/>
                  </a:lnTo>
                  <a:lnTo>
                    <a:pt x="183" y="325"/>
                  </a:lnTo>
                  <a:lnTo>
                    <a:pt x="186" y="328"/>
                  </a:lnTo>
                  <a:lnTo>
                    <a:pt x="189" y="329"/>
                  </a:lnTo>
                  <a:lnTo>
                    <a:pt x="191" y="331"/>
                  </a:lnTo>
                  <a:lnTo>
                    <a:pt x="196" y="334"/>
                  </a:lnTo>
                  <a:lnTo>
                    <a:pt x="199" y="337"/>
                  </a:lnTo>
                  <a:lnTo>
                    <a:pt x="200" y="341"/>
                  </a:lnTo>
                  <a:lnTo>
                    <a:pt x="200" y="345"/>
                  </a:lnTo>
                  <a:lnTo>
                    <a:pt x="199" y="348"/>
                  </a:lnTo>
                  <a:lnTo>
                    <a:pt x="196" y="352"/>
                  </a:lnTo>
                  <a:lnTo>
                    <a:pt x="193" y="355"/>
                  </a:lnTo>
                  <a:lnTo>
                    <a:pt x="191" y="359"/>
                  </a:lnTo>
                  <a:lnTo>
                    <a:pt x="187" y="364"/>
                  </a:lnTo>
                  <a:lnTo>
                    <a:pt x="184" y="367"/>
                  </a:lnTo>
                  <a:lnTo>
                    <a:pt x="179" y="371"/>
                  </a:lnTo>
                  <a:lnTo>
                    <a:pt x="176" y="374"/>
                  </a:lnTo>
                  <a:lnTo>
                    <a:pt x="171" y="375"/>
                  </a:lnTo>
                  <a:lnTo>
                    <a:pt x="169" y="378"/>
                  </a:lnTo>
                  <a:lnTo>
                    <a:pt x="164" y="380"/>
                  </a:lnTo>
                  <a:lnTo>
                    <a:pt x="163" y="380"/>
                  </a:lnTo>
                  <a:lnTo>
                    <a:pt x="159" y="381"/>
                  </a:lnTo>
                  <a:lnTo>
                    <a:pt x="154" y="381"/>
                  </a:lnTo>
                  <a:lnTo>
                    <a:pt x="150" y="382"/>
                  </a:lnTo>
                  <a:lnTo>
                    <a:pt x="147" y="385"/>
                  </a:lnTo>
                  <a:lnTo>
                    <a:pt x="146" y="388"/>
                  </a:lnTo>
                  <a:lnTo>
                    <a:pt x="144" y="390"/>
                  </a:lnTo>
                  <a:lnTo>
                    <a:pt x="138" y="388"/>
                  </a:lnTo>
                  <a:lnTo>
                    <a:pt x="136" y="388"/>
                  </a:lnTo>
                  <a:lnTo>
                    <a:pt x="134" y="391"/>
                  </a:lnTo>
                  <a:lnTo>
                    <a:pt x="138" y="394"/>
                  </a:lnTo>
                  <a:lnTo>
                    <a:pt x="144" y="395"/>
                  </a:lnTo>
                  <a:lnTo>
                    <a:pt x="147" y="398"/>
                  </a:lnTo>
                  <a:lnTo>
                    <a:pt x="147" y="402"/>
                  </a:lnTo>
                  <a:lnTo>
                    <a:pt x="144" y="407"/>
                  </a:lnTo>
                  <a:lnTo>
                    <a:pt x="143" y="410"/>
                  </a:lnTo>
                  <a:lnTo>
                    <a:pt x="138" y="415"/>
                  </a:lnTo>
                  <a:lnTo>
                    <a:pt x="133" y="427"/>
                  </a:lnTo>
                  <a:lnTo>
                    <a:pt x="126" y="438"/>
                  </a:lnTo>
                  <a:lnTo>
                    <a:pt x="120" y="441"/>
                  </a:lnTo>
                  <a:lnTo>
                    <a:pt x="113" y="444"/>
                  </a:lnTo>
                  <a:lnTo>
                    <a:pt x="107" y="444"/>
                  </a:lnTo>
                  <a:lnTo>
                    <a:pt x="100" y="445"/>
                  </a:lnTo>
                  <a:lnTo>
                    <a:pt x="97" y="453"/>
                  </a:lnTo>
                  <a:lnTo>
                    <a:pt x="93" y="453"/>
                  </a:lnTo>
                  <a:lnTo>
                    <a:pt x="88" y="454"/>
                  </a:lnTo>
                  <a:lnTo>
                    <a:pt x="83" y="455"/>
                  </a:lnTo>
                  <a:lnTo>
                    <a:pt x="77" y="461"/>
                  </a:lnTo>
                  <a:lnTo>
                    <a:pt x="71" y="465"/>
                  </a:lnTo>
                  <a:lnTo>
                    <a:pt x="67" y="471"/>
                  </a:lnTo>
                  <a:lnTo>
                    <a:pt x="65" y="473"/>
                  </a:lnTo>
                  <a:lnTo>
                    <a:pt x="63" y="474"/>
                  </a:lnTo>
                  <a:lnTo>
                    <a:pt x="58" y="477"/>
                  </a:lnTo>
                  <a:lnTo>
                    <a:pt x="53" y="484"/>
                  </a:lnTo>
                  <a:lnTo>
                    <a:pt x="50" y="484"/>
                  </a:lnTo>
                  <a:lnTo>
                    <a:pt x="47" y="487"/>
                  </a:lnTo>
                  <a:lnTo>
                    <a:pt x="45" y="490"/>
                  </a:lnTo>
                  <a:lnTo>
                    <a:pt x="43" y="496"/>
                  </a:lnTo>
                  <a:lnTo>
                    <a:pt x="40" y="497"/>
                  </a:lnTo>
                  <a:lnTo>
                    <a:pt x="37" y="497"/>
                  </a:lnTo>
                  <a:lnTo>
                    <a:pt x="34" y="498"/>
                  </a:lnTo>
                  <a:lnTo>
                    <a:pt x="33" y="500"/>
                  </a:lnTo>
                  <a:lnTo>
                    <a:pt x="33" y="501"/>
                  </a:lnTo>
                  <a:lnTo>
                    <a:pt x="33" y="507"/>
                  </a:lnTo>
                  <a:lnTo>
                    <a:pt x="33" y="511"/>
                  </a:lnTo>
                  <a:lnTo>
                    <a:pt x="31" y="517"/>
                  </a:lnTo>
                  <a:lnTo>
                    <a:pt x="31" y="517"/>
                  </a:lnTo>
                  <a:lnTo>
                    <a:pt x="25" y="517"/>
                  </a:lnTo>
                  <a:lnTo>
                    <a:pt x="21" y="520"/>
                  </a:lnTo>
                  <a:lnTo>
                    <a:pt x="21" y="523"/>
                  </a:lnTo>
                  <a:lnTo>
                    <a:pt x="22" y="526"/>
                  </a:lnTo>
                  <a:lnTo>
                    <a:pt x="27" y="526"/>
                  </a:lnTo>
                  <a:lnTo>
                    <a:pt x="30" y="527"/>
                  </a:lnTo>
                  <a:lnTo>
                    <a:pt x="30" y="527"/>
                  </a:lnTo>
                  <a:lnTo>
                    <a:pt x="31" y="527"/>
                  </a:lnTo>
                  <a:lnTo>
                    <a:pt x="33" y="528"/>
                  </a:lnTo>
                  <a:lnTo>
                    <a:pt x="33" y="530"/>
                  </a:lnTo>
                  <a:lnTo>
                    <a:pt x="33" y="530"/>
                  </a:lnTo>
                  <a:lnTo>
                    <a:pt x="31" y="531"/>
                  </a:lnTo>
                  <a:lnTo>
                    <a:pt x="30" y="534"/>
                  </a:lnTo>
                  <a:lnTo>
                    <a:pt x="27" y="538"/>
                  </a:lnTo>
                  <a:lnTo>
                    <a:pt x="27" y="538"/>
                  </a:lnTo>
                  <a:lnTo>
                    <a:pt x="27" y="540"/>
                  </a:lnTo>
                  <a:lnTo>
                    <a:pt x="27" y="543"/>
                  </a:lnTo>
                  <a:lnTo>
                    <a:pt x="28" y="549"/>
                  </a:lnTo>
                  <a:lnTo>
                    <a:pt x="28" y="549"/>
                  </a:lnTo>
                  <a:lnTo>
                    <a:pt x="28" y="550"/>
                  </a:lnTo>
                  <a:lnTo>
                    <a:pt x="27" y="550"/>
                  </a:lnTo>
                  <a:lnTo>
                    <a:pt x="21" y="549"/>
                  </a:lnTo>
                  <a:lnTo>
                    <a:pt x="21" y="549"/>
                  </a:lnTo>
                  <a:lnTo>
                    <a:pt x="20" y="546"/>
                  </a:lnTo>
                  <a:lnTo>
                    <a:pt x="20" y="541"/>
                  </a:lnTo>
                  <a:lnTo>
                    <a:pt x="20" y="536"/>
                  </a:lnTo>
                  <a:lnTo>
                    <a:pt x="18" y="531"/>
                  </a:lnTo>
                  <a:lnTo>
                    <a:pt x="18" y="531"/>
                  </a:lnTo>
                  <a:lnTo>
                    <a:pt x="17" y="530"/>
                  </a:lnTo>
                  <a:lnTo>
                    <a:pt x="17" y="530"/>
                  </a:lnTo>
                  <a:lnTo>
                    <a:pt x="14" y="531"/>
                  </a:lnTo>
                  <a:lnTo>
                    <a:pt x="12" y="540"/>
                  </a:lnTo>
                  <a:lnTo>
                    <a:pt x="12" y="540"/>
                  </a:lnTo>
                  <a:lnTo>
                    <a:pt x="14" y="543"/>
                  </a:lnTo>
                  <a:lnTo>
                    <a:pt x="14" y="543"/>
                  </a:lnTo>
                  <a:lnTo>
                    <a:pt x="15" y="546"/>
                  </a:lnTo>
                  <a:lnTo>
                    <a:pt x="12" y="547"/>
                  </a:lnTo>
                  <a:lnTo>
                    <a:pt x="12" y="547"/>
                  </a:lnTo>
                  <a:lnTo>
                    <a:pt x="8" y="551"/>
                  </a:lnTo>
                  <a:lnTo>
                    <a:pt x="8" y="551"/>
                  </a:lnTo>
                  <a:lnTo>
                    <a:pt x="7" y="554"/>
                  </a:lnTo>
                  <a:lnTo>
                    <a:pt x="7" y="557"/>
                  </a:lnTo>
                  <a:lnTo>
                    <a:pt x="8" y="561"/>
                  </a:lnTo>
                  <a:lnTo>
                    <a:pt x="8" y="561"/>
                  </a:lnTo>
                  <a:lnTo>
                    <a:pt x="12" y="569"/>
                  </a:lnTo>
                  <a:lnTo>
                    <a:pt x="12" y="570"/>
                  </a:lnTo>
                  <a:lnTo>
                    <a:pt x="10" y="573"/>
                  </a:lnTo>
                  <a:lnTo>
                    <a:pt x="4" y="579"/>
                  </a:lnTo>
                  <a:lnTo>
                    <a:pt x="1" y="581"/>
                  </a:lnTo>
                  <a:lnTo>
                    <a:pt x="4" y="586"/>
                  </a:lnTo>
                  <a:lnTo>
                    <a:pt x="5" y="590"/>
                  </a:lnTo>
                  <a:lnTo>
                    <a:pt x="5" y="594"/>
                  </a:lnTo>
                  <a:lnTo>
                    <a:pt x="4" y="597"/>
                  </a:lnTo>
                  <a:lnTo>
                    <a:pt x="4" y="600"/>
                  </a:lnTo>
                  <a:lnTo>
                    <a:pt x="2" y="604"/>
                  </a:lnTo>
                  <a:lnTo>
                    <a:pt x="2" y="606"/>
                  </a:lnTo>
                  <a:lnTo>
                    <a:pt x="0" y="609"/>
                  </a:lnTo>
                  <a:lnTo>
                    <a:pt x="5" y="613"/>
                  </a:lnTo>
                  <a:lnTo>
                    <a:pt x="7" y="614"/>
                  </a:lnTo>
                  <a:lnTo>
                    <a:pt x="7" y="614"/>
                  </a:lnTo>
                  <a:lnTo>
                    <a:pt x="8" y="619"/>
                  </a:lnTo>
                  <a:lnTo>
                    <a:pt x="10" y="626"/>
                  </a:lnTo>
                  <a:lnTo>
                    <a:pt x="10" y="626"/>
                  </a:lnTo>
                  <a:lnTo>
                    <a:pt x="11" y="632"/>
                  </a:lnTo>
                  <a:lnTo>
                    <a:pt x="12" y="636"/>
                  </a:lnTo>
                  <a:lnTo>
                    <a:pt x="12" y="636"/>
                  </a:lnTo>
                  <a:lnTo>
                    <a:pt x="15" y="642"/>
                  </a:lnTo>
                  <a:lnTo>
                    <a:pt x="15" y="642"/>
                  </a:lnTo>
                  <a:lnTo>
                    <a:pt x="17" y="642"/>
                  </a:lnTo>
                  <a:lnTo>
                    <a:pt x="20" y="639"/>
                  </a:lnTo>
                  <a:lnTo>
                    <a:pt x="25" y="642"/>
                  </a:lnTo>
                  <a:lnTo>
                    <a:pt x="28" y="650"/>
                  </a:lnTo>
                  <a:lnTo>
                    <a:pt x="33" y="656"/>
                  </a:lnTo>
                  <a:lnTo>
                    <a:pt x="43" y="660"/>
                  </a:lnTo>
                  <a:lnTo>
                    <a:pt x="45" y="662"/>
                  </a:lnTo>
                  <a:lnTo>
                    <a:pt x="53" y="663"/>
                  </a:lnTo>
                  <a:lnTo>
                    <a:pt x="53" y="669"/>
                  </a:lnTo>
                  <a:lnTo>
                    <a:pt x="57" y="675"/>
                  </a:lnTo>
                  <a:lnTo>
                    <a:pt x="54" y="685"/>
                  </a:lnTo>
                  <a:lnTo>
                    <a:pt x="48" y="687"/>
                  </a:lnTo>
                  <a:lnTo>
                    <a:pt x="50" y="693"/>
                  </a:lnTo>
                  <a:lnTo>
                    <a:pt x="57" y="697"/>
                  </a:lnTo>
                  <a:lnTo>
                    <a:pt x="63" y="699"/>
                  </a:lnTo>
                  <a:lnTo>
                    <a:pt x="67" y="702"/>
                  </a:lnTo>
                  <a:lnTo>
                    <a:pt x="73" y="703"/>
                  </a:lnTo>
                  <a:lnTo>
                    <a:pt x="75" y="706"/>
                  </a:lnTo>
                  <a:lnTo>
                    <a:pt x="77" y="709"/>
                  </a:lnTo>
                  <a:lnTo>
                    <a:pt x="84" y="709"/>
                  </a:lnTo>
                  <a:lnTo>
                    <a:pt x="87" y="713"/>
                  </a:lnTo>
                  <a:lnTo>
                    <a:pt x="90" y="710"/>
                  </a:lnTo>
                  <a:lnTo>
                    <a:pt x="93" y="713"/>
                  </a:lnTo>
                  <a:lnTo>
                    <a:pt x="94" y="718"/>
                  </a:lnTo>
                  <a:lnTo>
                    <a:pt x="96" y="725"/>
                  </a:lnTo>
                  <a:lnTo>
                    <a:pt x="96" y="729"/>
                  </a:lnTo>
                  <a:lnTo>
                    <a:pt x="97" y="730"/>
                  </a:lnTo>
                  <a:lnTo>
                    <a:pt x="104" y="728"/>
                  </a:lnTo>
                  <a:lnTo>
                    <a:pt x="107" y="729"/>
                  </a:lnTo>
                  <a:lnTo>
                    <a:pt x="106" y="739"/>
                  </a:lnTo>
                  <a:lnTo>
                    <a:pt x="104" y="743"/>
                  </a:lnTo>
                  <a:lnTo>
                    <a:pt x="103" y="748"/>
                  </a:lnTo>
                  <a:lnTo>
                    <a:pt x="106" y="755"/>
                  </a:lnTo>
                  <a:lnTo>
                    <a:pt x="111" y="758"/>
                  </a:lnTo>
                  <a:lnTo>
                    <a:pt x="108" y="762"/>
                  </a:lnTo>
                  <a:lnTo>
                    <a:pt x="110" y="766"/>
                  </a:lnTo>
                  <a:lnTo>
                    <a:pt x="113" y="769"/>
                  </a:lnTo>
                  <a:lnTo>
                    <a:pt x="118" y="769"/>
                  </a:lnTo>
                  <a:lnTo>
                    <a:pt x="121" y="772"/>
                  </a:lnTo>
                  <a:lnTo>
                    <a:pt x="120" y="779"/>
                  </a:lnTo>
                  <a:lnTo>
                    <a:pt x="123" y="781"/>
                  </a:lnTo>
                  <a:lnTo>
                    <a:pt x="126" y="779"/>
                  </a:lnTo>
                  <a:lnTo>
                    <a:pt x="130" y="775"/>
                  </a:lnTo>
                  <a:lnTo>
                    <a:pt x="131" y="773"/>
                  </a:lnTo>
                  <a:lnTo>
                    <a:pt x="136" y="772"/>
                  </a:lnTo>
                  <a:lnTo>
                    <a:pt x="138" y="772"/>
                  </a:lnTo>
                  <a:lnTo>
                    <a:pt x="144" y="771"/>
                  </a:lnTo>
                  <a:lnTo>
                    <a:pt x="149" y="771"/>
                  </a:lnTo>
                  <a:lnTo>
                    <a:pt x="153" y="766"/>
                  </a:lnTo>
                  <a:lnTo>
                    <a:pt x="159" y="766"/>
                  </a:lnTo>
                  <a:lnTo>
                    <a:pt x="161" y="768"/>
                  </a:lnTo>
                  <a:lnTo>
                    <a:pt x="166" y="772"/>
                  </a:lnTo>
                  <a:lnTo>
                    <a:pt x="167" y="773"/>
                  </a:lnTo>
                  <a:lnTo>
                    <a:pt x="164" y="779"/>
                  </a:lnTo>
                  <a:lnTo>
                    <a:pt x="160" y="783"/>
                  </a:lnTo>
                  <a:lnTo>
                    <a:pt x="161" y="786"/>
                  </a:lnTo>
                  <a:lnTo>
                    <a:pt x="167" y="785"/>
                  </a:lnTo>
                  <a:lnTo>
                    <a:pt x="170" y="783"/>
                  </a:lnTo>
                  <a:lnTo>
                    <a:pt x="171" y="783"/>
                  </a:lnTo>
                  <a:lnTo>
                    <a:pt x="176" y="783"/>
                  </a:lnTo>
                  <a:lnTo>
                    <a:pt x="181" y="789"/>
                  </a:lnTo>
                  <a:lnTo>
                    <a:pt x="180" y="795"/>
                  </a:lnTo>
                  <a:lnTo>
                    <a:pt x="173" y="796"/>
                  </a:lnTo>
                  <a:lnTo>
                    <a:pt x="170" y="801"/>
                  </a:lnTo>
                  <a:lnTo>
                    <a:pt x="173" y="802"/>
                  </a:lnTo>
                  <a:lnTo>
                    <a:pt x="177" y="801"/>
                  </a:lnTo>
                  <a:lnTo>
                    <a:pt x="187" y="802"/>
                  </a:lnTo>
                  <a:lnTo>
                    <a:pt x="187" y="806"/>
                  </a:lnTo>
                  <a:lnTo>
                    <a:pt x="184" y="813"/>
                  </a:lnTo>
                  <a:lnTo>
                    <a:pt x="179" y="819"/>
                  </a:lnTo>
                  <a:lnTo>
                    <a:pt x="179" y="822"/>
                  </a:lnTo>
                  <a:lnTo>
                    <a:pt x="187" y="832"/>
                  </a:lnTo>
                  <a:lnTo>
                    <a:pt x="187" y="835"/>
                  </a:lnTo>
                  <a:lnTo>
                    <a:pt x="191" y="835"/>
                  </a:lnTo>
                  <a:lnTo>
                    <a:pt x="196" y="838"/>
                  </a:lnTo>
                  <a:lnTo>
                    <a:pt x="196" y="838"/>
                  </a:lnTo>
                  <a:lnTo>
                    <a:pt x="194" y="839"/>
                  </a:lnTo>
                  <a:lnTo>
                    <a:pt x="193" y="844"/>
                  </a:lnTo>
                  <a:lnTo>
                    <a:pt x="196" y="846"/>
                  </a:lnTo>
                  <a:lnTo>
                    <a:pt x="199" y="846"/>
                  </a:lnTo>
                  <a:lnTo>
                    <a:pt x="204" y="842"/>
                  </a:lnTo>
                  <a:lnTo>
                    <a:pt x="209" y="838"/>
                  </a:lnTo>
                  <a:lnTo>
                    <a:pt x="213" y="836"/>
                  </a:lnTo>
                  <a:lnTo>
                    <a:pt x="217" y="838"/>
                  </a:lnTo>
                  <a:lnTo>
                    <a:pt x="219" y="839"/>
                  </a:lnTo>
                  <a:lnTo>
                    <a:pt x="222" y="844"/>
                  </a:lnTo>
                  <a:lnTo>
                    <a:pt x="223" y="849"/>
                  </a:lnTo>
                  <a:lnTo>
                    <a:pt x="223" y="855"/>
                  </a:lnTo>
                  <a:lnTo>
                    <a:pt x="222" y="861"/>
                  </a:lnTo>
                  <a:lnTo>
                    <a:pt x="219" y="868"/>
                  </a:lnTo>
                  <a:lnTo>
                    <a:pt x="219" y="874"/>
                  </a:lnTo>
                  <a:lnTo>
                    <a:pt x="222" y="874"/>
                  </a:lnTo>
                  <a:lnTo>
                    <a:pt x="226" y="875"/>
                  </a:lnTo>
                  <a:lnTo>
                    <a:pt x="232" y="875"/>
                  </a:lnTo>
                  <a:lnTo>
                    <a:pt x="234" y="874"/>
                  </a:lnTo>
                  <a:lnTo>
                    <a:pt x="236" y="876"/>
                  </a:lnTo>
                  <a:lnTo>
                    <a:pt x="237" y="882"/>
                  </a:lnTo>
                  <a:lnTo>
                    <a:pt x="239" y="888"/>
                  </a:lnTo>
                  <a:lnTo>
                    <a:pt x="242" y="891"/>
                  </a:lnTo>
                  <a:lnTo>
                    <a:pt x="243" y="895"/>
                  </a:lnTo>
                  <a:lnTo>
                    <a:pt x="249" y="897"/>
                  </a:lnTo>
                  <a:lnTo>
                    <a:pt x="253" y="895"/>
                  </a:lnTo>
                  <a:lnTo>
                    <a:pt x="259" y="894"/>
                  </a:lnTo>
                  <a:lnTo>
                    <a:pt x="263" y="897"/>
                  </a:lnTo>
                  <a:lnTo>
                    <a:pt x="270" y="899"/>
                  </a:lnTo>
                  <a:lnTo>
                    <a:pt x="275" y="902"/>
                  </a:lnTo>
                  <a:lnTo>
                    <a:pt x="277" y="901"/>
                  </a:lnTo>
                  <a:lnTo>
                    <a:pt x="283" y="898"/>
                  </a:lnTo>
                  <a:lnTo>
                    <a:pt x="287" y="892"/>
                  </a:lnTo>
                  <a:lnTo>
                    <a:pt x="292" y="895"/>
                  </a:lnTo>
                  <a:lnTo>
                    <a:pt x="296" y="898"/>
                  </a:lnTo>
                  <a:lnTo>
                    <a:pt x="305" y="902"/>
                  </a:lnTo>
                  <a:lnTo>
                    <a:pt x="310" y="905"/>
                  </a:lnTo>
                  <a:lnTo>
                    <a:pt x="316" y="908"/>
                  </a:lnTo>
                  <a:lnTo>
                    <a:pt x="312" y="914"/>
                  </a:lnTo>
                  <a:lnTo>
                    <a:pt x="307" y="919"/>
                  </a:lnTo>
                  <a:lnTo>
                    <a:pt x="306" y="919"/>
                  </a:lnTo>
                  <a:lnTo>
                    <a:pt x="312" y="925"/>
                  </a:lnTo>
                  <a:lnTo>
                    <a:pt x="313" y="932"/>
                  </a:lnTo>
                  <a:lnTo>
                    <a:pt x="318" y="937"/>
                  </a:lnTo>
                  <a:lnTo>
                    <a:pt x="322" y="940"/>
                  </a:lnTo>
                  <a:lnTo>
                    <a:pt x="326" y="945"/>
                  </a:lnTo>
                  <a:lnTo>
                    <a:pt x="335" y="958"/>
                  </a:lnTo>
                  <a:lnTo>
                    <a:pt x="339" y="965"/>
                  </a:lnTo>
                  <a:lnTo>
                    <a:pt x="345" y="975"/>
                  </a:lnTo>
                  <a:lnTo>
                    <a:pt x="348" y="981"/>
                  </a:lnTo>
                  <a:lnTo>
                    <a:pt x="350" y="984"/>
                  </a:lnTo>
                  <a:lnTo>
                    <a:pt x="352" y="984"/>
                  </a:lnTo>
                  <a:lnTo>
                    <a:pt x="358" y="982"/>
                  </a:lnTo>
                  <a:lnTo>
                    <a:pt x="365" y="978"/>
                  </a:lnTo>
                  <a:lnTo>
                    <a:pt x="370" y="974"/>
                  </a:lnTo>
                  <a:lnTo>
                    <a:pt x="378" y="970"/>
                  </a:lnTo>
                  <a:lnTo>
                    <a:pt x="388" y="965"/>
                  </a:lnTo>
                  <a:lnTo>
                    <a:pt x="395" y="960"/>
                  </a:lnTo>
                  <a:lnTo>
                    <a:pt x="408" y="982"/>
                  </a:lnTo>
                  <a:lnTo>
                    <a:pt x="415" y="994"/>
                  </a:lnTo>
                  <a:lnTo>
                    <a:pt x="406" y="998"/>
                  </a:lnTo>
                  <a:lnTo>
                    <a:pt x="398" y="1004"/>
                  </a:lnTo>
                  <a:lnTo>
                    <a:pt x="395" y="1007"/>
                  </a:lnTo>
                  <a:lnTo>
                    <a:pt x="396" y="1010"/>
                  </a:lnTo>
                  <a:lnTo>
                    <a:pt x="405" y="1027"/>
                  </a:lnTo>
                  <a:lnTo>
                    <a:pt x="415" y="1037"/>
                  </a:lnTo>
                  <a:lnTo>
                    <a:pt x="419" y="1044"/>
                  </a:lnTo>
                  <a:lnTo>
                    <a:pt x="419" y="1044"/>
                  </a:lnTo>
                  <a:lnTo>
                    <a:pt x="423" y="1041"/>
                  </a:lnTo>
                  <a:lnTo>
                    <a:pt x="426" y="1041"/>
                  </a:lnTo>
                  <a:lnTo>
                    <a:pt x="428" y="1044"/>
                  </a:lnTo>
                  <a:lnTo>
                    <a:pt x="428" y="1044"/>
                  </a:lnTo>
                  <a:lnTo>
                    <a:pt x="429" y="1047"/>
                  </a:lnTo>
                  <a:lnTo>
                    <a:pt x="428" y="1051"/>
                  </a:lnTo>
                  <a:lnTo>
                    <a:pt x="426" y="1056"/>
                  </a:lnTo>
                  <a:lnTo>
                    <a:pt x="452" y="1074"/>
                  </a:lnTo>
                  <a:lnTo>
                    <a:pt x="452" y="1074"/>
                  </a:lnTo>
                  <a:lnTo>
                    <a:pt x="446" y="1074"/>
                  </a:lnTo>
                  <a:lnTo>
                    <a:pt x="442" y="1074"/>
                  </a:lnTo>
                  <a:lnTo>
                    <a:pt x="441" y="1076"/>
                  </a:lnTo>
                  <a:lnTo>
                    <a:pt x="441" y="1077"/>
                  </a:lnTo>
                  <a:lnTo>
                    <a:pt x="441" y="1077"/>
                  </a:lnTo>
                  <a:lnTo>
                    <a:pt x="441" y="1083"/>
                  </a:lnTo>
                  <a:lnTo>
                    <a:pt x="441" y="1087"/>
                  </a:lnTo>
                  <a:lnTo>
                    <a:pt x="441" y="1087"/>
                  </a:lnTo>
                  <a:lnTo>
                    <a:pt x="441" y="1091"/>
                  </a:lnTo>
                  <a:lnTo>
                    <a:pt x="442" y="1096"/>
                  </a:lnTo>
                  <a:lnTo>
                    <a:pt x="444" y="1098"/>
                  </a:lnTo>
                  <a:lnTo>
                    <a:pt x="446" y="1100"/>
                  </a:lnTo>
                  <a:lnTo>
                    <a:pt x="446" y="1101"/>
                  </a:lnTo>
                  <a:lnTo>
                    <a:pt x="449" y="1100"/>
                  </a:lnTo>
                  <a:lnTo>
                    <a:pt x="459" y="1096"/>
                  </a:lnTo>
                  <a:lnTo>
                    <a:pt x="466" y="1094"/>
                  </a:lnTo>
                  <a:lnTo>
                    <a:pt x="472" y="1090"/>
                  </a:lnTo>
                  <a:lnTo>
                    <a:pt x="478" y="1087"/>
                  </a:lnTo>
                  <a:lnTo>
                    <a:pt x="482" y="1091"/>
                  </a:lnTo>
                  <a:lnTo>
                    <a:pt x="488" y="1094"/>
                  </a:lnTo>
                  <a:lnTo>
                    <a:pt x="504" y="1110"/>
                  </a:lnTo>
                  <a:lnTo>
                    <a:pt x="502" y="1116"/>
                  </a:lnTo>
                  <a:lnTo>
                    <a:pt x="507" y="1121"/>
                  </a:lnTo>
                  <a:lnTo>
                    <a:pt x="515" y="1133"/>
                  </a:lnTo>
                  <a:lnTo>
                    <a:pt x="501" y="1147"/>
                  </a:lnTo>
                  <a:lnTo>
                    <a:pt x="521" y="1174"/>
                  </a:lnTo>
                  <a:lnTo>
                    <a:pt x="544" y="1161"/>
                  </a:lnTo>
                  <a:lnTo>
                    <a:pt x="581" y="1169"/>
                  </a:lnTo>
                  <a:lnTo>
                    <a:pt x="581" y="1169"/>
                  </a:lnTo>
                  <a:lnTo>
                    <a:pt x="590" y="1173"/>
                  </a:lnTo>
                  <a:lnTo>
                    <a:pt x="598" y="1179"/>
                  </a:lnTo>
                  <a:lnTo>
                    <a:pt x="605" y="1187"/>
                  </a:lnTo>
                  <a:lnTo>
                    <a:pt x="667" y="1149"/>
                  </a:lnTo>
                  <a:lnTo>
                    <a:pt x="645" y="1117"/>
                  </a:lnTo>
                  <a:lnTo>
                    <a:pt x="706" y="1074"/>
                  </a:lnTo>
                  <a:lnTo>
                    <a:pt x="711" y="1076"/>
                  </a:lnTo>
                  <a:lnTo>
                    <a:pt x="721" y="1077"/>
                  </a:lnTo>
                  <a:lnTo>
                    <a:pt x="733" y="1070"/>
                  </a:lnTo>
                  <a:lnTo>
                    <a:pt x="749" y="1060"/>
                  </a:lnTo>
                  <a:lnTo>
                    <a:pt x="764" y="1048"/>
                  </a:lnTo>
                  <a:lnTo>
                    <a:pt x="777" y="1040"/>
                  </a:lnTo>
                  <a:lnTo>
                    <a:pt x="807" y="1020"/>
                  </a:lnTo>
                  <a:lnTo>
                    <a:pt x="799" y="1007"/>
                  </a:lnTo>
                  <a:lnTo>
                    <a:pt x="783" y="987"/>
                  </a:lnTo>
                  <a:lnTo>
                    <a:pt x="766" y="964"/>
                  </a:lnTo>
                  <a:lnTo>
                    <a:pt x="743" y="977"/>
                  </a:lnTo>
                  <a:lnTo>
                    <a:pt x="730" y="958"/>
                  </a:lnTo>
                  <a:lnTo>
                    <a:pt x="696" y="980"/>
                  </a:lnTo>
                  <a:lnTo>
                    <a:pt x="698" y="991"/>
                  </a:lnTo>
                  <a:lnTo>
                    <a:pt x="681" y="1003"/>
                  </a:lnTo>
                  <a:lnTo>
                    <a:pt x="648" y="961"/>
                  </a:lnTo>
                  <a:lnTo>
                    <a:pt x="630" y="978"/>
                  </a:lnTo>
                  <a:lnTo>
                    <a:pt x="617" y="962"/>
                  </a:lnTo>
                  <a:lnTo>
                    <a:pt x="637" y="947"/>
                  </a:lnTo>
                  <a:lnTo>
                    <a:pt x="630" y="940"/>
                  </a:lnTo>
                  <a:lnTo>
                    <a:pt x="666" y="908"/>
                  </a:lnTo>
                  <a:lnTo>
                    <a:pt x="681" y="872"/>
                  </a:lnTo>
                  <a:lnTo>
                    <a:pt x="711" y="879"/>
                  </a:lnTo>
                  <a:lnTo>
                    <a:pt x="746" y="872"/>
                  </a:lnTo>
                  <a:lnTo>
                    <a:pt x="733" y="848"/>
                  </a:lnTo>
                  <a:lnTo>
                    <a:pt x="730" y="835"/>
                  </a:lnTo>
                  <a:lnTo>
                    <a:pt x="730" y="821"/>
                  </a:lnTo>
                  <a:lnTo>
                    <a:pt x="743" y="795"/>
                  </a:lnTo>
                  <a:lnTo>
                    <a:pt x="749" y="795"/>
                  </a:lnTo>
                  <a:lnTo>
                    <a:pt x="756" y="795"/>
                  </a:lnTo>
                  <a:lnTo>
                    <a:pt x="759" y="792"/>
                  </a:lnTo>
                  <a:lnTo>
                    <a:pt x="764" y="786"/>
                  </a:lnTo>
                  <a:lnTo>
                    <a:pt x="770" y="769"/>
                  </a:lnTo>
                  <a:lnTo>
                    <a:pt x="770" y="759"/>
                  </a:lnTo>
                  <a:lnTo>
                    <a:pt x="770" y="749"/>
                  </a:lnTo>
                  <a:lnTo>
                    <a:pt x="769" y="742"/>
                  </a:lnTo>
                  <a:lnTo>
                    <a:pt x="769" y="732"/>
                  </a:lnTo>
                  <a:lnTo>
                    <a:pt x="769" y="725"/>
                  </a:lnTo>
                  <a:lnTo>
                    <a:pt x="769" y="723"/>
                  </a:lnTo>
                  <a:lnTo>
                    <a:pt x="767" y="719"/>
                  </a:lnTo>
                  <a:lnTo>
                    <a:pt x="766" y="715"/>
                  </a:lnTo>
                  <a:lnTo>
                    <a:pt x="763" y="710"/>
                  </a:lnTo>
                  <a:lnTo>
                    <a:pt x="760" y="706"/>
                  </a:lnTo>
                  <a:lnTo>
                    <a:pt x="759" y="703"/>
                  </a:lnTo>
                  <a:lnTo>
                    <a:pt x="756" y="699"/>
                  </a:lnTo>
                  <a:lnTo>
                    <a:pt x="756" y="699"/>
                  </a:lnTo>
                  <a:lnTo>
                    <a:pt x="751" y="692"/>
                  </a:lnTo>
                  <a:lnTo>
                    <a:pt x="750" y="685"/>
                  </a:lnTo>
                  <a:lnTo>
                    <a:pt x="747" y="669"/>
                  </a:lnTo>
                  <a:lnTo>
                    <a:pt x="749" y="652"/>
                  </a:lnTo>
                  <a:lnTo>
                    <a:pt x="750" y="643"/>
                  </a:lnTo>
                  <a:lnTo>
                    <a:pt x="751" y="637"/>
                  </a:lnTo>
                  <a:lnTo>
                    <a:pt x="783" y="650"/>
                  </a:lnTo>
                  <a:lnTo>
                    <a:pt x="809" y="677"/>
                  </a:lnTo>
                  <a:lnTo>
                    <a:pt x="819" y="679"/>
                  </a:lnTo>
                  <a:lnTo>
                    <a:pt x="903" y="758"/>
                  </a:lnTo>
                  <a:lnTo>
                    <a:pt x="900" y="760"/>
                  </a:lnTo>
                  <a:lnTo>
                    <a:pt x="890" y="773"/>
                  </a:lnTo>
                  <a:lnTo>
                    <a:pt x="905" y="789"/>
                  </a:lnTo>
                  <a:lnTo>
                    <a:pt x="908" y="786"/>
                  </a:lnTo>
                  <a:lnTo>
                    <a:pt x="915" y="781"/>
                  </a:lnTo>
                  <a:lnTo>
                    <a:pt x="916" y="778"/>
                  </a:lnTo>
                  <a:lnTo>
                    <a:pt x="919" y="776"/>
                  </a:lnTo>
                  <a:lnTo>
                    <a:pt x="920" y="776"/>
                  </a:lnTo>
                  <a:lnTo>
                    <a:pt x="942" y="799"/>
                  </a:lnTo>
                  <a:lnTo>
                    <a:pt x="959" y="785"/>
                  </a:lnTo>
                  <a:lnTo>
                    <a:pt x="962" y="789"/>
                  </a:lnTo>
                  <a:lnTo>
                    <a:pt x="983" y="818"/>
                  </a:lnTo>
                  <a:lnTo>
                    <a:pt x="1005" y="803"/>
                  </a:lnTo>
                  <a:lnTo>
                    <a:pt x="1038" y="855"/>
                  </a:lnTo>
                  <a:lnTo>
                    <a:pt x="1042" y="852"/>
                  </a:lnTo>
                  <a:lnTo>
                    <a:pt x="1084" y="825"/>
                  </a:lnTo>
                  <a:lnTo>
                    <a:pt x="1067" y="799"/>
                  </a:lnTo>
                  <a:lnTo>
                    <a:pt x="1089" y="722"/>
                  </a:lnTo>
                  <a:lnTo>
                    <a:pt x="1051" y="702"/>
                  </a:lnTo>
                  <a:lnTo>
                    <a:pt x="1155" y="600"/>
                  </a:lnTo>
                  <a:lnTo>
                    <a:pt x="1155" y="600"/>
                  </a:lnTo>
                  <a:close/>
                  <a:moveTo>
                    <a:pt x="449" y="36"/>
                  </a:moveTo>
                  <a:lnTo>
                    <a:pt x="452" y="37"/>
                  </a:lnTo>
                  <a:lnTo>
                    <a:pt x="455" y="39"/>
                  </a:lnTo>
                  <a:lnTo>
                    <a:pt x="456" y="36"/>
                  </a:lnTo>
                  <a:lnTo>
                    <a:pt x="455" y="33"/>
                  </a:lnTo>
                  <a:lnTo>
                    <a:pt x="454" y="31"/>
                  </a:lnTo>
                  <a:lnTo>
                    <a:pt x="451" y="31"/>
                  </a:lnTo>
                  <a:lnTo>
                    <a:pt x="449" y="31"/>
                  </a:lnTo>
                  <a:lnTo>
                    <a:pt x="449" y="36"/>
                  </a:lnTo>
                  <a:lnTo>
                    <a:pt x="449" y="36"/>
                  </a:lnTo>
                  <a:close/>
                  <a:moveTo>
                    <a:pt x="1836" y="610"/>
                  </a:moveTo>
                  <a:lnTo>
                    <a:pt x="1840" y="610"/>
                  </a:lnTo>
                  <a:lnTo>
                    <a:pt x="1843" y="612"/>
                  </a:lnTo>
                  <a:lnTo>
                    <a:pt x="1846" y="614"/>
                  </a:lnTo>
                  <a:lnTo>
                    <a:pt x="1853" y="620"/>
                  </a:lnTo>
                  <a:lnTo>
                    <a:pt x="1857" y="622"/>
                  </a:lnTo>
                  <a:lnTo>
                    <a:pt x="1861" y="622"/>
                  </a:lnTo>
                  <a:lnTo>
                    <a:pt x="1861" y="624"/>
                  </a:lnTo>
                  <a:lnTo>
                    <a:pt x="1861" y="624"/>
                  </a:lnTo>
                  <a:lnTo>
                    <a:pt x="1860" y="626"/>
                  </a:lnTo>
                  <a:lnTo>
                    <a:pt x="1857" y="626"/>
                  </a:lnTo>
                  <a:lnTo>
                    <a:pt x="1854" y="624"/>
                  </a:lnTo>
                  <a:lnTo>
                    <a:pt x="1850" y="623"/>
                  </a:lnTo>
                  <a:lnTo>
                    <a:pt x="1847" y="620"/>
                  </a:lnTo>
                  <a:lnTo>
                    <a:pt x="1843" y="617"/>
                  </a:lnTo>
                  <a:lnTo>
                    <a:pt x="1841" y="616"/>
                  </a:lnTo>
                  <a:lnTo>
                    <a:pt x="1837" y="614"/>
                  </a:lnTo>
                  <a:lnTo>
                    <a:pt x="1834" y="614"/>
                  </a:lnTo>
                  <a:lnTo>
                    <a:pt x="1828" y="614"/>
                  </a:lnTo>
                  <a:lnTo>
                    <a:pt x="1826" y="614"/>
                  </a:lnTo>
                  <a:lnTo>
                    <a:pt x="1823" y="612"/>
                  </a:lnTo>
                  <a:lnTo>
                    <a:pt x="1821" y="612"/>
                  </a:lnTo>
                  <a:lnTo>
                    <a:pt x="1821" y="607"/>
                  </a:lnTo>
                  <a:lnTo>
                    <a:pt x="1823" y="607"/>
                  </a:lnTo>
                  <a:lnTo>
                    <a:pt x="1826" y="607"/>
                  </a:lnTo>
                  <a:lnTo>
                    <a:pt x="1830" y="609"/>
                  </a:lnTo>
                  <a:lnTo>
                    <a:pt x="1836" y="610"/>
                  </a:lnTo>
                  <a:lnTo>
                    <a:pt x="1836" y="610"/>
                  </a:lnTo>
                  <a:close/>
                  <a:moveTo>
                    <a:pt x="1781" y="560"/>
                  </a:moveTo>
                  <a:lnTo>
                    <a:pt x="1781" y="560"/>
                  </a:lnTo>
                  <a:lnTo>
                    <a:pt x="1783" y="560"/>
                  </a:lnTo>
                  <a:lnTo>
                    <a:pt x="1784" y="561"/>
                  </a:lnTo>
                  <a:lnTo>
                    <a:pt x="1786" y="564"/>
                  </a:lnTo>
                  <a:lnTo>
                    <a:pt x="1784" y="566"/>
                  </a:lnTo>
                  <a:lnTo>
                    <a:pt x="1783" y="566"/>
                  </a:lnTo>
                  <a:lnTo>
                    <a:pt x="1781" y="564"/>
                  </a:lnTo>
                  <a:lnTo>
                    <a:pt x="1780" y="563"/>
                  </a:lnTo>
                  <a:lnTo>
                    <a:pt x="1780" y="561"/>
                  </a:lnTo>
                  <a:lnTo>
                    <a:pt x="1781" y="560"/>
                  </a:lnTo>
                  <a:lnTo>
                    <a:pt x="1781" y="560"/>
                  </a:lnTo>
                  <a:close/>
                  <a:moveTo>
                    <a:pt x="1796" y="569"/>
                  </a:moveTo>
                  <a:lnTo>
                    <a:pt x="1796" y="569"/>
                  </a:lnTo>
                  <a:lnTo>
                    <a:pt x="1797" y="569"/>
                  </a:lnTo>
                  <a:lnTo>
                    <a:pt x="1797" y="570"/>
                  </a:lnTo>
                  <a:lnTo>
                    <a:pt x="1797" y="571"/>
                  </a:lnTo>
                  <a:lnTo>
                    <a:pt x="1796" y="571"/>
                  </a:lnTo>
                  <a:lnTo>
                    <a:pt x="1796" y="571"/>
                  </a:lnTo>
                  <a:lnTo>
                    <a:pt x="1794" y="571"/>
                  </a:lnTo>
                  <a:lnTo>
                    <a:pt x="1794" y="570"/>
                  </a:lnTo>
                  <a:lnTo>
                    <a:pt x="1796" y="569"/>
                  </a:lnTo>
                  <a:lnTo>
                    <a:pt x="1796" y="569"/>
                  </a:lnTo>
                  <a:close/>
                  <a:moveTo>
                    <a:pt x="1728" y="481"/>
                  </a:moveTo>
                  <a:lnTo>
                    <a:pt x="1730" y="483"/>
                  </a:lnTo>
                  <a:lnTo>
                    <a:pt x="1730" y="484"/>
                  </a:lnTo>
                  <a:lnTo>
                    <a:pt x="1730" y="484"/>
                  </a:lnTo>
                  <a:lnTo>
                    <a:pt x="1728" y="485"/>
                  </a:lnTo>
                  <a:lnTo>
                    <a:pt x="1727" y="487"/>
                  </a:lnTo>
                  <a:lnTo>
                    <a:pt x="1725" y="485"/>
                  </a:lnTo>
                  <a:lnTo>
                    <a:pt x="1724" y="485"/>
                  </a:lnTo>
                  <a:lnTo>
                    <a:pt x="1724" y="484"/>
                  </a:lnTo>
                  <a:lnTo>
                    <a:pt x="1725" y="484"/>
                  </a:lnTo>
                  <a:lnTo>
                    <a:pt x="1725" y="483"/>
                  </a:lnTo>
                  <a:lnTo>
                    <a:pt x="1727" y="481"/>
                  </a:lnTo>
                  <a:lnTo>
                    <a:pt x="1727" y="481"/>
                  </a:lnTo>
                  <a:lnTo>
                    <a:pt x="1728" y="481"/>
                  </a:lnTo>
                  <a:lnTo>
                    <a:pt x="1728" y="481"/>
                  </a:lnTo>
                  <a:close/>
                  <a:moveTo>
                    <a:pt x="1758" y="511"/>
                  </a:moveTo>
                  <a:lnTo>
                    <a:pt x="1761" y="513"/>
                  </a:lnTo>
                  <a:lnTo>
                    <a:pt x="1763" y="514"/>
                  </a:lnTo>
                  <a:lnTo>
                    <a:pt x="1764" y="517"/>
                  </a:lnTo>
                  <a:lnTo>
                    <a:pt x="1765" y="521"/>
                  </a:lnTo>
                  <a:lnTo>
                    <a:pt x="1765" y="524"/>
                  </a:lnTo>
                  <a:lnTo>
                    <a:pt x="1767" y="527"/>
                  </a:lnTo>
                  <a:lnTo>
                    <a:pt x="1765" y="528"/>
                  </a:lnTo>
                  <a:lnTo>
                    <a:pt x="1764" y="528"/>
                  </a:lnTo>
                  <a:lnTo>
                    <a:pt x="1763" y="526"/>
                  </a:lnTo>
                  <a:lnTo>
                    <a:pt x="1763" y="524"/>
                  </a:lnTo>
                  <a:lnTo>
                    <a:pt x="1761" y="521"/>
                  </a:lnTo>
                  <a:lnTo>
                    <a:pt x="1761" y="517"/>
                  </a:lnTo>
                  <a:lnTo>
                    <a:pt x="1760" y="514"/>
                  </a:lnTo>
                  <a:lnTo>
                    <a:pt x="1758" y="513"/>
                  </a:lnTo>
                  <a:lnTo>
                    <a:pt x="1754" y="513"/>
                  </a:lnTo>
                  <a:lnTo>
                    <a:pt x="1753" y="511"/>
                  </a:lnTo>
                  <a:lnTo>
                    <a:pt x="1753" y="510"/>
                  </a:lnTo>
                  <a:lnTo>
                    <a:pt x="1755" y="510"/>
                  </a:lnTo>
                  <a:lnTo>
                    <a:pt x="1758" y="511"/>
                  </a:lnTo>
                  <a:lnTo>
                    <a:pt x="1758" y="511"/>
                  </a:lnTo>
                  <a:close/>
                  <a:moveTo>
                    <a:pt x="1740" y="494"/>
                  </a:moveTo>
                  <a:lnTo>
                    <a:pt x="1741" y="497"/>
                  </a:lnTo>
                  <a:lnTo>
                    <a:pt x="1743" y="497"/>
                  </a:lnTo>
                  <a:lnTo>
                    <a:pt x="1743" y="498"/>
                  </a:lnTo>
                  <a:lnTo>
                    <a:pt x="1741" y="501"/>
                  </a:lnTo>
                  <a:lnTo>
                    <a:pt x="1740" y="500"/>
                  </a:lnTo>
                  <a:lnTo>
                    <a:pt x="1737" y="501"/>
                  </a:lnTo>
                  <a:lnTo>
                    <a:pt x="1735" y="501"/>
                  </a:lnTo>
                  <a:lnTo>
                    <a:pt x="1735" y="498"/>
                  </a:lnTo>
                  <a:lnTo>
                    <a:pt x="1737" y="497"/>
                  </a:lnTo>
                  <a:lnTo>
                    <a:pt x="1738" y="494"/>
                  </a:lnTo>
                  <a:lnTo>
                    <a:pt x="1740" y="494"/>
                  </a:lnTo>
                  <a:lnTo>
                    <a:pt x="1740" y="494"/>
                  </a:lnTo>
                  <a:close/>
                  <a:moveTo>
                    <a:pt x="1694" y="483"/>
                  </a:moveTo>
                  <a:lnTo>
                    <a:pt x="1697" y="484"/>
                  </a:lnTo>
                  <a:lnTo>
                    <a:pt x="1698" y="485"/>
                  </a:lnTo>
                  <a:lnTo>
                    <a:pt x="1700" y="490"/>
                  </a:lnTo>
                  <a:lnTo>
                    <a:pt x="1700" y="493"/>
                  </a:lnTo>
                  <a:lnTo>
                    <a:pt x="1700" y="494"/>
                  </a:lnTo>
                  <a:lnTo>
                    <a:pt x="1698" y="496"/>
                  </a:lnTo>
                  <a:lnTo>
                    <a:pt x="1697" y="494"/>
                  </a:lnTo>
                  <a:lnTo>
                    <a:pt x="1695" y="493"/>
                  </a:lnTo>
                  <a:lnTo>
                    <a:pt x="1694" y="493"/>
                  </a:lnTo>
                  <a:lnTo>
                    <a:pt x="1692" y="491"/>
                  </a:lnTo>
                  <a:lnTo>
                    <a:pt x="1692" y="488"/>
                  </a:lnTo>
                  <a:lnTo>
                    <a:pt x="1694" y="485"/>
                  </a:lnTo>
                  <a:lnTo>
                    <a:pt x="1694" y="483"/>
                  </a:lnTo>
                  <a:lnTo>
                    <a:pt x="1694" y="483"/>
                  </a:lnTo>
                  <a:close/>
                  <a:moveTo>
                    <a:pt x="1631" y="530"/>
                  </a:moveTo>
                  <a:lnTo>
                    <a:pt x="1634" y="530"/>
                  </a:lnTo>
                  <a:lnTo>
                    <a:pt x="1635" y="533"/>
                  </a:lnTo>
                  <a:lnTo>
                    <a:pt x="1634" y="536"/>
                  </a:lnTo>
                  <a:lnTo>
                    <a:pt x="1632" y="538"/>
                  </a:lnTo>
                  <a:lnTo>
                    <a:pt x="1629" y="540"/>
                  </a:lnTo>
                  <a:lnTo>
                    <a:pt x="1627" y="541"/>
                  </a:lnTo>
                  <a:lnTo>
                    <a:pt x="1624" y="540"/>
                  </a:lnTo>
                  <a:lnTo>
                    <a:pt x="1624" y="538"/>
                  </a:lnTo>
                  <a:lnTo>
                    <a:pt x="1624" y="537"/>
                  </a:lnTo>
                  <a:lnTo>
                    <a:pt x="1624" y="536"/>
                  </a:lnTo>
                  <a:lnTo>
                    <a:pt x="1624" y="533"/>
                  </a:lnTo>
                  <a:lnTo>
                    <a:pt x="1625" y="531"/>
                  </a:lnTo>
                  <a:lnTo>
                    <a:pt x="1628" y="530"/>
                  </a:lnTo>
                  <a:lnTo>
                    <a:pt x="1631" y="530"/>
                  </a:lnTo>
                  <a:lnTo>
                    <a:pt x="1631" y="530"/>
                  </a:lnTo>
                  <a:close/>
                  <a:moveTo>
                    <a:pt x="1509" y="404"/>
                  </a:moveTo>
                  <a:lnTo>
                    <a:pt x="1513" y="404"/>
                  </a:lnTo>
                  <a:lnTo>
                    <a:pt x="1515" y="405"/>
                  </a:lnTo>
                  <a:lnTo>
                    <a:pt x="1519" y="407"/>
                  </a:lnTo>
                  <a:lnTo>
                    <a:pt x="1522" y="410"/>
                  </a:lnTo>
                  <a:lnTo>
                    <a:pt x="1528" y="414"/>
                  </a:lnTo>
                  <a:lnTo>
                    <a:pt x="1532" y="417"/>
                  </a:lnTo>
                  <a:lnTo>
                    <a:pt x="1532" y="420"/>
                  </a:lnTo>
                  <a:lnTo>
                    <a:pt x="1531" y="422"/>
                  </a:lnTo>
                  <a:lnTo>
                    <a:pt x="1528" y="422"/>
                  </a:lnTo>
                  <a:lnTo>
                    <a:pt x="1525" y="421"/>
                  </a:lnTo>
                  <a:lnTo>
                    <a:pt x="1523" y="420"/>
                  </a:lnTo>
                  <a:lnTo>
                    <a:pt x="1519" y="420"/>
                  </a:lnTo>
                  <a:lnTo>
                    <a:pt x="1516" y="417"/>
                  </a:lnTo>
                  <a:lnTo>
                    <a:pt x="1513" y="414"/>
                  </a:lnTo>
                  <a:lnTo>
                    <a:pt x="1509" y="414"/>
                  </a:lnTo>
                  <a:lnTo>
                    <a:pt x="1506" y="411"/>
                  </a:lnTo>
                  <a:lnTo>
                    <a:pt x="1505" y="410"/>
                  </a:lnTo>
                  <a:lnTo>
                    <a:pt x="1502" y="410"/>
                  </a:lnTo>
                  <a:lnTo>
                    <a:pt x="1499" y="410"/>
                  </a:lnTo>
                  <a:lnTo>
                    <a:pt x="1495" y="408"/>
                  </a:lnTo>
                  <a:lnTo>
                    <a:pt x="1490" y="407"/>
                  </a:lnTo>
                  <a:lnTo>
                    <a:pt x="1490" y="404"/>
                  </a:lnTo>
                  <a:lnTo>
                    <a:pt x="1493" y="404"/>
                  </a:lnTo>
                  <a:lnTo>
                    <a:pt x="1498" y="402"/>
                  </a:lnTo>
                  <a:lnTo>
                    <a:pt x="1502" y="402"/>
                  </a:lnTo>
                  <a:lnTo>
                    <a:pt x="1509" y="404"/>
                  </a:lnTo>
                  <a:lnTo>
                    <a:pt x="1509" y="404"/>
                  </a:lnTo>
                  <a:close/>
                  <a:moveTo>
                    <a:pt x="1796" y="577"/>
                  </a:moveTo>
                  <a:lnTo>
                    <a:pt x="1797" y="579"/>
                  </a:lnTo>
                  <a:lnTo>
                    <a:pt x="1797" y="579"/>
                  </a:lnTo>
                  <a:lnTo>
                    <a:pt x="1796" y="580"/>
                  </a:lnTo>
                  <a:lnTo>
                    <a:pt x="1794" y="580"/>
                  </a:lnTo>
                  <a:lnTo>
                    <a:pt x="1793" y="579"/>
                  </a:lnTo>
                  <a:lnTo>
                    <a:pt x="1793" y="577"/>
                  </a:lnTo>
                  <a:lnTo>
                    <a:pt x="1794" y="577"/>
                  </a:lnTo>
                  <a:lnTo>
                    <a:pt x="1796" y="577"/>
                  </a:lnTo>
                  <a:lnTo>
                    <a:pt x="1796" y="577"/>
                  </a:lnTo>
                  <a:close/>
                  <a:moveTo>
                    <a:pt x="1969" y="637"/>
                  </a:moveTo>
                  <a:lnTo>
                    <a:pt x="1969" y="634"/>
                  </a:lnTo>
                  <a:lnTo>
                    <a:pt x="1970" y="632"/>
                  </a:lnTo>
                  <a:lnTo>
                    <a:pt x="1972" y="629"/>
                  </a:lnTo>
                  <a:lnTo>
                    <a:pt x="1973" y="629"/>
                  </a:lnTo>
                  <a:lnTo>
                    <a:pt x="1973" y="629"/>
                  </a:lnTo>
                  <a:lnTo>
                    <a:pt x="1973" y="630"/>
                  </a:lnTo>
                  <a:lnTo>
                    <a:pt x="1973" y="632"/>
                  </a:lnTo>
                  <a:lnTo>
                    <a:pt x="1973" y="634"/>
                  </a:lnTo>
                  <a:lnTo>
                    <a:pt x="1972" y="636"/>
                  </a:lnTo>
                  <a:lnTo>
                    <a:pt x="1970" y="637"/>
                  </a:lnTo>
                  <a:lnTo>
                    <a:pt x="1969" y="637"/>
                  </a:lnTo>
                  <a:lnTo>
                    <a:pt x="1969" y="637"/>
                  </a:lnTo>
                  <a:close/>
                  <a:moveTo>
                    <a:pt x="1810" y="591"/>
                  </a:moveTo>
                  <a:lnTo>
                    <a:pt x="1808" y="594"/>
                  </a:lnTo>
                  <a:lnTo>
                    <a:pt x="1807" y="593"/>
                  </a:lnTo>
                  <a:lnTo>
                    <a:pt x="1804" y="593"/>
                  </a:lnTo>
                  <a:lnTo>
                    <a:pt x="1803" y="591"/>
                  </a:lnTo>
                  <a:lnTo>
                    <a:pt x="1801" y="590"/>
                  </a:lnTo>
                  <a:lnTo>
                    <a:pt x="1801" y="589"/>
                  </a:lnTo>
                  <a:lnTo>
                    <a:pt x="1801" y="587"/>
                  </a:lnTo>
                  <a:lnTo>
                    <a:pt x="1803" y="587"/>
                  </a:lnTo>
                  <a:lnTo>
                    <a:pt x="1806" y="589"/>
                  </a:lnTo>
                  <a:lnTo>
                    <a:pt x="1807" y="590"/>
                  </a:lnTo>
                  <a:lnTo>
                    <a:pt x="1810" y="591"/>
                  </a:lnTo>
                  <a:lnTo>
                    <a:pt x="1810" y="591"/>
                  </a:lnTo>
                  <a:close/>
                  <a:moveTo>
                    <a:pt x="1804" y="576"/>
                  </a:moveTo>
                  <a:lnTo>
                    <a:pt x="1804" y="577"/>
                  </a:lnTo>
                  <a:lnTo>
                    <a:pt x="1803" y="577"/>
                  </a:lnTo>
                  <a:lnTo>
                    <a:pt x="1803" y="577"/>
                  </a:lnTo>
                  <a:lnTo>
                    <a:pt x="1801" y="577"/>
                  </a:lnTo>
                  <a:lnTo>
                    <a:pt x="1801" y="576"/>
                  </a:lnTo>
                  <a:lnTo>
                    <a:pt x="1800" y="576"/>
                  </a:lnTo>
                  <a:lnTo>
                    <a:pt x="1801" y="574"/>
                  </a:lnTo>
                  <a:lnTo>
                    <a:pt x="1803" y="574"/>
                  </a:lnTo>
                  <a:lnTo>
                    <a:pt x="1804" y="574"/>
                  </a:lnTo>
                  <a:lnTo>
                    <a:pt x="1804" y="576"/>
                  </a:lnTo>
                  <a:lnTo>
                    <a:pt x="1804" y="576"/>
                  </a:lnTo>
                  <a:close/>
                  <a:moveTo>
                    <a:pt x="1965" y="596"/>
                  </a:moveTo>
                  <a:lnTo>
                    <a:pt x="1966" y="602"/>
                  </a:lnTo>
                  <a:lnTo>
                    <a:pt x="1967" y="610"/>
                  </a:lnTo>
                  <a:lnTo>
                    <a:pt x="1967" y="613"/>
                  </a:lnTo>
                  <a:lnTo>
                    <a:pt x="1967" y="616"/>
                  </a:lnTo>
                  <a:lnTo>
                    <a:pt x="1965" y="617"/>
                  </a:lnTo>
                  <a:lnTo>
                    <a:pt x="1963" y="617"/>
                  </a:lnTo>
                  <a:lnTo>
                    <a:pt x="1963" y="619"/>
                  </a:lnTo>
                  <a:lnTo>
                    <a:pt x="1966" y="620"/>
                  </a:lnTo>
                  <a:lnTo>
                    <a:pt x="1967" y="620"/>
                  </a:lnTo>
                  <a:lnTo>
                    <a:pt x="1967" y="623"/>
                  </a:lnTo>
                  <a:lnTo>
                    <a:pt x="1967" y="624"/>
                  </a:lnTo>
                  <a:lnTo>
                    <a:pt x="1965" y="627"/>
                  </a:lnTo>
                  <a:lnTo>
                    <a:pt x="1962" y="632"/>
                  </a:lnTo>
                  <a:lnTo>
                    <a:pt x="1959" y="633"/>
                  </a:lnTo>
                  <a:lnTo>
                    <a:pt x="1957" y="632"/>
                  </a:lnTo>
                  <a:lnTo>
                    <a:pt x="1956" y="630"/>
                  </a:lnTo>
                  <a:lnTo>
                    <a:pt x="1955" y="627"/>
                  </a:lnTo>
                  <a:lnTo>
                    <a:pt x="1957" y="612"/>
                  </a:lnTo>
                  <a:lnTo>
                    <a:pt x="1957" y="603"/>
                  </a:lnTo>
                  <a:lnTo>
                    <a:pt x="1957" y="593"/>
                  </a:lnTo>
                  <a:lnTo>
                    <a:pt x="1955" y="587"/>
                  </a:lnTo>
                  <a:lnTo>
                    <a:pt x="1955" y="581"/>
                  </a:lnTo>
                  <a:lnTo>
                    <a:pt x="1955" y="579"/>
                  </a:lnTo>
                  <a:lnTo>
                    <a:pt x="1956" y="577"/>
                  </a:lnTo>
                  <a:lnTo>
                    <a:pt x="1957" y="576"/>
                  </a:lnTo>
                  <a:lnTo>
                    <a:pt x="1959" y="579"/>
                  </a:lnTo>
                  <a:lnTo>
                    <a:pt x="1962" y="587"/>
                  </a:lnTo>
                  <a:lnTo>
                    <a:pt x="1965" y="596"/>
                  </a:lnTo>
                  <a:lnTo>
                    <a:pt x="1965" y="596"/>
                  </a:lnTo>
                  <a:close/>
                  <a:moveTo>
                    <a:pt x="1963" y="640"/>
                  </a:moveTo>
                  <a:lnTo>
                    <a:pt x="1963" y="644"/>
                  </a:lnTo>
                  <a:lnTo>
                    <a:pt x="1963" y="646"/>
                  </a:lnTo>
                  <a:lnTo>
                    <a:pt x="1962" y="649"/>
                  </a:lnTo>
                  <a:lnTo>
                    <a:pt x="1960" y="649"/>
                  </a:lnTo>
                  <a:lnTo>
                    <a:pt x="1959" y="647"/>
                  </a:lnTo>
                  <a:lnTo>
                    <a:pt x="1957" y="644"/>
                  </a:lnTo>
                  <a:lnTo>
                    <a:pt x="1956" y="642"/>
                  </a:lnTo>
                  <a:lnTo>
                    <a:pt x="1956" y="642"/>
                  </a:lnTo>
                  <a:lnTo>
                    <a:pt x="1956" y="639"/>
                  </a:lnTo>
                  <a:lnTo>
                    <a:pt x="1959" y="636"/>
                  </a:lnTo>
                  <a:lnTo>
                    <a:pt x="1962" y="636"/>
                  </a:lnTo>
                  <a:lnTo>
                    <a:pt x="1963" y="636"/>
                  </a:lnTo>
                  <a:lnTo>
                    <a:pt x="1963" y="640"/>
                  </a:lnTo>
                  <a:lnTo>
                    <a:pt x="1963" y="640"/>
                  </a:lnTo>
                  <a:close/>
                  <a:moveTo>
                    <a:pt x="1959" y="553"/>
                  </a:moveTo>
                  <a:lnTo>
                    <a:pt x="1959" y="553"/>
                  </a:lnTo>
                  <a:lnTo>
                    <a:pt x="1962" y="554"/>
                  </a:lnTo>
                  <a:lnTo>
                    <a:pt x="1962" y="556"/>
                  </a:lnTo>
                  <a:lnTo>
                    <a:pt x="1960" y="557"/>
                  </a:lnTo>
                  <a:lnTo>
                    <a:pt x="1957" y="557"/>
                  </a:lnTo>
                  <a:lnTo>
                    <a:pt x="1955" y="557"/>
                  </a:lnTo>
                  <a:lnTo>
                    <a:pt x="1955" y="556"/>
                  </a:lnTo>
                  <a:lnTo>
                    <a:pt x="1955" y="553"/>
                  </a:lnTo>
                  <a:lnTo>
                    <a:pt x="1956" y="550"/>
                  </a:lnTo>
                  <a:lnTo>
                    <a:pt x="1957" y="551"/>
                  </a:lnTo>
                  <a:lnTo>
                    <a:pt x="1959" y="553"/>
                  </a:lnTo>
                  <a:lnTo>
                    <a:pt x="1959" y="553"/>
                  </a:lnTo>
                  <a:close/>
                  <a:moveTo>
                    <a:pt x="932" y="211"/>
                  </a:moveTo>
                  <a:lnTo>
                    <a:pt x="936" y="205"/>
                  </a:lnTo>
                  <a:lnTo>
                    <a:pt x="941" y="205"/>
                  </a:lnTo>
                  <a:lnTo>
                    <a:pt x="941" y="205"/>
                  </a:lnTo>
                  <a:lnTo>
                    <a:pt x="943" y="206"/>
                  </a:lnTo>
                  <a:lnTo>
                    <a:pt x="945" y="212"/>
                  </a:lnTo>
                  <a:lnTo>
                    <a:pt x="943" y="218"/>
                  </a:lnTo>
                  <a:lnTo>
                    <a:pt x="941" y="223"/>
                  </a:lnTo>
                  <a:lnTo>
                    <a:pt x="936" y="226"/>
                  </a:lnTo>
                  <a:lnTo>
                    <a:pt x="932" y="228"/>
                  </a:lnTo>
                  <a:lnTo>
                    <a:pt x="929" y="225"/>
                  </a:lnTo>
                  <a:lnTo>
                    <a:pt x="930" y="221"/>
                  </a:lnTo>
                  <a:lnTo>
                    <a:pt x="932" y="211"/>
                  </a:lnTo>
                  <a:lnTo>
                    <a:pt x="932" y="211"/>
                  </a:lnTo>
                  <a:close/>
                  <a:moveTo>
                    <a:pt x="458" y="9"/>
                  </a:moveTo>
                  <a:lnTo>
                    <a:pt x="461" y="9"/>
                  </a:lnTo>
                  <a:lnTo>
                    <a:pt x="461" y="9"/>
                  </a:lnTo>
                  <a:lnTo>
                    <a:pt x="462" y="10"/>
                  </a:lnTo>
                  <a:lnTo>
                    <a:pt x="462" y="13"/>
                  </a:lnTo>
                  <a:lnTo>
                    <a:pt x="459" y="19"/>
                  </a:lnTo>
                  <a:lnTo>
                    <a:pt x="454" y="23"/>
                  </a:lnTo>
                  <a:lnTo>
                    <a:pt x="451" y="27"/>
                  </a:lnTo>
                  <a:lnTo>
                    <a:pt x="451" y="26"/>
                  </a:lnTo>
                  <a:lnTo>
                    <a:pt x="454" y="23"/>
                  </a:lnTo>
                  <a:lnTo>
                    <a:pt x="452" y="20"/>
                  </a:lnTo>
                  <a:lnTo>
                    <a:pt x="452" y="20"/>
                  </a:lnTo>
                  <a:lnTo>
                    <a:pt x="451" y="20"/>
                  </a:lnTo>
                  <a:lnTo>
                    <a:pt x="449" y="21"/>
                  </a:lnTo>
                  <a:lnTo>
                    <a:pt x="446" y="23"/>
                  </a:lnTo>
                  <a:lnTo>
                    <a:pt x="444" y="24"/>
                  </a:lnTo>
                  <a:lnTo>
                    <a:pt x="445" y="26"/>
                  </a:lnTo>
                  <a:lnTo>
                    <a:pt x="446" y="26"/>
                  </a:lnTo>
                  <a:lnTo>
                    <a:pt x="446" y="27"/>
                  </a:lnTo>
                  <a:lnTo>
                    <a:pt x="446" y="30"/>
                  </a:lnTo>
                  <a:lnTo>
                    <a:pt x="444" y="33"/>
                  </a:lnTo>
                  <a:lnTo>
                    <a:pt x="441" y="34"/>
                  </a:lnTo>
                  <a:lnTo>
                    <a:pt x="438" y="36"/>
                  </a:lnTo>
                  <a:lnTo>
                    <a:pt x="438" y="36"/>
                  </a:lnTo>
                  <a:lnTo>
                    <a:pt x="435" y="37"/>
                  </a:lnTo>
                  <a:lnTo>
                    <a:pt x="431" y="34"/>
                  </a:lnTo>
                  <a:lnTo>
                    <a:pt x="431" y="31"/>
                  </a:lnTo>
                  <a:lnTo>
                    <a:pt x="432" y="29"/>
                  </a:lnTo>
                  <a:lnTo>
                    <a:pt x="434" y="27"/>
                  </a:lnTo>
                  <a:lnTo>
                    <a:pt x="436" y="23"/>
                  </a:lnTo>
                  <a:lnTo>
                    <a:pt x="436" y="23"/>
                  </a:lnTo>
                  <a:lnTo>
                    <a:pt x="438" y="20"/>
                  </a:lnTo>
                  <a:lnTo>
                    <a:pt x="438" y="17"/>
                  </a:lnTo>
                  <a:lnTo>
                    <a:pt x="436" y="14"/>
                  </a:lnTo>
                  <a:lnTo>
                    <a:pt x="438" y="13"/>
                  </a:lnTo>
                  <a:lnTo>
                    <a:pt x="438" y="11"/>
                  </a:lnTo>
                  <a:lnTo>
                    <a:pt x="439" y="10"/>
                  </a:lnTo>
                  <a:lnTo>
                    <a:pt x="441" y="10"/>
                  </a:lnTo>
                  <a:lnTo>
                    <a:pt x="441" y="7"/>
                  </a:lnTo>
                  <a:lnTo>
                    <a:pt x="442" y="7"/>
                  </a:lnTo>
                  <a:lnTo>
                    <a:pt x="442" y="3"/>
                  </a:lnTo>
                  <a:lnTo>
                    <a:pt x="444" y="0"/>
                  </a:lnTo>
                  <a:lnTo>
                    <a:pt x="448" y="0"/>
                  </a:lnTo>
                  <a:lnTo>
                    <a:pt x="449" y="1"/>
                  </a:lnTo>
                  <a:lnTo>
                    <a:pt x="452" y="3"/>
                  </a:lnTo>
                  <a:lnTo>
                    <a:pt x="452" y="4"/>
                  </a:lnTo>
                  <a:lnTo>
                    <a:pt x="449" y="4"/>
                  </a:lnTo>
                  <a:lnTo>
                    <a:pt x="446" y="6"/>
                  </a:lnTo>
                  <a:lnTo>
                    <a:pt x="449" y="7"/>
                  </a:lnTo>
                  <a:lnTo>
                    <a:pt x="454" y="9"/>
                  </a:lnTo>
                  <a:lnTo>
                    <a:pt x="458" y="9"/>
                  </a:lnTo>
                  <a:lnTo>
                    <a:pt x="458" y="9"/>
                  </a:lnTo>
                  <a:close/>
                  <a:moveTo>
                    <a:pt x="471" y="21"/>
                  </a:moveTo>
                  <a:lnTo>
                    <a:pt x="468" y="21"/>
                  </a:lnTo>
                  <a:lnTo>
                    <a:pt x="466" y="23"/>
                  </a:lnTo>
                  <a:lnTo>
                    <a:pt x="465" y="27"/>
                  </a:lnTo>
                  <a:lnTo>
                    <a:pt x="465" y="29"/>
                  </a:lnTo>
                  <a:lnTo>
                    <a:pt x="466" y="31"/>
                  </a:lnTo>
                  <a:lnTo>
                    <a:pt x="466" y="34"/>
                  </a:lnTo>
                  <a:lnTo>
                    <a:pt x="469" y="36"/>
                  </a:lnTo>
                  <a:lnTo>
                    <a:pt x="474" y="36"/>
                  </a:lnTo>
                  <a:lnTo>
                    <a:pt x="475" y="39"/>
                  </a:lnTo>
                  <a:lnTo>
                    <a:pt x="476" y="42"/>
                  </a:lnTo>
                  <a:lnTo>
                    <a:pt x="478" y="43"/>
                  </a:lnTo>
                  <a:lnTo>
                    <a:pt x="479" y="42"/>
                  </a:lnTo>
                  <a:lnTo>
                    <a:pt x="479" y="39"/>
                  </a:lnTo>
                  <a:lnTo>
                    <a:pt x="478" y="37"/>
                  </a:lnTo>
                  <a:lnTo>
                    <a:pt x="476" y="36"/>
                  </a:lnTo>
                  <a:lnTo>
                    <a:pt x="475" y="33"/>
                  </a:lnTo>
                  <a:lnTo>
                    <a:pt x="472" y="31"/>
                  </a:lnTo>
                  <a:lnTo>
                    <a:pt x="474" y="27"/>
                  </a:lnTo>
                  <a:lnTo>
                    <a:pt x="474" y="23"/>
                  </a:lnTo>
                  <a:lnTo>
                    <a:pt x="474" y="21"/>
                  </a:lnTo>
                  <a:lnTo>
                    <a:pt x="471" y="21"/>
                  </a:lnTo>
                  <a:lnTo>
                    <a:pt x="471" y="21"/>
                  </a:lnTo>
                  <a:close/>
                  <a:moveTo>
                    <a:pt x="614" y="278"/>
                  </a:moveTo>
                  <a:lnTo>
                    <a:pt x="614" y="276"/>
                  </a:lnTo>
                  <a:lnTo>
                    <a:pt x="615" y="276"/>
                  </a:lnTo>
                  <a:lnTo>
                    <a:pt x="617" y="278"/>
                  </a:lnTo>
                  <a:lnTo>
                    <a:pt x="615" y="279"/>
                  </a:lnTo>
                  <a:lnTo>
                    <a:pt x="615" y="282"/>
                  </a:lnTo>
                  <a:lnTo>
                    <a:pt x="614" y="285"/>
                  </a:lnTo>
                  <a:lnTo>
                    <a:pt x="613" y="288"/>
                  </a:lnTo>
                  <a:lnTo>
                    <a:pt x="611" y="289"/>
                  </a:lnTo>
                  <a:lnTo>
                    <a:pt x="610" y="291"/>
                  </a:lnTo>
                  <a:lnTo>
                    <a:pt x="610" y="292"/>
                  </a:lnTo>
                  <a:lnTo>
                    <a:pt x="610" y="295"/>
                  </a:lnTo>
                  <a:lnTo>
                    <a:pt x="608" y="294"/>
                  </a:lnTo>
                  <a:lnTo>
                    <a:pt x="607" y="292"/>
                  </a:lnTo>
                  <a:lnTo>
                    <a:pt x="605" y="292"/>
                  </a:lnTo>
                  <a:lnTo>
                    <a:pt x="603" y="292"/>
                  </a:lnTo>
                  <a:lnTo>
                    <a:pt x="603" y="291"/>
                  </a:lnTo>
                  <a:lnTo>
                    <a:pt x="603" y="288"/>
                  </a:lnTo>
                  <a:lnTo>
                    <a:pt x="605" y="286"/>
                  </a:lnTo>
                  <a:lnTo>
                    <a:pt x="607" y="285"/>
                  </a:lnTo>
                  <a:lnTo>
                    <a:pt x="610" y="285"/>
                  </a:lnTo>
                  <a:lnTo>
                    <a:pt x="610" y="282"/>
                  </a:lnTo>
                  <a:lnTo>
                    <a:pt x="611" y="279"/>
                  </a:lnTo>
                  <a:lnTo>
                    <a:pt x="614" y="278"/>
                  </a:lnTo>
                  <a:lnTo>
                    <a:pt x="614" y="278"/>
                  </a:lnTo>
                  <a:close/>
                  <a:moveTo>
                    <a:pt x="585" y="319"/>
                  </a:moveTo>
                  <a:lnTo>
                    <a:pt x="582" y="321"/>
                  </a:lnTo>
                  <a:lnTo>
                    <a:pt x="580" y="318"/>
                  </a:lnTo>
                  <a:lnTo>
                    <a:pt x="580" y="314"/>
                  </a:lnTo>
                  <a:lnTo>
                    <a:pt x="581" y="306"/>
                  </a:lnTo>
                  <a:lnTo>
                    <a:pt x="582" y="299"/>
                  </a:lnTo>
                  <a:lnTo>
                    <a:pt x="584" y="299"/>
                  </a:lnTo>
                  <a:lnTo>
                    <a:pt x="585" y="304"/>
                  </a:lnTo>
                  <a:lnTo>
                    <a:pt x="591" y="304"/>
                  </a:lnTo>
                  <a:lnTo>
                    <a:pt x="595" y="304"/>
                  </a:lnTo>
                  <a:lnTo>
                    <a:pt x="595" y="308"/>
                  </a:lnTo>
                  <a:lnTo>
                    <a:pt x="592" y="311"/>
                  </a:lnTo>
                  <a:lnTo>
                    <a:pt x="588" y="315"/>
                  </a:lnTo>
                  <a:lnTo>
                    <a:pt x="585" y="319"/>
                  </a:lnTo>
                  <a:lnTo>
                    <a:pt x="585" y="319"/>
                  </a:lnTo>
                  <a:close/>
                  <a:moveTo>
                    <a:pt x="575" y="325"/>
                  </a:moveTo>
                  <a:lnTo>
                    <a:pt x="572" y="328"/>
                  </a:lnTo>
                  <a:lnTo>
                    <a:pt x="571" y="329"/>
                  </a:lnTo>
                  <a:lnTo>
                    <a:pt x="567" y="324"/>
                  </a:lnTo>
                  <a:lnTo>
                    <a:pt x="565" y="319"/>
                  </a:lnTo>
                  <a:lnTo>
                    <a:pt x="562" y="315"/>
                  </a:lnTo>
                  <a:lnTo>
                    <a:pt x="565" y="312"/>
                  </a:lnTo>
                  <a:lnTo>
                    <a:pt x="568" y="309"/>
                  </a:lnTo>
                  <a:lnTo>
                    <a:pt x="570" y="304"/>
                  </a:lnTo>
                  <a:lnTo>
                    <a:pt x="571" y="296"/>
                  </a:lnTo>
                  <a:lnTo>
                    <a:pt x="574" y="298"/>
                  </a:lnTo>
                  <a:lnTo>
                    <a:pt x="577" y="302"/>
                  </a:lnTo>
                  <a:lnTo>
                    <a:pt x="575" y="309"/>
                  </a:lnTo>
                  <a:lnTo>
                    <a:pt x="574" y="314"/>
                  </a:lnTo>
                  <a:lnTo>
                    <a:pt x="574" y="316"/>
                  </a:lnTo>
                  <a:lnTo>
                    <a:pt x="577" y="319"/>
                  </a:lnTo>
                  <a:lnTo>
                    <a:pt x="578" y="319"/>
                  </a:lnTo>
                  <a:lnTo>
                    <a:pt x="578" y="324"/>
                  </a:lnTo>
                  <a:lnTo>
                    <a:pt x="575" y="325"/>
                  </a:lnTo>
                  <a:lnTo>
                    <a:pt x="575" y="325"/>
                  </a:lnTo>
                  <a:close/>
                  <a:moveTo>
                    <a:pt x="578" y="328"/>
                  </a:moveTo>
                  <a:lnTo>
                    <a:pt x="578" y="329"/>
                  </a:lnTo>
                  <a:lnTo>
                    <a:pt x="577" y="332"/>
                  </a:lnTo>
                  <a:lnTo>
                    <a:pt x="575" y="334"/>
                  </a:lnTo>
                  <a:lnTo>
                    <a:pt x="574" y="332"/>
                  </a:lnTo>
                  <a:lnTo>
                    <a:pt x="574" y="329"/>
                  </a:lnTo>
                  <a:lnTo>
                    <a:pt x="575" y="328"/>
                  </a:lnTo>
                  <a:lnTo>
                    <a:pt x="578" y="328"/>
                  </a:lnTo>
                  <a:lnTo>
                    <a:pt x="578" y="328"/>
                  </a:lnTo>
                  <a:close/>
                  <a:moveTo>
                    <a:pt x="582" y="288"/>
                  </a:moveTo>
                  <a:lnTo>
                    <a:pt x="584" y="288"/>
                  </a:lnTo>
                  <a:lnTo>
                    <a:pt x="587" y="288"/>
                  </a:lnTo>
                  <a:lnTo>
                    <a:pt x="588" y="291"/>
                  </a:lnTo>
                  <a:lnTo>
                    <a:pt x="590" y="294"/>
                  </a:lnTo>
                  <a:lnTo>
                    <a:pt x="590" y="296"/>
                  </a:lnTo>
                  <a:lnTo>
                    <a:pt x="585" y="294"/>
                  </a:lnTo>
                  <a:lnTo>
                    <a:pt x="584" y="292"/>
                  </a:lnTo>
                  <a:lnTo>
                    <a:pt x="582" y="288"/>
                  </a:lnTo>
                  <a:lnTo>
                    <a:pt x="582" y="288"/>
                  </a:lnTo>
                  <a:close/>
                  <a:moveTo>
                    <a:pt x="575" y="289"/>
                  </a:moveTo>
                  <a:lnTo>
                    <a:pt x="580" y="288"/>
                  </a:lnTo>
                  <a:lnTo>
                    <a:pt x="578" y="289"/>
                  </a:lnTo>
                  <a:lnTo>
                    <a:pt x="577" y="291"/>
                  </a:lnTo>
                  <a:lnTo>
                    <a:pt x="575" y="289"/>
                  </a:lnTo>
                  <a:lnTo>
                    <a:pt x="575" y="289"/>
                  </a:lnTo>
                  <a:close/>
                  <a:moveTo>
                    <a:pt x="572" y="294"/>
                  </a:moveTo>
                  <a:lnTo>
                    <a:pt x="574" y="292"/>
                  </a:lnTo>
                  <a:lnTo>
                    <a:pt x="575" y="292"/>
                  </a:lnTo>
                  <a:lnTo>
                    <a:pt x="575" y="295"/>
                  </a:lnTo>
                  <a:lnTo>
                    <a:pt x="572" y="295"/>
                  </a:lnTo>
                  <a:lnTo>
                    <a:pt x="572" y="294"/>
                  </a:lnTo>
                  <a:lnTo>
                    <a:pt x="572" y="294"/>
                  </a:lnTo>
                  <a:close/>
                  <a:moveTo>
                    <a:pt x="567" y="286"/>
                  </a:moveTo>
                  <a:lnTo>
                    <a:pt x="564" y="288"/>
                  </a:lnTo>
                  <a:lnTo>
                    <a:pt x="562" y="286"/>
                  </a:lnTo>
                  <a:lnTo>
                    <a:pt x="562" y="284"/>
                  </a:lnTo>
                  <a:lnTo>
                    <a:pt x="565" y="284"/>
                  </a:lnTo>
                  <a:lnTo>
                    <a:pt x="568" y="285"/>
                  </a:lnTo>
                  <a:lnTo>
                    <a:pt x="570" y="288"/>
                  </a:lnTo>
                  <a:lnTo>
                    <a:pt x="570" y="288"/>
                  </a:lnTo>
                  <a:lnTo>
                    <a:pt x="568" y="288"/>
                  </a:lnTo>
                  <a:lnTo>
                    <a:pt x="567" y="286"/>
                  </a:lnTo>
                  <a:lnTo>
                    <a:pt x="567" y="286"/>
                  </a:lnTo>
                  <a:close/>
                  <a:moveTo>
                    <a:pt x="567" y="291"/>
                  </a:moveTo>
                  <a:lnTo>
                    <a:pt x="570" y="292"/>
                  </a:lnTo>
                  <a:lnTo>
                    <a:pt x="570" y="294"/>
                  </a:lnTo>
                  <a:lnTo>
                    <a:pt x="567" y="294"/>
                  </a:lnTo>
                  <a:lnTo>
                    <a:pt x="564" y="292"/>
                  </a:lnTo>
                  <a:lnTo>
                    <a:pt x="564" y="289"/>
                  </a:lnTo>
                  <a:lnTo>
                    <a:pt x="565" y="291"/>
                  </a:lnTo>
                  <a:lnTo>
                    <a:pt x="567" y="291"/>
                  </a:lnTo>
                  <a:lnTo>
                    <a:pt x="567" y="291"/>
                  </a:lnTo>
                  <a:close/>
                  <a:moveTo>
                    <a:pt x="575" y="285"/>
                  </a:moveTo>
                  <a:lnTo>
                    <a:pt x="578" y="282"/>
                  </a:lnTo>
                  <a:lnTo>
                    <a:pt x="580" y="284"/>
                  </a:lnTo>
                  <a:lnTo>
                    <a:pt x="578" y="285"/>
                  </a:lnTo>
                  <a:lnTo>
                    <a:pt x="575" y="285"/>
                  </a:lnTo>
                  <a:lnTo>
                    <a:pt x="575" y="285"/>
                  </a:lnTo>
                  <a:close/>
                  <a:moveTo>
                    <a:pt x="505" y="72"/>
                  </a:moveTo>
                  <a:lnTo>
                    <a:pt x="504" y="72"/>
                  </a:lnTo>
                  <a:lnTo>
                    <a:pt x="504" y="72"/>
                  </a:lnTo>
                  <a:lnTo>
                    <a:pt x="504" y="69"/>
                  </a:lnTo>
                  <a:lnTo>
                    <a:pt x="504" y="67"/>
                  </a:lnTo>
                  <a:lnTo>
                    <a:pt x="507" y="67"/>
                  </a:lnTo>
                  <a:lnTo>
                    <a:pt x="508" y="69"/>
                  </a:lnTo>
                  <a:lnTo>
                    <a:pt x="508" y="70"/>
                  </a:lnTo>
                  <a:lnTo>
                    <a:pt x="508" y="72"/>
                  </a:lnTo>
                  <a:lnTo>
                    <a:pt x="505" y="7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00" name="Freeform 148"/>
            <p:cNvSpPr>
              <a:spLocks noEditPoints="1"/>
            </p:cNvSpPr>
            <p:nvPr/>
          </p:nvSpPr>
          <p:spPr bwMode="auto">
            <a:xfrm>
              <a:off x="3037016" y="2723338"/>
              <a:ext cx="1376227" cy="785805"/>
            </a:xfrm>
            <a:custGeom>
              <a:avLst/>
              <a:gdLst>
                <a:gd name="T0" fmla="*/ 2098 w 2254"/>
                <a:gd name="T1" fmla="*/ 929 h 1187"/>
                <a:gd name="T2" fmla="*/ 2234 w 2254"/>
                <a:gd name="T3" fmla="*/ 798 h 1187"/>
                <a:gd name="T4" fmla="*/ 2166 w 2254"/>
                <a:gd name="T5" fmla="*/ 646 h 1187"/>
                <a:gd name="T6" fmla="*/ 2060 w 2254"/>
                <a:gd name="T7" fmla="*/ 589 h 1187"/>
                <a:gd name="T8" fmla="*/ 1992 w 2254"/>
                <a:gd name="T9" fmla="*/ 722 h 1187"/>
                <a:gd name="T10" fmla="*/ 1890 w 2254"/>
                <a:gd name="T11" fmla="*/ 728 h 1187"/>
                <a:gd name="T12" fmla="*/ 1946 w 2254"/>
                <a:gd name="T13" fmla="*/ 649 h 1187"/>
                <a:gd name="T14" fmla="*/ 1786 w 2254"/>
                <a:gd name="T15" fmla="*/ 602 h 1187"/>
                <a:gd name="T16" fmla="*/ 1682 w 2254"/>
                <a:gd name="T17" fmla="*/ 569 h 1187"/>
                <a:gd name="T18" fmla="*/ 1602 w 2254"/>
                <a:gd name="T19" fmla="*/ 580 h 1187"/>
                <a:gd name="T20" fmla="*/ 1627 w 2254"/>
                <a:gd name="T21" fmla="*/ 551 h 1187"/>
                <a:gd name="T22" fmla="*/ 1574 w 2254"/>
                <a:gd name="T23" fmla="*/ 526 h 1187"/>
                <a:gd name="T24" fmla="*/ 1648 w 2254"/>
                <a:gd name="T25" fmla="*/ 490 h 1187"/>
                <a:gd name="T26" fmla="*/ 1724 w 2254"/>
                <a:gd name="T27" fmla="*/ 477 h 1187"/>
                <a:gd name="T28" fmla="*/ 1586 w 2254"/>
                <a:gd name="T29" fmla="*/ 450 h 1187"/>
                <a:gd name="T30" fmla="*/ 1568 w 2254"/>
                <a:gd name="T31" fmla="*/ 441 h 1187"/>
                <a:gd name="T32" fmla="*/ 1459 w 2254"/>
                <a:gd name="T33" fmla="*/ 408 h 1187"/>
                <a:gd name="T34" fmla="*/ 1320 w 2254"/>
                <a:gd name="T35" fmla="*/ 398 h 1187"/>
                <a:gd name="T36" fmla="*/ 1200 w 2254"/>
                <a:gd name="T37" fmla="*/ 431 h 1187"/>
                <a:gd name="T38" fmla="*/ 1101 w 2254"/>
                <a:gd name="T39" fmla="*/ 377 h 1187"/>
                <a:gd name="T40" fmla="*/ 1175 w 2254"/>
                <a:gd name="T41" fmla="*/ 249 h 1187"/>
                <a:gd name="T42" fmla="*/ 1280 w 2254"/>
                <a:gd name="T43" fmla="*/ 209 h 1187"/>
                <a:gd name="T44" fmla="*/ 1171 w 2254"/>
                <a:gd name="T45" fmla="*/ 153 h 1187"/>
                <a:gd name="T46" fmla="*/ 1071 w 2254"/>
                <a:gd name="T47" fmla="*/ 209 h 1187"/>
                <a:gd name="T48" fmla="*/ 1014 w 2254"/>
                <a:gd name="T49" fmla="*/ 304 h 1187"/>
                <a:gd name="T50" fmla="*/ 909 w 2254"/>
                <a:gd name="T51" fmla="*/ 369 h 1187"/>
                <a:gd name="T52" fmla="*/ 926 w 2254"/>
                <a:gd name="T53" fmla="*/ 306 h 1187"/>
                <a:gd name="T54" fmla="*/ 826 w 2254"/>
                <a:gd name="T55" fmla="*/ 226 h 1187"/>
                <a:gd name="T56" fmla="*/ 628 w 2254"/>
                <a:gd name="T57" fmla="*/ 255 h 1187"/>
                <a:gd name="T58" fmla="*/ 577 w 2254"/>
                <a:gd name="T59" fmla="*/ 384 h 1187"/>
                <a:gd name="T60" fmla="*/ 531 w 2254"/>
                <a:gd name="T61" fmla="*/ 239 h 1187"/>
                <a:gd name="T62" fmla="*/ 495 w 2254"/>
                <a:gd name="T63" fmla="*/ 179 h 1187"/>
                <a:gd name="T64" fmla="*/ 512 w 2254"/>
                <a:gd name="T65" fmla="*/ 87 h 1187"/>
                <a:gd name="T66" fmla="*/ 446 w 2254"/>
                <a:gd name="T67" fmla="*/ 87 h 1187"/>
                <a:gd name="T68" fmla="*/ 444 w 2254"/>
                <a:gd name="T69" fmla="*/ 193 h 1187"/>
                <a:gd name="T70" fmla="*/ 372 w 2254"/>
                <a:gd name="T71" fmla="*/ 245 h 1187"/>
                <a:gd name="T72" fmla="*/ 315 w 2254"/>
                <a:gd name="T73" fmla="*/ 185 h 1187"/>
                <a:gd name="T74" fmla="*/ 216 w 2254"/>
                <a:gd name="T75" fmla="*/ 231 h 1187"/>
                <a:gd name="T76" fmla="*/ 191 w 2254"/>
                <a:gd name="T77" fmla="*/ 359 h 1187"/>
                <a:gd name="T78" fmla="*/ 71 w 2254"/>
                <a:gd name="T79" fmla="*/ 465 h 1187"/>
                <a:gd name="T80" fmla="*/ 28 w 2254"/>
                <a:gd name="T81" fmla="*/ 549 h 1187"/>
                <a:gd name="T82" fmla="*/ 4 w 2254"/>
                <a:gd name="T83" fmla="*/ 600 h 1187"/>
                <a:gd name="T84" fmla="*/ 90 w 2254"/>
                <a:gd name="T85" fmla="*/ 710 h 1187"/>
                <a:gd name="T86" fmla="*/ 170 w 2254"/>
                <a:gd name="T87" fmla="*/ 783 h 1187"/>
                <a:gd name="T88" fmla="*/ 232 w 2254"/>
                <a:gd name="T89" fmla="*/ 875 h 1187"/>
                <a:gd name="T90" fmla="*/ 365 w 2254"/>
                <a:gd name="T91" fmla="*/ 978 h 1187"/>
                <a:gd name="T92" fmla="*/ 446 w 2254"/>
                <a:gd name="T93" fmla="*/ 1101 h 1187"/>
                <a:gd name="T94" fmla="*/ 698 w 2254"/>
                <a:gd name="T95" fmla="*/ 991 h 1187"/>
                <a:gd name="T96" fmla="*/ 749 w 2254"/>
                <a:gd name="T97" fmla="*/ 652 h 1187"/>
                <a:gd name="T98" fmla="*/ 449 w 2254"/>
                <a:gd name="T99" fmla="*/ 36 h 1187"/>
                <a:gd name="T100" fmla="*/ 1786 w 2254"/>
                <a:gd name="T101" fmla="*/ 564 h 1187"/>
                <a:gd name="T102" fmla="*/ 1754 w 2254"/>
                <a:gd name="T103" fmla="*/ 513 h 1187"/>
                <a:gd name="T104" fmla="*/ 1697 w 2254"/>
                <a:gd name="T105" fmla="*/ 494 h 1187"/>
                <a:gd name="T106" fmla="*/ 1509 w 2254"/>
                <a:gd name="T107" fmla="*/ 414 h 1187"/>
                <a:gd name="T108" fmla="*/ 1972 w 2254"/>
                <a:gd name="T109" fmla="*/ 636 h 1187"/>
                <a:gd name="T110" fmla="*/ 1955 w 2254"/>
                <a:gd name="T111" fmla="*/ 587 h 1187"/>
                <a:gd name="T112" fmla="*/ 1963 w 2254"/>
                <a:gd name="T113" fmla="*/ 640 h 1187"/>
                <a:gd name="T114" fmla="*/ 449 w 2254"/>
                <a:gd name="T115" fmla="*/ 1 h 1187"/>
                <a:gd name="T116" fmla="*/ 451 w 2254"/>
                <a:gd name="T117" fmla="*/ 27 h 1187"/>
                <a:gd name="T118" fmla="*/ 607 w 2254"/>
                <a:gd name="T119" fmla="*/ 285 h 1187"/>
                <a:gd name="T120" fmla="*/ 575 w 2254"/>
                <a:gd name="T121" fmla="*/ 325 h 1187"/>
                <a:gd name="T122" fmla="*/ 584 w 2254"/>
                <a:gd name="T123" fmla="*/ 288 h 1187"/>
                <a:gd name="T124" fmla="*/ 575 w 2254"/>
                <a:gd name="T125" fmla="*/ 285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54" h="1187">
                  <a:moveTo>
                    <a:pt x="1155" y="600"/>
                  </a:moveTo>
                  <a:lnTo>
                    <a:pt x="1354" y="627"/>
                  </a:lnTo>
                  <a:lnTo>
                    <a:pt x="1412" y="614"/>
                  </a:lnTo>
                  <a:lnTo>
                    <a:pt x="1425" y="634"/>
                  </a:lnTo>
                  <a:lnTo>
                    <a:pt x="1459" y="673"/>
                  </a:lnTo>
                  <a:lnTo>
                    <a:pt x="1486" y="702"/>
                  </a:lnTo>
                  <a:lnTo>
                    <a:pt x="1511" y="723"/>
                  </a:lnTo>
                  <a:lnTo>
                    <a:pt x="1562" y="763"/>
                  </a:lnTo>
                  <a:lnTo>
                    <a:pt x="1647" y="828"/>
                  </a:lnTo>
                  <a:lnTo>
                    <a:pt x="1757" y="909"/>
                  </a:lnTo>
                  <a:lnTo>
                    <a:pt x="1793" y="934"/>
                  </a:lnTo>
                  <a:lnTo>
                    <a:pt x="1787" y="941"/>
                  </a:lnTo>
                  <a:lnTo>
                    <a:pt x="1804" y="942"/>
                  </a:lnTo>
                  <a:lnTo>
                    <a:pt x="1870" y="988"/>
                  </a:lnTo>
                  <a:lnTo>
                    <a:pt x="1903" y="985"/>
                  </a:lnTo>
                  <a:lnTo>
                    <a:pt x="1982" y="985"/>
                  </a:lnTo>
                  <a:lnTo>
                    <a:pt x="2002" y="968"/>
                  </a:lnTo>
                  <a:lnTo>
                    <a:pt x="2003" y="965"/>
                  </a:lnTo>
                  <a:lnTo>
                    <a:pt x="2012" y="957"/>
                  </a:lnTo>
                  <a:lnTo>
                    <a:pt x="2020" y="954"/>
                  </a:lnTo>
                  <a:lnTo>
                    <a:pt x="2026" y="951"/>
                  </a:lnTo>
                  <a:lnTo>
                    <a:pt x="2030" y="951"/>
                  </a:lnTo>
                  <a:lnTo>
                    <a:pt x="2035" y="951"/>
                  </a:lnTo>
                  <a:lnTo>
                    <a:pt x="2036" y="951"/>
                  </a:lnTo>
                  <a:lnTo>
                    <a:pt x="2040" y="948"/>
                  </a:lnTo>
                  <a:lnTo>
                    <a:pt x="2045" y="948"/>
                  </a:lnTo>
                  <a:lnTo>
                    <a:pt x="2048" y="951"/>
                  </a:lnTo>
                  <a:lnTo>
                    <a:pt x="2048" y="955"/>
                  </a:lnTo>
                  <a:lnTo>
                    <a:pt x="2048" y="960"/>
                  </a:lnTo>
                  <a:lnTo>
                    <a:pt x="2062" y="962"/>
                  </a:lnTo>
                  <a:lnTo>
                    <a:pt x="2065" y="955"/>
                  </a:lnTo>
                  <a:lnTo>
                    <a:pt x="2085" y="944"/>
                  </a:lnTo>
                  <a:lnTo>
                    <a:pt x="2085" y="941"/>
                  </a:lnTo>
                  <a:lnTo>
                    <a:pt x="2086" y="935"/>
                  </a:lnTo>
                  <a:lnTo>
                    <a:pt x="2092" y="931"/>
                  </a:lnTo>
                  <a:lnTo>
                    <a:pt x="2098" y="929"/>
                  </a:lnTo>
                  <a:lnTo>
                    <a:pt x="2102" y="928"/>
                  </a:lnTo>
                  <a:lnTo>
                    <a:pt x="2159" y="905"/>
                  </a:lnTo>
                  <a:lnTo>
                    <a:pt x="2169" y="907"/>
                  </a:lnTo>
                  <a:lnTo>
                    <a:pt x="2174" y="909"/>
                  </a:lnTo>
                  <a:lnTo>
                    <a:pt x="2178" y="912"/>
                  </a:lnTo>
                  <a:lnTo>
                    <a:pt x="2182" y="914"/>
                  </a:lnTo>
                  <a:lnTo>
                    <a:pt x="2187" y="914"/>
                  </a:lnTo>
                  <a:lnTo>
                    <a:pt x="2189" y="915"/>
                  </a:lnTo>
                  <a:lnTo>
                    <a:pt x="2195" y="918"/>
                  </a:lnTo>
                  <a:lnTo>
                    <a:pt x="2217" y="928"/>
                  </a:lnTo>
                  <a:lnTo>
                    <a:pt x="2217" y="928"/>
                  </a:lnTo>
                  <a:lnTo>
                    <a:pt x="2219" y="924"/>
                  </a:lnTo>
                  <a:lnTo>
                    <a:pt x="2224" y="922"/>
                  </a:lnTo>
                  <a:lnTo>
                    <a:pt x="2232" y="917"/>
                  </a:lnTo>
                  <a:lnTo>
                    <a:pt x="2237" y="915"/>
                  </a:lnTo>
                  <a:lnTo>
                    <a:pt x="2241" y="911"/>
                  </a:lnTo>
                  <a:lnTo>
                    <a:pt x="2242" y="907"/>
                  </a:lnTo>
                  <a:lnTo>
                    <a:pt x="2244" y="901"/>
                  </a:lnTo>
                  <a:lnTo>
                    <a:pt x="2244" y="901"/>
                  </a:lnTo>
                  <a:lnTo>
                    <a:pt x="2242" y="895"/>
                  </a:lnTo>
                  <a:lnTo>
                    <a:pt x="2240" y="889"/>
                  </a:lnTo>
                  <a:lnTo>
                    <a:pt x="2248" y="875"/>
                  </a:lnTo>
                  <a:lnTo>
                    <a:pt x="2244" y="859"/>
                  </a:lnTo>
                  <a:lnTo>
                    <a:pt x="2219" y="823"/>
                  </a:lnTo>
                  <a:lnTo>
                    <a:pt x="2225" y="821"/>
                  </a:lnTo>
                  <a:lnTo>
                    <a:pt x="2238" y="819"/>
                  </a:lnTo>
                  <a:lnTo>
                    <a:pt x="2245" y="811"/>
                  </a:lnTo>
                  <a:lnTo>
                    <a:pt x="2252" y="788"/>
                  </a:lnTo>
                  <a:lnTo>
                    <a:pt x="2250" y="786"/>
                  </a:lnTo>
                  <a:lnTo>
                    <a:pt x="2247" y="786"/>
                  </a:lnTo>
                  <a:lnTo>
                    <a:pt x="2247" y="789"/>
                  </a:lnTo>
                  <a:lnTo>
                    <a:pt x="2245" y="793"/>
                  </a:lnTo>
                  <a:lnTo>
                    <a:pt x="2242" y="796"/>
                  </a:lnTo>
                  <a:lnTo>
                    <a:pt x="2240" y="799"/>
                  </a:lnTo>
                  <a:lnTo>
                    <a:pt x="2235" y="799"/>
                  </a:lnTo>
                  <a:lnTo>
                    <a:pt x="2234" y="798"/>
                  </a:lnTo>
                  <a:lnTo>
                    <a:pt x="2234" y="798"/>
                  </a:lnTo>
                  <a:lnTo>
                    <a:pt x="2234" y="795"/>
                  </a:lnTo>
                  <a:lnTo>
                    <a:pt x="2234" y="793"/>
                  </a:lnTo>
                  <a:lnTo>
                    <a:pt x="2235" y="791"/>
                  </a:lnTo>
                  <a:lnTo>
                    <a:pt x="2237" y="789"/>
                  </a:lnTo>
                  <a:lnTo>
                    <a:pt x="2240" y="786"/>
                  </a:lnTo>
                  <a:lnTo>
                    <a:pt x="2240" y="785"/>
                  </a:lnTo>
                  <a:lnTo>
                    <a:pt x="2238" y="782"/>
                  </a:lnTo>
                  <a:lnTo>
                    <a:pt x="2238" y="782"/>
                  </a:lnTo>
                  <a:lnTo>
                    <a:pt x="2241" y="782"/>
                  </a:lnTo>
                  <a:lnTo>
                    <a:pt x="2242" y="783"/>
                  </a:lnTo>
                  <a:lnTo>
                    <a:pt x="2244" y="783"/>
                  </a:lnTo>
                  <a:lnTo>
                    <a:pt x="2245" y="782"/>
                  </a:lnTo>
                  <a:lnTo>
                    <a:pt x="2245" y="781"/>
                  </a:lnTo>
                  <a:lnTo>
                    <a:pt x="2247" y="781"/>
                  </a:lnTo>
                  <a:lnTo>
                    <a:pt x="2250" y="782"/>
                  </a:lnTo>
                  <a:lnTo>
                    <a:pt x="2251" y="783"/>
                  </a:lnTo>
                  <a:lnTo>
                    <a:pt x="2252" y="785"/>
                  </a:lnTo>
                  <a:lnTo>
                    <a:pt x="2254" y="783"/>
                  </a:lnTo>
                  <a:lnTo>
                    <a:pt x="2252" y="778"/>
                  </a:lnTo>
                  <a:lnTo>
                    <a:pt x="2251" y="775"/>
                  </a:lnTo>
                  <a:lnTo>
                    <a:pt x="2251" y="769"/>
                  </a:lnTo>
                  <a:lnTo>
                    <a:pt x="2248" y="759"/>
                  </a:lnTo>
                  <a:lnTo>
                    <a:pt x="2245" y="748"/>
                  </a:lnTo>
                  <a:lnTo>
                    <a:pt x="2240" y="736"/>
                  </a:lnTo>
                  <a:lnTo>
                    <a:pt x="2235" y="726"/>
                  </a:lnTo>
                  <a:lnTo>
                    <a:pt x="2229" y="719"/>
                  </a:lnTo>
                  <a:lnTo>
                    <a:pt x="2218" y="700"/>
                  </a:lnTo>
                  <a:lnTo>
                    <a:pt x="2212" y="693"/>
                  </a:lnTo>
                  <a:lnTo>
                    <a:pt x="2209" y="686"/>
                  </a:lnTo>
                  <a:lnTo>
                    <a:pt x="2202" y="679"/>
                  </a:lnTo>
                  <a:lnTo>
                    <a:pt x="2192" y="669"/>
                  </a:lnTo>
                  <a:lnTo>
                    <a:pt x="2191" y="667"/>
                  </a:lnTo>
                  <a:lnTo>
                    <a:pt x="2187" y="663"/>
                  </a:lnTo>
                  <a:lnTo>
                    <a:pt x="2179" y="654"/>
                  </a:lnTo>
                  <a:lnTo>
                    <a:pt x="2166" y="646"/>
                  </a:lnTo>
                  <a:lnTo>
                    <a:pt x="2158" y="637"/>
                  </a:lnTo>
                  <a:lnTo>
                    <a:pt x="2154" y="634"/>
                  </a:lnTo>
                  <a:lnTo>
                    <a:pt x="2145" y="630"/>
                  </a:lnTo>
                  <a:lnTo>
                    <a:pt x="2142" y="626"/>
                  </a:lnTo>
                  <a:lnTo>
                    <a:pt x="2138" y="622"/>
                  </a:lnTo>
                  <a:lnTo>
                    <a:pt x="2132" y="620"/>
                  </a:lnTo>
                  <a:lnTo>
                    <a:pt x="2126" y="617"/>
                  </a:lnTo>
                  <a:lnTo>
                    <a:pt x="2124" y="613"/>
                  </a:lnTo>
                  <a:lnTo>
                    <a:pt x="2124" y="606"/>
                  </a:lnTo>
                  <a:lnTo>
                    <a:pt x="2122" y="600"/>
                  </a:lnTo>
                  <a:lnTo>
                    <a:pt x="2119" y="596"/>
                  </a:lnTo>
                  <a:lnTo>
                    <a:pt x="2116" y="591"/>
                  </a:lnTo>
                  <a:lnTo>
                    <a:pt x="2116" y="589"/>
                  </a:lnTo>
                  <a:lnTo>
                    <a:pt x="2115" y="587"/>
                  </a:lnTo>
                  <a:lnTo>
                    <a:pt x="2112" y="589"/>
                  </a:lnTo>
                  <a:lnTo>
                    <a:pt x="2111" y="587"/>
                  </a:lnTo>
                  <a:lnTo>
                    <a:pt x="2109" y="586"/>
                  </a:lnTo>
                  <a:lnTo>
                    <a:pt x="2105" y="581"/>
                  </a:lnTo>
                  <a:lnTo>
                    <a:pt x="2098" y="579"/>
                  </a:lnTo>
                  <a:lnTo>
                    <a:pt x="2093" y="579"/>
                  </a:lnTo>
                  <a:lnTo>
                    <a:pt x="2091" y="580"/>
                  </a:lnTo>
                  <a:lnTo>
                    <a:pt x="2089" y="584"/>
                  </a:lnTo>
                  <a:lnTo>
                    <a:pt x="2088" y="590"/>
                  </a:lnTo>
                  <a:lnTo>
                    <a:pt x="2088" y="591"/>
                  </a:lnTo>
                  <a:lnTo>
                    <a:pt x="2086" y="593"/>
                  </a:lnTo>
                  <a:lnTo>
                    <a:pt x="2083" y="591"/>
                  </a:lnTo>
                  <a:lnTo>
                    <a:pt x="2081" y="591"/>
                  </a:lnTo>
                  <a:lnTo>
                    <a:pt x="2081" y="593"/>
                  </a:lnTo>
                  <a:lnTo>
                    <a:pt x="2079" y="596"/>
                  </a:lnTo>
                  <a:lnTo>
                    <a:pt x="2079" y="597"/>
                  </a:lnTo>
                  <a:lnTo>
                    <a:pt x="2079" y="599"/>
                  </a:lnTo>
                  <a:lnTo>
                    <a:pt x="2076" y="597"/>
                  </a:lnTo>
                  <a:lnTo>
                    <a:pt x="2073" y="596"/>
                  </a:lnTo>
                  <a:lnTo>
                    <a:pt x="2069" y="593"/>
                  </a:lnTo>
                  <a:lnTo>
                    <a:pt x="2063" y="589"/>
                  </a:lnTo>
                  <a:lnTo>
                    <a:pt x="2060" y="589"/>
                  </a:lnTo>
                  <a:lnTo>
                    <a:pt x="2055" y="589"/>
                  </a:lnTo>
                  <a:lnTo>
                    <a:pt x="2049" y="590"/>
                  </a:lnTo>
                  <a:lnTo>
                    <a:pt x="2046" y="593"/>
                  </a:lnTo>
                  <a:lnTo>
                    <a:pt x="2043" y="599"/>
                  </a:lnTo>
                  <a:lnTo>
                    <a:pt x="2043" y="602"/>
                  </a:lnTo>
                  <a:lnTo>
                    <a:pt x="2042" y="606"/>
                  </a:lnTo>
                  <a:lnTo>
                    <a:pt x="2040" y="612"/>
                  </a:lnTo>
                  <a:lnTo>
                    <a:pt x="2040" y="622"/>
                  </a:lnTo>
                  <a:lnTo>
                    <a:pt x="2040" y="629"/>
                  </a:lnTo>
                  <a:lnTo>
                    <a:pt x="2039" y="637"/>
                  </a:lnTo>
                  <a:lnTo>
                    <a:pt x="2038" y="646"/>
                  </a:lnTo>
                  <a:lnTo>
                    <a:pt x="2038" y="654"/>
                  </a:lnTo>
                  <a:lnTo>
                    <a:pt x="2035" y="659"/>
                  </a:lnTo>
                  <a:lnTo>
                    <a:pt x="2030" y="663"/>
                  </a:lnTo>
                  <a:lnTo>
                    <a:pt x="2028" y="667"/>
                  </a:lnTo>
                  <a:lnTo>
                    <a:pt x="2026" y="670"/>
                  </a:lnTo>
                  <a:lnTo>
                    <a:pt x="2026" y="676"/>
                  </a:lnTo>
                  <a:lnTo>
                    <a:pt x="2028" y="680"/>
                  </a:lnTo>
                  <a:lnTo>
                    <a:pt x="2029" y="680"/>
                  </a:lnTo>
                  <a:lnTo>
                    <a:pt x="2030" y="679"/>
                  </a:lnTo>
                  <a:lnTo>
                    <a:pt x="2032" y="675"/>
                  </a:lnTo>
                  <a:lnTo>
                    <a:pt x="2033" y="670"/>
                  </a:lnTo>
                  <a:lnTo>
                    <a:pt x="2035" y="669"/>
                  </a:lnTo>
                  <a:lnTo>
                    <a:pt x="2036" y="669"/>
                  </a:lnTo>
                  <a:lnTo>
                    <a:pt x="2038" y="672"/>
                  </a:lnTo>
                  <a:lnTo>
                    <a:pt x="2038" y="679"/>
                  </a:lnTo>
                  <a:lnTo>
                    <a:pt x="2036" y="689"/>
                  </a:lnTo>
                  <a:lnTo>
                    <a:pt x="2033" y="695"/>
                  </a:lnTo>
                  <a:lnTo>
                    <a:pt x="2030" y="700"/>
                  </a:lnTo>
                  <a:lnTo>
                    <a:pt x="2026" y="706"/>
                  </a:lnTo>
                  <a:lnTo>
                    <a:pt x="2022" y="710"/>
                  </a:lnTo>
                  <a:lnTo>
                    <a:pt x="2018" y="712"/>
                  </a:lnTo>
                  <a:lnTo>
                    <a:pt x="2015" y="715"/>
                  </a:lnTo>
                  <a:lnTo>
                    <a:pt x="2007" y="716"/>
                  </a:lnTo>
                  <a:lnTo>
                    <a:pt x="1999" y="720"/>
                  </a:lnTo>
                  <a:lnTo>
                    <a:pt x="1992" y="722"/>
                  </a:lnTo>
                  <a:lnTo>
                    <a:pt x="1983" y="723"/>
                  </a:lnTo>
                  <a:lnTo>
                    <a:pt x="1975" y="723"/>
                  </a:lnTo>
                  <a:lnTo>
                    <a:pt x="1967" y="720"/>
                  </a:lnTo>
                  <a:lnTo>
                    <a:pt x="1963" y="718"/>
                  </a:lnTo>
                  <a:lnTo>
                    <a:pt x="1957" y="712"/>
                  </a:lnTo>
                  <a:lnTo>
                    <a:pt x="1956" y="710"/>
                  </a:lnTo>
                  <a:lnTo>
                    <a:pt x="1953" y="709"/>
                  </a:lnTo>
                  <a:lnTo>
                    <a:pt x="1950" y="706"/>
                  </a:lnTo>
                  <a:lnTo>
                    <a:pt x="1944" y="706"/>
                  </a:lnTo>
                  <a:lnTo>
                    <a:pt x="1939" y="709"/>
                  </a:lnTo>
                  <a:lnTo>
                    <a:pt x="1936" y="710"/>
                  </a:lnTo>
                  <a:lnTo>
                    <a:pt x="1934" y="715"/>
                  </a:lnTo>
                  <a:lnTo>
                    <a:pt x="1934" y="718"/>
                  </a:lnTo>
                  <a:lnTo>
                    <a:pt x="1932" y="716"/>
                  </a:lnTo>
                  <a:lnTo>
                    <a:pt x="1930" y="718"/>
                  </a:lnTo>
                  <a:lnTo>
                    <a:pt x="1930" y="719"/>
                  </a:lnTo>
                  <a:lnTo>
                    <a:pt x="1932" y="722"/>
                  </a:lnTo>
                  <a:lnTo>
                    <a:pt x="1934" y="726"/>
                  </a:lnTo>
                  <a:lnTo>
                    <a:pt x="1934" y="732"/>
                  </a:lnTo>
                  <a:lnTo>
                    <a:pt x="1933" y="738"/>
                  </a:lnTo>
                  <a:lnTo>
                    <a:pt x="1929" y="743"/>
                  </a:lnTo>
                  <a:lnTo>
                    <a:pt x="1924" y="746"/>
                  </a:lnTo>
                  <a:lnTo>
                    <a:pt x="1922" y="748"/>
                  </a:lnTo>
                  <a:lnTo>
                    <a:pt x="1919" y="749"/>
                  </a:lnTo>
                  <a:lnTo>
                    <a:pt x="1916" y="750"/>
                  </a:lnTo>
                  <a:lnTo>
                    <a:pt x="1913" y="749"/>
                  </a:lnTo>
                  <a:lnTo>
                    <a:pt x="1910" y="749"/>
                  </a:lnTo>
                  <a:lnTo>
                    <a:pt x="1909" y="750"/>
                  </a:lnTo>
                  <a:lnTo>
                    <a:pt x="1907" y="750"/>
                  </a:lnTo>
                  <a:lnTo>
                    <a:pt x="1904" y="750"/>
                  </a:lnTo>
                  <a:lnTo>
                    <a:pt x="1902" y="746"/>
                  </a:lnTo>
                  <a:lnTo>
                    <a:pt x="1900" y="742"/>
                  </a:lnTo>
                  <a:lnTo>
                    <a:pt x="1897" y="740"/>
                  </a:lnTo>
                  <a:lnTo>
                    <a:pt x="1897" y="738"/>
                  </a:lnTo>
                  <a:lnTo>
                    <a:pt x="1894" y="733"/>
                  </a:lnTo>
                  <a:lnTo>
                    <a:pt x="1890" y="728"/>
                  </a:lnTo>
                  <a:lnTo>
                    <a:pt x="1886" y="722"/>
                  </a:lnTo>
                  <a:lnTo>
                    <a:pt x="1884" y="719"/>
                  </a:lnTo>
                  <a:lnTo>
                    <a:pt x="1884" y="715"/>
                  </a:lnTo>
                  <a:lnTo>
                    <a:pt x="1889" y="712"/>
                  </a:lnTo>
                  <a:lnTo>
                    <a:pt x="1894" y="706"/>
                  </a:lnTo>
                  <a:lnTo>
                    <a:pt x="1896" y="703"/>
                  </a:lnTo>
                  <a:lnTo>
                    <a:pt x="1897" y="700"/>
                  </a:lnTo>
                  <a:lnTo>
                    <a:pt x="1897" y="697"/>
                  </a:lnTo>
                  <a:lnTo>
                    <a:pt x="1899" y="693"/>
                  </a:lnTo>
                  <a:lnTo>
                    <a:pt x="1903" y="690"/>
                  </a:lnTo>
                  <a:lnTo>
                    <a:pt x="1907" y="687"/>
                  </a:lnTo>
                  <a:lnTo>
                    <a:pt x="1909" y="686"/>
                  </a:lnTo>
                  <a:lnTo>
                    <a:pt x="1912" y="685"/>
                  </a:lnTo>
                  <a:lnTo>
                    <a:pt x="1914" y="686"/>
                  </a:lnTo>
                  <a:lnTo>
                    <a:pt x="1916" y="687"/>
                  </a:lnTo>
                  <a:lnTo>
                    <a:pt x="1919" y="690"/>
                  </a:lnTo>
                  <a:lnTo>
                    <a:pt x="1920" y="692"/>
                  </a:lnTo>
                  <a:lnTo>
                    <a:pt x="1924" y="693"/>
                  </a:lnTo>
                  <a:lnTo>
                    <a:pt x="1927" y="692"/>
                  </a:lnTo>
                  <a:lnTo>
                    <a:pt x="1929" y="690"/>
                  </a:lnTo>
                  <a:lnTo>
                    <a:pt x="1932" y="686"/>
                  </a:lnTo>
                  <a:lnTo>
                    <a:pt x="1932" y="682"/>
                  </a:lnTo>
                  <a:lnTo>
                    <a:pt x="1932" y="677"/>
                  </a:lnTo>
                  <a:lnTo>
                    <a:pt x="1932" y="673"/>
                  </a:lnTo>
                  <a:lnTo>
                    <a:pt x="1930" y="665"/>
                  </a:lnTo>
                  <a:lnTo>
                    <a:pt x="1929" y="656"/>
                  </a:lnTo>
                  <a:lnTo>
                    <a:pt x="1926" y="649"/>
                  </a:lnTo>
                  <a:lnTo>
                    <a:pt x="1922" y="646"/>
                  </a:lnTo>
                  <a:lnTo>
                    <a:pt x="1920" y="643"/>
                  </a:lnTo>
                  <a:lnTo>
                    <a:pt x="1922" y="642"/>
                  </a:lnTo>
                  <a:lnTo>
                    <a:pt x="1924" y="642"/>
                  </a:lnTo>
                  <a:lnTo>
                    <a:pt x="1933" y="644"/>
                  </a:lnTo>
                  <a:lnTo>
                    <a:pt x="1936" y="644"/>
                  </a:lnTo>
                  <a:lnTo>
                    <a:pt x="1940" y="649"/>
                  </a:lnTo>
                  <a:lnTo>
                    <a:pt x="1943" y="650"/>
                  </a:lnTo>
                  <a:lnTo>
                    <a:pt x="1946" y="649"/>
                  </a:lnTo>
                  <a:lnTo>
                    <a:pt x="1946" y="649"/>
                  </a:lnTo>
                  <a:lnTo>
                    <a:pt x="1944" y="644"/>
                  </a:lnTo>
                  <a:lnTo>
                    <a:pt x="1942" y="642"/>
                  </a:lnTo>
                  <a:lnTo>
                    <a:pt x="1932" y="636"/>
                  </a:lnTo>
                  <a:lnTo>
                    <a:pt x="1920" y="632"/>
                  </a:lnTo>
                  <a:lnTo>
                    <a:pt x="1912" y="629"/>
                  </a:lnTo>
                  <a:lnTo>
                    <a:pt x="1903" y="627"/>
                  </a:lnTo>
                  <a:lnTo>
                    <a:pt x="1890" y="626"/>
                  </a:lnTo>
                  <a:lnTo>
                    <a:pt x="1886" y="626"/>
                  </a:lnTo>
                  <a:lnTo>
                    <a:pt x="1883" y="624"/>
                  </a:lnTo>
                  <a:lnTo>
                    <a:pt x="1876" y="624"/>
                  </a:lnTo>
                  <a:lnTo>
                    <a:pt x="1869" y="623"/>
                  </a:lnTo>
                  <a:lnTo>
                    <a:pt x="1867" y="622"/>
                  </a:lnTo>
                  <a:lnTo>
                    <a:pt x="1866" y="626"/>
                  </a:lnTo>
                  <a:lnTo>
                    <a:pt x="1863" y="630"/>
                  </a:lnTo>
                  <a:lnTo>
                    <a:pt x="1859" y="632"/>
                  </a:lnTo>
                  <a:lnTo>
                    <a:pt x="1857" y="630"/>
                  </a:lnTo>
                  <a:lnTo>
                    <a:pt x="1851" y="627"/>
                  </a:lnTo>
                  <a:lnTo>
                    <a:pt x="1846" y="623"/>
                  </a:lnTo>
                  <a:lnTo>
                    <a:pt x="1843" y="623"/>
                  </a:lnTo>
                  <a:lnTo>
                    <a:pt x="1838" y="623"/>
                  </a:lnTo>
                  <a:lnTo>
                    <a:pt x="1836" y="626"/>
                  </a:lnTo>
                  <a:lnTo>
                    <a:pt x="1831" y="627"/>
                  </a:lnTo>
                  <a:lnTo>
                    <a:pt x="1827" y="627"/>
                  </a:lnTo>
                  <a:lnTo>
                    <a:pt x="1826" y="630"/>
                  </a:lnTo>
                  <a:lnTo>
                    <a:pt x="1824" y="633"/>
                  </a:lnTo>
                  <a:lnTo>
                    <a:pt x="1823" y="636"/>
                  </a:lnTo>
                  <a:lnTo>
                    <a:pt x="1816" y="637"/>
                  </a:lnTo>
                  <a:lnTo>
                    <a:pt x="1808" y="637"/>
                  </a:lnTo>
                  <a:lnTo>
                    <a:pt x="1801" y="634"/>
                  </a:lnTo>
                  <a:lnTo>
                    <a:pt x="1793" y="627"/>
                  </a:lnTo>
                  <a:lnTo>
                    <a:pt x="1790" y="622"/>
                  </a:lnTo>
                  <a:lnTo>
                    <a:pt x="1790" y="613"/>
                  </a:lnTo>
                  <a:lnTo>
                    <a:pt x="1788" y="606"/>
                  </a:lnTo>
                  <a:lnTo>
                    <a:pt x="1787" y="603"/>
                  </a:lnTo>
                  <a:lnTo>
                    <a:pt x="1786" y="602"/>
                  </a:lnTo>
                  <a:lnTo>
                    <a:pt x="1783" y="602"/>
                  </a:lnTo>
                  <a:lnTo>
                    <a:pt x="1781" y="603"/>
                  </a:lnTo>
                  <a:lnTo>
                    <a:pt x="1780" y="604"/>
                  </a:lnTo>
                  <a:lnTo>
                    <a:pt x="1775" y="606"/>
                  </a:lnTo>
                  <a:lnTo>
                    <a:pt x="1774" y="604"/>
                  </a:lnTo>
                  <a:lnTo>
                    <a:pt x="1774" y="603"/>
                  </a:lnTo>
                  <a:lnTo>
                    <a:pt x="1775" y="603"/>
                  </a:lnTo>
                  <a:lnTo>
                    <a:pt x="1778" y="603"/>
                  </a:lnTo>
                  <a:lnTo>
                    <a:pt x="1780" y="600"/>
                  </a:lnTo>
                  <a:lnTo>
                    <a:pt x="1780" y="599"/>
                  </a:lnTo>
                  <a:lnTo>
                    <a:pt x="1777" y="597"/>
                  </a:lnTo>
                  <a:lnTo>
                    <a:pt x="1771" y="597"/>
                  </a:lnTo>
                  <a:lnTo>
                    <a:pt x="1767" y="594"/>
                  </a:lnTo>
                  <a:lnTo>
                    <a:pt x="1764" y="589"/>
                  </a:lnTo>
                  <a:lnTo>
                    <a:pt x="1761" y="583"/>
                  </a:lnTo>
                  <a:lnTo>
                    <a:pt x="1758" y="576"/>
                  </a:lnTo>
                  <a:lnTo>
                    <a:pt x="1755" y="573"/>
                  </a:lnTo>
                  <a:lnTo>
                    <a:pt x="1754" y="571"/>
                  </a:lnTo>
                  <a:lnTo>
                    <a:pt x="1750" y="573"/>
                  </a:lnTo>
                  <a:lnTo>
                    <a:pt x="1745" y="574"/>
                  </a:lnTo>
                  <a:lnTo>
                    <a:pt x="1737" y="574"/>
                  </a:lnTo>
                  <a:lnTo>
                    <a:pt x="1730" y="571"/>
                  </a:lnTo>
                  <a:lnTo>
                    <a:pt x="1727" y="570"/>
                  </a:lnTo>
                  <a:lnTo>
                    <a:pt x="1725" y="567"/>
                  </a:lnTo>
                  <a:lnTo>
                    <a:pt x="1722" y="564"/>
                  </a:lnTo>
                  <a:lnTo>
                    <a:pt x="1721" y="563"/>
                  </a:lnTo>
                  <a:lnTo>
                    <a:pt x="1717" y="563"/>
                  </a:lnTo>
                  <a:lnTo>
                    <a:pt x="1711" y="564"/>
                  </a:lnTo>
                  <a:lnTo>
                    <a:pt x="1702" y="564"/>
                  </a:lnTo>
                  <a:lnTo>
                    <a:pt x="1698" y="563"/>
                  </a:lnTo>
                  <a:lnTo>
                    <a:pt x="1694" y="564"/>
                  </a:lnTo>
                  <a:lnTo>
                    <a:pt x="1692" y="567"/>
                  </a:lnTo>
                  <a:lnTo>
                    <a:pt x="1690" y="567"/>
                  </a:lnTo>
                  <a:lnTo>
                    <a:pt x="1688" y="566"/>
                  </a:lnTo>
                  <a:lnTo>
                    <a:pt x="1685" y="566"/>
                  </a:lnTo>
                  <a:lnTo>
                    <a:pt x="1682" y="569"/>
                  </a:lnTo>
                  <a:lnTo>
                    <a:pt x="1677" y="571"/>
                  </a:lnTo>
                  <a:lnTo>
                    <a:pt x="1671" y="571"/>
                  </a:lnTo>
                  <a:lnTo>
                    <a:pt x="1668" y="573"/>
                  </a:lnTo>
                  <a:lnTo>
                    <a:pt x="1668" y="574"/>
                  </a:lnTo>
                  <a:lnTo>
                    <a:pt x="1669" y="576"/>
                  </a:lnTo>
                  <a:lnTo>
                    <a:pt x="1669" y="579"/>
                  </a:lnTo>
                  <a:lnTo>
                    <a:pt x="1669" y="580"/>
                  </a:lnTo>
                  <a:lnTo>
                    <a:pt x="1668" y="583"/>
                  </a:lnTo>
                  <a:lnTo>
                    <a:pt x="1664" y="586"/>
                  </a:lnTo>
                  <a:lnTo>
                    <a:pt x="1659" y="590"/>
                  </a:lnTo>
                  <a:lnTo>
                    <a:pt x="1655" y="594"/>
                  </a:lnTo>
                  <a:lnTo>
                    <a:pt x="1654" y="596"/>
                  </a:lnTo>
                  <a:lnTo>
                    <a:pt x="1652" y="596"/>
                  </a:lnTo>
                  <a:lnTo>
                    <a:pt x="1652" y="594"/>
                  </a:lnTo>
                  <a:lnTo>
                    <a:pt x="1651" y="591"/>
                  </a:lnTo>
                  <a:lnTo>
                    <a:pt x="1649" y="589"/>
                  </a:lnTo>
                  <a:lnTo>
                    <a:pt x="1647" y="586"/>
                  </a:lnTo>
                  <a:lnTo>
                    <a:pt x="1647" y="581"/>
                  </a:lnTo>
                  <a:lnTo>
                    <a:pt x="1647" y="577"/>
                  </a:lnTo>
                  <a:lnTo>
                    <a:pt x="1647" y="574"/>
                  </a:lnTo>
                  <a:lnTo>
                    <a:pt x="1649" y="571"/>
                  </a:lnTo>
                  <a:lnTo>
                    <a:pt x="1651" y="567"/>
                  </a:lnTo>
                  <a:lnTo>
                    <a:pt x="1651" y="564"/>
                  </a:lnTo>
                  <a:lnTo>
                    <a:pt x="1651" y="563"/>
                  </a:lnTo>
                  <a:lnTo>
                    <a:pt x="1647" y="563"/>
                  </a:lnTo>
                  <a:lnTo>
                    <a:pt x="1642" y="564"/>
                  </a:lnTo>
                  <a:lnTo>
                    <a:pt x="1639" y="564"/>
                  </a:lnTo>
                  <a:lnTo>
                    <a:pt x="1637" y="563"/>
                  </a:lnTo>
                  <a:lnTo>
                    <a:pt x="1634" y="561"/>
                  </a:lnTo>
                  <a:lnTo>
                    <a:pt x="1632" y="561"/>
                  </a:lnTo>
                  <a:lnTo>
                    <a:pt x="1631" y="561"/>
                  </a:lnTo>
                  <a:lnTo>
                    <a:pt x="1627" y="567"/>
                  </a:lnTo>
                  <a:lnTo>
                    <a:pt x="1622" y="569"/>
                  </a:lnTo>
                  <a:lnTo>
                    <a:pt x="1615" y="573"/>
                  </a:lnTo>
                  <a:lnTo>
                    <a:pt x="1608" y="576"/>
                  </a:lnTo>
                  <a:lnTo>
                    <a:pt x="1602" y="580"/>
                  </a:lnTo>
                  <a:lnTo>
                    <a:pt x="1599" y="581"/>
                  </a:lnTo>
                  <a:lnTo>
                    <a:pt x="1594" y="580"/>
                  </a:lnTo>
                  <a:lnTo>
                    <a:pt x="1591" y="580"/>
                  </a:lnTo>
                  <a:lnTo>
                    <a:pt x="1584" y="580"/>
                  </a:lnTo>
                  <a:lnTo>
                    <a:pt x="1576" y="584"/>
                  </a:lnTo>
                  <a:lnTo>
                    <a:pt x="1572" y="584"/>
                  </a:lnTo>
                  <a:lnTo>
                    <a:pt x="1571" y="583"/>
                  </a:lnTo>
                  <a:lnTo>
                    <a:pt x="1569" y="581"/>
                  </a:lnTo>
                  <a:lnTo>
                    <a:pt x="1571" y="577"/>
                  </a:lnTo>
                  <a:lnTo>
                    <a:pt x="1574" y="577"/>
                  </a:lnTo>
                  <a:lnTo>
                    <a:pt x="1578" y="577"/>
                  </a:lnTo>
                  <a:lnTo>
                    <a:pt x="1582" y="577"/>
                  </a:lnTo>
                  <a:lnTo>
                    <a:pt x="1585" y="576"/>
                  </a:lnTo>
                  <a:lnTo>
                    <a:pt x="1588" y="574"/>
                  </a:lnTo>
                  <a:lnTo>
                    <a:pt x="1594" y="576"/>
                  </a:lnTo>
                  <a:lnTo>
                    <a:pt x="1598" y="576"/>
                  </a:lnTo>
                  <a:lnTo>
                    <a:pt x="1604" y="574"/>
                  </a:lnTo>
                  <a:lnTo>
                    <a:pt x="1611" y="571"/>
                  </a:lnTo>
                  <a:lnTo>
                    <a:pt x="1615" y="569"/>
                  </a:lnTo>
                  <a:lnTo>
                    <a:pt x="1622" y="564"/>
                  </a:lnTo>
                  <a:lnTo>
                    <a:pt x="1628" y="561"/>
                  </a:lnTo>
                  <a:lnTo>
                    <a:pt x="1629" y="559"/>
                  </a:lnTo>
                  <a:lnTo>
                    <a:pt x="1629" y="557"/>
                  </a:lnTo>
                  <a:lnTo>
                    <a:pt x="1632" y="557"/>
                  </a:lnTo>
                  <a:lnTo>
                    <a:pt x="1637" y="560"/>
                  </a:lnTo>
                  <a:lnTo>
                    <a:pt x="1642" y="560"/>
                  </a:lnTo>
                  <a:lnTo>
                    <a:pt x="1644" y="559"/>
                  </a:lnTo>
                  <a:lnTo>
                    <a:pt x="1645" y="557"/>
                  </a:lnTo>
                  <a:lnTo>
                    <a:pt x="1647" y="554"/>
                  </a:lnTo>
                  <a:lnTo>
                    <a:pt x="1645" y="553"/>
                  </a:lnTo>
                  <a:lnTo>
                    <a:pt x="1644" y="551"/>
                  </a:lnTo>
                  <a:lnTo>
                    <a:pt x="1638" y="550"/>
                  </a:lnTo>
                  <a:lnTo>
                    <a:pt x="1637" y="550"/>
                  </a:lnTo>
                  <a:lnTo>
                    <a:pt x="1634" y="550"/>
                  </a:lnTo>
                  <a:lnTo>
                    <a:pt x="1629" y="550"/>
                  </a:lnTo>
                  <a:lnTo>
                    <a:pt x="1627" y="551"/>
                  </a:lnTo>
                  <a:lnTo>
                    <a:pt x="1625" y="551"/>
                  </a:lnTo>
                  <a:lnTo>
                    <a:pt x="1622" y="553"/>
                  </a:lnTo>
                  <a:lnTo>
                    <a:pt x="1617" y="553"/>
                  </a:lnTo>
                  <a:lnTo>
                    <a:pt x="1611" y="551"/>
                  </a:lnTo>
                  <a:lnTo>
                    <a:pt x="1611" y="550"/>
                  </a:lnTo>
                  <a:lnTo>
                    <a:pt x="1614" y="547"/>
                  </a:lnTo>
                  <a:lnTo>
                    <a:pt x="1614" y="546"/>
                  </a:lnTo>
                  <a:lnTo>
                    <a:pt x="1611" y="541"/>
                  </a:lnTo>
                  <a:lnTo>
                    <a:pt x="1608" y="538"/>
                  </a:lnTo>
                  <a:lnTo>
                    <a:pt x="1604" y="533"/>
                  </a:lnTo>
                  <a:lnTo>
                    <a:pt x="1601" y="530"/>
                  </a:lnTo>
                  <a:lnTo>
                    <a:pt x="1596" y="528"/>
                  </a:lnTo>
                  <a:lnTo>
                    <a:pt x="1595" y="528"/>
                  </a:lnTo>
                  <a:lnTo>
                    <a:pt x="1592" y="527"/>
                  </a:lnTo>
                  <a:lnTo>
                    <a:pt x="1591" y="526"/>
                  </a:lnTo>
                  <a:lnTo>
                    <a:pt x="1589" y="523"/>
                  </a:lnTo>
                  <a:lnTo>
                    <a:pt x="1588" y="523"/>
                  </a:lnTo>
                  <a:lnTo>
                    <a:pt x="1585" y="524"/>
                  </a:lnTo>
                  <a:lnTo>
                    <a:pt x="1581" y="527"/>
                  </a:lnTo>
                  <a:lnTo>
                    <a:pt x="1578" y="530"/>
                  </a:lnTo>
                  <a:lnTo>
                    <a:pt x="1575" y="531"/>
                  </a:lnTo>
                  <a:lnTo>
                    <a:pt x="1571" y="533"/>
                  </a:lnTo>
                  <a:lnTo>
                    <a:pt x="1564" y="533"/>
                  </a:lnTo>
                  <a:lnTo>
                    <a:pt x="1561" y="533"/>
                  </a:lnTo>
                  <a:lnTo>
                    <a:pt x="1558" y="536"/>
                  </a:lnTo>
                  <a:lnTo>
                    <a:pt x="1555" y="538"/>
                  </a:lnTo>
                  <a:lnTo>
                    <a:pt x="1552" y="538"/>
                  </a:lnTo>
                  <a:lnTo>
                    <a:pt x="1552" y="537"/>
                  </a:lnTo>
                  <a:lnTo>
                    <a:pt x="1552" y="536"/>
                  </a:lnTo>
                  <a:lnTo>
                    <a:pt x="1553" y="534"/>
                  </a:lnTo>
                  <a:lnTo>
                    <a:pt x="1559" y="531"/>
                  </a:lnTo>
                  <a:lnTo>
                    <a:pt x="1568" y="528"/>
                  </a:lnTo>
                  <a:lnTo>
                    <a:pt x="1571" y="527"/>
                  </a:lnTo>
                  <a:lnTo>
                    <a:pt x="1574" y="527"/>
                  </a:lnTo>
                  <a:lnTo>
                    <a:pt x="1575" y="526"/>
                  </a:lnTo>
                  <a:lnTo>
                    <a:pt x="1574" y="526"/>
                  </a:lnTo>
                  <a:lnTo>
                    <a:pt x="1572" y="524"/>
                  </a:lnTo>
                  <a:lnTo>
                    <a:pt x="1572" y="523"/>
                  </a:lnTo>
                  <a:lnTo>
                    <a:pt x="1578" y="523"/>
                  </a:lnTo>
                  <a:lnTo>
                    <a:pt x="1582" y="523"/>
                  </a:lnTo>
                  <a:lnTo>
                    <a:pt x="1585" y="518"/>
                  </a:lnTo>
                  <a:lnTo>
                    <a:pt x="1591" y="514"/>
                  </a:lnTo>
                  <a:lnTo>
                    <a:pt x="1598" y="511"/>
                  </a:lnTo>
                  <a:lnTo>
                    <a:pt x="1602" y="513"/>
                  </a:lnTo>
                  <a:lnTo>
                    <a:pt x="1608" y="513"/>
                  </a:lnTo>
                  <a:lnTo>
                    <a:pt x="1611" y="516"/>
                  </a:lnTo>
                  <a:lnTo>
                    <a:pt x="1614" y="518"/>
                  </a:lnTo>
                  <a:lnTo>
                    <a:pt x="1612" y="520"/>
                  </a:lnTo>
                  <a:lnTo>
                    <a:pt x="1612" y="524"/>
                  </a:lnTo>
                  <a:lnTo>
                    <a:pt x="1611" y="527"/>
                  </a:lnTo>
                  <a:lnTo>
                    <a:pt x="1614" y="527"/>
                  </a:lnTo>
                  <a:lnTo>
                    <a:pt x="1615" y="524"/>
                  </a:lnTo>
                  <a:lnTo>
                    <a:pt x="1617" y="520"/>
                  </a:lnTo>
                  <a:lnTo>
                    <a:pt x="1621" y="518"/>
                  </a:lnTo>
                  <a:lnTo>
                    <a:pt x="1622" y="518"/>
                  </a:lnTo>
                  <a:lnTo>
                    <a:pt x="1624" y="520"/>
                  </a:lnTo>
                  <a:lnTo>
                    <a:pt x="1622" y="527"/>
                  </a:lnTo>
                  <a:lnTo>
                    <a:pt x="1622" y="528"/>
                  </a:lnTo>
                  <a:lnTo>
                    <a:pt x="1624" y="528"/>
                  </a:lnTo>
                  <a:lnTo>
                    <a:pt x="1627" y="527"/>
                  </a:lnTo>
                  <a:lnTo>
                    <a:pt x="1632" y="527"/>
                  </a:lnTo>
                  <a:lnTo>
                    <a:pt x="1634" y="527"/>
                  </a:lnTo>
                  <a:lnTo>
                    <a:pt x="1639" y="523"/>
                  </a:lnTo>
                  <a:lnTo>
                    <a:pt x="1644" y="517"/>
                  </a:lnTo>
                  <a:lnTo>
                    <a:pt x="1647" y="513"/>
                  </a:lnTo>
                  <a:lnTo>
                    <a:pt x="1647" y="508"/>
                  </a:lnTo>
                  <a:lnTo>
                    <a:pt x="1648" y="504"/>
                  </a:lnTo>
                  <a:lnTo>
                    <a:pt x="1647" y="500"/>
                  </a:lnTo>
                  <a:lnTo>
                    <a:pt x="1647" y="498"/>
                  </a:lnTo>
                  <a:lnTo>
                    <a:pt x="1647" y="496"/>
                  </a:lnTo>
                  <a:lnTo>
                    <a:pt x="1647" y="493"/>
                  </a:lnTo>
                  <a:lnTo>
                    <a:pt x="1648" y="490"/>
                  </a:lnTo>
                  <a:lnTo>
                    <a:pt x="1652" y="488"/>
                  </a:lnTo>
                  <a:lnTo>
                    <a:pt x="1657" y="487"/>
                  </a:lnTo>
                  <a:lnTo>
                    <a:pt x="1661" y="485"/>
                  </a:lnTo>
                  <a:lnTo>
                    <a:pt x="1662" y="484"/>
                  </a:lnTo>
                  <a:lnTo>
                    <a:pt x="1667" y="480"/>
                  </a:lnTo>
                  <a:lnTo>
                    <a:pt x="1671" y="477"/>
                  </a:lnTo>
                  <a:lnTo>
                    <a:pt x="1674" y="474"/>
                  </a:lnTo>
                  <a:lnTo>
                    <a:pt x="1675" y="475"/>
                  </a:lnTo>
                  <a:lnTo>
                    <a:pt x="1677" y="477"/>
                  </a:lnTo>
                  <a:lnTo>
                    <a:pt x="1678" y="478"/>
                  </a:lnTo>
                  <a:lnTo>
                    <a:pt x="1682" y="475"/>
                  </a:lnTo>
                  <a:lnTo>
                    <a:pt x="1687" y="475"/>
                  </a:lnTo>
                  <a:lnTo>
                    <a:pt x="1687" y="474"/>
                  </a:lnTo>
                  <a:lnTo>
                    <a:pt x="1685" y="471"/>
                  </a:lnTo>
                  <a:lnTo>
                    <a:pt x="1682" y="467"/>
                  </a:lnTo>
                  <a:lnTo>
                    <a:pt x="1678" y="460"/>
                  </a:lnTo>
                  <a:lnTo>
                    <a:pt x="1675" y="457"/>
                  </a:lnTo>
                  <a:lnTo>
                    <a:pt x="1674" y="457"/>
                  </a:lnTo>
                  <a:lnTo>
                    <a:pt x="1672" y="461"/>
                  </a:lnTo>
                  <a:lnTo>
                    <a:pt x="1671" y="465"/>
                  </a:lnTo>
                  <a:lnTo>
                    <a:pt x="1671" y="465"/>
                  </a:lnTo>
                  <a:lnTo>
                    <a:pt x="1669" y="464"/>
                  </a:lnTo>
                  <a:lnTo>
                    <a:pt x="1671" y="458"/>
                  </a:lnTo>
                  <a:lnTo>
                    <a:pt x="1671" y="454"/>
                  </a:lnTo>
                  <a:lnTo>
                    <a:pt x="1674" y="453"/>
                  </a:lnTo>
                  <a:lnTo>
                    <a:pt x="1678" y="453"/>
                  </a:lnTo>
                  <a:lnTo>
                    <a:pt x="1682" y="457"/>
                  </a:lnTo>
                  <a:lnTo>
                    <a:pt x="1688" y="460"/>
                  </a:lnTo>
                  <a:lnTo>
                    <a:pt x="1692" y="463"/>
                  </a:lnTo>
                  <a:lnTo>
                    <a:pt x="1700" y="465"/>
                  </a:lnTo>
                  <a:lnTo>
                    <a:pt x="1707" y="473"/>
                  </a:lnTo>
                  <a:lnTo>
                    <a:pt x="1712" y="474"/>
                  </a:lnTo>
                  <a:lnTo>
                    <a:pt x="1717" y="474"/>
                  </a:lnTo>
                  <a:lnTo>
                    <a:pt x="1720" y="474"/>
                  </a:lnTo>
                  <a:lnTo>
                    <a:pt x="1721" y="475"/>
                  </a:lnTo>
                  <a:lnTo>
                    <a:pt x="1724" y="477"/>
                  </a:lnTo>
                  <a:lnTo>
                    <a:pt x="1724" y="475"/>
                  </a:lnTo>
                  <a:lnTo>
                    <a:pt x="1724" y="473"/>
                  </a:lnTo>
                  <a:lnTo>
                    <a:pt x="1720" y="470"/>
                  </a:lnTo>
                  <a:lnTo>
                    <a:pt x="1708" y="461"/>
                  </a:lnTo>
                  <a:lnTo>
                    <a:pt x="1700" y="454"/>
                  </a:lnTo>
                  <a:lnTo>
                    <a:pt x="1688" y="448"/>
                  </a:lnTo>
                  <a:lnTo>
                    <a:pt x="1681" y="447"/>
                  </a:lnTo>
                  <a:lnTo>
                    <a:pt x="1669" y="444"/>
                  </a:lnTo>
                  <a:lnTo>
                    <a:pt x="1655" y="441"/>
                  </a:lnTo>
                  <a:lnTo>
                    <a:pt x="1644" y="441"/>
                  </a:lnTo>
                  <a:lnTo>
                    <a:pt x="1635" y="440"/>
                  </a:lnTo>
                  <a:lnTo>
                    <a:pt x="1622" y="438"/>
                  </a:lnTo>
                  <a:lnTo>
                    <a:pt x="1612" y="438"/>
                  </a:lnTo>
                  <a:lnTo>
                    <a:pt x="1599" y="438"/>
                  </a:lnTo>
                  <a:lnTo>
                    <a:pt x="1591" y="437"/>
                  </a:lnTo>
                  <a:lnTo>
                    <a:pt x="1584" y="435"/>
                  </a:lnTo>
                  <a:lnTo>
                    <a:pt x="1581" y="437"/>
                  </a:lnTo>
                  <a:lnTo>
                    <a:pt x="1579" y="437"/>
                  </a:lnTo>
                  <a:lnTo>
                    <a:pt x="1581" y="440"/>
                  </a:lnTo>
                  <a:lnTo>
                    <a:pt x="1582" y="443"/>
                  </a:lnTo>
                  <a:lnTo>
                    <a:pt x="1584" y="444"/>
                  </a:lnTo>
                  <a:lnTo>
                    <a:pt x="1586" y="444"/>
                  </a:lnTo>
                  <a:lnTo>
                    <a:pt x="1589" y="443"/>
                  </a:lnTo>
                  <a:lnTo>
                    <a:pt x="1592" y="443"/>
                  </a:lnTo>
                  <a:lnTo>
                    <a:pt x="1595" y="443"/>
                  </a:lnTo>
                  <a:lnTo>
                    <a:pt x="1598" y="444"/>
                  </a:lnTo>
                  <a:lnTo>
                    <a:pt x="1599" y="445"/>
                  </a:lnTo>
                  <a:lnTo>
                    <a:pt x="1601" y="448"/>
                  </a:lnTo>
                  <a:lnTo>
                    <a:pt x="1601" y="448"/>
                  </a:lnTo>
                  <a:lnTo>
                    <a:pt x="1598" y="450"/>
                  </a:lnTo>
                  <a:lnTo>
                    <a:pt x="1595" y="448"/>
                  </a:lnTo>
                  <a:lnTo>
                    <a:pt x="1592" y="445"/>
                  </a:lnTo>
                  <a:lnTo>
                    <a:pt x="1591" y="445"/>
                  </a:lnTo>
                  <a:lnTo>
                    <a:pt x="1588" y="445"/>
                  </a:lnTo>
                  <a:lnTo>
                    <a:pt x="1586" y="448"/>
                  </a:lnTo>
                  <a:lnTo>
                    <a:pt x="1586" y="450"/>
                  </a:lnTo>
                  <a:lnTo>
                    <a:pt x="1586" y="453"/>
                  </a:lnTo>
                  <a:lnTo>
                    <a:pt x="1588" y="455"/>
                  </a:lnTo>
                  <a:lnTo>
                    <a:pt x="1586" y="458"/>
                  </a:lnTo>
                  <a:lnTo>
                    <a:pt x="1586" y="461"/>
                  </a:lnTo>
                  <a:lnTo>
                    <a:pt x="1588" y="465"/>
                  </a:lnTo>
                  <a:lnTo>
                    <a:pt x="1589" y="468"/>
                  </a:lnTo>
                  <a:lnTo>
                    <a:pt x="1588" y="471"/>
                  </a:lnTo>
                  <a:lnTo>
                    <a:pt x="1585" y="474"/>
                  </a:lnTo>
                  <a:lnTo>
                    <a:pt x="1579" y="475"/>
                  </a:lnTo>
                  <a:lnTo>
                    <a:pt x="1575" y="474"/>
                  </a:lnTo>
                  <a:lnTo>
                    <a:pt x="1571" y="474"/>
                  </a:lnTo>
                  <a:lnTo>
                    <a:pt x="1569" y="475"/>
                  </a:lnTo>
                  <a:lnTo>
                    <a:pt x="1564" y="477"/>
                  </a:lnTo>
                  <a:lnTo>
                    <a:pt x="1561" y="475"/>
                  </a:lnTo>
                  <a:lnTo>
                    <a:pt x="1555" y="475"/>
                  </a:lnTo>
                  <a:lnTo>
                    <a:pt x="1552" y="475"/>
                  </a:lnTo>
                  <a:lnTo>
                    <a:pt x="1549" y="474"/>
                  </a:lnTo>
                  <a:lnTo>
                    <a:pt x="1549" y="473"/>
                  </a:lnTo>
                  <a:lnTo>
                    <a:pt x="1548" y="470"/>
                  </a:lnTo>
                  <a:lnTo>
                    <a:pt x="1549" y="464"/>
                  </a:lnTo>
                  <a:lnTo>
                    <a:pt x="1549" y="461"/>
                  </a:lnTo>
                  <a:lnTo>
                    <a:pt x="1553" y="461"/>
                  </a:lnTo>
                  <a:lnTo>
                    <a:pt x="1558" y="461"/>
                  </a:lnTo>
                  <a:lnTo>
                    <a:pt x="1562" y="461"/>
                  </a:lnTo>
                  <a:lnTo>
                    <a:pt x="1565" y="458"/>
                  </a:lnTo>
                  <a:lnTo>
                    <a:pt x="1566" y="453"/>
                  </a:lnTo>
                  <a:lnTo>
                    <a:pt x="1565" y="448"/>
                  </a:lnTo>
                  <a:lnTo>
                    <a:pt x="1565" y="445"/>
                  </a:lnTo>
                  <a:lnTo>
                    <a:pt x="1562" y="444"/>
                  </a:lnTo>
                  <a:lnTo>
                    <a:pt x="1559" y="444"/>
                  </a:lnTo>
                  <a:lnTo>
                    <a:pt x="1558" y="444"/>
                  </a:lnTo>
                  <a:lnTo>
                    <a:pt x="1556" y="443"/>
                  </a:lnTo>
                  <a:lnTo>
                    <a:pt x="1558" y="443"/>
                  </a:lnTo>
                  <a:lnTo>
                    <a:pt x="1561" y="441"/>
                  </a:lnTo>
                  <a:lnTo>
                    <a:pt x="1564" y="441"/>
                  </a:lnTo>
                  <a:lnTo>
                    <a:pt x="1568" y="441"/>
                  </a:lnTo>
                  <a:lnTo>
                    <a:pt x="1571" y="440"/>
                  </a:lnTo>
                  <a:lnTo>
                    <a:pt x="1574" y="440"/>
                  </a:lnTo>
                  <a:lnTo>
                    <a:pt x="1575" y="440"/>
                  </a:lnTo>
                  <a:lnTo>
                    <a:pt x="1575" y="437"/>
                  </a:lnTo>
                  <a:lnTo>
                    <a:pt x="1572" y="434"/>
                  </a:lnTo>
                  <a:lnTo>
                    <a:pt x="1564" y="434"/>
                  </a:lnTo>
                  <a:lnTo>
                    <a:pt x="1555" y="433"/>
                  </a:lnTo>
                  <a:lnTo>
                    <a:pt x="1548" y="430"/>
                  </a:lnTo>
                  <a:lnTo>
                    <a:pt x="1542" y="428"/>
                  </a:lnTo>
                  <a:lnTo>
                    <a:pt x="1536" y="424"/>
                  </a:lnTo>
                  <a:lnTo>
                    <a:pt x="1532" y="424"/>
                  </a:lnTo>
                  <a:lnTo>
                    <a:pt x="1531" y="425"/>
                  </a:lnTo>
                  <a:lnTo>
                    <a:pt x="1531" y="428"/>
                  </a:lnTo>
                  <a:lnTo>
                    <a:pt x="1531" y="431"/>
                  </a:lnTo>
                  <a:lnTo>
                    <a:pt x="1528" y="431"/>
                  </a:lnTo>
                  <a:lnTo>
                    <a:pt x="1525" y="430"/>
                  </a:lnTo>
                  <a:lnTo>
                    <a:pt x="1523" y="425"/>
                  </a:lnTo>
                  <a:lnTo>
                    <a:pt x="1519" y="425"/>
                  </a:lnTo>
                  <a:lnTo>
                    <a:pt x="1512" y="424"/>
                  </a:lnTo>
                  <a:lnTo>
                    <a:pt x="1505" y="424"/>
                  </a:lnTo>
                  <a:lnTo>
                    <a:pt x="1501" y="421"/>
                  </a:lnTo>
                  <a:lnTo>
                    <a:pt x="1496" y="418"/>
                  </a:lnTo>
                  <a:lnTo>
                    <a:pt x="1492" y="417"/>
                  </a:lnTo>
                  <a:lnTo>
                    <a:pt x="1489" y="415"/>
                  </a:lnTo>
                  <a:lnTo>
                    <a:pt x="1486" y="414"/>
                  </a:lnTo>
                  <a:lnTo>
                    <a:pt x="1486" y="412"/>
                  </a:lnTo>
                  <a:lnTo>
                    <a:pt x="1486" y="411"/>
                  </a:lnTo>
                  <a:lnTo>
                    <a:pt x="1488" y="408"/>
                  </a:lnTo>
                  <a:lnTo>
                    <a:pt x="1488" y="407"/>
                  </a:lnTo>
                  <a:lnTo>
                    <a:pt x="1485" y="407"/>
                  </a:lnTo>
                  <a:lnTo>
                    <a:pt x="1479" y="408"/>
                  </a:lnTo>
                  <a:lnTo>
                    <a:pt x="1465" y="410"/>
                  </a:lnTo>
                  <a:lnTo>
                    <a:pt x="1460" y="411"/>
                  </a:lnTo>
                  <a:lnTo>
                    <a:pt x="1458" y="411"/>
                  </a:lnTo>
                  <a:lnTo>
                    <a:pt x="1459" y="410"/>
                  </a:lnTo>
                  <a:lnTo>
                    <a:pt x="1459" y="408"/>
                  </a:lnTo>
                  <a:lnTo>
                    <a:pt x="1458" y="408"/>
                  </a:lnTo>
                  <a:lnTo>
                    <a:pt x="1453" y="408"/>
                  </a:lnTo>
                  <a:lnTo>
                    <a:pt x="1450" y="408"/>
                  </a:lnTo>
                  <a:lnTo>
                    <a:pt x="1442" y="410"/>
                  </a:lnTo>
                  <a:lnTo>
                    <a:pt x="1435" y="410"/>
                  </a:lnTo>
                  <a:lnTo>
                    <a:pt x="1427" y="410"/>
                  </a:lnTo>
                  <a:lnTo>
                    <a:pt x="1423" y="408"/>
                  </a:lnTo>
                  <a:lnTo>
                    <a:pt x="1422" y="408"/>
                  </a:lnTo>
                  <a:lnTo>
                    <a:pt x="1419" y="410"/>
                  </a:lnTo>
                  <a:lnTo>
                    <a:pt x="1417" y="408"/>
                  </a:lnTo>
                  <a:lnTo>
                    <a:pt x="1416" y="408"/>
                  </a:lnTo>
                  <a:lnTo>
                    <a:pt x="1412" y="408"/>
                  </a:lnTo>
                  <a:lnTo>
                    <a:pt x="1399" y="407"/>
                  </a:lnTo>
                  <a:lnTo>
                    <a:pt x="1377" y="405"/>
                  </a:lnTo>
                  <a:lnTo>
                    <a:pt x="1373" y="405"/>
                  </a:lnTo>
                  <a:lnTo>
                    <a:pt x="1367" y="404"/>
                  </a:lnTo>
                  <a:lnTo>
                    <a:pt x="1360" y="402"/>
                  </a:lnTo>
                  <a:lnTo>
                    <a:pt x="1356" y="401"/>
                  </a:lnTo>
                  <a:lnTo>
                    <a:pt x="1349" y="397"/>
                  </a:lnTo>
                  <a:lnTo>
                    <a:pt x="1344" y="392"/>
                  </a:lnTo>
                  <a:lnTo>
                    <a:pt x="1342" y="390"/>
                  </a:lnTo>
                  <a:lnTo>
                    <a:pt x="1340" y="385"/>
                  </a:lnTo>
                  <a:lnTo>
                    <a:pt x="1339" y="380"/>
                  </a:lnTo>
                  <a:lnTo>
                    <a:pt x="1339" y="374"/>
                  </a:lnTo>
                  <a:lnTo>
                    <a:pt x="1340" y="367"/>
                  </a:lnTo>
                  <a:lnTo>
                    <a:pt x="1339" y="365"/>
                  </a:lnTo>
                  <a:lnTo>
                    <a:pt x="1336" y="365"/>
                  </a:lnTo>
                  <a:lnTo>
                    <a:pt x="1334" y="367"/>
                  </a:lnTo>
                  <a:lnTo>
                    <a:pt x="1334" y="372"/>
                  </a:lnTo>
                  <a:lnTo>
                    <a:pt x="1334" y="377"/>
                  </a:lnTo>
                  <a:lnTo>
                    <a:pt x="1336" y="380"/>
                  </a:lnTo>
                  <a:lnTo>
                    <a:pt x="1336" y="384"/>
                  </a:lnTo>
                  <a:lnTo>
                    <a:pt x="1334" y="388"/>
                  </a:lnTo>
                  <a:lnTo>
                    <a:pt x="1330" y="392"/>
                  </a:lnTo>
                  <a:lnTo>
                    <a:pt x="1324" y="395"/>
                  </a:lnTo>
                  <a:lnTo>
                    <a:pt x="1320" y="398"/>
                  </a:lnTo>
                  <a:lnTo>
                    <a:pt x="1316" y="398"/>
                  </a:lnTo>
                  <a:lnTo>
                    <a:pt x="1314" y="397"/>
                  </a:lnTo>
                  <a:lnTo>
                    <a:pt x="1307" y="397"/>
                  </a:lnTo>
                  <a:lnTo>
                    <a:pt x="1303" y="395"/>
                  </a:lnTo>
                  <a:lnTo>
                    <a:pt x="1301" y="394"/>
                  </a:lnTo>
                  <a:lnTo>
                    <a:pt x="1299" y="391"/>
                  </a:lnTo>
                  <a:lnTo>
                    <a:pt x="1297" y="387"/>
                  </a:lnTo>
                  <a:lnTo>
                    <a:pt x="1296" y="385"/>
                  </a:lnTo>
                  <a:lnTo>
                    <a:pt x="1291" y="384"/>
                  </a:lnTo>
                  <a:lnTo>
                    <a:pt x="1289" y="384"/>
                  </a:lnTo>
                  <a:lnTo>
                    <a:pt x="1284" y="382"/>
                  </a:lnTo>
                  <a:lnTo>
                    <a:pt x="1281" y="381"/>
                  </a:lnTo>
                  <a:lnTo>
                    <a:pt x="1280" y="377"/>
                  </a:lnTo>
                  <a:lnTo>
                    <a:pt x="1279" y="374"/>
                  </a:lnTo>
                  <a:lnTo>
                    <a:pt x="1274" y="372"/>
                  </a:lnTo>
                  <a:lnTo>
                    <a:pt x="1270" y="372"/>
                  </a:lnTo>
                  <a:lnTo>
                    <a:pt x="1266" y="374"/>
                  </a:lnTo>
                  <a:lnTo>
                    <a:pt x="1263" y="378"/>
                  </a:lnTo>
                  <a:lnTo>
                    <a:pt x="1261" y="384"/>
                  </a:lnTo>
                  <a:lnTo>
                    <a:pt x="1260" y="391"/>
                  </a:lnTo>
                  <a:lnTo>
                    <a:pt x="1256" y="394"/>
                  </a:lnTo>
                  <a:lnTo>
                    <a:pt x="1250" y="395"/>
                  </a:lnTo>
                  <a:lnTo>
                    <a:pt x="1243" y="398"/>
                  </a:lnTo>
                  <a:lnTo>
                    <a:pt x="1234" y="400"/>
                  </a:lnTo>
                  <a:lnTo>
                    <a:pt x="1231" y="402"/>
                  </a:lnTo>
                  <a:lnTo>
                    <a:pt x="1228" y="407"/>
                  </a:lnTo>
                  <a:lnTo>
                    <a:pt x="1227" y="410"/>
                  </a:lnTo>
                  <a:lnTo>
                    <a:pt x="1224" y="411"/>
                  </a:lnTo>
                  <a:lnTo>
                    <a:pt x="1220" y="410"/>
                  </a:lnTo>
                  <a:lnTo>
                    <a:pt x="1217" y="411"/>
                  </a:lnTo>
                  <a:lnTo>
                    <a:pt x="1215" y="412"/>
                  </a:lnTo>
                  <a:lnTo>
                    <a:pt x="1214" y="415"/>
                  </a:lnTo>
                  <a:lnTo>
                    <a:pt x="1213" y="421"/>
                  </a:lnTo>
                  <a:lnTo>
                    <a:pt x="1210" y="424"/>
                  </a:lnTo>
                  <a:lnTo>
                    <a:pt x="1207" y="427"/>
                  </a:lnTo>
                  <a:lnTo>
                    <a:pt x="1200" y="431"/>
                  </a:lnTo>
                  <a:lnTo>
                    <a:pt x="1194" y="435"/>
                  </a:lnTo>
                  <a:lnTo>
                    <a:pt x="1185" y="437"/>
                  </a:lnTo>
                  <a:lnTo>
                    <a:pt x="1181" y="437"/>
                  </a:lnTo>
                  <a:lnTo>
                    <a:pt x="1177" y="437"/>
                  </a:lnTo>
                  <a:lnTo>
                    <a:pt x="1175" y="435"/>
                  </a:lnTo>
                  <a:lnTo>
                    <a:pt x="1173" y="431"/>
                  </a:lnTo>
                  <a:lnTo>
                    <a:pt x="1168" y="427"/>
                  </a:lnTo>
                  <a:lnTo>
                    <a:pt x="1164" y="425"/>
                  </a:lnTo>
                  <a:lnTo>
                    <a:pt x="1154" y="422"/>
                  </a:lnTo>
                  <a:lnTo>
                    <a:pt x="1148" y="418"/>
                  </a:lnTo>
                  <a:lnTo>
                    <a:pt x="1145" y="415"/>
                  </a:lnTo>
                  <a:lnTo>
                    <a:pt x="1142" y="415"/>
                  </a:lnTo>
                  <a:lnTo>
                    <a:pt x="1138" y="420"/>
                  </a:lnTo>
                  <a:lnTo>
                    <a:pt x="1137" y="418"/>
                  </a:lnTo>
                  <a:lnTo>
                    <a:pt x="1137" y="415"/>
                  </a:lnTo>
                  <a:lnTo>
                    <a:pt x="1137" y="411"/>
                  </a:lnTo>
                  <a:lnTo>
                    <a:pt x="1137" y="408"/>
                  </a:lnTo>
                  <a:lnTo>
                    <a:pt x="1135" y="407"/>
                  </a:lnTo>
                  <a:lnTo>
                    <a:pt x="1134" y="405"/>
                  </a:lnTo>
                  <a:lnTo>
                    <a:pt x="1130" y="405"/>
                  </a:lnTo>
                  <a:lnTo>
                    <a:pt x="1127" y="404"/>
                  </a:lnTo>
                  <a:lnTo>
                    <a:pt x="1125" y="401"/>
                  </a:lnTo>
                  <a:lnTo>
                    <a:pt x="1124" y="400"/>
                  </a:lnTo>
                  <a:lnTo>
                    <a:pt x="1122" y="401"/>
                  </a:lnTo>
                  <a:lnTo>
                    <a:pt x="1120" y="400"/>
                  </a:lnTo>
                  <a:lnTo>
                    <a:pt x="1120" y="398"/>
                  </a:lnTo>
                  <a:lnTo>
                    <a:pt x="1122" y="398"/>
                  </a:lnTo>
                  <a:lnTo>
                    <a:pt x="1124" y="397"/>
                  </a:lnTo>
                  <a:lnTo>
                    <a:pt x="1125" y="398"/>
                  </a:lnTo>
                  <a:lnTo>
                    <a:pt x="1127" y="394"/>
                  </a:lnTo>
                  <a:lnTo>
                    <a:pt x="1124" y="391"/>
                  </a:lnTo>
                  <a:lnTo>
                    <a:pt x="1121" y="388"/>
                  </a:lnTo>
                  <a:lnTo>
                    <a:pt x="1114" y="387"/>
                  </a:lnTo>
                  <a:lnTo>
                    <a:pt x="1110" y="384"/>
                  </a:lnTo>
                  <a:lnTo>
                    <a:pt x="1107" y="381"/>
                  </a:lnTo>
                  <a:lnTo>
                    <a:pt x="1101" y="377"/>
                  </a:lnTo>
                  <a:lnTo>
                    <a:pt x="1101" y="374"/>
                  </a:lnTo>
                  <a:lnTo>
                    <a:pt x="1099" y="365"/>
                  </a:lnTo>
                  <a:lnTo>
                    <a:pt x="1099" y="359"/>
                  </a:lnTo>
                  <a:lnTo>
                    <a:pt x="1101" y="351"/>
                  </a:lnTo>
                  <a:lnTo>
                    <a:pt x="1102" y="345"/>
                  </a:lnTo>
                  <a:lnTo>
                    <a:pt x="1105" y="341"/>
                  </a:lnTo>
                  <a:lnTo>
                    <a:pt x="1110" y="335"/>
                  </a:lnTo>
                  <a:lnTo>
                    <a:pt x="1111" y="329"/>
                  </a:lnTo>
                  <a:lnTo>
                    <a:pt x="1112" y="327"/>
                  </a:lnTo>
                  <a:lnTo>
                    <a:pt x="1117" y="322"/>
                  </a:lnTo>
                  <a:lnTo>
                    <a:pt x="1120" y="318"/>
                  </a:lnTo>
                  <a:lnTo>
                    <a:pt x="1121" y="314"/>
                  </a:lnTo>
                  <a:lnTo>
                    <a:pt x="1120" y="308"/>
                  </a:lnTo>
                  <a:lnTo>
                    <a:pt x="1118" y="305"/>
                  </a:lnTo>
                  <a:lnTo>
                    <a:pt x="1118" y="302"/>
                  </a:lnTo>
                  <a:lnTo>
                    <a:pt x="1117" y="298"/>
                  </a:lnTo>
                  <a:lnTo>
                    <a:pt x="1114" y="296"/>
                  </a:lnTo>
                  <a:lnTo>
                    <a:pt x="1114" y="288"/>
                  </a:lnTo>
                  <a:lnTo>
                    <a:pt x="1112" y="281"/>
                  </a:lnTo>
                  <a:lnTo>
                    <a:pt x="1112" y="275"/>
                  </a:lnTo>
                  <a:lnTo>
                    <a:pt x="1114" y="265"/>
                  </a:lnTo>
                  <a:lnTo>
                    <a:pt x="1118" y="259"/>
                  </a:lnTo>
                  <a:lnTo>
                    <a:pt x="1128" y="256"/>
                  </a:lnTo>
                  <a:lnTo>
                    <a:pt x="1137" y="253"/>
                  </a:lnTo>
                  <a:lnTo>
                    <a:pt x="1141" y="253"/>
                  </a:lnTo>
                  <a:lnTo>
                    <a:pt x="1145" y="253"/>
                  </a:lnTo>
                  <a:lnTo>
                    <a:pt x="1150" y="253"/>
                  </a:lnTo>
                  <a:lnTo>
                    <a:pt x="1155" y="255"/>
                  </a:lnTo>
                  <a:lnTo>
                    <a:pt x="1161" y="255"/>
                  </a:lnTo>
                  <a:lnTo>
                    <a:pt x="1164" y="255"/>
                  </a:lnTo>
                  <a:lnTo>
                    <a:pt x="1165" y="256"/>
                  </a:lnTo>
                  <a:lnTo>
                    <a:pt x="1167" y="256"/>
                  </a:lnTo>
                  <a:lnTo>
                    <a:pt x="1168" y="253"/>
                  </a:lnTo>
                  <a:lnTo>
                    <a:pt x="1168" y="251"/>
                  </a:lnTo>
                  <a:lnTo>
                    <a:pt x="1171" y="249"/>
                  </a:lnTo>
                  <a:lnTo>
                    <a:pt x="1175" y="249"/>
                  </a:lnTo>
                  <a:lnTo>
                    <a:pt x="1180" y="251"/>
                  </a:lnTo>
                  <a:lnTo>
                    <a:pt x="1181" y="251"/>
                  </a:lnTo>
                  <a:lnTo>
                    <a:pt x="1185" y="252"/>
                  </a:lnTo>
                  <a:lnTo>
                    <a:pt x="1190" y="255"/>
                  </a:lnTo>
                  <a:lnTo>
                    <a:pt x="1194" y="259"/>
                  </a:lnTo>
                  <a:lnTo>
                    <a:pt x="1203" y="265"/>
                  </a:lnTo>
                  <a:lnTo>
                    <a:pt x="1207" y="266"/>
                  </a:lnTo>
                  <a:lnTo>
                    <a:pt x="1211" y="268"/>
                  </a:lnTo>
                  <a:lnTo>
                    <a:pt x="1215" y="272"/>
                  </a:lnTo>
                  <a:lnTo>
                    <a:pt x="1221" y="278"/>
                  </a:lnTo>
                  <a:lnTo>
                    <a:pt x="1227" y="279"/>
                  </a:lnTo>
                  <a:lnTo>
                    <a:pt x="1230" y="281"/>
                  </a:lnTo>
                  <a:lnTo>
                    <a:pt x="1233" y="282"/>
                  </a:lnTo>
                  <a:lnTo>
                    <a:pt x="1236" y="288"/>
                  </a:lnTo>
                  <a:lnTo>
                    <a:pt x="1240" y="294"/>
                  </a:lnTo>
                  <a:lnTo>
                    <a:pt x="1243" y="295"/>
                  </a:lnTo>
                  <a:lnTo>
                    <a:pt x="1246" y="295"/>
                  </a:lnTo>
                  <a:lnTo>
                    <a:pt x="1248" y="294"/>
                  </a:lnTo>
                  <a:lnTo>
                    <a:pt x="1250" y="292"/>
                  </a:lnTo>
                  <a:lnTo>
                    <a:pt x="1253" y="289"/>
                  </a:lnTo>
                  <a:lnTo>
                    <a:pt x="1254" y="284"/>
                  </a:lnTo>
                  <a:lnTo>
                    <a:pt x="1257" y="276"/>
                  </a:lnTo>
                  <a:lnTo>
                    <a:pt x="1260" y="269"/>
                  </a:lnTo>
                  <a:lnTo>
                    <a:pt x="1266" y="264"/>
                  </a:lnTo>
                  <a:lnTo>
                    <a:pt x="1268" y="259"/>
                  </a:lnTo>
                  <a:lnTo>
                    <a:pt x="1271" y="258"/>
                  </a:lnTo>
                  <a:lnTo>
                    <a:pt x="1274" y="255"/>
                  </a:lnTo>
                  <a:lnTo>
                    <a:pt x="1276" y="251"/>
                  </a:lnTo>
                  <a:lnTo>
                    <a:pt x="1277" y="245"/>
                  </a:lnTo>
                  <a:lnTo>
                    <a:pt x="1277" y="239"/>
                  </a:lnTo>
                  <a:lnTo>
                    <a:pt x="1274" y="232"/>
                  </a:lnTo>
                  <a:lnTo>
                    <a:pt x="1276" y="226"/>
                  </a:lnTo>
                  <a:lnTo>
                    <a:pt x="1277" y="219"/>
                  </a:lnTo>
                  <a:lnTo>
                    <a:pt x="1279" y="215"/>
                  </a:lnTo>
                  <a:lnTo>
                    <a:pt x="1279" y="212"/>
                  </a:lnTo>
                  <a:lnTo>
                    <a:pt x="1280" y="209"/>
                  </a:lnTo>
                  <a:lnTo>
                    <a:pt x="1281" y="206"/>
                  </a:lnTo>
                  <a:lnTo>
                    <a:pt x="1281" y="202"/>
                  </a:lnTo>
                  <a:lnTo>
                    <a:pt x="1283" y="196"/>
                  </a:lnTo>
                  <a:lnTo>
                    <a:pt x="1284" y="193"/>
                  </a:lnTo>
                  <a:lnTo>
                    <a:pt x="1289" y="193"/>
                  </a:lnTo>
                  <a:lnTo>
                    <a:pt x="1290" y="192"/>
                  </a:lnTo>
                  <a:lnTo>
                    <a:pt x="1290" y="189"/>
                  </a:lnTo>
                  <a:lnTo>
                    <a:pt x="1286" y="179"/>
                  </a:lnTo>
                  <a:lnTo>
                    <a:pt x="1283" y="168"/>
                  </a:lnTo>
                  <a:lnTo>
                    <a:pt x="1277" y="155"/>
                  </a:lnTo>
                  <a:lnTo>
                    <a:pt x="1264" y="137"/>
                  </a:lnTo>
                  <a:lnTo>
                    <a:pt x="1251" y="125"/>
                  </a:lnTo>
                  <a:lnTo>
                    <a:pt x="1244" y="119"/>
                  </a:lnTo>
                  <a:lnTo>
                    <a:pt x="1233" y="109"/>
                  </a:lnTo>
                  <a:lnTo>
                    <a:pt x="1226" y="103"/>
                  </a:lnTo>
                  <a:lnTo>
                    <a:pt x="1224" y="99"/>
                  </a:lnTo>
                  <a:lnTo>
                    <a:pt x="1223" y="92"/>
                  </a:lnTo>
                  <a:lnTo>
                    <a:pt x="1223" y="84"/>
                  </a:lnTo>
                  <a:lnTo>
                    <a:pt x="1223" y="79"/>
                  </a:lnTo>
                  <a:lnTo>
                    <a:pt x="1221" y="74"/>
                  </a:lnTo>
                  <a:lnTo>
                    <a:pt x="1220" y="64"/>
                  </a:lnTo>
                  <a:lnTo>
                    <a:pt x="1217" y="54"/>
                  </a:lnTo>
                  <a:lnTo>
                    <a:pt x="1214" y="50"/>
                  </a:lnTo>
                  <a:lnTo>
                    <a:pt x="1210" y="50"/>
                  </a:lnTo>
                  <a:lnTo>
                    <a:pt x="1207" y="53"/>
                  </a:lnTo>
                  <a:lnTo>
                    <a:pt x="1204" y="62"/>
                  </a:lnTo>
                  <a:lnTo>
                    <a:pt x="1204" y="73"/>
                  </a:lnTo>
                  <a:lnTo>
                    <a:pt x="1204" y="92"/>
                  </a:lnTo>
                  <a:lnTo>
                    <a:pt x="1204" y="117"/>
                  </a:lnTo>
                  <a:lnTo>
                    <a:pt x="1203" y="129"/>
                  </a:lnTo>
                  <a:lnTo>
                    <a:pt x="1201" y="135"/>
                  </a:lnTo>
                  <a:lnTo>
                    <a:pt x="1195" y="140"/>
                  </a:lnTo>
                  <a:lnTo>
                    <a:pt x="1181" y="149"/>
                  </a:lnTo>
                  <a:lnTo>
                    <a:pt x="1180" y="150"/>
                  </a:lnTo>
                  <a:lnTo>
                    <a:pt x="1175" y="150"/>
                  </a:lnTo>
                  <a:lnTo>
                    <a:pt x="1171" y="153"/>
                  </a:lnTo>
                  <a:lnTo>
                    <a:pt x="1168" y="155"/>
                  </a:lnTo>
                  <a:lnTo>
                    <a:pt x="1167" y="155"/>
                  </a:lnTo>
                  <a:lnTo>
                    <a:pt x="1167" y="159"/>
                  </a:lnTo>
                  <a:lnTo>
                    <a:pt x="1165" y="159"/>
                  </a:lnTo>
                  <a:lnTo>
                    <a:pt x="1160" y="160"/>
                  </a:lnTo>
                  <a:lnTo>
                    <a:pt x="1158" y="160"/>
                  </a:lnTo>
                  <a:lnTo>
                    <a:pt x="1154" y="163"/>
                  </a:lnTo>
                  <a:lnTo>
                    <a:pt x="1151" y="165"/>
                  </a:lnTo>
                  <a:lnTo>
                    <a:pt x="1148" y="166"/>
                  </a:lnTo>
                  <a:lnTo>
                    <a:pt x="1148" y="169"/>
                  </a:lnTo>
                  <a:lnTo>
                    <a:pt x="1150" y="170"/>
                  </a:lnTo>
                  <a:lnTo>
                    <a:pt x="1152" y="170"/>
                  </a:lnTo>
                  <a:lnTo>
                    <a:pt x="1154" y="173"/>
                  </a:lnTo>
                  <a:lnTo>
                    <a:pt x="1152" y="176"/>
                  </a:lnTo>
                  <a:lnTo>
                    <a:pt x="1148" y="176"/>
                  </a:lnTo>
                  <a:lnTo>
                    <a:pt x="1145" y="173"/>
                  </a:lnTo>
                  <a:lnTo>
                    <a:pt x="1144" y="172"/>
                  </a:lnTo>
                  <a:lnTo>
                    <a:pt x="1140" y="170"/>
                  </a:lnTo>
                  <a:lnTo>
                    <a:pt x="1138" y="172"/>
                  </a:lnTo>
                  <a:lnTo>
                    <a:pt x="1134" y="176"/>
                  </a:lnTo>
                  <a:lnTo>
                    <a:pt x="1131" y="179"/>
                  </a:lnTo>
                  <a:lnTo>
                    <a:pt x="1128" y="182"/>
                  </a:lnTo>
                  <a:lnTo>
                    <a:pt x="1124" y="185"/>
                  </a:lnTo>
                  <a:lnTo>
                    <a:pt x="1122" y="186"/>
                  </a:lnTo>
                  <a:lnTo>
                    <a:pt x="1118" y="188"/>
                  </a:lnTo>
                  <a:lnTo>
                    <a:pt x="1117" y="189"/>
                  </a:lnTo>
                  <a:lnTo>
                    <a:pt x="1118" y="190"/>
                  </a:lnTo>
                  <a:lnTo>
                    <a:pt x="1120" y="193"/>
                  </a:lnTo>
                  <a:lnTo>
                    <a:pt x="1108" y="196"/>
                  </a:lnTo>
                  <a:lnTo>
                    <a:pt x="1105" y="196"/>
                  </a:lnTo>
                  <a:lnTo>
                    <a:pt x="1101" y="199"/>
                  </a:lnTo>
                  <a:lnTo>
                    <a:pt x="1095" y="200"/>
                  </a:lnTo>
                  <a:lnTo>
                    <a:pt x="1087" y="205"/>
                  </a:lnTo>
                  <a:lnTo>
                    <a:pt x="1082" y="205"/>
                  </a:lnTo>
                  <a:lnTo>
                    <a:pt x="1081" y="205"/>
                  </a:lnTo>
                  <a:lnTo>
                    <a:pt x="1071" y="209"/>
                  </a:lnTo>
                  <a:lnTo>
                    <a:pt x="1058" y="215"/>
                  </a:lnTo>
                  <a:lnTo>
                    <a:pt x="1049" y="219"/>
                  </a:lnTo>
                  <a:lnTo>
                    <a:pt x="1046" y="221"/>
                  </a:lnTo>
                  <a:lnTo>
                    <a:pt x="1045" y="223"/>
                  </a:lnTo>
                  <a:lnTo>
                    <a:pt x="1044" y="233"/>
                  </a:lnTo>
                  <a:lnTo>
                    <a:pt x="1045" y="236"/>
                  </a:lnTo>
                  <a:lnTo>
                    <a:pt x="1049" y="239"/>
                  </a:lnTo>
                  <a:lnTo>
                    <a:pt x="1051" y="242"/>
                  </a:lnTo>
                  <a:lnTo>
                    <a:pt x="1051" y="248"/>
                  </a:lnTo>
                  <a:lnTo>
                    <a:pt x="1049" y="252"/>
                  </a:lnTo>
                  <a:lnTo>
                    <a:pt x="1049" y="261"/>
                  </a:lnTo>
                  <a:lnTo>
                    <a:pt x="1051" y="262"/>
                  </a:lnTo>
                  <a:lnTo>
                    <a:pt x="1052" y="264"/>
                  </a:lnTo>
                  <a:lnTo>
                    <a:pt x="1054" y="265"/>
                  </a:lnTo>
                  <a:lnTo>
                    <a:pt x="1052" y="266"/>
                  </a:lnTo>
                  <a:lnTo>
                    <a:pt x="1048" y="266"/>
                  </a:lnTo>
                  <a:lnTo>
                    <a:pt x="1048" y="269"/>
                  </a:lnTo>
                  <a:lnTo>
                    <a:pt x="1046" y="274"/>
                  </a:lnTo>
                  <a:lnTo>
                    <a:pt x="1045" y="276"/>
                  </a:lnTo>
                  <a:lnTo>
                    <a:pt x="1044" y="282"/>
                  </a:lnTo>
                  <a:lnTo>
                    <a:pt x="1042" y="284"/>
                  </a:lnTo>
                  <a:lnTo>
                    <a:pt x="1041" y="286"/>
                  </a:lnTo>
                  <a:lnTo>
                    <a:pt x="1041" y="288"/>
                  </a:lnTo>
                  <a:lnTo>
                    <a:pt x="1042" y="291"/>
                  </a:lnTo>
                  <a:lnTo>
                    <a:pt x="1041" y="292"/>
                  </a:lnTo>
                  <a:lnTo>
                    <a:pt x="1039" y="291"/>
                  </a:lnTo>
                  <a:lnTo>
                    <a:pt x="1038" y="291"/>
                  </a:lnTo>
                  <a:lnTo>
                    <a:pt x="1035" y="292"/>
                  </a:lnTo>
                  <a:lnTo>
                    <a:pt x="1034" y="294"/>
                  </a:lnTo>
                  <a:lnTo>
                    <a:pt x="1034" y="296"/>
                  </a:lnTo>
                  <a:lnTo>
                    <a:pt x="1031" y="298"/>
                  </a:lnTo>
                  <a:lnTo>
                    <a:pt x="1028" y="299"/>
                  </a:lnTo>
                  <a:lnTo>
                    <a:pt x="1024" y="299"/>
                  </a:lnTo>
                  <a:lnTo>
                    <a:pt x="1019" y="299"/>
                  </a:lnTo>
                  <a:lnTo>
                    <a:pt x="1016" y="301"/>
                  </a:lnTo>
                  <a:lnTo>
                    <a:pt x="1014" y="304"/>
                  </a:lnTo>
                  <a:lnTo>
                    <a:pt x="1014" y="306"/>
                  </a:lnTo>
                  <a:lnTo>
                    <a:pt x="1012" y="309"/>
                  </a:lnTo>
                  <a:lnTo>
                    <a:pt x="1011" y="315"/>
                  </a:lnTo>
                  <a:lnTo>
                    <a:pt x="1011" y="318"/>
                  </a:lnTo>
                  <a:lnTo>
                    <a:pt x="1011" y="321"/>
                  </a:lnTo>
                  <a:lnTo>
                    <a:pt x="1008" y="319"/>
                  </a:lnTo>
                  <a:lnTo>
                    <a:pt x="1002" y="318"/>
                  </a:lnTo>
                  <a:lnTo>
                    <a:pt x="995" y="322"/>
                  </a:lnTo>
                  <a:lnTo>
                    <a:pt x="994" y="325"/>
                  </a:lnTo>
                  <a:lnTo>
                    <a:pt x="986" y="328"/>
                  </a:lnTo>
                  <a:lnTo>
                    <a:pt x="985" y="329"/>
                  </a:lnTo>
                  <a:lnTo>
                    <a:pt x="963" y="334"/>
                  </a:lnTo>
                  <a:lnTo>
                    <a:pt x="959" y="335"/>
                  </a:lnTo>
                  <a:lnTo>
                    <a:pt x="953" y="338"/>
                  </a:lnTo>
                  <a:lnTo>
                    <a:pt x="951" y="339"/>
                  </a:lnTo>
                  <a:lnTo>
                    <a:pt x="946" y="341"/>
                  </a:lnTo>
                  <a:lnTo>
                    <a:pt x="942" y="344"/>
                  </a:lnTo>
                  <a:lnTo>
                    <a:pt x="938" y="349"/>
                  </a:lnTo>
                  <a:lnTo>
                    <a:pt x="935" y="352"/>
                  </a:lnTo>
                  <a:lnTo>
                    <a:pt x="932" y="355"/>
                  </a:lnTo>
                  <a:lnTo>
                    <a:pt x="930" y="359"/>
                  </a:lnTo>
                  <a:lnTo>
                    <a:pt x="925" y="364"/>
                  </a:lnTo>
                  <a:lnTo>
                    <a:pt x="922" y="367"/>
                  </a:lnTo>
                  <a:lnTo>
                    <a:pt x="916" y="371"/>
                  </a:lnTo>
                  <a:lnTo>
                    <a:pt x="913" y="372"/>
                  </a:lnTo>
                  <a:lnTo>
                    <a:pt x="912" y="375"/>
                  </a:lnTo>
                  <a:lnTo>
                    <a:pt x="910" y="380"/>
                  </a:lnTo>
                  <a:lnTo>
                    <a:pt x="908" y="382"/>
                  </a:lnTo>
                  <a:lnTo>
                    <a:pt x="902" y="390"/>
                  </a:lnTo>
                  <a:lnTo>
                    <a:pt x="899" y="395"/>
                  </a:lnTo>
                  <a:lnTo>
                    <a:pt x="898" y="395"/>
                  </a:lnTo>
                  <a:lnTo>
                    <a:pt x="899" y="390"/>
                  </a:lnTo>
                  <a:lnTo>
                    <a:pt x="902" y="385"/>
                  </a:lnTo>
                  <a:lnTo>
                    <a:pt x="906" y="378"/>
                  </a:lnTo>
                  <a:lnTo>
                    <a:pt x="908" y="374"/>
                  </a:lnTo>
                  <a:lnTo>
                    <a:pt x="909" y="369"/>
                  </a:lnTo>
                  <a:lnTo>
                    <a:pt x="912" y="368"/>
                  </a:lnTo>
                  <a:lnTo>
                    <a:pt x="916" y="365"/>
                  </a:lnTo>
                  <a:lnTo>
                    <a:pt x="919" y="362"/>
                  </a:lnTo>
                  <a:lnTo>
                    <a:pt x="919" y="359"/>
                  </a:lnTo>
                  <a:lnTo>
                    <a:pt x="920" y="355"/>
                  </a:lnTo>
                  <a:lnTo>
                    <a:pt x="922" y="352"/>
                  </a:lnTo>
                  <a:lnTo>
                    <a:pt x="923" y="348"/>
                  </a:lnTo>
                  <a:lnTo>
                    <a:pt x="926" y="342"/>
                  </a:lnTo>
                  <a:lnTo>
                    <a:pt x="926" y="338"/>
                  </a:lnTo>
                  <a:lnTo>
                    <a:pt x="925" y="337"/>
                  </a:lnTo>
                  <a:lnTo>
                    <a:pt x="922" y="332"/>
                  </a:lnTo>
                  <a:lnTo>
                    <a:pt x="920" y="331"/>
                  </a:lnTo>
                  <a:lnTo>
                    <a:pt x="915" y="331"/>
                  </a:lnTo>
                  <a:lnTo>
                    <a:pt x="909" y="329"/>
                  </a:lnTo>
                  <a:lnTo>
                    <a:pt x="905" y="328"/>
                  </a:lnTo>
                  <a:lnTo>
                    <a:pt x="900" y="327"/>
                  </a:lnTo>
                  <a:lnTo>
                    <a:pt x="895" y="325"/>
                  </a:lnTo>
                  <a:lnTo>
                    <a:pt x="892" y="327"/>
                  </a:lnTo>
                  <a:lnTo>
                    <a:pt x="890" y="329"/>
                  </a:lnTo>
                  <a:lnTo>
                    <a:pt x="888" y="332"/>
                  </a:lnTo>
                  <a:lnTo>
                    <a:pt x="886" y="334"/>
                  </a:lnTo>
                  <a:lnTo>
                    <a:pt x="885" y="329"/>
                  </a:lnTo>
                  <a:lnTo>
                    <a:pt x="886" y="327"/>
                  </a:lnTo>
                  <a:lnTo>
                    <a:pt x="888" y="324"/>
                  </a:lnTo>
                  <a:lnTo>
                    <a:pt x="890" y="321"/>
                  </a:lnTo>
                  <a:lnTo>
                    <a:pt x="896" y="321"/>
                  </a:lnTo>
                  <a:lnTo>
                    <a:pt x="900" y="322"/>
                  </a:lnTo>
                  <a:lnTo>
                    <a:pt x="905" y="322"/>
                  </a:lnTo>
                  <a:lnTo>
                    <a:pt x="908" y="322"/>
                  </a:lnTo>
                  <a:lnTo>
                    <a:pt x="912" y="324"/>
                  </a:lnTo>
                  <a:lnTo>
                    <a:pt x="916" y="325"/>
                  </a:lnTo>
                  <a:lnTo>
                    <a:pt x="919" y="325"/>
                  </a:lnTo>
                  <a:lnTo>
                    <a:pt x="922" y="324"/>
                  </a:lnTo>
                  <a:lnTo>
                    <a:pt x="925" y="318"/>
                  </a:lnTo>
                  <a:lnTo>
                    <a:pt x="926" y="312"/>
                  </a:lnTo>
                  <a:lnTo>
                    <a:pt x="926" y="306"/>
                  </a:lnTo>
                  <a:lnTo>
                    <a:pt x="923" y="302"/>
                  </a:lnTo>
                  <a:lnTo>
                    <a:pt x="923" y="298"/>
                  </a:lnTo>
                  <a:lnTo>
                    <a:pt x="926" y="295"/>
                  </a:lnTo>
                  <a:lnTo>
                    <a:pt x="929" y="289"/>
                  </a:lnTo>
                  <a:lnTo>
                    <a:pt x="928" y="284"/>
                  </a:lnTo>
                  <a:lnTo>
                    <a:pt x="925" y="278"/>
                  </a:lnTo>
                  <a:lnTo>
                    <a:pt x="919" y="274"/>
                  </a:lnTo>
                  <a:lnTo>
                    <a:pt x="913" y="269"/>
                  </a:lnTo>
                  <a:lnTo>
                    <a:pt x="909" y="266"/>
                  </a:lnTo>
                  <a:lnTo>
                    <a:pt x="908" y="264"/>
                  </a:lnTo>
                  <a:lnTo>
                    <a:pt x="903" y="261"/>
                  </a:lnTo>
                  <a:lnTo>
                    <a:pt x="900" y="258"/>
                  </a:lnTo>
                  <a:lnTo>
                    <a:pt x="899" y="255"/>
                  </a:lnTo>
                  <a:lnTo>
                    <a:pt x="896" y="253"/>
                  </a:lnTo>
                  <a:lnTo>
                    <a:pt x="896" y="252"/>
                  </a:lnTo>
                  <a:lnTo>
                    <a:pt x="903" y="251"/>
                  </a:lnTo>
                  <a:lnTo>
                    <a:pt x="902" y="248"/>
                  </a:lnTo>
                  <a:lnTo>
                    <a:pt x="902" y="241"/>
                  </a:lnTo>
                  <a:lnTo>
                    <a:pt x="900" y="236"/>
                  </a:lnTo>
                  <a:lnTo>
                    <a:pt x="900" y="229"/>
                  </a:lnTo>
                  <a:lnTo>
                    <a:pt x="899" y="223"/>
                  </a:lnTo>
                  <a:lnTo>
                    <a:pt x="896" y="222"/>
                  </a:lnTo>
                  <a:lnTo>
                    <a:pt x="892" y="221"/>
                  </a:lnTo>
                  <a:lnTo>
                    <a:pt x="885" y="221"/>
                  </a:lnTo>
                  <a:lnTo>
                    <a:pt x="879" y="222"/>
                  </a:lnTo>
                  <a:lnTo>
                    <a:pt x="873" y="223"/>
                  </a:lnTo>
                  <a:lnTo>
                    <a:pt x="869" y="226"/>
                  </a:lnTo>
                  <a:lnTo>
                    <a:pt x="863" y="228"/>
                  </a:lnTo>
                  <a:lnTo>
                    <a:pt x="859" y="228"/>
                  </a:lnTo>
                  <a:lnTo>
                    <a:pt x="852" y="228"/>
                  </a:lnTo>
                  <a:lnTo>
                    <a:pt x="846" y="228"/>
                  </a:lnTo>
                  <a:lnTo>
                    <a:pt x="840" y="228"/>
                  </a:lnTo>
                  <a:lnTo>
                    <a:pt x="836" y="229"/>
                  </a:lnTo>
                  <a:lnTo>
                    <a:pt x="832" y="228"/>
                  </a:lnTo>
                  <a:lnTo>
                    <a:pt x="827" y="229"/>
                  </a:lnTo>
                  <a:lnTo>
                    <a:pt x="826" y="226"/>
                  </a:lnTo>
                  <a:lnTo>
                    <a:pt x="820" y="226"/>
                  </a:lnTo>
                  <a:lnTo>
                    <a:pt x="816" y="226"/>
                  </a:lnTo>
                  <a:lnTo>
                    <a:pt x="809" y="225"/>
                  </a:lnTo>
                  <a:lnTo>
                    <a:pt x="804" y="223"/>
                  </a:lnTo>
                  <a:lnTo>
                    <a:pt x="800" y="222"/>
                  </a:lnTo>
                  <a:lnTo>
                    <a:pt x="797" y="219"/>
                  </a:lnTo>
                  <a:lnTo>
                    <a:pt x="792" y="218"/>
                  </a:lnTo>
                  <a:lnTo>
                    <a:pt x="777" y="211"/>
                  </a:lnTo>
                  <a:lnTo>
                    <a:pt x="779" y="209"/>
                  </a:lnTo>
                  <a:lnTo>
                    <a:pt x="772" y="208"/>
                  </a:lnTo>
                  <a:lnTo>
                    <a:pt x="766" y="205"/>
                  </a:lnTo>
                  <a:lnTo>
                    <a:pt x="764" y="205"/>
                  </a:lnTo>
                  <a:lnTo>
                    <a:pt x="757" y="203"/>
                  </a:lnTo>
                  <a:lnTo>
                    <a:pt x="746" y="205"/>
                  </a:lnTo>
                  <a:lnTo>
                    <a:pt x="739" y="206"/>
                  </a:lnTo>
                  <a:lnTo>
                    <a:pt x="733" y="206"/>
                  </a:lnTo>
                  <a:lnTo>
                    <a:pt x="724" y="205"/>
                  </a:lnTo>
                  <a:lnTo>
                    <a:pt x="717" y="203"/>
                  </a:lnTo>
                  <a:lnTo>
                    <a:pt x="710" y="202"/>
                  </a:lnTo>
                  <a:lnTo>
                    <a:pt x="703" y="200"/>
                  </a:lnTo>
                  <a:lnTo>
                    <a:pt x="698" y="200"/>
                  </a:lnTo>
                  <a:lnTo>
                    <a:pt x="694" y="196"/>
                  </a:lnTo>
                  <a:lnTo>
                    <a:pt x="687" y="195"/>
                  </a:lnTo>
                  <a:lnTo>
                    <a:pt x="681" y="195"/>
                  </a:lnTo>
                  <a:lnTo>
                    <a:pt x="668" y="199"/>
                  </a:lnTo>
                  <a:lnTo>
                    <a:pt x="666" y="199"/>
                  </a:lnTo>
                  <a:lnTo>
                    <a:pt x="660" y="200"/>
                  </a:lnTo>
                  <a:lnTo>
                    <a:pt x="651" y="203"/>
                  </a:lnTo>
                  <a:lnTo>
                    <a:pt x="645" y="208"/>
                  </a:lnTo>
                  <a:lnTo>
                    <a:pt x="643" y="216"/>
                  </a:lnTo>
                  <a:lnTo>
                    <a:pt x="640" y="225"/>
                  </a:lnTo>
                  <a:lnTo>
                    <a:pt x="638" y="233"/>
                  </a:lnTo>
                  <a:lnTo>
                    <a:pt x="635" y="238"/>
                  </a:lnTo>
                  <a:lnTo>
                    <a:pt x="631" y="249"/>
                  </a:lnTo>
                  <a:lnTo>
                    <a:pt x="630" y="252"/>
                  </a:lnTo>
                  <a:lnTo>
                    <a:pt x="628" y="255"/>
                  </a:lnTo>
                  <a:lnTo>
                    <a:pt x="625" y="258"/>
                  </a:lnTo>
                  <a:lnTo>
                    <a:pt x="625" y="261"/>
                  </a:lnTo>
                  <a:lnTo>
                    <a:pt x="624" y="265"/>
                  </a:lnTo>
                  <a:lnTo>
                    <a:pt x="624" y="268"/>
                  </a:lnTo>
                  <a:lnTo>
                    <a:pt x="625" y="271"/>
                  </a:lnTo>
                  <a:lnTo>
                    <a:pt x="624" y="275"/>
                  </a:lnTo>
                  <a:lnTo>
                    <a:pt x="623" y="279"/>
                  </a:lnTo>
                  <a:lnTo>
                    <a:pt x="623" y="281"/>
                  </a:lnTo>
                  <a:lnTo>
                    <a:pt x="620" y="282"/>
                  </a:lnTo>
                  <a:lnTo>
                    <a:pt x="618" y="285"/>
                  </a:lnTo>
                  <a:lnTo>
                    <a:pt x="617" y="288"/>
                  </a:lnTo>
                  <a:lnTo>
                    <a:pt x="615" y="296"/>
                  </a:lnTo>
                  <a:lnTo>
                    <a:pt x="613" y="299"/>
                  </a:lnTo>
                  <a:lnTo>
                    <a:pt x="610" y="301"/>
                  </a:lnTo>
                  <a:lnTo>
                    <a:pt x="607" y="302"/>
                  </a:lnTo>
                  <a:lnTo>
                    <a:pt x="604" y="304"/>
                  </a:lnTo>
                  <a:lnTo>
                    <a:pt x="603" y="308"/>
                  </a:lnTo>
                  <a:lnTo>
                    <a:pt x="604" y="314"/>
                  </a:lnTo>
                  <a:lnTo>
                    <a:pt x="604" y="318"/>
                  </a:lnTo>
                  <a:lnTo>
                    <a:pt x="603" y="315"/>
                  </a:lnTo>
                  <a:lnTo>
                    <a:pt x="600" y="314"/>
                  </a:lnTo>
                  <a:lnTo>
                    <a:pt x="595" y="314"/>
                  </a:lnTo>
                  <a:lnTo>
                    <a:pt x="591" y="316"/>
                  </a:lnTo>
                  <a:lnTo>
                    <a:pt x="588" y="319"/>
                  </a:lnTo>
                  <a:lnTo>
                    <a:pt x="585" y="321"/>
                  </a:lnTo>
                  <a:lnTo>
                    <a:pt x="582" y="322"/>
                  </a:lnTo>
                  <a:lnTo>
                    <a:pt x="582" y="325"/>
                  </a:lnTo>
                  <a:lnTo>
                    <a:pt x="581" y="331"/>
                  </a:lnTo>
                  <a:lnTo>
                    <a:pt x="580" y="334"/>
                  </a:lnTo>
                  <a:lnTo>
                    <a:pt x="577" y="338"/>
                  </a:lnTo>
                  <a:lnTo>
                    <a:pt x="577" y="341"/>
                  </a:lnTo>
                  <a:lnTo>
                    <a:pt x="580" y="345"/>
                  </a:lnTo>
                  <a:lnTo>
                    <a:pt x="580" y="357"/>
                  </a:lnTo>
                  <a:lnTo>
                    <a:pt x="578" y="364"/>
                  </a:lnTo>
                  <a:lnTo>
                    <a:pt x="577" y="374"/>
                  </a:lnTo>
                  <a:lnTo>
                    <a:pt x="577" y="384"/>
                  </a:lnTo>
                  <a:lnTo>
                    <a:pt x="572" y="384"/>
                  </a:lnTo>
                  <a:lnTo>
                    <a:pt x="568" y="381"/>
                  </a:lnTo>
                  <a:lnTo>
                    <a:pt x="568" y="377"/>
                  </a:lnTo>
                  <a:lnTo>
                    <a:pt x="568" y="375"/>
                  </a:lnTo>
                  <a:lnTo>
                    <a:pt x="572" y="371"/>
                  </a:lnTo>
                  <a:lnTo>
                    <a:pt x="575" y="364"/>
                  </a:lnTo>
                  <a:lnTo>
                    <a:pt x="575" y="354"/>
                  </a:lnTo>
                  <a:lnTo>
                    <a:pt x="572" y="348"/>
                  </a:lnTo>
                  <a:lnTo>
                    <a:pt x="570" y="342"/>
                  </a:lnTo>
                  <a:lnTo>
                    <a:pt x="570" y="337"/>
                  </a:lnTo>
                  <a:lnTo>
                    <a:pt x="570" y="334"/>
                  </a:lnTo>
                  <a:lnTo>
                    <a:pt x="570" y="329"/>
                  </a:lnTo>
                  <a:lnTo>
                    <a:pt x="567" y="327"/>
                  </a:lnTo>
                  <a:lnTo>
                    <a:pt x="565" y="322"/>
                  </a:lnTo>
                  <a:lnTo>
                    <a:pt x="562" y="319"/>
                  </a:lnTo>
                  <a:lnTo>
                    <a:pt x="561" y="316"/>
                  </a:lnTo>
                  <a:lnTo>
                    <a:pt x="562" y="312"/>
                  </a:lnTo>
                  <a:lnTo>
                    <a:pt x="564" y="309"/>
                  </a:lnTo>
                  <a:lnTo>
                    <a:pt x="564" y="306"/>
                  </a:lnTo>
                  <a:lnTo>
                    <a:pt x="564" y="301"/>
                  </a:lnTo>
                  <a:lnTo>
                    <a:pt x="562" y="298"/>
                  </a:lnTo>
                  <a:lnTo>
                    <a:pt x="561" y="294"/>
                  </a:lnTo>
                  <a:lnTo>
                    <a:pt x="558" y="291"/>
                  </a:lnTo>
                  <a:lnTo>
                    <a:pt x="555" y="289"/>
                  </a:lnTo>
                  <a:lnTo>
                    <a:pt x="550" y="291"/>
                  </a:lnTo>
                  <a:lnTo>
                    <a:pt x="544" y="291"/>
                  </a:lnTo>
                  <a:lnTo>
                    <a:pt x="539" y="289"/>
                  </a:lnTo>
                  <a:lnTo>
                    <a:pt x="537" y="286"/>
                  </a:lnTo>
                  <a:lnTo>
                    <a:pt x="534" y="284"/>
                  </a:lnTo>
                  <a:lnTo>
                    <a:pt x="532" y="279"/>
                  </a:lnTo>
                  <a:lnTo>
                    <a:pt x="534" y="269"/>
                  </a:lnTo>
                  <a:lnTo>
                    <a:pt x="537" y="262"/>
                  </a:lnTo>
                  <a:lnTo>
                    <a:pt x="535" y="255"/>
                  </a:lnTo>
                  <a:lnTo>
                    <a:pt x="531" y="249"/>
                  </a:lnTo>
                  <a:lnTo>
                    <a:pt x="531" y="246"/>
                  </a:lnTo>
                  <a:lnTo>
                    <a:pt x="531" y="239"/>
                  </a:lnTo>
                  <a:lnTo>
                    <a:pt x="532" y="233"/>
                  </a:lnTo>
                  <a:lnTo>
                    <a:pt x="532" y="229"/>
                  </a:lnTo>
                  <a:lnTo>
                    <a:pt x="531" y="228"/>
                  </a:lnTo>
                  <a:lnTo>
                    <a:pt x="529" y="225"/>
                  </a:lnTo>
                  <a:lnTo>
                    <a:pt x="527" y="219"/>
                  </a:lnTo>
                  <a:lnTo>
                    <a:pt x="525" y="216"/>
                  </a:lnTo>
                  <a:lnTo>
                    <a:pt x="524" y="212"/>
                  </a:lnTo>
                  <a:lnTo>
                    <a:pt x="522" y="209"/>
                  </a:lnTo>
                  <a:lnTo>
                    <a:pt x="521" y="206"/>
                  </a:lnTo>
                  <a:lnTo>
                    <a:pt x="522" y="200"/>
                  </a:lnTo>
                  <a:lnTo>
                    <a:pt x="522" y="198"/>
                  </a:lnTo>
                  <a:lnTo>
                    <a:pt x="521" y="196"/>
                  </a:lnTo>
                  <a:lnTo>
                    <a:pt x="518" y="198"/>
                  </a:lnTo>
                  <a:lnTo>
                    <a:pt x="517" y="202"/>
                  </a:lnTo>
                  <a:lnTo>
                    <a:pt x="515" y="205"/>
                  </a:lnTo>
                  <a:lnTo>
                    <a:pt x="514" y="205"/>
                  </a:lnTo>
                  <a:lnTo>
                    <a:pt x="509" y="202"/>
                  </a:lnTo>
                  <a:lnTo>
                    <a:pt x="507" y="199"/>
                  </a:lnTo>
                  <a:lnTo>
                    <a:pt x="501" y="196"/>
                  </a:lnTo>
                  <a:lnTo>
                    <a:pt x="498" y="193"/>
                  </a:lnTo>
                  <a:lnTo>
                    <a:pt x="494" y="192"/>
                  </a:lnTo>
                  <a:lnTo>
                    <a:pt x="492" y="193"/>
                  </a:lnTo>
                  <a:lnTo>
                    <a:pt x="489" y="196"/>
                  </a:lnTo>
                  <a:lnTo>
                    <a:pt x="485" y="195"/>
                  </a:lnTo>
                  <a:lnTo>
                    <a:pt x="482" y="193"/>
                  </a:lnTo>
                  <a:lnTo>
                    <a:pt x="478" y="195"/>
                  </a:lnTo>
                  <a:lnTo>
                    <a:pt x="475" y="195"/>
                  </a:lnTo>
                  <a:lnTo>
                    <a:pt x="476" y="192"/>
                  </a:lnTo>
                  <a:lnTo>
                    <a:pt x="479" y="190"/>
                  </a:lnTo>
                  <a:lnTo>
                    <a:pt x="484" y="190"/>
                  </a:lnTo>
                  <a:lnTo>
                    <a:pt x="488" y="190"/>
                  </a:lnTo>
                  <a:lnTo>
                    <a:pt x="491" y="189"/>
                  </a:lnTo>
                  <a:lnTo>
                    <a:pt x="492" y="186"/>
                  </a:lnTo>
                  <a:lnTo>
                    <a:pt x="489" y="180"/>
                  </a:lnTo>
                  <a:lnTo>
                    <a:pt x="492" y="179"/>
                  </a:lnTo>
                  <a:lnTo>
                    <a:pt x="495" y="179"/>
                  </a:lnTo>
                  <a:lnTo>
                    <a:pt x="498" y="179"/>
                  </a:lnTo>
                  <a:lnTo>
                    <a:pt x="502" y="180"/>
                  </a:lnTo>
                  <a:lnTo>
                    <a:pt x="505" y="183"/>
                  </a:lnTo>
                  <a:lnTo>
                    <a:pt x="507" y="186"/>
                  </a:lnTo>
                  <a:lnTo>
                    <a:pt x="508" y="189"/>
                  </a:lnTo>
                  <a:lnTo>
                    <a:pt x="511" y="189"/>
                  </a:lnTo>
                  <a:lnTo>
                    <a:pt x="512" y="190"/>
                  </a:lnTo>
                  <a:lnTo>
                    <a:pt x="511" y="195"/>
                  </a:lnTo>
                  <a:lnTo>
                    <a:pt x="512" y="198"/>
                  </a:lnTo>
                  <a:lnTo>
                    <a:pt x="515" y="196"/>
                  </a:lnTo>
                  <a:lnTo>
                    <a:pt x="518" y="193"/>
                  </a:lnTo>
                  <a:lnTo>
                    <a:pt x="518" y="190"/>
                  </a:lnTo>
                  <a:lnTo>
                    <a:pt x="522" y="192"/>
                  </a:lnTo>
                  <a:lnTo>
                    <a:pt x="522" y="189"/>
                  </a:lnTo>
                  <a:lnTo>
                    <a:pt x="519" y="185"/>
                  </a:lnTo>
                  <a:lnTo>
                    <a:pt x="517" y="180"/>
                  </a:lnTo>
                  <a:lnTo>
                    <a:pt x="514" y="175"/>
                  </a:lnTo>
                  <a:lnTo>
                    <a:pt x="512" y="172"/>
                  </a:lnTo>
                  <a:lnTo>
                    <a:pt x="511" y="166"/>
                  </a:lnTo>
                  <a:lnTo>
                    <a:pt x="511" y="162"/>
                  </a:lnTo>
                  <a:lnTo>
                    <a:pt x="509" y="156"/>
                  </a:lnTo>
                  <a:lnTo>
                    <a:pt x="509" y="152"/>
                  </a:lnTo>
                  <a:lnTo>
                    <a:pt x="509" y="147"/>
                  </a:lnTo>
                  <a:lnTo>
                    <a:pt x="509" y="142"/>
                  </a:lnTo>
                  <a:lnTo>
                    <a:pt x="514" y="140"/>
                  </a:lnTo>
                  <a:lnTo>
                    <a:pt x="517" y="137"/>
                  </a:lnTo>
                  <a:lnTo>
                    <a:pt x="518" y="132"/>
                  </a:lnTo>
                  <a:lnTo>
                    <a:pt x="517" y="127"/>
                  </a:lnTo>
                  <a:lnTo>
                    <a:pt x="517" y="122"/>
                  </a:lnTo>
                  <a:lnTo>
                    <a:pt x="517" y="115"/>
                  </a:lnTo>
                  <a:lnTo>
                    <a:pt x="517" y="112"/>
                  </a:lnTo>
                  <a:lnTo>
                    <a:pt x="517" y="102"/>
                  </a:lnTo>
                  <a:lnTo>
                    <a:pt x="517" y="97"/>
                  </a:lnTo>
                  <a:lnTo>
                    <a:pt x="514" y="95"/>
                  </a:lnTo>
                  <a:lnTo>
                    <a:pt x="512" y="90"/>
                  </a:lnTo>
                  <a:lnTo>
                    <a:pt x="512" y="87"/>
                  </a:lnTo>
                  <a:lnTo>
                    <a:pt x="511" y="83"/>
                  </a:lnTo>
                  <a:lnTo>
                    <a:pt x="509" y="82"/>
                  </a:lnTo>
                  <a:lnTo>
                    <a:pt x="508" y="80"/>
                  </a:lnTo>
                  <a:lnTo>
                    <a:pt x="507" y="79"/>
                  </a:lnTo>
                  <a:lnTo>
                    <a:pt x="504" y="76"/>
                  </a:lnTo>
                  <a:lnTo>
                    <a:pt x="501" y="74"/>
                  </a:lnTo>
                  <a:lnTo>
                    <a:pt x="501" y="74"/>
                  </a:lnTo>
                  <a:lnTo>
                    <a:pt x="497" y="74"/>
                  </a:lnTo>
                  <a:lnTo>
                    <a:pt x="495" y="77"/>
                  </a:lnTo>
                  <a:lnTo>
                    <a:pt x="494" y="79"/>
                  </a:lnTo>
                  <a:lnTo>
                    <a:pt x="492" y="83"/>
                  </a:lnTo>
                  <a:lnTo>
                    <a:pt x="491" y="83"/>
                  </a:lnTo>
                  <a:lnTo>
                    <a:pt x="489" y="84"/>
                  </a:lnTo>
                  <a:lnTo>
                    <a:pt x="485" y="86"/>
                  </a:lnTo>
                  <a:lnTo>
                    <a:pt x="482" y="87"/>
                  </a:lnTo>
                  <a:lnTo>
                    <a:pt x="478" y="87"/>
                  </a:lnTo>
                  <a:lnTo>
                    <a:pt x="478" y="87"/>
                  </a:lnTo>
                  <a:lnTo>
                    <a:pt x="476" y="90"/>
                  </a:lnTo>
                  <a:lnTo>
                    <a:pt x="475" y="92"/>
                  </a:lnTo>
                  <a:lnTo>
                    <a:pt x="474" y="92"/>
                  </a:lnTo>
                  <a:lnTo>
                    <a:pt x="474" y="92"/>
                  </a:lnTo>
                  <a:lnTo>
                    <a:pt x="471" y="90"/>
                  </a:lnTo>
                  <a:lnTo>
                    <a:pt x="468" y="89"/>
                  </a:lnTo>
                  <a:lnTo>
                    <a:pt x="464" y="87"/>
                  </a:lnTo>
                  <a:lnTo>
                    <a:pt x="462" y="86"/>
                  </a:lnTo>
                  <a:lnTo>
                    <a:pt x="461" y="86"/>
                  </a:lnTo>
                  <a:lnTo>
                    <a:pt x="458" y="86"/>
                  </a:lnTo>
                  <a:lnTo>
                    <a:pt x="456" y="83"/>
                  </a:lnTo>
                  <a:lnTo>
                    <a:pt x="458" y="80"/>
                  </a:lnTo>
                  <a:lnTo>
                    <a:pt x="458" y="76"/>
                  </a:lnTo>
                  <a:lnTo>
                    <a:pt x="455" y="73"/>
                  </a:lnTo>
                  <a:lnTo>
                    <a:pt x="452" y="76"/>
                  </a:lnTo>
                  <a:lnTo>
                    <a:pt x="449" y="79"/>
                  </a:lnTo>
                  <a:lnTo>
                    <a:pt x="448" y="82"/>
                  </a:lnTo>
                  <a:lnTo>
                    <a:pt x="446" y="86"/>
                  </a:lnTo>
                  <a:lnTo>
                    <a:pt x="446" y="87"/>
                  </a:lnTo>
                  <a:lnTo>
                    <a:pt x="445" y="87"/>
                  </a:lnTo>
                  <a:lnTo>
                    <a:pt x="445" y="86"/>
                  </a:lnTo>
                  <a:lnTo>
                    <a:pt x="442" y="84"/>
                  </a:lnTo>
                  <a:lnTo>
                    <a:pt x="441" y="87"/>
                  </a:lnTo>
                  <a:lnTo>
                    <a:pt x="439" y="92"/>
                  </a:lnTo>
                  <a:lnTo>
                    <a:pt x="438" y="93"/>
                  </a:lnTo>
                  <a:lnTo>
                    <a:pt x="436" y="96"/>
                  </a:lnTo>
                  <a:lnTo>
                    <a:pt x="431" y="97"/>
                  </a:lnTo>
                  <a:lnTo>
                    <a:pt x="432" y="100"/>
                  </a:lnTo>
                  <a:lnTo>
                    <a:pt x="434" y="102"/>
                  </a:lnTo>
                  <a:lnTo>
                    <a:pt x="435" y="103"/>
                  </a:lnTo>
                  <a:lnTo>
                    <a:pt x="432" y="110"/>
                  </a:lnTo>
                  <a:lnTo>
                    <a:pt x="432" y="115"/>
                  </a:lnTo>
                  <a:lnTo>
                    <a:pt x="431" y="117"/>
                  </a:lnTo>
                  <a:lnTo>
                    <a:pt x="428" y="120"/>
                  </a:lnTo>
                  <a:lnTo>
                    <a:pt x="426" y="126"/>
                  </a:lnTo>
                  <a:lnTo>
                    <a:pt x="422" y="132"/>
                  </a:lnTo>
                  <a:lnTo>
                    <a:pt x="419" y="137"/>
                  </a:lnTo>
                  <a:lnTo>
                    <a:pt x="419" y="142"/>
                  </a:lnTo>
                  <a:lnTo>
                    <a:pt x="416" y="146"/>
                  </a:lnTo>
                  <a:lnTo>
                    <a:pt x="415" y="152"/>
                  </a:lnTo>
                  <a:lnTo>
                    <a:pt x="413" y="156"/>
                  </a:lnTo>
                  <a:lnTo>
                    <a:pt x="411" y="162"/>
                  </a:lnTo>
                  <a:lnTo>
                    <a:pt x="411" y="166"/>
                  </a:lnTo>
                  <a:lnTo>
                    <a:pt x="412" y="168"/>
                  </a:lnTo>
                  <a:lnTo>
                    <a:pt x="413" y="179"/>
                  </a:lnTo>
                  <a:lnTo>
                    <a:pt x="415" y="182"/>
                  </a:lnTo>
                  <a:lnTo>
                    <a:pt x="419" y="183"/>
                  </a:lnTo>
                  <a:lnTo>
                    <a:pt x="422" y="185"/>
                  </a:lnTo>
                  <a:lnTo>
                    <a:pt x="425" y="186"/>
                  </a:lnTo>
                  <a:lnTo>
                    <a:pt x="426" y="189"/>
                  </a:lnTo>
                  <a:lnTo>
                    <a:pt x="426" y="193"/>
                  </a:lnTo>
                  <a:lnTo>
                    <a:pt x="432" y="192"/>
                  </a:lnTo>
                  <a:lnTo>
                    <a:pt x="439" y="190"/>
                  </a:lnTo>
                  <a:lnTo>
                    <a:pt x="441" y="192"/>
                  </a:lnTo>
                  <a:lnTo>
                    <a:pt x="444" y="193"/>
                  </a:lnTo>
                  <a:lnTo>
                    <a:pt x="441" y="196"/>
                  </a:lnTo>
                  <a:lnTo>
                    <a:pt x="436" y="199"/>
                  </a:lnTo>
                  <a:lnTo>
                    <a:pt x="434" y="200"/>
                  </a:lnTo>
                  <a:lnTo>
                    <a:pt x="434" y="205"/>
                  </a:lnTo>
                  <a:lnTo>
                    <a:pt x="435" y="206"/>
                  </a:lnTo>
                  <a:lnTo>
                    <a:pt x="438" y="211"/>
                  </a:lnTo>
                  <a:lnTo>
                    <a:pt x="438" y="215"/>
                  </a:lnTo>
                  <a:lnTo>
                    <a:pt x="434" y="213"/>
                  </a:lnTo>
                  <a:lnTo>
                    <a:pt x="434" y="216"/>
                  </a:lnTo>
                  <a:lnTo>
                    <a:pt x="435" y="218"/>
                  </a:lnTo>
                  <a:lnTo>
                    <a:pt x="435" y="221"/>
                  </a:lnTo>
                  <a:lnTo>
                    <a:pt x="432" y="222"/>
                  </a:lnTo>
                  <a:lnTo>
                    <a:pt x="429" y="221"/>
                  </a:lnTo>
                  <a:lnTo>
                    <a:pt x="425" y="221"/>
                  </a:lnTo>
                  <a:lnTo>
                    <a:pt x="421" y="221"/>
                  </a:lnTo>
                  <a:lnTo>
                    <a:pt x="419" y="222"/>
                  </a:lnTo>
                  <a:lnTo>
                    <a:pt x="416" y="225"/>
                  </a:lnTo>
                  <a:lnTo>
                    <a:pt x="413" y="229"/>
                  </a:lnTo>
                  <a:lnTo>
                    <a:pt x="413" y="233"/>
                  </a:lnTo>
                  <a:lnTo>
                    <a:pt x="415" y="236"/>
                  </a:lnTo>
                  <a:lnTo>
                    <a:pt x="413" y="239"/>
                  </a:lnTo>
                  <a:lnTo>
                    <a:pt x="412" y="239"/>
                  </a:lnTo>
                  <a:lnTo>
                    <a:pt x="408" y="243"/>
                  </a:lnTo>
                  <a:lnTo>
                    <a:pt x="406" y="246"/>
                  </a:lnTo>
                  <a:lnTo>
                    <a:pt x="402" y="248"/>
                  </a:lnTo>
                  <a:lnTo>
                    <a:pt x="399" y="252"/>
                  </a:lnTo>
                  <a:lnTo>
                    <a:pt x="398" y="255"/>
                  </a:lnTo>
                  <a:lnTo>
                    <a:pt x="395" y="255"/>
                  </a:lnTo>
                  <a:lnTo>
                    <a:pt x="391" y="255"/>
                  </a:lnTo>
                  <a:lnTo>
                    <a:pt x="389" y="255"/>
                  </a:lnTo>
                  <a:lnTo>
                    <a:pt x="386" y="256"/>
                  </a:lnTo>
                  <a:lnTo>
                    <a:pt x="382" y="255"/>
                  </a:lnTo>
                  <a:lnTo>
                    <a:pt x="379" y="253"/>
                  </a:lnTo>
                  <a:lnTo>
                    <a:pt x="376" y="251"/>
                  </a:lnTo>
                  <a:lnTo>
                    <a:pt x="373" y="249"/>
                  </a:lnTo>
                  <a:lnTo>
                    <a:pt x="372" y="245"/>
                  </a:lnTo>
                  <a:lnTo>
                    <a:pt x="370" y="241"/>
                  </a:lnTo>
                  <a:lnTo>
                    <a:pt x="370" y="239"/>
                  </a:lnTo>
                  <a:lnTo>
                    <a:pt x="368" y="238"/>
                  </a:lnTo>
                  <a:lnTo>
                    <a:pt x="363" y="241"/>
                  </a:lnTo>
                  <a:lnTo>
                    <a:pt x="360" y="242"/>
                  </a:lnTo>
                  <a:lnTo>
                    <a:pt x="358" y="245"/>
                  </a:lnTo>
                  <a:lnTo>
                    <a:pt x="353" y="243"/>
                  </a:lnTo>
                  <a:lnTo>
                    <a:pt x="350" y="239"/>
                  </a:lnTo>
                  <a:lnTo>
                    <a:pt x="346" y="235"/>
                  </a:lnTo>
                  <a:lnTo>
                    <a:pt x="345" y="233"/>
                  </a:lnTo>
                  <a:lnTo>
                    <a:pt x="345" y="229"/>
                  </a:lnTo>
                  <a:lnTo>
                    <a:pt x="343" y="228"/>
                  </a:lnTo>
                  <a:lnTo>
                    <a:pt x="343" y="223"/>
                  </a:lnTo>
                  <a:lnTo>
                    <a:pt x="345" y="221"/>
                  </a:lnTo>
                  <a:lnTo>
                    <a:pt x="346" y="219"/>
                  </a:lnTo>
                  <a:lnTo>
                    <a:pt x="346" y="215"/>
                  </a:lnTo>
                  <a:lnTo>
                    <a:pt x="346" y="212"/>
                  </a:lnTo>
                  <a:lnTo>
                    <a:pt x="345" y="209"/>
                  </a:lnTo>
                  <a:lnTo>
                    <a:pt x="342" y="205"/>
                  </a:lnTo>
                  <a:lnTo>
                    <a:pt x="340" y="200"/>
                  </a:lnTo>
                  <a:lnTo>
                    <a:pt x="342" y="196"/>
                  </a:lnTo>
                  <a:lnTo>
                    <a:pt x="338" y="195"/>
                  </a:lnTo>
                  <a:lnTo>
                    <a:pt x="336" y="193"/>
                  </a:lnTo>
                  <a:lnTo>
                    <a:pt x="335" y="189"/>
                  </a:lnTo>
                  <a:lnTo>
                    <a:pt x="336" y="186"/>
                  </a:lnTo>
                  <a:lnTo>
                    <a:pt x="336" y="185"/>
                  </a:lnTo>
                  <a:lnTo>
                    <a:pt x="332" y="183"/>
                  </a:lnTo>
                  <a:lnTo>
                    <a:pt x="330" y="180"/>
                  </a:lnTo>
                  <a:lnTo>
                    <a:pt x="330" y="176"/>
                  </a:lnTo>
                  <a:lnTo>
                    <a:pt x="330" y="172"/>
                  </a:lnTo>
                  <a:lnTo>
                    <a:pt x="330" y="172"/>
                  </a:lnTo>
                  <a:lnTo>
                    <a:pt x="330" y="172"/>
                  </a:lnTo>
                  <a:lnTo>
                    <a:pt x="329" y="173"/>
                  </a:lnTo>
                  <a:lnTo>
                    <a:pt x="323" y="176"/>
                  </a:lnTo>
                  <a:lnTo>
                    <a:pt x="319" y="180"/>
                  </a:lnTo>
                  <a:lnTo>
                    <a:pt x="315" y="185"/>
                  </a:lnTo>
                  <a:lnTo>
                    <a:pt x="312" y="188"/>
                  </a:lnTo>
                  <a:lnTo>
                    <a:pt x="306" y="190"/>
                  </a:lnTo>
                  <a:lnTo>
                    <a:pt x="299" y="193"/>
                  </a:lnTo>
                  <a:lnTo>
                    <a:pt x="296" y="193"/>
                  </a:lnTo>
                  <a:lnTo>
                    <a:pt x="292" y="192"/>
                  </a:lnTo>
                  <a:lnTo>
                    <a:pt x="287" y="192"/>
                  </a:lnTo>
                  <a:lnTo>
                    <a:pt x="285" y="190"/>
                  </a:lnTo>
                  <a:lnTo>
                    <a:pt x="280" y="186"/>
                  </a:lnTo>
                  <a:lnTo>
                    <a:pt x="275" y="180"/>
                  </a:lnTo>
                  <a:lnTo>
                    <a:pt x="273" y="176"/>
                  </a:lnTo>
                  <a:lnTo>
                    <a:pt x="272" y="172"/>
                  </a:lnTo>
                  <a:lnTo>
                    <a:pt x="269" y="168"/>
                  </a:lnTo>
                  <a:lnTo>
                    <a:pt x="266" y="163"/>
                  </a:lnTo>
                  <a:lnTo>
                    <a:pt x="263" y="162"/>
                  </a:lnTo>
                  <a:lnTo>
                    <a:pt x="260" y="160"/>
                  </a:lnTo>
                  <a:lnTo>
                    <a:pt x="256" y="162"/>
                  </a:lnTo>
                  <a:lnTo>
                    <a:pt x="253" y="163"/>
                  </a:lnTo>
                  <a:lnTo>
                    <a:pt x="252" y="170"/>
                  </a:lnTo>
                  <a:lnTo>
                    <a:pt x="250" y="179"/>
                  </a:lnTo>
                  <a:lnTo>
                    <a:pt x="249" y="188"/>
                  </a:lnTo>
                  <a:lnTo>
                    <a:pt x="249" y="193"/>
                  </a:lnTo>
                  <a:lnTo>
                    <a:pt x="246" y="196"/>
                  </a:lnTo>
                  <a:lnTo>
                    <a:pt x="242" y="199"/>
                  </a:lnTo>
                  <a:lnTo>
                    <a:pt x="242" y="202"/>
                  </a:lnTo>
                  <a:lnTo>
                    <a:pt x="237" y="205"/>
                  </a:lnTo>
                  <a:lnTo>
                    <a:pt x="234" y="206"/>
                  </a:lnTo>
                  <a:lnTo>
                    <a:pt x="226" y="213"/>
                  </a:lnTo>
                  <a:lnTo>
                    <a:pt x="223" y="216"/>
                  </a:lnTo>
                  <a:lnTo>
                    <a:pt x="220" y="219"/>
                  </a:lnTo>
                  <a:lnTo>
                    <a:pt x="220" y="221"/>
                  </a:lnTo>
                  <a:lnTo>
                    <a:pt x="222" y="223"/>
                  </a:lnTo>
                  <a:lnTo>
                    <a:pt x="224" y="225"/>
                  </a:lnTo>
                  <a:lnTo>
                    <a:pt x="224" y="229"/>
                  </a:lnTo>
                  <a:lnTo>
                    <a:pt x="223" y="233"/>
                  </a:lnTo>
                  <a:lnTo>
                    <a:pt x="219" y="232"/>
                  </a:lnTo>
                  <a:lnTo>
                    <a:pt x="216" y="231"/>
                  </a:lnTo>
                  <a:lnTo>
                    <a:pt x="212" y="231"/>
                  </a:lnTo>
                  <a:lnTo>
                    <a:pt x="209" y="235"/>
                  </a:lnTo>
                  <a:lnTo>
                    <a:pt x="206" y="233"/>
                  </a:lnTo>
                  <a:lnTo>
                    <a:pt x="200" y="233"/>
                  </a:lnTo>
                  <a:lnTo>
                    <a:pt x="197" y="236"/>
                  </a:lnTo>
                  <a:lnTo>
                    <a:pt x="196" y="238"/>
                  </a:lnTo>
                  <a:lnTo>
                    <a:pt x="193" y="241"/>
                  </a:lnTo>
                  <a:lnTo>
                    <a:pt x="189" y="246"/>
                  </a:lnTo>
                  <a:lnTo>
                    <a:pt x="187" y="252"/>
                  </a:lnTo>
                  <a:lnTo>
                    <a:pt x="186" y="256"/>
                  </a:lnTo>
                  <a:lnTo>
                    <a:pt x="179" y="271"/>
                  </a:lnTo>
                  <a:lnTo>
                    <a:pt x="177" y="271"/>
                  </a:lnTo>
                  <a:lnTo>
                    <a:pt x="174" y="276"/>
                  </a:lnTo>
                  <a:lnTo>
                    <a:pt x="171" y="279"/>
                  </a:lnTo>
                  <a:lnTo>
                    <a:pt x="171" y="285"/>
                  </a:lnTo>
                  <a:lnTo>
                    <a:pt x="171" y="289"/>
                  </a:lnTo>
                  <a:lnTo>
                    <a:pt x="170" y="294"/>
                  </a:lnTo>
                  <a:lnTo>
                    <a:pt x="170" y="299"/>
                  </a:lnTo>
                  <a:lnTo>
                    <a:pt x="173" y="302"/>
                  </a:lnTo>
                  <a:lnTo>
                    <a:pt x="176" y="306"/>
                  </a:lnTo>
                  <a:lnTo>
                    <a:pt x="177" y="309"/>
                  </a:lnTo>
                  <a:lnTo>
                    <a:pt x="179" y="312"/>
                  </a:lnTo>
                  <a:lnTo>
                    <a:pt x="180" y="315"/>
                  </a:lnTo>
                  <a:lnTo>
                    <a:pt x="180" y="321"/>
                  </a:lnTo>
                  <a:lnTo>
                    <a:pt x="183" y="325"/>
                  </a:lnTo>
                  <a:lnTo>
                    <a:pt x="186" y="328"/>
                  </a:lnTo>
                  <a:lnTo>
                    <a:pt x="189" y="329"/>
                  </a:lnTo>
                  <a:lnTo>
                    <a:pt x="191" y="331"/>
                  </a:lnTo>
                  <a:lnTo>
                    <a:pt x="196" y="334"/>
                  </a:lnTo>
                  <a:lnTo>
                    <a:pt x="199" y="337"/>
                  </a:lnTo>
                  <a:lnTo>
                    <a:pt x="200" y="341"/>
                  </a:lnTo>
                  <a:lnTo>
                    <a:pt x="200" y="345"/>
                  </a:lnTo>
                  <a:lnTo>
                    <a:pt x="199" y="348"/>
                  </a:lnTo>
                  <a:lnTo>
                    <a:pt x="196" y="352"/>
                  </a:lnTo>
                  <a:lnTo>
                    <a:pt x="193" y="355"/>
                  </a:lnTo>
                  <a:lnTo>
                    <a:pt x="191" y="359"/>
                  </a:lnTo>
                  <a:lnTo>
                    <a:pt x="187" y="364"/>
                  </a:lnTo>
                  <a:lnTo>
                    <a:pt x="184" y="367"/>
                  </a:lnTo>
                  <a:lnTo>
                    <a:pt x="179" y="371"/>
                  </a:lnTo>
                  <a:lnTo>
                    <a:pt x="176" y="374"/>
                  </a:lnTo>
                  <a:lnTo>
                    <a:pt x="171" y="375"/>
                  </a:lnTo>
                  <a:lnTo>
                    <a:pt x="169" y="378"/>
                  </a:lnTo>
                  <a:lnTo>
                    <a:pt x="164" y="380"/>
                  </a:lnTo>
                  <a:lnTo>
                    <a:pt x="163" y="380"/>
                  </a:lnTo>
                  <a:lnTo>
                    <a:pt x="159" y="381"/>
                  </a:lnTo>
                  <a:lnTo>
                    <a:pt x="154" y="381"/>
                  </a:lnTo>
                  <a:lnTo>
                    <a:pt x="150" y="382"/>
                  </a:lnTo>
                  <a:lnTo>
                    <a:pt x="147" y="385"/>
                  </a:lnTo>
                  <a:lnTo>
                    <a:pt x="146" y="388"/>
                  </a:lnTo>
                  <a:lnTo>
                    <a:pt x="144" y="390"/>
                  </a:lnTo>
                  <a:lnTo>
                    <a:pt x="138" y="388"/>
                  </a:lnTo>
                  <a:lnTo>
                    <a:pt x="136" y="388"/>
                  </a:lnTo>
                  <a:lnTo>
                    <a:pt x="134" y="391"/>
                  </a:lnTo>
                  <a:lnTo>
                    <a:pt x="138" y="394"/>
                  </a:lnTo>
                  <a:lnTo>
                    <a:pt x="144" y="395"/>
                  </a:lnTo>
                  <a:lnTo>
                    <a:pt x="147" y="398"/>
                  </a:lnTo>
                  <a:lnTo>
                    <a:pt x="147" y="402"/>
                  </a:lnTo>
                  <a:lnTo>
                    <a:pt x="144" y="407"/>
                  </a:lnTo>
                  <a:lnTo>
                    <a:pt x="143" y="410"/>
                  </a:lnTo>
                  <a:lnTo>
                    <a:pt x="138" y="415"/>
                  </a:lnTo>
                  <a:lnTo>
                    <a:pt x="133" y="427"/>
                  </a:lnTo>
                  <a:lnTo>
                    <a:pt x="126" y="438"/>
                  </a:lnTo>
                  <a:lnTo>
                    <a:pt x="120" y="441"/>
                  </a:lnTo>
                  <a:lnTo>
                    <a:pt x="113" y="444"/>
                  </a:lnTo>
                  <a:lnTo>
                    <a:pt x="107" y="444"/>
                  </a:lnTo>
                  <a:lnTo>
                    <a:pt x="100" y="445"/>
                  </a:lnTo>
                  <a:lnTo>
                    <a:pt x="97" y="453"/>
                  </a:lnTo>
                  <a:lnTo>
                    <a:pt x="93" y="453"/>
                  </a:lnTo>
                  <a:lnTo>
                    <a:pt x="88" y="454"/>
                  </a:lnTo>
                  <a:lnTo>
                    <a:pt x="83" y="455"/>
                  </a:lnTo>
                  <a:lnTo>
                    <a:pt x="77" y="461"/>
                  </a:lnTo>
                  <a:lnTo>
                    <a:pt x="71" y="465"/>
                  </a:lnTo>
                  <a:lnTo>
                    <a:pt x="67" y="471"/>
                  </a:lnTo>
                  <a:lnTo>
                    <a:pt x="65" y="473"/>
                  </a:lnTo>
                  <a:lnTo>
                    <a:pt x="63" y="474"/>
                  </a:lnTo>
                  <a:lnTo>
                    <a:pt x="58" y="477"/>
                  </a:lnTo>
                  <a:lnTo>
                    <a:pt x="53" y="484"/>
                  </a:lnTo>
                  <a:lnTo>
                    <a:pt x="50" y="484"/>
                  </a:lnTo>
                  <a:lnTo>
                    <a:pt x="47" y="487"/>
                  </a:lnTo>
                  <a:lnTo>
                    <a:pt x="45" y="490"/>
                  </a:lnTo>
                  <a:lnTo>
                    <a:pt x="43" y="496"/>
                  </a:lnTo>
                  <a:lnTo>
                    <a:pt x="40" y="497"/>
                  </a:lnTo>
                  <a:lnTo>
                    <a:pt x="37" y="497"/>
                  </a:lnTo>
                  <a:lnTo>
                    <a:pt x="34" y="498"/>
                  </a:lnTo>
                  <a:lnTo>
                    <a:pt x="33" y="500"/>
                  </a:lnTo>
                  <a:lnTo>
                    <a:pt x="33" y="501"/>
                  </a:lnTo>
                  <a:lnTo>
                    <a:pt x="33" y="507"/>
                  </a:lnTo>
                  <a:lnTo>
                    <a:pt x="33" y="511"/>
                  </a:lnTo>
                  <a:lnTo>
                    <a:pt x="31" y="517"/>
                  </a:lnTo>
                  <a:lnTo>
                    <a:pt x="31" y="517"/>
                  </a:lnTo>
                  <a:lnTo>
                    <a:pt x="25" y="517"/>
                  </a:lnTo>
                  <a:lnTo>
                    <a:pt x="21" y="520"/>
                  </a:lnTo>
                  <a:lnTo>
                    <a:pt x="21" y="523"/>
                  </a:lnTo>
                  <a:lnTo>
                    <a:pt x="22" y="526"/>
                  </a:lnTo>
                  <a:lnTo>
                    <a:pt x="27" y="526"/>
                  </a:lnTo>
                  <a:lnTo>
                    <a:pt x="30" y="527"/>
                  </a:lnTo>
                  <a:lnTo>
                    <a:pt x="30" y="527"/>
                  </a:lnTo>
                  <a:lnTo>
                    <a:pt x="31" y="527"/>
                  </a:lnTo>
                  <a:lnTo>
                    <a:pt x="33" y="528"/>
                  </a:lnTo>
                  <a:lnTo>
                    <a:pt x="33" y="530"/>
                  </a:lnTo>
                  <a:lnTo>
                    <a:pt x="33" y="530"/>
                  </a:lnTo>
                  <a:lnTo>
                    <a:pt x="31" y="531"/>
                  </a:lnTo>
                  <a:lnTo>
                    <a:pt x="30" y="534"/>
                  </a:lnTo>
                  <a:lnTo>
                    <a:pt x="27" y="538"/>
                  </a:lnTo>
                  <a:lnTo>
                    <a:pt x="27" y="538"/>
                  </a:lnTo>
                  <a:lnTo>
                    <a:pt x="27" y="540"/>
                  </a:lnTo>
                  <a:lnTo>
                    <a:pt x="27" y="543"/>
                  </a:lnTo>
                  <a:lnTo>
                    <a:pt x="28" y="549"/>
                  </a:lnTo>
                  <a:lnTo>
                    <a:pt x="28" y="549"/>
                  </a:lnTo>
                  <a:lnTo>
                    <a:pt x="28" y="550"/>
                  </a:lnTo>
                  <a:lnTo>
                    <a:pt x="27" y="550"/>
                  </a:lnTo>
                  <a:lnTo>
                    <a:pt x="21" y="549"/>
                  </a:lnTo>
                  <a:lnTo>
                    <a:pt x="21" y="549"/>
                  </a:lnTo>
                  <a:lnTo>
                    <a:pt x="20" y="546"/>
                  </a:lnTo>
                  <a:lnTo>
                    <a:pt x="20" y="541"/>
                  </a:lnTo>
                  <a:lnTo>
                    <a:pt x="20" y="536"/>
                  </a:lnTo>
                  <a:lnTo>
                    <a:pt x="18" y="531"/>
                  </a:lnTo>
                  <a:lnTo>
                    <a:pt x="18" y="531"/>
                  </a:lnTo>
                  <a:lnTo>
                    <a:pt x="17" y="530"/>
                  </a:lnTo>
                  <a:lnTo>
                    <a:pt x="17" y="530"/>
                  </a:lnTo>
                  <a:lnTo>
                    <a:pt x="14" y="531"/>
                  </a:lnTo>
                  <a:lnTo>
                    <a:pt x="12" y="540"/>
                  </a:lnTo>
                  <a:lnTo>
                    <a:pt x="12" y="540"/>
                  </a:lnTo>
                  <a:lnTo>
                    <a:pt x="14" y="543"/>
                  </a:lnTo>
                  <a:lnTo>
                    <a:pt x="14" y="543"/>
                  </a:lnTo>
                  <a:lnTo>
                    <a:pt x="15" y="546"/>
                  </a:lnTo>
                  <a:lnTo>
                    <a:pt x="12" y="547"/>
                  </a:lnTo>
                  <a:lnTo>
                    <a:pt x="12" y="547"/>
                  </a:lnTo>
                  <a:lnTo>
                    <a:pt x="8" y="551"/>
                  </a:lnTo>
                  <a:lnTo>
                    <a:pt x="8" y="551"/>
                  </a:lnTo>
                  <a:lnTo>
                    <a:pt x="7" y="554"/>
                  </a:lnTo>
                  <a:lnTo>
                    <a:pt x="7" y="557"/>
                  </a:lnTo>
                  <a:lnTo>
                    <a:pt x="8" y="561"/>
                  </a:lnTo>
                  <a:lnTo>
                    <a:pt x="8" y="561"/>
                  </a:lnTo>
                  <a:lnTo>
                    <a:pt x="12" y="569"/>
                  </a:lnTo>
                  <a:lnTo>
                    <a:pt x="12" y="570"/>
                  </a:lnTo>
                  <a:lnTo>
                    <a:pt x="10" y="573"/>
                  </a:lnTo>
                  <a:lnTo>
                    <a:pt x="4" y="579"/>
                  </a:lnTo>
                  <a:lnTo>
                    <a:pt x="1" y="581"/>
                  </a:lnTo>
                  <a:lnTo>
                    <a:pt x="4" y="586"/>
                  </a:lnTo>
                  <a:lnTo>
                    <a:pt x="5" y="590"/>
                  </a:lnTo>
                  <a:lnTo>
                    <a:pt x="5" y="594"/>
                  </a:lnTo>
                  <a:lnTo>
                    <a:pt x="4" y="597"/>
                  </a:lnTo>
                  <a:lnTo>
                    <a:pt x="4" y="600"/>
                  </a:lnTo>
                  <a:lnTo>
                    <a:pt x="2" y="604"/>
                  </a:lnTo>
                  <a:lnTo>
                    <a:pt x="2" y="606"/>
                  </a:lnTo>
                  <a:lnTo>
                    <a:pt x="0" y="609"/>
                  </a:lnTo>
                  <a:lnTo>
                    <a:pt x="5" y="613"/>
                  </a:lnTo>
                  <a:lnTo>
                    <a:pt x="7" y="614"/>
                  </a:lnTo>
                  <a:lnTo>
                    <a:pt x="7" y="614"/>
                  </a:lnTo>
                  <a:lnTo>
                    <a:pt x="8" y="619"/>
                  </a:lnTo>
                  <a:lnTo>
                    <a:pt x="10" y="626"/>
                  </a:lnTo>
                  <a:lnTo>
                    <a:pt x="10" y="626"/>
                  </a:lnTo>
                  <a:lnTo>
                    <a:pt x="11" y="632"/>
                  </a:lnTo>
                  <a:lnTo>
                    <a:pt x="12" y="636"/>
                  </a:lnTo>
                  <a:lnTo>
                    <a:pt x="12" y="636"/>
                  </a:lnTo>
                  <a:lnTo>
                    <a:pt x="15" y="642"/>
                  </a:lnTo>
                  <a:lnTo>
                    <a:pt x="15" y="642"/>
                  </a:lnTo>
                  <a:lnTo>
                    <a:pt x="17" y="642"/>
                  </a:lnTo>
                  <a:lnTo>
                    <a:pt x="20" y="639"/>
                  </a:lnTo>
                  <a:lnTo>
                    <a:pt x="25" y="642"/>
                  </a:lnTo>
                  <a:lnTo>
                    <a:pt x="28" y="650"/>
                  </a:lnTo>
                  <a:lnTo>
                    <a:pt x="33" y="656"/>
                  </a:lnTo>
                  <a:lnTo>
                    <a:pt x="43" y="660"/>
                  </a:lnTo>
                  <a:lnTo>
                    <a:pt x="45" y="662"/>
                  </a:lnTo>
                  <a:lnTo>
                    <a:pt x="53" y="663"/>
                  </a:lnTo>
                  <a:lnTo>
                    <a:pt x="53" y="669"/>
                  </a:lnTo>
                  <a:lnTo>
                    <a:pt x="57" y="675"/>
                  </a:lnTo>
                  <a:lnTo>
                    <a:pt x="54" y="685"/>
                  </a:lnTo>
                  <a:lnTo>
                    <a:pt x="48" y="687"/>
                  </a:lnTo>
                  <a:lnTo>
                    <a:pt x="50" y="693"/>
                  </a:lnTo>
                  <a:lnTo>
                    <a:pt x="57" y="697"/>
                  </a:lnTo>
                  <a:lnTo>
                    <a:pt x="63" y="699"/>
                  </a:lnTo>
                  <a:lnTo>
                    <a:pt x="67" y="702"/>
                  </a:lnTo>
                  <a:lnTo>
                    <a:pt x="73" y="703"/>
                  </a:lnTo>
                  <a:lnTo>
                    <a:pt x="75" y="706"/>
                  </a:lnTo>
                  <a:lnTo>
                    <a:pt x="77" y="709"/>
                  </a:lnTo>
                  <a:lnTo>
                    <a:pt x="84" y="709"/>
                  </a:lnTo>
                  <a:lnTo>
                    <a:pt x="87" y="713"/>
                  </a:lnTo>
                  <a:lnTo>
                    <a:pt x="90" y="710"/>
                  </a:lnTo>
                  <a:lnTo>
                    <a:pt x="93" y="713"/>
                  </a:lnTo>
                  <a:lnTo>
                    <a:pt x="94" y="718"/>
                  </a:lnTo>
                  <a:lnTo>
                    <a:pt x="96" y="725"/>
                  </a:lnTo>
                  <a:lnTo>
                    <a:pt x="96" y="729"/>
                  </a:lnTo>
                  <a:lnTo>
                    <a:pt x="97" y="730"/>
                  </a:lnTo>
                  <a:lnTo>
                    <a:pt x="104" y="728"/>
                  </a:lnTo>
                  <a:lnTo>
                    <a:pt x="107" y="729"/>
                  </a:lnTo>
                  <a:lnTo>
                    <a:pt x="106" y="739"/>
                  </a:lnTo>
                  <a:lnTo>
                    <a:pt x="104" y="743"/>
                  </a:lnTo>
                  <a:lnTo>
                    <a:pt x="103" y="748"/>
                  </a:lnTo>
                  <a:lnTo>
                    <a:pt x="106" y="755"/>
                  </a:lnTo>
                  <a:lnTo>
                    <a:pt x="111" y="758"/>
                  </a:lnTo>
                  <a:lnTo>
                    <a:pt x="108" y="762"/>
                  </a:lnTo>
                  <a:lnTo>
                    <a:pt x="110" y="766"/>
                  </a:lnTo>
                  <a:lnTo>
                    <a:pt x="113" y="769"/>
                  </a:lnTo>
                  <a:lnTo>
                    <a:pt x="118" y="769"/>
                  </a:lnTo>
                  <a:lnTo>
                    <a:pt x="121" y="772"/>
                  </a:lnTo>
                  <a:lnTo>
                    <a:pt x="120" y="779"/>
                  </a:lnTo>
                  <a:lnTo>
                    <a:pt x="123" y="781"/>
                  </a:lnTo>
                  <a:lnTo>
                    <a:pt x="126" y="779"/>
                  </a:lnTo>
                  <a:lnTo>
                    <a:pt x="130" y="775"/>
                  </a:lnTo>
                  <a:lnTo>
                    <a:pt x="131" y="773"/>
                  </a:lnTo>
                  <a:lnTo>
                    <a:pt x="136" y="772"/>
                  </a:lnTo>
                  <a:lnTo>
                    <a:pt x="138" y="772"/>
                  </a:lnTo>
                  <a:lnTo>
                    <a:pt x="144" y="771"/>
                  </a:lnTo>
                  <a:lnTo>
                    <a:pt x="149" y="771"/>
                  </a:lnTo>
                  <a:lnTo>
                    <a:pt x="153" y="766"/>
                  </a:lnTo>
                  <a:lnTo>
                    <a:pt x="159" y="766"/>
                  </a:lnTo>
                  <a:lnTo>
                    <a:pt x="161" y="768"/>
                  </a:lnTo>
                  <a:lnTo>
                    <a:pt x="166" y="772"/>
                  </a:lnTo>
                  <a:lnTo>
                    <a:pt x="167" y="773"/>
                  </a:lnTo>
                  <a:lnTo>
                    <a:pt x="164" y="779"/>
                  </a:lnTo>
                  <a:lnTo>
                    <a:pt x="160" y="783"/>
                  </a:lnTo>
                  <a:lnTo>
                    <a:pt x="161" y="786"/>
                  </a:lnTo>
                  <a:lnTo>
                    <a:pt x="167" y="785"/>
                  </a:lnTo>
                  <a:lnTo>
                    <a:pt x="170" y="783"/>
                  </a:lnTo>
                  <a:lnTo>
                    <a:pt x="171" y="783"/>
                  </a:lnTo>
                  <a:lnTo>
                    <a:pt x="176" y="783"/>
                  </a:lnTo>
                  <a:lnTo>
                    <a:pt x="181" y="789"/>
                  </a:lnTo>
                  <a:lnTo>
                    <a:pt x="180" y="795"/>
                  </a:lnTo>
                  <a:lnTo>
                    <a:pt x="173" y="796"/>
                  </a:lnTo>
                  <a:lnTo>
                    <a:pt x="170" y="801"/>
                  </a:lnTo>
                  <a:lnTo>
                    <a:pt x="173" y="802"/>
                  </a:lnTo>
                  <a:lnTo>
                    <a:pt x="177" y="801"/>
                  </a:lnTo>
                  <a:lnTo>
                    <a:pt x="187" y="802"/>
                  </a:lnTo>
                  <a:lnTo>
                    <a:pt x="187" y="806"/>
                  </a:lnTo>
                  <a:lnTo>
                    <a:pt x="184" y="813"/>
                  </a:lnTo>
                  <a:lnTo>
                    <a:pt x="179" y="819"/>
                  </a:lnTo>
                  <a:lnTo>
                    <a:pt x="179" y="822"/>
                  </a:lnTo>
                  <a:lnTo>
                    <a:pt x="187" y="832"/>
                  </a:lnTo>
                  <a:lnTo>
                    <a:pt x="187" y="835"/>
                  </a:lnTo>
                  <a:lnTo>
                    <a:pt x="191" y="835"/>
                  </a:lnTo>
                  <a:lnTo>
                    <a:pt x="196" y="838"/>
                  </a:lnTo>
                  <a:lnTo>
                    <a:pt x="196" y="838"/>
                  </a:lnTo>
                  <a:lnTo>
                    <a:pt x="194" y="839"/>
                  </a:lnTo>
                  <a:lnTo>
                    <a:pt x="193" y="844"/>
                  </a:lnTo>
                  <a:lnTo>
                    <a:pt x="196" y="846"/>
                  </a:lnTo>
                  <a:lnTo>
                    <a:pt x="199" y="846"/>
                  </a:lnTo>
                  <a:lnTo>
                    <a:pt x="204" y="842"/>
                  </a:lnTo>
                  <a:lnTo>
                    <a:pt x="209" y="838"/>
                  </a:lnTo>
                  <a:lnTo>
                    <a:pt x="213" y="836"/>
                  </a:lnTo>
                  <a:lnTo>
                    <a:pt x="217" y="838"/>
                  </a:lnTo>
                  <a:lnTo>
                    <a:pt x="219" y="839"/>
                  </a:lnTo>
                  <a:lnTo>
                    <a:pt x="222" y="844"/>
                  </a:lnTo>
                  <a:lnTo>
                    <a:pt x="223" y="849"/>
                  </a:lnTo>
                  <a:lnTo>
                    <a:pt x="223" y="855"/>
                  </a:lnTo>
                  <a:lnTo>
                    <a:pt x="222" y="861"/>
                  </a:lnTo>
                  <a:lnTo>
                    <a:pt x="219" y="868"/>
                  </a:lnTo>
                  <a:lnTo>
                    <a:pt x="219" y="874"/>
                  </a:lnTo>
                  <a:lnTo>
                    <a:pt x="222" y="874"/>
                  </a:lnTo>
                  <a:lnTo>
                    <a:pt x="226" y="875"/>
                  </a:lnTo>
                  <a:lnTo>
                    <a:pt x="232" y="875"/>
                  </a:lnTo>
                  <a:lnTo>
                    <a:pt x="234" y="874"/>
                  </a:lnTo>
                  <a:lnTo>
                    <a:pt x="236" y="876"/>
                  </a:lnTo>
                  <a:lnTo>
                    <a:pt x="237" y="882"/>
                  </a:lnTo>
                  <a:lnTo>
                    <a:pt x="239" y="888"/>
                  </a:lnTo>
                  <a:lnTo>
                    <a:pt x="242" y="891"/>
                  </a:lnTo>
                  <a:lnTo>
                    <a:pt x="243" y="895"/>
                  </a:lnTo>
                  <a:lnTo>
                    <a:pt x="249" y="897"/>
                  </a:lnTo>
                  <a:lnTo>
                    <a:pt x="253" y="895"/>
                  </a:lnTo>
                  <a:lnTo>
                    <a:pt x="259" y="894"/>
                  </a:lnTo>
                  <a:lnTo>
                    <a:pt x="263" y="897"/>
                  </a:lnTo>
                  <a:lnTo>
                    <a:pt x="270" y="899"/>
                  </a:lnTo>
                  <a:lnTo>
                    <a:pt x="275" y="902"/>
                  </a:lnTo>
                  <a:lnTo>
                    <a:pt x="277" y="901"/>
                  </a:lnTo>
                  <a:lnTo>
                    <a:pt x="283" y="898"/>
                  </a:lnTo>
                  <a:lnTo>
                    <a:pt x="287" y="892"/>
                  </a:lnTo>
                  <a:lnTo>
                    <a:pt x="292" y="895"/>
                  </a:lnTo>
                  <a:lnTo>
                    <a:pt x="296" y="898"/>
                  </a:lnTo>
                  <a:lnTo>
                    <a:pt x="305" y="902"/>
                  </a:lnTo>
                  <a:lnTo>
                    <a:pt x="310" y="905"/>
                  </a:lnTo>
                  <a:lnTo>
                    <a:pt x="316" y="908"/>
                  </a:lnTo>
                  <a:lnTo>
                    <a:pt x="312" y="914"/>
                  </a:lnTo>
                  <a:lnTo>
                    <a:pt x="307" y="919"/>
                  </a:lnTo>
                  <a:lnTo>
                    <a:pt x="306" y="919"/>
                  </a:lnTo>
                  <a:lnTo>
                    <a:pt x="312" y="925"/>
                  </a:lnTo>
                  <a:lnTo>
                    <a:pt x="313" y="932"/>
                  </a:lnTo>
                  <a:lnTo>
                    <a:pt x="318" y="937"/>
                  </a:lnTo>
                  <a:lnTo>
                    <a:pt x="322" y="940"/>
                  </a:lnTo>
                  <a:lnTo>
                    <a:pt x="326" y="945"/>
                  </a:lnTo>
                  <a:lnTo>
                    <a:pt x="335" y="958"/>
                  </a:lnTo>
                  <a:lnTo>
                    <a:pt x="339" y="965"/>
                  </a:lnTo>
                  <a:lnTo>
                    <a:pt x="345" y="975"/>
                  </a:lnTo>
                  <a:lnTo>
                    <a:pt x="348" y="981"/>
                  </a:lnTo>
                  <a:lnTo>
                    <a:pt x="350" y="984"/>
                  </a:lnTo>
                  <a:lnTo>
                    <a:pt x="352" y="984"/>
                  </a:lnTo>
                  <a:lnTo>
                    <a:pt x="358" y="982"/>
                  </a:lnTo>
                  <a:lnTo>
                    <a:pt x="365" y="978"/>
                  </a:lnTo>
                  <a:lnTo>
                    <a:pt x="370" y="974"/>
                  </a:lnTo>
                  <a:lnTo>
                    <a:pt x="378" y="970"/>
                  </a:lnTo>
                  <a:lnTo>
                    <a:pt x="388" y="965"/>
                  </a:lnTo>
                  <a:lnTo>
                    <a:pt x="395" y="960"/>
                  </a:lnTo>
                  <a:lnTo>
                    <a:pt x="408" y="982"/>
                  </a:lnTo>
                  <a:lnTo>
                    <a:pt x="415" y="994"/>
                  </a:lnTo>
                  <a:lnTo>
                    <a:pt x="406" y="998"/>
                  </a:lnTo>
                  <a:lnTo>
                    <a:pt x="398" y="1004"/>
                  </a:lnTo>
                  <a:lnTo>
                    <a:pt x="395" y="1007"/>
                  </a:lnTo>
                  <a:lnTo>
                    <a:pt x="396" y="1010"/>
                  </a:lnTo>
                  <a:lnTo>
                    <a:pt x="405" y="1027"/>
                  </a:lnTo>
                  <a:lnTo>
                    <a:pt x="415" y="1037"/>
                  </a:lnTo>
                  <a:lnTo>
                    <a:pt x="419" y="1044"/>
                  </a:lnTo>
                  <a:lnTo>
                    <a:pt x="419" y="1044"/>
                  </a:lnTo>
                  <a:lnTo>
                    <a:pt x="423" y="1041"/>
                  </a:lnTo>
                  <a:lnTo>
                    <a:pt x="426" y="1041"/>
                  </a:lnTo>
                  <a:lnTo>
                    <a:pt x="428" y="1044"/>
                  </a:lnTo>
                  <a:lnTo>
                    <a:pt x="428" y="1044"/>
                  </a:lnTo>
                  <a:lnTo>
                    <a:pt x="429" y="1047"/>
                  </a:lnTo>
                  <a:lnTo>
                    <a:pt x="428" y="1051"/>
                  </a:lnTo>
                  <a:lnTo>
                    <a:pt x="426" y="1056"/>
                  </a:lnTo>
                  <a:lnTo>
                    <a:pt x="452" y="1074"/>
                  </a:lnTo>
                  <a:lnTo>
                    <a:pt x="452" y="1074"/>
                  </a:lnTo>
                  <a:lnTo>
                    <a:pt x="446" y="1074"/>
                  </a:lnTo>
                  <a:lnTo>
                    <a:pt x="442" y="1074"/>
                  </a:lnTo>
                  <a:lnTo>
                    <a:pt x="441" y="1076"/>
                  </a:lnTo>
                  <a:lnTo>
                    <a:pt x="441" y="1077"/>
                  </a:lnTo>
                  <a:lnTo>
                    <a:pt x="441" y="1077"/>
                  </a:lnTo>
                  <a:lnTo>
                    <a:pt x="441" y="1083"/>
                  </a:lnTo>
                  <a:lnTo>
                    <a:pt x="441" y="1087"/>
                  </a:lnTo>
                  <a:lnTo>
                    <a:pt x="441" y="1087"/>
                  </a:lnTo>
                  <a:lnTo>
                    <a:pt x="441" y="1091"/>
                  </a:lnTo>
                  <a:lnTo>
                    <a:pt x="442" y="1096"/>
                  </a:lnTo>
                  <a:lnTo>
                    <a:pt x="444" y="1098"/>
                  </a:lnTo>
                  <a:lnTo>
                    <a:pt x="446" y="1100"/>
                  </a:lnTo>
                  <a:lnTo>
                    <a:pt x="446" y="1101"/>
                  </a:lnTo>
                  <a:lnTo>
                    <a:pt x="449" y="1100"/>
                  </a:lnTo>
                  <a:lnTo>
                    <a:pt x="459" y="1096"/>
                  </a:lnTo>
                  <a:lnTo>
                    <a:pt x="466" y="1094"/>
                  </a:lnTo>
                  <a:lnTo>
                    <a:pt x="472" y="1090"/>
                  </a:lnTo>
                  <a:lnTo>
                    <a:pt x="478" y="1087"/>
                  </a:lnTo>
                  <a:lnTo>
                    <a:pt x="482" y="1091"/>
                  </a:lnTo>
                  <a:lnTo>
                    <a:pt x="488" y="1094"/>
                  </a:lnTo>
                  <a:lnTo>
                    <a:pt x="504" y="1110"/>
                  </a:lnTo>
                  <a:lnTo>
                    <a:pt x="502" y="1116"/>
                  </a:lnTo>
                  <a:lnTo>
                    <a:pt x="507" y="1121"/>
                  </a:lnTo>
                  <a:lnTo>
                    <a:pt x="515" y="1133"/>
                  </a:lnTo>
                  <a:lnTo>
                    <a:pt x="501" y="1147"/>
                  </a:lnTo>
                  <a:lnTo>
                    <a:pt x="521" y="1174"/>
                  </a:lnTo>
                  <a:lnTo>
                    <a:pt x="544" y="1161"/>
                  </a:lnTo>
                  <a:lnTo>
                    <a:pt x="581" y="1169"/>
                  </a:lnTo>
                  <a:lnTo>
                    <a:pt x="581" y="1169"/>
                  </a:lnTo>
                  <a:lnTo>
                    <a:pt x="590" y="1173"/>
                  </a:lnTo>
                  <a:lnTo>
                    <a:pt x="598" y="1179"/>
                  </a:lnTo>
                  <a:lnTo>
                    <a:pt x="605" y="1187"/>
                  </a:lnTo>
                  <a:lnTo>
                    <a:pt x="667" y="1149"/>
                  </a:lnTo>
                  <a:lnTo>
                    <a:pt x="645" y="1117"/>
                  </a:lnTo>
                  <a:lnTo>
                    <a:pt x="706" y="1074"/>
                  </a:lnTo>
                  <a:lnTo>
                    <a:pt x="711" y="1076"/>
                  </a:lnTo>
                  <a:lnTo>
                    <a:pt x="721" y="1077"/>
                  </a:lnTo>
                  <a:lnTo>
                    <a:pt x="733" y="1070"/>
                  </a:lnTo>
                  <a:lnTo>
                    <a:pt x="749" y="1060"/>
                  </a:lnTo>
                  <a:lnTo>
                    <a:pt x="764" y="1048"/>
                  </a:lnTo>
                  <a:lnTo>
                    <a:pt x="777" y="1040"/>
                  </a:lnTo>
                  <a:lnTo>
                    <a:pt x="807" y="1020"/>
                  </a:lnTo>
                  <a:lnTo>
                    <a:pt x="799" y="1007"/>
                  </a:lnTo>
                  <a:lnTo>
                    <a:pt x="783" y="987"/>
                  </a:lnTo>
                  <a:lnTo>
                    <a:pt x="766" y="964"/>
                  </a:lnTo>
                  <a:lnTo>
                    <a:pt x="743" y="977"/>
                  </a:lnTo>
                  <a:lnTo>
                    <a:pt x="730" y="958"/>
                  </a:lnTo>
                  <a:lnTo>
                    <a:pt x="696" y="980"/>
                  </a:lnTo>
                  <a:lnTo>
                    <a:pt x="698" y="991"/>
                  </a:lnTo>
                  <a:lnTo>
                    <a:pt x="681" y="1003"/>
                  </a:lnTo>
                  <a:lnTo>
                    <a:pt x="648" y="961"/>
                  </a:lnTo>
                  <a:lnTo>
                    <a:pt x="630" y="978"/>
                  </a:lnTo>
                  <a:lnTo>
                    <a:pt x="617" y="962"/>
                  </a:lnTo>
                  <a:lnTo>
                    <a:pt x="637" y="947"/>
                  </a:lnTo>
                  <a:lnTo>
                    <a:pt x="630" y="940"/>
                  </a:lnTo>
                  <a:lnTo>
                    <a:pt x="666" y="908"/>
                  </a:lnTo>
                  <a:lnTo>
                    <a:pt x="681" y="872"/>
                  </a:lnTo>
                  <a:lnTo>
                    <a:pt x="711" y="879"/>
                  </a:lnTo>
                  <a:lnTo>
                    <a:pt x="746" y="872"/>
                  </a:lnTo>
                  <a:lnTo>
                    <a:pt x="733" y="848"/>
                  </a:lnTo>
                  <a:lnTo>
                    <a:pt x="730" y="835"/>
                  </a:lnTo>
                  <a:lnTo>
                    <a:pt x="730" y="821"/>
                  </a:lnTo>
                  <a:lnTo>
                    <a:pt x="743" y="795"/>
                  </a:lnTo>
                  <a:lnTo>
                    <a:pt x="749" y="795"/>
                  </a:lnTo>
                  <a:lnTo>
                    <a:pt x="756" y="795"/>
                  </a:lnTo>
                  <a:lnTo>
                    <a:pt x="759" y="792"/>
                  </a:lnTo>
                  <a:lnTo>
                    <a:pt x="764" y="786"/>
                  </a:lnTo>
                  <a:lnTo>
                    <a:pt x="770" y="769"/>
                  </a:lnTo>
                  <a:lnTo>
                    <a:pt x="770" y="759"/>
                  </a:lnTo>
                  <a:lnTo>
                    <a:pt x="770" y="749"/>
                  </a:lnTo>
                  <a:lnTo>
                    <a:pt x="769" y="742"/>
                  </a:lnTo>
                  <a:lnTo>
                    <a:pt x="769" y="732"/>
                  </a:lnTo>
                  <a:lnTo>
                    <a:pt x="769" y="725"/>
                  </a:lnTo>
                  <a:lnTo>
                    <a:pt x="769" y="723"/>
                  </a:lnTo>
                  <a:lnTo>
                    <a:pt x="767" y="719"/>
                  </a:lnTo>
                  <a:lnTo>
                    <a:pt x="766" y="715"/>
                  </a:lnTo>
                  <a:lnTo>
                    <a:pt x="763" y="710"/>
                  </a:lnTo>
                  <a:lnTo>
                    <a:pt x="760" y="706"/>
                  </a:lnTo>
                  <a:lnTo>
                    <a:pt x="759" y="703"/>
                  </a:lnTo>
                  <a:lnTo>
                    <a:pt x="756" y="699"/>
                  </a:lnTo>
                  <a:lnTo>
                    <a:pt x="756" y="699"/>
                  </a:lnTo>
                  <a:lnTo>
                    <a:pt x="751" y="692"/>
                  </a:lnTo>
                  <a:lnTo>
                    <a:pt x="750" y="685"/>
                  </a:lnTo>
                  <a:lnTo>
                    <a:pt x="747" y="669"/>
                  </a:lnTo>
                  <a:lnTo>
                    <a:pt x="749" y="652"/>
                  </a:lnTo>
                  <a:lnTo>
                    <a:pt x="750" y="643"/>
                  </a:lnTo>
                  <a:lnTo>
                    <a:pt x="751" y="637"/>
                  </a:lnTo>
                  <a:lnTo>
                    <a:pt x="783" y="650"/>
                  </a:lnTo>
                  <a:lnTo>
                    <a:pt x="809" y="677"/>
                  </a:lnTo>
                  <a:lnTo>
                    <a:pt x="819" y="679"/>
                  </a:lnTo>
                  <a:lnTo>
                    <a:pt x="903" y="758"/>
                  </a:lnTo>
                  <a:lnTo>
                    <a:pt x="900" y="760"/>
                  </a:lnTo>
                  <a:lnTo>
                    <a:pt x="890" y="773"/>
                  </a:lnTo>
                  <a:lnTo>
                    <a:pt x="905" y="789"/>
                  </a:lnTo>
                  <a:lnTo>
                    <a:pt x="908" y="786"/>
                  </a:lnTo>
                  <a:lnTo>
                    <a:pt x="915" y="781"/>
                  </a:lnTo>
                  <a:lnTo>
                    <a:pt x="916" y="778"/>
                  </a:lnTo>
                  <a:lnTo>
                    <a:pt x="919" y="776"/>
                  </a:lnTo>
                  <a:lnTo>
                    <a:pt x="920" y="776"/>
                  </a:lnTo>
                  <a:lnTo>
                    <a:pt x="942" y="799"/>
                  </a:lnTo>
                  <a:lnTo>
                    <a:pt x="959" y="785"/>
                  </a:lnTo>
                  <a:lnTo>
                    <a:pt x="962" y="789"/>
                  </a:lnTo>
                  <a:lnTo>
                    <a:pt x="983" y="818"/>
                  </a:lnTo>
                  <a:lnTo>
                    <a:pt x="1005" y="803"/>
                  </a:lnTo>
                  <a:lnTo>
                    <a:pt x="1038" y="855"/>
                  </a:lnTo>
                  <a:lnTo>
                    <a:pt x="1042" y="852"/>
                  </a:lnTo>
                  <a:lnTo>
                    <a:pt x="1084" y="825"/>
                  </a:lnTo>
                  <a:lnTo>
                    <a:pt x="1067" y="799"/>
                  </a:lnTo>
                  <a:lnTo>
                    <a:pt x="1089" y="722"/>
                  </a:lnTo>
                  <a:lnTo>
                    <a:pt x="1051" y="702"/>
                  </a:lnTo>
                  <a:lnTo>
                    <a:pt x="1155" y="600"/>
                  </a:lnTo>
                  <a:lnTo>
                    <a:pt x="1155" y="600"/>
                  </a:lnTo>
                  <a:close/>
                  <a:moveTo>
                    <a:pt x="449" y="36"/>
                  </a:moveTo>
                  <a:lnTo>
                    <a:pt x="452" y="37"/>
                  </a:lnTo>
                  <a:lnTo>
                    <a:pt x="455" y="39"/>
                  </a:lnTo>
                  <a:lnTo>
                    <a:pt x="456" y="36"/>
                  </a:lnTo>
                  <a:lnTo>
                    <a:pt x="455" y="33"/>
                  </a:lnTo>
                  <a:lnTo>
                    <a:pt x="454" y="31"/>
                  </a:lnTo>
                  <a:lnTo>
                    <a:pt x="451" y="31"/>
                  </a:lnTo>
                  <a:lnTo>
                    <a:pt x="449" y="31"/>
                  </a:lnTo>
                  <a:lnTo>
                    <a:pt x="449" y="36"/>
                  </a:lnTo>
                  <a:lnTo>
                    <a:pt x="449" y="36"/>
                  </a:lnTo>
                  <a:close/>
                  <a:moveTo>
                    <a:pt x="1836" y="610"/>
                  </a:moveTo>
                  <a:lnTo>
                    <a:pt x="1830" y="609"/>
                  </a:lnTo>
                  <a:lnTo>
                    <a:pt x="1826" y="607"/>
                  </a:lnTo>
                  <a:lnTo>
                    <a:pt x="1823" y="607"/>
                  </a:lnTo>
                  <a:lnTo>
                    <a:pt x="1821" y="607"/>
                  </a:lnTo>
                  <a:lnTo>
                    <a:pt x="1821" y="612"/>
                  </a:lnTo>
                  <a:lnTo>
                    <a:pt x="1823" y="612"/>
                  </a:lnTo>
                  <a:lnTo>
                    <a:pt x="1826" y="614"/>
                  </a:lnTo>
                  <a:lnTo>
                    <a:pt x="1828" y="614"/>
                  </a:lnTo>
                  <a:lnTo>
                    <a:pt x="1834" y="614"/>
                  </a:lnTo>
                  <a:lnTo>
                    <a:pt x="1837" y="614"/>
                  </a:lnTo>
                  <a:lnTo>
                    <a:pt x="1841" y="616"/>
                  </a:lnTo>
                  <a:lnTo>
                    <a:pt x="1843" y="617"/>
                  </a:lnTo>
                  <a:lnTo>
                    <a:pt x="1847" y="620"/>
                  </a:lnTo>
                  <a:lnTo>
                    <a:pt x="1850" y="623"/>
                  </a:lnTo>
                  <a:lnTo>
                    <a:pt x="1854" y="624"/>
                  </a:lnTo>
                  <a:lnTo>
                    <a:pt x="1857" y="626"/>
                  </a:lnTo>
                  <a:lnTo>
                    <a:pt x="1860" y="626"/>
                  </a:lnTo>
                  <a:lnTo>
                    <a:pt x="1861" y="624"/>
                  </a:lnTo>
                  <a:lnTo>
                    <a:pt x="1861" y="624"/>
                  </a:lnTo>
                  <a:lnTo>
                    <a:pt x="1861" y="622"/>
                  </a:lnTo>
                  <a:lnTo>
                    <a:pt x="1857" y="622"/>
                  </a:lnTo>
                  <a:lnTo>
                    <a:pt x="1853" y="620"/>
                  </a:lnTo>
                  <a:lnTo>
                    <a:pt x="1846" y="614"/>
                  </a:lnTo>
                  <a:lnTo>
                    <a:pt x="1843" y="612"/>
                  </a:lnTo>
                  <a:lnTo>
                    <a:pt x="1840" y="610"/>
                  </a:lnTo>
                  <a:lnTo>
                    <a:pt x="1836" y="610"/>
                  </a:lnTo>
                  <a:lnTo>
                    <a:pt x="1836" y="610"/>
                  </a:lnTo>
                  <a:close/>
                  <a:moveTo>
                    <a:pt x="1781" y="560"/>
                  </a:moveTo>
                  <a:lnTo>
                    <a:pt x="1780" y="561"/>
                  </a:lnTo>
                  <a:lnTo>
                    <a:pt x="1780" y="563"/>
                  </a:lnTo>
                  <a:lnTo>
                    <a:pt x="1781" y="564"/>
                  </a:lnTo>
                  <a:lnTo>
                    <a:pt x="1783" y="566"/>
                  </a:lnTo>
                  <a:lnTo>
                    <a:pt x="1784" y="566"/>
                  </a:lnTo>
                  <a:lnTo>
                    <a:pt x="1786" y="564"/>
                  </a:lnTo>
                  <a:lnTo>
                    <a:pt x="1784" y="561"/>
                  </a:lnTo>
                  <a:lnTo>
                    <a:pt x="1783" y="560"/>
                  </a:lnTo>
                  <a:lnTo>
                    <a:pt x="1781" y="560"/>
                  </a:lnTo>
                  <a:lnTo>
                    <a:pt x="1781" y="560"/>
                  </a:lnTo>
                  <a:lnTo>
                    <a:pt x="1781" y="560"/>
                  </a:lnTo>
                  <a:close/>
                  <a:moveTo>
                    <a:pt x="1796" y="569"/>
                  </a:moveTo>
                  <a:lnTo>
                    <a:pt x="1794" y="570"/>
                  </a:lnTo>
                  <a:lnTo>
                    <a:pt x="1794" y="571"/>
                  </a:lnTo>
                  <a:lnTo>
                    <a:pt x="1796" y="571"/>
                  </a:lnTo>
                  <a:lnTo>
                    <a:pt x="1796" y="571"/>
                  </a:lnTo>
                  <a:lnTo>
                    <a:pt x="1797" y="571"/>
                  </a:lnTo>
                  <a:lnTo>
                    <a:pt x="1797" y="570"/>
                  </a:lnTo>
                  <a:lnTo>
                    <a:pt x="1797" y="569"/>
                  </a:lnTo>
                  <a:lnTo>
                    <a:pt x="1796" y="569"/>
                  </a:lnTo>
                  <a:lnTo>
                    <a:pt x="1796" y="569"/>
                  </a:lnTo>
                  <a:lnTo>
                    <a:pt x="1796" y="569"/>
                  </a:lnTo>
                  <a:close/>
                  <a:moveTo>
                    <a:pt x="1728" y="481"/>
                  </a:moveTo>
                  <a:lnTo>
                    <a:pt x="1727" y="481"/>
                  </a:lnTo>
                  <a:lnTo>
                    <a:pt x="1727" y="481"/>
                  </a:lnTo>
                  <a:lnTo>
                    <a:pt x="1725" y="483"/>
                  </a:lnTo>
                  <a:lnTo>
                    <a:pt x="1725" y="484"/>
                  </a:lnTo>
                  <a:lnTo>
                    <a:pt x="1724" y="484"/>
                  </a:lnTo>
                  <a:lnTo>
                    <a:pt x="1724" y="485"/>
                  </a:lnTo>
                  <a:lnTo>
                    <a:pt x="1725" y="485"/>
                  </a:lnTo>
                  <a:lnTo>
                    <a:pt x="1727" y="487"/>
                  </a:lnTo>
                  <a:lnTo>
                    <a:pt x="1728" y="485"/>
                  </a:lnTo>
                  <a:lnTo>
                    <a:pt x="1730" y="484"/>
                  </a:lnTo>
                  <a:lnTo>
                    <a:pt x="1730" y="484"/>
                  </a:lnTo>
                  <a:lnTo>
                    <a:pt x="1730" y="483"/>
                  </a:lnTo>
                  <a:lnTo>
                    <a:pt x="1728" y="481"/>
                  </a:lnTo>
                  <a:lnTo>
                    <a:pt x="1728" y="481"/>
                  </a:lnTo>
                  <a:close/>
                  <a:moveTo>
                    <a:pt x="1758" y="511"/>
                  </a:moveTo>
                  <a:lnTo>
                    <a:pt x="1755" y="510"/>
                  </a:lnTo>
                  <a:lnTo>
                    <a:pt x="1753" y="510"/>
                  </a:lnTo>
                  <a:lnTo>
                    <a:pt x="1753" y="511"/>
                  </a:lnTo>
                  <a:lnTo>
                    <a:pt x="1754" y="513"/>
                  </a:lnTo>
                  <a:lnTo>
                    <a:pt x="1758" y="513"/>
                  </a:lnTo>
                  <a:lnTo>
                    <a:pt x="1760" y="514"/>
                  </a:lnTo>
                  <a:lnTo>
                    <a:pt x="1761" y="517"/>
                  </a:lnTo>
                  <a:lnTo>
                    <a:pt x="1761" y="521"/>
                  </a:lnTo>
                  <a:lnTo>
                    <a:pt x="1763" y="524"/>
                  </a:lnTo>
                  <a:lnTo>
                    <a:pt x="1763" y="526"/>
                  </a:lnTo>
                  <a:lnTo>
                    <a:pt x="1764" y="528"/>
                  </a:lnTo>
                  <a:lnTo>
                    <a:pt x="1765" y="528"/>
                  </a:lnTo>
                  <a:lnTo>
                    <a:pt x="1767" y="527"/>
                  </a:lnTo>
                  <a:lnTo>
                    <a:pt x="1765" y="524"/>
                  </a:lnTo>
                  <a:lnTo>
                    <a:pt x="1765" y="521"/>
                  </a:lnTo>
                  <a:lnTo>
                    <a:pt x="1764" y="517"/>
                  </a:lnTo>
                  <a:lnTo>
                    <a:pt x="1763" y="514"/>
                  </a:lnTo>
                  <a:lnTo>
                    <a:pt x="1761" y="513"/>
                  </a:lnTo>
                  <a:lnTo>
                    <a:pt x="1758" y="511"/>
                  </a:lnTo>
                  <a:lnTo>
                    <a:pt x="1758" y="511"/>
                  </a:lnTo>
                  <a:close/>
                  <a:moveTo>
                    <a:pt x="1740" y="494"/>
                  </a:moveTo>
                  <a:lnTo>
                    <a:pt x="1738" y="494"/>
                  </a:lnTo>
                  <a:lnTo>
                    <a:pt x="1737" y="497"/>
                  </a:lnTo>
                  <a:lnTo>
                    <a:pt x="1735" y="498"/>
                  </a:lnTo>
                  <a:lnTo>
                    <a:pt x="1735" y="501"/>
                  </a:lnTo>
                  <a:lnTo>
                    <a:pt x="1737" y="501"/>
                  </a:lnTo>
                  <a:lnTo>
                    <a:pt x="1740" y="500"/>
                  </a:lnTo>
                  <a:lnTo>
                    <a:pt x="1741" y="501"/>
                  </a:lnTo>
                  <a:lnTo>
                    <a:pt x="1743" y="498"/>
                  </a:lnTo>
                  <a:lnTo>
                    <a:pt x="1743" y="497"/>
                  </a:lnTo>
                  <a:lnTo>
                    <a:pt x="1741" y="497"/>
                  </a:lnTo>
                  <a:lnTo>
                    <a:pt x="1740" y="494"/>
                  </a:lnTo>
                  <a:lnTo>
                    <a:pt x="1740" y="494"/>
                  </a:lnTo>
                  <a:close/>
                  <a:moveTo>
                    <a:pt x="1694" y="483"/>
                  </a:moveTo>
                  <a:lnTo>
                    <a:pt x="1694" y="485"/>
                  </a:lnTo>
                  <a:lnTo>
                    <a:pt x="1692" y="488"/>
                  </a:lnTo>
                  <a:lnTo>
                    <a:pt x="1692" y="491"/>
                  </a:lnTo>
                  <a:lnTo>
                    <a:pt x="1694" y="493"/>
                  </a:lnTo>
                  <a:lnTo>
                    <a:pt x="1695" y="493"/>
                  </a:lnTo>
                  <a:lnTo>
                    <a:pt x="1697" y="494"/>
                  </a:lnTo>
                  <a:lnTo>
                    <a:pt x="1698" y="496"/>
                  </a:lnTo>
                  <a:lnTo>
                    <a:pt x="1700" y="494"/>
                  </a:lnTo>
                  <a:lnTo>
                    <a:pt x="1700" y="493"/>
                  </a:lnTo>
                  <a:lnTo>
                    <a:pt x="1700" y="490"/>
                  </a:lnTo>
                  <a:lnTo>
                    <a:pt x="1698" y="485"/>
                  </a:lnTo>
                  <a:lnTo>
                    <a:pt x="1697" y="484"/>
                  </a:lnTo>
                  <a:lnTo>
                    <a:pt x="1694" y="483"/>
                  </a:lnTo>
                  <a:lnTo>
                    <a:pt x="1694" y="483"/>
                  </a:lnTo>
                  <a:close/>
                  <a:moveTo>
                    <a:pt x="1631" y="530"/>
                  </a:moveTo>
                  <a:lnTo>
                    <a:pt x="1628" y="530"/>
                  </a:lnTo>
                  <a:lnTo>
                    <a:pt x="1625" y="531"/>
                  </a:lnTo>
                  <a:lnTo>
                    <a:pt x="1624" y="533"/>
                  </a:lnTo>
                  <a:lnTo>
                    <a:pt x="1624" y="536"/>
                  </a:lnTo>
                  <a:lnTo>
                    <a:pt x="1624" y="537"/>
                  </a:lnTo>
                  <a:lnTo>
                    <a:pt x="1624" y="538"/>
                  </a:lnTo>
                  <a:lnTo>
                    <a:pt x="1624" y="540"/>
                  </a:lnTo>
                  <a:lnTo>
                    <a:pt x="1627" y="541"/>
                  </a:lnTo>
                  <a:lnTo>
                    <a:pt x="1629" y="540"/>
                  </a:lnTo>
                  <a:lnTo>
                    <a:pt x="1632" y="538"/>
                  </a:lnTo>
                  <a:lnTo>
                    <a:pt x="1634" y="536"/>
                  </a:lnTo>
                  <a:lnTo>
                    <a:pt x="1635" y="533"/>
                  </a:lnTo>
                  <a:lnTo>
                    <a:pt x="1634" y="530"/>
                  </a:lnTo>
                  <a:lnTo>
                    <a:pt x="1631" y="530"/>
                  </a:lnTo>
                  <a:lnTo>
                    <a:pt x="1631" y="530"/>
                  </a:lnTo>
                  <a:close/>
                  <a:moveTo>
                    <a:pt x="1509" y="404"/>
                  </a:moveTo>
                  <a:lnTo>
                    <a:pt x="1502" y="402"/>
                  </a:lnTo>
                  <a:lnTo>
                    <a:pt x="1498" y="402"/>
                  </a:lnTo>
                  <a:lnTo>
                    <a:pt x="1493" y="404"/>
                  </a:lnTo>
                  <a:lnTo>
                    <a:pt x="1490" y="404"/>
                  </a:lnTo>
                  <a:lnTo>
                    <a:pt x="1490" y="407"/>
                  </a:lnTo>
                  <a:lnTo>
                    <a:pt x="1495" y="408"/>
                  </a:lnTo>
                  <a:lnTo>
                    <a:pt x="1499" y="410"/>
                  </a:lnTo>
                  <a:lnTo>
                    <a:pt x="1502" y="410"/>
                  </a:lnTo>
                  <a:lnTo>
                    <a:pt x="1505" y="410"/>
                  </a:lnTo>
                  <a:lnTo>
                    <a:pt x="1506" y="411"/>
                  </a:lnTo>
                  <a:lnTo>
                    <a:pt x="1509" y="414"/>
                  </a:lnTo>
                  <a:lnTo>
                    <a:pt x="1513" y="414"/>
                  </a:lnTo>
                  <a:lnTo>
                    <a:pt x="1516" y="417"/>
                  </a:lnTo>
                  <a:lnTo>
                    <a:pt x="1519" y="420"/>
                  </a:lnTo>
                  <a:lnTo>
                    <a:pt x="1523" y="420"/>
                  </a:lnTo>
                  <a:lnTo>
                    <a:pt x="1525" y="421"/>
                  </a:lnTo>
                  <a:lnTo>
                    <a:pt x="1528" y="422"/>
                  </a:lnTo>
                  <a:lnTo>
                    <a:pt x="1531" y="422"/>
                  </a:lnTo>
                  <a:lnTo>
                    <a:pt x="1532" y="420"/>
                  </a:lnTo>
                  <a:lnTo>
                    <a:pt x="1532" y="417"/>
                  </a:lnTo>
                  <a:lnTo>
                    <a:pt x="1528" y="414"/>
                  </a:lnTo>
                  <a:lnTo>
                    <a:pt x="1522" y="410"/>
                  </a:lnTo>
                  <a:lnTo>
                    <a:pt x="1519" y="407"/>
                  </a:lnTo>
                  <a:lnTo>
                    <a:pt x="1515" y="405"/>
                  </a:lnTo>
                  <a:lnTo>
                    <a:pt x="1513" y="404"/>
                  </a:lnTo>
                  <a:lnTo>
                    <a:pt x="1509" y="404"/>
                  </a:lnTo>
                  <a:lnTo>
                    <a:pt x="1509" y="404"/>
                  </a:lnTo>
                  <a:close/>
                  <a:moveTo>
                    <a:pt x="1796" y="577"/>
                  </a:moveTo>
                  <a:lnTo>
                    <a:pt x="1794" y="577"/>
                  </a:lnTo>
                  <a:lnTo>
                    <a:pt x="1793" y="577"/>
                  </a:lnTo>
                  <a:lnTo>
                    <a:pt x="1793" y="579"/>
                  </a:lnTo>
                  <a:lnTo>
                    <a:pt x="1794" y="580"/>
                  </a:lnTo>
                  <a:lnTo>
                    <a:pt x="1796" y="580"/>
                  </a:lnTo>
                  <a:lnTo>
                    <a:pt x="1797" y="579"/>
                  </a:lnTo>
                  <a:lnTo>
                    <a:pt x="1797" y="579"/>
                  </a:lnTo>
                  <a:lnTo>
                    <a:pt x="1796" y="577"/>
                  </a:lnTo>
                  <a:lnTo>
                    <a:pt x="1796" y="577"/>
                  </a:lnTo>
                  <a:close/>
                  <a:moveTo>
                    <a:pt x="1969" y="637"/>
                  </a:moveTo>
                  <a:lnTo>
                    <a:pt x="1969" y="634"/>
                  </a:lnTo>
                  <a:lnTo>
                    <a:pt x="1970" y="632"/>
                  </a:lnTo>
                  <a:lnTo>
                    <a:pt x="1972" y="629"/>
                  </a:lnTo>
                  <a:lnTo>
                    <a:pt x="1973" y="629"/>
                  </a:lnTo>
                  <a:lnTo>
                    <a:pt x="1973" y="629"/>
                  </a:lnTo>
                  <a:lnTo>
                    <a:pt x="1973" y="630"/>
                  </a:lnTo>
                  <a:lnTo>
                    <a:pt x="1973" y="632"/>
                  </a:lnTo>
                  <a:lnTo>
                    <a:pt x="1973" y="634"/>
                  </a:lnTo>
                  <a:lnTo>
                    <a:pt x="1972" y="636"/>
                  </a:lnTo>
                  <a:lnTo>
                    <a:pt x="1970" y="637"/>
                  </a:lnTo>
                  <a:lnTo>
                    <a:pt x="1969" y="637"/>
                  </a:lnTo>
                  <a:lnTo>
                    <a:pt x="1969" y="637"/>
                  </a:lnTo>
                  <a:close/>
                  <a:moveTo>
                    <a:pt x="1810" y="591"/>
                  </a:moveTo>
                  <a:lnTo>
                    <a:pt x="1807" y="590"/>
                  </a:lnTo>
                  <a:lnTo>
                    <a:pt x="1806" y="589"/>
                  </a:lnTo>
                  <a:lnTo>
                    <a:pt x="1803" y="587"/>
                  </a:lnTo>
                  <a:lnTo>
                    <a:pt x="1801" y="587"/>
                  </a:lnTo>
                  <a:lnTo>
                    <a:pt x="1801" y="589"/>
                  </a:lnTo>
                  <a:lnTo>
                    <a:pt x="1801" y="590"/>
                  </a:lnTo>
                  <a:lnTo>
                    <a:pt x="1803" y="591"/>
                  </a:lnTo>
                  <a:lnTo>
                    <a:pt x="1804" y="593"/>
                  </a:lnTo>
                  <a:lnTo>
                    <a:pt x="1807" y="593"/>
                  </a:lnTo>
                  <a:lnTo>
                    <a:pt x="1808" y="594"/>
                  </a:lnTo>
                  <a:lnTo>
                    <a:pt x="1810" y="591"/>
                  </a:lnTo>
                  <a:lnTo>
                    <a:pt x="1810" y="591"/>
                  </a:lnTo>
                  <a:close/>
                  <a:moveTo>
                    <a:pt x="1804" y="576"/>
                  </a:moveTo>
                  <a:lnTo>
                    <a:pt x="1804" y="574"/>
                  </a:lnTo>
                  <a:lnTo>
                    <a:pt x="1803" y="574"/>
                  </a:lnTo>
                  <a:lnTo>
                    <a:pt x="1801" y="574"/>
                  </a:lnTo>
                  <a:lnTo>
                    <a:pt x="1800" y="576"/>
                  </a:lnTo>
                  <a:lnTo>
                    <a:pt x="1801" y="576"/>
                  </a:lnTo>
                  <a:lnTo>
                    <a:pt x="1801" y="577"/>
                  </a:lnTo>
                  <a:lnTo>
                    <a:pt x="1803" y="577"/>
                  </a:lnTo>
                  <a:lnTo>
                    <a:pt x="1803" y="577"/>
                  </a:lnTo>
                  <a:lnTo>
                    <a:pt x="1804" y="577"/>
                  </a:lnTo>
                  <a:lnTo>
                    <a:pt x="1804" y="576"/>
                  </a:lnTo>
                  <a:lnTo>
                    <a:pt x="1804" y="576"/>
                  </a:lnTo>
                  <a:close/>
                  <a:moveTo>
                    <a:pt x="1965" y="596"/>
                  </a:moveTo>
                  <a:lnTo>
                    <a:pt x="1962" y="587"/>
                  </a:lnTo>
                  <a:lnTo>
                    <a:pt x="1959" y="579"/>
                  </a:lnTo>
                  <a:lnTo>
                    <a:pt x="1957" y="576"/>
                  </a:lnTo>
                  <a:lnTo>
                    <a:pt x="1956" y="577"/>
                  </a:lnTo>
                  <a:lnTo>
                    <a:pt x="1955" y="579"/>
                  </a:lnTo>
                  <a:lnTo>
                    <a:pt x="1955" y="581"/>
                  </a:lnTo>
                  <a:lnTo>
                    <a:pt x="1955" y="587"/>
                  </a:lnTo>
                  <a:lnTo>
                    <a:pt x="1957" y="593"/>
                  </a:lnTo>
                  <a:lnTo>
                    <a:pt x="1957" y="603"/>
                  </a:lnTo>
                  <a:lnTo>
                    <a:pt x="1957" y="612"/>
                  </a:lnTo>
                  <a:lnTo>
                    <a:pt x="1955" y="627"/>
                  </a:lnTo>
                  <a:lnTo>
                    <a:pt x="1956" y="630"/>
                  </a:lnTo>
                  <a:lnTo>
                    <a:pt x="1957" y="632"/>
                  </a:lnTo>
                  <a:lnTo>
                    <a:pt x="1959" y="633"/>
                  </a:lnTo>
                  <a:lnTo>
                    <a:pt x="1962" y="632"/>
                  </a:lnTo>
                  <a:lnTo>
                    <a:pt x="1965" y="627"/>
                  </a:lnTo>
                  <a:lnTo>
                    <a:pt x="1967" y="624"/>
                  </a:lnTo>
                  <a:lnTo>
                    <a:pt x="1967" y="623"/>
                  </a:lnTo>
                  <a:lnTo>
                    <a:pt x="1967" y="620"/>
                  </a:lnTo>
                  <a:lnTo>
                    <a:pt x="1966" y="620"/>
                  </a:lnTo>
                  <a:lnTo>
                    <a:pt x="1963" y="619"/>
                  </a:lnTo>
                  <a:lnTo>
                    <a:pt x="1963" y="617"/>
                  </a:lnTo>
                  <a:lnTo>
                    <a:pt x="1965" y="617"/>
                  </a:lnTo>
                  <a:lnTo>
                    <a:pt x="1967" y="616"/>
                  </a:lnTo>
                  <a:lnTo>
                    <a:pt x="1967" y="613"/>
                  </a:lnTo>
                  <a:lnTo>
                    <a:pt x="1967" y="610"/>
                  </a:lnTo>
                  <a:lnTo>
                    <a:pt x="1966" y="602"/>
                  </a:lnTo>
                  <a:lnTo>
                    <a:pt x="1965" y="596"/>
                  </a:lnTo>
                  <a:lnTo>
                    <a:pt x="1965" y="596"/>
                  </a:lnTo>
                  <a:close/>
                  <a:moveTo>
                    <a:pt x="1963" y="640"/>
                  </a:moveTo>
                  <a:lnTo>
                    <a:pt x="1963" y="636"/>
                  </a:lnTo>
                  <a:lnTo>
                    <a:pt x="1962" y="636"/>
                  </a:lnTo>
                  <a:lnTo>
                    <a:pt x="1959" y="636"/>
                  </a:lnTo>
                  <a:lnTo>
                    <a:pt x="1956" y="639"/>
                  </a:lnTo>
                  <a:lnTo>
                    <a:pt x="1956" y="642"/>
                  </a:lnTo>
                  <a:lnTo>
                    <a:pt x="1956" y="642"/>
                  </a:lnTo>
                  <a:lnTo>
                    <a:pt x="1957" y="644"/>
                  </a:lnTo>
                  <a:lnTo>
                    <a:pt x="1959" y="647"/>
                  </a:lnTo>
                  <a:lnTo>
                    <a:pt x="1960" y="649"/>
                  </a:lnTo>
                  <a:lnTo>
                    <a:pt x="1962" y="649"/>
                  </a:lnTo>
                  <a:lnTo>
                    <a:pt x="1963" y="646"/>
                  </a:lnTo>
                  <a:lnTo>
                    <a:pt x="1963" y="644"/>
                  </a:lnTo>
                  <a:lnTo>
                    <a:pt x="1963" y="640"/>
                  </a:lnTo>
                  <a:lnTo>
                    <a:pt x="1963" y="640"/>
                  </a:lnTo>
                  <a:close/>
                  <a:moveTo>
                    <a:pt x="1959" y="553"/>
                  </a:moveTo>
                  <a:lnTo>
                    <a:pt x="1957" y="551"/>
                  </a:lnTo>
                  <a:lnTo>
                    <a:pt x="1956" y="550"/>
                  </a:lnTo>
                  <a:lnTo>
                    <a:pt x="1955" y="553"/>
                  </a:lnTo>
                  <a:lnTo>
                    <a:pt x="1955" y="556"/>
                  </a:lnTo>
                  <a:lnTo>
                    <a:pt x="1955" y="557"/>
                  </a:lnTo>
                  <a:lnTo>
                    <a:pt x="1957" y="557"/>
                  </a:lnTo>
                  <a:lnTo>
                    <a:pt x="1960" y="557"/>
                  </a:lnTo>
                  <a:lnTo>
                    <a:pt x="1962" y="556"/>
                  </a:lnTo>
                  <a:lnTo>
                    <a:pt x="1962" y="554"/>
                  </a:lnTo>
                  <a:lnTo>
                    <a:pt x="1959" y="553"/>
                  </a:lnTo>
                  <a:lnTo>
                    <a:pt x="1959" y="553"/>
                  </a:lnTo>
                  <a:lnTo>
                    <a:pt x="1959" y="553"/>
                  </a:lnTo>
                  <a:close/>
                  <a:moveTo>
                    <a:pt x="932" y="211"/>
                  </a:moveTo>
                  <a:lnTo>
                    <a:pt x="930" y="221"/>
                  </a:lnTo>
                  <a:lnTo>
                    <a:pt x="929" y="225"/>
                  </a:lnTo>
                  <a:lnTo>
                    <a:pt x="932" y="228"/>
                  </a:lnTo>
                  <a:lnTo>
                    <a:pt x="936" y="226"/>
                  </a:lnTo>
                  <a:lnTo>
                    <a:pt x="941" y="223"/>
                  </a:lnTo>
                  <a:lnTo>
                    <a:pt x="943" y="218"/>
                  </a:lnTo>
                  <a:lnTo>
                    <a:pt x="945" y="212"/>
                  </a:lnTo>
                  <a:lnTo>
                    <a:pt x="943" y="206"/>
                  </a:lnTo>
                  <a:lnTo>
                    <a:pt x="941" y="205"/>
                  </a:lnTo>
                  <a:lnTo>
                    <a:pt x="941" y="205"/>
                  </a:lnTo>
                  <a:lnTo>
                    <a:pt x="936" y="205"/>
                  </a:lnTo>
                  <a:lnTo>
                    <a:pt x="932" y="211"/>
                  </a:lnTo>
                  <a:lnTo>
                    <a:pt x="932" y="211"/>
                  </a:lnTo>
                  <a:close/>
                  <a:moveTo>
                    <a:pt x="458" y="9"/>
                  </a:moveTo>
                  <a:lnTo>
                    <a:pt x="454" y="9"/>
                  </a:lnTo>
                  <a:lnTo>
                    <a:pt x="449" y="7"/>
                  </a:lnTo>
                  <a:lnTo>
                    <a:pt x="446" y="6"/>
                  </a:lnTo>
                  <a:lnTo>
                    <a:pt x="449" y="4"/>
                  </a:lnTo>
                  <a:lnTo>
                    <a:pt x="452" y="4"/>
                  </a:lnTo>
                  <a:lnTo>
                    <a:pt x="452" y="3"/>
                  </a:lnTo>
                  <a:lnTo>
                    <a:pt x="449" y="1"/>
                  </a:lnTo>
                  <a:lnTo>
                    <a:pt x="448" y="0"/>
                  </a:lnTo>
                  <a:lnTo>
                    <a:pt x="444" y="0"/>
                  </a:lnTo>
                  <a:lnTo>
                    <a:pt x="442" y="3"/>
                  </a:lnTo>
                  <a:lnTo>
                    <a:pt x="442" y="7"/>
                  </a:lnTo>
                  <a:lnTo>
                    <a:pt x="441" y="7"/>
                  </a:lnTo>
                  <a:lnTo>
                    <a:pt x="441" y="10"/>
                  </a:lnTo>
                  <a:lnTo>
                    <a:pt x="439" y="10"/>
                  </a:lnTo>
                  <a:lnTo>
                    <a:pt x="438" y="11"/>
                  </a:lnTo>
                  <a:lnTo>
                    <a:pt x="438" y="13"/>
                  </a:lnTo>
                  <a:lnTo>
                    <a:pt x="436" y="14"/>
                  </a:lnTo>
                  <a:lnTo>
                    <a:pt x="438" y="17"/>
                  </a:lnTo>
                  <a:lnTo>
                    <a:pt x="438" y="20"/>
                  </a:lnTo>
                  <a:lnTo>
                    <a:pt x="436" y="23"/>
                  </a:lnTo>
                  <a:lnTo>
                    <a:pt x="436" y="23"/>
                  </a:lnTo>
                  <a:lnTo>
                    <a:pt x="434" y="27"/>
                  </a:lnTo>
                  <a:lnTo>
                    <a:pt x="432" y="29"/>
                  </a:lnTo>
                  <a:lnTo>
                    <a:pt x="431" y="31"/>
                  </a:lnTo>
                  <a:lnTo>
                    <a:pt x="431" y="34"/>
                  </a:lnTo>
                  <a:lnTo>
                    <a:pt x="435" y="37"/>
                  </a:lnTo>
                  <a:lnTo>
                    <a:pt x="438" y="36"/>
                  </a:lnTo>
                  <a:lnTo>
                    <a:pt x="438" y="36"/>
                  </a:lnTo>
                  <a:lnTo>
                    <a:pt x="441" y="34"/>
                  </a:lnTo>
                  <a:lnTo>
                    <a:pt x="444" y="33"/>
                  </a:lnTo>
                  <a:lnTo>
                    <a:pt x="446" y="30"/>
                  </a:lnTo>
                  <a:lnTo>
                    <a:pt x="446" y="27"/>
                  </a:lnTo>
                  <a:lnTo>
                    <a:pt x="446" y="26"/>
                  </a:lnTo>
                  <a:lnTo>
                    <a:pt x="445" y="26"/>
                  </a:lnTo>
                  <a:lnTo>
                    <a:pt x="444" y="24"/>
                  </a:lnTo>
                  <a:lnTo>
                    <a:pt x="446" y="23"/>
                  </a:lnTo>
                  <a:lnTo>
                    <a:pt x="449" y="21"/>
                  </a:lnTo>
                  <a:lnTo>
                    <a:pt x="451" y="20"/>
                  </a:lnTo>
                  <a:lnTo>
                    <a:pt x="452" y="20"/>
                  </a:lnTo>
                  <a:lnTo>
                    <a:pt x="452" y="20"/>
                  </a:lnTo>
                  <a:lnTo>
                    <a:pt x="454" y="23"/>
                  </a:lnTo>
                  <a:lnTo>
                    <a:pt x="451" y="26"/>
                  </a:lnTo>
                  <a:lnTo>
                    <a:pt x="451" y="27"/>
                  </a:lnTo>
                  <a:lnTo>
                    <a:pt x="454" y="23"/>
                  </a:lnTo>
                  <a:lnTo>
                    <a:pt x="459" y="19"/>
                  </a:lnTo>
                  <a:lnTo>
                    <a:pt x="462" y="13"/>
                  </a:lnTo>
                  <a:lnTo>
                    <a:pt x="462" y="10"/>
                  </a:lnTo>
                  <a:lnTo>
                    <a:pt x="461" y="9"/>
                  </a:lnTo>
                  <a:lnTo>
                    <a:pt x="461" y="9"/>
                  </a:lnTo>
                  <a:lnTo>
                    <a:pt x="458" y="9"/>
                  </a:lnTo>
                  <a:lnTo>
                    <a:pt x="458" y="9"/>
                  </a:lnTo>
                  <a:close/>
                  <a:moveTo>
                    <a:pt x="471" y="21"/>
                  </a:moveTo>
                  <a:lnTo>
                    <a:pt x="468" y="21"/>
                  </a:lnTo>
                  <a:lnTo>
                    <a:pt x="466" y="23"/>
                  </a:lnTo>
                  <a:lnTo>
                    <a:pt x="465" y="27"/>
                  </a:lnTo>
                  <a:lnTo>
                    <a:pt x="465" y="29"/>
                  </a:lnTo>
                  <a:lnTo>
                    <a:pt x="466" y="31"/>
                  </a:lnTo>
                  <a:lnTo>
                    <a:pt x="466" y="34"/>
                  </a:lnTo>
                  <a:lnTo>
                    <a:pt x="469" y="36"/>
                  </a:lnTo>
                  <a:lnTo>
                    <a:pt x="474" y="36"/>
                  </a:lnTo>
                  <a:lnTo>
                    <a:pt x="475" y="39"/>
                  </a:lnTo>
                  <a:lnTo>
                    <a:pt x="476" y="42"/>
                  </a:lnTo>
                  <a:lnTo>
                    <a:pt x="478" y="43"/>
                  </a:lnTo>
                  <a:lnTo>
                    <a:pt x="479" y="42"/>
                  </a:lnTo>
                  <a:lnTo>
                    <a:pt x="479" y="39"/>
                  </a:lnTo>
                  <a:lnTo>
                    <a:pt x="478" y="37"/>
                  </a:lnTo>
                  <a:lnTo>
                    <a:pt x="476" y="36"/>
                  </a:lnTo>
                  <a:lnTo>
                    <a:pt x="475" y="33"/>
                  </a:lnTo>
                  <a:lnTo>
                    <a:pt x="472" y="31"/>
                  </a:lnTo>
                  <a:lnTo>
                    <a:pt x="474" y="27"/>
                  </a:lnTo>
                  <a:lnTo>
                    <a:pt x="474" y="23"/>
                  </a:lnTo>
                  <a:lnTo>
                    <a:pt x="474" y="21"/>
                  </a:lnTo>
                  <a:lnTo>
                    <a:pt x="471" y="21"/>
                  </a:lnTo>
                  <a:lnTo>
                    <a:pt x="471" y="21"/>
                  </a:lnTo>
                  <a:close/>
                  <a:moveTo>
                    <a:pt x="614" y="278"/>
                  </a:moveTo>
                  <a:lnTo>
                    <a:pt x="611" y="279"/>
                  </a:lnTo>
                  <a:lnTo>
                    <a:pt x="610" y="282"/>
                  </a:lnTo>
                  <a:lnTo>
                    <a:pt x="610" y="285"/>
                  </a:lnTo>
                  <a:lnTo>
                    <a:pt x="607" y="285"/>
                  </a:lnTo>
                  <a:lnTo>
                    <a:pt x="605" y="286"/>
                  </a:lnTo>
                  <a:lnTo>
                    <a:pt x="603" y="288"/>
                  </a:lnTo>
                  <a:lnTo>
                    <a:pt x="603" y="291"/>
                  </a:lnTo>
                  <a:lnTo>
                    <a:pt x="603" y="292"/>
                  </a:lnTo>
                  <a:lnTo>
                    <a:pt x="605" y="292"/>
                  </a:lnTo>
                  <a:lnTo>
                    <a:pt x="607" y="292"/>
                  </a:lnTo>
                  <a:lnTo>
                    <a:pt x="608" y="294"/>
                  </a:lnTo>
                  <a:lnTo>
                    <a:pt x="610" y="295"/>
                  </a:lnTo>
                  <a:lnTo>
                    <a:pt x="610" y="292"/>
                  </a:lnTo>
                  <a:lnTo>
                    <a:pt x="610" y="291"/>
                  </a:lnTo>
                  <a:lnTo>
                    <a:pt x="611" y="289"/>
                  </a:lnTo>
                  <a:lnTo>
                    <a:pt x="613" y="288"/>
                  </a:lnTo>
                  <a:lnTo>
                    <a:pt x="614" y="285"/>
                  </a:lnTo>
                  <a:lnTo>
                    <a:pt x="615" y="282"/>
                  </a:lnTo>
                  <a:lnTo>
                    <a:pt x="615" y="279"/>
                  </a:lnTo>
                  <a:lnTo>
                    <a:pt x="617" y="278"/>
                  </a:lnTo>
                  <a:lnTo>
                    <a:pt x="615" y="276"/>
                  </a:lnTo>
                  <a:lnTo>
                    <a:pt x="614" y="276"/>
                  </a:lnTo>
                  <a:lnTo>
                    <a:pt x="614" y="278"/>
                  </a:lnTo>
                  <a:lnTo>
                    <a:pt x="614" y="278"/>
                  </a:lnTo>
                  <a:close/>
                  <a:moveTo>
                    <a:pt x="585" y="319"/>
                  </a:moveTo>
                  <a:lnTo>
                    <a:pt x="588" y="315"/>
                  </a:lnTo>
                  <a:lnTo>
                    <a:pt x="592" y="311"/>
                  </a:lnTo>
                  <a:lnTo>
                    <a:pt x="595" y="308"/>
                  </a:lnTo>
                  <a:lnTo>
                    <a:pt x="595" y="304"/>
                  </a:lnTo>
                  <a:lnTo>
                    <a:pt x="591" y="304"/>
                  </a:lnTo>
                  <a:lnTo>
                    <a:pt x="585" y="304"/>
                  </a:lnTo>
                  <a:lnTo>
                    <a:pt x="584" y="299"/>
                  </a:lnTo>
                  <a:lnTo>
                    <a:pt x="582" y="299"/>
                  </a:lnTo>
                  <a:lnTo>
                    <a:pt x="581" y="306"/>
                  </a:lnTo>
                  <a:lnTo>
                    <a:pt x="580" y="314"/>
                  </a:lnTo>
                  <a:lnTo>
                    <a:pt x="580" y="318"/>
                  </a:lnTo>
                  <a:lnTo>
                    <a:pt x="582" y="321"/>
                  </a:lnTo>
                  <a:lnTo>
                    <a:pt x="585" y="319"/>
                  </a:lnTo>
                  <a:lnTo>
                    <a:pt x="585" y="319"/>
                  </a:lnTo>
                  <a:close/>
                  <a:moveTo>
                    <a:pt x="575" y="325"/>
                  </a:moveTo>
                  <a:lnTo>
                    <a:pt x="578" y="324"/>
                  </a:lnTo>
                  <a:lnTo>
                    <a:pt x="578" y="319"/>
                  </a:lnTo>
                  <a:lnTo>
                    <a:pt x="577" y="319"/>
                  </a:lnTo>
                  <a:lnTo>
                    <a:pt x="574" y="316"/>
                  </a:lnTo>
                  <a:lnTo>
                    <a:pt x="574" y="314"/>
                  </a:lnTo>
                  <a:lnTo>
                    <a:pt x="575" y="309"/>
                  </a:lnTo>
                  <a:lnTo>
                    <a:pt x="577" y="302"/>
                  </a:lnTo>
                  <a:lnTo>
                    <a:pt x="574" y="298"/>
                  </a:lnTo>
                  <a:lnTo>
                    <a:pt x="571" y="296"/>
                  </a:lnTo>
                  <a:lnTo>
                    <a:pt x="570" y="304"/>
                  </a:lnTo>
                  <a:lnTo>
                    <a:pt x="568" y="309"/>
                  </a:lnTo>
                  <a:lnTo>
                    <a:pt x="565" y="312"/>
                  </a:lnTo>
                  <a:lnTo>
                    <a:pt x="562" y="315"/>
                  </a:lnTo>
                  <a:lnTo>
                    <a:pt x="565" y="319"/>
                  </a:lnTo>
                  <a:lnTo>
                    <a:pt x="567" y="324"/>
                  </a:lnTo>
                  <a:lnTo>
                    <a:pt x="571" y="329"/>
                  </a:lnTo>
                  <a:lnTo>
                    <a:pt x="572" y="328"/>
                  </a:lnTo>
                  <a:lnTo>
                    <a:pt x="575" y="325"/>
                  </a:lnTo>
                  <a:lnTo>
                    <a:pt x="575" y="325"/>
                  </a:lnTo>
                  <a:close/>
                  <a:moveTo>
                    <a:pt x="578" y="328"/>
                  </a:moveTo>
                  <a:lnTo>
                    <a:pt x="575" y="328"/>
                  </a:lnTo>
                  <a:lnTo>
                    <a:pt x="574" y="329"/>
                  </a:lnTo>
                  <a:lnTo>
                    <a:pt x="574" y="332"/>
                  </a:lnTo>
                  <a:lnTo>
                    <a:pt x="575" y="334"/>
                  </a:lnTo>
                  <a:lnTo>
                    <a:pt x="577" y="332"/>
                  </a:lnTo>
                  <a:lnTo>
                    <a:pt x="578" y="329"/>
                  </a:lnTo>
                  <a:lnTo>
                    <a:pt x="578" y="328"/>
                  </a:lnTo>
                  <a:lnTo>
                    <a:pt x="578" y="328"/>
                  </a:lnTo>
                  <a:close/>
                  <a:moveTo>
                    <a:pt x="582" y="288"/>
                  </a:moveTo>
                  <a:lnTo>
                    <a:pt x="584" y="292"/>
                  </a:lnTo>
                  <a:lnTo>
                    <a:pt x="585" y="294"/>
                  </a:lnTo>
                  <a:lnTo>
                    <a:pt x="590" y="296"/>
                  </a:lnTo>
                  <a:lnTo>
                    <a:pt x="590" y="294"/>
                  </a:lnTo>
                  <a:lnTo>
                    <a:pt x="588" y="291"/>
                  </a:lnTo>
                  <a:lnTo>
                    <a:pt x="587" y="288"/>
                  </a:lnTo>
                  <a:lnTo>
                    <a:pt x="584" y="288"/>
                  </a:lnTo>
                  <a:lnTo>
                    <a:pt x="582" y="288"/>
                  </a:lnTo>
                  <a:lnTo>
                    <a:pt x="582" y="288"/>
                  </a:lnTo>
                  <a:close/>
                  <a:moveTo>
                    <a:pt x="575" y="289"/>
                  </a:moveTo>
                  <a:lnTo>
                    <a:pt x="577" y="291"/>
                  </a:lnTo>
                  <a:lnTo>
                    <a:pt x="578" y="289"/>
                  </a:lnTo>
                  <a:lnTo>
                    <a:pt x="580" y="288"/>
                  </a:lnTo>
                  <a:lnTo>
                    <a:pt x="575" y="289"/>
                  </a:lnTo>
                  <a:lnTo>
                    <a:pt x="575" y="289"/>
                  </a:lnTo>
                  <a:close/>
                  <a:moveTo>
                    <a:pt x="572" y="294"/>
                  </a:moveTo>
                  <a:lnTo>
                    <a:pt x="572" y="295"/>
                  </a:lnTo>
                  <a:lnTo>
                    <a:pt x="575" y="295"/>
                  </a:lnTo>
                  <a:lnTo>
                    <a:pt x="575" y="292"/>
                  </a:lnTo>
                  <a:lnTo>
                    <a:pt x="574" y="292"/>
                  </a:lnTo>
                  <a:lnTo>
                    <a:pt x="572" y="294"/>
                  </a:lnTo>
                  <a:lnTo>
                    <a:pt x="572" y="294"/>
                  </a:lnTo>
                  <a:close/>
                  <a:moveTo>
                    <a:pt x="567" y="286"/>
                  </a:moveTo>
                  <a:lnTo>
                    <a:pt x="568" y="288"/>
                  </a:lnTo>
                  <a:lnTo>
                    <a:pt x="570" y="288"/>
                  </a:lnTo>
                  <a:lnTo>
                    <a:pt x="570" y="288"/>
                  </a:lnTo>
                  <a:lnTo>
                    <a:pt x="568" y="285"/>
                  </a:lnTo>
                  <a:lnTo>
                    <a:pt x="565" y="284"/>
                  </a:lnTo>
                  <a:lnTo>
                    <a:pt x="562" y="284"/>
                  </a:lnTo>
                  <a:lnTo>
                    <a:pt x="562" y="286"/>
                  </a:lnTo>
                  <a:lnTo>
                    <a:pt x="564" y="288"/>
                  </a:lnTo>
                  <a:lnTo>
                    <a:pt x="567" y="286"/>
                  </a:lnTo>
                  <a:lnTo>
                    <a:pt x="567" y="286"/>
                  </a:lnTo>
                  <a:close/>
                  <a:moveTo>
                    <a:pt x="567" y="291"/>
                  </a:moveTo>
                  <a:lnTo>
                    <a:pt x="565" y="291"/>
                  </a:lnTo>
                  <a:lnTo>
                    <a:pt x="564" y="289"/>
                  </a:lnTo>
                  <a:lnTo>
                    <a:pt x="564" y="292"/>
                  </a:lnTo>
                  <a:lnTo>
                    <a:pt x="567" y="294"/>
                  </a:lnTo>
                  <a:lnTo>
                    <a:pt x="570" y="294"/>
                  </a:lnTo>
                  <a:lnTo>
                    <a:pt x="570" y="292"/>
                  </a:lnTo>
                  <a:lnTo>
                    <a:pt x="567" y="291"/>
                  </a:lnTo>
                  <a:lnTo>
                    <a:pt x="567" y="291"/>
                  </a:lnTo>
                  <a:close/>
                  <a:moveTo>
                    <a:pt x="575" y="285"/>
                  </a:moveTo>
                  <a:lnTo>
                    <a:pt x="578" y="285"/>
                  </a:lnTo>
                  <a:lnTo>
                    <a:pt x="580" y="284"/>
                  </a:lnTo>
                  <a:lnTo>
                    <a:pt x="578" y="282"/>
                  </a:lnTo>
                  <a:lnTo>
                    <a:pt x="575" y="285"/>
                  </a:lnTo>
                  <a:lnTo>
                    <a:pt x="575" y="285"/>
                  </a:lnTo>
                  <a:close/>
                  <a:moveTo>
                    <a:pt x="505" y="72"/>
                  </a:moveTo>
                  <a:lnTo>
                    <a:pt x="508" y="72"/>
                  </a:lnTo>
                  <a:lnTo>
                    <a:pt x="508" y="70"/>
                  </a:lnTo>
                  <a:lnTo>
                    <a:pt x="508" y="69"/>
                  </a:lnTo>
                  <a:lnTo>
                    <a:pt x="507" y="67"/>
                  </a:lnTo>
                  <a:lnTo>
                    <a:pt x="504" y="67"/>
                  </a:lnTo>
                  <a:lnTo>
                    <a:pt x="504" y="69"/>
                  </a:lnTo>
                  <a:lnTo>
                    <a:pt x="504" y="72"/>
                  </a:lnTo>
                  <a:lnTo>
                    <a:pt x="504" y="72"/>
                  </a:lnTo>
                  <a:lnTo>
                    <a:pt x="505" y="7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01" name="Freeform 149"/>
            <p:cNvSpPr>
              <a:spLocks/>
            </p:cNvSpPr>
            <p:nvPr/>
          </p:nvSpPr>
          <p:spPr bwMode="auto">
            <a:xfrm>
              <a:off x="2656020" y="3367593"/>
              <a:ext cx="177066" cy="269872"/>
            </a:xfrm>
            <a:custGeom>
              <a:avLst/>
              <a:gdLst>
                <a:gd name="T0" fmla="*/ 132 w 289"/>
                <a:gd name="T1" fmla="*/ 395 h 408"/>
                <a:gd name="T2" fmla="*/ 123 w 289"/>
                <a:gd name="T3" fmla="*/ 397 h 408"/>
                <a:gd name="T4" fmla="*/ 113 w 289"/>
                <a:gd name="T5" fmla="*/ 399 h 408"/>
                <a:gd name="T6" fmla="*/ 92 w 289"/>
                <a:gd name="T7" fmla="*/ 404 h 408"/>
                <a:gd name="T8" fmla="*/ 76 w 289"/>
                <a:gd name="T9" fmla="*/ 398 h 408"/>
                <a:gd name="T10" fmla="*/ 66 w 289"/>
                <a:gd name="T11" fmla="*/ 382 h 408"/>
                <a:gd name="T12" fmla="*/ 62 w 289"/>
                <a:gd name="T13" fmla="*/ 359 h 408"/>
                <a:gd name="T14" fmla="*/ 47 w 289"/>
                <a:gd name="T15" fmla="*/ 356 h 408"/>
                <a:gd name="T16" fmla="*/ 50 w 289"/>
                <a:gd name="T17" fmla="*/ 344 h 408"/>
                <a:gd name="T18" fmla="*/ 39 w 289"/>
                <a:gd name="T19" fmla="*/ 329 h 408"/>
                <a:gd name="T20" fmla="*/ 22 w 289"/>
                <a:gd name="T21" fmla="*/ 321 h 408"/>
                <a:gd name="T22" fmla="*/ 32 w 289"/>
                <a:gd name="T23" fmla="*/ 302 h 408"/>
                <a:gd name="T24" fmla="*/ 27 w 289"/>
                <a:gd name="T25" fmla="*/ 292 h 408"/>
                <a:gd name="T26" fmla="*/ 17 w 289"/>
                <a:gd name="T27" fmla="*/ 286 h 408"/>
                <a:gd name="T28" fmla="*/ 6 w 289"/>
                <a:gd name="T29" fmla="*/ 278 h 408"/>
                <a:gd name="T30" fmla="*/ 7 w 289"/>
                <a:gd name="T31" fmla="*/ 271 h 408"/>
                <a:gd name="T32" fmla="*/ 20 w 289"/>
                <a:gd name="T33" fmla="*/ 258 h 408"/>
                <a:gd name="T34" fmla="*/ 29 w 289"/>
                <a:gd name="T35" fmla="*/ 248 h 408"/>
                <a:gd name="T36" fmla="*/ 49 w 289"/>
                <a:gd name="T37" fmla="*/ 220 h 408"/>
                <a:gd name="T38" fmla="*/ 53 w 289"/>
                <a:gd name="T39" fmla="*/ 180 h 408"/>
                <a:gd name="T40" fmla="*/ 27 w 289"/>
                <a:gd name="T41" fmla="*/ 159 h 408"/>
                <a:gd name="T42" fmla="*/ 20 w 289"/>
                <a:gd name="T43" fmla="*/ 142 h 408"/>
                <a:gd name="T44" fmla="*/ 24 w 289"/>
                <a:gd name="T45" fmla="*/ 107 h 408"/>
                <a:gd name="T46" fmla="*/ 55 w 289"/>
                <a:gd name="T47" fmla="*/ 30 h 408"/>
                <a:gd name="T48" fmla="*/ 80 w 289"/>
                <a:gd name="T49" fmla="*/ 6 h 408"/>
                <a:gd name="T50" fmla="*/ 90 w 289"/>
                <a:gd name="T51" fmla="*/ 14 h 408"/>
                <a:gd name="T52" fmla="*/ 82 w 289"/>
                <a:gd name="T53" fmla="*/ 33 h 408"/>
                <a:gd name="T54" fmla="*/ 102 w 289"/>
                <a:gd name="T55" fmla="*/ 41 h 408"/>
                <a:gd name="T56" fmla="*/ 103 w 289"/>
                <a:gd name="T57" fmla="*/ 66 h 408"/>
                <a:gd name="T58" fmla="*/ 120 w 289"/>
                <a:gd name="T59" fmla="*/ 80 h 408"/>
                <a:gd name="T60" fmla="*/ 145 w 289"/>
                <a:gd name="T61" fmla="*/ 71 h 408"/>
                <a:gd name="T62" fmla="*/ 152 w 289"/>
                <a:gd name="T63" fmla="*/ 79 h 408"/>
                <a:gd name="T64" fmla="*/ 169 w 289"/>
                <a:gd name="T65" fmla="*/ 90 h 408"/>
                <a:gd name="T66" fmla="*/ 175 w 289"/>
                <a:gd name="T67" fmla="*/ 104 h 408"/>
                <a:gd name="T68" fmla="*/ 163 w 289"/>
                <a:gd name="T69" fmla="*/ 120 h 408"/>
                <a:gd name="T70" fmla="*/ 146 w 289"/>
                <a:gd name="T71" fmla="*/ 139 h 408"/>
                <a:gd name="T72" fmla="*/ 183 w 289"/>
                <a:gd name="T73" fmla="*/ 160 h 408"/>
                <a:gd name="T74" fmla="*/ 201 w 289"/>
                <a:gd name="T75" fmla="*/ 182 h 408"/>
                <a:gd name="T76" fmla="*/ 216 w 289"/>
                <a:gd name="T77" fmla="*/ 225 h 408"/>
                <a:gd name="T78" fmla="*/ 225 w 289"/>
                <a:gd name="T79" fmla="*/ 256 h 408"/>
                <a:gd name="T80" fmla="*/ 249 w 289"/>
                <a:gd name="T81" fmla="*/ 269 h 408"/>
                <a:gd name="T82" fmla="*/ 251 w 289"/>
                <a:gd name="T83" fmla="*/ 283 h 408"/>
                <a:gd name="T84" fmla="*/ 256 w 289"/>
                <a:gd name="T85" fmla="*/ 302 h 408"/>
                <a:gd name="T86" fmla="*/ 272 w 289"/>
                <a:gd name="T87" fmla="*/ 305 h 408"/>
                <a:gd name="T88" fmla="*/ 277 w 289"/>
                <a:gd name="T89" fmla="*/ 316 h 408"/>
                <a:gd name="T90" fmla="*/ 268 w 289"/>
                <a:gd name="T91" fmla="*/ 384 h 408"/>
                <a:gd name="T92" fmla="*/ 251 w 289"/>
                <a:gd name="T93" fmla="*/ 375 h 408"/>
                <a:gd name="T94" fmla="*/ 234 w 289"/>
                <a:gd name="T95" fmla="*/ 387 h 408"/>
                <a:gd name="T96" fmla="*/ 226 w 289"/>
                <a:gd name="T97" fmla="*/ 371 h 408"/>
                <a:gd name="T98" fmla="*/ 209 w 289"/>
                <a:gd name="T99" fmla="*/ 375 h 408"/>
                <a:gd name="T100" fmla="*/ 189 w 289"/>
                <a:gd name="T101" fmla="*/ 377 h 408"/>
                <a:gd name="T102" fmla="*/ 171 w 289"/>
                <a:gd name="T103" fmla="*/ 378 h 408"/>
                <a:gd name="T104" fmla="*/ 156 w 289"/>
                <a:gd name="T105" fmla="*/ 384 h 408"/>
                <a:gd name="T106" fmla="*/ 142 w 289"/>
                <a:gd name="T107" fmla="*/ 399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89" h="408">
                  <a:moveTo>
                    <a:pt x="139" y="399"/>
                  </a:moveTo>
                  <a:lnTo>
                    <a:pt x="136" y="399"/>
                  </a:lnTo>
                  <a:lnTo>
                    <a:pt x="133" y="397"/>
                  </a:lnTo>
                  <a:lnTo>
                    <a:pt x="132" y="395"/>
                  </a:lnTo>
                  <a:lnTo>
                    <a:pt x="130" y="395"/>
                  </a:lnTo>
                  <a:lnTo>
                    <a:pt x="128" y="397"/>
                  </a:lnTo>
                  <a:lnTo>
                    <a:pt x="125" y="398"/>
                  </a:lnTo>
                  <a:lnTo>
                    <a:pt x="123" y="397"/>
                  </a:lnTo>
                  <a:lnTo>
                    <a:pt x="120" y="397"/>
                  </a:lnTo>
                  <a:lnTo>
                    <a:pt x="118" y="397"/>
                  </a:lnTo>
                  <a:lnTo>
                    <a:pt x="116" y="397"/>
                  </a:lnTo>
                  <a:lnTo>
                    <a:pt x="113" y="399"/>
                  </a:lnTo>
                  <a:lnTo>
                    <a:pt x="108" y="401"/>
                  </a:lnTo>
                  <a:lnTo>
                    <a:pt x="102" y="399"/>
                  </a:lnTo>
                  <a:lnTo>
                    <a:pt x="98" y="399"/>
                  </a:lnTo>
                  <a:lnTo>
                    <a:pt x="92" y="404"/>
                  </a:lnTo>
                  <a:lnTo>
                    <a:pt x="87" y="404"/>
                  </a:lnTo>
                  <a:lnTo>
                    <a:pt x="82" y="408"/>
                  </a:lnTo>
                  <a:lnTo>
                    <a:pt x="79" y="404"/>
                  </a:lnTo>
                  <a:lnTo>
                    <a:pt x="76" y="398"/>
                  </a:lnTo>
                  <a:lnTo>
                    <a:pt x="76" y="387"/>
                  </a:lnTo>
                  <a:lnTo>
                    <a:pt x="75" y="382"/>
                  </a:lnTo>
                  <a:lnTo>
                    <a:pt x="72" y="382"/>
                  </a:lnTo>
                  <a:lnTo>
                    <a:pt x="66" y="382"/>
                  </a:lnTo>
                  <a:lnTo>
                    <a:pt x="59" y="381"/>
                  </a:lnTo>
                  <a:lnTo>
                    <a:pt x="59" y="379"/>
                  </a:lnTo>
                  <a:lnTo>
                    <a:pt x="60" y="371"/>
                  </a:lnTo>
                  <a:lnTo>
                    <a:pt x="62" y="359"/>
                  </a:lnTo>
                  <a:lnTo>
                    <a:pt x="57" y="354"/>
                  </a:lnTo>
                  <a:lnTo>
                    <a:pt x="53" y="352"/>
                  </a:lnTo>
                  <a:lnTo>
                    <a:pt x="52" y="354"/>
                  </a:lnTo>
                  <a:lnTo>
                    <a:pt x="47" y="356"/>
                  </a:lnTo>
                  <a:lnTo>
                    <a:pt x="45" y="355"/>
                  </a:lnTo>
                  <a:lnTo>
                    <a:pt x="45" y="351"/>
                  </a:lnTo>
                  <a:lnTo>
                    <a:pt x="47" y="348"/>
                  </a:lnTo>
                  <a:lnTo>
                    <a:pt x="50" y="344"/>
                  </a:lnTo>
                  <a:lnTo>
                    <a:pt x="50" y="338"/>
                  </a:lnTo>
                  <a:lnTo>
                    <a:pt x="49" y="335"/>
                  </a:lnTo>
                  <a:lnTo>
                    <a:pt x="43" y="329"/>
                  </a:lnTo>
                  <a:lnTo>
                    <a:pt x="39" y="329"/>
                  </a:lnTo>
                  <a:lnTo>
                    <a:pt x="34" y="326"/>
                  </a:lnTo>
                  <a:lnTo>
                    <a:pt x="29" y="322"/>
                  </a:lnTo>
                  <a:lnTo>
                    <a:pt x="23" y="322"/>
                  </a:lnTo>
                  <a:lnTo>
                    <a:pt x="22" y="321"/>
                  </a:lnTo>
                  <a:lnTo>
                    <a:pt x="20" y="316"/>
                  </a:lnTo>
                  <a:lnTo>
                    <a:pt x="20" y="309"/>
                  </a:lnTo>
                  <a:lnTo>
                    <a:pt x="24" y="306"/>
                  </a:lnTo>
                  <a:lnTo>
                    <a:pt x="32" y="302"/>
                  </a:lnTo>
                  <a:lnTo>
                    <a:pt x="34" y="299"/>
                  </a:lnTo>
                  <a:lnTo>
                    <a:pt x="32" y="295"/>
                  </a:lnTo>
                  <a:lnTo>
                    <a:pt x="30" y="293"/>
                  </a:lnTo>
                  <a:lnTo>
                    <a:pt x="27" y="292"/>
                  </a:lnTo>
                  <a:lnTo>
                    <a:pt x="24" y="293"/>
                  </a:lnTo>
                  <a:lnTo>
                    <a:pt x="22" y="292"/>
                  </a:lnTo>
                  <a:lnTo>
                    <a:pt x="19" y="289"/>
                  </a:lnTo>
                  <a:lnTo>
                    <a:pt x="17" y="286"/>
                  </a:lnTo>
                  <a:lnTo>
                    <a:pt x="16" y="283"/>
                  </a:lnTo>
                  <a:lnTo>
                    <a:pt x="14" y="281"/>
                  </a:lnTo>
                  <a:lnTo>
                    <a:pt x="10" y="279"/>
                  </a:lnTo>
                  <a:lnTo>
                    <a:pt x="6" y="278"/>
                  </a:lnTo>
                  <a:lnTo>
                    <a:pt x="0" y="276"/>
                  </a:lnTo>
                  <a:lnTo>
                    <a:pt x="2" y="273"/>
                  </a:lnTo>
                  <a:lnTo>
                    <a:pt x="4" y="272"/>
                  </a:lnTo>
                  <a:lnTo>
                    <a:pt x="7" y="271"/>
                  </a:lnTo>
                  <a:lnTo>
                    <a:pt x="10" y="269"/>
                  </a:lnTo>
                  <a:lnTo>
                    <a:pt x="13" y="266"/>
                  </a:lnTo>
                  <a:lnTo>
                    <a:pt x="16" y="265"/>
                  </a:lnTo>
                  <a:lnTo>
                    <a:pt x="20" y="258"/>
                  </a:lnTo>
                  <a:lnTo>
                    <a:pt x="26" y="258"/>
                  </a:lnTo>
                  <a:lnTo>
                    <a:pt x="29" y="259"/>
                  </a:lnTo>
                  <a:lnTo>
                    <a:pt x="33" y="252"/>
                  </a:lnTo>
                  <a:lnTo>
                    <a:pt x="29" y="248"/>
                  </a:lnTo>
                  <a:lnTo>
                    <a:pt x="34" y="238"/>
                  </a:lnTo>
                  <a:lnTo>
                    <a:pt x="40" y="238"/>
                  </a:lnTo>
                  <a:lnTo>
                    <a:pt x="45" y="236"/>
                  </a:lnTo>
                  <a:lnTo>
                    <a:pt x="49" y="220"/>
                  </a:lnTo>
                  <a:lnTo>
                    <a:pt x="55" y="205"/>
                  </a:lnTo>
                  <a:lnTo>
                    <a:pt x="56" y="199"/>
                  </a:lnTo>
                  <a:lnTo>
                    <a:pt x="57" y="192"/>
                  </a:lnTo>
                  <a:lnTo>
                    <a:pt x="53" y="180"/>
                  </a:lnTo>
                  <a:lnTo>
                    <a:pt x="33" y="176"/>
                  </a:lnTo>
                  <a:lnTo>
                    <a:pt x="24" y="175"/>
                  </a:lnTo>
                  <a:lnTo>
                    <a:pt x="22" y="169"/>
                  </a:lnTo>
                  <a:lnTo>
                    <a:pt x="27" y="159"/>
                  </a:lnTo>
                  <a:lnTo>
                    <a:pt x="30" y="155"/>
                  </a:lnTo>
                  <a:lnTo>
                    <a:pt x="30" y="149"/>
                  </a:lnTo>
                  <a:lnTo>
                    <a:pt x="24" y="147"/>
                  </a:lnTo>
                  <a:lnTo>
                    <a:pt x="20" y="142"/>
                  </a:lnTo>
                  <a:lnTo>
                    <a:pt x="23" y="136"/>
                  </a:lnTo>
                  <a:lnTo>
                    <a:pt x="27" y="124"/>
                  </a:lnTo>
                  <a:lnTo>
                    <a:pt x="32" y="116"/>
                  </a:lnTo>
                  <a:lnTo>
                    <a:pt x="24" y="107"/>
                  </a:lnTo>
                  <a:lnTo>
                    <a:pt x="7" y="84"/>
                  </a:lnTo>
                  <a:lnTo>
                    <a:pt x="34" y="60"/>
                  </a:lnTo>
                  <a:lnTo>
                    <a:pt x="50" y="36"/>
                  </a:lnTo>
                  <a:lnTo>
                    <a:pt x="55" y="30"/>
                  </a:lnTo>
                  <a:lnTo>
                    <a:pt x="59" y="23"/>
                  </a:lnTo>
                  <a:lnTo>
                    <a:pt x="67" y="17"/>
                  </a:lnTo>
                  <a:lnTo>
                    <a:pt x="76" y="6"/>
                  </a:lnTo>
                  <a:lnTo>
                    <a:pt x="80" y="6"/>
                  </a:lnTo>
                  <a:lnTo>
                    <a:pt x="83" y="0"/>
                  </a:lnTo>
                  <a:lnTo>
                    <a:pt x="87" y="6"/>
                  </a:lnTo>
                  <a:lnTo>
                    <a:pt x="87" y="8"/>
                  </a:lnTo>
                  <a:lnTo>
                    <a:pt x="90" y="14"/>
                  </a:lnTo>
                  <a:lnTo>
                    <a:pt x="89" y="18"/>
                  </a:lnTo>
                  <a:lnTo>
                    <a:pt x="86" y="24"/>
                  </a:lnTo>
                  <a:lnTo>
                    <a:pt x="83" y="29"/>
                  </a:lnTo>
                  <a:lnTo>
                    <a:pt x="82" y="33"/>
                  </a:lnTo>
                  <a:lnTo>
                    <a:pt x="83" y="36"/>
                  </a:lnTo>
                  <a:lnTo>
                    <a:pt x="90" y="36"/>
                  </a:lnTo>
                  <a:lnTo>
                    <a:pt x="99" y="37"/>
                  </a:lnTo>
                  <a:lnTo>
                    <a:pt x="102" y="41"/>
                  </a:lnTo>
                  <a:lnTo>
                    <a:pt x="103" y="46"/>
                  </a:lnTo>
                  <a:lnTo>
                    <a:pt x="106" y="54"/>
                  </a:lnTo>
                  <a:lnTo>
                    <a:pt x="105" y="60"/>
                  </a:lnTo>
                  <a:lnTo>
                    <a:pt x="103" y="66"/>
                  </a:lnTo>
                  <a:lnTo>
                    <a:pt x="108" y="67"/>
                  </a:lnTo>
                  <a:lnTo>
                    <a:pt x="115" y="70"/>
                  </a:lnTo>
                  <a:lnTo>
                    <a:pt x="118" y="74"/>
                  </a:lnTo>
                  <a:lnTo>
                    <a:pt x="120" y="80"/>
                  </a:lnTo>
                  <a:lnTo>
                    <a:pt x="128" y="79"/>
                  </a:lnTo>
                  <a:lnTo>
                    <a:pt x="135" y="79"/>
                  </a:lnTo>
                  <a:lnTo>
                    <a:pt x="140" y="76"/>
                  </a:lnTo>
                  <a:lnTo>
                    <a:pt x="145" y="71"/>
                  </a:lnTo>
                  <a:lnTo>
                    <a:pt x="148" y="70"/>
                  </a:lnTo>
                  <a:lnTo>
                    <a:pt x="149" y="69"/>
                  </a:lnTo>
                  <a:lnTo>
                    <a:pt x="151" y="73"/>
                  </a:lnTo>
                  <a:lnTo>
                    <a:pt x="152" y="79"/>
                  </a:lnTo>
                  <a:lnTo>
                    <a:pt x="156" y="82"/>
                  </a:lnTo>
                  <a:lnTo>
                    <a:pt x="161" y="82"/>
                  </a:lnTo>
                  <a:lnTo>
                    <a:pt x="166" y="82"/>
                  </a:lnTo>
                  <a:lnTo>
                    <a:pt x="169" y="90"/>
                  </a:lnTo>
                  <a:lnTo>
                    <a:pt x="169" y="96"/>
                  </a:lnTo>
                  <a:lnTo>
                    <a:pt x="171" y="99"/>
                  </a:lnTo>
                  <a:lnTo>
                    <a:pt x="173" y="103"/>
                  </a:lnTo>
                  <a:lnTo>
                    <a:pt x="175" y="104"/>
                  </a:lnTo>
                  <a:lnTo>
                    <a:pt x="175" y="109"/>
                  </a:lnTo>
                  <a:lnTo>
                    <a:pt x="175" y="116"/>
                  </a:lnTo>
                  <a:lnTo>
                    <a:pt x="166" y="119"/>
                  </a:lnTo>
                  <a:lnTo>
                    <a:pt x="163" y="120"/>
                  </a:lnTo>
                  <a:lnTo>
                    <a:pt x="159" y="124"/>
                  </a:lnTo>
                  <a:lnTo>
                    <a:pt x="155" y="129"/>
                  </a:lnTo>
                  <a:lnTo>
                    <a:pt x="148" y="136"/>
                  </a:lnTo>
                  <a:lnTo>
                    <a:pt x="146" y="139"/>
                  </a:lnTo>
                  <a:lnTo>
                    <a:pt x="148" y="143"/>
                  </a:lnTo>
                  <a:lnTo>
                    <a:pt x="162" y="149"/>
                  </a:lnTo>
                  <a:lnTo>
                    <a:pt x="175" y="156"/>
                  </a:lnTo>
                  <a:lnTo>
                    <a:pt x="183" y="160"/>
                  </a:lnTo>
                  <a:lnTo>
                    <a:pt x="193" y="167"/>
                  </a:lnTo>
                  <a:lnTo>
                    <a:pt x="198" y="172"/>
                  </a:lnTo>
                  <a:lnTo>
                    <a:pt x="199" y="177"/>
                  </a:lnTo>
                  <a:lnTo>
                    <a:pt x="201" y="182"/>
                  </a:lnTo>
                  <a:lnTo>
                    <a:pt x="205" y="195"/>
                  </a:lnTo>
                  <a:lnTo>
                    <a:pt x="211" y="200"/>
                  </a:lnTo>
                  <a:lnTo>
                    <a:pt x="214" y="208"/>
                  </a:lnTo>
                  <a:lnTo>
                    <a:pt x="216" y="225"/>
                  </a:lnTo>
                  <a:lnTo>
                    <a:pt x="224" y="230"/>
                  </a:lnTo>
                  <a:lnTo>
                    <a:pt x="224" y="236"/>
                  </a:lnTo>
                  <a:lnTo>
                    <a:pt x="229" y="240"/>
                  </a:lnTo>
                  <a:lnTo>
                    <a:pt x="225" y="256"/>
                  </a:lnTo>
                  <a:lnTo>
                    <a:pt x="239" y="262"/>
                  </a:lnTo>
                  <a:lnTo>
                    <a:pt x="244" y="266"/>
                  </a:lnTo>
                  <a:lnTo>
                    <a:pt x="245" y="268"/>
                  </a:lnTo>
                  <a:lnTo>
                    <a:pt x="249" y="269"/>
                  </a:lnTo>
                  <a:lnTo>
                    <a:pt x="255" y="272"/>
                  </a:lnTo>
                  <a:lnTo>
                    <a:pt x="258" y="275"/>
                  </a:lnTo>
                  <a:lnTo>
                    <a:pt x="255" y="281"/>
                  </a:lnTo>
                  <a:lnTo>
                    <a:pt x="251" y="283"/>
                  </a:lnTo>
                  <a:lnTo>
                    <a:pt x="242" y="289"/>
                  </a:lnTo>
                  <a:lnTo>
                    <a:pt x="246" y="301"/>
                  </a:lnTo>
                  <a:lnTo>
                    <a:pt x="249" y="304"/>
                  </a:lnTo>
                  <a:lnTo>
                    <a:pt x="256" y="302"/>
                  </a:lnTo>
                  <a:lnTo>
                    <a:pt x="258" y="305"/>
                  </a:lnTo>
                  <a:lnTo>
                    <a:pt x="262" y="305"/>
                  </a:lnTo>
                  <a:lnTo>
                    <a:pt x="268" y="301"/>
                  </a:lnTo>
                  <a:lnTo>
                    <a:pt x="272" y="305"/>
                  </a:lnTo>
                  <a:lnTo>
                    <a:pt x="275" y="308"/>
                  </a:lnTo>
                  <a:lnTo>
                    <a:pt x="278" y="311"/>
                  </a:lnTo>
                  <a:lnTo>
                    <a:pt x="279" y="312"/>
                  </a:lnTo>
                  <a:lnTo>
                    <a:pt x="277" y="316"/>
                  </a:lnTo>
                  <a:lnTo>
                    <a:pt x="289" y="328"/>
                  </a:lnTo>
                  <a:lnTo>
                    <a:pt x="285" y="348"/>
                  </a:lnTo>
                  <a:lnTo>
                    <a:pt x="272" y="374"/>
                  </a:lnTo>
                  <a:lnTo>
                    <a:pt x="268" y="384"/>
                  </a:lnTo>
                  <a:lnTo>
                    <a:pt x="267" y="382"/>
                  </a:lnTo>
                  <a:lnTo>
                    <a:pt x="264" y="377"/>
                  </a:lnTo>
                  <a:lnTo>
                    <a:pt x="258" y="375"/>
                  </a:lnTo>
                  <a:lnTo>
                    <a:pt x="251" y="375"/>
                  </a:lnTo>
                  <a:lnTo>
                    <a:pt x="245" y="381"/>
                  </a:lnTo>
                  <a:lnTo>
                    <a:pt x="245" y="384"/>
                  </a:lnTo>
                  <a:lnTo>
                    <a:pt x="238" y="391"/>
                  </a:lnTo>
                  <a:lnTo>
                    <a:pt x="234" y="387"/>
                  </a:lnTo>
                  <a:lnTo>
                    <a:pt x="236" y="379"/>
                  </a:lnTo>
                  <a:lnTo>
                    <a:pt x="235" y="375"/>
                  </a:lnTo>
                  <a:lnTo>
                    <a:pt x="232" y="374"/>
                  </a:lnTo>
                  <a:lnTo>
                    <a:pt x="226" y="371"/>
                  </a:lnTo>
                  <a:lnTo>
                    <a:pt x="224" y="371"/>
                  </a:lnTo>
                  <a:lnTo>
                    <a:pt x="219" y="372"/>
                  </a:lnTo>
                  <a:lnTo>
                    <a:pt x="212" y="374"/>
                  </a:lnTo>
                  <a:lnTo>
                    <a:pt x="209" y="375"/>
                  </a:lnTo>
                  <a:lnTo>
                    <a:pt x="202" y="374"/>
                  </a:lnTo>
                  <a:lnTo>
                    <a:pt x="198" y="371"/>
                  </a:lnTo>
                  <a:lnTo>
                    <a:pt x="191" y="374"/>
                  </a:lnTo>
                  <a:lnTo>
                    <a:pt x="189" y="377"/>
                  </a:lnTo>
                  <a:lnTo>
                    <a:pt x="182" y="375"/>
                  </a:lnTo>
                  <a:lnTo>
                    <a:pt x="178" y="377"/>
                  </a:lnTo>
                  <a:lnTo>
                    <a:pt x="173" y="378"/>
                  </a:lnTo>
                  <a:lnTo>
                    <a:pt x="171" y="378"/>
                  </a:lnTo>
                  <a:lnTo>
                    <a:pt x="169" y="378"/>
                  </a:lnTo>
                  <a:lnTo>
                    <a:pt x="163" y="378"/>
                  </a:lnTo>
                  <a:lnTo>
                    <a:pt x="159" y="381"/>
                  </a:lnTo>
                  <a:lnTo>
                    <a:pt x="156" y="384"/>
                  </a:lnTo>
                  <a:lnTo>
                    <a:pt x="152" y="387"/>
                  </a:lnTo>
                  <a:lnTo>
                    <a:pt x="148" y="392"/>
                  </a:lnTo>
                  <a:lnTo>
                    <a:pt x="145" y="397"/>
                  </a:lnTo>
                  <a:lnTo>
                    <a:pt x="142" y="399"/>
                  </a:lnTo>
                  <a:lnTo>
                    <a:pt x="139" y="39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02" name="Freeform 150"/>
            <p:cNvSpPr>
              <a:spLocks noEditPoints="1"/>
            </p:cNvSpPr>
            <p:nvPr/>
          </p:nvSpPr>
          <p:spPr bwMode="auto">
            <a:xfrm>
              <a:off x="3280023" y="3117564"/>
              <a:ext cx="1112460" cy="681296"/>
            </a:xfrm>
            <a:custGeom>
              <a:avLst/>
              <a:gdLst>
                <a:gd name="T0" fmla="*/ 1027 w 1820"/>
                <a:gd name="T1" fmla="*/ 38 h 1030"/>
                <a:gd name="T2" fmla="*/ 1406 w 1820"/>
                <a:gd name="T3" fmla="*/ 346 h 1030"/>
                <a:gd name="T4" fmla="*/ 1632 w 1820"/>
                <a:gd name="T5" fmla="*/ 355 h 1030"/>
                <a:gd name="T6" fmla="*/ 1667 w 1820"/>
                <a:gd name="T7" fmla="*/ 359 h 1030"/>
                <a:gd name="T8" fmla="*/ 1750 w 1820"/>
                <a:gd name="T9" fmla="*/ 313 h 1030"/>
                <a:gd name="T10" fmla="*/ 1791 w 1820"/>
                <a:gd name="T11" fmla="*/ 319 h 1030"/>
                <a:gd name="T12" fmla="*/ 1801 w 1820"/>
                <a:gd name="T13" fmla="*/ 352 h 1030"/>
                <a:gd name="T14" fmla="*/ 1787 w 1820"/>
                <a:gd name="T15" fmla="*/ 405 h 1030"/>
                <a:gd name="T16" fmla="*/ 1791 w 1820"/>
                <a:gd name="T17" fmla="*/ 431 h 1030"/>
                <a:gd name="T18" fmla="*/ 1781 w 1820"/>
                <a:gd name="T19" fmla="*/ 457 h 1030"/>
                <a:gd name="T20" fmla="*/ 1766 w 1820"/>
                <a:gd name="T21" fmla="*/ 462 h 1030"/>
                <a:gd name="T22" fmla="*/ 1744 w 1820"/>
                <a:gd name="T23" fmla="*/ 484 h 1030"/>
                <a:gd name="T24" fmla="*/ 1726 w 1820"/>
                <a:gd name="T25" fmla="*/ 490 h 1030"/>
                <a:gd name="T26" fmla="*/ 1685 w 1820"/>
                <a:gd name="T27" fmla="*/ 505 h 1030"/>
                <a:gd name="T28" fmla="*/ 1645 w 1820"/>
                <a:gd name="T29" fmla="*/ 530 h 1030"/>
                <a:gd name="T30" fmla="*/ 1597 w 1820"/>
                <a:gd name="T31" fmla="*/ 534 h 1030"/>
                <a:gd name="T32" fmla="*/ 1557 w 1820"/>
                <a:gd name="T33" fmla="*/ 533 h 1030"/>
                <a:gd name="T34" fmla="*/ 1511 w 1820"/>
                <a:gd name="T35" fmla="*/ 547 h 1030"/>
                <a:gd name="T36" fmla="*/ 1491 w 1820"/>
                <a:gd name="T37" fmla="*/ 558 h 1030"/>
                <a:gd name="T38" fmla="*/ 1465 w 1820"/>
                <a:gd name="T39" fmla="*/ 583 h 1030"/>
                <a:gd name="T40" fmla="*/ 1439 w 1820"/>
                <a:gd name="T41" fmla="*/ 587 h 1030"/>
                <a:gd name="T42" fmla="*/ 1352 w 1820"/>
                <a:gd name="T43" fmla="*/ 598 h 1030"/>
                <a:gd name="T44" fmla="*/ 1292 w 1820"/>
                <a:gd name="T45" fmla="*/ 633 h 1030"/>
                <a:gd name="T46" fmla="*/ 1254 w 1820"/>
                <a:gd name="T47" fmla="*/ 647 h 1030"/>
                <a:gd name="T48" fmla="*/ 1244 w 1820"/>
                <a:gd name="T49" fmla="*/ 614 h 1030"/>
                <a:gd name="T50" fmla="*/ 1188 w 1820"/>
                <a:gd name="T51" fmla="*/ 620 h 1030"/>
                <a:gd name="T52" fmla="*/ 1166 w 1820"/>
                <a:gd name="T53" fmla="*/ 634 h 1030"/>
                <a:gd name="T54" fmla="*/ 1151 w 1820"/>
                <a:gd name="T55" fmla="*/ 641 h 1030"/>
                <a:gd name="T56" fmla="*/ 1134 w 1820"/>
                <a:gd name="T57" fmla="*/ 682 h 1030"/>
                <a:gd name="T58" fmla="*/ 1123 w 1820"/>
                <a:gd name="T59" fmla="*/ 720 h 1030"/>
                <a:gd name="T60" fmla="*/ 1050 w 1820"/>
                <a:gd name="T61" fmla="*/ 783 h 1030"/>
                <a:gd name="T62" fmla="*/ 1015 w 1820"/>
                <a:gd name="T63" fmla="*/ 809 h 1030"/>
                <a:gd name="T64" fmla="*/ 981 w 1820"/>
                <a:gd name="T65" fmla="*/ 855 h 1030"/>
                <a:gd name="T66" fmla="*/ 959 w 1820"/>
                <a:gd name="T67" fmla="*/ 925 h 1030"/>
                <a:gd name="T68" fmla="*/ 892 w 1820"/>
                <a:gd name="T69" fmla="*/ 992 h 1030"/>
                <a:gd name="T70" fmla="*/ 681 w 1820"/>
                <a:gd name="T71" fmla="*/ 924 h 1030"/>
                <a:gd name="T72" fmla="*/ 563 w 1820"/>
                <a:gd name="T73" fmla="*/ 899 h 1030"/>
                <a:gd name="T74" fmla="*/ 406 w 1820"/>
                <a:gd name="T75" fmla="*/ 790 h 1030"/>
                <a:gd name="T76" fmla="*/ 305 w 1820"/>
                <a:gd name="T77" fmla="*/ 833 h 1030"/>
                <a:gd name="T78" fmla="*/ 279 w 1820"/>
                <a:gd name="T79" fmla="*/ 835 h 1030"/>
                <a:gd name="T80" fmla="*/ 222 w 1820"/>
                <a:gd name="T81" fmla="*/ 853 h 1030"/>
                <a:gd name="T82" fmla="*/ 203 w 1820"/>
                <a:gd name="T83" fmla="*/ 835 h 1030"/>
                <a:gd name="T84" fmla="*/ 174 w 1820"/>
                <a:gd name="T85" fmla="*/ 820 h 1030"/>
                <a:gd name="T86" fmla="*/ 140 w 1820"/>
                <a:gd name="T87" fmla="*/ 815 h 1030"/>
                <a:gd name="T88" fmla="*/ 99 w 1820"/>
                <a:gd name="T89" fmla="*/ 795 h 1030"/>
                <a:gd name="T90" fmla="*/ 54 w 1820"/>
                <a:gd name="T91" fmla="*/ 813 h 1030"/>
                <a:gd name="T92" fmla="*/ 28 w 1820"/>
                <a:gd name="T93" fmla="*/ 845 h 1030"/>
                <a:gd name="T94" fmla="*/ 20 w 1820"/>
                <a:gd name="T95" fmla="*/ 802 h 1030"/>
                <a:gd name="T96" fmla="*/ 0 w 1820"/>
                <a:gd name="T97" fmla="*/ 714 h 1030"/>
                <a:gd name="T98" fmla="*/ 96 w 1820"/>
                <a:gd name="T99" fmla="*/ 621 h 1030"/>
                <a:gd name="T100" fmla="*/ 200 w 1820"/>
                <a:gd name="T101" fmla="*/ 583 h 1030"/>
                <a:gd name="T102" fmla="*/ 366 w 1820"/>
                <a:gd name="T103" fmla="*/ 452 h 1030"/>
                <a:gd name="T104" fmla="*/ 300 w 1820"/>
                <a:gd name="T105" fmla="*/ 395 h 1030"/>
                <a:gd name="T106" fmla="*/ 313 w 1820"/>
                <a:gd name="T107" fmla="*/ 283 h 1030"/>
                <a:gd name="T108" fmla="*/ 366 w 1820"/>
                <a:gd name="T109" fmla="*/ 190 h 1030"/>
                <a:gd name="T110" fmla="*/ 368 w 1820"/>
                <a:gd name="T111" fmla="*/ 119 h 1030"/>
                <a:gd name="T112" fmla="*/ 351 w 1820"/>
                <a:gd name="T113" fmla="*/ 56 h 1030"/>
                <a:gd name="T114" fmla="*/ 507 w 1820"/>
                <a:gd name="T115" fmla="*/ 193 h 1030"/>
                <a:gd name="T116" fmla="*/ 585 w 1820"/>
                <a:gd name="T117" fmla="*/ 222 h 1030"/>
                <a:gd name="T118" fmla="*/ 756 w 1820"/>
                <a:gd name="T119" fmla="*/ 0 h 1030"/>
                <a:gd name="T120" fmla="*/ 892 w 1820"/>
                <a:gd name="T121" fmla="*/ 992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0" h="1030">
                  <a:moveTo>
                    <a:pt x="756" y="0"/>
                  </a:moveTo>
                  <a:lnTo>
                    <a:pt x="856" y="17"/>
                  </a:lnTo>
                  <a:lnTo>
                    <a:pt x="956" y="33"/>
                  </a:lnTo>
                  <a:lnTo>
                    <a:pt x="958" y="28"/>
                  </a:lnTo>
                  <a:lnTo>
                    <a:pt x="962" y="23"/>
                  </a:lnTo>
                  <a:lnTo>
                    <a:pt x="968" y="20"/>
                  </a:lnTo>
                  <a:lnTo>
                    <a:pt x="971" y="18"/>
                  </a:lnTo>
                  <a:lnTo>
                    <a:pt x="1012" y="20"/>
                  </a:lnTo>
                  <a:lnTo>
                    <a:pt x="1027" y="38"/>
                  </a:lnTo>
                  <a:lnTo>
                    <a:pt x="1061" y="77"/>
                  </a:lnTo>
                  <a:lnTo>
                    <a:pt x="1088" y="106"/>
                  </a:lnTo>
                  <a:lnTo>
                    <a:pt x="1113" y="127"/>
                  </a:lnTo>
                  <a:lnTo>
                    <a:pt x="1164" y="167"/>
                  </a:lnTo>
                  <a:lnTo>
                    <a:pt x="1249" y="232"/>
                  </a:lnTo>
                  <a:lnTo>
                    <a:pt x="1359" y="313"/>
                  </a:lnTo>
                  <a:lnTo>
                    <a:pt x="1395" y="338"/>
                  </a:lnTo>
                  <a:lnTo>
                    <a:pt x="1389" y="345"/>
                  </a:lnTo>
                  <a:lnTo>
                    <a:pt x="1406" y="346"/>
                  </a:lnTo>
                  <a:lnTo>
                    <a:pt x="1472" y="392"/>
                  </a:lnTo>
                  <a:lnTo>
                    <a:pt x="1505" y="389"/>
                  </a:lnTo>
                  <a:lnTo>
                    <a:pt x="1584" y="389"/>
                  </a:lnTo>
                  <a:lnTo>
                    <a:pt x="1604" y="372"/>
                  </a:lnTo>
                  <a:lnTo>
                    <a:pt x="1605" y="369"/>
                  </a:lnTo>
                  <a:lnTo>
                    <a:pt x="1614" y="361"/>
                  </a:lnTo>
                  <a:lnTo>
                    <a:pt x="1622" y="358"/>
                  </a:lnTo>
                  <a:lnTo>
                    <a:pt x="1628" y="355"/>
                  </a:lnTo>
                  <a:lnTo>
                    <a:pt x="1632" y="355"/>
                  </a:lnTo>
                  <a:lnTo>
                    <a:pt x="1637" y="355"/>
                  </a:lnTo>
                  <a:lnTo>
                    <a:pt x="1638" y="355"/>
                  </a:lnTo>
                  <a:lnTo>
                    <a:pt x="1642" y="352"/>
                  </a:lnTo>
                  <a:lnTo>
                    <a:pt x="1647" y="352"/>
                  </a:lnTo>
                  <a:lnTo>
                    <a:pt x="1650" y="355"/>
                  </a:lnTo>
                  <a:lnTo>
                    <a:pt x="1650" y="359"/>
                  </a:lnTo>
                  <a:lnTo>
                    <a:pt x="1650" y="364"/>
                  </a:lnTo>
                  <a:lnTo>
                    <a:pt x="1664" y="366"/>
                  </a:lnTo>
                  <a:lnTo>
                    <a:pt x="1667" y="359"/>
                  </a:lnTo>
                  <a:lnTo>
                    <a:pt x="1687" y="348"/>
                  </a:lnTo>
                  <a:lnTo>
                    <a:pt x="1687" y="345"/>
                  </a:lnTo>
                  <a:lnTo>
                    <a:pt x="1688" y="339"/>
                  </a:lnTo>
                  <a:lnTo>
                    <a:pt x="1694" y="335"/>
                  </a:lnTo>
                  <a:lnTo>
                    <a:pt x="1700" y="333"/>
                  </a:lnTo>
                  <a:lnTo>
                    <a:pt x="1704" y="332"/>
                  </a:lnTo>
                  <a:lnTo>
                    <a:pt x="1710" y="329"/>
                  </a:lnTo>
                  <a:lnTo>
                    <a:pt x="1750" y="313"/>
                  </a:lnTo>
                  <a:lnTo>
                    <a:pt x="1750" y="313"/>
                  </a:lnTo>
                  <a:lnTo>
                    <a:pt x="1753" y="312"/>
                  </a:lnTo>
                  <a:lnTo>
                    <a:pt x="1754" y="311"/>
                  </a:lnTo>
                  <a:lnTo>
                    <a:pt x="1761" y="309"/>
                  </a:lnTo>
                  <a:lnTo>
                    <a:pt x="1771" y="311"/>
                  </a:lnTo>
                  <a:lnTo>
                    <a:pt x="1776" y="313"/>
                  </a:lnTo>
                  <a:lnTo>
                    <a:pt x="1780" y="316"/>
                  </a:lnTo>
                  <a:lnTo>
                    <a:pt x="1784" y="318"/>
                  </a:lnTo>
                  <a:lnTo>
                    <a:pt x="1789" y="318"/>
                  </a:lnTo>
                  <a:lnTo>
                    <a:pt x="1791" y="319"/>
                  </a:lnTo>
                  <a:lnTo>
                    <a:pt x="1797" y="322"/>
                  </a:lnTo>
                  <a:lnTo>
                    <a:pt x="1820" y="333"/>
                  </a:lnTo>
                  <a:lnTo>
                    <a:pt x="1820" y="333"/>
                  </a:lnTo>
                  <a:lnTo>
                    <a:pt x="1819" y="335"/>
                  </a:lnTo>
                  <a:lnTo>
                    <a:pt x="1817" y="336"/>
                  </a:lnTo>
                  <a:lnTo>
                    <a:pt x="1814" y="341"/>
                  </a:lnTo>
                  <a:lnTo>
                    <a:pt x="1814" y="341"/>
                  </a:lnTo>
                  <a:lnTo>
                    <a:pt x="1809" y="346"/>
                  </a:lnTo>
                  <a:lnTo>
                    <a:pt x="1801" y="352"/>
                  </a:lnTo>
                  <a:lnTo>
                    <a:pt x="1801" y="352"/>
                  </a:lnTo>
                  <a:lnTo>
                    <a:pt x="1789" y="366"/>
                  </a:lnTo>
                  <a:lnTo>
                    <a:pt x="1784" y="374"/>
                  </a:lnTo>
                  <a:lnTo>
                    <a:pt x="1780" y="382"/>
                  </a:lnTo>
                  <a:lnTo>
                    <a:pt x="1777" y="389"/>
                  </a:lnTo>
                  <a:lnTo>
                    <a:pt x="1777" y="395"/>
                  </a:lnTo>
                  <a:lnTo>
                    <a:pt x="1778" y="399"/>
                  </a:lnTo>
                  <a:lnTo>
                    <a:pt x="1783" y="402"/>
                  </a:lnTo>
                  <a:lnTo>
                    <a:pt x="1787" y="405"/>
                  </a:lnTo>
                  <a:lnTo>
                    <a:pt x="1793" y="407"/>
                  </a:lnTo>
                  <a:lnTo>
                    <a:pt x="1796" y="408"/>
                  </a:lnTo>
                  <a:lnTo>
                    <a:pt x="1797" y="411"/>
                  </a:lnTo>
                  <a:lnTo>
                    <a:pt x="1799" y="412"/>
                  </a:lnTo>
                  <a:lnTo>
                    <a:pt x="1801" y="414"/>
                  </a:lnTo>
                  <a:lnTo>
                    <a:pt x="1801" y="417"/>
                  </a:lnTo>
                  <a:lnTo>
                    <a:pt x="1801" y="421"/>
                  </a:lnTo>
                  <a:lnTo>
                    <a:pt x="1797" y="425"/>
                  </a:lnTo>
                  <a:lnTo>
                    <a:pt x="1791" y="431"/>
                  </a:lnTo>
                  <a:lnTo>
                    <a:pt x="1789" y="434"/>
                  </a:lnTo>
                  <a:lnTo>
                    <a:pt x="1791" y="437"/>
                  </a:lnTo>
                  <a:lnTo>
                    <a:pt x="1796" y="441"/>
                  </a:lnTo>
                  <a:lnTo>
                    <a:pt x="1797" y="444"/>
                  </a:lnTo>
                  <a:lnTo>
                    <a:pt x="1796" y="447"/>
                  </a:lnTo>
                  <a:lnTo>
                    <a:pt x="1793" y="451"/>
                  </a:lnTo>
                  <a:lnTo>
                    <a:pt x="1787" y="455"/>
                  </a:lnTo>
                  <a:lnTo>
                    <a:pt x="1784" y="457"/>
                  </a:lnTo>
                  <a:lnTo>
                    <a:pt x="1781" y="457"/>
                  </a:lnTo>
                  <a:lnTo>
                    <a:pt x="1781" y="449"/>
                  </a:lnTo>
                  <a:lnTo>
                    <a:pt x="1778" y="448"/>
                  </a:lnTo>
                  <a:lnTo>
                    <a:pt x="1776" y="447"/>
                  </a:lnTo>
                  <a:lnTo>
                    <a:pt x="1771" y="447"/>
                  </a:lnTo>
                  <a:lnTo>
                    <a:pt x="1760" y="452"/>
                  </a:lnTo>
                  <a:lnTo>
                    <a:pt x="1757" y="457"/>
                  </a:lnTo>
                  <a:lnTo>
                    <a:pt x="1756" y="460"/>
                  </a:lnTo>
                  <a:lnTo>
                    <a:pt x="1757" y="461"/>
                  </a:lnTo>
                  <a:lnTo>
                    <a:pt x="1766" y="462"/>
                  </a:lnTo>
                  <a:lnTo>
                    <a:pt x="1771" y="465"/>
                  </a:lnTo>
                  <a:lnTo>
                    <a:pt x="1774" y="468"/>
                  </a:lnTo>
                  <a:lnTo>
                    <a:pt x="1774" y="472"/>
                  </a:lnTo>
                  <a:lnTo>
                    <a:pt x="1773" y="480"/>
                  </a:lnTo>
                  <a:lnTo>
                    <a:pt x="1768" y="482"/>
                  </a:lnTo>
                  <a:lnTo>
                    <a:pt x="1761" y="484"/>
                  </a:lnTo>
                  <a:lnTo>
                    <a:pt x="1753" y="485"/>
                  </a:lnTo>
                  <a:lnTo>
                    <a:pt x="1748" y="485"/>
                  </a:lnTo>
                  <a:lnTo>
                    <a:pt x="1744" y="484"/>
                  </a:lnTo>
                  <a:lnTo>
                    <a:pt x="1743" y="481"/>
                  </a:lnTo>
                  <a:lnTo>
                    <a:pt x="1740" y="481"/>
                  </a:lnTo>
                  <a:lnTo>
                    <a:pt x="1737" y="481"/>
                  </a:lnTo>
                  <a:lnTo>
                    <a:pt x="1737" y="484"/>
                  </a:lnTo>
                  <a:lnTo>
                    <a:pt x="1737" y="488"/>
                  </a:lnTo>
                  <a:lnTo>
                    <a:pt x="1736" y="490"/>
                  </a:lnTo>
                  <a:lnTo>
                    <a:pt x="1731" y="491"/>
                  </a:lnTo>
                  <a:lnTo>
                    <a:pt x="1727" y="492"/>
                  </a:lnTo>
                  <a:lnTo>
                    <a:pt x="1726" y="490"/>
                  </a:lnTo>
                  <a:lnTo>
                    <a:pt x="1724" y="488"/>
                  </a:lnTo>
                  <a:lnTo>
                    <a:pt x="1721" y="488"/>
                  </a:lnTo>
                  <a:lnTo>
                    <a:pt x="1720" y="490"/>
                  </a:lnTo>
                  <a:lnTo>
                    <a:pt x="1717" y="492"/>
                  </a:lnTo>
                  <a:lnTo>
                    <a:pt x="1711" y="494"/>
                  </a:lnTo>
                  <a:lnTo>
                    <a:pt x="1701" y="497"/>
                  </a:lnTo>
                  <a:lnTo>
                    <a:pt x="1694" y="498"/>
                  </a:lnTo>
                  <a:lnTo>
                    <a:pt x="1688" y="500"/>
                  </a:lnTo>
                  <a:lnTo>
                    <a:pt x="1685" y="505"/>
                  </a:lnTo>
                  <a:lnTo>
                    <a:pt x="1680" y="505"/>
                  </a:lnTo>
                  <a:lnTo>
                    <a:pt x="1675" y="508"/>
                  </a:lnTo>
                  <a:lnTo>
                    <a:pt x="1674" y="514"/>
                  </a:lnTo>
                  <a:lnTo>
                    <a:pt x="1671" y="521"/>
                  </a:lnTo>
                  <a:lnTo>
                    <a:pt x="1668" y="524"/>
                  </a:lnTo>
                  <a:lnTo>
                    <a:pt x="1664" y="530"/>
                  </a:lnTo>
                  <a:lnTo>
                    <a:pt x="1658" y="531"/>
                  </a:lnTo>
                  <a:lnTo>
                    <a:pt x="1654" y="530"/>
                  </a:lnTo>
                  <a:lnTo>
                    <a:pt x="1645" y="530"/>
                  </a:lnTo>
                  <a:lnTo>
                    <a:pt x="1640" y="530"/>
                  </a:lnTo>
                  <a:lnTo>
                    <a:pt x="1634" y="528"/>
                  </a:lnTo>
                  <a:lnTo>
                    <a:pt x="1628" y="528"/>
                  </a:lnTo>
                  <a:lnTo>
                    <a:pt x="1625" y="530"/>
                  </a:lnTo>
                  <a:lnTo>
                    <a:pt x="1622" y="534"/>
                  </a:lnTo>
                  <a:lnTo>
                    <a:pt x="1617" y="534"/>
                  </a:lnTo>
                  <a:lnTo>
                    <a:pt x="1611" y="534"/>
                  </a:lnTo>
                  <a:lnTo>
                    <a:pt x="1602" y="535"/>
                  </a:lnTo>
                  <a:lnTo>
                    <a:pt x="1597" y="534"/>
                  </a:lnTo>
                  <a:lnTo>
                    <a:pt x="1589" y="530"/>
                  </a:lnTo>
                  <a:lnTo>
                    <a:pt x="1585" y="527"/>
                  </a:lnTo>
                  <a:lnTo>
                    <a:pt x="1579" y="525"/>
                  </a:lnTo>
                  <a:lnTo>
                    <a:pt x="1577" y="525"/>
                  </a:lnTo>
                  <a:lnTo>
                    <a:pt x="1572" y="530"/>
                  </a:lnTo>
                  <a:lnTo>
                    <a:pt x="1569" y="533"/>
                  </a:lnTo>
                  <a:lnTo>
                    <a:pt x="1565" y="533"/>
                  </a:lnTo>
                  <a:lnTo>
                    <a:pt x="1561" y="533"/>
                  </a:lnTo>
                  <a:lnTo>
                    <a:pt x="1557" y="533"/>
                  </a:lnTo>
                  <a:lnTo>
                    <a:pt x="1551" y="534"/>
                  </a:lnTo>
                  <a:lnTo>
                    <a:pt x="1546" y="534"/>
                  </a:lnTo>
                  <a:lnTo>
                    <a:pt x="1544" y="534"/>
                  </a:lnTo>
                  <a:lnTo>
                    <a:pt x="1541" y="533"/>
                  </a:lnTo>
                  <a:lnTo>
                    <a:pt x="1538" y="533"/>
                  </a:lnTo>
                  <a:lnTo>
                    <a:pt x="1532" y="534"/>
                  </a:lnTo>
                  <a:lnTo>
                    <a:pt x="1515" y="543"/>
                  </a:lnTo>
                  <a:lnTo>
                    <a:pt x="1512" y="544"/>
                  </a:lnTo>
                  <a:lnTo>
                    <a:pt x="1511" y="547"/>
                  </a:lnTo>
                  <a:lnTo>
                    <a:pt x="1515" y="553"/>
                  </a:lnTo>
                  <a:lnTo>
                    <a:pt x="1515" y="555"/>
                  </a:lnTo>
                  <a:lnTo>
                    <a:pt x="1509" y="561"/>
                  </a:lnTo>
                  <a:lnTo>
                    <a:pt x="1508" y="561"/>
                  </a:lnTo>
                  <a:lnTo>
                    <a:pt x="1506" y="560"/>
                  </a:lnTo>
                  <a:lnTo>
                    <a:pt x="1504" y="555"/>
                  </a:lnTo>
                  <a:lnTo>
                    <a:pt x="1498" y="553"/>
                  </a:lnTo>
                  <a:lnTo>
                    <a:pt x="1493" y="554"/>
                  </a:lnTo>
                  <a:lnTo>
                    <a:pt x="1491" y="558"/>
                  </a:lnTo>
                  <a:lnTo>
                    <a:pt x="1486" y="564"/>
                  </a:lnTo>
                  <a:lnTo>
                    <a:pt x="1481" y="567"/>
                  </a:lnTo>
                  <a:lnTo>
                    <a:pt x="1476" y="568"/>
                  </a:lnTo>
                  <a:lnTo>
                    <a:pt x="1469" y="570"/>
                  </a:lnTo>
                  <a:lnTo>
                    <a:pt x="1465" y="573"/>
                  </a:lnTo>
                  <a:lnTo>
                    <a:pt x="1465" y="574"/>
                  </a:lnTo>
                  <a:lnTo>
                    <a:pt x="1465" y="578"/>
                  </a:lnTo>
                  <a:lnTo>
                    <a:pt x="1466" y="581"/>
                  </a:lnTo>
                  <a:lnTo>
                    <a:pt x="1465" y="583"/>
                  </a:lnTo>
                  <a:lnTo>
                    <a:pt x="1463" y="584"/>
                  </a:lnTo>
                  <a:lnTo>
                    <a:pt x="1458" y="584"/>
                  </a:lnTo>
                  <a:lnTo>
                    <a:pt x="1456" y="584"/>
                  </a:lnTo>
                  <a:lnTo>
                    <a:pt x="1453" y="590"/>
                  </a:lnTo>
                  <a:lnTo>
                    <a:pt x="1452" y="591"/>
                  </a:lnTo>
                  <a:lnTo>
                    <a:pt x="1449" y="591"/>
                  </a:lnTo>
                  <a:lnTo>
                    <a:pt x="1448" y="591"/>
                  </a:lnTo>
                  <a:lnTo>
                    <a:pt x="1442" y="588"/>
                  </a:lnTo>
                  <a:lnTo>
                    <a:pt x="1439" y="587"/>
                  </a:lnTo>
                  <a:lnTo>
                    <a:pt x="1436" y="588"/>
                  </a:lnTo>
                  <a:lnTo>
                    <a:pt x="1430" y="590"/>
                  </a:lnTo>
                  <a:lnTo>
                    <a:pt x="1415" y="588"/>
                  </a:lnTo>
                  <a:lnTo>
                    <a:pt x="1405" y="590"/>
                  </a:lnTo>
                  <a:lnTo>
                    <a:pt x="1389" y="590"/>
                  </a:lnTo>
                  <a:lnTo>
                    <a:pt x="1379" y="591"/>
                  </a:lnTo>
                  <a:lnTo>
                    <a:pt x="1372" y="594"/>
                  </a:lnTo>
                  <a:lnTo>
                    <a:pt x="1362" y="596"/>
                  </a:lnTo>
                  <a:lnTo>
                    <a:pt x="1352" y="598"/>
                  </a:lnTo>
                  <a:lnTo>
                    <a:pt x="1342" y="606"/>
                  </a:lnTo>
                  <a:lnTo>
                    <a:pt x="1333" y="611"/>
                  </a:lnTo>
                  <a:lnTo>
                    <a:pt x="1322" y="614"/>
                  </a:lnTo>
                  <a:lnTo>
                    <a:pt x="1316" y="618"/>
                  </a:lnTo>
                  <a:lnTo>
                    <a:pt x="1313" y="621"/>
                  </a:lnTo>
                  <a:lnTo>
                    <a:pt x="1310" y="629"/>
                  </a:lnTo>
                  <a:lnTo>
                    <a:pt x="1306" y="630"/>
                  </a:lnTo>
                  <a:lnTo>
                    <a:pt x="1300" y="631"/>
                  </a:lnTo>
                  <a:lnTo>
                    <a:pt x="1292" y="633"/>
                  </a:lnTo>
                  <a:lnTo>
                    <a:pt x="1287" y="634"/>
                  </a:lnTo>
                  <a:lnTo>
                    <a:pt x="1284" y="637"/>
                  </a:lnTo>
                  <a:lnTo>
                    <a:pt x="1283" y="641"/>
                  </a:lnTo>
                  <a:lnTo>
                    <a:pt x="1280" y="643"/>
                  </a:lnTo>
                  <a:lnTo>
                    <a:pt x="1273" y="643"/>
                  </a:lnTo>
                  <a:lnTo>
                    <a:pt x="1266" y="639"/>
                  </a:lnTo>
                  <a:lnTo>
                    <a:pt x="1261" y="639"/>
                  </a:lnTo>
                  <a:lnTo>
                    <a:pt x="1259" y="641"/>
                  </a:lnTo>
                  <a:lnTo>
                    <a:pt x="1254" y="647"/>
                  </a:lnTo>
                  <a:lnTo>
                    <a:pt x="1251" y="649"/>
                  </a:lnTo>
                  <a:lnTo>
                    <a:pt x="1243" y="646"/>
                  </a:lnTo>
                  <a:lnTo>
                    <a:pt x="1239" y="644"/>
                  </a:lnTo>
                  <a:lnTo>
                    <a:pt x="1239" y="643"/>
                  </a:lnTo>
                  <a:lnTo>
                    <a:pt x="1239" y="639"/>
                  </a:lnTo>
                  <a:lnTo>
                    <a:pt x="1241" y="630"/>
                  </a:lnTo>
                  <a:lnTo>
                    <a:pt x="1246" y="623"/>
                  </a:lnTo>
                  <a:lnTo>
                    <a:pt x="1246" y="618"/>
                  </a:lnTo>
                  <a:lnTo>
                    <a:pt x="1244" y="614"/>
                  </a:lnTo>
                  <a:lnTo>
                    <a:pt x="1239" y="613"/>
                  </a:lnTo>
                  <a:lnTo>
                    <a:pt x="1231" y="607"/>
                  </a:lnTo>
                  <a:lnTo>
                    <a:pt x="1227" y="604"/>
                  </a:lnTo>
                  <a:lnTo>
                    <a:pt x="1221" y="607"/>
                  </a:lnTo>
                  <a:lnTo>
                    <a:pt x="1214" y="613"/>
                  </a:lnTo>
                  <a:lnTo>
                    <a:pt x="1206" y="618"/>
                  </a:lnTo>
                  <a:lnTo>
                    <a:pt x="1200" y="620"/>
                  </a:lnTo>
                  <a:lnTo>
                    <a:pt x="1194" y="618"/>
                  </a:lnTo>
                  <a:lnTo>
                    <a:pt x="1188" y="620"/>
                  </a:lnTo>
                  <a:lnTo>
                    <a:pt x="1184" y="623"/>
                  </a:lnTo>
                  <a:lnTo>
                    <a:pt x="1180" y="627"/>
                  </a:lnTo>
                  <a:lnTo>
                    <a:pt x="1177" y="626"/>
                  </a:lnTo>
                  <a:lnTo>
                    <a:pt x="1174" y="623"/>
                  </a:lnTo>
                  <a:lnTo>
                    <a:pt x="1173" y="623"/>
                  </a:lnTo>
                  <a:lnTo>
                    <a:pt x="1168" y="624"/>
                  </a:lnTo>
                  <a:lnTo>
                    <a:pt x="1166" y="627"/>
                  </a:lnTo>
                  <a:lnTo>
                    <a:pt x="1164" y="631"/>
                  </a:lnTo>
                  <a:lnTo>
                    <a:pt x="1166" y="634"/>
                  </a:lnTo>
                  <a:lnTo>
                    <a:pt x="1168" y="637"/>
                  </a:lnTo>
                  <a:lnTo>
                    <a:pt x="1168" y="640"/>
                  </a:lnTo>
                  <a:lnTo>
                    <a:pt x="1168" y="641"/>
                  </a:lnTo>
                  <a:lnTo>
                    <a:pt x="1167" y="643"/>
                  </a:lnTo>
                  <a:lnTo>
                    <a:pt x="1163" y="643"/>
                  </a:lnTo>
                  <a:lnTo>
                    <a:pt x="1160" y="641"/>
                  </a:lnTo>
                  <a:lnTo>
                    <a:pt x="1157" y="640"/>
                  </a:lnTo>
                  <a:lnTo>
                    <a:pt x="1154" y="640"/>
                  </a:lnTo>
                  <a:lnTo>
                    <a:pt x="1151" y="641"/>
                  </a:lnTo>
                  <a:lnTo>
                    <a:pt x="1147" y="644"/>
                  </a:lnTo>
                  <a:lnTo>
                    <a:pt x="1141" y="651"/>
                  </a:lnTo>
                  <a:lnTo>
                    <a:pt x="1137" y="657"/>
                  </a:lnTo>
                  <a:lnTo>
                    <a:pt x="1135" y="660"/>
                  </a:lnTo>
                  <a:lnTo>
                    <a:pt x="1137" y="663"/>
                  </a:lnTo>
                  <a:lnTo>
                    <a:pt x="1140" y="666"/>
                  </a:lnTo>
                  <a:lnTo>
                    <a:pt x="1138" y="669"/>
                  </a:lnTo>
                  <a:lnTo>
                    <a:pt x="1137" y="674"/>
                  </a:lnTo>
                  <a:lnTo>
                    <a:pt x="1134" y="682"/>
                  </a:lnTo>
                  <a:lnTo>
                    <a:pt x="1127" y="686"/>
                  </a:lnTo>
                  <a:lnTo>
                    <a:pt x="1118" y="693"/>
                  </a:lnTo>
                  <a:lnTo>
                    <a:pt x="1115" y="700"/>
                  </a:lnTo>
                  <a:lnTo>
                    <a:pt x="1117" y="710"/>
                  </a:lnTo>
                  <a:lnTo>
                    <a:pt x="1115" y="714"/>
                  </a:lnTo>
                  <a:lnTo>
                    <a:pt x="1117" y="716"/>
                  </a:lnTo>
                  <a:lnTo>
                    <a:pt x="1121" y="716"/>
                  </a:lnTo>
                  <a:lnTo>
                    <a:pt x="1123" y="717"/>
                  </a:lnTo>
                  <a:lnTo>
                    <a:pt x="1123" y="720"/>
                  </a:lnTo>
                  <a:lnTo>
                    <a:pt x="1120" y="724"/>
                  </a:lnTo>
                  <a:lnTo>
                    <a:pt x="1113" y="729"/>
                  </a:lnTo>
                  <a:lnTo>
                    <a:pt x="1104" y="734"/>
                  </a:lnTo>
                  <a:lnTo>
                    <a:pt x="1094" y="739"/>
                  </a:lnTo>
                  <a:lnTo>
                    <a:pt x="1082" y="745"/>
                  </a:lnTo>
                  <a:lnTo>
                    <a:pt x="1077" y="750"/>
                  </a:lnTo>
                  <a:lnTo>
                    <a:pt x="1067" y="763"/>
                  </a:lnTo>
                  <a:lnTo>
                    <a:pt x="1055" y="777"/>
                  </a:lnTo>
                  <a:lnTo>
                    <a:pt x="1050" y="783"/>
                  </a:lnTo>
                  <a:lnTo>
                    <a:pt x="1042" y="786"/>
                  </a:lnTo>
                  <a:lnTo>
                    <a:pt x="1035" y="790"/>
                  </a:lnTo>
                  <a:lnTo>
                    <a:pt x="1028" y="795"/>
                  </a:lnTo>
                  <a:lnTo>
                    <a:pt x="1027" y="798"/>
                  </a:lnTo>
                  <a:lnTo>
                    <a:pt x="1025" y="802"/>
                  </a:lnTo>
                  <a:lnTo>
                    <a:pt x="1022" y="802"/>
                  </a:lnTo>
                  <a:lnTo>
                    <a:pt x="1019" y="802"/>
                  </a:lnTo>
                  <a:lnTo>
                    <a:pt x="1018" y="805"/>
                  </a:lnTo>
                  <a:lnTo>
                    <a:pt x="1015" y="809"/>
                  </a:lnTo>
                  <a:lnTo>
                    <a:pt x="1008" y="822"/>
                  </a:lnTo>
                  <a:lnTo>
                    <a:pt x="1001" y="829"/>
                  </a:lnTo>
                  <a:lnTo>
                    <a:pt x="994" y="833"/>
                  </a:lnTo>
                  <a:lnTo>
                    <a:pt x="988" y="833"/>
                  </a:lnTo>
                  <a:lnTo>
                    <a:pt x="984" y="836"/>
                  </a:lnTo>
                  <a:lnTo>
                    <a:pt x="982" y="840"/>
                  </a:lnTo>
                  <a:lnTo>
                    <a:pt x="979" y="846"/>
                  </a:lnTo>
                  <a:lnTo>
                    <a:pt x="981" y="851"/>
                  </a:lnTo>
                  <a:lnTo>
                    <a:pt x="981" y="855"/>
                  </a:lnTo>
                  <a:lnTo>
                    <a:pt x="981" y="858"/>
                  </a:lnTo>
                  <a:lnTo>
                    <a:pt x="982" y="865"/>
                  </a:lnTo>
                  <a:lnTo>
                    <a:pt x="976" y="875"/>
                  </a:lnTo>
                  <a:lnTo>
                    <a:pt x="971" y="882"/>
                  </a:lnTo>
                  <a:lnTo>
                    <a:pt x="959" y="889"/>
                  </a:lnTo>
                  <a:lnTo>
                    <a:pt x="951" y="911"/>
                  </a:lnTo>
                  <a:lnTo>
                    <a:pt x="951" y="918"/>
                  </a:lnTo>
                  <a:lnTo>
                    <a:pt x="956" y="921"/>
                  </a:lnTo>
                  <a:lnTo>
                    <a:pt x="959" y="925"/>
                  </a:lnTo>
                  <a:lnTo>
                    <a:pt x="949" y="932"/>
                  </a:lnTo>
                  <a:lnTo>
                    <a:pt x="936" y="944"/>
                  </a:lnTo>
                  <a:lnTo>
                    <a:pt x="932" y="946"/>
                  </a:lnTo>
                  <a:lnTo>
                    <a:pt x="928" y="946"/>
                  </a:lnTo>
                  <a:lnTo>
                    <a:pt x="926" y="952"/>
                  </a:lnTo>
                  <a:lnTo>
                    <a:pt x="923" y="955"/>
                  </a:lnTo>
                  <a:lnTo>
                    <a:pt x="911" y="961"/>
                  </a:lnTo>
                  <a:lnTo>
                    <a:pt x="901" y="969"/>
                  </a:lnTo>
                  <a:lnTo>
                    <a:pt x="892" y="992"/>
                  </a:lnTo>
                  <a:lnTo>
                    <a:pt x="858" y="1025"/>
                  </a:lnTo>
                  <a:lnTo>
                    <a:pt x="852" y="1024"/>
                  </a:lnTo>
                  <a:lnTo>
                    <a:pt x="850" y="1022"/>
                  </a:lnTo>
                  <a:lnTo>
                    <a:pt x="830" y="1030"/>
                  </a:lnTo>
                  <a:lnTo>
                    <a:pt x="816" y="1022"/>
                  </a:lnTo>
                  <a:lnTo>
                    <a:pt x="810" y="1027"/>
                  </a:lnTo>
                  <a:lnTo>
                    <a:pt x="709" y="948"/>
                  </a:lnTo>
                  <a:lnTo>
                    <a:pt x="706" y="951"/>
                  </a:lnTo>
                  <a:lnTo>
                    <a:pt x="681" y="924"/>
                  </a:lnTo>
                  <a:lnTo>
                    <a:pt x="671" y="924"/>
                  </a:lnTo>
                  <a:lnTo>
                    <a:pt x="664" y="934"/>
                  </a:lnTo>
                  <a:lnTo>
                    <a:pt x="657" y="925"/>
                  </a:lnTo>
                  <a:lnTo>
                    <a:pt x="638" y="941"/>
                  </a:lnTo>
                  <a:lnTo>
                    <a:pt x="641" y="944"/>
                  </a:lnTo>
                  <a:lnTo>
                    <a:pt x="630" y="952"/>
                  </a:lnTo>
                  <a:lnTo>
                    <a:pt x="603" y="922"/>
                  </a:lnTo>
                  <a:lnTo>
                    <a:pt x="588" y="934"/>
                  </a:lnTo>
                  <a:lnTo>
                    <a:pt x="563" y="899"/>
                  </a:lnTo>
                  <a:lnTo>
                    <a:pt x="544" y="915"/>
                  </a:lnTo>
                  <a:lnTo>
                    <a:pt x="537" y="906"/>
                  </a:lnTo>
                  <a:lnTo>
                    <a:pt x="517" y="921"/>
                  </a:lnTo>
                  <a:lnTo>
                    <a:pt x="458" y="851"/>
                  </a:lnTo>
                  <a:lnTo>
                    <a:pt x="442" y="865"/>
                  </a:lnTo>
                  <a:lnTo>
                    <a:pt x="418" y="839"/>
                  </a:lnTo>
                  <a:lnTo>
                    <a:pt x="437" y="822"/>
                  </a:lnTo>
                  <a:lnTo>
                    <a:pt x="418" y="803"/>
                  </a:lnTo>
                  <a:lnTo>
                    <a:pt x="406" y="790"/>
                  </a:lnTo>
                  <a:lnTo>
                    <a:pt x="388" y="805"/>
                  </a:lnTo>
                  <a:lnTo>
                    <a:pt x="379" y="796"/>
                  </a:lnTo>
                  <a:lnTo>
                    <a:pt x="369" y="783"/>
                  </a:lnTo>
                  <a:lnTo>
                    <a:pt x="352" y="796"/>
                  </a:lnTo>
                  <a:lnTo>
                    <a:pt x="329" y="765"/>
                  </a:lnTo>
                  <a:lnTo>
                    <a:pt x="289" y="795"/>
                  </a:lnTo>
                  <a:lnTo>
                    <a:pt x="305" y="825"/>
                  </a:lnTo>
                  <a:lnTo>
                    <a:pt x="300" y="828"/>
                  </a:lnTo>
                  <a:lnTo>
                    <a:pt x="305" y="833"/>
                  </a:lnTo>
                  <a:lnTo>
                    <a:pt x="306" y="838"/>
                  </a:lnTo>
                  <a:lnTo>
                    <a:pt x="295" y="845"/>
                  </a:lnTo>
                  <a:lnTo>
                    <a:pt x="299" y="852"/>
                  </a:lnTo>
                  <a:lnTo>
                    <a:pt x="283" y="866"/>
                  </a:lnTo>
                  <a:lnTo>
                    <a:pt x="282" y="859"/>
                  </a:lnTo>
                  <a:lnTo>
                    <a:pt x="282" y="853"/>
                  </a:lnTo>
                  <a:lnTo>
                    <a:pt x="282" y="848"/>
                  </a:lnTo>
                  <a:lnTo>
                    <a:pt x="280" y="840"/>
                  </a:lnTo>
                  <a:lnTo>
                    <a:pt x="279" y="835"/>
                  </a:lnTo>
                  <a:lnTo>
                    <a:pt x="275" y="836"/>
                  </a:lnTo>
                  <a:lnTo>
                    <a:pt x="269" y="838"/>
                  </a:lnTo>
                  <a:lnTo>
                    <a:pt x="263" y="840"/>
                  </a:lnTo>
                  <a:lnTo>
                    <a:pt x="247" y="846"/>
                  </a:lnTo>
                  <a:lnTo>
                    <a:pt x="246" y="848"/>
                  </a:lnTo>
                  <a:lnTo>
                    <a:pt x="240" y="851"/>
                  </a:lnTo>
                  <a:lnTo>
                    <a:pt x="233" y="852"/>
                  </a:lnTo>
                  <a:lnTo>
                    <a:pt x="226" y="853"/>
                  </a:lnTo>
                  <a:lnTo>
                    <a:pt x="222" y="853"/>
                  </a:lnTo>
                  <a:lnTo>
                    <a:pt x="219" y="853"/>
                  </a:lnTo>
                  <a:lnTo>
                    <a:pt x="213" y="855"/>
                  </a:lnTo>
                  <a:lnTo>
                    <a:pt x="207" y="856"/>
                  </a:lnTo>
                  <a:lnTo>
                    <a:pt x="202" y="858"/>
                  </a:lnTo>
                  <a:lnTo>
                    <a:pt x="197" y="855"/>
                  </a:lnTo>
                  <a:lnTo>
                    <a:pt x="197" y="851"/>
                  </a:lnTo>
                  <a:lnTo>
                    <a:pt x="200" y="846"/>
                  </a:lnTo>
                  <a:lnTo>
                    <a:pt x="202" y="840"/>
                  </a:lnTo>
                  <a:lnTo>
                    <a:pt x="203" y="835"/>
                  </a:lnTo>
                  <a:lnTo>
                    <a:pt x="199" y="829"/>
                  </a:lnTo>
                  <a:lnTo>
                    <a:pt x="196" y="825"/>
                  </a:lnTo>
                  <a:lnTo>
                    <a:pt x="194" y="820"/>
                  </a:lnTo>
                  <a:lnTo>
                    <a:pt x="193" y="818"/>
                  </a:lnTo>
                  <a:lnTo>
                    <a:pt x="190" y="815"/>
                  </a:lnTo>
                  <a:lnTo>
                    <a:pt x="186" y="816"/>
                  </a:lnTo>
                  <a:lnTo>
                    <a:pt x="182" y="818"/>
                  </a:lnTo>
                  <a:lnTo>
                    <a:pt x="179" y="820"/>
                  </a:lnTo>
                  <a:lnTo>
                    <a:pt x="174" y="820"/>
                  </a:lnTo>
                  <a:lnTo>
                    <a:pt x="172" y="822"/>
                  </a:lnTo>
                  <a:lnTo>
                    <a:pt x="166" y="823"/>
                  </a:lnTo>
                  <a:lnTo>
                    <a:pt x="163" y="823"/>
                  </a:lnTo>
                  <a:lnTo>
                    <a:pt x="162" y="825"/>
                  </a:lnTo>
                  <a:lnTo>
                    <a:pt x="159" y="829"/>
                  </a:lnTo>
                  <a:lnTo>
                    <a:pt x="153" y="829"/>
                  </a:lnTo>
                  <a:lnTo>
                    <a:pt x="149" y="822"/>
                  </a:lnTo>
                  <a:lnTo>
                    <a:pt x="146" y="818"/>
                  </a:lnTo>
                  <a:lnTo>
                    <a:pt x="140" y="815"/>
                  </a:lnTo>
                  <a:lnTo>
                    <a:pt x="136" y="813"/>
                  </a:lnTo>
                  <a:lnTo>
                    <a:pt x="133" y="810"/>
                  </a:lnTo>
                  <a:lnTo>
                    <a:pt x="129" y="806"/>
                  </a:lnTo>
                  <a:lnTo>
                    <a:pt x="121" y="805"/>
                  </a:lnTo>
                  <a:lnTo>
                    <a:pt x="116" y="808"/>
                  </a:lnTo>
                  <a:lnTo>
                    <a:pt x="113" y="810"/>
                  </a:lnTo>
                  <a:lnTo>
                    <a:pt x="107" y="810"/>
                  </a:lnTo>
                  <a:lnTo>
                    <a:pt x="104" y="803"/>
                  </a:lnTo>
                  <a:lnTo>
                    <a:pt x="99" y="795"/>
                  </a:lnTo>
                  <a:lnTo>
                    <a:pt x="86" y="798"/>
                  </a:lnTo>
                  <a:lnTo>
                    <a:pt x="89" y="803"/>
                  </a:lnTo>
                  <a:lnTo>
                    <a:pt x="87" y="805"/>
                  </a:lnTo>
                  <a:lnTo>
                    <a:pt x="80" y="802"/>
                  </a:lnTo>
                  <a:lnTo>
                    <a:pt x="77" y="799"/>
                  </a:lnTo>
                  <a:lnTo>
                    <a:pt x="73" y="799"/>
                  </a:lnTo>
                  <a:lnTo>
                    <a:pt x="64" y="805"/>
                  </a:lnTo>
                  <a:lnTo>
                    <a:pt x="56" y="809"/>
                  </a:lnTo>
                  <a:lnTo>
                    <a:pt x="54" y="813"/>
                  </a:lnTo>
                  <a:lnTo>
                    <a:pt x="54" y="816"/>
                  </a:lnTo>
                  <a:lnTo>
                    <a:pt x="50" y="820"/>
                  </a:lnTo>
                  <a:lnTo>
                    <a:pt x="46" y="825"/>
                  </a:lnTo>
                  <a:lnTo>
                    <a:pt x="37" y="829"/>
                  </a:lnTo>
                  <a:lnTo>
                    <a:pt x="40" y="835"/>
                  </a:lnTo>
                  <a:lnTo>
                    <a:pt x="38" y="838"/>
                  </a:lnTo>
                  <a:lnTo>
                    <a:pt x="37" y="839"/>
                  </a:lnTo>
                  <a:lnTo>
                    <a:pt x="33" y="842"/>
                  </a:lnTo>
                  <a:lnTo>
                    <a:pt x="28" y="845"/>
                  </a:lnTo>
                  <a:lnTo>
                    <a:pt x="20" y="852"/>
                  </a:lnTo>
                  <a:lnTo>
                    <a:pt x="11" y="842"/>
                  </a:lnTo>
                  <a:lnTo>
                    <a:pt x="1" y="832"/>
                  </a:lnTo>
                  <a:lnTo>
                    <a:pt x="7" y="828"/>
                  </a:lnTo>
                  <a:lnTo>
                    <a:pt x="14" y="822"/>
                  </a:lnTo>
                  <a:lnTo>
                    <a:pt x="24" y="815"/>
                  </a:lnTo>
                  <a:lnTo>
                    <a:pt x="25" y="810"/>
                  </a:lnTo>
                  <a:lnTo>
                    <a:pt x="24" y="806"/>
                  </a:lnTo>
                  <a:lnTo>
                    <a:pt x="20" y="802"/>
                  </a:lnTo>
                  <a:lnTo>
                    <a:pt x="14" y="796"/>
                  </a:lnTo>
                  <a:lnTo>
                    <a:pt x="18" y="792"/>
                  </a:lnTo>
                  <a:lnTo>
                    <a:pt x="18" y="787"/>
                  </a:lnTo>
                  <a:lnTo>
                    <a:pt x="18" y="782"/>
                  </a:lnTo>
                  <a:lnTo>
                    <a:pt x="14" y="777"/>
                  </a:lnTo>
                  <a:lnTo>
                    <a:pt x="5" y="772"/>
                  </a:lnTo>
                  <a:lnTo>
                    <a:pt x="17" y="763"/>
                  </a:lnTo>
                  <a:lnTo>
                    <a:pt x="30" y="755"/>
                  </a:lnTo>
                  <a:lnTo>
                    <a:pt x="0" y="714"/>
                  </a:lnTo>
                  <a:lnTo>
                    <a:pt x="37" y="676"/>
                  </a:lnTo>
                  <a:lnTo>
                    <a:pt x="44" y="660"/>
                  </a:lnTo>
                  <a:lnTo>
                    <a:pt x="58" y="656"/>
                  </a:lnTo>
                  <a:lnTo>
                    <a:pt x="74" y="659"/>
                  </a:lnTo>
                  <a:lnTo>
                    <a:pt x="84" y="656"/>
                  </a:lnTo>
                  <a:lnTo>
                    <a:pt x="83" y="640"/>
                  </a:lnTo>
                  <a:lnTo>
                    <a:pt x="84" y="636"/>
                  </a:lnTo>
                  <a:lnTo>
                    <a:pt x="91" y="626"/>
                  </a:lnTo>
                  <a:lnTo>
                    <a:pt x="96" y="621"/>
                  </a:lnTo>
                  <a:lnTo>
                    <a:pt x="99" y="617"/>
                  </a:lnTo>
                  <a:lnTo>
                    <a:pt x="104" y="616"/>
                  </a:lnTo>
                  <a:lnTo>
                    <a:pt x="123" y="578"/>
                  </a:lnTo>
                  <a:lnTo>
                    <a:pt x="123" y="578"/>
                  </a:lnTo>
                  <a:lnTo>
                    <a:pt x="146" y="565"/>
                  </a:lnTo>
                  <a:lnTo>
                    <a:pt x="183" y="573"/>
                  </a:lnTo>
                  <a:lnTo>
                    <a:pt x="183" y="573"/>
                  </a:lnTo>
                  <a:lnTo>
                    <a:pt x="192" y="577"/>
                  </a:lnTo>
                  <a:lnTo>
                    <a:pt x="200" y="583"/>
                  </a:lnTo>
                  <a:lnTo>
                    <a:pt x="207" y="591"/>
                  </a:lnTo>
                  <a:lnTo>
                    <a:pt x="269" y="553"/>
                  </a:lnTo>
                  <a:lnTo>
                    <a:pt x="247" y="521"/>
                  </a:lnTo>
                  <a:lnTo>
                    <a:pt x="308" y="478"/>
                  </a:lnTo>
                  <a:lnTo>
                    <a:pt x="313" y="480"/>
                  </a:lnTo>
                  <a:lnTo>
                    <a:pt x="323" y="481"/>
                  </a:lnTo>
                  <a:lnTo>
                    <a:pt x="335" y="474"/>
                  </a:lnTo>
                  <a:lnTo>
                    <a:pt x="351" y="464"/>
                  </a:lnTo>
                  <a:lnTo>
                    <a:pt x="366" y="452"/>
                  </a:lnTo>
                  <a:lnTo>
                    <a:pt x="379" y="444"/>
                  </a:lnTo>
                  <a:lnTo>
                    <a:pt x="409" y="424"/>
                  </a:lnTo>
                  <a:lnTo>
                    <a:pt x="401" y="411"/>
                  </a:lnTo>
                  <a:lnTo>
                    <a:pt x="385" y="391"/>
                  </a:lnTo>
                  <a:lnTo>
                    <a:pt x="368" y="368"/>
                  </a:lnTo>
                  <a:lnTo>
                    <a:pt x="345" y="381"/>
                  </a:lnTo>
                  <a:lnTo>
                    <a:pt x="332" y="362"/>
                  </a:lnTo>
                  <a:lnTo>
                    <a:pt x="298" y="384"/>
                  </a:lnTo>
                  <a:lnTo>
                    <a:pt x="300" y="395"/>
                  </a:lnTo>
                  <a:lnTo>
                    <a:pt x="283" y="407"/>
                  </a:lnTo>
                  <a:lnTo>
                    <a:pt x="250" y="365"/>
                  </a:lnTo>
                  <a:lnTo>
                    <a:pt x="232" y="382"/>
                  </a:lnTo>
                  <a:lnTo>
                    <a:pt x="219" y="366"/>
                  </a:lnTo>
                  <a:lnTo>
                    <a:pt x="239" y="351"/>
                  </a:lnTo>
                  <a:lnTo>
                    <a:pt x="232" y="344"/>
                  </a:lnTo>
                  <a:lnTo>
                    <a:pt x="268" y="312"/>
                  </a:lnTo>
                  <a:lnTo>
                    <a:pt x="283" y="276"/>
                  </a:lnTo>
                  <a:lnTo>
                    <a:pt x="313" y="283"/>
                  </a:lnTo>
                  <a:lnTo>
                    <a:pt x="348" y="276"/>
                  </a:lnTo>
                  <a:lnTo>
                    <a:pt x="335" y="252"/>
                  </a:lnTo>
                  <a:lnTo>
                    <a:pt x="332" y="239"/>
                  </a:lnTo>
                  <a:lnTo>
                    <a:pt x="332" y="225"/>
                  </a:lnTo>
                  <a:lnTo>
                    <a:pt x="345" y="199"/>
                  </a:lnTo>
                  <a:lnTo>
                    <a:pt x="351" y="199"/>
                  </a:lnTo>
                  <a:lnTo>
                    <a:pt x="358" y="199"/>
                  </a:lnTo>
                  <a:lnTo>
                    <a:pt x="361" y="196"/>
                  </a:lnTo>
                  <a:lnTo>
                    <a:pt x="366" y="190"/>
                  </a:lnTo>
                  <a:lnTo>
                    <a:pt x="372" y="173"/>
                  </a:lnTo>
                  <a:lnTo>
                    <a:pt x="372" y="163"/>
                  </a:lnTo>
                  <a:lnTo>
                    <a:pt x="372" y="153"/>
                  </a:lnTo>
                  <a:lnTo>
                    <a:pt x="371" y="146"/>
                  </a:lnTo>
                  <a:lnTo>
                    <a:pt x="371" y="136"/>
                  </a:lnTo>
                  <a:lnTo>
                    <a:pt x="371" y="129"/>
                  </a:lnTo>
                  <a:lnTo>
                    <a:pt x="371" y="127"/>
                  </a:lnTo>
                  <a:lnTo>
                    <a:pt x="369" y="123"/>
                  </a:lnTo>
                  <a:lnTo>
                    <a:pt x="368" y="119"/>
                  </a:lnTo>
                  <a:lnTo>
                    <a:pt x="365" y="114"/>
                  </a:lnTo>
                  <a:lnTo>
                    <a:pt x="362" y="110"/>
                  </a:lnTo>
                  <a:lnTo>
                    <a:pt x="361" y="107"/>
                  </a:lnTo>
                  <a:lnTo>
                    <a:pt x="358" y="103"/>
                  </a:lnTo>
                  <a:lnTo>
                    <a:pt x="358" y="103"/>
                  </a:lnTo>
                  <a:lnTo>
                    <a:pt x="353" y="96"/>
                  </a:lnTo>
                  <a:lnTo>
                    <a:pt x="352" y="89"/>
                  </a:lnTo>
                  <a:lnTo>
                    <a:pt x="349" y="73"/>
                  </a:lnTo>
                  <a:lnTo>
                    <a:pt x="351" y="56"/>
                  </a:lnTo>
                  <a:lnTo>
                    <a:pt x="352" y="47"/>
                  </a:lnTo>
                  <a:lnTo>
                    <a:pt x="353" y="41"/>
                  </a:lnTo>
                  <a:lnTo>
                    <a:pt x="385" y="54"/>
                  </a:lnTo>
                  <a:lnTo>
                    <a:pt x="411" y="81"/>
                  </a:lnTo>
                  <a:lnTo>
                    <a:pt x="421" y="83"/>
                  </a:lnTo>
                  <a:lnTo>
                    <a:pt x="505" y="162"/>
                  </a:lnTo>
                  <a:lnTo>
                    <a:pt x="502" y="164"/>
                  </a:lnTo>
                  <a:lnTo>
                    <a:pt x="492" y="177"/>
                  </a:lnTo>
                  <a:lnTo>
                    <a:pt x="507" y="193"/>
                  </a:lnTo>
                  <a:lnTo>
                    <a:pt x="510" y="190"/>
                  </a:lnTo>
                  <a:lnTo>
                    <a:pt x="517" y="185"/>
                  </a:lnTo>
                  <a:lnTo>
                    <a:pt x="518" y="182"/>
                  </a:lnTo>
                  <a:lnTo>
                    <a:pt x="521" y="180"/>
                  </a:lnTo>
                  <a:lnTo>
                    <a:pt x="522" y="180"/>
                  </a:lnTo>
                  <a:lnTo>
                    <a:pt x="544" y="203"/>
                  </a:lnTo>
                  <a:lnTo>
                    <a:pt x="561" y="189"/>
                  </a:lnTo>
                  <a:lnTo>
                    <a:pt x="564" y="193"/>
                  </a:lnTo>
                  <a:lnTo>
                    <a:pt x="585" y="222"/>
                  </a:lnTo>
                  <a:lnTo>
                    <a:pt x="607" y="207"/>
                  </a:lnTo>
                  <a:lnTo>
                    <a:pt x="640" y="259"/>
                  </a:lnTo>
                  <a:lnTo>
                    <a:pt x="644" y="256"/>
                  </a:lnTo>
                  <a:lnTo>
                    <a:pt x="686" y="229"/>
                  </a:lnTo>
                  <a:lnTo>
                    <a:pt x="669" y="203"/>
                  </a:lnTo>
                  <a:lnTo>
                    <a:pt x="691" y="126"/>
                  </a:lnTo>
                  <a:lnTo>
                    <a:pt x="653" y="106"/>
                  </a:lnTo>
                  <a:lnTo>
                    <a:pt x="756" y="0"/>
                  </a:lnTo>
                  <a:lnTo>
                    <a:pt x="756" y="0"/>
                  </a:lnTo>
                  <a:lnTo>
                    <a:pt x="756" y="0"/>
                  </a:lnTo>
                  <a:close/>
                  <a:moveTo>
                    <a:pt x="892" y="992"/>
                  </a:moveTo>
                  <a:lnTo>
                    <a:pt x="888" y="994"/>
                  </a:lnTo>
                  <a:lnTo>
                    <a:pt x="883" y="995"/>
                  </a:lnTo>
                  <a:lnTo>
                    <a:pt x="875" y="1001"/>
                  </a:lnTo>
                  <a:lnTo>
                    <a:pt x="870" y="1007"/>
                  </a:lnTo>
                  <a:lnTo>
                    <a:pt x="870" y="1017"/>
                  </a:lnTo>
                  <a:lnTo>
                    <a:pt x="858" y="1025"/>
                  </a:lnTo>
                  <a:lnTo>
                    <a:pt x="892" y="99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03" name="Freeform 151"/>
            <p:cNvSpPr>
              <a:spLocks noEditPoints="1"/>
            </p:cNvSpPr>
            <p:nvPr/>
          </p:nvSpPr>
          <p:spPr bwMode="auto">
            <a:xfrm>
              <a:off x="3280023" y="3117564"/>
              <a:ext cx="1112460" cy="681296"/>
            </a:xfrm>
            <a:custGeom>
              <a:avLst/>
              <a:gdLst>
                <a:gd name="T0" fmla="*/ 1027 w 1820"/>
                <a:gd name="T1" fmla="*/ 38 h 1030"/>
                <a:gd name="T2" fmla="*/ 1406 w 1820"/>
                <a:gd name="T3" fmla="*/ 346 h 1030"/>
                <a:gd name="T4" fmla="*/ 1632 w 1820"/>
                <a:gd name="T5" fmla="*/ 355 h 1030"/>
                <a:gd name="T6" fmla="*/ 1667 w 1820"/>
                <a:gd name="T7" fmla="*/ 359 h 1030"/>
                <a:gd name="T8" fmla="*/ 1750 w 1820"/>
                <a:gd name="T9" fmla="*/ 313 h 1030"/>
                <a:gd name="T10" fmla="*/ 1791 w 1820"/>
                <a:gd name="T11" fmla="*/ 319 h 1030"/>
                <a:gd name="T12" fmla="*/ 1801 w 1820"/>
                <a:gd name="T13" fmla="*/ 352 h 1030"/>
                <a:gd name="T14" fmla="*/ 1787 w 1820"/>
                <a:gd name="T15" fmla="*/ 405 h 1030"/>
                <a:gd name="T16" fmla="*/ 1791 w 1820"/>
                <a:gd name="T17" fmla="*/ 431 h 1030"/>
                <a:gd name="T18" fmla="*/ 1781 w 1820"/>
                <a:gd name="T19" fmla="*/ 457 h 1030"/>
                <a:gd name="T20" fmla="*/ 1766 w 1820"/>
                <a:gd name="T21" fmla="*/ 462 h 1030"/>
                <a:gd name="T22" fmla="*/ 1744 w 1820"/>
                <a:gd name="T23" fmla="*/ 484 h 1030"/>
                <a:gd name="T24" fmla="*/ 1726 w 1820"/>
                <a:gd name="T25" fmla="*/ 490 h 1030"/>
                <a:gd name="T26" fmla="*/ 1685 w 1820"/>
                <a:gd name="T27" fmla="*/ 505 h 1030"/>
                <a:gd name="T28" fmla="*/ 1645 w 1820"/>
                <a:gd name="T29" fmla="*/ 530 h 1030"/>
                <a:gd name="T30" fmla="*/ 1597 w 1820"/>
                <a:gd name="T31" fmla="*/ 534 h 1030"/>
                <a:gd name="T32" fmla="*/ 1557 w 1820"/>
                <a:gd name="T33" fmla="*/ 533 h 1030"/>
                <a:gd name="T34" fmla="*/ 1511 w 1820"/>
                <a:gd name="T35" fmla="*/ 547 h 1030"/>
                <a:gd name="T36" fmla="*/ 1491 w 1820"/>
                <a:gd name="T37" fmla="*/ 558 h 1030"/>
                <a:gd name="T38" fmla="*/ 1465 w 1820"/>
                <a:gd name="T39" fmla="*/ 583 h 1030"/>
                <a:gd name="T40" fmla="*/ 1439 w 1820"/>
                <a:gd name="T41" fmla="*/ 587 h 1030"/>
                <a:gd name="T42" fmla="*/ 1352 w 1820"/>
                <a:gd name="T43" fmla="*/ 598 h 1030"/>
                <a:gd name="T44" fmla="*/ 1292 w 1820"/>
                <a:gd name="T45" fmla="*/ 633 h 1030"/>
                <a:gd name="T46" fmla="*/ 1254 w 1820"/>
                <a:gd name="T47" fmla="*/ 647 h 1030"/>
                <a:gd name="T48" fmla="*/ 1244 w 1820"/>
                <a:gd name="T49" fmla="*/ 614 h 1030"/>
                <a:gd name="T50" fmla="*/ 1188 w 1820"/>
                <a:gd name="T51" fmla="*/ 620 h 1030"/>
                <a:gd name="T52" fmla="*/ 1166 w 1820"/>
                <a:gd name="T53" fmla="*/ 634 h 1030"/>
                <a:gd name="T54" fmla="*/ 1151 w 1820"/>
                <a:gd name="T55" fmla="*/ 641 h 1030"/>
                <a:gd name="T56" fmla="*/ 1134 w 1820"/>
                <a:gd name="T57" fmla="*/ 682 h 1030"/>
                <a:gd name="T58" fmla="*/ 1123 w 1820"/>
                <a:gd name="T59" fmla="*/ 720 h 1030"/>
                <a:gd name="T60" fmla="*/ 1050 w 1820"/>
                <a:gd name="T61" fmla="*/ 783 h 1030"/>
                <a:gd name="T62" fmla="*/ 1015 w 1820"/>
                <a:gd name="T63" fmla="*/ 809 h 1030"/>
                <a:gd name="T64" fmla="*/ 981 w 1820"/>
                <a:gd name="T65" fmla="*/ 855 h 1030"/>
                <a:gd name="T66" fmla="*/ 959 w 1820"/>
                <a:gd name="T67" fmla="*/ 925 h 1030"/>
                <a:gd name="T68" fmla="*/ 892 w 1820"/>
                <a:gd name="T69" fmla="*/ 992 h 1030"/>
                <a:gd name="T70" fmla="*/ 681 w 1820"/>
                <a:gd name="T71" fmla="*/ 924 h 1030"/>
                <a:gd name="T72" fmla="*/ 563 w 1820"/>
                <a:gd name="T73" fmla="*/ 899 h 1030"/>
                <a:gd name="T74" fmla="*/ 406 w 1820"/>
                <a:gd name="T75" fmla="*/ 790 h 1030"/>
                <a:gd name="T76" fmla="*/ 305 w 1820"/>
                <a:gd name="T77" fmla="*/ 833 h 1030"/>
                <a:gd name="T78" fmla="*/ 279 w 1820"/>
                <a:gd name="T79" fmla="*/ 835 h 1030"/>
                <a:gd name="T80" fmla="*/ 222 w 1820"/>
                <a:gd name="T81" fmla="*/ 853 h 1030"/>
                <a:gd name="T82" fmla="*/ 203 w 1820"/>
                <a:gd name="T83" fmla="*/ 835 h 1030"/>
                <a:gd name="T84" fmla="*/ 174 w 1820"/>
                <a:gd name="T85" fmla="*/ 820 h 1030"/>
                <a:gd name="T86" fmla="*/ 140 w 1820"/>
                <a:gd name="T87" fmla="*/ 815 h 1030"/>
                <a:gd name="T88" fmla="*/ 99 w 1820"/>
                <a:gd name="T89" fmla="*/ 795 h 1030"/>
                <a:gd name="T90" fmla="*/ 54 w 1820"/>
                <a:gd name="T91" fmla="*/ 813 h 1030"/>
                <a:gd name="T92" fmla="*/ 28 w 1820"/>
                <a:gd name="T93" fmla="*/ 845 h 1030"/>
                <a:gd name="T94" fmla="*/ 20 w 1820"/>
                <a:gd name="T95" fmla="*/ 802 h 1030"/>
                <a:gd name="T96" fmla="*/ 0 w 1820"/>
                <a:gd name="T97" fmla="*/ 714 h 1030"/>
                <a:gd name="T98" fmla="*/ 96 w 1820"/>
                <a:gd name="T99" fmla="*/ 621 h 1030"/>
                <a:gd name="T100" fmla="*/ 200 w 1820"/>
                <a:gd name="T101" fmla="*/ 583 h 1030"/>
                <a:gd name="T102" fmla="*/ 366 w 1820"/>
                <a:gd name="T103" fmla="*/ 452 h 1030"/>
                <a:gd name="T104" fmla="*/ 300 w 1820"/>
                <a:gd name="T105" fmla="*/ 395 h 1030"/>
                <a:gd name="T106" fmla="*/ 313 w 1820"/>
                <a:gd name="T107" fmla="*/ 283 h 1030"/>
                <a:gd name="T108" fmla="*/ 366 w 1820"/>
                <a:gd name="T109" fmla="*/ 190 h 1030"/>
                <a:gd name="T110" fmla="*/ 368 w 1820"/>
                <a:gd name="T111" fmla="*/ 119 h 1030"/>
                <a:gd name="T112" fmla="*/ 351 w 1820"/>
                <a:gd name="T113" fmla="*/ 56 h 1030"/>
                <a:gd name="T114" fmla="*/ 507 w 1820"/>
                <a:gd name="T115" fmla="*/ 193 h 1030"/>
                <a:gd name="T116" fmla="*/ 585 w 1820"/>
                <a:gd name="T117" fmla="*/ 222 h 1030"/>
                <a:gd name="T118" fmla="*/ 892 w 1820"/>
                <a:gd name="T119" fmla="*/ 992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20" h="1030">
                  <a:moveTo>
                    <a:pt x="756" y="0"/>
                  </a:moveTo>
                  <a:lnTo>
                    <a:pt x="856" y="17"/>
                  </a:lnTo>
                  <a:lnTo>
                    <a:pt x="956" y="33"/>
                  </a:lnTo>
                  <a:lnTo>
                    <a:pt x="958" y="28"/>
                  </a:lnTo>
                  <a:lnTo>
                    <a:pt x="962" y="23"/>
                  </a:lnTo>
                  <a:lnTo>
                    <a:pt x="968" y="20"/>
                  </a:lnTo>
                  <a:lnTo>
                    <a:pt x="971" y="18"/>
                  </a:lnTo>
                  <a:lnTo>
                    <a:pt x="1012" y="20"/>
                  </a:lnTo>
                  <a:lnTo>
                    <a:pt x="1027" y="38"/>
                  </a:lnTo>
                  <a:lnTo>
                    <a:pt x="1061" y="77"/>
                  </a:lnTo>
                  <a:lnTo>
                    <a:pt x="1088" y="106"/>
                  </a:lnTo>
                  <a:lnTo>
                    <a:pt x="1113" y="127"/>
                  </a:lnTo>
                  <a:lnTo>
                    <a:pt x="1164" y="167"/>
                  </a:lnTo>
                  <a:lnTo>
                    <a:pt x="1249" y="232"/>
                  </a:lnTo>
                  <a:lnTo>
                    <a:pt x="1359" y="313"/>
                  </a:lnTo>
                  <a:lnTo>
                    <a:pt x="1395" y="338"/>
                  </a:lnTo>
                  <a:lnTo>
                    <a:pt x="1389" y="345"/>
                  </a:lnTo>
                  <a:lnTo>
                    <a:pt x="1406" y="346"/>
                  </a:lnTo>
                  <a:lnTo>
                    <a:pt x="1472" y="392"/>
                  </a:lnTo>
                  <a:lnTo>
                    <a:pt x="1505" y="389"/>
                  </a:lnTo>
                  <a:lnTo>
                    <a:pt x="1584" y="389"/>
                  </a:lnTo>
                  <a:lnTo>
                    <a:pt x="1604" y="372"/>
                  </a:lnTo>
                  <a:lnTo>
                    <a:pt x="1605" y="369"/>
                  </a:lnTo>
                  <a:lnTo>
                    <a:pt x="1614" y="361"/>
                  </a:lnTo>
                  <a:lnTo>
                    <a:pt x="1622" y="358"/>
                  </a:lnTo>
                  <a:lnTo>
                    <a:pt x="1628" y="355"/>
                  </a:lnTo>
                  <a:lnTo>
                    <a:pt x="1632" y="355"/>
                  </a:lnTo>
                  <a:lnTo>
                    <a:pt x="1637" y="355"/>
                  </a:lnTo>
                  <a:lnTo>
                    <a:pt x="1638" y="355"/>
                  </a:lnTo>
                  <a:lnTo>
                    <a:pt x="1642" y="352"/>
                  </a:lnTo>
                  <a:lnTo>
                    <a:pt x="1647" y="352"/>
                  </a:lnTo>
                  <a:lnTo>
                    <a:pt x="1650" y="355"/>
                  </a:lnTo>
                  <a:lnTo>
                    <a:pt x="1650" y="359"/>
                  </a:lnTo>
                  <a:lnTo>
                    <a:pt x="1650" y="364"/>
                  </a:lnTo>
                  <a:lnTo>
                    <a:pt x="1664" y="366"/>
                  </a:lnTo>
                  <a:lnTo>
                    <a:pt x="1667" y="359"/>
                  </a:lnTo>
                  <a:lnTo>
                    <a:pt x="1687" y="348"/>
                  </a:lnTo>
                  <a:lnTo>
                    <a:pt x="1687" y="345"/>
                  </a:lnTo>
                  <a:lnTo>
                    <a:pt x="1688" y="339"/>
                  </a:lnTo>
                  <a:lnTo>
                    <a:pt x="1694" y="335"/>
                  </a:lnTo>
                  <a:lnTo>
                    <a:pt x="1700" y="333"/>
                  </a:lnTo>
                  <a:lnTo>
                    <a:pt x="1704" y="332"/>
                  </a:lnTo>
                  <a:lnTo>
                    <a:pt x="1710" y="329"/>
                  </a:lnTo>
                  <a:lnTo>
                    <a:pt x="1750" y="313"/>
                  </a:lnTo>
                  <a:lnTo>
                    <a:pt x="1750" y="313"/>
                  </a:lnTo>
                  <a:lnTo>
                    <a:pt x="1753" y="312"/>
                  </a:lnTo>
                  <a:lnTo>
                    <a:pt x="1754" y="311"/>
                  </a:lnTo>
                  <a:lnTo>
                    <a:pt x="1761" y="309"/>
                  </a:lnTo>
                  <a:lnTo>
                    <a:pt x="1771" y="311"/>
                  </a:lnTo>
                  <a:lnTo>
                    <a:pt x="1776" y="313"/>
                  </a:lnTo>
                  <a:lnTo>
                    <a:pt x="1780" y="316"/>
                  </a:lnTo>
                  <a:lnTo>
                    <a:pt x="1784" y="318"/>
                  </a:lnTo>
                  <a:lnTo>
                    <a:pt x="1789" y="318"/>
                  </a:lnTo>
                  <a:lnTo>
                    <a:pt x="1791" y="319"/>
                  </a:lnTo>
                  <a:lnTo>
                    <a:pt x="1797" y="322"/>
                  </a:lnTo>
                  <a:lnTo>
                    <a:pt x="1820" y="333"/>
                  </a:lnTo>
                  <a:lnTo>
                    <a:pt x="1820" y="333"/>
                  </a:lnTo>
                  <a:lnTo>
                    <a:pt x="1819" y="335"/>
                  </a:lnTo>
                  <a:lnTo>
                    <a:pt x="1817" y="336"/>
                  </a:lnTo>
                  <a:lnTo>
                    <a:pt x="1814" y="341"/>
                  </a:lnTo>
                  <a:lnTo>
                    <a:pt x="1814" y="341"/>
                  </a:lnTo>
                  <a:lnTo>
                    <a:pt x="1809" y="346"/>
                  </a:lnTo>
                  <a:lnTo>
                    <a:pt x="1801" y="352"/>
                  </a:lnTo>
                  <a:lnTo>
                    <a:pt x="1801" y="352"/>
                  </a:lnTo>
                  <a:lnTo>
                    <a:pt x="1789" y="366"/>
                  </a:lnTo>
                  <a:lnTo>
                    <a:pt x="1784" y="374"/>
                  </a:lnTo>
                  <a:lnTo>
                    <a:pt x="1780" y="382"/>
                  </a:lnTo>
                  <a:lnTo>
                    <a:pt x="1777" y="389"/>
                  </a:lnTo>
                  <a:lnTo>
                    <a:pt x="1777" y="395"/>
                  </a:lnTo>
                  <a:lnTo>
                    <a:pt x="1778" y="399"/>
                  </a:lnTo>
                  <a:lnTo>
                    <a:pt x="1783" y="402"/>
                  </a:lnTo>
                  <a:lnTo>
                    <a:pt x="1787" y="405"/>
                  </a:lnTo>
                  <a:lnTo>
                    <a:pt x="1793" y="407"/>
                  </a:lnTo>
                  <a:lnTo>
                    <a:pt x="1796" y="408"/>
                  </a:lnTo>
                  <a:lnTo>
                    <a:pt x="1797" y="411"/>
                  </a:lnTo>
                  <a:lnTo>
                    <a:pt x="1799" y="412"/>
                  </a:lnTo>
                  <a:lnTo>
                    <a:pt x="1801" y="414"/>
                  </a:lnTo>
                  <a:lnTo>
                    <a:pt x="1801" y="417"/>
                  </a:lnTo>
                  <a:lnTo>
                    <a:pt x="1801" y="421"/>
                  </a:lnTo>
                  <a:lnTo>
                    <a:pt x="1797" y="425"/>
                  </a:lnTo>
                  <a:lnTo>
                    <a:pt x="1791" y="431"/>
                  </a:lnTo>
                  <a:lnTo>
                    <a:pt x="1789" y="434"/>
                  </a:lnTo>
                  <a:lnTo>
                    <a:pt x="1791" y="437"/>
                  </a:lnTo>
                  <a:lnTo>
                    <a:pt x="1796" y="441"/>
                  </a:lnTo>
                  <a:lnTo>
                    <a:pt x="1797" y="444"/>
                  </a:lnTo>
                  <a:lnTo>
                    <a:pt x="1796" y="447"/>
                  </a:lnTo>
                  <a:lnTo>
                    <a:pt x="1793" y="451"/>
                  </a:lnTo>
                  <a:lnTo>
                    <a:pt x="1787" y="455"/>
                  </a:lnTo>
                  <a:lnTo>
                    <a:pt x="1784" y="457"/>
                  </a:lnTo>
                  <a:lnTo>
                    <a:pt x="1781" y="457"/>
                  </a:lnTo>
                  <a:lnTo>
                    <a:pt x="1781" y="449"/>
                  </a:lnTo>
                  <a:lnTo>
                    <a:pt x="1778" y="448"/>
                  </a:lnTo>
                  <a:lnTo>
                    <a:pt x="1776" y="447"/>
                  </a:lnTo>
                  <a:lnTo>
                    <a:pt x="1771" y="447"/>
                  </a:lnTo>
                  <a:lnTo>
                    <a:pt x="1760" y="452"/>
                  </a:lnTo>
                  <a:lnTo>
                    <a:pt x="1757" y="457"/>
                  </a:lnTo>
                  <a:lnTo>
                    <a:pt x="1756" y="460"/>
                  </a:lnTo>
                  <a:lnTo>
                    <a:pt x="1757" y="461"/>
                  </a:lnTo>
                  <a:lnTo>
                    <a:pt x="1766" y="462"/>
                  </a:lnTo>
                  <a:lnTo>
                    <a:pt x="1771" y="465"/>
                  </a:lnTo>
                  <a:lnTo>
                    <a:pt x="1774" y="468"/>
                  </a:lnTo>
                  <a:lnTo>
                    <a:pt x="1774" y="472"/>
                  </a:lnTo>
                  <a:lnTo>
                    <a:pt x="1773" y="480"/>
                  </a:lnTo>
                  <a:lnTo>
                    <a:pt x="1768" y="482"/>
                  </a:lnTo>
                  <a:lnTo>
                    <a:pt x="1761" y="484"/>
                  </a:lnTo>
                  <a:lnTo>
                    <a:pt x="1753" y="485"/>
                  </a:lnTo>
                  <a:lnTo>
                    <a:pt x="1748" y="485"/>
                  </a:lnTo>
                  <a:lnTo>
                    <a:pt x="1744" y="484"/>
                  </a:lnTo>
                  <a:lnTo>
                    <a:pt x="1743" y="481"/>
                  </a:lnTo>
                  <a:lnTo>
                    <a:pt x="1740" y="481"/>
                  </a:lnTo>
                  <a:lnTo>
                    <a:pt x="1737" y="481"/>
                  </a:lnTo>
                  <a:lnTo>
                    <a:pt x="1737" y="484"/>
                  </a:lnTo>
                  <a:lnTo>
                    <a:pt x="1737" y="488"/>
                  </a:lnTo>
                  <a:lnTo>
                    <a:pt x="1736" y="490"/>
                  </a:lnTo>
                  <a:lnTo>
                    <a:pt x="1731" y="491"/>
                  </a:lnTo>
                  <a:lnTo>
                    <a:pt x="1727" y="492"/>
                  </a:lnTo>
                  <a:lnTo>
                    <a:pt x="1726" y="490"/>
                  </a:lnTo>
                  <a:lnTo>
                    <a:pt x="1724" y="488"/>
                  </a:lnTo>
                  <a:lnTo>
                    <a:pt x="1721" y="488"/>
                  </a:lnTo>
                  <a:lnTo>
                    <a:pt x="1720" y="490"/>
                  </a:lnTo>
                  <a:lnTo>
                    <a:pt x="1717" y="492"/>
                  </a:lnTo>
                  <a:lnTo>
                    <a:pt x="1711" y="494"/>
                  </a:lnTo>
                  <a:lnTo>
                    <a:pt x="1701" y="497"/>
                  </a:lnTo>
                  <a:lnTo>
                    <a:pt x="1694" y="498"/>
                  </a:lnTo>
                  <a:lnTo>
                    <a:pt x="1688" y="500"/>
                  </a:lnTo>
                  <a:lnTo>
                    <a:pt x="1685" y="505"/>
                  </a:lnTo>
                  <a:lnTo>
                    <a:pt x="1680" y="505"/>
                  </a:lnTo>
                  <a:lnTo>
                    <a:pt x="1675" y="508"/>
                  </a:lnTo>
                  <a:lnTo>
                    <a:pt x="1674" y="514"/>
                  </a:lnTo>
                  <a:lnTo>
                    <a:pt x="1671" y="521"/>
                  </a:lnTo>
                  <a:lnTo>
                    <a:pt x="1668" y="524"/>
                  </a:lnTo>
                  <a:lnTo>
                    <a:pt x="1664" y="530"/>
                  </a:lnTo>
                  <a:lnTo>
                    <a:pt x="1658" y="531"/>
                  </a:lnTo>
                  <a:lnTo>
                    <a:pt x="1654" y="530"/>
                  </a:lnTo>
                  <a:lnTo>
                    <a:pt x="1645" y="530"/>
                  </a:lnTo>
                  <a:lnTo>
                    <a:pt x="1640" y="530"/>
                  </a:lnTo>
                  <a:lnTo>
                    <a:pt x="1634" y="528"/>
                  </a:lnTo>
                  <a:lnTo>
                    <a:pt x="1628" y="528"/>
                  </a:lnTo>
                  <a:lnTo>
                    <a:pt x="1625" y="530"/>
                  </a:lnTo>
                  <a:lnTo>
                    <a:pt x="1622" y="534"/>
                  </a:lnTo>
                  <a:lnTo>
                    <a:pt x="1617" y="534"/>
                  </a:lnTo>
                  <a:lnTo>
                    <a:pt x="1611" y="534"/>
                  </a:lnTo>
                  <a:lnTo>
                    <a:pt x="1602" y="535"/>
                  </a:lnTo>
                  <a:lnTo>
                    <a:pt x="1597" y="534"/>
                  </a:lnTo>
                  <a:lnTo>
                    <a:pt x="1589" y="530"/>
                  </a:lnTo>
                  <a:lnTo>
                    <a:pt x="1585" y="527"/>
                  </a:lnTo>
                  <a:lnTo>
                    <a:pt x="1579" y="525"/>
                  </a:lnTo>
                  <a:lnTo>
                    <a:pt x="1577" y="525"/>
                  </a:lnTo>
                  <a:lnTo>
                    <a:pt x="1572" y="530"/>
                  </a:lnTo>
                  <a:lnTo>
                    <a:pt x="1569" y="533"/>
                  </a:lnTo>
                  <a:lnTo>
                    <a:pt x="1565" y="533"/>
                  </a:lnTo>
                  <a:lnTo>
                    <a:pt x="1561" y="533"/>
                  </a:lnTo>
                  <a:lnTo>
                    <a:pt x="1557" y="533"/>
                  </a:lnTo>
                  <a:lnTo>
                    <a:pt x="1551" y="534"/>
                  </a:lnTo>
                  <a:lnTo>
                    <a:pt x="1546" y="534"/>
                  </a:lnTo>
                  <a:lnTo>
                    <a:pt x="1544" y="534"/>
                  </a:lnTo>
                  <a:lnTo>
                    <a:pt x="1541" y="533"/>
                  </a:lnTo>
                  <a:lnTo>
                    <a:pt x="1538" y="533"/>
                  </a:lnTo>
                  <a:lnTo>
                    <a:pt x="1532" y="534"/>
                  </a:lnTo>
                  <a:lnTo>
                    <a:pt x="1515" y="543"/>
                  </a:lnTo>
                  <a:lnTo>
                    <a:pt x="1512" y="544"/>
                  </a:lnTo>
                  <a:lnTo>
                    <a:pt x="1511" y="547"/>
                  </a:lnTo>
                  <a:lnTo>
                    <a:pt x="1515" y="553"/>
                  </a:lnTo>
                  <a:lnTo>
                    <a:pt x="1515" y="555"/>
                  </a:lnTo>
                  <a:lnTo>
                    <a:pt x="1509" y="561"/>
                  </a:lnTo>
                  <a:lnTo>
                    <a:pt x="1508" y="561"/>
                  </a:lnTo>
                  <a:lnTo>
                    <a:pt x="1506" y="560"/>
                  </a:lnTo>
                  <a:lnTo>
                    <a:pt x="1504" y="555"/>
                  </a:lnTo>
                  <a:lnTo>
                    <a:pt x="1498" y="553"/>
                  </a:lnTo>
                  <a:lnTo>
                    <a:pt x="1493" y="554"/>
                  </a:lnTo>
                  <a:lnTo>
                    <a:pt x="1491" y="558"/>
                  </a:lnTo>
                  <a:lnTo>
                    <a:pt x="1486" y="564"/>
                  </a:lnTo>
                  <a:lnTo>
                    <a:pt x="1481" y="567"/>
                  </a:lnTo>
                  <a:lnTo>
                    <a:pt x="1476" y="568"/>
                  </a:lnTo>
                  <a:lnTo>
                    <a:pt x="1469" y="570"/>
                  </a:lnTo>
                  <a:lnTo>
                    <a:pt x="1465" y="573"/>
                  </a:lnTo>
                  <a:lnTo>
                    <a:pt x="1465" y="574"/>
                  </a:lnTo>
                  <a:lnTo>
                    <a:pt x="1465" y="578"/>
                  </a:lnTo>
                  <a:lnTo>
                    <a:pt x="1466" y="581"/>
                  </a:lnTo>
                  <a:lnTo>
                    <a:pt x="1465" y="583"/>
                  </a:lnTo>
                  <a:lnTo>
                    <a:pt x="1463" y="584"/>
                  </a:lnTo>
                  <a:lnTo>
                    <a:pt x="1458" y="584"/>
                  </a:lnTo>
                  <a:lnTo>
                    <a:pt x="1456" y="584"/>
                  </a:lnTo>
                  <a:lnTo>
                    <a:pt x="1453" y="590"/>
                  </a:lnTo>
                  <a:lnTo>
                    <a:pt x="1452" y="591"/>
                  </a:lnTo>
                  <a:lnTo>
                    <a:pt x="1449" y="591"/>
                  </a:lnTo>
                  <a:lnTo>
                    <a:pt x="1448" y="591"/>
                  </a:lnTo>
                  <a:lnTo>
                    <a:pt x="1442" y="588"/>
                  </a:lnTo>
                  <a:lnTo>
                    <a:pt x="1439" y="587"/>
                  </a:lnTo>
                  <a:lnTo>
                    <a:pt x="1436" y="588"/>
                  </a:lnTo>
                  <a:lnTo>
                    <a:pt x="1430" y="590"/>
                  </a:lnTo>
                  <a:lnTo>
                    <a:pt x="1415" y="588"/>
                  </a:lnTo>
                  <a:lnTo>
                    <a:pt x="1405" y="590"/>
                  </a:lnTo>
                  <a:lnTo>
                    <a:pt x="1389" y="590"/>
                  </a:lnTo>
                  <a:lnTo>
                    <a:pt x="1379" y="591"/>
                  </a:lnTo>
                  <a:lnTo>
                    <a:pt x="1372" y="594"/>
                  </a:lnTo>
                  <a:lnTo>
                    <a:pt x="1362" y="596"/>
                  </a:lnTo>
                  <a:lnTo>
                    <a:pt x="1352" y="598"/>
                  </a:lnTo>
                  <a:lnTo>
                    <a:pt x="1342" y="606"/>
                  </a:lnTo>
                  <a:lnTo>
                    <a:pt x="1333" y="611"/>
                  </a:lnTo>
                  <a:lnTo>
                    <a:pt x="1322" y="614"/>
                  </a:lnTo>
                  <a:lnTo>
                    <a:pt x="1316" y="618"/>
                  </a:lnTo>
                  <a:lnTo>
                    <a:pt x="1313" y="621"/>
                  </a:lnTo>
                  <a:lnTo>
                    <a:pt x="1310" y="629"/>
                  </a:lnTo>
                  <a:lnTo>
                    <a:pt x="1306" y="630"/>
                  </a:lnTo>
                  <a:lnTo>
                    <a:pt x="1300" y="631"/>
                  </a:lnTo>
                  <a:lnTo>
                    <a:pt x="1292" y="633"/>
                  </a:lnTo>
                  <a:lnTo>
                    <a:pt x="1287" y="634"/>
                  </a:lnTo>
                  <a:lnTo>
                    <a:pt x="1284" y="637"/>
                  </a:lnTo>
                  <a:lnTo>
                    <a:pt x="1283" y="641"/>
                  </a:lnTo>
                  <a:lnTo>
                    <a:pt x="1280" y="643"/>
                  </a:lnTo>
                  <a:lnTo>
                    <a:pt x="1273" y="643"/>
                  </a:lnTo>
                  <a:lnTo>
                    <a:pt x="1266" y="639"/>
                  </a:lnTo>
                  <a:lnTo>
                    <a:pt x="1261" y="639"/>
                  </a:lnTo>
                  <a:lnTo>
                    <a:pt x="1259" y="641"/>
                  </a:lnTo>
                  <a:lnTo>
                    <a:pt x="1254" y="647"/>
                  </a:lnTo>
                  <a:lnTo>
                    <a:pt x="1251" y="649"/>
                  </a:lnTo>
                  <a:lnTo>
                    <a:pt x="1243" y="646"/>
                  </a:lnTo>
                  <a:lnTo>
                    <a:pt x="1239" y="644"/>
                  </a:lnTo>
                  <a:lnTo>
                    <a:pt x="1239" y="643"/>
                  </a:lnTo>
                  <a:lnTo>
                    <a:pt x="1239" y="639"/>
                  </a:lnTo>
                  <a:lnTo>
                    <a:pt x="1241" y="630"/>
                  </a:lnTo>
                  <a:lnTo>
                    <a:pt x="1246" y="623"/>
                  </a:lnTo>
                  <a:lnTo>
                    <a:pt x="1246" y="618"/>
                  </a:lnTo>
                  <a:lnTo>
                    <a:pt x="1244" y="614"/>
                  </a:lnTo>
                  <a:lnTo>
                    <a:pt x="1239" y="613"/>
                  </a:lnTo>
                  <a:lnTo>
                    <a:pt x="1231" y="607"/>
                  </a:lnTo>
                  <a:lnTo>
                    <a:pt x="1227" y="604"/>
                  </a:lnTo>
                  <a:lnTo>
                    <a:pt x="1221" y="607"/>
                  </a:lnTo>
                  <a:lnTo>
                    <a:pt x="1214" y="613"/>
                  </a:lnTo>
                  <a:lnTo>
                    <a:pt x="1206" y="618"/>
                  </a:lnTo>
                  <a:lnTo>
                    <a:pt x="1200" y="620"/>
                  </a:lnTo>
                  <a:lnTo>
                    <a:pt x="1194" y="618"/>
                  </a:lnTo>
                  <a:lnTo>
                    <a:pt x="1188" y="620"/>
                  </a:lnTo>
                  <a:lnTo>
                    <a:pt x="1184" y="623"/>
                  </a:lnTo>
                  <a:lnTo>
                    <a:pt x="1180" y="627"/>
                  </a:lnTo>
                  <a:lnTo>
                    <a:pt x="1177" y="626"/>
                  </a:lnTo>
                  <a:lnTo>
                    <a:pt x="1174" y="623"/>
                  </a:lnTo>
                  <a:lnTo>
                    <a:pt x="1173" y="623"/>
                  </a:lnTo>
                  <a:lnTo>
                    <a:pt x="1168" y="624"/>
                  </a:lnTo>
                  <a:lnTo>
                    <a:pt x="1166" y="627"/>
                  </a:lnTo>
                  <a:lnTo>
                    <a:pt x="1164" y="631"/>
                  </a:lnTo>
                  <a:lnTo>
                    <a:pt x="1166" y="634"/>
                  </a:lnTo>
                  <a:lnTo>
                    <a:pt x="1168" y="637"/>
                  </a:lnTo>
                  <a:lnTo>
                    <a:pt x="1168" y="640"/>
                  </a:lnTo>
                  <a:lnTo>
                    <a:pt x="1168" y="641"/>
                  </a:lnTo>
                  <a:lnTo>
                    <a:pt x="1167" y="643"/>
                  </a:lnTo>
                  <a:lnTo>
                    <a:pt x="1163" y="643"/>
                  </a:lnTo>
                  <a:lnTo>
                    <a:pt x="1160" y="641"/>
                  </a:lnTo>
                  <a:lnTo>
                    <a:pt x="1157" y="640"/>
                  </a:lnTo>
                  <a:lnTo>
                    <a:pt x="1154" y="640"/>
                  </a:lnTo>
                  <a:lnTo>
                    <a:pt x="1151" y="641"/>
                  </a:lnTo>
                  <a:lnTo>
                    <a:pt x="1147" y="644"/>
                  </a:lnTo>
                  <a:lnTo>
                    <a:pt x="1141" y="651"/>
                  </a:lnTo>
                  <a:lnTo>
                    <a:pt x="1137" y="657"/>
                  </a:lnTo>
                  <a:lnTo>
                    <a:pt x="1135" y="660"/>
                  </a:lnTo>
                  <a:lnTo>
                    <a:pt x="1137" y="663"/>
                  </a:lnTo>
                  <a:lnTo>
                    <a:pt x="1140" y="666"/>
                  </a:lnTo>
                  <a:lnTo>
                    <a:pt x="1138" y="669"/>
                  </a:lnTo>
                  <a:lnTo>
                    <a:pt x="1137" y="674"/>
                  </a:lnTo>
                  <a:lnTo>
                    <a:pt x="1134" y="682"/>
                  </a:lnTo>
                  <a:lnTo>
                    <a:pt x="1127" y="686"/>
                  </a:lnTo>
                  <a:lnTo>
                    <a:pt x="1118" y="693"/>
                  </a:lnTo>
                  <a:lnTo>
                    <a:pt x="1115" y="700"/>
                  </a:lnTo>
                  <a:lnTo>
                    <a:pt x="1117" y="710"/>
                  </a:lnTo>
                  <a:lnTo>
                    <a:pt x="1115" y="714"/>
                  </a:lnTo>
                  <a:lnTo>
                    <a:pt x="1117" y="716"/>
                  </a:lnTo>
                  <a:lnTo>
                    <a:pt x="1121" y="716"/>
                  </a:lnTo>
                  <a:lnTo>
                    <a:pt x="1123" y="717"/>
                  </a:lnTo>
                  <a:lnTo>
                    <a:pt x="1123" y="720"/>
                  </a:lnTo>
                  <a:lnTo>
                    <a:pt x="1120" y="724"/>
                  </a:lnTo>
                  <a:lnTo>
                    <a:pt x="1113" y="729"/>
                  </a:lnTo>
                  <a:lnTo>
                    <a:pt x="1104" y="734"/>
                  </a:lnTo>
                  <a:lnTo>
                    <a:pt x="1094" y="739"/>
                  </a:lnTo>
                  <a:lnTo>
                    <a:pt x="1082" y="745"/>
                  </a:lnTo>
                  <a:lnTo>
                    <a:pt x="1077" y="750"/>
                  </a:lnTo>
                  <a:lnTo>
                    <a:pt x="1067" y="763"/>
                  </a:lnTo>
                  <a:lnTo>
                    <a:pt x="1055" y="777"/>
                  </a:lnTo>
                  <a:lnTo>
                    <a:pt x="1050" y="783"/>
                  </a:lnTo>
                  <a:lnTo>
                    <a:pt x="1042" y="786"/>
                  </a:lnTo>
                  <a:lnTo>
                    <a:pt x="1035" y="790"/>
                  </a:lnTo>
                  <a:lnTo>
                    <a:pt x="1028" y="795"/>
                  </a:lnTo>
                  <a:lnTo>
                    <a:pt x="1027" y="798"/>
                  </a:lnTo>
                  <a:lnTo>
                    <a:pt x="1025" y="802"/>
                  </a:lnTo>
                  <a:lnTo>
                    <a:pt x="1022" y="802"/>
                  </a:lnTo>
                  <a:lnTo>
                    <a:pt x="1019" y="802"/>
                  </a:lnTo>
                  <a:lnTo>
                    <a:pt x="1018" y="805"/>
                  </a:lnTo>
                  <a:lnTo>
                    <a:pt x="1015" y="809"/>
                  </a:lnTo>
                  <a:lnTo>
                    <a:pt x="1008" y="822"/>
                  </a:lnTo>
                  <a:lnTo>
                    <a:pt x="1001" y="829"/>
                  </a:lnTo>
                  <a:lnTo>
                    <a:pt x="994" y="833"/>
                  </a:lnTo>
                  <a:lnTo>
                    <a:pt x="988" y="833"/>
                  </a:lnTo>
                  <a:lnTo>
                    <a:pt x="984" y="836"/>
                  </a:lnTo>
                  <a:lnTo>
                    <a:pt x="982" y="840"/>
                  </a:lnTo>
                  <a:lnTo>
                    <a:pt x="979" y="846"/>
                  </a:lnTo>
                  <a:lnTo>
                    <a:pt x="981" y="851"/>
                  </a:lnTo>
                  <a:lnTo>
                    <a:pt x="981" y="855"/>
                  </a:lnTo>
                  <a:lnTo>
                    <a:pt x="981" y="858"/>
                  </a:lnTo>
                  <a:lnTo>
                    <a:pt x="982" y="865"/>
                  </a:lnTo>
                  <a:lnTo>
                    <a:pt x="976" y="875"/>
                  </a:lnTo>
                  <a:lnTo>
                    <a:pt x="971" y="882"/>
                  </a:lnTo>
                  <a:lnTo>
                    <a:pt x="959" y="889"/>
                  </a:lnTo>
                  <a:lnTo>
                    <a:pt x="951" y="911"/>
                  </a:lnTo>
                  <a:lnTo>
                    <a:pt x="951" y="918"/>
                  </a:lnTo>
                  <a:lnTo>
                    <a:pt x="956" y="921"/>
                  </a:lnTo>
                  <a:lnTo>
                    <a:pt x="959" y="925"/>
                  </a:lnTo>
                  <a:lnTo>
                    <a:pt x="949" y="932"/>
                  </a:lnTo>
                  <a:lnTo>
                    <a:pt x="936" y="944"/>
                  </a:lnTo>
                  <a:lnTo>
                    <a:pt x="932" y="946"/>
                  </a:lnTo>
                  <a:lnTo>
                    <a:pt x="928" y="946"/>
                  </a:lnTo>
                  <a:lnTo>
                    <a:pt x="926" y="952"/>
                  </a:lnTo>
                  <a:lnTo>
                    <a:pt x="923" y="955"/>
                  </a:lnTo>
                  <a:lnTo>
                    <a:pt x="911" y="961"/>
                  </a:lnTo>
                  <a:lnTo>
                    <a:pt x="901" y="969"/>
                  </a:lnTo>
                  <a:lnTo>
                    <a:pt x="892" y="992"/>
                  </a:lnTo>
                  <a:lnTo>
                    <a:pt x="858" y="1025"/>
                  </a:lnTo>
                  <a:lnTo>
                    <a:pt x="852" y="1024"/>
                  </a:lnTo>
                  <a:lnTo>
                    <a:pt x="850" y="1022"/>
                  </a:lnTo>
                  <a:lnTo>
                    <a:pt x="830" y="1030"/>
                  </a:lnTo>
                  <a:lnTo>
                    <a:pt x="816" y="1022"/>
                  </a:lnTo>
                  <a:lnTo>
                    <a:pt x="810" y="1027"/>
                  </a:lnTo>
                  <a:lnTo>
                    <a:pt x="709" y="948"/>
                  </a:lnTo>
                  <a:lnTo>
                    <a:pt x="706" y="951"/>
                  </a:lnTo>
                  <a:lnTo>
                    <a:pt x="681" y="924"/>
                  </a:lnTo>
                  <a:lnTo>
                    <a:pt x="671" y="924"/>
                  </a:lnTo>
                  <a:lnTo>
                    <a:pt x="664" y="934"/>
                  </a:lnTo>
                  <a:lnTo>
                    <a:pt x="657" y="925"/>
                  </a:lnTo>
                  <a:lnTo>
                    <a:pt x="638" y="941"/>
                  </a:lnTo>
                  <a:lnTo>
                    <a:pt x="641" y="944"/>
                  </a:lnTo>
                  <a:lnTo>
                    <a:pt x="630" y="952"/>
                  </a:lnTo>
                  <a:lnTo>
                    <a:pt x="603" y="922"/>
                  </a:lnTo>
                  <a:lnTo>
                    <a:pt x="588" y="934"/>
                  </a:lnTo>
                  <a:lnTo>
                    <a:pt x="563" y="899"/>
                  </a:lnTo>
                  <a:lnTo>
                    <a:pt x="544" y="915"/>
                  </a:lnTo>
                  <a:lnTo>
                    <a:pt x="537" y="906"/>
                  </a:lnTo>
                  <a:lnTo>
                    <a:pt x="517" y="921"/>
                  </a:lnTo>
                  <a:lnTo>
                    <a:pt x="458" y="851"/>
                  </a:lnTo>
                  <a:lnTo>
                    <a:pt x="442" y="865"/>
                  </a:lnTo>
                  <a:lnTo>
                    <a:pt x="418" y="839"/>
                  </a:lnTo>
                  <a:lnTo>
                    <a:pt x="437" y="822"/>
                  </a:lnTo>
                  <a:lnTo>
                    <a:pt x="418" y="803"/>
                  </a:lnTo>
                  <a:lnTo>
                    <a:pt x="406" y="790"/>
                  </a:lnTo>
                  <a:lnTo>
                    <a:pt x="388" y="805"/>
                  </a:lnTo>
                  <a:lnTo>
                    <a:pt x="379" y="796"/>
                  </a:lnTo>
                  <a:lnTo>
                    <a:pt x="369" y="783"/>
                  </a:lnTo>
                  <a:lnTo>
                    <a:pt x="352" y="796"/>
                  </a:lnTo>
                  <a:lnTo>
                    <a:pt x="329" y="765"/>
                  </a:lnTo>
                  <a:lnTo>
                    <a:pt x="289" y="795"/>
                  </a:lnTo>
                  <a:lnTo>
                    <a:pt x="305" y="825"/>
                  </a:lnTo>
                  <a:lnTo>
                    <a:pt x="300" y="828"/>
                  </a:lnTo>
                  <a:lnTo>
                    <a:pt x="305" y="833"/>
                  </a:lnTo>
                  <a:lnTo>
                    <a:pt x="306" y="838"/>
                  </a:lnTo>
                  <a:lnTo>
                    <a:pt x="295" y="845"/>
                  </a:lnTo>
                  <a:lnTo>
                    <a:pt x="299" y="852"/>
                  </a:lnTo>
                  <a:lnTo>
                    <a:pt x="283" y="866"/>
                  </a:lnTo>
                  <a:lnTo>
                    <a:pt x="282" y="859"/>
                  </a:lnTo>
                  <a:lnTo>
                    <a:pt x="282" y="853"/>
                  </a:lnTo>
                  <a:lnTo>
                    <a:pt x="282" y="848"/>
                  </a:lnTo>
                  <a:lnTo>
                    <a:pt x="280" y="840"/>
                  </a:lnTo>
                  <a:lnTo>
                    <a:pt x="279" y="835"/>
                  </a:lnTo>
                  <a:lnTo>
                    <a:pt x="275" y="836"/>
                  </a:lnTo>
                  <a:lnTo>
                    <a:pt x="269" y="838"/>
                  </a:lnTo>
                  <a:lnTo>
                    <a:pt x="263" y="840"/>
                  </a:lnTo>
                  <a:lnTo>
                    <a:pt x="247" y="846"/>
                  </a:lnTo>
                  <a:lnTo>
                    <a:pt x="246" y="848"/>
                  </a:lnTo>
                  <a:lnTo>
                    <a:pt x="240" y="851"/>
                  </a:lnTo>
                  <a:lnTo>
                    <a:pt x="233" y="852"/>
                  </a:lnTo>
                  <a:lnTo>
                    <a:pt x="226" y="853"/>
                  </a:lnTo>
                  <a:lnTo>
                    <a:pt x="222" y="853"/>
                  </a:lnTo>
                  <a:lnTo>
                    <a:pt x="219" y="853"/>
                  </a:lnTo>
                  <a:lnTo>
                    <a:pt x="213" y="855"/>
                  </a:lnTo>
                  <a:lnTo>
                    <a:pt x="207" y="856"/>
                  </a:lnTo>
                  <a:lnTo>
                    <a:pt x="202" y="858"/>
                  </a:lnTo>
                  <a:lnTo>
                    <a:pt x="197" y="855"/>
                  </a:lnTo>
                  <a:lnTo>
                    <a:pt x="197" y="851"/>
                  </a:lnTo>
                  <a:lnTo>
                    <a:pt x="200" y="846"/>
                  </a:lnTo>
                  <a:lnTo>
                    <a:pt x="202" y="840"/>
                  </a:lnTo>
                  <a:lnTo>
                    <a:pt x="203" y="835"/>
                  </a:lnTo>
                  <a:lnTo>
                    <a:pt x="199" y="829"/>
                  </a:lnTo>
                  <a:lnTo>
                    <a:pt x="196" y="825"/>
                  </a:lnTo>
                  <a:lnTo>
                    <a:pt x="194" y="820"/>
                  </a:lnTo>
                  <a:lnTo>
                    <a:pt x="193" y="818"/>
                  </a:lnTo>
                  <a:lnTo>
                    <a:pt x="190" y="815"/>
                  </a:lnTo>
                  <a:lnTo>
                    <a:pt x="186" y="816"/>
                  </a:lnTo>
                  <a:lnTo>
                    <a:pt x="182" y="818"/>
                  </a:lnTo>
                  <a:lnTo>
                    <a:pt x="179" y="820"/>
                  </a:lnTo>
                  <a:lnTo>
                    <a:pt x="174" y="820"/>
                  </a:lnTo>
                  <a:lnTo>
                    <a:pt x="172" y="822"/>
                  </a:lnTo>
                  <a:lnTo>
                    <a:pt x="166" y="823"/>
                  </a:lnTo>
                  <a:lnTo>
                    <a:pt x="163" y="823"/>
                  </a:lnTo>
                  <a:lnTo>
                    <a:pt x="162" y="825"/>
                  </a:lnTo>
                  <a:lnTo>
                    <a:pt x="159" y="829"/>
                  </a:lnTo>
                  <a:lnTo>
                    <a:pt x="153" y="829"/>
                  </a:lnTo>
                  <a:lnTo>
                    <a:pt x="149" y="822"/>
                  </a:lnTo>
                  <a:lnTo>
                    <a:pt x="146" y="818"/>
                  </a:lnTo>
                  <a:lnTo>
                    <a:pt x="140" y="815"/>
                  </a:lnTo>
                  <a:lnTo>
                    <a:pt x="136" y="813"/>
                  </a:lnTo>
                  <a:lnTo>
                    <a:pt x="133" y="810"/>
                  </a:lnTo>
                  <a:lnTo>
                    <a:pt x="129" y="806"/>
                  </a:lnTo>
                  <a:lnTo>
                    <a:pt x="121" y="805"/>
                  </a:lnTo>
                  <a:lnTo>
                    <a:pt x="116" y="808"/>
                  </a:lnTo>
                  <a:lnTo>
                    <a:pt x="113" y="810"/>
                  </a:lnTo>
                  <a:lnTo>
                    <a:pt x="107" y="810"/>
                  </a:lnTo>
                  <a:lnTo>
                    <a:pt x="104" y="803"/>
                  </a:lnTo>
                  <a:lnTo>
                    <a:pt x="99" y="795"/>
                  </a:lnTo>
                  <a:lnTo>
                    <a:pt x="86" y="798"/>
                  </a:lnTo>
                  <a:lnTo>
                    <a:pt x="89" y="803"/>
                  </a:lnTo>
                  <a:lnTo>
                    <a:pt x="87" y="805"/>
                  </a:lnTo>
                  <a:lnTo>
                    <a:pt x="80" y="802"/>
                  </a:lnTo>
                  <a:lnTo>
                    <a:pt x="77" y="799"/>
                  </a:lnTo>
                  <a:lnTo>
                    <a:pt x="73" y="799"/>
                  </a:lnTo>
                  <a:lnTo>
                    <a:pt x="64" y="805"/>
                  </a:lnTo>
                  <a:lnTo>
                    <a:pt x="56" y="809"/>
                  </a:lnTo>
                  <a:lnTo>
                    <a:pt x="54" y="813"/>
                  </a:lnTo>
                  <a:lnTo>
                    <a:pt x="54" y="816"/>
                  </a:lnTo>
                  <a:lnTo>
                    <a:pt x="50" y="820"/>
                  </a:lnTo>
                  <a:lnTo>
                    <a:pt x="46" y="825"/>
                  </a:lnTo>
                  <a:lnTo>
                    <a:pt x="37" y="829"/>
                  </a:lnTo>
                  <a:lnTo>
                    <a:pt x="40" y="835"/>
                  </a:lnTo>
                  <a:lnTo>
                    <a:pt x="38" y="838"/>
                  </a:lnTo>
                  <a:lnTo>
                    <a:pt x="37" y="839"/>
                  </a:lnTo>
                  <a:lnTo>
                    <a:pt x="33" y="842"/>
                  </a:lnTo>
                  <a:lnTo>
                    <a:pt x="28" y="845"/>
                  </a:lnTo>
                  <a:lnTo>
                    <a:pt x="20" y="852"/>
                  </a:lnTo>
                  <a:lnTo>
                    <a:pt x="11" y="842"/>
                  </a:lnTo>
                  <a:lnTo>
                    <a:pt x="1" y="832"/>
                  </a:lnTo>
                  <a:lnTo>
                    <a:pt x="7" y="828"/>
                  </a:lnTo>
                  <a:lnTo>
                    <a:pt x="14" y="822"/>
                  </a:lnTo>
                  <a:lnTo>
                    <a:pt x="24" y="815"/>
                  </a:lnTo>
                  <a:lnTo>
                    <a:pt x="25" y="810"/>
                  </a:lnTo>
                  <a:lnTo>
                    <a:pt x="24" y="806"/>
                  </a:lnTo>
                  <a:lnTo>
                    <a:pt x="20" y="802"/>
                  </a:lnTo>
                  <a:lnTo>
                    <a:pt x="14" y="796"/>
                  </a:lnTo>
                  <a:lnTo>
                    <a:pt x="18" y="792"/>
                  </a:lnTo>
                  <a:lnTo>
                    <a:pt x="18" y="787"/>
                  </a:lnTo>
                  <a:lnTo>
                    <a:pt x="18" y="782"/>
                  </a:lnTo>
                  <a:lnTo>
                    <a:pt x="14" y="777"/>
                  </a:lnTo>
                  <a:lnTo>
                    <a:pt x="5" y="772"/>
                  </a:lnTo>
                  <a:lnTo>
                    <a:pt x="17" y="763"/>
                  </a:lnTo>
                  <a:lnTo>
                    <a:pt x="30" y="755"/>
                  </a:lnTo>
                  <a:lnTo>
                    <a:pt x="0" y="714"/>
                  </a:lnTo>
                  <a:lnTo>
                    <a:pt x="37" y="676"/>
                  </a:lnTo>
                  <a:lnTo>
                    <a:pt x="44" y="660"/>
                  </a:lnTo>
                  <a:lnTo>
                    <a:pt x="58" y="656"/>
                  </a:lnTo>
                  <a:lnTo>
                    <a:pt x="74" y="659"/>
                  </a:lnTo>
                  <a:lnTo>
                    <a:pt x="84" y="656"/>
                  </a:lnTo>
                  <a:lnTo>
                    <a:pt x="83" y="640"/>
                  </a:lnTo>
                  <a:lnTo>
                    <a:pt x="84" y="636"/>
                  </a:lnTo>
                  <a:lnTo>
                    <a:pt x="91" y="626"/>
                  </a:lnTo>
                  <a:lnTo>
                    <a:pt x="96" y="621"/>
                  </a:lnTo>
                  <a:lnTo>
                    <a:pt x="99" y="617"/>
                  </a:lnTo>
                  <a:lnTo>
                    <a:pt x="104" y="616"/>
                  </a:lnTo>
                  <a:lnTo>
                    <a:pt x="123" y="578"/>
                  </a:lnTo>
                  <a:lnTo>
                    <a:pt x="123" y="578"/>
                  </a:lnTo>
                  <a:lnTo>
                    <a:pt x="146" y="565"/>
                  </a:lnTo>
                  <a:lnTo>
                    <a:pt x="183" y="573"/>
                  </a:lnTo>
                  <a:lnTo>
                    <a:pt x="183" y="573"/>
                  </a:lnTo>
                  <a:lnTo>
                    <a:pt x="192" y="577"/>
                  </a:lnTo>
                  <a:lnTo>
                    <a:pt x="200" y="583"/>
                  </a:lnTo>
                  <a:lnTo>
                    <a:pt x="207" y="591"/>
                  </a:lnTo>
                  <a:lnTo>
                    <a:pt x="269" y="553"/>
                  </a:lnTo>
                  <a:lnTo>
                    <a:pt x="247" y="521"/>
                  </a:lnTo>
                  <a:lnTo>
                    <a:pt x="308" y="478"/>
                  </a:lnTo>
                  <a:lnTo>
                    <a:pt x="313" y="480"/>
                  </a:lnTo>
                  <a:lnTo>
                    <a:pt x="323" y="481"/>
                  </a:lnTo>
                  <a:lnTo>
                    <a:pt x="335" y="474"/>
                  </a:lnTo>
                  <a:lnTo>
                    <a:pt x="351" y="464"/>
                  </a:lnTo>
                  <a:lnTo>
                    <a:pt x="366" y="452"/>
                  </a:lnTo>
                  <a:lnTo>
                    <a:pt x="379" y="444"/>
                  </a:lnTo>
                  <a:lnTo>
                    <a:pt x="409" y="424"/>
                  </a:lnTo>
                  <a:lnTo>
                    <a:pt x="401" y="411"/>
                  </a:lnTo>
                  <a:lnTo>
                    <a:pt x="385" y="391"/>
                  </a:lnTo>
                  <a:lnTo>
                    <a:pt x="368" y="368"/>
                  </a:lnTo>
                  <a:lnTo>
                    <a:pt x="345" y="381"/>
                  </a:lnTo>
                  <a:lnTo>
                    <a:pt x="332" y="362"/>
                  </a:lnTo>
                  <a:lnTo>
                    <a:pt x="298" y="384"/>
                  </a:lnTo>
                  <a:lnTo>
                    <a:pt x="300" y="395"/>
                  </a:lnTo>
                  <a:lnTo>
                    <a:pt x="283" y="407"/>
                  </a:lnTo>
                  <a:lnTo>
                    <a:pt x="250" y="365"/>
                  </a:lnTo>
                  <a:lnTo>
                    <a:pt x="232" y="382"/>
                  </a:lnTo>
                  <a:lnTo>
                    <a:pt x="219" y="366"/>
                  </a:lnTo>
                  <a:lnTo>
                    <a:pt x="239" y="351"/>
                  </a:lnTo>
                  <a:lnTo>
                    <a:pt x="232" y="344"/>
                  </a:lnTo>
                  <a:lnTo>
                    <a:pt x="268" y="312"/>
                  </a:lnTo>
                  <a:lnTo>
                    <a:pt x="283" y="276"/>
                  </a:lnTo>
                  <a:lnTo>
                    <a:pt x="313" y="283"/>
                  </a:lnTo>
                  <a:lnTo>
                    <a:pt x="348" y="276"/>
                  </a:lnTo>
                  <a:lnTo>
                    <a:pt x="335" y="252"/>
                  </a:lnTo>
                  <a:lnTo>
                    <a:pt x="332" y="239"/>
                  </a:lnTo>
                  <a:lnTo>
                    <a:pt x="332" y="225"/>
                  </a:lnTo>
                  <a:lnTo>
                    <a:pt x="345" y="199"/>
                  </a:lnTo>
                  <a:lnTo>
                    <a:pt x="351" y="199"/>
                  </a:lnTo>
                  <a:lnTo>
                    <a:pt x="358" y="199"/>
                  </a:lnTo>
                  <a:lnTo>
                    <a:pt x="361" y="196"/>
                  </a:lnTo>
                  <a:lnTo>
                    <a:pt x="366" y="190"/>
                  </a:lnTo>
                  <a:lnTo>
                    <a:pt x="372" y="173"/>
                  </a:lnTo>
                  <a:lnTo>
                    <a:pt x="372" y="163"/>
                  </a:lnTo>
                  <a:lnTo>
                    <a:pt x="372" y="153"/>
                  </a:lnTo>
                  <a:lnTo>
                    <a:pt x="371" y="146"/>
                  </a:lnTo>
                  <a:lnTo>
                    <a:pt x="371" y="136"/>
                  </a:lnTo>
                  <a:lnTo>
                    <a:pt x="371" y="129"/>
                  </a:lnTo>
                  <a:lnTo>
                    <a:pt x="371" y="127"/>
                  </a:lnTo>
                  <a:lnTo>
                    <a:pt x="369" y="123"/>
                  </a:lnTo>
                  <a:lnTo>
                    <a:pt x="368" y="119"/>
                  </a:lnTo>
                  <a:lnTo>
                    <a:pt x="365" y="114"/>
                  </a:lnTo>
                  <a:lnTo>
                    <a:pt x="362" y="110"/>
                  </a:lnTo>
                  <a:lnTo>
                    <a:pt x="361" y="107"/>
                  </a:lnTo>
                  <a:lnTo>
                    <a:pt x="358" y="103"/>
                  </a:lnTo>
                  <a:lnTo>
                    <a:pt x="358" y="103"/>
                  </a:lnTo>
                  <a:lnTo>
                    <a:pt x="353" y="96"/>
                  </a:lnTo>
                  <a:lnTo>
                    <a:pt x="352" y="89"/>
                  </a:lnTo>
                  <a:lnTo>
                    <a:pt x="349" y="73"/>
                  </a:lnTo>
                  <a:lnTo>
                    <a:pt x="351" y="56"/>
                  </a:lnTo>
                  <a:lnTo>
                    <a:pt x="352" y="47"/>
                  </a:lnTo>
                  <a:lnTo>
                    <a:pt x="353" y="41"/>
                  </a:lnTo>
                  <a:lnTo>
                    <a:pt x="385" y="54"/>
                  </a:lnTo>
                  <a:lnTo>
                    <a:pt x="411" y="81"/>
                  </a:lnTo>
                  <a:lnTo>
                    <a:pt x="421" y="83"/>
                  </a:lnTo>
                  <a:lnTo>
                    <a:pt x="505" y="162"/>
                  </a:lnTo>
                  <a:lnTo>
                    <a:pt x="502" y="164"/>
                  </a:lnTo>
                  <a:lnTo>
                    <a:pt x="492" y="177"/>
                  </a:lnTo>
                  <a:lnTo>
                    <a:pt x="507" y="193"/>
                  </a:lnTo>
                  <a:lnTo>
                    <a:pt x="510" y="190"/>
                  </a:lnTo>
                  <a:lnTo>
                    <a:pt x="517" y="185"/>
                  </a:lnTo>
                  <a:lnTo>
                    <a:pt x="518" y="182"/>
                  </a:lnTo>
                  <a:lnTo>
                    <a:pt x="521" y="180"/>
                  </a:lnTo>
                  <a:lnTo>
                    <a:pt x="522" y="180"/>
                  </a:lnTo>
                  <a:lnTo>
                    <a:pt x="544" y="203"/>
                  </a:lnTo>
                  <a:lnTo>
                    <a:pt x="561" y="189"/>
                  </a:lnTo>
                  <a:lnTo>
                    <a:pt x="564" y="193"/>
                  </a:lnTo>
                  <a:lnTo>
                    <a:pt x="585" y="222"/>
                  </a:lnTo>
                  <a:lnTo>
                    <a:pt x="607" y="207"/>
                  </a:lnTo>
                  <a:lnTo>
                    <a:pt x="640" y="259"/>
                  </a:lnTo>
                  <a:lnTo>
                    <a:pt x="644" y="256"/>
                  </a:lnTo>
                  <a:lnTo>
                    <a:pt x="686" y="229"/>
                  </a:lnTo>
                  <a:lnTo>
                    <a:pt x="669" y="203"/>
                  </a:lnTo>
                  <a:lnTo>
                    <a:pt x="691" y="126"/>
                  </a:lnTo>
                  <a:lnTo>
                    <a:pt x="653" y="106"/>
                  </a:lnTo>
                  <a:lnTo>
                    <a:pt x="756" y="0"/>
                  </a:lnTo>
                  <a:close/>
                  <a:moveTo>
                    <a:pt x="892" y="992"/>
                  </a:moveTo>
                  <a:lnTo>
                    <a:pt x="858" y="1025"/>
                  </a:lnTo>
                  <a:lnTo>
                    <a:pt x="870" y="1017"/>
                  </a:lnTo>
                  <a:lnTo>
                    <a:pt x="870" y="1007"/>
                  </a:lnTo>
                  <a:lnTo>
                    <a:pt x="875" y="1001"/>
                  </a:lnTo>
                  <a:lnTo>
                    <a:pt x="883" y="995"/>
                  </a:lnTo>
                  <a:lnTo>
                    <a:pt x="888" y="994"/>
                  </a:lnTo>
                  <a:lnTo>
                    <a:pt x="892" y="992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04" name="Freeform 152"/>
            <p:cNvSpPr>
              <a:spLocks/>
            </p:cNvSpPr>
            <p:nvPr/>
          </p:nvSpPr>
          <p:spPr bwMode="auto">
            <a:xfrm>
              <a:off x="3280023" y="3117564"/>
              <a:ext cx="1112460" cy="681296"/>
            </a:xfrm>
            <a:custGeom>
              <a:avLst/>
              <a:gdLst>
                <a:gd name="T0" fmla="*/ 1027 w 1820"/>
                <a:gd name="T1" fmla="*/ 38 h 1030"/>
                <a:gd name="T2" fmla="*/ 1406 w 1820"/>
                <a:gd name="T3" fmla="*/ 346 h 1030"/>
                <a:gd name="T4" fmla="*/ 1632 w 1820"/>
                <a:gd name="T5" fmla="*/ 355 h 1030"/>
                <a:gd name="T6" fmla="*/ 1667 w 1820"/>
                <a:gd name="T7" fmla="*/ 359 h 1030"/>
                <a:gd name="T8" fmla="*/ 1750 w 1820"/>
                <a:gd name="T9" fmla="*/ 313 h 1030"/>
                <a:gd name="T10" fmla="*/ 1791 w 1820"/>
                <a:gd name="T11" fmla="*/ 319 h 1030"/>
                <a:gd name="T12" fmla="*/ 1801 w 1820"/>
                <a:gd name="T13" fmla="*/ 352 h 1030"/>
                <a:gd name="T14" fmla="*/ 1787 w 1820"/>
                <a:gd name="T15" fmla="*/ 405 h 1030"/>
                <a:gd name="T16" fmla="*/ 1791 w 1820"/>
                <a:gd name="T17" fmla="*/ 431 h 1030"/>
                <a:gd name="T18" fmla="*/ 1781 w 1820"/>
                <a:gd name="T19" fmla="*/ 457 h 1030"/>
                <a:gd name="T20" fmla="*/ 1766 w 1820"/>
                <a:gd name="T21" fmla="*/ 462 h 1030"/>
                <a:gd name="T22" fmla="*/ 1744 w 1820"/>
                <a:gd name="T23" fmla="*/ 484 h 1030"/>
                <a:gd name="T24" fmla="*/ 1726 w 1820"/>
                <a:gd name="T25" fmla="*/ 490 h 1030"/>
                <a:gd name="T26" fmla="*/ 1685 w 1820"/>
                <a:gd name="T27" fmla="*/ 505 h 1030"/>
                <a:gd name="T28" fmla="*/ 1645 w 1820"/>
                <a:gd name="T29" fmla="*/ 530 h 1030"/>
                <a:gd name="T30" fmla="*/ 1597 w 1820"/>
                <a:gd name="T31" fmla="*/ 534 h 1030"/>
                <a:gd name="T32" fmla="*/ 1557 w 1820"/>
                <a:gd name="T33" fmla="*/ 533 h 1030"/>
                <a:gd name="T34" fmla="*/ 1511 w 1820"/>
                <a:gd name="T35" fmla="*/ 547 h 1030"/>
                <a:gd name="T36" fmla="*/ 1491 w 1820"/>
                <a:gd name="T37" fmla="*/ 558 h 1030"/>
                <a:gd name="T38" fmla="*/ 1465 w 1820"/>
                <a:gd name="T39" fmla="*/ 583 h 1030"/>
                <a:gd name="T40" fmla="*/ 1439 w 1820"/>
                <a:gd name="T41" fmla="*/ 587 h 1030"/>
                <a:gd name="T42" fmla="*/ 1352 w 1820"/>
                <a:gd name="T43" fmla="*/ 598 h 1030"/>
                <a:gd name="T44" fmla="*/ 1292 w 1820"/>
                <a:gd name="T45" fmla="*/ 633 h 1030"/>
                <a:gd name="T46" fmla="*/ 1254 w 1820"/>
                <a:gd name="T47" fmla="*/ 647 h 1030"/>
                <a:gd name="T48" fmla="*/ 1244 w 1820"/>
                <a:gd name="T49" fmla="*/ 614 h 1030"/>
                <a:gd name="T50" fmla="*/ 1188 w 1820"/>
                <a:gd name="T51" fmla="*/ 620 h 1030"/>
                <a:gd name="T52" fmla="*/ 1166 w 1820"/>
                <a:gd name="T53" fmla="*/ 634 h 1030"/>
                <a:gd name="T54" fmla="*/ 1151 w 1820"/>
                <a:gd name="T55" fmla="*/ 641 h 1030"/>
                <a:gd name="T56" fmla="*/ 1134 w 1820"/>
                <a:gd name="T57" fmla="*/ 682 h 1030"/>
                <a:gd name="T58" fmla="*/ 1123 w 1820"/>
                <a:gd name="T59" fmla="*/ 720 h 1030"/>
                <a:gd name="T60" fmla="*/ 1050 w 1820"/>
                <a:gd name="T61" fmla="*/ 783 h 1030"/>
                <a:gd name="T62" fmla="*/ 1015 w 1820"/>
                <a:gd name="T63" fmla="*/ 809 h 1030"/>
                <a:gd name="T64" fmla="*/ 981 w 1820"/>
                <a:gd name="T65" fmla="*/ 855 h 1030"/>
                <a:gd name="T66" fmla="*/ 959 w 1820"/>
                <a:gd name="T67" fmla="*/ 925 h 1030"/>
                <a:gd name="T68" fmla="*/ 892 w 1820"/>
                <a:gd name="T69" fmla="*/ 992 h 1030"/>
                <a:gd name="T70" fmla="*/ 681 w 1820"/>
                <a:gd name="T71" fmla="*/ 924 h 1030"/>
                <a:gd name="T72" fmla="*/ 563 w 1820"/>
                <a:gd name="T73" fmla="*/ 899 h 1030"/>
                <a:gd name="T74" fmla="*/ 406 w 1820"/>
                <a:gd name="T75" fmla="*/ 790 h 1030"/>
                <a:gd name="T76" fmla="*/ 305 w 1820"/>
                <a:gd name="T77" fmla="*/ 833 h 1030"/>
                <a:gd name="T78" fmla="*/ 279 w 1820"/>
                <a:gd name="T79" fmla="*/ 835 h 1030"/>
                <a:gd name="T80" fmla="*/ 222 w 1820"/>
                <a:gd name="T81" fmla="*/ 853 h 1030"/>
                <a:gd name="T82" fmla="*/ 203 w 1820"/>
                <a:gd name="T83" fmla="*/ 835 h 1030"/>
                <a:gd name="T84" fmla="*/ 174 w 1820"/>
                <a:gd name="T85" fmla="*/ 820 h 1030"/>
                <a:gd name="T86" fmla="*/ 140 w 1820"/>
                <a:gd name="T87" fmla="*/ 815 h 1030"/>
                <a:gd name="T88" fmla="*/ 99 w 1820"/>
                <a:gd name="T89" fmla="*/ 795 h 1030"/>
                <a:gd name="T90" fmla="*/ 54 w 1820"/>
                <a:gd name="T91" fmla="*/ 813 h 1030"/>
                <a:gd name="T92" fmla="*/ 28 w 1820"/>
                <a:gd name="T93" fmla="*/ 845 h 1030"/>
                <a:gd name="T94" fmla="*/ 20 w 1820"/>
                <a:gd name="T95" fmla="*/ 802 h 1030"/>
                <a:gd name="T96" fmla="*/ 0 w 1820"/>
                <a:gd name="T97" fmla="*/ 714 h 1030"/>
                <a:gd name="T98" fmla="*/ 96 w 1820"/>
                <a:gd name="T99" fmla="*/ 621 h 1030"/>
                <a:gd name="T100" fmla="*/ 200 w 1820"/>
                <a:gd name="T101" fmla="*/ 583 h 1030"/>
                <a:gd name="T102" fmla="*/ 366 w 1820"/>
                <a:gd name="T103" fmla="*/ 452 h 1030"/>
                <a:gd name="T104" fmla="*/ 300 w 1820"/>
                <a:gd name="T105" fmla="*/ 395 h 1030"/>
                <a:gd name="T106" fmla="*/ 313 w 1820"/>
                <a:gd name="T107" fmla="*/ 283 h 1030"/>
                <a:gd name="T108" fmla="*/ 366 w 1820"/>
                <a:gd name="T109" fmla="*/ 190 h 1030"/>
                <a:gd name="T110" fmla="*/ 368 w 1820"/>
                <a:gd name="T111" fmla="*/ 119 h 1030"/>
                <a:gd name="T112" fmla="*/ 351 w 1820"/>
                <a:gd name="T113" fmla="*/ 56 h 1030"/>
                <a:gd name="T114" fmla="*/ 507 w 1820"/>
                <a:gd name="T115" fmla="*/ 193 h 1030"/>
                <a:gd name="T116" fmla="*/ 585 w 1820"/>
                <a:gd name="T117" fmla="*/ 222 h 10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20" h="1030">
                  <a:moveTo>
                    <a:pt x="756" y="0"/>
                  </a:moveTo>
                  <a:lnTo>
                    <a:pt x="856" y="17"/>
                  </a:lnTo>
                  <a:lnTo>
                    <a:pt x="956" y="33"/>
                  </a:lnTo>
                  <a:lnTo>
                    <a:pt x="958" y="28"/>
                  </a:lnTo>
                  <a:lnTo>
                    <a:pt x="962" y="23"/>
                  </a:lnTo>
                  <a:lnTo>
                    <a:pt x="968" y="20"/>
                  </a:lnTo>
                  <a:lnTo>
                    <a:pt x="971" y="18"/>
                  </a:lnTo>
                  <a:lnTo>
                    <a:pt x="1012" y="20"/>
                  </a:lnTo>
                  <a:lnTo>
                    <a:pt x="1027" y="38"/>
                  </a:lnTo>
                  <a:lnTo>
                    <a:pt x="1061" y="77"/>
                  </a:lnTo>
                  <a:lnTo>
                    <a:pt x="1088" y="106"/>
                  </a:lnTo>
                  <a:lnTo>
                    <a:pt x="1113" y="127"/>
                  </a:lnTo>
                  <a:lnTo>
                    <a:pt x="1164" y="167"/>
                  </a:lnTo>
                  <a:lnTo>
                    <a:pt x="1249" y="232"/>
                  </a:lnTo>
                  <a:lnTo>
                    <a:pt x="1359" y="313"/>
                  </a:lnTo>
                  <a:lnTo>
                    <a:pt x="1395" y="338"/>
                  </a:lnTo>
                  <a:lnTo>
                    <a:pt x="1389" y="345"/>
                  </a:lnTo>
                  <a:lnTo>
                    <a:pt x="1406" y="346"/>
                  </a:lnTo>
                  <a:lnTo>
                    <a:pt x="1472" y="392"/>
                  </a:lnTo>
                  <a:lnTo>
                    <a:pt x="1505" y="389"/>
                  </a:lnTo>
                  <a:lnTo>
                    <a:pt x="1584" y="389"/>
                  </a:lnTo>
                  <a:lnTo>
                    <a:pt x="1604" y="372"/>
                  </a:lnTo>
                  <a:lnTo>
                    <a:pt x="1605" y="369"/>
                  </a:lnTo>
                  <a:lnTo>
                    <a:pt x="1614" y="361"/>
                  </a:lnTo>
                  <a:lnTo>
                    <a:pt x="1622" y="358"/>
                  </a:lnTo>
                  <a:lnTo>
                    <a:pt x="1628" y="355"/>
                  </a:lnTo>
                  <a:lnTo>
                    <a:pt x="1632" y="355"/>
                  </a:lnTo>
                  <a:lnTo>
                    <a:pt x="1637" y="355"/>
                  </a:lnTo>
                  <a:lnTo>
                    <a:pt x="1638" y="355"/>
                  </a:lnTo>
                  <a:lnTo>
                    <a:pt x="1642" y="352"/>
                  </a:lnTo>
                  <a:lnTo>
                    <a:pt x="1647" y="352"/>
                  </a:lnTo>
                  <a:lnTo>
                    <a:pt x="1650" y="355"/>
                  </a:lnTo>
                  <a:lnTo>
                    <a:pt x="1650" y="359"/>
                  </a:lnTo>
                  <a:lnTo>
                    <a:pt x="1650" y="364"/>
                  </a:lnTo>
                  <a:lnTo>
                    <a:pt x="1664" y="366"/>
                  </a:lnTo>
                  <a:lnTo>
                    <a:pt x="1667" y="359"/>
                  </a:lnTo>
                  <a:lnTo>
                    <a:pt x="1687" y="348"/>
                  </a:lnTo>
                  <a:lnTo>
                    <a:pt x="1687" y="345"/>
                  </a:lnTo>
                  <a:lnTo>
                    <a:pt x="1688" y="339"/>
                  </a:lnTo>
                  <a:lnTo>
                    <a:pt x="1694" y="335"/>
                  </a:lnTo>
                  <a:lnTo>
                    <a:pt x="1700" y="333"/>
                  </a:lnTo>
                  <a:lnTo>
                    <a:pt x="1704" y="332"/>
                  </a:lnTo>
                  <a:lnTo>
                    <a:pt x="1710" y="329"/>
                  </a:lnTo>
                  <a:lnTo>
                    <a:pt x="1750" y="313"/>
                  </a:lnTo>
                  <a:lnTo>
                    <a:pt x="1750" y="313"/>
                  </a:lnTo>
                  <a:lnTo>
                    <a:pt x="1753" y="312"/>
                  </a:lnTo>
                  <a:lnTo>
                    <a:pt x="1754" y="311"/>
                  </a:lnTo>
                  <a:lnTo>
                    <a:pt x="1761" y="309"/>
                  </a:lnTo>
                  <a:lnTo>
                    <a:pt x="1771" y="311"/>
                  </a:lnTo>
                  <a:lnTo>
                    <a:pt x="1776" y="313"/>
                  </a:lnTo>
                  <a:lnTo>
                    <a:pt x="1780" y="316"/>
                  </a:lnTo>
                  <a:lnTo>
                    <a:pt x="1784" y="318"/>
                  </a:lnTo>
                  <a:lnTo>
                    <a:pt x="1789" y="318"/>
                  </a:lnTo>
                  <a:lnTo>
                    <a:pt x="1791" y="319"/>
                  </a:lnTo>
                  <a:lnTo>
                    <a:pt x="1797" y="322"/>
                  </a:lnTo>
                  <a:lnTo>
                    <a:pt x="1820" y="333"/>
                  </a:lnTo>
                  <a:lnTo>
                    <a:pt x="1820" y="333"/>
                  </a:lnTo>
                  <a:lnTo>
                    <a:pt x="1819" y="335"/>
                  </a:lnTo>
                  <a:lnTo>
                    <a:pt x="1817" y="336"/>
                  </a:lnTo>
                  <a:lnTo>
                    <a:pt x="1814" y="341"/>
                  </a:lnTo>
                  <a:lnTo>
                    <a:pt x="1814" y="341"/>
                  </a:lnTo>
                  <a:lnTo>
                    <a:pt x="1809" y="346"/>
                  </a:lnTo>
                  <a:lnTo>
                    <a:pt x="1801" y="352"/>
                  </a:lnTo>
                  <a:lnTo>
                    <a:pt x="1801" y="352"/>
                  </a:lnTo>
                  <a:lnTo>
                    <a:pt x="1789" y="366"/>
                  </a:lnTo>
                  <a:lnTo>
                    <a:pt x="1784" y="374"/>
                  </a:lnTo>
                  <a:lnTo>
                    <a:pt x="1780" y="382"/>
                  </a:lnTo>
                  <a:lnTo>
                    <a:pt x="1777" y="389"/>
                  </a:lnTo>
                  <a:lnTo>
                    <a:pt x="1777" y="395"/>
                  </a:lnTo>
                  <a:lnTo>
                    <a:pt x="1778" y="399"/>
                  </a:lnTo>
                  <a:lnTo>
                    <a:pt x="1783" y="402"/>
                  </a:lnTo>
                  <a:lnTo>
                    <a:pt x="1787" y="405"/>
                  </a:lnTo>
                  <a:lnTo>
                    <a:pt x="1793" y="407"/>
                  </a:lnTo>
                  <a:lnTo>
                    <a:pt x="1796" y="408"/>
                  </a:lnTo>
                  <a:lnTo>
                    <a:pt x="1797" y="411"/>
                  </a:lnTo>
                  <a:lnTo>
                    <a:pt x="1799" y="412"/>
                  </a:lnTo>
                  <a:lnTo>
                    <a:pt x="1801" y="414"/>
                  </a:lnTo>
                  <a:lnTo>
                    <a:pt x="1801" y="417"/>
                  </a:lnTo>
                  <a:lnTo>
                    <a:pt x="1801" y="421"/>
                  </a:lnTo>
                  <a:lnTo>
                    <a:pt x="1797" y="425"/>
                  </a:lnTo>
                  <a:lnTo>
                    <a:pt x="1791" y="431"/>
                  </a:lnTo>
                  <a:lnTo>
                    <a:pt x="1789" y="434"/>
                  </a:lnTo>
                  <a:lnTo>
                    <a:pt x="1791" y="437"/>
                  </a:lnTo>
                  <a:lnTo>
                    <a:pt x="1796" y="441"/>
                  </a:lnTo>
                  <a:lnTo>
                    <a:pt x="1797" y="444"/>
                  </a:lnTo>
                  <a:lnTo>
                    <a:pt x="1796" y="447"/>
                  </a:lnTo>
                  <a:lnTo>
                    <a:pt x="1793" y="451"/>
                  </a:lnTo>
                  <a:lnTo>
                    <a:pt x="1787" y="455"/>
                  </a:lnTo>
                  <a:lnTo>
                    <a:pt x="1784" y="457"/>
                  </a:lnTo>
                  <a:lnTo>
                    <a:pt x="1781" y="457"/>
                  </a:lnTo>
                  <a:lnTo>
                    <a:pt x="1781" y="449"/>
                  </a:lnTo>
                  <a:lnTo>
                    <a:pt x="1778" y="448"/>
                  </a:lnTo>
                  <a:lnTo>
                    <a:pt x="1776" y="447"/>
                  </a:lnTo>
                  <a:lnTo>
                    <a:pt x="1771" y="447"/>
                  </a:lnTo>
                  <a:lnTo>
                    <a:pt x="1760" y="452"/>
                  </a:lnTo>
                  <a:lnTo>
                    <a:pt x="1757" y="457"/>
                  </a:lnTo>
                  <a:lnTo>
                    <a:pt x="1756" y="460"/>
                  </a:lnTo>
                  <a:lnTo>
                    <a:pt x="1757" y="461"/>
                  </a:lnTo>
                  <a:lnTo>
                    <a:pt x="1766" y="462"/>
                  </a:lnTo>
                  <a:lnTo>
                    <a:pt x="1771" y="465"/>
                  </a:lnTo>
                  <a:lnTo>
                    <a:pt x="1774" y="468"/>
                  </a:lnTo>
                  <a:lnTo>
                    <a:pt x="1774" y="472"/>
                  </a:lnTo>
                  <a:lnTo>
                    <a:pt x="1773" y="480"/>
                  </a:lnTo>
                  <a:lnTo>
                    <a:pt x="1768" y="482"/>
                  </a:lnTo>
                  <a:lnTo>
                    <a:pt x="1761" y="484"/>
                  </a:lnTo>
                  <a:lnTo>
                    <a:pt x="1753" y="485"/>
                  </a:lnTo>
                  <a:lnTo>
                    <a:pt x="1748" y="485"/>
                  </a:lnTo>
                  <a:lnTo>
                    <a:pt x="1744" y="484"/>
                  </a:lnTo>
                  <a:lnTo>
                    <a:pt x="1743" y="481"/>
                  </a:lnTo>
                  <a:lnTo>
                    <a:pt x="1740" y="481"/>
                  </a:lnTo>
                  <a:lnTo>
                    <a:pt x="1737" y="481"/>
                  </a:lnTo>
                  <a:lnTo>
                    <a:pt x="1737" y="484"/>
                  </a:lnTo>
                  <a:lnTo>
                    <a:pt x="1737" y="488"/>
                  </a:lnTo>
                  <a:lnTo>
                    <a:pt x="1736" y="490"/>
                  </a:lnTo>
                  <a:lnTo>
                    <a:pt x="1731" y="491"/>
                  </a:lnTo>
                  <a:lnTo>
                    <a:pt x="1727" y="492"/>
                  </a:lnTo>
                  <a:lnTo>
                    <a:pt x="1726" y="490"/>
                  </a:lnTo>
                  <a:lnTo>
                    <a:pt x="1724" y="488"/>
                  </a:lnTo>
                  <a:lnTo>
                    <a:pt x="1721" y="488"/>
                  </a:lnTo>
                  <a:lnTo>
                    <a:pt x="1720" y="490"/>
                  </a:lnTo>
                  <a:lnTo>
                    <a:pt x="1717" y="492"/>
                  </a:lnTo>
                  <a:lnTo>
                    <a:pt x="1711" y="494"/>
                  </a:lnTo>
                  <a:lnTo>
                    <a:pt x="1701" y="497"/>
                  </a:lnTo>
                  <a:lnTo>
                    <a:pt x="1694" y="498"/>
                  </a:lnTo>
                  <a:lnTo>
                    <a:pt x="1688" y="500"/>
                  </a:lnTo>
                  <a:lnTo>
                    <a:pt x="1685" y="505"/>
                  </a:lnTo>
                  <a:lnTo>
                    <a:pt x="1680" y="505"/>
                  </a:lnTo>
                  <a:lnTo>
                    <a:pt x="1675" y="508"/>
                  </a:lnTo>
                  <a:lnTo>
                    <a:pt x="1674" y="514"/>
                  </a:lnTo>
                  <a:lnTo>
                    <a:pt x="1671" y="521"/>
                  </a:lnTo>
                  <a:lnTo>
                    <a:pt x="1668" y="524"/>
                  </a:lnTo>
                  <a:lnTo>
                    <a:pt x="1664" y="530"/>
                  </a:lnTo>
                  <a:lnTo>
                    <a:pt x="1658" y="531"/>
                  </a:lnTo>
                  <a:lnTo>
                    <a:pt x="1654" y="530"/>
                  </a:lnTo>
                  <a:lnTo>
                    <a:pt x="1645" y="530"/>
                  </a:lnTo>
                  <a:lnTo>
                    <a:pt x="1640" y="530"/>
                  </a:lnTo>
                  <a:lnTo>
                    <a:pt x="1634" y="528"/>
                  </a:lnTo>
                  <a:lnTo>
                    <a:pt x="1628" y="528"/>
                  </a:lnTo>
                  <a:lnTo>
                    <a:pt x="1625" y="530"/>
                  </a:lnTo>
                  <a:lnTo>
                    <a:pt x="1622" y="534"/>
                  </a:lnTo>
                  <a:lnTo>
                    <a:pt x="1617" y="534"/>
                  </a:lnTo>
                  <a:lnTo>
                    <a:pt x="1611" y="534"/>
                  </a:lnTo>
                  <a:lnTo>
                    <a:pt x="1602" y="535"/>
                  </a:lnTo>
                  <a:lnTo>
                    <a:pt x="1597" y="534"/>
                  </a:lnTo>
                  <a:lnTo>
                    <a:pt x="1589" y="530"/>
                  </a:lnTo>
                  <a:lnTo>
                    <a:pt x="1585" y="527"/>
                  </a:lnTo>
                  <a:lnTo>
                    <a:pt x="1579" y="525"/>
                  </a:lnTo>
                  <a:lnTo>
                    <a:pt x="1577" y="525"/>
                  </a:lnTo>
                  <a:lnTo>
                    <a:pt x="1572" y="530"/>
                  </a:lnTo>
                  <a:lnTo>
                    <a:pt x="1569" y="533"/>
                  </a:lnTo>
                  <a:lnTo>
                    <a:pt x="1565" y="533"/>
                  </a:lnTo>
                  <a:lnTo>
                    <a:pt x="1561" y="533"/>
                  </a:lnTo>
                  <a:lnTo>
                    <a:pt x="1557" y="533"/>
                  </a:lnTo>
                  <a:lnTo>
                    <a:pt x="1551" y="534"/>
                  </a:lnTo>
                  <a:lnTo>
                    <a:pt x="1546" y="534"/>
                  </a:lnTo>
                  <a:lnTo>
                    <a:pt x="1544" y="534"/>
                  </a:lnTo>
                  <a:lnTo>
                    <a:pt x="1541" y="533"/>
                  </a:lnTo>
                  <a:lnTo>
                    <a:pt x="1538" y="533"/>
                  </a:lnTo>
                  <a:lnTo>
                    <a:pt x="1532" y="534"/>
                  </a:lnTo>
                  <a:lnTo>
                    <a:pt x="1515" y="543"/>
                  </a:lnTo>
                  <a:lnTo>
                    <a:pt x="1512" y="544"/>
                  </a:lnTo>
                  <a:lnTo>
                    <a:pt x="1511" y="547"/>
                  </a:lnTo>
                  <a:lnTo>
                    <a:pt x="1515" y="553"/>
                  </a:lnTo>
                  <a:lnTo>
                    <a:pt x="1515" y="555"/>
                  </a:lnTo>
                  <a:lnTo>
                    <a:pt x="1509" y="561"/>
                  </a:lnTo>
                  <a:lnTo>
                    <a:pt x="1508" y="561"/>
                  </a:lnTo>
                  <a:lnTo>
                    <a:pt x="1506" y="560"/>
                  </a:lnTo>
                  <a:lnTo>
                    <a:pt x="1504" y="555"/>
                  </a:lnTo>
                  <a:lnTo>
                    <a:pt x="1498" y="553"/>
                  </a:lnTo>
                  <a:lnTo>
                    <a:pt x="1493" y="554"/>
                  </a:lnTo>
                  <a:lnTo>
                    <a:pt x="1491" y="558"/>
                  </a:lnTo>
                  <a:lnTo>
                    <a:pt x="1486" y="564"/>
                  </a:lnTo>
                  <a:lnTo>
                    <a:pt x="1481" y="567"/>
                  </a:lnTo>
                  <a:lnTo>
                    <a:pt x="1476" y="568"/>
                  </a:lnTo>
                  <a:lnTo>
                    <a:pt x="1469" y="570"/>
                  </a:lnTo>
                  <a:lnTo>
                    <a:pt x="1465" y="573"/>
                  </a:lnTo>
                  <a:lnTo>
                    <a:pt x="1465" y="574"/>
                  </a:lnTo>
                  <a:lnTo>
                    <a:pt x="1465" y="578"/>
                  </a:lnTo>
                  <a:lnTo>
                    <a:pt x="1466" y="581"/>
                  </a:lnTo>
                  <a:lnTo>
                    <a:pt x="1465" y="583"/>
                  </a:lnTo>
                  <a:lnTo>
                    <a:pt x="1463" y="584"/>
                  </a:lnTo>
                  <a:lnTo>
                    <a:pt x="1458" y="584"/>
                  </a:lnTo>
                  <a:lnTo>
                    <a:pt x="1456" y="584"/>
                  </a:lnTo>
                  <a:lnTo>
                    <a:pt x="1453" y="590"/>
                  </a:lnTo>
                  <a:lnTo>
                    <a:pt x="1452" y="591"/>
                  </a:lnTo>
                  <a:lnTo>
                    <a:pt x="1449" y="591"/>
                  </a:lnTo>
                  <a:lnTo>
                    <a:pt x="1448" y="591"/>
                  </a:lnTo>
                  <a:lnTo>
                    <a:pt x="1442" y="588"/>
                  </a:lnTo>
                  <a:lnTo>
                    <a:pt x="1439" y="587"/>
                  </a:lnTo>
                  <a:lnTo>
                    <a:pt x="1436" y="588"/>
                  </a:lnTo>
                  <a:lnTo>
                    <a:pt x="1430" y="590"/>
                  </a:lnTo>
                  <a:lnTo>
                    <a:pt x="1415" y="588"/>
                  </a:lnTo>
                  <a:lnTo>
                    <a:pt x="1405" y="590"/>
                  </a:lnTo>
                  <a:lnTo>
                    <a:pt x="1389" y="590"/>
                  </a:lnTo>
                  <a:lnTo>
                    <a:pt x="1379" y="591"/>
                  </a:lnTo>
                  <a:lnTo>
                    <a:pt x="1372" y="594"/>
                  </a:lnTo>
                  <a:lnTo>
                    <a:pt x="1362" y="596"/>
                  </a:lnTo>
                  <a:lnTo>
                    <a:pt x="1352" y="598"/>
                  </a:lnTo>
                  <a:lnTo>
                    <a:pt x="1342" y="606"/>
                  </a:lnTo>
                  <a:lnTo>
                    <a:pt x="1333" y="611"/>
                  </a:lnTo>
                  <a:lnTo>
                    <a:pt x="1322" y="614"/>
                  </a:lnTo>
                  <a:lnTo>
                    <a:pt x="1316" y="618"/>
                  </a:lnTo>
                  <a:lnTo>
                    <a:pt x="1313" y="621"/>
                  </a:lnTo>
                  <a:lnTo>
                    <a:pt x="1310" y="629"/>
                  </a:lnTo>
                  <a:lnTo>
                    <a:pt x="1306" y="630"/>
                  </a:lnTo>
                  <a:lnTo>
                    <a:pt x="1300" y="631"/>
                  </a:lnTo>
                  <a:lnTo>
                    <a:pt x="1292" y="633"/>
                  </a:lnTo>
                  <a:lnTo>
                    <a:pt x="1287" y="634"/>
                  </a:lnTo>
                  <a:lnTo>
                    <a:pt x="1284" y="637"/>
                  </a:lnTo>
                  <a:lnTo>
                    <a:pt x="1283" y="641"/>
                  </a:lnTo>
                  <a:lnTo>
                    <a:pt x="1280" y="643"/>
                  </a:lnTo>
                  <a:lnTo>
                    <a:pt x="1273" y="643"/>
                  </a:lnTo>
                  <a:lnTo>
                    <a:pt x="1266" y="639"/>
                  </a:lnTo>
                  <a:lnTo>
                    <a:pt x="1261" y="639"/>
                  </a:lnTo>
                  <a:lnTo>
                    <a:pt x="1259" y="641"/>
                  </a:lnTo>
                  <a:lnTo>
                    <a:pt x="1254" y="647"/>
                  </a:lnTo>
                  <a:lnTo>
                    <a:pt x="1251" y="649"/>
                  </a:lnTo>
                  <a:lnTo>
                    <a:pt x="1243" y="646"/>
                  </a:lnTo>
                  <a:lnTo>
                    <a:pt x="1239" y="644"/>
                  </a:lnTo>
                  <a:lnTo>
                    <a:pt x="1239" y="643"/>
                  </a:lnTo>
                  <a:lnTo>
                    <a:pt x="1239" y="639"/>
                  </a:lnTo>
                  <a:lnTo>
                    <a:pt x="1241" y="630"/>
                  </a:lnTo>
                  <a:lnTo>
                    <a:pt x="1246" y="623"/>
                  </a:lnTo>
                  <a:lnTo>
                    <a:pt x="1246" y="618"/>
                  </a:lnTo>
                  <a:lnTo>
                    <a:pt x="1244" y="614"/>
                  </a:lnTo>
                  <a:lnTo>
                    <a:pt x="1239" y="613"/>
                  </a:lnTo>
                  <a:lnTo>
                    <a:pt x="1231" y="607"/>
                  </a:lnTo>
                  <a:lnTo>
                    <a:pt x="1227" y="604"/>
                  </a:lnTo>
                  <a:lnTo>
                    <a:pt x="1221" y="607"/>
                  </a:lnTo>
                  <a:lnTo>
                    <a:pt x="1214" y="613"/>
                  </a:lnTo>
                  <a:lnTo>
                    <a:pt x="1206" y="618"/>
                  </a:lnTo>
                  <a:lnTo>
                    <a:pt x="1200" y="620"/>
                  </a:lnTo>
                  <a:lnTo>
                    <a:pt x="1194" y="618"/>
                  </a:lnTo>
                  <a:lnTo>
                    <a:pt x="1188" y="620"/>
                  </a:lnTo>
                  <a:lnTo>
                    <a:pt x="1184" y="623"/>
                  </a:lnTo>
                  <a:lnTo>
                    <a:pt x="1180" y="627"/>
                  </a:lnTo>
                  <a:lnTo>
                    <a:pt x="1177" y="626"/>
                  </a:lnTo>
                  <a:lnTo>
                    <a:pt x="1174" y="623"/>
                  </a:lnTo>
                  <a:lnTo>
                    <a:pt x="1173" y="623"/>
                  </a:lnTo>
                  <a:lnTo>
                    <a:pt x="1168" y="624"/>
                  </a:lnTo>
                  <a:lnTo>
                    <a:pt x="1166" y="627"/>
                  </a:lnTo>
                  <a:lnTo>
                    <a:pt x="1164" y="631"/>
                  </a:lnTo>
                  <a:lnTo>
                    <a:pt x="1166" y="634"/>
                  </a:lnTo>
                  <a:lnTo>
                    <a:pt x="1168" y="637"/>
                  </a:lnTo>
                  <a:lnTo>
                    <a:pt x="1168" y="640"/>
                  </a:lnTo>
                  <a:lnTo>
                    <a:pt x="1168" y="641"/>
                  </a:lnTo>
                  <a:lnTo>
                    <a:pt x="1167" y="643"/>
                  </a:lnTo>
                  <a:lnTo>
                    <a:pt x="1163" y="643"/>
                  </a:lnTo>
                  <a:lnTo>
                    <a:pt x="1160" y="641"/>
                  </a:lnTo>
                  <a:lnTo>
                    <a:pt x="1157" y="640"/>
                  </a:lnTo>
                  <a:lnTo>
                    <a:pt x="1154" y="640"/>
                  </a:lnTo>
                  <a:lnTo>
                    <a:pt x="1151" y="641"/>
                  </a:lnTo>
                  <a:lnTo>
                    <a:pt x="1147" y="644"/>
                  </a:lnTo>
                  <a:lnTo>
                    <a:pt x="1141" y="651"/>
                  </a:lnTo>
                  <a:lnTo>
                    <a:pt x="1137" y="657"/>
                  </a:lnTo>
                  <a:lnTo>
                    <a:pt x="1135" y="660"/>
                  </a:lnTo>
                  <a:lnTo>
                    <a:pt x="1137" y="663"/>
                  </a:lnTo>
                  <a:lnTo>
                    <a:pt x="1140" y="666"/>
                  </a:lnTo>
                  <a:lnTo>
                    <a:pt x="1138" y="669"/>
                  </a:lnTo>
                  <a:lnTo>
                    <a:pt x="1137" y="674"/>
                  </a:lnTo>
                  <a:lnTo>
                    <a:pt x="1134" y="682"/>
                  </a:lnTo>
                  <a:lnTo>
                    <a:pt x="1127" y="686"/>
                  </a:lnTo>
                  <a:lnTo>
                    <a:pt x="1118" y="693"/>
                  </a:lnTo>
                  <a:lnTo>
                    <a:pt x="1115" y="700"/>
                  </a:lnTo>
                  <a:lnTo>
                    <a:pt x="1117" y="710"/>
                  </a:lnTo>
                  <a:lnTo>
                    <a:pt x="1115" y="714"/>
                  </a:lnTo>
                  <a:lnTo>
                    <a:pt x="1117" y="716"/>
                  </a:lnTo>
                  <a:lnTo>
                    <a:pt x="1121" y="716"/>
                  </a:lnTo>
                  <a:lnTo>
                    <a:pt x="1123" y="717"/>
                  </a:lnTo>
                  <a:lnTo>
                    <a:pt x="1123" y="720"/>
                  </a:lnTo>
                  <a:lnTo>
                    <a:pt x="1120" y="724"/>
                  </a:lnTo>
                  <a:lnTo>
                    <a:pt x="1113" y="729"/>
                  </a:lnTo>
                  <a:lnTo>
                    <a:pt x="1104" y="734"/>
                  </a:lnTo>
                  <a:lnTo>
                    <a:pt x="1094" y="739"/>
                  </a:lnTo>
                  <a:lnTo>
                    <a:pt x="1082" y="745"/>
                  </a:lnTo>
                  <a:lnTo>
                    <a:pt x="1077" y="750"/>
                  </a:lnTo>
                  <a:lnTo>
                    <a:pt x="1067" y="763"/>
                  </a:lnTo>
                  <a:lnTo>
                    <a:pt x="1055" y="777"/>
                  </a:lnTo>
                  <a:lnTo>
                    <a:pt x="1050" y="783"/>
                  </a:lnTo>
                  <a:lnTo>
                    <a:pt x="1042" y="786"/>
                  </a:lnTo>
                  <a:lnTo>
                    <a:pt x="1035" y="790"/>
                  </a:lnTo>
                  <a:lnTo>
                    <a:pt x="1028" y="795"/>
                  </a:lnTo>
                  <a:lnTo>
                    <a:pt x="1027" y="798"/>
                  </a:lnTo>
                  <a:lnTo>
                    <a:pt x="1025" y="802"/>
                  </a:lnTo>
                  <a:lnTo>
                    <a:pt x="1022" y="802"/>
                  </a:lnTo>
                  <a:lnTo>
                    <a:pt x="1019" y="802"/>
                  </a:lnTo>
                  <a:lnTo>
                    <a:pt x="1018" y="805"/>
                  </a:lnTo>
                  <a:lnTo>
                    <a:pt x="1015" y="809"/>
                  </a:lnTo>
                  <a:lnTo>
                    <a:pt x="1008" y="822"/>
                  </a:lnTo>
                  <a:lnTo>
                    <a:pt x="1001" y="829"/>
                  </a:lnTo>
                  <a:lnTo>
                    <a:pt x="994" y="833"/>
                  </a:lnTo>
                  <a:lnTo>
                    <a:pt x="988" y="833"/>
                  </a:lnTo>
                  <a:lnTo>
                    <a:pt x="984" y="836"/>
                  </a:lnTo>
                  <a:lnTo>
                    <a:pt x="982" y="840"/>
                  </a:lnTo>
                  <a:lnTo>
                    <a:pt x="979" y="846"/>
                  </a:lnTo>
                  <a:lnTo>
                    <a:pt x="981" y="851"/>
                  </a:lnTo>
                  <a:lnTo>
                    <a:pt x="981" y="855"/>
                  </a:lnTo>
                  <a:lnTo>
                    <a:pt x="981" y="858"/>
                  </a:lnTo>
                  <a:lnTo>
                    <a:pt x="982" y="865"/>
                  </a:lnTo>
                  <a:lnTo>
                    <a:pt x="976" y="875"/>
                  </a:lnTo>
                  <a:lnTo>
                    <a:pt x="971" y="882"/>
                  </a:lnTo>
                  <a:lnTo>
                    <a:pt x="959" y="889"/>
                  </a:lnTo>
                  <a:lnTo>
                    <a:pt x="951" y="911"/>
                  </a:lnTo>
                  <a:lnTo>
                    <a:pt x="951" y="918"/>
                  </a:lnTo>
                  <a:lnTo>
                    <a:pt x="956" y="921"/>
                  </a:lnTo>
                  <a:lnTo>
                    <a:pt x="959" y="925"/>
                  </a:lnTo>
                  <a:lnTo>
                    <a:pt x="949" y="932"/>
                  </a:lnTo>
                  <a:lnTo>
                    <a:pt x="936" y="944"/>
                  </a:lnTo>
                  <a:lnTo>
                    <a:pt x="932" y="946"/>
                  </a:lnTo>
                  <a:lnTo>
                    <a:pt x="928" y="946"/>
                  </a:lnTo>
                  <a:lnTo>
                    <a:pt x="926" y="952"/>
                  </a:lnTo>
                  <a:lnTo>
                    <a:pt x="923" y="955"/>
                  </a:lnTo>
                  <a:lnTo>
                    <a:pt x="911" y="961"/>
                  </a:lnTo>
                  <a:lnTo>
                    <a:pt x="901" y="969"/>
                  </a:lnTo>
                  <a:lnTo>
                    <a:pt x="892" y="992"/>
                  </a:lnTo>
                  <a:lnTo>
                    <a:pt x="858" y="1025"/>
                  </a:lnTo>
                  <a:lnTo>
                    <a:pt x="852" y="1024"/>
                  </a:lnTo>
                  <a:lnTo>
                    <a:pt x="850" y="1022"/>
                  </a:lnTo>
                  <a:lnTo>
                    <a:pt x="830" y="1030"/>
                  </a:lnTo>
                  <a:lnTo>
                    <a:pt x="816" y="1022"/>
                  </a:lnTo>
                  <a:lnTo>
                    <a:pt x="810" y="1027"/>
                  </a:lnTo>
                  <a:lnTo>
                    <a:pt x="709" y="948"/>
                  </a:lnTo>
                  <a:lnTo>
                    <a:pt x="706" y="951"/>
                  </a:lnTo>
                  <a:lnTo>
                    <a:pt x="681" y="924"/>
                  </a:lnTo>
                  <a:lnTo>
                    <a:pt x="671" y="924"/>
                  </a:lnTo>
                  <a:lnTo>
                    <a:pt x="664" y="934"/>
                  </a:lnTo>
                  <a:lnTo>
                    <a:pt x="657" y="925"/>
                  </a:lnTo>
                  <a:lnTo>
                    <a:pt x="638" y="941"/>
                  </a:lnTo>
                  <a:lnTo>
                    <a:pt x="641" y="944"/>
                  </a:lnTo>
                  <a:lnTo>
                    <a:pt x="630" y="952"/>
                  </a:lnTo>
                  <a:lnTo>
                    <a:pt x="603" y="922"/>
                  </a:lnTo>
                  <a:lnTo>
                    <a:pt x="588" y="934"/>
                  </a:lnTo>
                  <a:lnTo>
                    <a:pt x="563" y="899"/>
                  </a:lnTo>
                  <a:lnTo>
                    <a:pt x="544" y="915"/>
                  </a:lnTo>
                  <a:lnTo>
                    <a:pt x="537" y="906"/>
                  </a:lnTo>
                  <a:lnTo>
                    <a:pt x="517" y="921"/>
                  </a:lnTo>
                  <a:lnTo>
                    <a:pt x="458" y="851"/>
                  </a:lnTo>
                  <a:lnTo>
                    <a:pt x="442" y="865"/>
                  </a:lnTo>
                  <a:lnTo>
                    <a:pt x="418" y="839"/>
                  </a:lnTo>
                  <a:lnTo>
                    <a:pt x="437" y="822"/>
                  </a:lnTo>
                  <a:lnTo>
                    <a:pt x="418" y="803"/>
                  </a:lnTo>
                  <a:lnTo>
                    <a:pt x="406" y="790"/>
                  </a:lnTo>
                  <a:lnTo>
                    <a:pt x="388" y="805"/>
                  </a:lnTo>
                  <a:lnTo>
                    <a:pt x="379" y="796"/>
                  </a:lnTo>
                  <a:lnTo>
                    <a:pt x="369" y="783"/>
                  </a:lnTo>
                  <a:lnTo>
                    <a:pt x="352" y="796"/>
                  </a:lnTo>
                  <a:lnTo>
                    <a:pt x="329" y="765"/>
                  </a:lnTo>
                  <a:lnTo>
                    <a:pt x="289" y="795"/>
                  </a:lnTo>
                  <a:lnTo>
                    <a:pt x="305" y="825"/>
                  </a:lnTo>
                  <a:lnTo>
                    <a:pt x="300" y="828"/>
                  </a:lnTo>
                  <a:lnTo>
                    <a:pt x="305" y="833"/>
                  </a:lnTo>
                  <a:lnTo>
                    <a:pt x="306" y="838"/>
                  </a:lnTo>
                  <a:lnTo>
                    <a:pt x="295" y="845"/>
                  </a:lnTo>
                  <a:lnTo>
                    <a:pt x="299" y="852"/>
                  </a:lnTo>
                  <a:lnTo>
                    <a:pt x="283" y="866"/>
                  </a:lnTo>
                  <a:lnTo>
                    <a:pt x="282" y="859"/>
                  </a:lnTo>
                  <a:lnTo>
                    <a:pt x="282" y="853"/>
                  </a:lnTo>
                  <a:lnTo>
                    <a:pt x="282" y="848"/>
                  </a:lnTo>
                  <a:lnTo>
                    <a:pt x="280" y="840"/>
                  </a:lnTo>
                  <a:lnTo>
                    <a:pt x="279" y="835"/>
                  </a:lnTo>
                  <a:lnTo>
                    <a:pt x="275" y="836"/>
                  </a:lnTo>
                  <a:lnTo>
                    <a:pt x="269" y="838"/>
                  </a:lnTo>
                  <a:lnTo>
                    <a:pt x="263" y="840"/>
                  </a:lnTo>
                  <a:lnTo>
                    <a:pt x="247" y="846"/>
                  </a:lnTo>
                  <a:lnTo>
                    <a:pt x="246" y="848"/>
                  </a:lnTo>
                  <a:lnTo>
                    <a:pt x="240" y="851"/>
                  </a:lnTo>
                  <a:lnTo>
                    <a:pt x="233" y="852"/>
                  </a:lnTo>
                  <a:lnTo>
                    <a:pt x="226" y="853"/>
                  </a:lnTo>
                  <a:lnTo>
                    <a:pt x="222" y="853"/>
                  </a:lnTo>
                  <a:lnTo>
                    <a:pt x="219" y="853"/>
                  </a:lnTo>
                  <a:lnTo>
                    <a:pt x="213" y="855"/>
                  </a:lnTo>
                  <a:lnTo>
                    <a:pt x="207" y="856"/>
                  </a:lnTo>
                  <a:lnTo>
                    <a:pt x="202" y="858"/>
                  </a:lnTo>
                  <a:lnTo>
                    <a:pt x="197" y="855"/>
                  </a:lnTo>
                  <a:lnTo>
                    <a:pt x="197" y="851"/>
                  </a:lnTo>
                  <a:lnTo>
                    <a:pt x="200" y="846"/>
                  </a:lnTo>
                  <a:lnTo>
                    <a:pt x="202" y="840"/>
                  </a:lnTo>
                  <a:lnTo>
                    <a:pt x="203" y="835"/>
                  </a:lnTo>
                  <a:lnTo>
                    <a:pt x="199" y="829"/>
                  </a:lnTo>
                  <a:lnTo>
                    <a:pt x="196" y="825"/>
                  </a:lnTo>
                  <a:lnTo>
                    <a:pt x="194" y="820"/>
                  </a:lnTo>
                  <a:lnTo>
                    <a:pt x="193" y="818"/>
                  </a:lnTo>
                  <a:lnTo>
                    <a:pt x="190" y="815"/>
                  </a:lnTo>
                  <a:lnTo>
                    <a:pt x="186" y="816"/>
                  </a:lnTo>
                  <a:lnTo>
                    <a:pt x="182" y="818"/>
                  </a:lnTo>
                  <a:lnTo>
                    <a:pt x="179" y="820"/>
                  </a:lnTo>
                  <a:lnTo>
                    <a:pt x="174" y="820"/>
                  </a:lnTo>
                  <a:lnTo>
                    <a:pt x="172" y="822"/>
                  </a:lnTo>
                  <a:lnTo>
                    <a:pt x="166" y="823"/>
                  </a:lnTo>
                  <a:lnTo>
                    <a:pt x="163" y="823"/>
                  </a:lnTo>
                  <a:lnTo>
                    <a:pt x="162" y="825"/>
                  </a:lnTo>
                  <a:lnTo>
                    <a:pt x="159" y="829"/>
                  </a:lnTo>
                  <a:lnTo>
                    <a:pt x="153" y="829"/>
                  </a:lnTo>
                  <a:lnTo>
                    <a:pt x="149" y="822"/>
                  </a:lnTo>
                  <a:lnTo>
                    <a:pt x="146" y="818"/>
                  </a:lnTo>
                  <a:lnTo>
                    <a:pt x="140" y="815"/>
                  </a:lnTo>
                  <a:lnTo>
                    <a:pt x="136" y="813"/>
                  </a:lnTo>
                  <a:lnTo>
                    <a:pt x="133" y="810"/>
                  </a:lnTo>
                  <a:lnTo>
                    <a:pt x="129" y="806"/>
                  </a:lnTo>
                  <a:lnTo>
                    <a:pt x="121" y="805"/>
                  </a:lnTo>
                  <a:lnTo>
                    <a:pt x="116" y="808"/>
                  </a:lnTo>
                  <a:lnTo>
                    <a:pt x="113" y="810"/>
                  </a:lnTo>
                  <a:lnTo>
                    <a:pt x="107" y="810"/>
                  </a:lnTo>
                  <a:lnTo>
                    <a:pt x="104" y="803"/>
                  </a:lnTo>
                  <a:lnTo>
                    <a:pt x="99" y="795"/>
                  </a:lnTo>
                  <a:lnTo>
                    <a:pt x="86" y="798"/>
                  </a:lnTo>
                  <a:lnTo>
                    <a:pt x="89" y="803"/>
                  </a:lnTo>
                  <a:lnTo>
                    <a:pt x="87" y="805"/>
                  </a:lnTo>
                  <a:lnTo>
                    <a:pt x="80" y="802"/>
                  </a:lnTo>
                  <a:lnTo>
                    <a:pt x="77" y="799"/>
                  </a:lnTo>
                  <a:lnTo>
                    <a:pt x="73" y="799"/>
                  </a:lnTo>
                  <a:lnTo>
                    <a:pt x="64" y="805"/>
                  </a:lnTo>
                  <a:lnTo>
                    <a:pt x="56" y="809"/>
                  </a:lnTo>
                  <a:lnTo>
                    <a:pt x="54" y="813"/>
                  </a:lnTo>
                  <a:lnTo>
                    <a:pt x="54" y="816"/>
                  </a:lnTo>
                  <a:lnTo>
                    <a:pt x="50" y="820"/>
                  </a:lnTo>
                  <a:lnTo>
                    <a:pt x="46" y="825"/>
                  </a:lnTo>
                  <a:lnTo>
                    <a:pt x="37" y="829"/>
                  </a:lnTo>
                  <a:lnTo>
                    <a:pt x="40" y="835"/>
                  </a:lnTo>
                  <a:lnTo>
                    <a:pt x="38" y="838"/>
                  </a:lnTo>
                  <a:lnTo>
                    <a:pt x="37" y="839"/>
                  </a:lnTo>
                  <a:lnTo>
                    <a:pt x="33" y="842"/>
                  </a:lnTo>
                  <a:lnTo>
                    <a:pt x="28" y="845"/>
                  </a:lnTo>
                  <a:lnTo>
                    <a:pt x="20" y="852"/>
                  </a:lnTo>
                  <a:lnTo>
                    <a:pt x="11" y="842"/>
                  </a:lnTo>
                  <a:lnTo>
                    <a:pt x="1" y="832"/>
                  </a:lnTo>
                  <a:lnTo>
                    <a:pt x="7" y="828"/>
                  </a:lnTo>
                  <a:lnTo>
                    <a:pt x="14" y="822"/>
                  </a:lnTo>
                  <a:lnTo>
                    <a:pt x="24" y="815"/>
                  </a:lnTo>
                  <a:lnTo>
                    <a:pt x="25" y="810"/>
                  </a:lnTo>
                  <a:lnTo>
                    <a:pt x="24" y="806"/>
                  </a:lnTo>
                  <a:lnTo>
                    <a:pt x="20" y="802"/>
                  </a:lnTo>
                  <a:lnTo>
                    <a:pt x="14" y="796"/>
                  </a:lnTo>
                  <a:lnTo>
                    <a:pt x="18" y="792"/>
                  </a:lnTo>
                  <a:lnTo>
                    <a:pt x="18" y="787"/>
                  </a:lnTo>
                  <a:lnTo>
                    <a:pt x="18" y="782"/>
                  </a:lnTo>
                  <a:lnTo>
                    <a:pt x="14" y="777"/>
                  </a:lnTo>
                  <a:lnTo>
                    <a:pt x="5" y="772"/>
                  </a:lnTo>
                  <a:lnTo>
                    <a:pt x="17" y="763"/>
                  </a:lnTo>
                  <a:lnTo>
                    <a:pt x="30" y="755"/>
                  </a:lnTo>
                  <a:lnTo>
                    <a:pt x="0" y="714"/>
                  </a:lnTo>
                  <a:lnTo>
                    <a:pt x="37" y="676"/>
                  </a:lnTo>
                  <a:lnTo>
                    <a:pt x="44" y="660"/>
                  </a:lnTo>
                  <a:lnTo>
                    <a:pt x="58" y="656"/>
                  </a:lnTo>
                  <a:lnTo>
                    <a:pt x="74" y="659"/>
                  </a:lnTo>
                  <a:lnTo>
                    <a:pt x="84" y="656"/>
                  </a:lnTo>
                  <a:lnTo>
                    <a:pt x="83" y="640"/>
                  </a:lnTo>
                  <a:lnTo>
                    <a:pt x="84" y="636"/>
                  </a:lnTo>
                  <a:lnTo>
                    <a:pt x="91" y="626"/>
                  </a:lnTo>
                  <a:lnTo>
                    <a:pt x="96" y="621"/>
                  </a:lnTo>
                  <a:lnTo>
                    <a:pt x="99" y="617"/>
                  </a:lnTo>
                  <a:lnTo>
                    <a:pt x="104" y="616"/>
                  </a:lnTo>
                  <a:lnTo>
                    <a:pt x="123" y="578"/>
                  </a:lnTo>
                  <a:lnTo>
                    <a:pt x="123" y="578"/>
                  </a:lnTo>
                  <a:lnTo>
                    <a:pt x="146" y="565"/>
                  </a:lnTo>
                  <a:lnTo>
                    <a:pt x="183" y="573"/>
                  </a:lnTo>
                  <a:lnTo>
                    <a:pt x="183" y="573"/>
                  </a:lnTo>
                  <a:lnTo>
                    <a:pt x="192" y="577"/>
                  </a:lnTo>
                  <a:lnTo>
                    <a:pt x="200" y="583"/>
                  </a:lnTo>
                  <a:lnTo>
                    <a:pt x="207" y="591"/>
                  </a:lnTo>
                  <a:lnTo>
                    <a:pt x="269" y="553"/>
                  </a:lnTo>
                  <a:lnTo>
                    <a:pt x="247" y="521"/>
                  </a:lnTo>
                  <a:lnTo>
                    <a:pt x="308" y="478"/>
                  </a:lnTo>
                  <a:lnTo>
                    <a:pt x="313" y="480"/>
                  </a:lnTo>
                  <a:lnTo>
                    <a:pt x="323" y="481"/>
                  </a:lnTo>
                  <a:lnTo>
                    <a:pt x="335" y="474"/>
                  </a:lnTo>
                  <a:lnTo>
                    <a:pt x="351" y="464"/>
                  </a:lnTo>
                  <a:lnTo>
                    <a:pt x="366" y="452"/>
                  </a:lnTo>
                  <a:lnTo>
                    <a:pt x="379" y="444"/>
                  </a:lnTo>
                  <a:lnTo>
                    <a:pt x="409" y="424"/>
                  </a:lnTo>
                  <a:lnTo>
                    <a:pt x="401" y="411"/>
                  </a:lnTo>
                  <a:lnTo>
                    <a:pt x="385" y="391"/>
                  </a:lnTo>
                  <a:lnTo>
                    <a:pt x="368" y="368"/>
                  </a:lnTo>
                  <a:lnTo>
                    <a:pt x="345" y="381"/>
                  </a:lnTo>
                  <a:lnTo>
                    <a:pt x="332" y="362"/>
                  </a:lnTo>
                  <a:lnTo>
                    <a:pt x="298" y="384"/>
                  </a:lnTo>
                  <a:lnTo>
                    <a:pt x="300" y="395"/>
                  </a:lnTo>
                  <a:lnTo>
                    <a:pt x="283" y="407"/>
                  </a:lnTo>
                  <a:lnTo>
                    <a:pt x="250" y="365"/>
                  </a:lnTo>
                  <a:lnTo>
                    <a:pt x="232" y="382"/>
                  </a:lnTo>
                  <a:lnTo>
                    <a:pt x="219" y="366"/>
                  </a:lnTo>
                  <a:lnTo>
                    <a:pt x="239" y="351"/>
                  </a:lnTo>
                  <a:lnTo>
                    <a:pt x="232" y="344"/>
                  </a:lnTo>
                  <a:lnTo>
                    <a:pt x="268" y="312"/>
                  </a:lnTo>
                  <a:lnTo>
                    <a:pt x="283" y="276"/>
                  </a:lnTo>
                  <a:lnTo>
                    <a:pt x="313" y="283"/>
                  </a:lnTo>
                  <a:lnTo>
                    <a:pt x="348" y="276"/>
                  </a:lnTo>
                  <a:lnTo>
                    <a:pt x="335" y="252"/>
                  </a:lnTo>
                  <a:lnTo>
                    <a:pt x="332" y="239"/>
                  </a:lnTo>
                  <a:lnTo>
                    <a:pt x="332" y="225"/>
                  </a:lnTo>
                  <a:lnTo>
                    <a:pt x="345" y="199"/>
                  </a:lnTo>
                  <a:lnTo>
                    <a:pt x="351" y="199"/>
                  </a:lnTo>
                  <a:lnTo>
                    <a:pt x="358" y="199"/>
                  </a:lnTo>
                  <a:lnTo>
                    <a:pt x="361" y="196"/>
                  </a:lnTo>
                  <a:lnTo>
                    <a:pt x="366" y="190"/>
                  </a:lnTo>
                  <a:lnTo>
                    <a:pt x="372" y="173"/>
                  </a:lnTo>
                  <a:lnTo>
                    <a:pt x="372" y="163"/>
                  </a:lnTo>
                  <a:lnTo>
                    <a:pt x="372" y="153"/>
                  </a:lnTo>
                  <a:lnTo>
                    <a:pt x="371" y="146"/>
                  </a:lnTo>
                  <a:lnTo>
                    <a:pt x="371" y="136"/>
                  </a:lnTo>
                  <a:lnTo>
                    <a:pt x="371" y="129"/>
                  </a:lnTo>
                  <a:lnTo>
                    <a:pt x="371" y="127"/>
                  </a:lnTo>
                  <a:lnTo>
                    <a:pt x="369" y="123"/>
                  </a:lnTo>
                  <a:lnTo>
                    <a:pt x="368" y="119"/>
                  </a:lnTo>
                  <a:lnTo>
                    <a:pt x="365" y="114"/>
                  </a:lnTo>
                  <a:lnTo>
                    <a:pt x="362" y="110"/>
                  </a:lnTo>
                  <a:lnTo>
                    <a:pt x="361" y="107"/>
                  </a:lnTo>
                  <a:lnTo>
                    <a:pt x="358" y="103"/>
                  </a:lnTo>
                  <a:lnTo>
                    <a:pt x="358" y="103"/>
                  </a:lnTo>
                  <a:lnTo>
                    <a:pt x="353" y="96"/>
                  </a:lnTo>
                  <a:lnTo>
                    <a:pt x="352" y="89"/>
                  </a:lnTo>
                  <a:lnTo>
                    <a:pt x="349" y="73"/>
                  </a:lnTo>
                  <a:lnTo>
                    <a:pt x="351" y="56"/>
                  </a:lnTo>
                  <a:lnTo>
                    <a:pt x="352" y="47"/>
                  </a:lnTo>
                  <a:lnTo>
                    <a:pt x="353" y="41"/>
                  </a:lnTo>
                  <a:lnTo>
                    <a:pt x="385" y="54"/>
                  </a:lnTo>
                  <a:lnTo>
                    <a:pt x="411" y="81"/>
                  </a:lnTo>
                  <a:lnTo>
                    <a:pt x="421" y="83"/>
                  </a:lnTo>
                  <a:lnTo>
                    <a:pt x="505" y="162"/>
                  </a:lnTo>
                  <a:lnTo>
                    <a:pt x="502" y="164"/>
                  </a:lnTo>
                  <a:lnTo>
                    <a:pt x="492" y="177"/>
                  </a:lnTo>
                  <a:lnTo>
                    <a:pt x="507" y="193"/>
                  </a:lnTo>
                  <a:lnTo>
                    <a:pt x="510" y="190"/>
                  </a:lnTo>
                  <a:lnTo>
                    <a:pt x="517" y="185"/>
                  </a:lnTo>
                  <a:lnTo>
                    <a:pt x="518" y="182"/>
                  </a:lnTo>
                  <a:lnTo>
                    <a:pt x="521" y="180"/>
                  </a:lnTo>
                  <a:lnTo>
                    <a:pt x="522" y="180"/>
                  </a:lnTo>
                  <a:lnTo>
                    <a:pt x="544" y="203"/>
                  </a:lnTo>
                  <a:lnTo>
                    <a:pt x="561" y="189"/>
                  </a:lnTo>
                  <a:lnTo>
                    <a:pt x="564" y="193"/>
                  </a:lnTo>
                  <a:lnTo>
                    <a:pt x="585" y="222"/>
                  </a:lnTo>
                  <a:lnTo>
                    <a:pt x="607" y="207"/>
                  </a:lnTo>
                  <a:lnTo>
                    <a:pt x="640" y="259"/>
                  </a:lnTo>
                  <a:lnTo>
                    <a:pt x="644" y="256"/>
                  </a:lnTo>
                  <a:lnTo>
                    <a:pt x="686" y="229"/>
                  </a:lnTo>
                  <a:lnTo>
                    <a:pt x="669" y="203"/>
                  </a:lnTo>
                  <a:lnTo>
                    <a:pt x="691" y="126"/>
                  </a:lnTo>
                  <a:lnTo>
                    <a:pt x="653" y="106"/>
                  </a:lnTo>
                  <a:lnTo>
                    <a:pt x="756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05" name="Freeform 153"/>
            <p:cNvSpPr>
              <a:spLocks/>
            </p:cNvSpPr>
            <p:nvPr/>
          </p:nvSpPr>
          <p:spPr bwMode="auto">
            <a:xfrm>
              <a:off x="3803893" y="3773724"/>
              <a:ext cx="20759" cy="22489"/>
            </a:xfrm>
            <a:custGeom>
              <a:avLst/>
              <a:gdLst>
                <a:gd name="T0" fmla="*/ 34 w 34"/>
                <a:gd name="T1" fmla="*/ 0 h 33"/>
                <a:gd name="T2" fmla="*/ 0 w 34"/>
                <a:gd name="T3" fmla="*/ 33 h 33"/>
                <a:gd name="T4" fmla="*/ 12 w 34"/>
                <a:gd name="T5" fmla="*/ 25 h 33"/>
                <a:gd name="T6" fmla="*/ 12 w 34"/>
                <a:gd name="T7" fmla="*/ 15 h 33"/>
                <a:gd name="T8" fmla="*/ 17 w 34"/>
                <a:gd name="T9" fmla="*/ 9 h 33"/>
                <a:gd name="T10" fmla="*/ 25 w 34"/>
                <a:gd name="T11" fmla="*/ 3 h 33"/>
                <a:gd name="T12" fmla="*/ 30 w 34"/>
                <a:gd name="T13" fmla="*/ 2 h 33"/>
                <a:gd name="T14" fmla="*/ 34 w 34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33">
                  <a:moveTo>
                    <a:pt x="34" y="0"/>
                  </a:moveTo>
                  <a:lnTo>
                    <a:pt x="0" y="33"/>
                  </a:lnTo>
                  <a:lnTo>
                    <a:pt x="12" y="25"/>
                  </a:lnTo>
                  <a:lnTo>
                    <a:pt x="12" y="15"/>
                  </a:lnTo>
                  <a:lnTo>
                    <a:pt x="17" y="9"/>
                  </a:lnTo>
                  <a:lnTo>
                    <a:pt x="25" y="3"/>
                  </a:lnTo>
                  <a:lnTo>
                    <a:pt x="30" y="2"/>
                  </a:lnTo>
                  <a:lnTo>
                    <a:pt x="34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06" name="Freeform 154"/>
            <p:cNvSpPr>
              <a:spLocks/>
            </p:cNvSpPr>
            <p:nvPr/>
          </p:nvSpPr>
          <p:spPr bwMode="auto">
            <a:xfrm>
              <a:off x="2504598" y="2850337"/>
              <a:ext cx="300401" cy="300299"/>
            </a:xfrm>
            <a:custGeom>
              <a:avLst/>
              <a:gdLst>
                <a:gd name="T0" fmla="*/ 484 w 492"/>
                <a:gd name="T1" fmla="*/ 438 h 454"/>
                <a:gd name="T2" fmla="*/ 477 w 492"/>
                <a:gd name="T3" fmla="*/ 412 h 454"/>
                <a:gd name="T4" fmla="*/ 484 w 492"/>
                <a:gd name="T5" fmla="*/ 387 h 454"/>
                <a:gd name="T6" fmla="*/ 467 w 492"/>
                <a:gd name="T7" fmla="*/ 368 h 454"/>
                <a:gd name="T8" fmla="*/ 472 w 492"/>
                <a:gd name="T9" fmla="*/ 344 h 454"/>
                <a:gd name="T10" fmla="*/ 467 w 492"/>
                <a:gd name="T11" fmla="*/ 319 h 454"/>
                <a:gd name="T12" fmla="*/ 470 w 492"/>
                <a:gd name="T13" fmla="*/ 309 h 454"/>
                <a:gd name="T14" fmla="*/ 470 w 492"/>
                <a:gd name="T15" fmla="*/ 288 h 454"/>
                <a:gd name="T16" fmla="*/ 453 w 492"/>
                <a:gd name="T17" fmla="*/ 261 h 454"/>
                <a:gd name="T18" fmla="*/ 447 w 492"/>
                <a:gd name="T19" fmla="*/ 223 h 454"/>
                <a:gd name="T20" fmla="*/ 441 w 492"/>
                <a:gd name="T21" fmla="*/ 175 h 454"/>
                <a:gd name="T22" fmla="*/ 429 w 492"/>
                <a:gd name="T23" fmla="*/ 150 h 454"/>
                <a:gd name="T24" fmla="*/ 387 w 492"/>
                <a:gd name="T25" fmla="*/ 152 h 454"/>
                <a:gd name="T26" fmla="*/ 381 w 492"/>
                <a:gd name="T27" fmla="*/ 122 h 454"/>
                <a:gd name="T28" fmla="*/ 396 w 492"/>
                <a:gd name="T29" fmla="*/ 82 h 454"/>
                <a:gd name="T30" fmla="*/ 376 w 492"/>
                <a:gd name="T31" fmla="*/ 51 h 454"/>
                <a:gd name="T32" fmla="*/ 341 w 492"/>
                <a:gd name="T33" fmla="*/ 64 h 454"/>
                <a:gd name="T34" fmla="*/ 314 w 492"/>
                <a:gd name="T35" fmla="*/ 57 h 454"/>
                <a:gd name="T36" fmla="*/ 284 w 492"/>
                <a:gd name="T37" fmla="*/ 43 h 454"/>
                <a:gd name="T38" fmla="*/ 245 w 492"/>
                <a:gd name="T39" fmla="*/ 41 h 454"/>
                <a:gd name="T40" fmla="*/ 234 w 492"/>
                <a:gd name="T41" fmla="*/ 24 h 454"/>
                <a:gd name="T42" fmla="*/ 221 w 492"/>
                <a:gd name="T43" fmla="*/ 0 h 454"/>
                <a:gd name="T44" fmla="*/ 207 w 492"/>
                <a:gd name="T45" fmla="*/ 10 h 454"/>
                <a:gd name="T46" fmla="*/ 145 w 492"/>
                <a:gd name="T47" fmla="*/ 17 h 454"/>
                <a:gd name="T48" fmla="*/ 128 w 492"/>
                <a:gd name="T49" fmla="*/ 13 h 454"/>
                <a:gd name="T50" fmla="*/ 118 w 492"/>
                <a:gd name="T51" fmla="*/ 27 h 454"/>
                <a:gd name="T52" fmla="*/ 106 w 492"/>
                <a:gd name="T53" fmla="*/ 44 h 454"/>
                <a:gd name="T54" fmla="*/ 111 w 492"/>
                <a:gd name="T55" fmla="*/ 74 h 454"/>
                <a:gd name="T56" fmla="*/ 111 w 492"/>
                <a:gd name="T57" fmla="*/ 89 h 454"/>
                <a:gd name="T58" fmla="*/ 115 w 492"/>
                <a:gd name="T59" fmla="*/ 106 h 454"/>
                <a:gd name="T60" fmla="*/ 101 w 492"/>
                <a:gd name="T61" fmla="*/ 96 h 454"/>
                <a:gd name="T62" fmla="*/ 99 w 492"/>
                <a:gd name="T63" fmla="*/ 109 h 454"/>
                <a:gd name="T64" fmla="*/ 89 w 492"/>
                <a:gd name="T65" fmla="*/ 130 h 454"/>
                <a:gd name="T66" fmla="*/ 85 w 492"/>
                <a:gd name="T67" fmla="*/ 136 h 454"/>
                <a:gd name="T68" fmla="*/ 62 w 492"/>
                <a:gd name="T69" fmla="*/ 127 h 454"/>
                <a:gd name="T70" fmla="*/ 45 w 492"/>
                <a:gd name="T71" fmla="*/ 127 h 454"/>
                <a:gd name="T72" fmla="*/ 50 w 492"/>
                <a:gd name="T73" fmla="*/ 135 h 454"/>
                <a:gd name="T74" fmla="*/ 49 w 492"/>
                <a:gd name="T75" fmla="*/ 149 h 454"/>
                <a:gd name="T76" fmla="*/ 38 w 492"/>
                <a:gd name="T77" fmla="*/ 166 h 454"/>
                <a:gd name="T78" fmla="*/ 9 w 492"/>
                <a:gd name="T79" fmla="*/ 177 h 454"/>
                <a:gd name="T80" fmla="*/ 12 w 492"/>
                <a:gd name="T81" fmla="*/ 203 h 454"/>
                <a:gd name="T82" fmla="*/ 18 w 492"/>
                <a:gd name="T83" fmla="*/ 225 h 454"/>
                <a:gd name="T84" fmla="*/ 36 w 492"/>
                <a:gd name="T85" fmla="*/ 251 h 454"/>
                <a:gd name="T86" fmla="*/ 56 w 492"/>
                <a:gd name="T87" fmla="*/ 261 h 454"/>
                <a:gd name="T88" fmla="*/ 76 w 492"/>
                <a:gd name="T89" fmla="*/ 268 h 454"/>
                <a:gd name="T90" fmla="*/ 98 w 492"/>
                <a:gd name="T91" fmla="*/ 276 h 454"/>
                <a:gd name="T92" fmla="*/ 111 w 492"/>
                <a:gd name="T93" fmla="*/ 281 h 454"/>
                <a:gd name="T94" fmla="*/ 134 w 492"/>
                <a:gd name="T95" fmla="*/ 296 h 454"/>
                <a:gd name="T96" fmla="*/ 168 w 492"/>
                <a:gd name="T97" fmla="*/ 306 h 454"/>
                <a:gd name="T98" fmla="*/ 215 w 492"/>
                <a:gd name="T99" fmla="*/ 321 h 454"/>
                <a:gd name="T100" fmla="*/ 247 w 492"/>
                <a:gd name="T101" fmla="*/ 328 h 454"/>
                <a:gd name="T102" fmla="*/ 280 w 492"/>
                <a:gd name="T103" fmla="*/ 316 h 454"/>
                <a:gd name="T104" fmla="*/ 303 w 492"/>
                <a:gd name="T105" fmla="*/ 309 h 454"/>
                <a:gd name="T106" fmla="*/ 318 w 492"/>
                <a:gd name="T107" fmla="*/ 326 h 454"/>
                <a:gd name="T108" fmla="*/ 333 w 492"/>
                <a:gd name="T109" fmla="*/ 351 h 454"/>
                <a:gd name="T110" fmla="*/ 337 w 492"/>
                <a:gd name="T111" fmla="*/ 388 h 454"/>
                <a:gd name="T112" fmla="*/ 366 w 492"/>
                <a:gd name="T113" fmla="*/ 389 h 454"/>
                <a:gd name="T114" fmla="*/ 380 w 492"/>
                <a:gd name="T115" fmla="*/ 411 h 454"/>
                <a:gd name="T116" fmla="*/ 406 w 492"/>
                <a:gd name="T117" fmla="*/ 407 h 454"/>
                <a:gd name="T118" fmla="*/ 429 w 492"/>
                <a:gd name="T119" fmla="*/ 427 h 454"/>
                <a:gd name="T120" fmla="*/ 460 w 492"/>
                <a:gd name="T121" fmla="*/ 452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92" h="454">
                  <a:moveTo>
                    <a:pt x="470" y="454"/>
                  </a:moveTo>
                  <a:lnTo>
                    <a:pt x="472" y="452"/>
                  </a:lnTo>
                  <a:lnTo>
                    <a:pt x="472" y="451"/>
                  </a:lnTo>
                  <a:lnTo>
                    <a:pt x="476" y="451"/>
                  </a:lnTo>
                  <a:lnTo>
                    <a:pt x="477" y="448"/>
                  </a:lnTo>
                  <a:lnTo>
                    <a:pt x="479" y="442"/>
                  </a:lnTo>
                  <a:lnTo>
                    <a:pt x="480" y="441"/>
                  </a:lnTo>
                  <a:lnTo>
                    <a:pt x="484" y="438"/>
                  </a:lnTo>
                  <a:lnTo>
                    <a:pt x="487" y="434"/>
                  </a:lnTo>
                  <a:lnTo>
                    <a:pt x="490" y="431"/>
                  </a:lnTo>
                  <a:lnTo>
                    <a:pt x="489" y="427"/>
                  </a:lnTo>
                  <a:lnTo>
                    <a:pt x="486" y="425"/>
                  </a:lnTo>
                  <a:lnTo>
                    <a:pt x="482" y="424"/>
                  </a:lnTo>
                  <a:lnTo>
                    <a:pt x="477" y="420"/>
                  </a:lnTo>
                  <a:lnTo>
                    <a:pt x="477" y="417"/>
                  </a:lnTo>
                  <a:lnTo>
                    <a:pt x="477" y="412"/>
                  </a:lnTo>
                  <a:lnTo>
                    <a:pt x="480" y="405"/>
                  </a:lnTo>
                  <a:lnTo>
                    <a:pt x="489" y="402"/>
                  </a:lnTo>
                  <a:lnTo>
                    <a:pt x="490" y="397"/>
                  </a:lnTo>
                  <a:lnTo>
                    <a:pt x="492" y="394"/>
                  </a:lnTo>
                  <a:lnTo>
                    <a:pt x="492" y="392"/>
                  </a:lnTo>
                  <a:lnTo>
                    <a:pt x="490" y="389"/>
                  </a:lnTo>
                  <a:lnTo>
                    <a:pt x="486" y="389"/>
                  </a:lnTo>
                  <a:lnTo>
                    <a:pt x="484" y="387"/>
                  </a:lnTo>
                  <a:lnTo>
                    <a:pt x="484" y="384"/>
                  </a:lnTo>
                  <a:lnTo>
                    <a:pt x="484" y="381"/>
                  </a:lnTo>
                  <a:lnTo>
                    <a:pt x="483" y="375"/>
                  </a:lnTo>
                  <a:lnTo>
                    <a:pt x="482" y="374"/>
                  </a:lnTo>
                  <a:lnTo>
                    <a:pt x="479" y="369"/>
                  </a:lnTo>
                  <a:lnTo>
                    <a:pt x="477" y="369"/>
                  </a:lnTo>
                  <a:lnTo>
                    <a:pt x="470" y="368"/>
                  </a:lnTo>
                  <a:lnTo>
                    <a:pt x="467" y="368"/>
                  </a:lnTo>
                  <a:lnTo>
                    <a:pt x="464" y="367"/>
                  </a:lnTo>
                  <a:lnTo>
                    <a:pt x="464" y="365"/>
                  </a:lnTo>
                  <a:lnTo>
                    <a:pt x="470" y="357"/>
                  </a:lnTo>
                  <a:lnTo>
                    <a:pt x="463" y="357"/>
                  </a:lnTo>
                  <a:lnTo>
                    <a:pt x="459" y="357"/>
                  </a:lnTo>
                  <a:lnTo>
                    <a:pt x="459" y="351"/>
                  </a:lnTo>
                  <a:lnTo>
                    <a:pt x="462" y="348"/>
                  </a:lnTo>
                  <a:lnTo>
                    <a:pt x="472" y="344"/>
                  </a:lnTo>
                  <a:lnTo>
                    <a:pt x="473" y="344"/>
                  </a:lnTo>
                  <a:lnTo>
                    <a:pt x="474" y="341"/>
                  </a:lnTo>
                  <a:lnTo>
                    <a:pt x="474" y="338"/>
                  </a:lnTo>
                  <a:lnTo>
                    <a:pt x="472" y="335"/>
                  </a:lnTo>
                  <a:lnTo>
                    <a:pt x="470" y="329"/>
                  </a:lnTo>
                  <a:lnTo>
                    <a:pt x="469" y="326"/>
                  </a:lnTo>
                  <a:lnTo>
                    <a:pt x="467" y="324"/>
                  </a:lnTo>
                  <a:lnTo>
                    <a:pt x="467" y="319"/>
                  </a:lnTo>
                  <a:lnTo>
                    <a:pt x="472" y="319"/>
                  </a:lnTo>
                  <a:lnTo>
                    <a:pt x="472" y="321"/>
                  </a:lnTo>
                  <a:lnTo>
                    <a:pt x="474" y="321"/>
                  </a:lnTo>
                  <a:lnTo>
                    <a:pt x="476" y="318"/>
                  </a:lnTo>
                  <a:lnTo>
                    <a:pt x="473" y="315"/>
                  </a:lnTo>
                  <a:lnTo>
                    <a:pt x="472" y="312"/>
                  </a:lnTo>
                  <a:lnTo>
                    <a:pt x="470" y="311"/>
                  </a:lnTo>
                  <a:lnTo>
                    <a:pt x="470" y="309"/>
                  </a:lnTo>
                  <a:lnTo>
                    <a:pt x="472" y="305"/>
                  </a:lnTo>
                  <a:lnTo>
                    <a:pt x="472" y="304"/>
                  </a:lnTo>
                  <a:lnTo>
                    <a:pt x="472" y="304"/>
                  </a:lnTo>
                  <a:lnTo>
                    <a:pt x="473" y="301"/>
                  </a:lnTo>
                  <a:lnTo>
                    <a:pt x="470" y="295"/>
                  </a:lnTo>
                  <a:lnTo>
                    <a:pt x="470" y="292"/>
                  </a:lnTo>
                  <a:lnTo>
                    <a:pt x="470" y="291"/>
                  </a:lnTo>
                  <a:lnTo>
                    <a:pt x="470" y="288"/>
                  </a:lnTo>
                  <a:lnTo>
                    <a:pt x="470" y="282"/>
                  </a:lnTo>
                  <a:lnTo>
                    <a:pt x="472" y="272"/>
                  </a:lnTo>
                  <a:lnTo>
                    <a:pt x="470" y="268"/>
                  </a:lnTo>
                  <a:lnTo>
                    <a:pt x="466" y="265"/>
                  </a:lnTo>
                  <a:lnTo>
                    <a:pt x="463" y="261"/>
                  </a:lnTo>
                  <a:lnTo>
                    <a:pt x="460" y="253"/>
                  </a:lnTo>
                  <a:lnTo>
                    <a:pt x="457" y="253"/>
                  </a:lnTo>
                  <a:lnTo>
                    <a:pt x="453" y="261"/>
                  </a:lnTo>
                  <a:lnTo>
                    <a:pt x="447" y="256"/>
                  </a:lnTo>
                  <a:lnTo>
                    <a:pt x="447" y="249"/>
                  </a:lnTo>
                  <a:lnTo>
                    <a:pt x="451" y="243"/>
                  </a:lnTo>
                  <a:lnTo>
                    <a:pt x="453" y="235"/>
                  </a:lnTo>
                  <a:lnTo>
                    <a:pt x="449" y="233"/>
                  </a:lnTo>
                  <a:lnTo>
                    <a:pt x="443" y="230"/>
                  </a:lnTo>
                  <a:lnTo>
                    <a:pt x="443" y="225"/>
                  </a:lnTo>
                  <a:lnTo>
                    <a:pt x="447" y="223"/>
                  </a:lnTo>
                  <a:lnTo>
                    <a:pt x="453" y="216"/>
                  </a:lnTo>
                  <a:lnTo>
                    <a:pt x="454" y="208"/>
                  </a:lnTo>
                  <a:lnTo>
                    <a:pt x="459" y="202"/>
                  </a:lnTo>
                  <a:lnTo>
                    <a:pt x="453" y="183"/>
                  </a:lnTo>
                  <a:lnTo>
                    <a:pt x="443" y="185"/>
                  </a:lnTo>
                  <a:lnTo>
                    <a:pt x="441" y="182"/>
                  </a:lnTo>
                  <a:lnTo>
                    <a:pt x="440" y="179"/>
                  </a:lnTo>
                  <a:lnTo>
                    <a:pt x="441" y="175"/>
                  </a:lnTo>
                  <a:lnTo>
                    <a:pt x="443" y="172"/>
                  </a:lnTo>
                  <a:lnTo>
                    <a:pt x="444" y="167"/>
                  </a:lnTo>
                  <a:lnTo>
                    <a:pt x="443" y="166"/>
                  </a:lnTo>
                  <a:lnTo>
                    <a:pt x="443" y="163"/>
                  </a:lnTo>
                  <a:lnTo>
                    <a:pt x="443" y="159"/>
                  </a:lnTo>
                  <a:lnTo>
                    <a:pt x="437" y="153"/>
                  </a:lnTo>
                  <a:lnTo>
                    <a:pt x="434" y="153"/>
                  </a:lnTo>
                  <a:lnTo>
                    <a:pt x="429" y="150"/>
                  </a:lnTo>
                  <a:lnTo>
                    <a:pt x="423" y="147"/>
                  </a:lnTo>
                  <a:lnTo>
                    <a:pt x="417" y="146"/>
                  </a:lnTo>
                  <a:lnTo>
                    <a:pt x="410" y="143"/>
                  </a:lnTo>
                  <a:lnTo>
                    <a:pt x="409" y="152"/>
                  </a:lnTo>
                  <a:lnTo>
                    <a:pt x="404" y="155"/>
                  </a:lnTo>
                  <a:lnTo>
                    <a:pt x="399" y="153"/>
                  </a:lnTo>
                  <a:lnTo>
                    <a:pt x="396" y="153"/>
                  </a:lnTo>
                  <a:lnTo>
                    <a:pt x="387" y="152"/>
                  </a:lnTo>
                  <a:lnTo>
                    <a:pt x="383" y="150"/>
                  </a:lnTo>
                  <a:lnTo>
                    <a:pt x="378" y="147"/>
                  </a:lnTo>
                  <a:lnTo>
                    <a:pt x="376" y="145"/>
                  </a:lnTo>
                  <a:lnTo>
                    <a:pt x="376" y="137"/>
                  </a:lnTo>
                  <a:lnTo>
                    <a:pt x="378" y="135"/>
                  </a:lnTo>
                  <a:lnTo>
                    <a:pt x="380" y="130"/>
                  </a:lnTo>
                  <a:lnTo>
                    <a:pt x="381" y="126"/>
                  </a:lnTo>
                  <a:lnTo>
                    <a:pt x="381" y="122"/>
                  </a:lnTo>
                  <a:lnTo>
                    <a:pt x="384" y="119"/>
                  </a:lnTo>
                  <a:lnTo>
                    <a:pt x="388" y="117"/>
                  </a:lnTo>
                  <a:lnTo>
                    <a:pt x="390" y="113"/>
                  </a:lnTo>
                  <a:lnTo>
                    <a:pt x="396" y="107"/>
                  </a:lnTo>
                  <a:lnTo>
                    <a:pt x="399" y="100"/>
                  </a:lnTo>
                  <a:lnTo>
                    <a:pt x="396" y="97"/>
                  </a:lnTo>
                  <a:lnTo>
                    <a:pt x="396" y="90"/>
                  </a:lnTo>
                  <a:lnTo>
                    <a:pt x="396" y="82"/>
                  </a:lnTo>
                  <a:lnTo>
                    <a:pt x="393" y="77"/>
                  </a:lnTo>
                  <a:lnTo>
                    <a:pt x="378" y="80"/>
                  </a:lnTo>
                  <a:lnTo>
                    <a:pt x="376" y="74"/>
                  </a:lnTo>
                  <a:lnTo>
                    <a:pt x="376" y="73"/>
                  </a:lnTo>
                  <a:lnTo>
                    <a:pt x="377" y="67"/>
                  </a:lnTo>
                  <a:lnTo>
                    <a:pt x="378" y="59"/>
                  </a:lnTo>
                  <a:lnTo>
                    <a:pt x="378" y="54"/>
                  </a:lnTo>
                  <a:lnTo>
                    <a:pt x="376" y="51"/>
                  </a:lnTo>
                  <a:lnTo>
                    <a:pt x="371" y="49"/>
                  </a:lnTo>
                  <a:lnTo>
                    <a:pt x="367" y="54"/>
                  </a:lnTo>
                  <a:lnTo>
                    <a:pt x="366" y="59"/>
                  </a:lnTo>
                  <a:lnTo>
                    <a:pt x="358" y="66"/>
                  </a:lnTo>
                  <a:lnTo>
                    <a:pt x="354" y="69"/>
                  </a:lnTo>
                  <a:lnTo>
                    <a:pt x="350" y="67"/>
                  </a:lnTo>
                  <a:lnTo>
                    <a:pt x="346" y="64"/>
                  </a:lnTo>
                  <a:lnTo>
                    <a:pt x="341" y="64"/>
                  </a:lnTo>
                  <a:lnTo>
                    <a:pt x="335" y="67"/>
                  </a:lnTo>
                  <a:lnTo>
                    <a:pt x="331" y="70"/>
                  </a:lnTo>
                  <a:lnTo>
                    <a:pt x="325" y="67"/>
                  </a:lnTo>
                  <a:lnTo>
                    <a:pt x="321" y="67"/>
                  </a:lnTo>
                  <a:lnTo>
                    <a:pt x="317" y="66"/>
                  </a:lnTo>
                  <a:lnTo>
                    <a:pt x="315" y="63"/>
                  </a:lnTo>
                  <a:lnTo>
                    <a:pt x="315" y="60"/>
                  </a:lnTo>
                  <a:lnTo>
                    <a:pt x="314" y="57"/>
                  </a:lnTo>
                  <a:lnTo>
                    <a:pt x="315" y="53"/>
                  </a:lnTo>
                  <a:lnTo>
                    <a:pt x="318" y="43"/>
                  </a:lnTo>
                  <a:lnTo>
                    <a:pt x="313" y="41"/>
                  </a:lnTo>
                  <a:lnTo>
                    <a:pt x="307" y="39"/>
                  </a:lnTo>
                  <a:lnTo>
                    <a:pt x="301" y="40"/>
                  </a:lnTo>
                  <a:lnTo>
                    <a:pt x="295" y="40"/>
                  </a:lnTo>
                  <a:lnTo>
                    <a:pt x="290" y="43"/>
                  </a:lnTo>
                  <a:lnTo>
                    <a:pt x="284" y="43"/>
                  </a:lnTo>
                  <a:lnTo>
                    <a:pt x="278" y="41"/>
                  </a:lnTo>
                  <a:lnTo>
                    <a:pt x="275" y="39"/>
                  </a:lnTo>
                  <a:lnTo>
                    <a:pt x="270" y="36"/>
                  </a:lnTo>
                  <a:lnTo>
                    <a:pt x="262" y="34"/>
                  </a:lnTo>
                  <a:lnTo>
                    <a:pt x="258" y="39"/>
                  </a:lnTo>
                  <a:lnTo>
                    <a:pt x="254" y="43"/>
                  </a:lnTo>
                  <a:lnTo>
                    <a:pt x="250" y="44"/>
                  </a:lnTo>
                  <a:lnTo>
                    <a:pt x="245" y="41"/>
                  </a:lnTo>
                  <a:lnTo>
                    <a:pt x="245" y="39"/>
                  </a:lnTo>
                  <a:lnTo>
                    <a:pt x="244" y="34"/>
                  </a:lnTo>
                  <a:lnTo>
                    <a:pt x="247" y="33"/>
                  </a:lnTo>
                  <a:lnTo>
                    <a:pt x="248" y="29"/>
                  </a:lnTo>
                  <a:lnTo>
                    <a:pt x="245" y="27"/>
                  </a:lnTo>
                  <a:lnTo>
                    <a:pt x="241" y="26"/>
                  </a:lnTo>
                  <a:lnTo>
                    <a:pt x="238" y="26"/>
                  </a:lnTo>
                  <a:lnTo>
                    <a:pt x="234" y="24"/>
                  </a:lnTo>
                  <a:lnTo>
                    <a:pt x="235" y="23"/>
                  </a:lnTo>
                  <a:lnTo>
                    <a:pt x="235" y="17"/>
                  </a:lnTo>
                  <a:lnTo>
                    <a:pt x="235" y="13"/>
                  </a:lnTo>
                  <a:lnTo>
                    <a:pt x="234" y="8"/>
                  </a:lnTo>
                  <a:lnTo>
                    <a:pt x="232" y="4"/>
                  </a:lnTo>
                  <a:lnTo>
                    <a:pt x="232" y="3"/>
                  </a:lnTo>
                  <a:lnTo>
                    <a:pt x="227" y="0"/>
                  </a:lnTo>
                  <a:lnTo>
                    <a:pt x="221" y="0"/>
                  </a:lnTo>
                  <a:lnTo>
                    <a:pt x="217" y="1"/>
                  </a:lnTo>
                  <a:lnTo>
                    <a:pt x="211" y="3"/>
                  </a:lnTo>
                  <a:lnTo>
                    <a:pt x="208" y="4"/>
                  </a:lnTo>
                  <a:lnTo>
                    <a:pt x="208" y="4"/>
                  </a:lnTo>
                  <a:lnTo>
                    <a:pt x="208" y="8"/>
                  </a:lnTo>
                  <a:lnTo>
                    <a:pt x="208" y="8"/>
                  </a:lnTo>
                  <a:lnTo>
                    <a:pt x="207" y="10"/>
                  </a:lnTo>
                  <a:lnTo>
                    <a:pt x="207" y="10"/>
                  </a:lnTo>
                  <a:lnTo>
                    <a:pt x="179" y="6"/>
                  </a:lnTo>
                  <a:lnTo>
                    <a:pt x="174" y="8"/>
                  </a:lnTo>
                  <a:lnTo>
                    <a:pt x="171" y="10"/>
                  </a:lnTo>
                  <a:lnTo>
                    <a:pt x="166" y="13"/>
                  </a:lnTo>
                  <a:lnTo>
                    <a:pt x="161" y="14"/>
                  </a:lnTo>
                  <a:lnTo>
                    <a:pt x="156" y="17"/>
                  </a:lnTo>
                  <a:lnTo>
                    <a:pt x="149" y="16"/>
                  </a:lnTo>
                  <a:lnTo>
                    <a:pt x="145" y="17"/>
                  </a:lnTo>
                  <a:lnTo>
                    <a:pt x="144" y="16"/>
                  </a:lnTo>
                  <a:lnTo>
                    <a:pt x="142" y="10"/>
                  </a:lnTo>
                  <a:lnTo>
                    <a:pt x="142" y="7"/>
                  </a:lnTo>
                  <a:lnTo>
                    <a:pt x="141" y="4"/>
                  </a:lnTo>
                  <a:lnTo>
                    <a:pt x="136" y="4"/>
                  </a:lnTo>
                  <a:lnTo>
                    <a:pt x="132" y="4"/>
                  </a:lnTo>
                  <a:lnTo>
                    <a:pt x="131" y="6"/>
                  </a:lnTo>
                  <a:lnTo>
                    <a:pt x="128" y="13"/>
                  </a:lnTo>
                  <a:lnTo>
                    <a:pt x="125" y="14"/>
                  </a:lnTo>
                  <a:lnTo>
                    <a:pt x="122" y="19"/>
                  </a:lnTo>
                  <a:lnTo>
                    <a:pt x="119" y="19"/>
                  </a:lnTo>
                  <a:lnTo>
                    <a:pt x="115" y="19"/>
                  </a:lnTo>
                  <a:lnTo>
                    <a:pt x="113" y="19"/>
                  </a:lnTo>
                  <a:lnTo>
                    <a:pt x="113" y="24"/>
                  </a:lnTo>
                  <a:lnTo>
                    <a:pt x="115" y="26"/>
                  </a:lnTo>
                  <a:lnTo>
                    <a:pt x="118" y="27"/>
                  </a:lnTo>
                  <a:lnTo>
                    <a:pt x="119" y="27"/>
                  </a:lnTo>
                  <a:lnTo>
                    <a:pt x="122" y="29"/>
                  </a:lnTo>
                  <a:lnTo>
                    <a:pt x="119" y="34"/>
                  </a:lnTo>
                  <a:lnTo>
                    <a:pt x="118" y="39"/>
                  </a:lnTo>
                  <a:lnTo>
                    <a:pt x="118" y="41"/>
                  </a:lnTo>
                  <a:lnTo>
                    <a:pt x="116" y="43"/>
                  </a:lnTo>
                  <a:lnTo>
                    <a:pt x="115" y="46"/>
                  </a:lnTo>
                  <a:lnTo>
                    <a:pt x="106" y="44"/>
                  </a:lnTo>
                  <a:lnTo>
                    <a:pt x="105" y="46"/>
                  </a:lnTo>
                  <a:lnTo>
                    <a:pt x="105" y="49"/>
                  </a:lnTo>
                  <a:lnTo>
                    <a:pt x="106" y="53"/>
                  </a:lnTo>
                  <a:lnTo>
                    <a:pt x="108" y="57"/>
                  </a:lnTo>
                  <a:lnTo>
                    <a:pt x="109" y="63"/>
                  </a:lnTo>
                  <a:lnTo>
                    <a:pt x="111" y="66"/>
                  </a:lnTo>
                  <a:lnTo>
                    <a:pt x="111" y="72"/>
                  </a:lnTo>
                  <a:lnTo>
                    <a:pt x="111" y="74"/>
                  </a:lnTo>
                  <a:lnTo>
                    <a:pt x="111" y="74"/>
                  </a:lnTo>
                  <a:lnTo>
                    <a:pt x="109" y="76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3" y="82"/>
                  </a:lnTo>
                  <a:lnTo>
                    <a:pt x="112" y="84"/>
                  </a:lnTo>
                  <a:lnTo>
                    <a:pt x="111" y="89"/>
                  </a:lnTo>
                  <a:lnTo>
                    <a:pt x="111" y="89"/>
                  </a:lnTo>
                  <a:lnTo>
                    <a:pt x="111" y="92"/>
                  </a:lnTo>
                  <a:lnTo>
                    <a:pt x="112" y="93"/>
                  </a:lnTo>
                  <a:lnTo>
                    <a:pt x="116" y="97"/>
                  </a:lnTo>
                  <a:lnTo>
                    <a:pt x="116" y="97"/>
                  </a:lnTo>
                  <a:lnTo>
                    <a:pt x="118" y="99"/>
                  </a:lnTo>
                  <a:lnTo>
                    <a:pt x="118" y="102"/>
                  </a:lnTo>
                  <a:lnTo>
                    <a:pt x="118" y="104"/>
                  </a:lnTo>
                  <a:lnTo>
                    <a:pt x="115" y="106"/>
                  </a:lnTo>
                  <a:lnTo>
                    <a:pt x="115" y="106"/>
                  </a:lnTo>
                  <a:lnTo>
                    <a:pt x="113" y="106"/>
                  </a:lnTo>
                  <a:lnTo>
                    <a:pt x="111" y="104"/>
                  </a:lnTo>
                  <a:lnTo>
                    <a:pt x="105" y="100"/>
                  </a:lnTo>
                  <a:lnTo>
                    <a:pt x="105" y="100"/>
                  </a:lnTo>
                  <a:lnTo>
                    <a:pt x="102" y="97"/>
                  </a:lnTo>
                  <a:lnTo>
                    <a:pt x="102" y="96"/>
                  </a:lnTo>
                  <a:lnTo>
                    <a:pt x="101" y="96"/>
                  </a:lnTo>
                  <a:lnTo>
                    <a:pt x="101" y="96"/>
                  </a:lnTo>
                  <a:lnTo>
                    <a:pt x="99" y="99"/>
                  </a:lnTo>
                  <a:lnTo>
                    <a:pt x="99" y="100"/>
                  </a:lnTo>
                  <a:lnTo>
                    <a:pt x="101" y="102"/>
                  </a:lnTo>
                  <a:lnTo>
                    <a:pt x="101" y="102"/>
                  </a:lnTo>
                  <a:lnTo>
                    <a:pt x="101" y="104"/>
                  </a:lnTo>
                  <a:lnTo>
                    <a:pt x="101" y="106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93" y="109"/>
                  </a:lnTo>
                  <a:lnTo>
                    <a:pt x="93" y="109"/>
                  </a:lnTo>
                  <a:lnTo>
                    <a:pt x="89" y="107"/>
                  </a:lnTo>
                  <a:lnTo>
                    <a:pt x="89" y="110"/>
                  </a:lnTo>
                  <a:lnTo>
                    <a:pt x="85" y="116"/>
                  </a:lnTo>
                  <a:lnTo>
                    <a:pt x="85" y="116"/>
                  </a:lnTo>
                  <a:lnTo>
                    <a:pt x="89" y="130"/>
                  </a:lnTo>
                  <a:lnTo>
                    <a:pt x="89" y="130"/>
                  </a:lnTo>
                  <a:lnTo>
                    <a:pt x="91" y="132"/>
                  </a:lnTo>
                  <a:lnTo>
                    <a:pt x="92" y="132"/>
                  </a:lnTo>
                  <a:lnTo>
                    <a:pt x="92" y="133"/>
                  </a:lnTo>
                  <a:lnTo>
                    <a:pt x="92" y="133"/>
                  </a:lnTo>
                  <a:lnTo>
                    <a:pt x="91" y="136"/>
                  </a:lnTo>
                  <a:lnTo>
                    <a:pt x="89" y="137"/>
                  </a:lnTo>
                  <a:lnTo>
                    <a:pt x="85" y="136"/>
                  </a:lnTo>
                  <a:lnTo>
                    <a:pt x="79" y="132"/>
                  </a:lnTo>
                  <a:lnTo>
                    <a:pt x="79" y="132"/>
                  </a:lnTo>
                  <a:lnTo>
                    <a:pt x="71" y="124"/>
                  </a:lnTo>
                  <a:lnTo>
                    <a:pt x="69" y="123"/>
                  </a:lnTo>
                  <a:lnTo>
                    <a:pt x="66" y="124"/>
                  </a:lnTo>
                  <a:lnTo>
                    <a:pt x="66" y="124"/>
                  </a:lnTo>
                  <a:lnTo>
                    <a:pt x="63" y="124"/>
                  </a:lnTo>
                  <a:lnTo>
                    <a:pt x="62" y="127"/>
                  </a:lnTo>
                  <a:lnTo>
                    <a:pt x="59" y="129"/>
                  </a:lnTo>
                  <a:lnTo>
                    <a:pt x="59" y="129"/>
                  </a:lnTo>
                  <a:lnTo>
                    <a:pt x="56" y="130"/>
                  </a:lnTo>
                  <a:lnTo>
                    <a:pt x="55" y="129"/>
                  </a:lnTo>
                  <a:lnTo>
                    <a:pt x="50" y="127"/>
                  </a:lnTo>
                  <a:lnTo>
                    <a:pt x="50" y="127"/>
                  </a:lnTo>
                  <a:lnTo>
                    <a:pt x="48" y="127"/>
                  </a:lnTo>
                  <a:lnTo>
                    <a:pt x="45" y="127"/>
                  </a:lnTo>
                  <a:lnTo>
                    <a:pt x="43" y="129"/>
                  </a:lnTo>
                  <a:lnTo>
                    <a:pt x="42" y="130"/>
                  </a:lnTo>
                  <a:lnTo>
                    <a:pt x="42" y="130"/>
                  </a:lnTo>
                  <a:lnTo>
                    <a:pt x="43" y="132"/>
                  </a:lnTo>
                  <a:lnTo>
                    <a:pt x="46" y="133"/>
                  </a:lnTo>
                  <a:lnTo>
                    <a:pt x="49" y="133"/>
                  </a:lnTo>
                  <a:lnTo>
                    <a:pt x="50" y="135"/>
                  </a:lnTo>
                  <a:lnTo>
                    <a:pt x="50" y="135"/>
                  </a:lnTo>
                  <a:lnTo>
                    <a:pt x="50" y="137"/>
                  </a:lnTo>
                  <a:lnTo>
                    <a:pt x="48" y="137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3" y="140"/>
                  </a:lnTo>
                  <a:lnTo>
                    <a:pt x="45" y="143"/>
                  </a:lnTo>
                  <a:lnTo>
                    <a:pt x="49" y="149"/>
                  </a:lnTo>
                  <a:lnTo>
                    <a:pt x="49" y="149"/>
                  </a:lnTo>
                  <a:lnTo>
                    <a:pt x="53" y="159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70"/>
                  </a:lnTo>
                  <a:lnTo>
                    <a:pt x="55" y="172"/>
                  </a:lnTo>
                  <a:lnTo>
                    <a:pt x="48" y="169"/>
                  </a:lnTo>
                  <a:lnTo>
                    <a:pt x="48" y="169"/>
                  </a:lnTo>
                  <a:lnTo>
                    <a:pt x="38" y="166"/>
                  </a:lnTo>
                  <a:lnTo>
                    <a:pt x="32" y="166"/>
                  </a:lnTo>
                  <a:lnTo>
                    <a:pt x="29" y="169"/>
                  </a:lnTo>
                  <a:lnTo>
                    <a:pt x="26" y="170"/>
                  </a:lnTo>
                  <a:lnTo>
                    <a:pt x="20" y="172"/>
                  </a:lnTo>
                  <a:lnTo>
                    <a:pt x="18" y="173"/>
                  </a:lnTo>
                  <a:lnTo>
                    <a:pt x="13" y="176"/>
                  </a:lnTo>
                  <a:lnTo>
                    <a:pt x="12" y="177"/>
                  </a:lnTo>
                  <a:lnTo>
                    <a:pt x="9" y="177"/>
                  </a:lnTo>
                  <a:lnTo>
                    <a:pt x="6" y="180"/>
                  </a:lnTo>
                  <a:lnTo>
                    <a:pt x="5" y="182"/>
                  </a:lnTo>
                  <a:lnTo>
                    <a:pt x="3" y="185"/>
                  </a:lnTo>
                  <a:lnTo>
                    <a:pt x="0" y="188"/>
                  </a:lnTo>
                  <a:lnTo>
                    <a:pt x="0" y="189"/>
                  </a:lnTo>
                  <a:lnTo>
                    <a:pt x="3" y="195"/>
                  </a:lnTo>
                  <a:lnTo>
                    <a:pt x="6" y="199"/>
                  </a:lnTo>
                  <a:lnTo>
                    <a:pt x="12" y="203"/>
                  </a:lnTo>
                  <a:lnTo>
                    <a:pt x="12" y="209"/>
                  </a:lnTo>
                  <a:lnTo>
                    <a:pt x="12" y="212"/>
                  </a:lnTo>
                  <a:lnTo>
                    <a:pt x="12" y="212"/>
                  </a:lnTo>
                  <a:lnTo>
                    <a:pt x="13" y="213"/>
                  </a:lnTo>
                  <a:lnTo>
                    <a:pt x="13" y="218"/>
                  </a:lnTo>
                  <a:lnTo>
                    <a:pt x="13" y="220"/>
                  </a:lnTo>
                  <a:lnTo>
                    <a:pt x="16" y="222"/>
                  </a:lnTo>
                  <a:lnTo>
                    <a:pt x="18" y="225"/>
                  </a:lnTo>
                  <a:lnTo>
                    <a:pt x="19" y="228"/>
                  </a:lnTo>
                  <a:lnTo>
                    <a:pt x="23" y="230"/>
                  </a:lnTo>
                  <a:lnTo>
                    <a:pt x="28" y="232"/>
                  </a:lnTo>
                  <a:lnTo>
                    <a:pt x="29" y="235"/>
                  </a:lnTo>
                  <a:lnTo>
                    <a:pt x="30" y="238"/>
                  </a:lnTo>
                  <a:lnTo>
                    <a:pt x="32" y="241"/>
                  </a:lnTo>
                  <a:lnTo>
                    <a:pt x="33" y="245"/>
                  </a:lnTo>
                  <a:lnTo>
                    <a:pt x="36" y="251"/>
                  </a:lnTo>
                  <a:lnTo>
                    <a:pt x="38" y="251"/>
                  </a:lnTo>
                  <a:lnTo>
                    <a:pt x="42" y="251"/>
                  </a:lnTo>
                  <a:lnTo>
                    <a:pt x="46" y="252"/>
                  </a:lnTo>
                  <a:lnTo>
                    <a:pt x="46" y="253"/>
                  </a:lnTo>
                  <a:lnTo>
                    <a:pt x="49" y="256"/>
                  </a:lnTo>
                  <a:lnTo>
                    <a:pt x="52" y="259"/>
                  </a:lnTo>
                  <a:lnTo>
                    <a:pt x="53" y="261"/>
                  </a:lnTo>
                  <a:lnTo>
                    <a:pt x="56" y="261"/>
                  </a:lnTo>
                  <a:lnTo>
                    <a:pt x="59" y="258"/>
                  </a:lnTo>
                  <a:lnTo>
                    <a:pt x="62" y="256"/>
                  </a:lnTo>
                  <a:lnTo>
                    <a:pt x="63" y="258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73" y="261"/>
                  </a:lnTo>
                  <a:lnTo>
                    <a:pt x="76" y="265"/>
                  </a:lnTo>
                  <a:lnTo>
                    <a:pt x="76" y="268"/>
                  </a:lnTo>
                  <a:lnTo>
                    <a:pt x="78" y="269"/>
                  </a:lnTo>
                  <a:lnTo>
                    <a:pt x="81" y="271"/>
                  </a:lnTo>
                  <a:lnTo>
                    <a:pt x="85" y="271"/>
                  </a:lnTo>
                  <a:lnTo>
                    <a:pt x="86" y="271"/>
                  </a:lnTo>
                  <a:lnTo>
                    <a:pt x="89" y="272"/>
                  </a:lnTo>
                  <a:lnTo>
                    <a:pt x="91" y="272"/>
                  </a:lnTo>
                  <a:lnTo>
                    <a:pt x="95" y="278"/>
                  </a:lnTo>
                  <a:lnTo>
                    <a:pt x="98" y="276"/>
                  </a:lnTo>
                  <a:lnTo>
                    <a:pt x="99" y="279"/>
                  </a:lnTo>
                  <a:lnTo>
                    <a:pt x="99" y="279"/>
                  </a:lnTo>
                  <a:lnTo>
                    <a:pt x="102" y="283"/>
                  </a:lnTo>
                  <a:lnTo>
                    <a:pt x="103" y="283"/>
                  </a:lnTo>
                  <a:lnTo>
                    <a:pt x="105" y="283"/>
                  </a:lnTo>
                  <a:lnTo>
                    <a:pt x="108" y="282"/>
                  </a:lnTo>
                  <a:lnTo>
                    <a:pt x="109" y="281"/>
                  </a:lnTo>
                  <a:lnTo>
                    <a:pt x="111" y="281"/>
                  </a:lnTo>
                  <a:lnTo>
                    <a:pt x="112" y="283"/>
                  </a:lnTo>
                  <a:lnTo>
                    <a:pt x="112" y="286"/>
                  </a:lnTo>
                  <a:lnTo>
                    <a:pt x="115" y="289"/>
                  </a:lnTo>
                  <a:lnTo>
                    <a:pt x="115" y="289"/>
                  </a:lnTo>
                  <a:lnTo>
                    <a:pt x="118" y="291"/>
                  </a:lnTo>
                  <a:lnTo>
                    <a:pt x="121" y="291"/>
                  </a:lnTo>
                  <a:lnTo>
                    <a:pt x="124" y="293"/>
                  </a:lnTo>
                  <a:lnTo>
                    <a:pt x="134" y="296"/>
                  </a:lnTo>
                  <a:lnTo>
                    <a:pt x="139" y="301"/>
                  </a:lnTo>
                  <a:lnTo>
                    <a:pt x="142" y="304"/>
                  </a:lnTo>
                  <a:lnTo>
                    <a:pt x="145" y="304"/>
                  </a:lnTo>
                  <a:lnTo>
                    <a:pt x="151" y="304"/>
                  </a:lnTo>
                  <a:lnTo>
                    <a:pt x="155" y="301"/>
                  </a:lnTo>
                  <a:lnTo>
                    <a:pt x="161" y="302"/>
                  </a:lnTo>
                  <a:lnTo>
                    <a:pt x="164" y="302"/>
                  </a:lnTo>
                  <a:lnTo>
                    <a:pt x="168" y="306"/>
                  </a:lnTo>
                  <a:lnTo>
                    <a:pt x="168" y="308"/>
                  </a:lnTo>
                  <a:lnTo>
                    <a:pt x="171" y="312"/>
                  </a:lnTo>
                  <a:lnTo>
                    <a:pt x="171" y="318"/>
                  </a:lnTo>
                  <a:lnTo>
                    <a:pt x="175" y="322"/>
                  </a:lnTo>
                  <a:lnTo>
                    <a:pt x="205" y="329"/>
                  </a:lnTo>
                  <a:lnTo>
                    <a:pt x="208" y="326"/>
                  </a:lnTo>
                  <a:lnTo>
                    <a:pt x="212" y="324"/>
                  </a:lnTo>
                  <a:lnTo>
                    <a:pt x="215" y="321"/>
                  </a:lnTo>
                  <a:lnTo>
                    <a:pt x="218" y="321"/>
                  </a:lnTo>
                  <a:lnTo>
                    <a:pt x="221" y="322"/>
                  </a:lnTo>
                  <a:lnTo>
                    <a:pt x="224" y="324"/>
                  </a:lnTo>
                  <a:lnTo>
                    <a:pt x="228" y="328"/>
                  </a:lnTo>
                  <a:lnTo>
                    <a:pt x="232" y="331"/>
                  </a:lnTo>
                  <a:lnTo>
                    <a:pt x="234" y="334"/>
                  </a:lnTo>
                  <a:lnTo>
                    <a:pt x="242" y="331"/>
                  </a:lnTo>
                  <a:lnTo>
                    <a:pt x="247" y="328"/>
                  </a:lnTo>
                  <a:lnTo>
                    <a:pt x="251" y="325"/>
                  </a:lnTo>
                  <a:lnTo>
                    <a:pt x="254" y="326"/>
                  </a:lnTo>
                  <a:lnTo>
                    <a:pt x="258" y="331"/>
                  </a:lnTo>
                  <a:lnTo>
                    <a:pt x="262" y="334"/>
                  </a:lnTo>
                  <a:lnTo>
                    <a:pt x="268" y="334"/>
                  </a:lnTo>
                  <a:lnTo>
                    <a:pt x="272" y="328"/>
                  </a:lnTo>
                  <a:lnTo>
                    <a:pt x="277" y="322"/>
                  </a:lnTo>
                  <a:lnTo>
                    <a:pt x="280" y="316"/>
                  </a:lnTo>
                  <a:lnTo>
                    <a:pt x="280" y="314"/>
                  </a:lnTo>
                  <a:lnTo>
                    <a:pt x="278" y="311"/>
                  </a:lnTo>
                  <a:lnTo>
                    <a:pt x="280" y="305"/>
                  </a:lnTo>
                  <a:lnTo>
                    <a:pt x="281" y="304"/>
                  </a:lnTo>
                  <a:lnTo>
                    <a:pt x="287" y="304"/>
                  </a:lnTo>
                  <a:lnTo>
                    <a:pt x="291" y="305"/>
                  </a:lnTo>
                  <a:lnTo>
                    <a:pt x="297" y="306"/>
                  </a:lnTo>
                  <a:lnTo>
                    <a:pt x="303" y="309"/>
                  </a:lnTo>
                  <a:lnTo>
                    <a:pt x="304" y="309"/>
                  </a:lnTo>
                  <a:lnTo>
                    <a:pt x="307" y="314"/>
                  </a:lnTo>
                  <a:lnTo>
                    <a:pt x="307" y="318"/>
                  </a:lnTo>
                  <a:lnTo>
                    <a:pt x="307" y="319"/>
                  </a:lnTo>
                  <a:lnTo>
                    <a:pt x="308" y="322"/>
                  </a:lnTo>
                  <a:lnTo>
                    <a:pt x="311" y="325"/>
                  </a:lnTo>
                  <a:lnTo>
                    <a:pt x="314" y="326"/>
                  </a:lnTo>
                  <a:lnTo>
                    <a:pt x="318" y="326"/>
                  </a:lnTo>
                  <a:lnTo>
                    <a:pt x="323" y="328"/>
                  </a:lnTo>
                  <a:lnTo>
                    <a:pt x="325" y="328"/>
                  </a:lnTo>
                  <a:lnTo>
                    <a:pt x="327" y="332"/>
                  </a:lnTo>
                  <a:lnTo>
                    <a:pt x="327" y="334"/>
                  </a:lnTo>
                  <a:lnTo>
                    <a:pt x="328" y="338"/>
                  </a:lnTo>
                  <a:lnTo>
                    <a:pt x="331" y="342"/>
                  </a:lnTo>
                  <a:lnTo>
                    <a:pt x="331" y="345"/>
                  </a:lnTo>
                  <a:lnTo>
                    <a:pt x="333" y="351"/>
                  </a:lnTo>
                  <a:lnTo>
                    <a:pt x="333" y="354"/>
                  </a:lnTo>
                  <a:lnTo>
                    <a:pt x="334" y="357"/>
                  </a:lnTo>
                  <a:lnTo>
                    <a:pt x="333" y="362"/>
                  </a:lnTo>
                  <a:lnTo>
                    <a:pt x="333" y="367"/>
                  </a:lnTo>
                  <a:lnTo>
                    <a:pt x="334" y="369"/>
                  </a:lnTo>
                  <a:lnTo>
                    <a:pt x="335" y="375"/>
                  </a:lnTo>
                  <a:lnTo>
                    <a:pt x="337" y="382"/>
                  </a:lnTo>
                  <a:lnTo>
                    <a:pt x="337" y="388"/>
                  </a:lnTo>
                  <a:lnTo>
                    <a:pt x="338" y="389"/>
                  </a:lnTo>
                  <a:lnTo>
                    <a:pt x="344" y="389"/>
                  </a:lnTo>
                  <a:lnTo>
                    <a:pt x="348" y="387"/>
                  </a:lnTo>
                  <a:lnTo>
                    <a:pt x="351" y="381"/>
                  </a:lnTo>
                  <a:lnTo>
                    <a:pt x="356" y="378"/>
                  </a:lnTo>
                  <a:lnTo>
                    <a:pt x="361" y="381"/>
                  </a:lnTo>
                  <a:lnTo>
                    <a:pt x="366" y="384"/>
                  </a:lnTo>
                  <a:lnTo>
                    <a:pt x="366" y="389"/>
                  </a:lnTo>
                  <a:lnTo>
                    <a:pt x="367" y="394"/>
                  </a:lnTo>
                  <a:lnTo>
                    <a:pt x="366" y="398"/>
                  </a:lnTo>
                  <a:lnTo>
                    <a:pt x="370" y="402"/>
                  </a:lnTo>
                  <a:lnTo>
                    <a:pt x="370" y="405"/>
                  </a:lnTo>
                  <a:lnTo>
                    <a:pt x="370" y="405"/>
                  </a:lnTo>
                  <a:lnTo>
                    <a:pt x="371" y="408"/>
                  </a:lnTo>
                  <a:lnTo>
                    <a:pt x="374" y="410"/>
                  </a:lnTo>
                  <a:lnTo>
                    <a:pt x="380" y="411"/>
                  </a:lnTo>
                  <a:lnTo>
                    <a:pt x="383" y="411"/>
                  </a:lnTo>
                  <a:lnTo>
                    <a:pt x="388" y="414"/>
                  </a:lnTo>
                  <a:lnTo>
                    <a:pt x="391" y="414"/>
                  </a:lnTo>
                  <a:lnTo>
                    <a:pt x="396" y="411"/>
                  </a:lnTo>
                  <a:lnTo>
                    <a:pt x="400" y="405"/>
                  </a:lnTo>
                  <a:lnTo>
                    <a:pt x="403" y="405"/>
                  </a:lnTo>
                  <a:lnTo>
                    <a:pt x="404" y="407"/>
                  </a:lnTo>
                  <a:lnTo>
                    <a:pt x="406" y="407"/>
                  </a:lnTo>
                  <a:lnTo>
                    <a:pt x="407" y="412"/>
                  </a:lnTo>
                  <a:lnTo>
                    <a:pt x="411" y="414"/>
                  </a:lnTo>
                  <a:lnTo>
                    <a:pt x="414" y="414"/>
                  </a:lnTo>
                  <a:lnTo>
                    <a:pt x="417" y="415"/>
                  </a:lnTo>
                  <a:lnTo>
                    <a:pt x="420" y="418"/>
                  </a:lnTo>
                  <a:lnTo>
                    <a:pt x="423" y="418"/>
                  </a:lnTo>
                  <a:lnTo>
                    <a:pt x="426" y="421"/>
                  </a:lnTo>
                  <a:lnTo>
                    <a:pt x="429" y="427"/>
                  </a:lnTo>
                  <a:lnTo>
                    <a:pt x="431" y="430"/>
                  </a:lnTo>
                  <a:lnTo>
                    <a:pt x="431" y="430"/>
                  </a:lnTo>
                  <a:lnTo>
                    <a:pt x="436" y="437"/>
                  </a:lnTo>
                  <a:lnTo>
                    <a:pt x="440" y="440"/>
                  </a:lnTo>
                  <a:lnTo>
                    <a:pt x="444" y="442"/>
                  </a:lnTo>
                  <a:lnTo>
                    <a:pt x="449" y="445"/>
                  </a:lnTo>
                  <a:lnTo>
                    <a:pt x="456" y="448"/>
                  </a:lnTo>
                  <a:lnTo>
                    <a:pt x="460" y="452"/>
                  </a:lnTo>
                  <a:lnTo>
                    <a:pt x="464" y="452"/>
                  </a:lnTo>
                  <a:lnTo>
                    <a:pt x="469" y="452"/>
                  </a:lnTo>
                  <a:lnTo>
                    <a:pt x="470" y="45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07" name="Freeform 155"/>
            <p:cNvSpPr>
              <a:spLocks noEditPoints="1"/>
            </p:cNvSpPr>
            <p:nvPr/>
          </p:nvSpPr>
          <p:spPr bwMode="auto">
            <a:xfrm>
              <a:off x="2421560" y="2987919"/>
              <a:ext cx="421294" cy="367767"/>
            </a:xfrm>
            <a:custGeom>
              <a:avLst/>
              <a:gdLst>
                <a:gd name="T0" fmla="*/ 576 w 691"/>
                <a:gd name="T1" fmla="*/ 228 h 554"/>
                <a:gd name="T2" fmla="*/ 552 w 691"/>
                <a:gd name="T3" fmla="*/ 205 h 554"/>
                <a:gd name="T4" fmla="*/ 532 w 691"/>
                <a:gd name="T5" fmla="*/ 201 h 554"/>
                <a:gd name="T6" fmla="*/ 506 w 691"/>
                <a:gd name="T7" fmla="*/ 195 h 554"/>
                <a:gd name="T8" fmla="*/ 487 w 691"/>
                <a:gd name="T9" fmla="*/ 169 h 554"/>
                <a:gd name="T10" fmla="*/ 469 w 691"/>
                <a:gd name="T11" fmla="*/ 156 h 554"/>
                <a:gd name="T12" fmla="*/ 463 w 691"/>
                <a:gd name="T13" fmla="*/ 123 h 554"/>
                <a:gd name="T14" fmla="*/ 443 w 691"/>
                <a:gd name="T15" fmla="*/ 107 h 554"/>
                <a:gd name="T16" fmla="*/ 417 w 691"/>
                <a:gd name="T17" fmla="*/ 93 h 554"/>
                <a:gd name="T18" fmla="*/ 398 w 691"/>
                <a:gd name="T19" fmla="*/ 123 h 554"/>
                <a:gd name="T20" fmla="*/ 364 w 691"/>
                <a:gd name="T21" fmla="*/ 117 h 554"/>
                <a:gd name="T22" fmla="*/ 311 w 691"/>
                <a:gd name="T23" fmla="*/ 112 h 554"/>
                <a:gd name="T24" fmla="*/ 287 w 691"/>
                <a:gd name="T25" fmla="*/ 93 h 554"/>
                <a:gd name="T26" fmla="*/ 251 w 691"/>
                <a:gd name="T27" fmla="*/ 79 h 554"/>
                <a:gd name="T28" fmla="*/ 239 w 691"/>
                <a:gd name="T29" fmla="*/ 73 h 554"/>
                <a:gd name="T30" fmla="*/ 221 w 691"/>
                <a:gd name="T31" fmla="*/ 60 h 554"/>
                <a:gd name="T32" fmla="*/ 202 w 691"/>
                <a:gd name="T33" fmla="*/ 49 h 554"/>
                <a:gd name="T34" fmla="*/ 182 w 691"/>
                <a:gd name="T35" fmla="*/ 43 h 554"/>
                <a:gd name="T36" fmla="*/ 164 w 691"/>
                <a:gd name="T37" fmla="*/ 24 h 554"/>
                <a:gd name="T38" fmla="*/ 149 w 691"/>
                <a:gd name="T39" fmla="*/ 3 h 554"/>
                <a:gd name="T40" fmla="*/ 106 w 691"/>
                <a:gd name="T41" fmla="*/ 3 h 554"/>
                <a:gd name="T42" fmla="*/ 83 w 691"/>
                <a:gd name="T43" fmla="*/ 50 h 554"/>
                <a:gd name="T44" fmla="*/ 58 w 691"/>
                <a:gd name="T45" fmla="*/ 103 h 554"/>
                <a:gd name="T46" fmla="*/ 9 w 691"/>
                <a:gd name="T47" fmla="*/ 165 h 554"/>
                <a:gd name="T48" fmla="*/ 13 w 691"/>
                <a:gd name="T49" fmla="*/ 193 h 554"/>
                <a:gd name="T50" fmla="*/ 46 w 691"/>
                <a:gd name="T51" fmla="*/ 216 h 554"/>
                <a:gd name="T52" fmla="*/ 46 w 691"/>
                <a:gd name="T53" fmla="*/ 232 h 554"/>
                <a:gd name="T54" fmla="*/ 60 w 691"/>
                <a:gd name="T55" fmla="*/ 266 h 554"/>
                <a:gd name="T56" fmla="*/ 106 w 691"/>
                <a:gd name="T57" fmla="*/ 294 h 554"/>
                <a:gd name="T58" fmla="*/ 136 w 691"/>
                <a:gd name="T59" fmla="*/ 302 h 554"/>
                <a:gd name="T60" fmla="*/ 165 w 691"/>
                <a:gd name="T61" fmla="*/ 304 h 554"/>
                <a:gd name="T62" fmla="*/ 195 w 691"/>
                <a:gd name="T63" fmla="*/ 381 h 554"/>
                <a:gd name="T64" fmla="*/ 238 w 691"/>
                <a:gd name="T65" fmla="*/ 397 h 554"/>
                <a:gd name="T66" fmla="*/ 257 w 691"/>
                <a:gd name="T67" fmla="*/ 394 h 554"/>
                <a:gd name="T68" fmla="*/ 287 w 691"/>
                <a:gd name="T69" fmla="*/ 384 h 554"/>
                <a:gd name="T70" fmla="*/ 302 w 691"/>
                <a:gd name="T71" fmla="*/ 407 h 554"/>
                <a:gd name="T72" fmla="*/ 337 w 691"/>
                <a:gd name="T73" fmla="*/ 448 h 554"/>
                <a:gd name="T74" fmla="*/ 384 w 691"/>
                <a:gd name="T75" fmla="*/ 488 h 554"/>
                <a:gd name="T76" fmla="*/ 433 w 691"/>
                <a:gd name="T77" fmla="*/ 467 h 554"/>
                <a:gd name="T78" fmla="*/ 443 w 691"/>
                <a:gd name="T79" fmla="*/ 498 h 554"/>
                <a:gd name="T80" fmla="*/ 470 w 691"/>
                <a:gd name="T81" fmla="*/ 511 h 554"/>
                <a:gd name="T82" fmla="*/ 467 w 691"/>
                <a:gd name="T83" fmla="*/ 540 h 554"/>
                <a:gd name="T84" fmla="*/ 483 w 691"/>
                <a:gd name="T85" fmla="*/ 536 h 554"/>
                <a:gd name="T86" fmla="*/ 506 w 691"/>
                <a:gd name="T87" fmla="*/ 524 h 554"/>
                <a:gd name="T88" fmla="*/ 543 w 691"/>
                <a:gd name="T89" fmla="*/ 507 h 554"/>
                <a:gd name="T90" fmla="*/ 537 w 691"/>
                <a:gd name="T91" fmla="*/ 467 h 554"/>
                <a:gd name="T92" fmla="*/ 566 w 691"/>
                <a:gd name="T93" fmla="*/ 453 h 554"/>
                <a:gd name="T94" fmla="*/ 569 w 691"/>
                <a:gd name="T95" fmla="*/ 417 h 554"/>
                <a:gd name="T96" fmla="*/ 563 w 691"/>
                <a:gd name="T97" fmla="*/ 390 h 554"/>
                <a:gd name="T98" fmla="*/ 580 w 691"/>
                <a:gd name="T99" fmla="*/ 377 h 554"/>
                <a:gd name="T100" fmla="*/ 596 w 691"/>
                <a:gd name="T101" fmla="*/ 387 h 554"/>
                <a:gd name="T102" fmla="*/ 619 w 691"/>
                <a:gd name="T103" fmla="*/ 387 h 554"/>
                <a:gd name="T104" fmla="*/ 622 w 691"/>
                <a:gd name="T105" fmla="*/ 355 h 554"/>
                <a:gd name="T106" fmla="*/ 646 w 691"/>
                <a:gd name="T107" fmla="*/ 344 h 554"/>
                <a:gd name="T108" fmla="*/ 666 w 691"/>
                <a:gd name="T109" fmla="*/ 355 h 554"/>
                <a:gd name="T110" fmla="*/ 668 w 691"/>
                <a:gd name="T111" fmla="*/ 341 h 554"/>
                <a:gd name="T112" fmla="*/ 676 w 691"/>
                <a:gd name="T113" fmla="*/ 314 h 554"/>
                <a:gd name="T114" fmla="*/ 691 w 691"/>
                <a:gd name="T115" fmla="*/ 276 h 554"/>
                <a:gd name="T116" fmla="*/ 676 w 691"/>
                <a:gd name="T117" fmla="*/ 262 h 554"/>
                <a:gd name="T118" fmla="*/ 656 w 691"/>
                <a:gd name="T119" fmla="*/ 268 h 554"/>
                <a:gd name="T120" fmla="*/ 636 w 691"/>
                <a:gd name="T121" fmla="*/ 265 h 554"/>
                <a:gd name="T122" fmla="*/ 618 w 691"/>
                <a:gd name="T123" fmla="*/ 264 h 554"/>
                <a:gd name="T124" fmla="*/ 605 w 691"/>
                <a:gd name="T125" fmla="*/ 249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1" h="554">
                  <a:moveTo>
                    <a:pt x="606" y="243"/>
                  </a:moveTo>
                  <a:lnTo>
                    <a:pt x="603" y="242"/>
                  </a:lnTo>
                  <a:lnTo>
                    <a:pt x="600" y="242"/>
                  </a:lnTo>
                  <a:lnTo>
                    <a:pt x="596" y="242"/>
                  </a:lnTo>
                  <a:lnTo>
                    <a:pt x="592" y="238"/>
                  </a:lnTo>
                  <a:lnTo>
                    <a:pt x="585" y="235"/>
                  </a:lnTo>
                  <a:lnTo>
                    <a:pt x="580" y="231"/>
                  </a:lnTo>
                  <a:lnTo>
                    <a:pt x="576" y="228"/>
                  </a:lnTo>
                  <a:lnTo>
                    <a:pt x="572" y="225"/>
                  </a:lnTo>
                  <a:lnTo>
                    <a:pt x="567" y="219"/>
                  </a:lnTo>
                  <a:lnTo>
                    <a:pt x="567" y="218"/>
                  </a:lnTo>
                  <a:lnTo>
                    <a:pt x="563" y="215"/>
                  </a:lnTo>
                  <a:lnTo>
                    <a:pt x="562" y="211"/>
                  </a:lnTo>
                  <a:lnTo>
                    <a:pt x="559" y="208"/>
                  </a:lnTo>
                  <a:lnTo>
                    <a:pt x="556" y="206"/>
                  </a:lnTo>
                  <a:lnTo>
                    <a:pt x="552" y="205"/>
                  </a:lnTo>
                  <a:lnTo>
                    <a:pt x="549" y="202"/>
                  </a:lnTo>
                  <a:lnTo>
                    <a:pt x="546" y="203"/>
                  </a:lnTo>
                  <a:lnTo>
                    <a:pt x="543" y="201"/>
                  </a:lnTo>
                  <a:lnTo>
                    <a:pt x="542" y="196"/>
                  </a:lnTo>
                  <a:lnTo>
                    <a:pt x="540" y="195"/>
                  </a:lnTo>
                  <a:lnTo>
                    <a:pt x="537" y="193"/>
                  </a:lnTo>
                  <a:lnTo>
                    <a:pt x="536" y="195"/>
                  </a:lnTo>
                  <a:lnTo>
                    <a:pt x="532" y="201"/>
                  </a:lnTo>
                  <a:lnTo>
                    <a:pt x="527" y="202"/>
                  </a:lnTo>
                  <a:lnTo>
                    <a:pt x="523" y="203"/>
                  </a:lnTo>
                  <a:lnTo>
                    <a:pt x="519" y="201"/>
                  </a:lnTo>
                  <a:lnTo>
                    <a:pt x="516" y="201"/>
                  </a:lnTo>
                  <a:lnTo>
                    <a:pt x="510" y="199"/>
                  </a:lnTo>
                  <a:lnTo>
                    <a:pt x="506" y="196"/>
                  </a:lnTo>
                  <a:lnTo>
                    <a:pt x="506" y="195"/>
                  </a:lnTo>
                  <a:lnTo>
                    <a:pt x="506" y="195"/>
                  </a:lnTo>
                  <a:lnTo>
                    <a:pt x="506" y="192"/>
                  </a:lnTo>
                  <a:lnTo>
                    <a:pt x="502" y="186"/>
                  </a:lnTo>
                  <a:lnTo>
                    <a:pt x="502" y="183"/>
                  </a:lnTo>
                  <a:lnTo>
                    <a:pt x="500" y="179"/>
                  </a:lnTo>
                  <a:lnTo>
                    <a:pt x="502" y="172"/>
                  </a:lnTo>
                  <a:lnTo>
                    <a:pt x="497" y="169"/>
                  </a:lnTo>
                  <a:lnTo>
                    <a:pt x="492" y="166"/>
                  </a:lnTo>
                  <a:lnTo>
                    <a:pt x="487" y="169"/>
                  </a:lnTo>
                  <a:lnTo>
                    <a:pt x="483" y="176"/>
                  </a:lnTo>
                  <a:lnTo>
                    <a:pt x="479" y="179"/>
                  </a:lnTo>
                  <a:lnTo>
                    <a:pt x="474" y="178"/>
                  </a:lnTo>
                  <a:lnTo>
                    <a:pt x="473" y="176"/>
                  </a:lnTo>
                  <a:lnTo>
                    <a:pt x="473" y="172"/>
                  </a:lnTo>
                  <a:lnTo>
                    <a:pt x="471" y="165"/>
                  </a:lnTo>
                  <a:lnTo>
                    <a:pt x="470" y="159"/>
                  </a:lnTo>
                  <a:lnTo>
                    <a:pt x="469" y="156"/>
                  </a:lnTo>
                  <a:lnTo>
                    <a:pt x="469" y="152"/>
                  </a:lnTo>
                  <a:lnTo>
                    <a:pt x="469" y="146"/>
                  </a:lnTo>
                  <a:lnTo>
                    <a:pt x="467" y="143"/>
                  </a:lnTo>
                  <a:lnTo>
                    <a:pt x="467" y="139"/>
                  </a:lnTo>
                  <a:lnTo>
                    <a:pt x="467" y="135"/>
                  </a:lnTo>
                  <a:lnTo>
                    <a:pt x="466" y="132"/>
                  </a:lnTo>
                  <a:lnTo>
                    <a:pt x="464" y="127"/>
                  </a:lnTo>
                  <a:lnTo>
                    <a:pt x="463" y="123"/>
                  </a:lnTo>
                  <a:lnTo>
                    <a:pt x="461" y="120"/>
                  </a:lnTo>
                  <a:lnTo>
                    <a:pt x="461" y="117"/>
                  </a:lnTo>
                  <a:lnTo>
                    <a:pt x="459" y="116"/>
                  </a:lnTo>
                  <a:lnTo>
                    <a:pt x="454" y="116"/>
                  </a:lnTo>
                  <a:lnTo>
                    <a:pt x="450" y="116"/>
                  </a:lnTo>
                  <a:lnTo>
                    <a:pt x="447" y="115"/>
                  </a:lnTo>
                  <a:lnTo>
                    <a:pt x="444" y="110"/>
                  </a:lnTo>
                  <a:lnTo>
                    <a:pt x="443" y="107"/>
                  </a:lnTo>
                  <a:lnTo>
                    <a:pt x="443" y="106"/>
                  </a:lnTo>
                  <a:lnTo>
                    <a:pt x="443" y="103"/>
                  </a:lnTo>
                  <a:lnTo>
                    <a:pt x="440" y="99"/>
                  </a:lnTo>
                  <a:lnTo>
                    <a:pt x="439" y="99"/>
                  </a:lnTo>
                  <a:lnTo>
                    <a:pt x="431" y="96"/>
                  </a:lnTo>
                  <a:lnTo>
                    <a:pt x="426" y="95"/>
                  </a:lnTo>
                  <a:lnTo>
                    <a:pt x="423" y="93"/>
                  </a:lnTo>
                  <a:lnTo>
                    <a:pt x="417" y="93"/>
                  </a:lnTo>
                  <a:lnTo>
                    <a:pt x="416" y="95"/>
                  </a:lnTo>
                  <a:lnTo>
                    <a:pt x="414" y="100"/>
                  </a:lnTo>
                  <a:lnTo>
                    <a:pt x="416" y="103"/>
                  </a:lnTo>
                  <a:lnTo>
                    <a:pt x="414" y="106"/>
                  </a:lnTo>
                  <a:lnTo>
                    <a:pt x="411" y="112"/>
                  </a:lnTo>
                  <a:lnTo>
                    <a:pt x="408" y="117"/>
                  </a:lnTo>
                  <a:lnTo>
                    <a:pt x="404" y="122"/>
                  </a:lnTo>
                  <a:lnTo>
                    <a:pt x="398" y="123"/>
                  </a:lnTo>
                  <a:lnTo>
                    <a:pt x="394" y="120"/>
                  </a:lnTo>
                  <a:lnTo>
                    <a:pt x="390" y="116"/>
                  </a:lnTo>
                  <a:lnTo>
                    <a:pt x="387" y="113"/>
                  </a:lnTo>
                  <a:lnTo>
                    <a:pt x="383" y="117"/>
                  </a:lnTo>
                  <a:lnTo>
                    <a:pt x="378" y="120"/>
                  </a:lnTo>
                  <a:lnTo>
                    <a:pt x="370" y="123"/>
                  </a:lnTo>
                  <a:lnTo>
                    <a:pt x="367" y="120"/>
                  </a:lnTo>
                  <a:lnTo>
                    <a:pt x="364" y="117"/>
                  </a:lnTo>
                  <a:lnTo>
                    <a:pt x="360" y="113"/>
                  </a:lnTo>
                  <a:lnTo>
                    <a:pt x="357" y="110"/>
                  </a:lnTo>
                  <a:lnTo>
                    <a:pt x="354" y="110"/>
                  </a:lnTo>
                  <a:lnTo>
                    <a:pt x="350" y="110"/>
                  </a:lnTo>
                  <a:lnTo>
                    <a:pt x="348" y="113"/>
                  </a:lnTo>
                  <a:lnTo>
                    <a:pt x="344" y="116"/>
                  </a:lnTo>
                  <a:lnTo>
                    <a:pt x="341" y="119"/>
                  </a:lnTo>
                  <a:lnTo>
                    <a:pt x="311" y="112"/>
                  </a:lnTo>
                  <a:lnTo>
                    <a:pt x="307" y="107"/>
                  </a:lnTo>
                  <a:lnTo>
                    <a:pt x="307" y="100"/>
                  </a:lnTo>
                  <a:lnTo>
                    <a:pt x="302" y="97"/>
                  </a:lnTo>
                  <a:lnTo>
                    <a:pt x="302" y="96"/>
                  </a:lnTo>
                  <a:lnTo>
                    <a:pt x="300" y="92"/>
                  </a:lnTo>
                  <a:lnTo>
                    <a:pt x="297" y="90"/>
                  </a:lnTo>
                  <a:lnTo>
                    <a:pt x="291" y="90"/>
                  </a:lnTo>
                  <a:lnTo>
                    <a:pt x="287" y="93"/>
                  </a:lnTo>
                  <a:lnTo>
                    <a:pt x="281" y="93"/>
                  </a:lnTo>
                  <a:lnTo>
                    <a:pt x="277" y="93"/>
                  </a:lnTo>
                  <a:lnTo>
                    <a:pt x="275" y="90"/>
                  </a:lnTo>
                  <a:lnTo>
                    <a:pt x="270" y="84"/>
                  </a:lnTo>
                  <a:lnTo>
                    <a:pt x="260" y="83"/>
                  </a:lnTo>
                  <a:lnTo>
                    <a:pt x="255" y="80"/>
                  </a:lnTo>
                  <a:lnTo>
                    <a:pt x="254" y="80"/>
                  </a:lnTo>
                  <a:lnTo>
                    <a:pt x="251" y="79"/>
                  </a:lnTo>
                  <a:lnTo>
                    <a:pt x="251" y="77"/>
                  </a:lnTo>
                  <a:lnTo>
                    <a:pt x="248" y="74"/>
                  </a:lnTo>
                  <a:lnTo>
                    <a:pt x="248" y="73"/>
                  </a:lnTo>
                  <a:lnTo>
                    <a:pt x="247" y="70"/>
                  </a:lnTo>
                  <a:lnTo>
                    <a:pt x="245" y="69"/>
                  </a:lnTo>
                  <a:lnTo>
                    <a:pt x="244" y="70"/>
                  </a:lnTo>
                  <a:lnTo>
                    <a:pt x="241" y="73"/>
                  </a:lnTo>
                  <a:lnTo>
                    <a:pt x="239" y="73"/>
                  </a:lnTo>
                  <a:lnTo>
                    <a:pt x="238" y="72"/>
                  </a:lnTo>
                  <a:lnTo>
                    <a:pt x="235" y="69"/>
                  </a:lnTo>
                  <a:lnTo>
                    <a:pt x="235" y="67"/>
                  </a:lnTo>
                  <a:lnTo>
                    <a:pt x="234" y="66"/>
                  </a:lnTo>
                  <a:lnTo>
                    <a:pt x="231" y="66"/>
                  </a:lnTo>
                  <a:lnTo>
                    <a:pt x="225" y="62"/>
                  </a:lnTo>
                  <a:lnTo>
                    <a:pt x="225" y="62"/>
                  </a:lnTo>
                  <a:lnTo>
                    <a:pt x="221" y="60"/>
                  </a:lnTo>
                  <a:lnTo>
                    <a:pt x="221" y="59"/>
                  </a:lnTo>
                  <a:lnTo>
                    <a:pt x="217" y="59"/>
                  </a:lnTo>
                  <a:lnTo>
                    <a:pt x="214" y="59"/>
                  </a:lnTo>
                  <a:lnTo>
                    <a:pt x="212" y="57"/>
                  </a:lnTo>
                  <a:lnTo>
                    <a:pt x="212" y="54"/>
                  </a:lnTo>
                  <a:lnTo>
                    <a:pt x="208" y="50"/>
                  </a:lnTo>
                  <a:lnTo>
                    <a:pt x="205" y="49"/>
                  </a:lnTo>
                  <a:lnTo>
                    <a:pt x="202" y="49"/>
                  </a:lnTo>
                  <a:lnTo>
                    <a:pt x="199" y="46"/>
                  </a:lnTo>
                  <a:lnTo>
                    <a:pt x="198" y="46"/>
                  </a:lnTo>
                  <a:lnTo>
                    <a:pt x="195" y="47"/>
                  </a:lnTo>
                  <a:lnTo>
                    <a:pt x="192" y="49"/>
                  </a:lnTo>
                  <a:lnTo>
                    <a:pt x="189" y="50"/>
                  </a:lnTo>
                  <a:lnTo>
                    <a:pt x="186" y="49"/>
                  </a:lnTo>
                  <a:lnTo>
                    <a:pt x="185" y="46"/>
                  </a:lnTo>
                  <a:lnTo>
                    <a:pt x="182" y="43"/>
                  </a:lnTo>
                  <a:lnTo>
                    <a:pt x="182" y="42"/>
                  </a:lnTo>
                  <a:lnTo>
                    <a:pt x="178" y="40"/>
                  </a:lnTo>
                  <a:lnTo>
                    <a:pt x="174" y="40"/>
                  </a:lnTo>
                  <a:lnTo>
                    <a:pt x="172" y="39"/>
                  </a:lnTo>
                  <a:lnTo>
                    <a:pt x="169" y="34"/>
                  </a:lnTo>
                  <a:lnTo>
                    <a:pt x="166" y="30"/>
                  </a:lnTo>
                  <a:lnTo>
                    <a:pt x="166" y="27"/>
                  </a:lnTo>
                  <a:lnTo>
                    <a:pt x="164" y="24"/>
                  </a:lnTo>
                  <a:lnTo>
                    <a:pt x="162" y="21"/>
                  </a:lnTo>
                  <a:lnTo>
                    <a:pt x="159" y="19"/>
                  </a:lnTo>
                  <a:lnTo>
                    <a:pt x="155" y="17"/>
                  </a:lnTo>
                  <a:lnTo>
                    <a:pt x="154" y="14"/>
                  </a:lnTo>
                  <a:lnTo>
                    <a:pt x="152" y="11"/>
                  </a:lnTo>
                  <a:lnTo>
                    <a:pt x="149" y="9"/>
                  </a:lnTo>
                  <a:lnTo>
                    <a:pt x="149" y="6"/>
                  </a:lnTo>
                  <a:lnTo>
                    <a:pt x="149" y="3"/>
                  </a:lnTo>
                  <a:lnTo>
                    <a:pt x="148" y="1"/>
                  </a:lnTo>
                  <a:lnTo>
                    <a:pt x="135" y="1"/>
                  </a:lnTo>
                  <a:lnTo>
                    <a:pt x="132" y="0"/>
                  </a:lnTo>
                  <a:lnTo>
                    <a:pt x="129" y="1"/>
                  </a:lnTo>
                  <a:lnTo>
                    <a:pt x="128" y="3"/>
                  </a:lnTo>
                  <a:lnTo>
                    <a:pt x="119" y="1"/>
                  </a:lnTo>
                  <a:lnTo>
                    <a:pt x="112" y="0"/>
                  </a:lnTo>
                  <a:lnTo>
                    <a:pt x="106" y="3"/>
                  </a:lnTo>
                  <a:lnTo>
                    <a:pt x="102" y="11"/>
                  </a:lnTo>
                  <a:lnTo>
                    <a:pt x="102" y="21"/>
                  </a:lnTo>
                  <a:lnTo>
                    <a:pt x="103" y="30"/>
                  </a:lnTo>
                  <a:lnTo>
                    <a:pt x="93" y="34"/>
                  </a:lnTo>
                  <a:lnTo>
                    <a:pt x="86" y="39"/>
                  </a:lnTo>
                  <a:lnTo>
                    <a:pt x="79" y="42"/>
                  </a:lnTo>
                  <a:lnTo>
                    <a:pt x="79" y="47"/>
                  </a:lnTo>
                  <a:lnTo>
                    <a:pt x="83" y="50"/>
                  </a:lnTo>
                  <a:lnTo>
                    <a:pt x="85" y="57"/>
                  </a:lnTo>
                  <a:lnTo>
                    <a:pt x="82" y="64"/>
                  </a:lnTo>
                  <a:lnTo>
                    <a:pt x="78" y="67"/>
                  </a:lnTo>
                  <a:lnTo>
                    <a:pt x="66" y="84"/>
                  </a:lnTo>
                  <a:lnTo>
                    <a:pt x="70" y="96"/>
                  </a:lnTo>
                  <a:lnTo>
                    <a:pt x="66" y="103"/>
                  </a:lnTo>
                  <a:lnTo>
                    <a:pt x="63" y="107"/>
                  </a:lnTo>
                  <a:lnTo>
                    <a:pt x="58" y="103"/>
                  </a:lnTo>
                  <a:lnTo>
                    <a:pt x="49" y="103"/>
                  </a:lnTo>
                  <a:lnTo>
                    <a:pt x="39" y="106"/>
                  </a:lnTo>
                  <a:lnTo>
                    <a:pt x="10" y="119"/>
                  </a:lnTo>
                  <a:lnTo>
                    <a:pt x="0" y="136"/>
                  </a:lnTo>
                  <a:lnTo>
                    <a:pt x="7" y="142"/>
                  </a:lnTo>
                  <a:lnTo>
                    <a:pt x="7" y="149"/>
                  </a:lnTo>
                  <a:lnTo>
                    <a:pt x="9" y="158"/>
                  </a:lnTo>
                  <a:lnTo>
                    <a:pt x="9" y="165"/>
                  </a:lnTo>
                  <a:lnTo>
                    <a:pt x="16" y="165"/>
                  </a:lnTo>
                  <a:lnTo>
                    <a:pt x="25" y="170"/>
                  </a:lnTo>
                  <a:lnTo>
                    <a:pt x="26" y="176"/>
                  </a:lnTo>
                  <a:lnTo>
                    <a:pt x="28" y="185"/>
                  </a:lnTo>
                  <a:lnTo>
                    <a:pt x="25" y="186"/>
                  </a:lnTo>
                  <a:lnTo>
                    <a:pt x="17" y="188"/>
                  </a:lnTo>
                  <a:lnTo>
                    <a:pt x="10" y="190"/>
                  </a:lnTo>
                  <a:lnTo>
                    <a:pt x="13" y="193"/>
                  </a:lnTo>
                  <a:lnTo>
                    <a:pt x="22" y="195"/>
                  </a:lnTo>
                  <a:lnTo>
                    <a:pt x="25" y="195"/>
                  </a:lnTo>
                  <a:lnTo>
                    <a:pt x="26" y="201"/>
                  </a:lnTo>
                  <a:lnTo>
                    <a:pt x="28" y="208"/>
                  </a:lnTo>
                  <a:lnTo>
                    <a:pt x="29" y="209"/>
                  </a:lnTo>
                  <a:lnTo>
                    <a:pt x="39" y="208"/>
                  </a:lnTo>
                  <a:lnTo>
                    <a:pt x="45" y="211"/>
                  </a:lnTo>
                  <a:lnTo>
                    <a:pt x="46" y="216"/>
                  </a:lnTo>
                  <a:lnTo>
                    <a:pt x="40" y="222"/>
                  </a:lnTo>
                  <a:lnTo>
                    <a:pt x="40" y="226"/>
                  </a:lnTo>
                  <a:lnTo>
                    <a:pt x="39" y="229"/>
                  </a:lnTo>
                  <a:lnTo>
                    <a:pt x="45" y="228"/>
                  </a:lnTo>
                  <a:lnTo>
                    <a:pt x="49" y="225"/>
                  </a:lnTo>
                  <a:lnTo>
                    <a:pt x="52" y="226"/>
                  </a:lnTo>
                  <a:lnTo>
                    <a:pt x="50" y="229"/>
                  </a:lnTo>
                  <a:lnTo>
                    <a:pt x="46" y="232"/>
                  </a:lnTo>
                  <a:lnTo>
                    <a:pt x="38" y="238"/>
                  </a:lnTo>
                  <a:lnTo>
                    <a:pt x="38" y="242"/>
                  </a:lnTo>
                  <a:lnTo>
                    <a:pt x="40" y="243"/>
                  </a:lnTo>
                  <a:lnTo>
                    <a:pt x="49" y="242"/>
                  </a:lnTo>
                  <a:lnTo>
                    <a:pt x="56" y="252"/>
                  </a:lnTo>
                  <a:lnTo>
                    <a:pt x="59" y="256"/>
                  </a:lnTo>
                  <a:lnTo>
                    <a:pt x="56" y="264"/>
                  </a:lnTo>
                  <a:lnTo>
                    <a:pt x="60" y="266"/>
                  </a:lnTo>
                  <a:lnTo>
                    <a:pt x="66" y="272"/>
                  </a:lnTo>
                  <a:lnTo>
                    <a:pt x="72" y="278"/>
                  </a:lnTo>
                  <a:lnTo>
                    <a:pt x="82" y="282"/>
                  </a:lnTo>
                  <a:lnTo>
                    <a:pt x="89" y="288"/>
                  </a:lnTo>
                  <a:lnTo>
                    <a:pt x="92" y="289"/>
                  </a:lnTo>
                  <a:lnTo>
                    <a:pt x="98" y="295"/>
                  </a:lnTo>
                  <a:lnTo>
                    <a:pt x="99" y="296"/>
                  </a:lnTo>
                  <a:lnTo>
                    <a:pt x="106" y="294"/>
                  </a:lnTo>
                  <a:lnTo>
                    <a:pt x="111" y="295"/>
                  </a:lnTo>
                  <a:lnTo>
                    <a:pt x="113" y="296"/>
                  </a:lnTo>
                  <a:lnTo>
                    <a:pt x="118" y="298"/>
                  </a:lnTo>
                  <a:lnTo>
                    <a:pt x="121" y="298"/>
                  </a:lnTo>
                  <a:lnTo>
                    <a:pt x="128" y="294"/>
                  </a:lnTo>
                  <a:lnTo>
                    <a:pt x="133" y="292"/>
                  </a:lnTo>
                  <a:lnTo>
                    <a:pt x="133" y="294"/>
                  </a:lnTo>
                  <a:lnTo>
                    <a:pt x="136" y="302"/>
                  </a:lnTo>
                  <a:lnTo>
                    <a:pt x="136" y="304"/>
                  </a:lnTo>
                  <a:lnTo>
                    <a:pt x="141" y="305"/>
                  </a:lnTo>
                  <a:lnTo>
                    <a:pt x="145" y="301"/>
                  </a:lnTo>
                  <a:lnTo>
                    <a:pt x="148" y="296"/>
                  </a:lnTo>
                  <a:lnTo>
                    <a:pt x="152" y="294"/>
                  </a:lnTo>
                  <a:lnTo>
                    <a:pt x="155" y="295"/>
                  </a:lnTo>
                  <a:lnTo>
                    <a:pt x="161" y="302"/>
                  </a:lnTo>
                  <a:lnTo>
                    <a:pt x="165" y="304"/>
                  </a:lnTo>
                  <a:lnTo>
                    <a:pt x="169" y="312"/>
                  </a:lnTo>
                  <a:lnTo>
                    <a:pt x="172" y="315"/>
                  </a:lnTo>
                  <a:lnTo>
                    <a:pt x="174" y="327"/>
                  </a:lnTo>
                  <a:lnTo>
                    <a:pt x="174" y="338"/>
                  </a:lnTo>
                  <a:lnTo>
                    <a:pt x="176" y="344"/>
                  </a:lnTo>
                  <a:lnTo>
                    <a:pt x="182" y="354"/>
                  </a:lnTo>
                  <a:lnTo>
                    <a:pt x="188" y="372"/>
                  </a:lnTo>
                  <a:lnTo>
                    <a:pt x="195" y="381"/>
                  </a:lnTo>
                  <a:lnTo>
                    <a:pt x="198" y="390"/>
                  </a:lnTo>
                  <a:lnTo>
                    <a:pt x="201" y="397"/>
                  </a:lnTo>
                  <a:lnTo>
                    <a:pt x="204" y="401"/>
                  </a:lnTo>
                  <a:lnTo>
                    <a:pt x="211" y="402"/>
                  </a:lnTo>
                  <a:lnTo>
                    <a:pt x="221" y="401"/>
                  </a:lnTo>
                  <a:lnTo>
                    <a:pt x="224" y="401"/>
                  </a:lnTo>
                  <a:lnTo>
                    <a:pt x="232" y="402"/>
                  </a:lnTo>
                  <a:lnTo>
                    <a:pt x="238" y="397"/>
                  </a:lnTo>
                  <a:lnTo>
                    <a:pt x="239" y="397"/>
                  </a:lnTo>
                  <a:lnTo>
                    <a:pt x="242" y="400"/>
                  </a:lnTo>
                  <a:lnTo>
                    <a:pt x="244" y="401"/>
                  </a:lnTo>
                  <a:lnTo>
                    <a:pt x="245" y="404"/>
                  </a:lnTo>
                  <a:lnTo>
                    <a:pt x="252" y="401"/>
                  </a:lnTo>
                  <a:lnTo>
                    <a:pt x="249" y="394"/>
                  </a:lnTo>
                  <a:lnTo>
                    <a:pt x="254" y="392"/>
                  </a:lnTo>
                  <a:lnTo>
                    <a:pt x="257" y="394"/>
                  </a:lnTo>
                  <a:lnTo>
                    <a:pt x="261" y="401"/>
                  </a:lnTo>
                  <a:lnTo>
                    <a:pt x="267" y="395"/>
                  </a:lnTo>
                  <a:lnTo>
                    <a:pt x="271" y="394"/>
                  </a:lnTo>
                  <a:lnTo>
                    <a:pt x="277" y="394"/>
                  </a:lnTo>
                  <a:lnTo>
                    <a:pt x="280" y="392"/>
                  </a:lnTo>
                  <a:lnTo>
                    <a:pt x="282" y="391"/>
                  </a:lnTo>
                  <a:lnTo>
                    <a:pt x="284" y="387"/>
                  </a:lnTo>
                  <a:lnTo>
                    <a:pt x="287" y="384"/>
                  </a:lnTo>
                  <a:lnTo>
                    <a:pt x="290" y="380"/>
                  </a:lnTo>
                  <a:lnTo>
                    <a:pt x="294" y="382"/>
                  </a:lnTo>
                  <a:lnTo>
                    <a:pt x="291" y="385"/>
                  </a:lnTo>
                  <a:lnTo>
                    <a:pt x="297" y="391"/>
                  </a:lnTo>
                  <a:lnTo>
                    <a:pt x="301" y="385"/>
                  </a:lnTo>
                  <a:lnTo>
                    <a:pt x="307" y="391"/>
                  </a:lnTo>
                  <a:lnTo>
                    <a:pt x="302" y="398"/>
                  </a:lnTo>
                  <a:lnTo>
                    <a:pt x="302" y="407"/>
                  </a:lnTo>
                  <a:lnTo>
                    <a:pt x="301" y="417"/>
                  </a:lnTo>
                  <a:lnTo>
                    <a:pt x="302" y="425"/>
                  </a:lnTo>
                  <a:lnTo>
                    <a:pt x="305" y="431"/>
                  </a:lnTo>
                  <a:lnTo>
                    <a:pt x="310" y="435"/>
                  </a:lnTo>
                  <a:lnTo>
                    <a:pt x="317" y="441"/>
                  </a:lnTo>
                  <a:lnTo>
                    <a:pt x="323" y="444"/>
                  </a:lnTo>
                  <a:lnTo>
                    <a:pt x="328" y="447"/>
                  </a:lnTo>
                  <a:lnTo>
                    <a:pt x="337" y="448"/>
                  </a:lnTo>
                  <a:lnTo>
                    <a:pt x="347" y="451"/>
                  </a:lnTo>
                  <a:lnTo>
                    <a:pt x="353" y="454"/>
                  </a:lnTo>
                  <a:lnTo>
                    <a:pt x="358" y="463"/>
                  </a:lnTo>
                  <a:lnTo>
                    <a:pt x="368" y="467"/>
                  </a:lnTo>
                  <a:lnTo>
                    <a:pt x="371" y="470"/>
                  </a:lnTo>
                  <a:lnTo>
                    <a:pt x="377" y="471"/>
                  </a:lnTo>
                  <a:lnTo>
                    <a:pt x="381" y="478"/>
                  </a:lnTo>
                  <a:lnTo>
                    <a:pt x="384" y="488"/>
                  </a:lnTo>
                  <a:lnTo>
                    <a:pt x="387" y="490"/>
                  </a:lnTo>
                  <a:lnTo>
                    <a:pt x="393" y="487"/>
                  </a:lnTo>
                  <a:lnTo>
                    <a:pt x="398" y="493"/>
                  </a:lnTo>
                  <a:lnTo>
                    <a:pt x="404" y="494"/>
                  </a:lnTo>
                  <a:lnTo>
                    <a:pt x="408" y="488"/>
                  </a:lnTo>
                  <a:lnTo>
                    <a:pt x="406" y="475"/>
                  </a:lnTo>
                  <a:lnTo>
                    <a:pt x="423" y="467"/>
                  </a:lnTo>
                  <a:lnTo>
                    <a:pt x="433" y="467"/>
                  </a:lnTo>
                  <a:lnTo>
                    <a:pt x="430" y="481"/>
                  </a:lnTo>
                  <a:lnTo>
                    <a:pt x="424" y="490"/>
                  </a:lnTo>
                  <a:lnTo>
                    <a:pt x="429" y="490"/>
                  </a:lnTo>
                  <a:lnTo>
                    <a:pt x="431" y="491"/>
                  </a:lnTo>
                  <a:lnTo>
                    <a:pt x="434" y="494"/>
                  </a:lnTo>
                  <a:lnTo>
                    <a:pt x="436" y="498"/>
                  </a:lnTo>
                  <a:lnTo>
                    <a:pt x="441" y="500"/>
                  </a:lnTo>
                  <a:lnTo>
                    <a:pt x="443" y="498"/>
                  </a:lnTo>
                  <a:lnTo>
                    <a:pt x="449" y="497"/>
                  </a:lnTo>
                  <a:lnTo>
                    <a:pt x="450" y="498"/>
                  </a:lnTo>
                  <a:lnTo>
                    <a:pt x="454" y="498"/>
                  </a:lnTo>
                  <a:lnTo>
                    <a:pt x="456" y="496"/>
                  </a:lnTo>
                  <a:lnTo>
                    <a:pt x="467" y="496"/>
                  </a:lnTo>
                  <a:lnTo>
                    <a:pt x="467" y="508"/>
                  </a:lnTo>
                  <a:lnTo>
                    <a:pt x="469" y="510"/>
                  </a:lnTo>
                  <a:lnTo>
                    <a:pt x="470" y="511"/>
                  </a:lnTo>
                  <a:lnTo>
                    <a:pt x="474" y="514"/>
                  </a:lnTo>
                  <a:lnTo>
                    <a:pt x="476" y="516"/>
                  </a:lnTo>
                  <a:lnTo>
                    <a:pt x="474" y="521"/>
                  </a:lnTo>
                  <a:lnTo>
                    <a:pt x="474" y="526"/>
                  </a:lnTo>
                  <a:lnTo>
                    <a:pt x="473" y="530"/>
                  </a:lnTo>
                  <a:lnTo>
                    <a:pt x="471" y="533"/>
                  </a:lnTo>
                  <a:lnTo>
                    <a:pt x="467" y="536"/>
                  </a:lnTo>
                  <a:lnTo>
                    <a:pt x="467" y="540"/>
                  </a:lnTo>
                  <a:lnTo>
                    <a:pt x="467" y="546"/>
                  </a:lnTo>
                  <a:lnTo>
                    <a:pt x="473" y="549"/>
                  </a:lnTo>
                  <a:lnTo>
                    <a:pt x="477" y="554"/>
                  </a:lnTo>
                  <a:lnTo>
                    <a:pt x="477" y="554"/>
                  </a:lnTo>
                  <a:lnTo>
                    <a:pt x="479" y="553"/>
                  </a:lnTo>
                  <a:lnTo>
                    <a:pt x="479" y="549"/>
                  </a:lnTo>
                  <a:lnTo>
                    <a:pt x="482" y="540"/>
                  </a:lnTo>
                  <a:lnTo>
                    <a:pt x="483" y="536"/>
                  </a:lnTo>
                  <a:lnTo>
                    <a:pt x="484" y="536"/>
                  </a:lnTo>
                  <a:lnTo>
                    <a:pt x="487" y="536"/>
                  </a:lnTo>
                  <a:lnTo>
                    <a:pt x="489" y="531"/>
                  </a:lnTo>
                  <a:lnTo>
                    <a:pt x="490" y="527"/>
                  </a:lnTo>
                  <a:lnTo>
                    <a:pt x="496" y="526"/>
                  </a:lnTo>
                  <a:lnTo>
                    <a:pt x="500" y="523"/>
                  </a:lnTo>
                  <a:lnTo>
                    <a:pt x="502" y="524"/>
                  </a:lnTo>
                  <a:lnTo>
                    <a:pt x="506" y="524"/>
                  </a:lnTo>
                  <a:lnTo>
                    <a:pt x="509" y="524"/>
                  </a:lnTo>
                  <a:lnTo>
                    <a:pt x="514" y="523"/>
                  </a:lnTo>
                  <a:lnTo>
                    <a:pt x="519" y="520"/>
                  </a:lnTo>
                  <a:lnTo>
                    <a:pt x="517" y="516"/>
                  </a:lnTo>
                  <a:lnTo>
                    <a:pt x="527" y="510"/>
                  </a:lnTo>
                  <a:lnTo>
                    <a:pt x="530" y="513"/>
                  </a:lnTo>
                  <a:lnTo>
                    <a:pt x="535" y="516"/>
                  </a:lnTo>
                  <a:lnTo>
                    <a:pt x="543" y="507"/>
                  </a:lnTo>
                  <a:lnTo>
                    <a:pt x="537" y="498"/>
                  </a:lnTo>
                  <a:lnTo>
                    <a:pt x="533" y="500"/>
                  </a:lnTo>
                  <a:lnTo>
                    <a:pt x="535" y="491"/>
                  </a:lnTo>
                  <a:lnTo>
                    <a:pt x="535" y="484"/>
                  </a:lnTo>
                  <a:lnTo>
                    <a:pt x="536" y="480"/>
                  </a:lnTo>
                  <a:lnTo>
                    <a:pt x="536" y="475"/>
                  </a:lnTo>
                  <a:lnTo>
                    <a:pt x="537" y="471"/>
                  </a:lnTo>
                  <a:lnTo>
                    <a:pt x="537" y="467"/>
                  </a:lnTo>
                  <a:lnTo>
                    <a:pt x="539" y="467"/>
                  </a:lnTo>
                  <a:lnTo>
                    <a:pt x="545" y="464"/>
                  </a:lnTo>
                  <a:lnTo>
                    <a:pt x="545" y="458"/>
                  </a:lnTo>
                  <a:lnTo>
                    <a:pt x="547" y="457"/>
                  </a:lnTo>
                  <a:lnTo>
                    <a:pt x="552" y="455"/>
                  </a:lnTo>
                  <a:lnTo>
                    <a:pt x="556" y="455"/>
                  </a:lnTo>
                  <a:lnTo>
                    <a:pt x="562" y="455"/>
                  </a:lnTo>
                  <a:lnTo>
                    <a:pt x="566" y="453"/>
                  </a:lnTo>
                  <a:lnTo>
                    <a:pt x="566" y="451"/>
                  </a:lnTo>
                  <a:lnTo>
                    <a:pt x="565" y="443"/>
                  </a:lnTo>
                  <a:lnTo>
                    <a:pt x="563" y="438"/>
                  </a:lnTo>
                  <a:lnTo>
                    <a:pt x="562" y="434"/>
                  </a:lnTo>
                  <a:lnTo>
                    <a:pt x="563" y="430"/>
                  </a:lnTo>
                  <a:lnTo>
                    <a:pt x="565" y="427"/>
                  </a:lnTo>
                  <a:lnTo>
                    <a:pt x="567" y="422"/>
                  </a:lnTo>
                  <a:lnTo>
                    <a:pt x="569" y="417"/>
                  </a:lnTo>
                  <a:lnTo>
                    <a:pt x="569" y="414"/>
                  </a:lnTo>
                  <a:lnTo>
                    <a:pt x="569" y="407"/>
                  </a:lnTo>
                  <a:lnTo>
                    <a:pt x="566" y="402"/>
                  </a:lnTo>
                  <a:lnTo>
                    <a:pt x="563" y="395"/>
                  </a:lnTo>
                  <a:lnTo>
                    <a:pt x="570" y="395"/>
                  </a:lnTo>
                  <a:lnTo>
                    <a:pt x="570" y="392"/>
                  </a:lnTo>
                  <a:lnTo>
                    <a:pt x="569" y="391"/>
                  </a:lnTo>
                  <a:lnTo>
                    <a:pt x="563" y="390"/>
                  </a:lnTo>
                  <a:lnTo>
                    <a:pt x="565" y="384"/>
                  </a:lnTo>
                  <a:lnTo>
                    <a:pt x="566" y="381"/>
                  </a:lnTo>
                  <a:lnTo>
                    <a:pt x="572" y="382"/>
                  </a:lnTo>
                  <a:lnTo>
                    <a:pt x="576" y="387"/>
                  </a:lnTo>
                  <a:lnTo>
                    <a:pt x="579" y="390"/>
                  </a:lnTo>
                  <a:lnTo>
                    <a:pt x="580" y="388"/>
                  </a:lnTo>
                  <a:lnTo>
                    <a:pt x="579" y="378"/>
                  </a:lnTo>
                  <a:lnTo>
                    <a:pt x="580" y="377"/>
                  </a:lnTo>
                  <a:lnTo>
                    <a:pt x="583" y="377"/>
                  </a:lnTo>
                  <a:lnTo>
                    <a:pt x="586" y="381"/>
                  </a:lnTo>
                  <a:lnTo>
                    <a:pt x="587" y="385"/>
                  </a:lnTo>
                  <a:lnTo>
                    <a:pt x="587" y="388"/>
                  </a:lnTo>
                  <a:lnTo>
                    <a:pt x="590" y="387"/>
                  </a:lnTo>
                  <a:lnTo>
                    <a:pt x="592" y="385"/>
                  </a:lnTo>
                  <a:lnTo>
                    <a:pt x="593" y="385"/>
                  </a:lnTo>
                  <a:lnTo>
                    <a:pt x="596" y="387"/>
                  </a:lnTo>
                  <a:lnTo>
                    <a:pt x="599" y="387"/>
                  </a:lnTo>
                  <a:lnTo>
                    <a:pt x="602" y="385"/>
                  </a:lnTo>
                  <a:lnTo>
                    <a:pt x="603" y="385"/>
                  </a:lnTo>
                  <a:lnTo>
                    <a:pt x="608" y="387"/>
                  </a:lnTo>
                  <a:lnTo>
                    <a:pt x="610" y="390"/>
                  </a:lnTo>
                  <a:lnTo>
                    <a:pt x="613" y="391"/>
                  </a:lnTo>
                  <a:lnTo>
                    <a:pt x="618" y="390"/>
                  </a:lnTo>
                  <a:lnTo>
                    <a:pt x="619" y="387"/>
                  </a:lnTo>
                  <a:lnTo>
                    <a:pt x="620" y="382"/>
                  </a:lnTo>
                  <a:lnTo>
                    <a:pt x="622" y="378"/>
                  </a:lnTo>
                  <a:lnTo>
                    <a:pt x="619" y="372"/>
                  </a:lnTo>
                  <a:lnTo>
                    <a:pt x="619" y="368"/>
                  </a:lnTo>
                  <a:lnTo>
                    <a:pt x="618" y="367"/>
                  </a:lnTo>
                  <a:lnTo>
                    <a:pt x="618" y="364"/>
                  </a:lnTo>
                  <a:lnTo>
                    <a:pt x="618" y="358"/>
                  </a:lnTo>
                  <a:lnTo>
                    <a:pt x="622" y="355"/>
                  </a:lnTo>
                  <a:lnTo>
                    <a:pt x="625" y="354"/>
                  </a:lnTo>
                  <a:lnTo>
                    <a:pt x="629" y="354"/>
                  </a:lnTo>
                  <a:lnTo>
                    <a:pt x="633" y="352"/>
                  </a:lnTo>
                  <a:lnTo>
                    <a:pt x="636" y="352"/>
                  </a:lnTo>
                  <a:lnTo>
                    <a:pt x="636" y="349"/>
                  </a:lnTo>
                  <a:lnTo>
                    <a:pt x="639" y="345"/>
                  </a:lnTo>
                  <a:lnTo>
                    <a:pt x="643" y="344"/>
                  </a:lnTo>
                  <a:lnTo>
                    <a:pt x="646" y="344"/>
                  </a:lnTo>
                  <a:lnTo>
                    <a:pt x="651" y="345"/>
                  </a:lnTo>
                  <a:lnTo>
                    <a:pt x="653" y="349"/>
                  </a:lnTo>
                  <a:lnTo>
                    <a:pt x="655" y="354"/>
                  </a:lnTo>
                  <a:lnTo>
                    <a:pt x="659" y="355"/>
                  </a:lnTo>
                  <a:lnTo>
                    <a:pt x="662" y="355"/>
                  </a:lnTo>
                  <a:lnTo>
                    <a:pt x="662" y="355"/>
                  </a:lnTo>
                  <a:lnTo>
                    <a:pt x="665" y="357"/>
                  </a:lnTo>
                  <a:lnTo>
                    <a:pt x="666" y="355"/>
                  </a:lnTo>
                  <a:lnTo>
                    <a:pt x="668" y="352"/>
                  </a:lnTo>
                  <a:lnTo>
                    <a:pt x="668" y="352"/>
                  </a:lnTo>
                  <a:lnTo>
                    <a:pt x="668" y="348"/>
                  </a:lnTo>
                  <a:lnTo>
                    <a:pt x="668" y="349"/>
                  </a:lnTo>
                  <a:lnTo>
                    <a:pt x="668" y="349"/>
                  </a:lnTo>
                  <a:lnTo>
                    <a:pt x="668" y="344"/>
                  </a:lnTo>
                  <a:lnTo>
                    <a:pt x="668" y="341"/>
                  </a:lnTo>
                  <a:lnTo>
                    <a:pt x="668" y="341"/>
                  </a:lnTo>
                  <a:lnTo>
                    <a:pt x="668" y="335"/>
                  </a:lnTo>
                  <a:lnTo>
                    <a:pt x="669" y="332"/>
                  </a:lnTo>
                  <a:lnTo>
                    <a:pt x="669" y="332"/>
                  </a:lnTo>
                  <a:lnTo>
                    <a:pt x="671" y="328"/>
                  </a:lnTo>
                  <a:lnTo>
                    <a:pt x="672" y="324"/>
                  </a:lnTo>
                  <a:lnTo>
                    <a:pt x="672" y="324"/>
                  </a:lnTo>
                  <a:lnTo>
                    <a:pt x="675" y="319"/>
                  </a:lnTo>
                  <a:lnTo>
                    <a:pt x="676" y="314"/>
                  </a:lnTo>
                  <a:lnTo>
                    <a:pt x="676" y="314"/>
                  </a:lnTo>
                  <a:lnTo>
                    <a:pt x="678" y="308"/>
                  </a:lnTo>
                  <a:lnTo>
                    <a:pt x="679" y="304"/>
                  </a:lnTo>
                  <a:lnTo>
                    <a:pt x="679" y="304"/>
                  </a:lnTo>
                  <a:lnTo>
                    <a:pt x="682" y="294"/>
                  </a:lnTo>
                  <a:lnTo>
                    <a:pt x="682" y="294"/>
                  </a:lnTo>
                  <a:lnTo>
                    <a:pt x="689" y="282"/>
                  </a:lnTo>
                  <a:lnTo>
                    <a:pt x="691" y="276"/>
                  </a:lnTo>
                  <a:lnTo>
                    <a:pt x="686" y="272"/>
                  </a:lnTo>
                  <a:lnTo>
                    <a:pt x="686" y="272"/>
                  </a:lnTo>
                  <a:lnTo>
                    <a:pt x="685" y="271"/>
                  </a:lnTo>
                  <a:lnTo>
                    <a:pt x="683" y="269"/>
                  </a:lnTo>
                  <a:lnTo>
                    <a:pt x="681" y="268"/>
                  </a:lnTo>
                  <a:lnTo>
                    <a:pt x="679" y="265"/>
                  </a:lnTo>
                  <a:lnTo>
                    <a:pt x="678" y="264"/>
                  </a:lnTo>
                  <a:lnTo>
                    <a:pt x="676" y="262"/>
                  </a:lnTo>
                  <a:lnTo>
                    <a:pt x="672" y="261"/>
                  </a:lnTo>
                  <a:lnTo>
                    <a:pt x="671" y="259"/>
                  </a:lnTo>
                  <a:lnTo>
                    <a:pt x="668" y="264"/>
                  </a:lnTo>
                  <a:lnTo>
                    <a:pt x="665" y="266"/>
                  </a:lnTo>
                  <a:lnTo>
                    <a:pt x="665" y="269"/>
                  </a:lnTo>
                  <a:lnTo>
                    <a:pt x="662" y="272"/>
                  </a:lnTo>
                  <a:lnTo>
                    <a:pt x="659" y="271"/>
                  </a:lnTo>
                  <a:lnTo>
                    <a:pt x="656" y="268"/>
                  </a:lnTo>
                  <a:lnTo>
                    <a:pt x="655" y="266"/>
                  </a:lnTo>
                  <a:lnTo>
                    <a:pt x="652" y="265"/>
                  </a:lnTo>
                  <a:lnTo>
                    <a:pt x="651" y="265"/>
                  </a:lnTo>
                  <a:lnTo>
                    <a:pt x="646" y="265"/>
                  </a:lnTo>
                  <a:lnTo>
                    <a:pt x="646" y="266"/>
                  </a:lnTo>
                  <a:lnTo>
                    <a:pt x="643" y="265"/>
                  </a:lnTo>
                  <a:lnTo>
                    <a:pt x="639" y="265"/>
                  </a:lnTo>
                  <a:lnTo>
                    <a:pt x="636" y="265"/>
                  </a:lnTo>
                  <a:lnTo>
                    <a:pt x="633" y="266"/>
                  </a:lnTo>
                  <a:lnTo>
                    <a:pt x="630" y="266"/>
                  </a:lnTo>
                  <a:lnTo>
                    <a:pt x="629" y="265"/>
                  </a:lnTo>
                  <a:lnTo>
                    <a:pt x="628" y="264"/>
                  </a:lnTo>
                  <a:lnTo>
                    <a:pt x="625" y="261"/>
                  </a:lnTo>
                  <a:lnTo>
                    <a:pt x="623" y="261"/>
                  </a:lnTo>
                  <a:lnTo>
                    <a:pt x="620" y="262"/>
                  </a:lnTo>
                  <a:lnTo>
                    <a:pt x="618" y="264"/>
                  </a:lnTo>
                  <a:lnTo>
                    <a:pt x="616" y="266"/>
                  </a:lnTo>
                  <a:lnTo>
                    <a:pt x="615" y="268"/>
                  </a:lnTo>
                  <a:lnTo>
                    <a:pt x="613" y="265"/>
                  </a:lnTo>
                  <a:lnTo>
                    <a:pt x="613" y="262"/>
                  </a:lnTo>
                  <a:lnTo>
                    <a:pt x="610" y="259"/>
                  </a:lnTo>
                  <a:lnTo>
                    <a:pt x="606" y="256"/>
                  </a:lnTo>
                  <a:lnTo>
                    <a:pt x="605" y="253"/>
                  </a:lnTo>
                  <a:lnTo>
                    <a:pt x="605" y="249"/>
                  </a:lnTo>
                  <a:lnTo>
                    <a:pt x="606" y="243"/>
                  </a:lnTo>
                  <a:lnTo>
                    <a:pt x="606" y="243"/>
                  </a:lnTo>
                  <a:close/>
                  <a:moveTo>
                    <a:pt x="608" y="241"/>
                  </a:moveTo>
                  <a:lnTo>
                    <a:pt x="608" y="242"/>
                  </a:lnTo>
                  <a:lnTo>
                    <a:pt x="608" y="24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08" name="Freeform 156"/>
            <p:cNvSpPr>
              <a:spLocks noEditPoints="1"/>
            </p:cNvSpPr>
            <p:nvPr/>
          </p:nvSpPr>
          <p:spPr bwMode="auto">
            <a:xfrm>
              <a:off x="2421560" y="2987919"/>
              <a:ext cx="421294" cy="367767"/>
            </a:xfrm>
            <a:custGeom>
              <a:avLst/>
              <a:gdLst>
                <a:gd name="T0" fmla="*/ 576 w 691"/>
                <a:gd name="T1" fmla="*/ 228 h 554"/>
                <a:gd name="T2" fmla="*/ 552 w 691"/>
                <a:gd name="T3" fmla="*/ 205 h 554"/>
                <a:gd name="T4" fmla="*/ 532 w 691"/>
                <a:gd name="T5" fmla="*/ 201 h 554"/>
                <a:gd name="T6" fmla="*/ 506 w 691"/>
                <a:gd name="T7" fmla="*/ 195 h 554"/>
                <a:gd name="T8" fmla="*/ 487 w 691"/>
                <a:gd name="T9" fmla="*/ 169 h 554"/>
                <a:gd name="T10" fmla="*/ 469 w 691"/>
                <a:gd name="T11" fmla="*/ 156 h 554"/>
                <a:gd name="T12" fmla="*/ 463 w 691"/>
                <a:gd name="T13" fmla="*/ 123 h 554"/>
                <a:gd name="T14" fmla="*/ 443 w 691"/>
                <a:gd name="T15" fmla="*/ 107 h 554"/>
                <a:gd name="T16" fmla="*/ 417 w 691"/>
                <a:gd name="T17" fmla="*/ 93 h 554"/>
                <a:gd name="T18" fmla="*/ 398 w 691"/>
                <a:gd name="T19" fmla="*/ 123 h 554"/>
                <a:gd name="T20" fmla="*/ 364 w 691"/>
                <a:gd name="T21" fmla="*/ 117 h 554"/>
                <a:gd name="T22" fmla="*/ 311 w 691"/>
                <a:gd name="T23" fmla="*/ 112 h 554"/>
                <a:gd name="T24" fmla="*/ 287 w 691"/>
                <a:gd name="T25" fmla="*/ 93 h 554"/>
                <a:gd name="T26" fmla="*/ 251 w 691"/>
                <a:gd name="T27" fmla="*/ 79 h 554"/>
                <a:gd name="T28" fmla="*/ 239 w 691"/>
                <a:gd name="T29" fmla="*/ 73 h 554"/>
                <a:gd name="T30" fmla="*/ 221 w 691"/>
                <a:gd name="T31" fmla="*/ 60 h 554"/>
                <a:gd name="T32" fmla="*/ 202 w 691"/>
                <a:gd name="T33" fmla="*/ 49 h 554"/>
                <a:gd name="T34" fmla="*/ 182 w 691"/>
                <a:gd name="T35" fmla="*/ 43 h 554"/>
                <a:gd name="T36" fmla="*/ 164 w 691"/>
                <a:gd name="T37" fmla="*/ 24 h 554"/>
                <a:gd name="T38" fmla="*/ 149 w 691"/>
                <a:gd name="T39" fmla="*/ 3 h 554"/>
                <a:gd name="T40" fmla="*/ 106 w 691"/>
                <a:gd name="T41" fmla="*/ 3 h 554"/>
                <a:gd name="T42" fmla="*/ 83 w 691"/>
                <a:gd name="T43" fmla="*/ 50 h 554"/>
                <a:gd name="T44" fmla="*/ 58 w 691"/>
                <a:gd name="T45" fmla="*/ 103 h 554"/>
                <a:gd name="T46" fmla="*/ 9 w 691"/>
                <a:gd name="T47" fmla="*/ 165 h 554"/>
                <a:gd name="T48" fmla="*/ 13 w 691"/>
                <a:gd name="T49" fmla="*/ 193 h 554"/>
                <a:gd name="T50" fmla="*/ 46 w 691"/>
                <a:gd name="T51" fmla="*/ 216 h 554"/>
                <a:gd name="T52" fmla="*/ 46 w 691"/>
                <a:gd name="T53" fmla="*/ 232 h 554"/>
                <a:gd name="T54" fmla="*/ 60 w 691"/>
                <a:gd name="T55" fmla="*/ 266 h 554"/>
                <a:gd name="T56" fmla="*/ 106 w 691"/>
                <a:gd name="T57" fmla="*/ 294 h 554"/>
                <a:gd name="T58" fmla="*/ 136 w 691"/>
                <a:gd name="T59" fmla="*/ 302 h 554"/>
                <a:gd name="T60" fmla="*/ 165 w 691"/>
                <a:gd name="T61" fmla="*/ 304 h 554"/>
                <a:gd name="T62" fmla="*/ 195 w 691"/>
                <a:gd name="T63" fmla="*/ 381 h 554"/>
                <a:gd name="T64" fmla="*/ 238 w 691"/>
                <a:gd name="T65" fmla="*/ 397 h 554"/>
                <a:gd name="T66" fmla="*/ 257 w 691"/>
                <a:gd name="T67" fmla="*/ 394 h 554"/>
                <a:gd name="T68" fmla="*/ 287 w 691"/>
                <a:gd name="T69" fmla="*/ 384 h 554"/>
                <a:gd name="T70" fmla="*/ 302 w 691"/>
                <a:gd name="T71" fmla="*/ 407 h 554"/>
                <a:gd name="T72" fmla="*/ 337 w 691"/>
                <a:gd name="T73" fmla="*/ 448 h 554"/>
                <a:gd name="T74" fmla="*/ 384 w 691"/>
                <a:gd name="T75" fmla="*/ 488 h 554"/>
                <a:gd name="T76" fmla="*/ 433 w 691"/>
                <a:gd name="T77" fmla="*/ 467 h 554"/>
                <a:gd name="T78" fmla="*/ 443 w 691"/>
                <a:gd name="T79" fmla="*/ 498 h 554"/>
                <a:gd name="T80" fmla="*/ 470 w 691"/>
                <a:gd name="T81" fmla="*/ 511 h 554"/>
                <a:gd name="T82" fmla="*/ 467 w 691"/>
                <a:gd name="T83" fmla="*/ 540 h 554"/>
                <a:gd name="T84" fmla="*/ 483 w 691"/>
                <a:gd name="T85" fmla="*/ 536 h 554"/>
                <a:gd name="T86" fmla="*/ 506 w 691"/>
                <a:gd name="T87" fmla="*/ 524 h 554"/>
                <a:gd name="T88" fmla="*/ 543 w 691"/>
                <a:gd name="T89" fmla="*/ 507 h 554"/>
                <a:gd name="T90" fmla="*/ 537 w 691"/>
                <a:gd name="T91" fmla="*/ 467 h 554"/>
                <a:gd name="T92" fmla="*/ 566 w 691"/>
                <a:gd name="T93" fmla="*/ 453 h 554"/>
                <a:gd name="T94" fmla="*/ 569 w 691"/>
                <a:gd name="T95" fmla="*/ 417 h 554"/>
                <a:gd name="T96" fmla="*/ 563 w 691"/>
                <a:gd name="T97" fmla="*/ 390 h 554"/>
                <a:gd name="T98" fmla="*/ 580 w 691"/>
                <a:gd name="T99" fmla="*/ 377 h 554"/>
                <a:gd name="T100" fmla="*/ 596 w 691"/>
                <a:gd name="T101" fmla="*/ 387 h 554"/>
                <a:gd name="T102" fmla="*/ 619 w 691"/>
                <a:gd name="T103" fmla="*/ 387 h 554"/>
                <a:gd name="T104" fmla="*/ 622 w 691"/>
                <a:gd name="T105" fmla="*/ 355 h 554"/>
                <a:gd name="T106" fmla="*/ 646 w 691"/>
                <a:gd name="T107" fmla="*/ 344 h 554"/>
                <a:gd name="T108" fmla="*/ 666 w 691"/>
                <a:gd name="T109" fmla="*/ 355 h 554"/>
                <a:gd name="T110" fmla="*/ 668 w 691"/>
                <a:gd name="T111" fmla="*/ 341 h 554"/>
                <a:gd name="T112" fmla="*/ 676 w 691"/>
                <a:gd name="T113" fmla="*/ 314 h 554"/>
                <a:gd name="T114" fmla="*/ 691 w 691"/>
                <a:gd name="T115" fmla="*/ 276 h 554"/>
                <a:gd name="T116" fmla="*/ 676 w 691"/>
                <a:gd name="T117" fmla="*/ 262 h 554"/>
                <a:gd name="T118" fmla="*/ 656 w 691"/>
                <a:gd name="T119" fmla="*/ 268 h 554"/>
                <a:gd name="T120" fmla="*/ 636 w 691"/>
                <a:gd name="T121" fmla="*/ 265 h 554"/>
                <a:gd name="T122" fmla="*/ 618 w 691"/>
                <a:gd name="T123" fmla="*/ 264 h 554"/>
                <a:gd name="T124" fmla="*/ 605 w 691"/>
                <a:gd name="T125" fmla="*/ 249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1" h="554">
                  <a:moveTo>
                    <a:pt x="606" y="243"/>
                  </a:moveTo>
                  <a:lnTo>
                    <a:pt x="603" y="242"/>
                  </a:lnTo>
                  <a:lnTo>
                    <a:pt x="600" y="242"/>
                  </a:lnTo>
                  <a:lnTo>
                    <a:pt x="596" y="242"/>
                  </a:lnTo>
                  <a:lnTo>
                    <a:pt x="592" y="238"/>
                  </a:lnTo>
                  <a:lnTo>
                    <a:pt x="585" y="235"/>
                  </a:lnTo>
                  <a:lnTo>
                    <a:pt x="580" y="231"/>
                  </a:lnTo>
                  <a:lnTo>
                    <a:pt x="576" y="228"/>
                  </a:lnTo>
                  <a:lnTo>
                    <a:pt x="572" y="225"/>
                  </a:lnTo>
                  <a:lnTo>
                    <a:pt x="567" y="219"/>
                  </a:lnTo>
                  <a:lnTo>
                    <a:pt x="567" y="218"/>
                  </a:lnTo>
                  <a:lnTo>
                    <a:pt x="563" y="215"/>
                  </a:lnTo>
                  <a:lnTo>
                    <a:pt x="562" y="211"/>
                  </a:lnTo>
                  <a:lnTo>
                    <a:pt x="559" y="208"/>
                  </a:lnTo>
                  <a:lnTo>
                    <a:pt x="556" y="206"/>
                  </a:lnTo>
                  <a:lnTo>
                    <a:pt x="552" y="205"/>
                  </a:lnTo>
                  <a:lnTo>
                    <a:pt x="549" y="202"/>
                  </a:lnTo>
                  <a:lnTo>
                    <a:pt x="546" y="203"/>
                  </a:lnTo>
                  <a:lnTo>
                    <a:pt x="543" y="201"/>
                  </a:lnTo>
                  <a:lnTo>
                    <a:pt x="542" y="196"/>
                  </a:lnTo>
                  <a:lnTo>
                    <a:pt x="540" y="195"/>
                  </a:lnTo>
                  <a:lnTo>
                    <a:pt x="537" y="193"/>
                  </a:lnTo>
                  <a:lnTo>
                    <a:pt x="536" y="195"/>
                  </a:lnTo>
                  <a:lnTo>
                    <a:pt x="532" y="201"/>
                  </a:lnTo>
                  <a:lnTo>
                    <a:pt x="527" y="202"/>
                  </a:lnTo>
                  <a:lnTo>
                    <a:pt x="523" y="203"/>
                  </a:lnTo>
                  <a:lnTo>
                    <a:pt x="519" y="201"/>
                  </a:lnTo>
                  <a:lnTo>
                    <a:pt x="516" y="201"/>
                  </a:lnTo>
                  <a:lnTo>
                    <a:pt x="510" y="199"/>
                  </a:lnTo>
                  <a:lnTo>
                    <a:pt x="506" y="196"/>
                  </a:lnTo>
                  <a:lnTo>
                    <a:pt x="506" y="195"/>
                  </a:lnTo>
                  <a:lnTo>
                    <a:pt x="506" y="195"/>
                  </a:lnTo>
                  <a:lnTo>
                    <a:pt x="506" y="192"/>
                  </a:lnTo>
                  <a:lnTo>
                    <a:pt x="502" y="186"/>
                  </a:lnTo>
                  <a:lnTo>
                    <a:pt x="502" y="183"/>
                  </a:lnTo>
                  <a:lnTo>
                    <a:pt x="500" y="179"/>
                  </a:lnTo>
                  <a:lnTo>
                    <a:pt x="502" y="172"/>
                  </a:lnTo>
                  <a:lnTo>
                    <a:pt x="497" y="169"/>
                  </a:lnTo>
                  <a:lnTo>
                    <a:pt x="492" y="166"/>
                  </a:lnTo>
                  <a:lnTo>
                    <a:pt x="487" y="169"/>
                  </a:lnTo>
                  <a:lnTo>
                    <a:pt x="483" y="176"/>
                  </a:lnTo>
                  <a:lnTo>
                    <a:pt x="479" y="179"/>
                  </a:lnTo>
                  <a:lnTo>
                    <a:pt x="474" y="178"/>
                  </a:lnTo>
                  <a:lnTo>
                    <a:pt x="473" y="176"/>
                  </a:lnTo>
                  <a:lnTo>
                    <a:pt x="473" y="172"/>
                  </a:lnTo>
                  <a:lnTo>
                    <a:pt x="471" y="165"/>
                  </a:lnTo>
                  <a:lnTo>
                    <a:pt x="470" y="159"/>
                  </a:lnTo>
                  <a:lnTo>
                    <a:pt x="469" y="156"/>
                  </a:lnTo>
                  <a:lnTo>
                    <a:pt x="469" y="152"/>
                  </a:lnTo>
                  <a:lnTo>
                    <a:pt x="469" y="146"/>
                  </a:lnTo>
                  <a:lnTo>
                    <a:pt x="467" y="143"/>
                  </a:lnTo>
                  <a:lnTo>
                    <a:pt x="467" y="139"/>
                  </a:lnTo>
                  <a:lnTo>
                    <a:pt x="467" y="135"/>
                  </a:lnTo>
                  <a:lnTo>
                    <a:pt x="466" y="132"/>
                  </a:lnTo>
                  <a:lnTo>
                    <a:pt x="464" y="127"/>
                  </a:lnTo>
                  <a:lnTo>
                    <a:pt x="463" y="123"/>
                  </a:lnTo>
                  <a:lnTo>
                    <a:pt x="461" y="120"/>
                  </a:lnTo>
                  <a:lnTo>
                    <a:pt x="461" y="117"/>
                  </a:lnTo>
                  <a:lnTo>
                    <a:pt x="459" y="116"/>
                  </a:lnTo>
                  <a:lnTo>
                    <a:pt x="454" y="116"/>
                  </a:lnTo>
                  <a:lnTo>
                    <a:pt x="450" y="116"/>
                  </a:lnTo>
                  <a:lnTo>
                    <a:pt x="447" y="115"/>
                  </a:lnTo>
                  <a:lnTo>
                    <a:pt x="444" y="110"/>
                  </a:lnTo>
                  <a:lnTo>
                    <a:pt x="443" y="107"/>
                  </a:lnTo>
                  <a:lnTo>
                    <a:pt x="443" y="106"/>
                  </a:lnTo>
                  <a:lnTo>
                    <a:pt x="443" y="103"/>
                  </a:lnTo>
                  <a:lnTo>
                    <a:pt x="440" y="99"/>
                  </a:lnTo>
                  <a:lnTo>
                    <a:pt x="439" y="99"/>
                  </a:lnTo>
                  <a:lnTo>
                    <a:pt x="431" y="96"/>
                  </a:lnTo>
                  <a:lnTo>
                    <a:pt x="426" y="95"/>
                  </a:lnTo>
                  <a:lnTo>
                    <a:pt x="423" y="93"/>
                  </a:lnTo>
                  <a:lnTo>
                    <a:pt x="417" y="93"/>
                  </a:lnTo>
                  <a:lnTo>
                    <a:pt x="416" y="95"/>
                  </a:lnTo>
                  <a:lnTo>
                    <a:pt x="414" y="100"/>
                  </a:lnTo>
                  <a:lnTo>
                    <a:pt x="416" y="103"/>
                  </a:lnTo>
                  <a:lnTo>
                    <a:pt x="414" y="106"/>
                  </a:lnTo>
                  <a:lnTo>
                    <a:pt x="411" y="112"/>
                  </a:lnTo>
                  <a:lnTo>
                    <a:pt x="408" y="117"/>
                  </a:lnTo>
                  <a:lnTo>
                    <a:pt x="404" y="122"/>
                  </a:lnTo>
                  <a:lnTo>
                    <a:pt x="398" y="123"/>
                  </a:lnTo>
                  <a:lnTo>
                    <a:pt x="394" y="120"/>
                  </a:lnTo>
                  <a:lnTo>
                    <a:pt x="390" y="116"/>
                  </a:lnTo>
                  <a:lnTo>
                    <a:pt x="387" y="113"/>
                  </a:lnTo>
                  <a:lnTo>
                    <a:pt x="383" y="117"/>
                  </a:lnTo>
                  <a:lnTo>
                    <a:pt x="378" y="120"/>
                  </a:lnTo>
                  <a:lnTo>
                    <a:pt x="370" y="123"/>
                  </a:lnTo>
                  <a:lnTo>
                    <a:pt x="367" y="120"/>
                  </a:lnTo>
                  <a:lnTo>
                    <a:pt x="364" y="117"/>
                  </a:lnTo>
                  <a:lnTo>
                    <a:pt x="360" y="113"/>
                  </a:lnTo>
                  <a:lnTo>
                    <a:pt x="357" y="110"/>
                  </a:lnTo>
                  <a:lnTo>
                    <a:pt x="354" y="110"/>
                  </a:lnTo>
                  <a:lnTo>
                    <a:pt x="350" y="110"/>
                  </a:lnTo>
                  <a:lnTo>
                    <a:pt x="348" y="113"/>
                  </a:lnTo>
                  <a:lnTo>
                    <a:pt x="344" y="116"/>
                  </a:lnTo>
                  <a:lnTo>
                    <a:pt x="341" y="119"/>
                  </a:lnTo>
                  <a:lnTo>
                    <a:pt x="311" y="112"/>
                  </a:lnTo>
                  <a:lnTo>
                    <a:pt x="307" y="107"/>
                  </a:lnTo>
                  <a:lnTo>
                    <a:pt x="307" y="100"/>
                  </a:lnTo>
                  <a:lnTo>
                    <a:pt x="302" y="97"/>
                  </a:lnTo>
                  <a:lnTo>
                    <a:pt x="302" y="96"/>
                  </a:lnTo>
                  <a:lnTo>
                    <a:pt x="300" y="92"/>
                  </a:lnTo>
                  <a:lnTo>
                    <a:pt x="297" y="90"/>
                  </a:lnTo>
                  <a:lnTo>
                    <a:pt x="291" y="90"/>
                  </a:lnTo>
                  <a:lnTo>
                    <a:pt x="287" y="93"/>
                  </a:lnTo>
                  <a:lnTo>
                    <a:pt x="281" y="93"/>
                  </a:lnTo>
                  <a:lnTo>
                    <a:pt x="277" y="93"/>
                  </a:lnTo>
                  <a:lnTo>
                    <a:pt x="275" y="90"/>
                  </a:lnTo>
                  <a:lnTo>
                    <a:pt x="270" y="84"/>
                  </a:lnTo>
                  <a:lnTo>
                    <a:pt x="260" y="83"/>
                  </a:lnTo>
                  <a:lnTo>
                    <a:pt x="255" y="80"/>
                  </a:lnTo>
                  <a:lnTo>
                    <a:pt x="254" y="80"/>
                  </a:lnTo>
                  <a:lnTo>
                    <a:pt x="251" y="79"/>
                  </a:lnTo>
                  <a:lnTo>
                    <a:pt x="251" y="77"/>
                  </a:lnTo>
                  <a:lnTo>
                    <a:pt x="248" y="74"/>
                  </a:lnTo>
                  <a:lnTo>
                    <a:pt x="248" y="73"/>
                  </a:lnTo>
                  <a:lnTo>
                    <a:pt x="247" y="70"/>
                  </a:lnTo>
                  <a:lnTo>
                    <a:pt x="245" y="69"/>
                  </a:lnTo>
                  <a:lnTo>
                    <a:pt x="244" y="70"/>
                  </a:lnTo>
                  <a:lnTo>
                    <a:pt x="241" y="73"/>
                  </a:lnTo>
                  <a:lnTo>
                    <a:pt x="239" y="73"/>
                  </a:lnTo>
                  <a:lnTo>
                    <a:pt x="238" y="72"/>
                  </a:lnTo>
                  <a:lnTo>
                    <a:pt x="235" y="69"/>
                  </a:lnTo>
                  <a:lnTo>
                    <a:pt x="235" y="67"/>
                  </a:lnTo>
                  <a:lnTo>
                    <a:pt x="234" y="66"/>
                  </a:lnTo>
                  <a:lnTo>
                    <a:pt x="231" y="66"/>
                  </a:lnTo>
                  <a:lnTo>
                    <a:pt x="225" y="62"/>
                  </a:lnTo>
                  <a:lnTo>
                    <a:pt x="225" y="62"/>
                  </a:lnTo>
                  <a:lnTo>
                    <a:pt x="221" y="60"/>
                  </a:lnTo>
                  <a:lnTo>
                    <a:pt x="221" y="59"/>
                  </a:lnTo>
                  <a:lnTo>
                    <a:pt x="217" y="59"/>
                  </a:lnTo>
                  <a:lnTo>
                    <a:pt x="214" y="59"/>
                  </a:lnTo>
                  <a:lnTo>
                    <a:pt x="212" y="57"/>
                  </a:lnTo>
                  <a:lnTo>
                    <a:pt x="212" y="54"/>
                  </a:lnTo>
                  <a:lnTo>
                    <a:pt x="208" y="50"/>
                  </a:lnTo>
                  <a:lnTo>
                    <a:pt x="205" y="49"/>
                  </a:lnTo>
                  <a:lnTo>
                    <a:pt x="202" y="49"/>
                  </a:lnTo>
                  <a:lnTo>
                    <a:pt x="199" y="46"/>
                  </a:lnTo>
                  <a:lnTo>
                    <a:pt x="198" y="46"/>
                  </a:lnTo>
                  <a:lnTo>
                    <a:pt x="195" y="47"/>
                  </a:lnTo>
                  <a:lnTo>
                    <a:pt x="192" y="49"/>
                  </a:lnTo>
                  <a:lnTo>
                    <a:pt x="189" y="50"/>
                  </a:lnTo>
                  <a:lnTo>
                    <a:pt x="186" y="49"/>
                  </a:lnTo>
                  <a:lnTo>
                    <a:pt x="185" y="46"/>
                  </a:lnTo>
                  <a:lnTo>
                    <a:pt x="182" y="43"/>
                  </a:lnTo>
                  <a:lnTo>
                    <a:pt x="182" y="42"/>
                  </a:lnTo>
                  <a:lnTo>
                    <a:pt x="178" y="40"/>
                  </a:lnTo>
                  <a:lnTo>
                    <a:pt x="174" y="40"/>
                  </a:lnTo>
                  <a:lnTo>
                    <a:pt x="172" y="39"/>
                  </a:lnTo>
                  <a:lnTo>
                    <a:pt x="169" y="34"/>
                  </a:lnTo>
                  <a:lnTo>
                    <a:pt x="166" y="30"/>
                  </a:lnTo>
                  <a:lnTo>
                    <a:pt x="166" y="27"/>
                  </a:lnTo>
                  <a:lnTo>
                    <a:pt x="164" y="24"/>
                  </a:lnTo>
                  <a:lnTo>
                    <a:pt x="162" y="21"/>
                  </a:lnTo>
                  <a:lnTo>
                    <a:pt x="159" y="19"/>
                  </a:lnTo>
                  <a:lnTo>
                    <a:pt x="155" y="17"/>
                  </a:lnTo>
                  <a:lnTo>
                    <a:pt x="154" y="14"/>
                  </a:lnTo>
                  <a:lnTo>
                    <a:pt x="152" y="11"/>
                  </a:lnTo>
                  <a:lnTo>
                    <a:pt x="149" y="9"/>
                  </a:lnTo>
                  <a:lnTo>
                    <a:pt x="149" y="6"/>
                  </a:lnTo>
                  <a:lnTo>
                    <a:pt x="149" y="3"/>
                  </a:lnTo>
                  <a:lnTo>
                    <a:pt x="148" y="1"/>
                  </a:lnTo>
                  <a:lnTo>
                    <a:pt x="135" y="1"/>
                  </a:lnTo>
                  <a:lnTo>
                    <a:pt x="132" y="0"/>
                  </a:lnTo>
                  <a:lnTo>
                    <a:pt x="129" y="1"/>
                  </a:lnTo>
                  <a:lnTo>
                    <a:pt x="128" y="3"/>
                  </a:lnTo>
                  <a:lnTo>
                    <a:pt x="119" y="1"/>
                  </a:lnTo>
                  <a:lnTo>
                    <a:pt x="112" y="0"/>
                  </a:lnTo>
                  <a:lnTo>
                    <a:pt x="106" y="3"/>
                  </a:lnTo>
                  <a:lnTo>
                    <a:pt x="102" y="11"/>
                  </a:lnTo>
                  <a:lnTo>
                    <a:pt x="102" y="21"/>
                  </a:lnTo>
                  <a:lnTo>
                    <a:pt x="103" y="30"/>
                  </a:lnTo>
                  <a:lnTo>
                    <a:pt x="93" y="34"/>
                  </a:lnTo>
                  <a:lnTo>
                    <a:pt x="86" y="39"/>
                  </a:lnTo>
                  <a:lnTo>
                    <a:pt x="79" y="42"/>
                  </a:lnTo>
                  <a:lnTo>
                    <a:pt x="79" y="47"/>
                  </a:lnTo>
                  <a:lnTo>
                    <a:pt x="83" y="50"/>
                  </a:lnTo>
                  <a:lnTo>
                    <a:pt x="85" y="57"/>
                  </a:lnTo>
                  <a:lnTo>
                    <a:pt x="82" y="64"/>
                  </a:lnTo>
                  <a:lnTo>
                    <a:pt x="78" y="67"/>
                  </a:lnTo>
                  <a:lnTo>
                    <a:pt x="66" y="84"/>
                  </a:lnTo>
                  <a:lnTo>
                    <a:pt x="70" y="96"/>
                  </a:lnTo>
                  <a:lnTo>
                    <a:pt x="66" y="103"/>
                  </a:lnTo>
                  <a:lnTo>
                    <a:pt x="63" y="107"/>
                  </a:lnTo>
                  <a:lnTo>
                    <a:pt x="58" y="103"/>
                  </a:lnTo>
                  <a:lnTo>
                    <a:pt x="49" y="103"/>
                  </a:lnTo>
                  <a:lnTo>
                    <a:pt x="39" y="106"/>
                  </a:lnTo>
                  <a:lnTo>
                    <a:pt x="10" y="119"/>
                  </a:lnTo>
                  <a:lnTo>
                    <a:pt x="0" y="136"/>
                  </a:lnTo>
                  <a:lnTo>
                    <a:pt x="7" y="142"/>
                  </a:lnTo>
                  <a:lnTo>
                    <a:pt x="7" y="149"/>
                  </a:lnTo>
                  <a:lnTo>
                    <a:pt x="9" y="158"/>
                  </a:lnTo>
                  <a:lnTo>
                    <a:pt x="9" y="165"/>
                  </a:lnTo>
                  <a:lnTo>
                    <a:pt x="16" y="165"/>
                  </a:lnTo>
                  <a:lnTo>
                    <a:pt x="25" y="170"/>
                  </a:lnTo>
                  <a:lnTo>
                    <a:pt x="26" y="176"/>
                  </a:lnTo>
                  <a:lnTo>
                    <a:pt x="28" y="185"/>
                  </a:lnTo>
                  <a:lnTo>
                    <a:pt x="25" y="186"/>
                  </a:lnTo>
                  <a:lnTo>
                    <a:pt x="17" y="188"/>
                  </a:lnTo>
                  <a:lnTo>
                    <a:pt x="10" y="190"/>
                  </a:lnTo>
                  <a:lnTo>
                    <a:pt x="13" y="193"/>
                  </a:lnTo>
                  <a:lnTo>
                    <a:pt x="22" y="195"/>
                  </a:lnTo>
                  <a:lnTo>
                    <a:pt x="25" y="195"/>
                  </a:lnTo>
                  <a:lnTo>
                    <a:pt x="26" y="201"/>
                  </a:lnTo>
                  <a:lnTo>
                    <a:pt x="28" y="208"/>
                  </a:lnTo>
                  <a:lnTo>
                    <a:pt x="29" y="209"/>
                  </a:lnTo>
                  <a:lnTo>
                    <a:pt x="39" y="208"/>
                  </a:lnTo>
                  <a:lnTo>
                    <a:pt x="45" y="211"/>
                  </a:lnTo>
                  <a:lnTo>
                    <a:pt x="46" y="216"/>
                  </a:lnTo>
                  <a:lnTo>
                    <a:pt x="40" y="222"/>
                  </a:lnTo>
                  <a:lnTo>
                    <a:pt x="40" y="226"/>
                  </a:lnTo>
                  <a:lnTo>
                    <a:pt x="39" y="229"/>
                  </a:lnTo>
                  <a:lnTo>
                    <a:pt x="45" y="228"/>
                  </a:lnTo>
                  <a:lnTo>
                    <a:pt x="49" y="225"/>
                  </a:lnTo>
                  <a:lnTo>
                    <a:pt x="52" y="226"/>
                  </a:lnTo>
                  <a:lnTo>
                    <a:pt x="50" y="229"/>
                  </a:lnTo>
                  <a:lnTo>
                    <a:pt x="46" y="232"/>
                  </a:lnTo>
                  <a:lnTo>
                    <a:pt x="38" y="238"/>
                  </a:lnTo>
                  <a:lnTo>
                    <a:pt x="38" y="242"/>
                  </a:lnTo>
                  <a:lnTo>
                    <a:pt x="40" y="243"/>
                  </a:lnTo>
                  <a:lnTo>
                    <a:pt x="49" y="242"/>
                  </a:lnTo>
                  <a:lnTo>
                    <a:pt x="56" y="252"/>
                  </a:lnTo>
                  <a:lnTo>
                    <a:pt x="59" y="256"/>
                  </a:lnTo>
                  <a:lnTo>
                    <a:pt x="56" y="264"/>
                  </a:lnTo>
                  <a:lnTo>
                    <a:pt x="60" y="266"/>
                  </a:lnTo>
                  <a:lnTo>
                    <a:pt x="66" y="272"/>
                  </a:lnTo>
                  <a:lnTo>
                    <a:pt x="72" y="278"/>
                  </a:lnTo>
                  <a:lnTo>
                    <a:pt x="82" y="282"/>
                  </a:lnTo>
                  <a:lnTo>
                    <a:pt x="89" y="288"/>
                  </a:lnTo>
                  <a:lnTo>
                    <a:pt x="92" y="289"/>
                  </a:lnTo>
                  <a:lnTo>
                    <a:pt x="98" y="295"/>
                  </a:lnTo>
                  <a:lnTo>
                    <a:pt x="99" y="296"/>
                  </a:lnTo>
                  <a:lnTo>
                    <a:pt x="106" y="294"/>
                  </a:lnTo>
                  <a:lnTo>
                    <a:pt x="111" y="295"/>
                  </a:lnTo>
                  <a:lnTo>
                    <a:pt x="113" y="296"/>
                  </a:lnTo>
                  <a:lnTo>
                    <a:pt x="118" y="298"/>
                  </a:lnTo>
                  <a:lnTo>
                    <a:pt x="121" y="298"/>
                  </a:lnTo>
                  <a:lnTo>
                    <a:pt x="128" y="294"/>
                  </a:lnTo>
                  <a:lnTo>
                    <a:pt x="133" y="292"/>
                  </a:lnTo>
                  <a:lnTo>
                    <a:pt x="133" y="294"/>
                  </a:lnTo>
                  <a:lnTo>
                    <a:pt x="136" y="302"/>
                  </a:lnTo>
                  <a:lnTo>
                    <a:pt x="136" y="304"/>
                  </a:lnTo>
                  <a:lnTo>
                    <a:pt x="141" y="305"/>
                  </a:lnTo>
                  <a:lnTo>
                    <a:pt x="145" y="301"/>
                  </a:lnTo>
                  <a:lnTo>
                    <a:pt x="148" y="296"/>
                  </a:lnTo>
                  <a:lnTo>
                    <a:pt x="152" y="294"/>
                  </a:lnTo>
                  <a:lnTo>
                    <a:pt x="155" y="295"/>
                  </a:lnTo>
                  <a:lnTo>
                    <a:pt x="161" y="302"/>
                  </a:lnTo>
                  <a:lnTo>
                    <a:pt x="165" y="304"/>
                  </a:lnTo>
                  <a:lnTo>
                    <a:pt x="169" y="312"/>
                  </a:lnTo>
                  <a:lnTo>
                    <a:pt x="172" y="315"/>
                  </a:lnTo>
                  <a:lnTo>
                    <a:pt x="174" y="327"/>
                  </a:lnTo>
                  <a:lnTo>
                    <a:pt x="174" y="338"/>
                  </a:lnTo>
                  <a:lnTo>
                    <a:pt x="176" y="344"/>
                  </a:lnTo>
                  <a:lnTo>
                    <a:pt x="182" y="354"/>
                  </a:lnTo>
                  <a:lnTo>
                    <a:pt x="188" y="372"/>
                  </a:lnTo>
                  <a:lnTo>
                    <a:pt x="195" y="381"/>
                  </a:lnTo>
                  <a:lnTo>
                    <a:pt x="198" y="390"/>
                  </a:lnTo>
                  <a:lnTo>
                    <a:pt x="201" y="397"/>
                  </a:lnTo>
                  <a:lnTo>
                    <a:pt x="204" y="401"/>
                  </a:lnTo>
                  <a:lnTo>
                    <a:pt x="211" y="402"/>
                  </a:lnTo>
                  <a:lnTo>
                    <a:pt x="221" y="401"/>
                  </a:lnTo>
                  <a:lnTo>
                    <a:pt x="224" y="401"/>
                  </a:lnTo>
                  <a:lnTo>
                    <a:pt x="232" y="402"/>
                  </a:lnTo>
                  <a:lnTo>
                    <a:pt x="238" y="397"/>
                  </a:lnTo>
                  <a:lnTo>
                    <a:pt x="239" y="397"/>
                  </a:lnTo>
                  <a:lnTo>
                    <a:pt x="242" y="400"/>
                  </a:lnTo>
                  <a:lnTo>
                    <a:pt x="244" y="401"/>
                  </a:lnTo>
                  <a:lnTo>
                    <a:pt x="245" y="404"/>
                  </a:lnTo>
                  <a:lnTo>
                    <a:pt x="252" y="401"/>
                  </a:lnTo>
                  <a:lnTo>
                    <a:pt x="249" y="394"/>
                  </a:lnTo>
                  <a:lnTo>
                    <a:pt x="254" y="392"/>
                  </a:lnTo>
                  <a:lnTo>
                    <a:pt x="257" y="394"/>
                  </a:lnTo>
                  <a:lnTo>
                    <a:pt x="261" y="401"/>
                  </a:lnTo>
                  <a:lnTo>
                    <a:pt x="267" y="395"/>
                  </a:lnTo>
                  <a:lnTo>
                    <a:pt x="271" y="394"/>
                  </a:lnTo>
                  <a:lnTo>
                    <a:pt x="277" y="394"/>
                  </a:lnTo>
                  <a:lnTo>
                    <a:pt x="280" y="392"/>
                  </a:lnTo>
                  <a:lnTo>
                    <a:pt x="282" y="391"/>
                  </a:lnTo>
                  <a:lnTo>
                    <a:pt x="284" y="387"/>
                  </a:lnTo>
                  <a:lnTo>
                    <a:pt x="287" y="384"/>
                  </a:lnTo>
                  <a:lnTo>
                    <a:pt x="290" y="380"/>
                  </a:lnTo>
                  <a:lnTo>
                    <a:pt x="294" y="382"/>
                  </a:lnTo>
                  <a:lnTo>
                    <a:pt x="291" y="385"/>
                  </a:lnTo>
                  <a:lnTo>
                    <a:pt x="297" y="391"/>
                  </a:lnTo>
                  <a:lnTo>
                    <a:pt x="301" y="385"/>
                  </a:lnTo>
                  <a:lnTo>
                    <a:pt x="307" y="391"/>
                  </a:lnTo>
                  <a:lnTo>
                    <a:pt x="302" y="398"/>
                  </a:lnTo>
                  <a:lnTo>
                    <a:pt x="302" y="407"/>
                  </a:lnTo>
                  <a:lnTo>
                    <a:pt x="301" y="417"/>
                  </a:lnTo>
                  <a:lnTo>
                    <a:pt x="302" y="425"/>
                  </a:lnTo>
                  <a:lnTo>
                    <a:pt x="305" y="431"/>
                  </a:lnTo>
                  <a:lnTo>
                    <a:pt x="310" y="435"/>
                  </a:lnTo>
                  <a:lnTo>
                    <a:pt x="317" y="441"/>
                  </a:lnTo>
                  <a:lnTo>
                    <a:pt x="323" y="444"/>
                  </a:lnTo>
                  <a:lnTo>
                    <a:pt x="328" y="447"/>
                  </a:lnTo>
                  <a:lnTo>
                    <a:pt x="337" y="448"/>
                  </a:lnTo>
                  <a:lnTo>
                    <a:pt x="347" y="451"/>
                  </a:lnTo>
                  <a:lnTo>
                    <a:pt x="353" y="454"/>
                  </a:lnTo>
                  <a:lnTo>
                    <a:pt x="358" y="463"/>
                  </a:lnTo>
                  <a:lnTo>
                    <a:pt x="368" y="467"/>
                  </a:lnTo>
                  <a:lnTo>
                    <a:pt x="371" y="470"/>
                  </a:lnTo>
                  <a:lnTo>
                    <a:pt x="377" y="471"/>
                  </a:lnTo>
                  <a:lnTo>
                    <a:pt x="381" y="478"/>
                  </a:lnTo>
                  <a:lnTo>
                    <a:pt x="384" y="488"/>
                  </a:lnTo>
                  <a:lnTo>
                    <a:pt x="387" y="490"/>
                  </a:lnTo>
                  <a:lnTo>
                    <a:pt x="393" y="487"/>
                  </a:lnTo>
                  <a:lnTo>
                    <a:pt x="398" y="493"/>
                  </a:lnTo>
                  <a:lnTo>
                    <a:pt x="404" y="494"/>
                  </a:lnTo>
                  <a:lnTo>
                    <a:pt x="408" y="488"/>
                  </a:lnTo>
                  <a:lnTo>
                    <a:pt x="406" y="475"/>
                  </a:lnTo>
                  <a:lnTo>
                    <a:pt x="423" y="467"/>
                  </a:lnTo>
                  <a:lnTo>
                    <a:pt x="433" y="467"/>
                  </a:lnTo>
                  <a:lnTo>
                    <a:pt x="430" y="481"/>
                  </a:lnTo>
                  <a:lnTo>
                    <a:pt x="424" y="490"/>
                  </a:lnTo>
                  <a:lnTo>
                    <a:pt x="429" y="490"/>
                  </a:lnTo>
                  <a:lnTo>
                    <a:pt x="431" y="491"/>
                  </a:lnTo>
                  <a:lnTo>
                    <a:pt x="434" y="494"/>
                  </a:lnTo>
                  <a:lnTo>
                    <a:pt x="436" y="498"/>
                  </a:lnTo>
                  <a:lnTo>
                    <a:pt x="441" y="500"/>
                  </a:lnTo>
                  <a:lnTo>
                    <a:pt x="443" y="498"/>
                  </a:lnTo>
                  <a:lnTo>
                    <a:pt x="449" y="497"/>
                  </a:lnTo>
                  <a:lnTo>
                    <a:pt x="450" y="498"/>
                  </a:lnTo>
                  <a:lnTo>
                    <a:pt x="454" y="498"/>
                  </a:lnTo>
                  <a:lnTo>
                    <a:pt x="456" y="496"/>
                  </a:lnTo>
                  <a:lnTo>
                    <a:pt x="467" y="496"/>
                  </a:lnTo>
                  <a:lnTo>
                    <a:pt x="467" y="508"/>
                  </a:lnTo>
                  <a:lnTo>
                    <a:pt x="469" y="510"/>
                  </a:lnTo>
                  <a:lnTo>
                    <a:pt x="470" y="511"/>
                  </a:lnTo>
                  <a:lnTo>
                    <a:pt x="474" y="514"/>
                  </a:lnTo>
                  <a:lnTo>
                    <a:pt x="476" y="516"/>
                  </a:lnTo>
                  <a:lnTo>
                    <a:pt x="474" y="521"/>
                  </a:lnTo>
                  <a:lnTo>
                    <a:pt x="474" y="526"/>
                  </a:lnTo>
                  <a:lnTo>
                    <a:pt x="473" y="530"/>
                  </a:lnTo>
                  <a:lnTo>
                    <a:pt x="471" y="533"/>
                  </a:lnTo>
                  <a:lnTo>
                    <a:pt x="467" y="536"/>
                  </a:lnTo>
                  <a:lnTo>
                    <a:pt x="467" y="540"/>
                  </a:lnTo>
                  <a:lnTo>
                    <a:pt x="467" y="546"/>
                  </a:lnTo>
                  <a:lnTo>
                    <a:pt x="473" y="549"/>
                  </a:lnTo>
                  <a:lnTo>
                    <a:pt x="477" y="554"/>
                  </a:lnTo>
                  <a:lnTo>
                    <a:pt x="477" y="554"/>
                  </a:lnTo>
                  <a:lnTo>
                    <a:pt x="479" y="553"/>
                  </a:lnTo>
                  <a:lnTo>
                    <a:pt x="479" y="549"/>
                  </a:lnTo>
                  <a:lnTo>
                    <a:pt x="482" y="540"/>
                  </a:lnTo>
                  <a:lnTo>
                    <a:pt x="483" y="536"/>
                  </a:lnTo>
                  <a:lnTo>
                    <a:pt x="484" y="536"/>
                  </a:lnTo>
                  <a:lnTo>
                    <a:pt x="487" y="536"/>
                  </a:lnTo>
                  <a:lnTo>
                    <a:pt x="489" y="531"/>
                  </a:lnTo>
                  <a:lnTo>
                    <a:pt x="490" y="527"/>
                  </a:lnTo>
                  <a:lnTo>
                    <a:pt x="496" y="526"/>
                  </a:lnTo>
                  <a:lnTo>
                    <a:pt x="500" y="523"/>
                  </a:lnTo>
                  <a:lnTo>
                    <a:pt x="502" y="524"/>
                  </a:lnTo>
                  <a:lnTo>
                    <a:pt x="506" y="524"/>
                  </a:lnTo>
                  <a:lnTo>
                    <a:pt x="509" y="524"/>
                  </a:lnTo>
                  <a:lnTo>
                    <a:pt x="514" y="523"/>
                  </a:lnTo>
                  <a:lnTo>
                    <a:pt x="519" y="520"/>
                  </a:lnTo>
                  <a:lnTo>
                    <a:pt x="517" y="516"/>
                  </a:lnTo>
                  <a:lnTo>
                    <a:pt x="527" y="510"/>
                  </a:lnTo>
                  <a:lnTo>
                    <a:pt x="530" y="513"/>
                  </a:lnTo>
                  <a:lnTo>
                    <a:pt x="535" y="516"/>
                  </a:lnTo>
                  <a:lnTo>
                    <a:pt x="543" y="507"/>
                  </a:lnTo>
                  <a:lnTo>
                    <a:pt x="537" y="498"/>
                  </a:lnTo>
                  <a:lnTo>
                    <a:pt x="533" y="500"/>
                  </a:lnTo>
                  <a:lnTo>
                    <a:pt x="535" y="491"/>
                  </a:lnTo>
                  <a:lnTo>
                    <a:pt x="535" y="484"/>
                  </a:lnTo>
                  <a:lnTo>
                    <a:pt x="536" y="480"/>
                  </a:lnTo>
                  <a:lnTo>
                    <a:pt x="536" y="475"/>
                  </a:lnTo>
                  <a:lnTo>
                    <a:pt x="537" y="471"/>
                  </a:lnTo>
                  <a:lnTo>
                    <a:pt x="537" y="467"/>
                  </a:lnTo>
                  <a:lnTo>
                    <a:pt x="539" y="467"/>
                  </a:lnTo>
                  <a:lnTo>
                    <a:pt x="545" y="464"/>
                  </a:lnTo>
                  <a:lnTo>
                    <a:pt x="545" y="458"/>
                  </a:lnTo>
                  <a:lnTo>
                    <a:pt x="547" y="457"/>
                  </a:lnTo>
                  <a:lnTo>
                    <a:pt x="552" y="455"/>
                  </a:lnTo>
                  <a:lnTo>
                    <a:pt x="556" y="455"/>
                  </a:lnTo>
                  <a:lnTo>
                    <a:pt x="562" y="455"/>
                  </a:lnTo>
                  <a:lnTo>
                    <a:pt x="566" y="453"/>
                  </a:lnTo>
                  <a:lnTo>
                    <a:pt x="566" y="451"/>
                  </a:lnTo>
                  <a:lnTo>
                    <a:pt x="565" y="443"/>
                  </a:lnTo>
                  <a:lnTo>
                    <a:pt x="563" y="438"/>
                  </a:lnTo>
                  <a:lnTo>
                    <a:pt x="562" y="434"/>
                  </a:lnTo>
                  <a:lnTo>
                    <a:pt x="563" y="430"/>
                  </a:lnTo>
                  <a:lnTo>
                    <a:pt x="565" y="427"/>
                  </a:lnTo>
                  <a:lnTo>
                    <a:pt x="567" y="422"/>
                  </a:lnTo>
                  <a:lnTo>
                    <a:pt x="569" y="417"/>
                  </a:lnTo>
                  <a:lnTo>
                    <a:pt x="569" y="414"/>
                  </a:lnTo>
                  <a:lnTo>
                    <a:pt x="569" y="407"/>
                  </a:lnTo>
                  <a:lnTo>
                    <a:pt x="566" y="402"/>
                  </a:lnTo>
                  <a:lnTo>
                    <a:pt x="563" y="395"/>
                  </a:lnTo>
                  <a:lnTo>
                    <a:pt x="570" y="395"/>
                  </a:lnTo>
                  <a:lnTo>
                    <a:pt x="570" y="392"/>
                  </a:lnTo>
                  <a:lnTo>
                    <a:pt x="569" y="391"/>
                  </a:lnTo>
                  <a:lnTo>
                    <a:pt x="563" y="390"/>
                  </a:lnTo>
                  <a:lnTo>
                    <a:pt x="565" y="384"/>
                  </a:lnTo>
                  <a:lnTo>
                    <a:pt x="566" y="381"/>
                  </a:lnTo>
                  <a:lnTo>
                    <a:pt x="572" y="382"/>
                  </a:lnTo>
                  <a:lnTo>
                    <a:pt x="576" y="387"/>
                  </a:lnTo>
                  <a:lnTo>
                    <a:pt x="579" y="390"/>
                  </a:lnTo>
                  <a:lnTo>
                    <a:pt x="580" y="388"/>
                  </a:lnTo>
                  <a:lnTo>
                    <a:pt x="579" y="378"/>
                  </a:lnTo>
                  <a:lnTo>
                    <a:pt x="580" y="377"/>
                  </a:lnTo>
                  <a:lnTo>
                    <a:pt x="583" y="377"/>
                  </a:lnTo>
                  <a:lnTo>
                    <a:pt x="586" y="381"/>
                  </a:lnTo>
                  <a:lnTo>
                    <a:pt x="587" y="385"/>
                  </a:lnTo>
                  <a:lnTo>
                    <a:pt x="587" y="388"/>
                  </a:lnTo>
                  <a:lnTo>
                    <a:pt x="590" y="387"/>
                  </a:lnTo>
                  <a:lnTo>
                    <a:pt x="592" y="385"/>
                  </a:lnTo>
                  <a:lnTo>
                    <a:pt x="593" y="385"/>
                  </a:lnTo>
                  <a:lnTo>
                    <a:pt x="596" y="387"/>
                  </a:lnTo>
                  <a:lnTo>
                    <a:pt x="599" y="387"/>
                  </a:lnTo>
                  <a:lnTo>
                    <a:pt x="602" y="385"/>
                  </a:lnTo>
                  <a:lnTo>
                    <a:pt x="603" y="385"/>
                  </a:lnTo>
                  <a:lnTo>
                    <a:pt x="608" y="387"/>
                  </a:lnTo>
                  <a:lnTo>
                    <a:pt x="610" y="390"/>
                  </a:lnTo>
                  <a:lnTo>
                    <a:pt x="613" y="391"/>
                  </a:lnTo>
                  <a:lnTo>
                    <a:pt x="618" y="390"/>
                  </a:lnTo>
                  <a:lnTo>
                    <a:pt x="619" y="387"/>
                  </a:lnTo>
                  <a:lnTo>
                    <a:pt x="620" y="382"/>
                  </a:lnTo>
                  <a:lnTo>
                    <a:pt x="622" y="378"/>
                  </a:lnTo>
                  <a:lnTo>
                    <a:pt x="619" y="372"/>
                  </a:lnTo>
                  <a:lnTo>
                    <a:pt x="619" y="368"/>
                  </a:lnTo>
                  <a:lnTo>
                    <a:pt x="618" y="367"/>
                  </a:lnTo>
                  <a:lnTo>
                    <a:pt x="618" y="364"/>
                  </a:lnTo>
                  <a:lnTo>
                    <a:pt x="618" y="358"/>
                  </a:lnTo>
                  <a:lnTo>
                    <a:pt x="622" y="355"/>
                  </a:lnTo>
                  <a:lnTo>
                    <a:pt x="625" y="354"/>
                  </a:lnTo>
                  <a:lnTo>
                    <a:pt x="629" y="354"/>
                  </a:lnTo>
                  <a:lnTo>
                    <a:pt x="633" y="352"/>
                  </a:lnTo>
                  <a:lnTo>
                    <a:pt x="636" y="352"/>
                  </a:lnTo>
                  <a:lnTo>
                    <a:pt x="636" y="349"/>
                  </a:lnTo>
                  <a:lnTo>
                    <a:pt x="639" y="345"/>
                  </a:lnTo>
                  <a:lnTo>
                    <a:pt x="643" y="344"/>
                  </a:lnTo>
                  <a:lnTo>
                    <a:pt x="646" y="344"/>
                  </a:lnTo>
                  <a:lnTo>
                    <a:pt x="651" y="345"/>
                  </a:lnTo>
                  <a:lnTo>
                    <a:pt x="653" y="349"/>
                  </a:lnTo>
                  <a:lnTo>
                    <a:pt x="655" y="354"/>
                  </a:lnTo>
                  <a:lnTo>
                    <a:pt x="659" y="355"/>
                  </a:lnTo>
                  <a:lnTo>
                    <a:pt x="662" y="355"/>
                  </a:lnTo>
                  <a:lnTo>
                    <a:pt x="662" y="355"/>
                  </a:lnTo>
                  <a:lnTo>
                    <a:pt x="665" y="357"/>
                  </a:lnTo>
                  <a:lnTo>
                    <a:pt x="666" y="355"/>
                  </a:lnTo>
                  <a:lnTo>
                    <a:pt x="668" y="352"/>
                  </a:lnTo>
                  <a:lnTo>
                    <a:pt x="668" y="352"/>
                  </a:lnTo>
                  <a:lnTo>
                    <a:pt x="668" y="348"/>
                  </a:lnTo>
                  <a:lnTo>
                    <a:pt x="668" y="349"/>
                  </a:lnTo>
                  <a:lnTo>
                    <a:pt x="668" y="349"/>
                  </a:lnTo>
                  <a:lnTo>
                    <a:pt x="668" y="344"/>
                  </a:lnTo>
                  <a:lnTo>
                    <a:pt x="668" y="341"/>
                  </a:lnTo>
                  <a:lnTo>
                    <a:pt x="668" y="341"/>
                  </a:lnTo>
                  <a:lnTo>
                    <a:pt x="668" y="335"/>
                  </a:lnTo>
                  <a:lnTo>
                    <a:pt x="669" y="332"/>
                  </a:lnTo>
                  <a:lnTo>
                    <a:pt x="669" y="332"/>
                  </a:lnTo>
                  <a:lnTo>
                    <a:pt x="671" y="328"/>
                  </a:lnTo>
                  <a:lnTo>
                    <a:pt x="672" y="324"/>
                  </a:lnTo>
                  <a:lnTo>
                    <a:pt x="672" y="324"/>
                  </a:lnTo>
                  <a:lnTo>
                    <a:pt x="675" y="319"/>
                  </a:lnTo>
                  <a:lnTo>
                    <a:pt x="676" y="314"/>
                  </a:lnTo>
                  <a:lnTo>
                    <a:pt x="676" y="314"/>
                  </a:lnTo>
                  <a:lnTo>
                    <a:pt x="678" y="308"/>
                  </a:lnTo>
                  <a:lnTo>
                    <a:pt x="679" y="304"/>
                  </a:lnTo>
                  <a:lnTo>
                    <a:pt x="679" y="304"/>
                  </a:lnTo>
                  <a:lnTo>
                    <a:pt x="682" y="294"/>
                  </a:lnTo>
                  <a:lnTo>
                    <a:pt x="682" y="294"/>
                  </a:lnTo>
                  <a:lnTo>
                    <a:pt x="689" y="282"/>
                  </a:lnTo>
                  <a:lnTo>
                    <a:pt x="691" y="276"/>
                  </a:lnTo>
                  <a:lnTo>
                    <a:pt x="686" y="272"/>
                  </a:lnTo>
                  <a:lnTo>
                    <a:pt x="686" y="272"/>
                  </a:lnTo>
                  <a:lnTo>
                    <a:pt x="685" y="271"/>
                  </a:lnTo>
                  <a:lnTo>
                    <a:pt x="683" y="269"/>
                  </a:lnTo>
                  <a:lnTo>
                    <a:pt x="681" y="268"/>
                  </a:lnTo>
                  <a:lnTo>
                    <a:pt x="679" y="265"/>
                  </a:lnTo>
                  <a:lnTo>
                    <a:pt x="678" y="264"/>
                  </a:lnTo>
                  <a:lnTo>
                    <a:pt x="676" y="262"/>
                  </a:lnTo>
                  <a:lnTo>
                    <a:pt x="672" y="261"/>
                  </a:lnTo>
                  <a:lnTo>
                    <a:pt x="671" y="259"/>
                  </a:lnTo>
                  <a:lnTo>
                    <a:pt x="668" y="264"/>
                  </a:lnTo>
                  <a:lnTo>
                    <a:pt x="665" y="266"/>
                  </a:lnTo>
                  <a:lnTo>
                    <a:pt x="665" y="269"/>
                  </a:lnTo>
                  <a:lnTo>
                    <a:pt x="662" y="272"/>
                  </a:lnTo>
                  <a:lnTo>
                    <a:pt x="659" y="271"/>
                  </a:lnTo>
                  <a:lnTo>
                    <a:pt x="656" y="268"/>
                  </a:lnTo>
                  <a:lnTo>
                    <a:pt x="655" y="266"/>
                  </a:lnTo>
                  <a:lnTo>
                    <a:pt x="652" y="265"/>
                  </a:lnTo>
                  <a:lnTo>
                    <a:pt x="651" y="265"/>
                  </a:lnTo>
                  <a:lnTo>
                    <a:pt x="646" y="265"/>
                  </a:lnTo>
                  <a:lnTo>
                    <a:pt x="646" y="266"/>
                  </a:lnTo>
                  <a:lnTo>
                    <a:pt x="643" y="265"/>
                  </a:lnTo>
                  <a:lnTo>
                    <a:pt x="639" y="265"/>
                  </a:lnTo>
                  <a:lnTo>
                    <a:pt x="636" y="265"/>
                  </a:lnTo>
                  <a:lnTo>
                    <a:pt x="633" y="266"/>
                  </a:lnTo>
                  <a:lnTo>
                    <a:pt x="630" y="266"/>
                  </a:lnTo>
                  <a:lnTo>
                    <a:pt x="629" y="265"/>
                  </a:lnTo>
                  <a:lnTo>
                    <a:pt x="628" y="264"/>
                  </a:lnTo>
                  <a:lnTo>
                    <a:pt x="625" y="261"/>
                  </a:lnTo>
                  <a:lnTo>
                    <a:pt x="623" y="261"/>
                  </a:lnTo>
                  <a:lnTo>
                    <a:pt x="620" y="262"/>
                  </a:lnTo>
                  <a:lnTo>
                    <a:pt x="618" y="264"/>
                  </a:lnTo>
                  <a:lnTo>
                    <a:pt x="616" y="266"/>
                  </a:lnTo>
                  <a:lnTo>
                    <a:pt x="615" y="268"/>
                  </a:lnTo>
                  <a:lnTo>
                    <a:pt x="613" y="265"/>
                  </a:lnTo>
                  <a:lnTo>
                    <a:pt x="613" y="262"/>
                  </a:lnTo>
                  <a:lnTo>
                    <a:pt x="610" y="259"/>
                  </a:lnTo>
                  <a:lnTo>
                    <a:pt x="606" y="256"/>
                  </a:lnTo>
                  <a:lnTo>
                    <a:pt x="605" y="253"/>
                  </a:lnTo>
                  <a:lnTo>
                    <a:pt x="605" y="249"/>
                  </a:lnTo>
                  <a:lnTo>
                    <a:pt x="606" y="243"/>
                  </a:lnTo>
                  <a:lnTo>
                    <a:pt x="606" y="243"/>
                  </a:lnTo>
                  <a:close/>
                  <a:moveTo>
                    <a:pt x="608" y="241"/>
                  </a:moveTo>
                  <a:lnTo>
                    <a:pt x="608" y="242"/>
                  </a:lnTo>
                  <a:lnTo>
                    <a:pt x="608" y="241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09" name="Freeform 157"/>
            <p:cNvSpPr>
              <a:spLocks/>
            </p:cNvSpPr>
            <p:nvPr/>
          </p:nvSpPr>
          <p:spPr bwMode="auto">
            <a:xfrm>
              <a:off x="2421560" y="2987919"/>
              <a:ext cx="421294" cy="367767"/>
            </a:xfrm>
            <a:custGeom>
              <a:avLst/>
              <a:gdLst>
                <a:gd name="T0" fmla="*/ 576 w 691"/>
                <a:gd name="T1" fmla="*/ 228 h 554"/>
                <a:gd name="T2" fmla="*/ 552 w 691"/>
                <a:gd name="T3" fmla="*/ 205 h 554"/>
                <a:gd name="T4" fmla="*/ 532 w 691"/>
                <a:gd name="T5" fmla="*/ 201 h 554"/>
                <a:gd name="T6" fmla="*/ 506 w 691"/>
                <a:gd name="T7" fmla="*/ 195 h 554"/>
                <a:gd name="T8" fmla="*/ 487 w 691"/>
                <a:gd name="T9" fmla="*/ 169 h 554"/>
                <a:gd name="T10" fmla="*/ 469 w 691"/>
                <a:gd name="T11" fmla="*/ 156 h 554"/>
                <a:gd name="T12" fmla="*/ 463 w 691"/>
                <a:gd name="T13" fmla="*/ 123 h 554"/>
                <a:gd name="T14" fmla="*/ 443 w 691"/>
                <a:gd name="T15" fmla="*/ 107 h 554"/>
                <a:gd name="T16" fmla="*/ 417 w 691"/>
                <a:gd name="T17" fmla="*/ 93 h 554"/>
                <a:gd name="T18" fmla="*/ 398 w 691"/>
                <a:gd name="T19" fmla="*/ 123 h 554"/>
                <a:gd name="T20" fmla="*/ 364 w 691"/>
                <a:gd name="T21" fmla="*/ 117 h 554"/>
                <a:gd name="T22" fmla="*/ 311 w 691"/>
                <a:gd name="T23" fmla="*/ 112 h 554"/>
                <a:gd name="T24" fmla="*/ 287 w 691"/>
                <a:gd name="T25" fmla="*/ 93 h 554"/>
                <a:gd name="T26" fmla="*/ 251 w 691"/>
                <a:gd name="T27" fmla="*/ 79 h 554"/>
                <a:gd name="T28" fmla="*/ 239 w 691"/>
                <a:gd name="T29" fmla="*/ 73 h 554"/>
                <a:gd name="T30" fmla="*/ 221 w 691"/>
                <a:gd name="T31" fmla="*/ 60 h 554"/>
                <a:gd name="T32" fmla="*/ 202 w 691"/>
                <a:gd name="T33" fmla="*/ 49 h 554"/>
                <a:gd name="T34" fmla="*/ 182 w 691"/>
                <a:gd name="T35" fmla="*/ 43 h 554"/>
                <a:gd name="T36" fmla="*/ 164 w 691"/>
                <a:gd name="T37" fmla="*/ 24 h 554"/>
                <a:gd name="T38" fmla="*/ 149 w 691"/>
                <a:gd name="T39" fmla="*/ 3 h 554"/>
                <a:gd name="T40" fmla="*/ 106 w 691"/>
                <a:gd name="T41" fmla="*/ 3 h 554"/>
                <a:gd name="T42" fmla="*/ 83 w 691"/>
                <a:gd name="T43" fmla="*/ 50 h 554"/>
                <a:gd name="T44" fmla="*/ 58 w 691"/>
                <a:gd name="T45" fmla="*/ 103 h 554"/>
                <a:gd name="T46" fmla="*/ 9 w 691"/>
                <a:gd name="T47" fmla="*/ 165 h 554"/>
                <a:gd name="T48" fmla="*/ 13 w 691"/>
                <a:gd name="T49" fmla="*/ 193 h 554"/>
                <a:gd name="T50" fmla="*/ 46 w 691"/>
                <a:gd name="T51" fmla="*/ 216 h 554"/>
                <a:gd name="T52" fmla="*/ 46 w 691"/>
                <a:gd name="T53" fmla="*/ 232 h 554"/>
                <a:gd name="T54" fmla="*/ 60 w 691"/>
                <a:gd name="T55" fmla="*/ 266 h 554"/>
                <a:gd name="T56" fmla="*/ 106 w 691"/>
                <a:gd name="T57" fmla="*/ 294 h 554"/>
                <a:gd name="T58" fmla="*/ 136 w 691"/>
                <a:gd name="T59" fmla="*/ 302 h 554"/>
                <a:gd name="T60" fmla="*/ 165 w 691"/>
                <a:gd name="T61" fmla="*/ 304 h 554"/>
                <a:gd name="T62" fmla="*/ 195 w 691"/>
                <a:gd name="T63" fmla="*/ 381 h 554"/>
                <a:gd name="T64" fmla="*/ 238 w 691"/>
                <a:gd name="T65" fmla="*/ 397 h 554"/>
                <a:gd name="T66" fmla="*/ 257 w 691"/>
                <a:gd name="T67" fmla="*/ 394 h 554"/>
                <a:gd name="T68" fmla="*/ 287 w 691"/>
                <a:gd name="T69" fmla="*/ 384 h 554"/>
                <a:gd name="T70" fmla="*/ 302 w 691"/>
                <a:gd name="T71" fmla="*/ 407 h 554"/>
                <a:gd name="T72" fmla="*/ 337 w 691"/>
                <a:gd name="T73" fmla="*/ 448 h 554"/>
                <a:gd name="T74" fmla="*/ 384 w 691"/>
                <a:gd name="T75" fmla="*/ 488 h 554"/>
                <a:gd name="T76" fmla="*/ 433 w 691"/>
                <a:gd name="T77" fmla="*/ 467 h 554"/>
                <a:gd name="T78" fmla="*/ 443 w 691"/>
                <a:gd name="T79" fmla="*/ 498 h 554"/>
                <a:gd name="T80" fmla="*/ 470 w 691"/>
                <a:gd name="T81" fmla="*/ 511 h 554"/>
                <a:gd name="T82" fmla="*/ 467 w 691"/>
                <a:gd name="T83" fmla="*/ 540 h 554"/>
                <a:gd name="T84" fmla="*/ 483 w 691"/>
                <a:gd name="T85" fmla="*/ 536 h 554"/>
                <a:gd name="T86" fmla="*/ 506 w 691"/>
                <a:gd name="T87" fmla="*/ 524 h 554"/>
                <a:gd name="T88" fmla="*/ 543 w 691"/>
                <a:gd name="T89" fmla="*/ 507 h 554"/>
                <a:gd name="T90" fmla="*/ 537 w 691"/>
                <a:gd name="T91" fmla="*/ 467 h 554"/>
                <a:gd name="T92" fmla="*/ 566 w 691"/>
                <a:gd name="T93" fmla="*/ 453 h 554"/>
                <a:gd name="T94" fmla="*/ 569 w 691"/>
                <a:gd name="T95" fmla="*/ 417 h 554"/>
                <a:gd name="T96" fmla="*/ 563 w 691"/>
                <a:gd name="T97" fmla="*/ 390 h 554"/>
                <a:gd name="T98" fmla="*/ 580 w 691"/>
                <a:gd name="T99" fmla="*/ 377 h 554"/>
                <a:gd name="T100" fmla="*/ 596 w 691"/>
                <a:gd name="T101" fmla="*/ 387 h 554"/>
                <a:gd name="T102" fmla="*/ 619 w 691"/>
                <a:gd name="T103" fmla="*/ 387 h 554"/>
                <a:gd name="T104" fmla="*/ 622 w 691"/>
                <a:gd name="T105" fmla="*/ 355 h 554"/>
                <a:gd name="T106" fmla="*/ 646 w 691"/>
                <a:gd name="T107" fmla="*/ 344 h 554"/>
                <a:gd name="T108" fmla="*/ 666 w 691"/>
                <a:gd name="T109" fmla="*/ 355 h 554"/>
                <a:gd name="T110" fmla="*/ 668 w 691"/>
                <a:gd name="T111" fmla="*/ 341 h 554"/>
                <a:gd name="T112" fmla="*/ 676 w 691"/>
                <a:gd name="T113" fmla="*/ 314 h 554"/>
                <a:gd name="T114" fmla="*/ 691 w 691"/>
                <a:gd name="T115" fmla="*/ 276 h 554"/>
                <a:gd name="T116" fmla="*/ 676 w 691"/>
                <a:gd name="T117" fmla="*/ 262 h 554"/>
                <a:gd name="T118" fmla="*/ 656 w 691"/>
                <a:gd name="T119" fmla="*/ 268 h 554"/>
                <a:gd name="T120" fmla="*/ 636 w 691"/>
                <a:gd name="T121" fmla="*/ 265 h 554"/>
                <a:gd name="T122" fmla="*/ 618 w 691"/>
                <a:gd name="T123" fmla="*/ 264 h 554"/>
                <a:gd name="T124" fmla="*/ 605 w 691"/>
                <a:gd name="T125" fmla="*/ 249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1" h="554">
                  <a:moveTo>
                    <a:pt x="606" y="243"/>
                  </a:moveTo>
                  <a:lnTo>
                    <a:pt x="603" y="242"/>
                  </a:lnTo>
                  <a:lnTo>
                    <a:pt x="600" y="242"/>
                  </a:lnTo>
                  <a:lnTo>
                    <a:pt x="596" y="242"/>
                  </a:lnTo>
                  <a:lnTo>
                    <a:pt x="592" y="238"/>
                  </a:lnTo>
                  <a:lnTo>
                    <a:pt x="585" y="235"/>
                  </a:lnTo>
                  <a:lnTo>
                    <a:pt x="580" y="231"/>
                  </a:lnTo>
                  <a:lnTo>
                    <a:pt x="576" y="228"/>
                  </a:lnTo>
                  <a:lnTo>
                    <a:pt x="572" y="225"/>
                  </a:lnTo>
                  <a:lnTo>
                    <a:pt x="567" y="219"/>
                  </a:lnTo>
                  <a:lnTo>
                    <a:pt x="567" y="218"/>
                  </a:lnTo>
                  <a:lnTo>
                    <a:pt x="563" y="215"/>
                  </a:lnTo>
                  <a:lnTo>
                    <a:pt x="562" y="211"/>
                  </a:lnTo>
                  <a:lnTo>
                    <a:pt x="559" y="208"/>
                  </a:lnTo>
                  <a:lnTo>
                    <a:pt x="556" y="206"/>
                  </a:lnTo>
                  <a:lnTo>
                    <a:pt x="552" y="205"/>
                  </a:lnTo>
                  <a:lnTo>
                    <a:pt x="549" y="202"/>
                  </a:lnTo>
                  <a:lnTo>
                    <a:pt x="546" y="203"/>
                  </a:lnTo>
                  <a:lnTo>
                    <a:pt x="543" y="201"/>
                  </a:lnTo>
                  <a:lnTo>
                    <a:pt x="542" y="196"/>
                  </a:lnTo>
                  <a:lnTo>
                    <a:pt x="540" y="195"/>
                  </a:lnTo>
                  <a:lnTo>
                    <a:pt x="537" y="193"/>
                  </a:lnTo>
                  <a:lnTo>
                    <a:pt x="536" y="195"/>
                  </a:lnTo>
                  <a:lnTo>
                    <a:pt x="532" y="201"/>
                  </a:lnTo>
                  <a:lnTo>
                    <a:pt x="527" y="202"/>
                  </a:lnTo>
                  <a:lnTo>
                    <a:pt x="523" y="203"/>
                  </a:lnTo>
                  <a:lnTo>
                    <a:pt x="519" y="201"/>
                  </a:lnTo>
                  <a:lnTo>
                    <a:pt x="516" y="201"/>
                  </a:lnTo>
                  <a:lnTo>
                    <a:pt x="510" y="199"/>
                  </a:lnTo>
                  <a:lnTo>
                    <a:pt x="506" y="196"/>
                  </a:lnTo>
                  <a:lnTo>
                    <a:pt x="506" y="195"/>
                  </a:lnTo>
                  <a:lnTo>
                    <a:pt x="506" y="195"/>
                  </a:lnTo>
                  <a:lnTo>
                    <a:pt x="506" y="192"/>
                  </a:lnTo>
                  <a:lnTo>
                    <a:pt x="502" y="186"/>
                  </a:lnTo>
                  <a:lnTo>
                    <a:pt x="502" y="183"/>
                  </a:lnTo>
                  <a:lnTo>
                    <a:pt x="500" y="179"/>
                  </a:lnTo>
                  <a:lnTo>
                    <a:pt x="502" y="172"/>
                  </a:lnTo>
                  <a:lnTo>
                    <a:pt x="497" y="169"/>
                  </a:lnTo>
                  <a:lnTo>
                    <a:pt x="492" y="166"/>
                  </a:lnTo>
                  <a:lnTo>
                    <a:pt x="487" y="169"/>
                  </a:lnTo>
                  <a:lnTo>
                    <a:pt x="483" y="176"/>
                  </a:lnTo>
                  <a:lnTo>
                    <a:pt x="479" y="179"/>
                  </a:lnTo>
                  <a:lnTo>
                    <a:pt x="474" y="178"/>
                  </a:lnTo>
                  <a:lnTo>
                    <a:pt x="473" y="176"/>
                  </a:lnTo>
                  <a:lnTo>
                    <a:pt x="473" y="172"/>
                  </a:lnTo>
                  <a:lnTo>
                    <a:pt x="471" y="165"/>
                  </a:lnTo>
                  <a:lnTo>
                    <a:pt x="470" y="159"/>
                  </a:lnTo>
                  <a:lnTo>
                    <a:pt x="469" y="156"/>
                  </a:lnTo>
                  <a:lnTo>
                    <a:pt x="469" y="152"/>
                  </a:lnTo>
                  <a:lnTo>
                    <a:pt x="469" y="146"/>
                  </a:lnTo>
                  <a:lnTo>
                    <a:pt x="467" y="143"/>
                  </a:lnTo>
                  <a:lnTo>
                    <a:pt x="467" y="139"/>
                  </a:lnTo>
                  <a:lnTo>
                    <a:pt x="467" y="135"/>
                  </a:lnTo>
                  <a:lnTo>
                    <a:pt x="466" y="132"/>
                  </a:lnTo>
                  <a:lnTo>
                    <a:pt x="464" y="127"/>
                  </a:lnTo>
                  <a:lnTo>
                    <a:pt x="463" y="123"/>
                  </a:lnTo>
                  <a:lnTo>
                    <a:pt x="461" y="120"/>
                  </a:lnTo>
                  <a:lnTo>
                    <a:pt x="461" y="117"/>
                  </a:lnTo>
                  <a:lnTo>
                    <a:pt x="459" y="116"/>
                  </a:lnTo>
                  <a:lnTo>
                    <a:pt x="454" y="116"/>
                  </a:lnTo>
                  <a:lnTo>
                    <a:pt x="450" y="116"/>
                  </a:lnTo>
                  <a:lnTo>
                    <a:pt x="447" y="115"/>
                  </a:lnTo>
                  <a:lnTo>
                    <a:pt x="444" y="110"/>
                  </a:lnTo>
                  <a:lnTo>
                    <a:pt x="443" y="107"/>
                  </a:lnTo>
                  <a:lnTo>
                    <a:pt x="443" y="106"/>
                  </a:lnTo>
                  <a:lnTo>
                    <a:pt x="443" y="103"/>
                  </a:lnTo>
                  <a:lnTo>
                    <a:pt x="440" y="99"/>
                  </a:lnTo>
                  <a:lnTo>
                    <a:pt x="439" y="99"/>
                  </a:lnTo>
                  <a:lnTo>
                    <a:pt x="431" y="96"/>
                  </a:lnTo>
                  <a:lnTo>
                    <a:pt x="426" y="95"/>
                  </a:lnTo>
                  <a:lnTo>
                    <a:pt x="423" y="93"/>
                  </a:lnTo>
                  <a:lnTo>
                    <a:pt x="417" y="93"/>
                  </a:lnTo>
                  <a:lnTo>
                    <a:pt x="416" y="95"/>
                  </a:lnTo>
                  <a:lnTo>
                    <a:pt x="414" y="100"/>
                  </a:lnTo>
                  <a:lnTo>
                    <a:pt x="416" y="103"/>
                  </a:lnTo>
                  <a:lnTo>
                    <a:pt x="414" y="106"/>
                  </a:lnTo>
                  <a:lnTo>
                    <a:pt x="411" y="112"/>
                  </a:lnTo>
                  <a:lnTo>
                    <a:pt x="408" y="117"/>
                  </a:lnTo>
                  <a:lnTo>
                    <a:pt x="404" y="122"/>
                  </a:lnTo>
                  <a:lnTo>
                    <a:pt x="398" y="123"/>
                  </a:lnTo>
                  <a:lnTo>
                    <a:pt x="394" y="120"/>
                  </a:lnTo>
                  <a:lnTo>
                    <a:pt x="390" y="116"/>
                  </a:lnTo>
                  <a:lnTo>
                    <a:pt x="387" y="113"/>
                  </a:lnTo>
                  <a:lnTo>
                    <a:pt x="383" y="117"/>
                  </a:lnTo>
                  <a:lnTo>
                    <a:pt x="378" y="120"/>
                  </a:lnTo>
                  <a:lnTo>
                    <a:pt x="370" y="123"/>
                  </a:lnTo>
                  <a:lnTo>
                    <a:pt x="367" y="120"/>
                  </a:lnTo>
                  <a:lnTo>
                    <a:pt x="364" y="117"/>
                  </a:lnTo>
                  <a:lnTo>
                    <a:pt x="360" y="113"/>
                  </a:lnTo>
                  <a:lnTo>
                    <a:pt x="357" y="110"/>
                  </a:lnTo>
                  <a:lnTo>
                    <a:pt x="354" y="110"/>
                  </a:lnTo>
                  <a:lnTo>
                    <a:pt x="350" y="110"/>
                  </a:lnTo>
                  <a:lnTo>
                    <a:pt x="348" y="113"/>
                  </a:lnTo>
                  <a:lnTo>
                    <a:pt x="344" y="116"/>
                  </a:lnTo>
                  <a:lnTo>
                    <a:pt x="341" y="119"/>
                  </a:lnTo>
                  <a:lnTo>
                    <a:pt x="311" y="112"/>
                  </a:lnTo>
                  <a:lnTo>
                    <a:pt x="307" y="107"/>
                  </a:lnTo>
                  <a:lnTo>
                    <a:pt x="307" y="100"/>
                  </a:lnTo>
                  <a:lnTo>
                    <a:pt x="302" y="97"/>
                  </a:lnTo>
                  <a:lnTo>
                    <a:pt x="302" y="96"/>
                  </a:lnTo>
                  <a:lnTo>
                    <a:pt x="300" y="92"/>
                  </a:lnTo>
                  <a:lnTo>
                    <a:pt x="297" y="90"/>
                  </a:lnTo>
                  <a:lnTo>
                    <a:pt x="291" y="90"/>
                  </a:lnTo>
                  <a:lnTo>
                    <a:pt x="287" y="93"/>
                  </a:lnTo>
                  <a:lnTo>
                    <a:pt x="281" y="93"/>
                  </a:lnTo>
                  <a:lnTo>
                    <a:pt x="277" y="93"/>
                  </a:lnTo>
                  <a:lnTo>
                    <a:pt x="275" y="90"/>
                  </a:lnTo>
                  <a:lnTo>
                    <a:pt x="270" y="84"/>
                  </a:lnTo>
                  <a:lnTo>
                    <a:pt x="260" y="83"/>
                  </a:lnTo>
                  <a:lnTo>
                    <a:pt x="255" y="80"/>
                  </a:lnTo>
                  <a:lnTo>
                    <a:pt x="254" y="80"/>
                  </a:lnTo>
                  <a:lnTo>
                    <a:pt x="251" y="79"/>
                  </a:lnTo>
                  <a:lnTo>
                    <a:pt x="251" y="77"/>
                  </a:lnTo>
                  <a:lnTo>
                    <a:pt x="248" y="74"/>
                  </a:lnTo>
                  <a:lnTo>
                    <a:pt x="248" y="73"/>
                  </a:lnTo>
                  <a:lnTo>
                    <a:pt x="247" y="70"/>
                  </a:lnTo>
                  <a:lnTo>
                    <a:pt x="245" y="69"/>
                  </a:lnTo>
                  <a:lnTo>
                    <a:pt x="244" y="70"/>
                  </a:lnTo>
                  <a:lnTo>
                    <a:pt x="241" y="73"/>
                  </a:lnTo>
                  <a:lnTo>
                    <a:pt x="239" y="73"/>
                  </a:lnTo>
                  <a:lnTo>
                    <a:pt x="238" y="72"/>
                  </a:lnTo>
                  <a:lnTo>
                    <a:pt x="235" y="69"/>
                  </a:lnTo>
                  <a:lnTo>
                    <a:pt x="235" y="67"/>
                  </a:lnTo>
                  <a:lnTo>
                    <a:pt x="234" y="66"/>
                  </a:lnTo>
                  <a:lnTo>
                    <a:pt x="231" y="66"/>
                  </a:lnTo>
                  <a:lnTo>
                    <a:pt x="225" y="62"/>
                  </a:lnTo>
                  <a:lnTo>
                    <a:pt x="225" y="62"/>
                  </a:lnTo>
                  <a:lnTo>
                    <a:pt x="221" y="60"/>
                  </a:lnTo>
                  <a:lnTo>
                    <a:pt x="221" y="59"/>
                  </a:lnTo>
                  <a:lnTo>
                    <a:pt x="217" y="59"/>
                  </a:lnTo>
                  <a:lnTo>
                    <a:pt x="214" y="59"/>
                  </a:lnTo>
                  <a:lnTo>
                    <a:pt x="212" y="57"/>
                  </a:lnTo>
                  <a:lnTo>
                    <a:pt x="212" y="54"/>
                  </a:lnTo>
                  <a:lnTo>
                    <a:pt x="208" y="50"/>
                  </a:lnTo>
                  <a:lnTo>
                    <a:pt x="205" y="49"/>
                  </a:lnTo>
                  <a:lnTo>
                    <a:pt x="202" y="49"/>
                  </a:lnTo>
                  <a:lnTo>
                    <a:pt x="199" y="46"/>
                  </a:lnTo>
                  <a:lnTo>
                    <a:pt x="198" y="46"/>
                  </a:lnTo>
                  <a:lnTo>
                    <a:pt x="195" y="47"/>
                  </a:lnTo>
                  <a:lnTo>
                    <a:pt x="192" y="49"/>
                  </a:lnTo>
                  <a:lnTo>
                    <a:pt x="189" y="50"/>
                  </a:lnTo>
                  <a:lnTo>
                    <a:pt x="186" y="49"/>
                  </a:lnTo>
                  <a:lnTo>
                    <a:pt x="185" y="46"/>
                  </a:lnTo>
                  <a:lnTo>
                    <a:pt x="182" y="43"/>
                  </a:lnTo>
                  <a:lnTo>
                    <a:pt x="182" y="42"/>
                  </a:lnTo>
                  <a:lnTo>
                    <a:pt x="178" y="40"/>
                  </a:lnTo>
                  <a:lnTo>
                    <a:pt x="174" y="40"/>
                  </a:lnTo>
                  <a:lnTo>
                    <a:pt x="172" y="39"/>
                  </a:lnTo>
                  <a:lnTo>
                    <a:pt x="169" y="34"/>
                  </a:lnTo>
                  <a:lnTo>
                    <a:pt x="166" y="30"/>
                  </a:lnTo>
                  <a:lnTo>
                    <a:pt x="166" y="27"/>
                  </a:lnTo>
                  <a:lnTo>
                    <a:pt x="164" y="24"/>
                  </a:lnTo>
                  <a:lnTo>
                    <a:pt x="162" y="21"/>
                  </a:lnTo>
                  <a:lnTo>
                    <a:pt x="159" y="19"/>
                  </a:lnTo>
                  <a:lnTo>
                    <a:pt x="155" y="17"/>
                  </a:lnTo>
                  <a:lnTo>
                    <a:pt x="154" y="14"/>
                  </a:lnTo>
                  <a:lnTo>
                    <a:pt x="152" y="11"/>
                  </a:lnTo>
                  <a:lnTo>
                    <a:pt x="149" y="9"/>
                  </a:lnTo>
                  <a:lnTo>
                    <a:pt x="149" y="6"/>
                  </a:lnTo>
                  <a:lnTo>
                    <a:pt x="149" y="3"/>
                  </a:lnTo>
                  <a:lnTo>
                    <a:pt x="148" y="1"/>
                  </a:lnTo>
                  <a:lnTo>
                    <a:pt x="135" y="1"/>
                  </a:lnTo>
                  <a:lnTo>
                    <a:pt x="132" y="0"/>
                  </a:lnTo>
                  <a:lnTo>
                    <a:pt x="129" y="1"/>
                  </a:lnTo>
                  <a:lnTo>
                    <a:pt x="128" y="3"/>
                  </a:lnTo>
                  <a:lnTo>
                    <a:pt x="119" y="1"/>
                  </a:lnTo>
                  <a:lnTo>
                    <a:pt x="112" y="0"/>
                  </a:lnTo>
                  <a:lnTo>
                    <a:pt x="106" y="3"/>
                  </a:lnTo>
                  <a:lnTo>
                    <a:pt x="102" y="11"/>
                  </a:lnTo>
                  <a:lnTo>
                    <a:pt x="102" y="21"/>
                  </a:lnTo>
                  <a:lnTo>
                    <a:pt x="103" y="30"/>
                  </a:lnTo>
                  <a:lnTo>
                    <a:pt x="93" y="34"/>
                  </a:lnTo>
                  <a:lnTo>
                    <a:pt x="86" y="39"/>
                  </a:lnTo>
                  <a:lnTo>
                    <a:pt x="79" y="42"/>
                  </a:lnTo>
                  <a:lnTo>
                    <a:pt x="79" y="47"/>
                  </a:lnTo>
                  <a:lnTo>
                    <a:pt x="83" y="50"/>
                  </a:lnTo>
                  <a:lnTo>
                    <a:pt x="85" y="57"/>
                  </a:lnTo>
                  <a:lnTo>
                    <a:pt x="82" y="64"/>
                  </a:lnTo>
                  <a:lnTo>
                    <a:pt x="78" y="67"/>
                  </a:lnTo>
                  <a:lnTo>
                    <a:pt x="66" y="84"/>
                  </a:lnTo>
                  <a:lnTo>
                    <a:pt x="70" y="96"/>
                  </a:lnTo>
                  <a:lnTo>
                    <a:pt x="66" y="103"/>
                  </a:lnTo>
                  <a:lnTo>
                    <a:pt x="63" y="107"/>
                  </a:lnTo>
                  <a:lnTo>
                    <a:pt x="58" y="103"/>
                  </a:lnTo>
                  <a:lnTo>
                    <a:pt x="49" y="103"/>
                  </a:lnTo>
                  <a:lnTo>
                    <a:pt x="39" y="106"/>
                  </a:lnTo>
                  <a:lnTo>
                    <a:pt x="10" y="119"/>
                  </a:lnTo>
                  <a:lnTo>
                    <a:pt x="0" y="136"/>
                  </a:lnTo>
                  <a:lnTo>
                    <a:pt x="7" y="142"/>
                  </a:lnTo>
                  <a:lnTo>
                    <a:pt x="7" y="149"/>
                  </a:lnTo>
                  <a:lnTo>
                    <a:pt x="9" y="158"/>
                  </a:lnTo>
                  <a:lnTo>
                    <a:pt x="9" y="165"/>
                  </a:lnTo>
                  <a:lnTo>
                    <a:pt x="16" y="165"/>
                  </a:lnTo>
                  <a:lnTo>
                    <a:pt x="25" y="170"/>
                  </a:lnTo>
                  <a:lnTo>
                    <a:pt x="26" y="176"/>
                  </a:lnTo>
                  <a:lnTo>
                    <a:pt x="28" y="185"/>
                  </a:lnTo>
                  <a:lnTo>
                    <a:pt x="25" y="186"/>
                  </a:lnTo>
                  <a:lnTo>
                    <a:pt x="17" y="188"/>
                  </a:lnTo>
                  <a:lnTo>
                    <a:pt x="10" y="190"/>
                  </a:lnTo>
                  <a:lnTo>
                    <a:pt x="13" y="193"/>
                  </a:lnTo>
                  <a:lnTo>
                    <a:pt x="22" y="195"/>
                  </a:lnTo>
                  <a:lnTo>
                    <a:pt x="25" y="195"/>
                  </a:lnTo>
                  <a:lnTo>
                    <a:pt x="26" y="201"/>
                  </a:lnTo>
                  <a:lnTo>
                    <a:pt x="28" y="208"/>
                  </a:lnTo>
                  <a:lnTo>
                    <a:pt x="29" y="209"/>
                  </a:lnTo>
                  <a:lnTo>
                    <a:pt x="39" y="208"/>
                  </a:lnTo>
                  <a:lnTo>
                    <a:pt x="45" y="211"/>
                  </a:lnTo>
                  <a:lnTo>
                    <a:pt x="46" y="216"/>
                  </a:lnTo>
                  <a:lnTo>
                    <a:pt x="40" y="222"/>
                  </a:lnTo>
                  <a:lnTo>
                    <a:pt x="40" y="226"/>
                  </a:lnTo>
                  <a:lnTo>
                    <a:pt x="39" y="229"/>
                  </a:lnTo>
                  <a:lnTo>
                    <a:pt x="45" y="228"/>
                  </a:lnTo>
                  <a:lnTo>
                    <a:pt x="49" y="225"/>
                  </a:lnTo>
                  <a:lnTo>
                    <a:pt x="52" y="226"/>
                  </a:lnTo>
                  <a:lnTo>
                    <a:pt x="50" y="229"/>
                  </a:lnTo>
                  <a:lnTo>
                    <a:pt x="46" y="232"/>
                  </a:lnTo>
                  <a:lnTo>
                    <a:pt x="38" y="238"/>
                  </a:lnTo>
                  <a:lnTo>
                    <a:pt x="38" y="242"/>
                  </a:lnTo>
                  <a:lnTo>
                    <a:pt x="40" y="243"/>
                  </a:lnTo>
                  <a:lnTo>
                    <a:pt x="49" y="242"/>
                  </a:lnTo>
                  <a:lnTo>
                    <a:pt x="56" y="252"/>
                  </a:lnTo>
                  <a:lnTo>
                    <a:pt x="59" y="256"/>
                  </a:lnTo>
                  <a:lnTo>
                    <a:pt x="56" y="264"/>
                  </a:lnTo>
                  <a:lnTo>
                    <a:pt x="60" y="266"/>
                  </a:lnTo>
                  <a:lnTo>
                    <a:pt x="66" y="272"/>
                  </a:lnTo>
                  <a:lnTo>
                    <a:pt x="72" y="278"/>
                  </a:lnTo>
                  <a:lnTo>
                    <a:pt x="82" y="282"/>
                  </a:lnTo>
                  <a:lnTo>
                    <a:pt x="89" y="288"/>
                  </a:lnTo>
                  <a:lnTo>
                    <a:pt x="92" y="289"/>
                  </a:lnTo>
                  <a:lnTo>
                    <a:pt x="98" y="295"/>
                  </a:lnTo>
                  <a:lnTo>
                    <a:pt x="99" y="296"/>
                  </a:lnTo>
                  <a:lnTo>
                    <a:pt x="106" y="294"/>
                  </a:lnTo>
                  <a:lnTo>
                    <a:pt x="111" y="295"/>
                  </a:lnTo>
                  <a:lnTo>
                    <a:pt x="113" y="296"/>
                  </a:lnTo>
                  <a:lnTo>
                    <a:pt x="118" y="298"/>
                  </a:lnTo>
                  <a:lnTo>
                    <a:pt x="121" y="298"/>
                  </a:lnTo>
                  <a:lnTo>
                    <a:pt x="128" y="294"/>
                  </a:lnTo>
                  <a:lnTo>
                    <a:pt x="133" y="292"/>
                  </a:lnTo>
                  <a:lnTo>
                    <a:pt x="133" y="294"/>
                  </a:lnTo>
                  <a:lnTo>
                    <a:pt x="136" y="302"/>
                  </a:lnTo>
                  <a:lnTo>
                    <a:pt x="136" y="304"/>
                  </a:lnTo>
                  <a:lnTo>
                    <a:pt x="141" y="305"/>
                  </a:lnTo>
                  <a:lnTo>
                    <a:pt x="145" y="301"/>
                  </a:lnTo>
                  <a:lnTo>
                    <a:pt x="148" y="296"/>
                  </a:lnTo>
                  <a:lnTo>
                    <a:pt x="152" y="294"/>
                  </a:lnTo>
                  <a:lnTo>
                    <a:pt x="155" y="295"/>
                  </a:lnTo>
                  <a:lnTo>
                    <a:pt x="161" y="302"/>
                  </a:lnTo>
                  <a:lnTo>
                    <a:pt x="165" y="304"/>
                  </a:lnTo>
                  <a:lnTo>
                    <a:pt x="169" y="312"/>
                  </a:lnTo>
                  <a:lnTo>
                    <a:pt x="172" y="315"/>
                  </a:lnTo>
                  <a:lnTo>
                    <a:pt x="174" y="327"/>
                  </a:lnTo>
                  <a:lnTo>
                    <a:pt x="174" y="338"/>
                  </a:lnTo>
                  <a:lnTo>
                    <a:pt x="176" y="344"/>
                  </a:lnTo>
                  <a:lnTo>
                    <a:pt x="182" y="354"/>
                  </a:lnTo>
                  <a:lnTo>
                    <a:pt x="188" y="372"/>
                  </a:lnTo>
                  <a:lnTo>
                    <a:pt x="195" y="381"/>
                  </a:lnTo>
                  <a:lnTo>
                    <a:pt x="198" y="390"/>
                  </a:lnTo>
                  <a:lnTo>
                    <a:pt x="201" y="397"/>
                  </a:lnTo>
                  <a:lnTo>
                    <a:pt x="204" y="401"/>
                  </a:lnTo>
                  <a:lnTo>
                    <a:pt x="211" y="402"/>
                  </a:lnTo>
                  <a:lnTo>
                    <a:pt x="221" y="401"/>
                  </a:lnTo>
                  <a:lnTo>
                    <a:pt x="224" y="401"/>
                  </a:lnTo>
                  <a:lnTo>
                    <a:pt x="232" y="402"/>
                  </a:lnTo>
                  <a:lnTo>
                    <a:pt x="238" y="397"/>
                  </a:lnTo>
                  <a:lnTo>
                    <a:pt x="239" y="397"/>
                  </a:lnTo>
                  <a:lnTo>
                    <a:pt x="242" y="400"/>
                  </a:lnTo>
                  <a:lnTo>
                    <a:pt x="244" y="401"/>
                  </a:lnTo>
                  <a:lnTo>
                    <a:pt x="245" y="404"/>
                  </a:lnTo>
                  <a:lnTo>
                    <a:pt x="252" y="401"/>
                  </a:lnTo>
                  <a:lnTo>
                    <a:pt x="249" y="394"/>
                  </a:lnTo>
                  <a:lnTo>
                    <a:pt x="254" y="392"/>
                  </a:lnTo>
                  <a:lnTo>
                    <a:pt x="257" y="394"/>
                  </a:lnTo>
                  <a:lnTo>
                    <a:pt x="261" y="401"/>
                  </a:lnTo>
                  <a:lnTo>
                    <a:pt x="267" y="395"/>
                  </a:lnTo>
                  <a:lnTo>
                    <a:pt x="271" y="394"/>
                  </a:lnTo>
                  <a:lnTo>
                    <a:pt x="277" y="394"/>
                  </a:lnTo>
                  <a:lnTo>
                    <a:pt x="280" y="392"/>
                  </a:lnTo>
                  <a:lnTo>
                    <a:pt x="282" y="391"/>
                  </a:lnTo>
                  <a:lnTo>
                    <a:pt x="284" y="387"/>
                  </a:lnTo>
                  <a:lnTo>
                    <a:pt x="287" y="384"/>
                  </a:lnTo>
                  <a:lnTo>
                    <a:pt x="290" y="380"/>
                  </a:lnTo>
                  <a:lnTo>
                    <a:pt x="294" y="382"/>
                  </a:lnTo>
                  <a:lnTo>
                    <a:pt x="291" y="385"/>
                  </a:lnTo>
                  <a:lnTo>
                    <a:pt x="297" y="391"/>
                  </a:lnTo>
                  <a:lnTo>
                    <a:pt x="301" y="385"/>
                  </a:lnTo>
                  <a:lnTo>
                    <a:pt x="307" y="391"/>
                  </a:lnTo>
                  <a:lnTo>
                    <a:pt x="302" y="398"/>
                  </a:lnTo>
                  <a:lnTo>
                    <a:pt x="302" y="407"/>
                  </a:lnTo>
                  <a:lnTo>
                    <a:pt x="301" y="417"/>
                  </a:lnTo>
                  <a:lnTo>
                    <a:pt x="302" y="425"/>
                  </a:lnTo>
                  <a:lnTo>
                    <a:pt x="305" y="431"/>
                  </a:lnTo>
                  <a:lnTo>
                    <a:pt x="310" y="435"/>
                  </a:lnTo>
                  <a:lnTo>
                    <a:pt x="317" y="441"/>
                  </a:lnTo>
                  <a:lnTo>
                    <a:pt x="323" y="444"/>
                  </a:lnTo>
                  <a:lnTo>
                    <a:pt x="328" y="447"/>
                  </a:lnTo>
                  <a:lnTo>
                    <a:pt x="337" y="448"/>
                  </a:lnTo>
                  <a:lnTo>
                    <a:pt x="347" y="451"/>
                  </a:lnTo>
                  <a:lnTo>
                    <a:pt x="353" y="454"/>
                  </a:lnTo>
                  <a:lnTo>
                    <a:pt x="358" y="463"/>
                  </a:lnTo>
                  <a:lnTo>
                    <a:pt x="368" y="467"/>
                  </a:lnTo>
                  <a:lnTo>
                    <a:pt x="371" y="470"/>
                  </a:lnTo>
                  <a:lnTo>
                    <a:pt x="377" y="471"/>
                  </a:lnTo>
                  <a:lnTo>
                    <a:pt x="381" y="478"/>
                  </a:lnTo>
                  <a:lnTo>
                    <a:pt x="384" y="488"/>
                  </a:lnTo>
                  <a:lnTo>
                    <a:pt x="387" y="490"/>
                  </a:lnTo>
                  <a:lnTo>
                    <a:pt x="393" y="487"/>
                  </a:lnTo>
                  <a:lnTo>
                    <a:pt x="398" y="493"/>
                  </a:lnTo>
                  <a:lnTo>
                    <a:pt x="404" y="494"/>
                  </a:lnTo>
                  <a:lnTo>
                    <a:pt x="408" y="488"/>
                  </a:lnTo>
                  <a:lnTo>
                    <a:pt x="406" y="475"/>
                  </a:lnTo>
                  <a:lnTo>
                    <a:pt x="423" y="467"/>
                  </a:lnTo>
                  <a:lnTo>
                    <a:pt x="433" y="467"/>
                  </a:lnTo>
                  <a:lnTo>
                    <a:pt x="430" y="481"/>
                  </a:lnTo>
                  <a:lnTo>
                    <a:pt x="424" y="490"/>
                  </a:lnTo>
                  <a:lnTo>
                    <a:pt x="429" y="490"/>
                  </a:lnTo>
                  <a:lnTo>
                    <a:pt x="431" y="491"/>
                  </a:lnTo>
                  <a:lnTo>
                    <a:pt x="434" y="494"/>
                  </a:lnTo>
                  <a:lnTo>
                    <a:pt x="436" y="498"/>
                  </a:lnTo>
                  <a:lnTo>
                    <a:pt x="441" y="500"/>
                  </a:lnTo>
                  <a:lnTo>
                    <a:pt x="443" y="498"/>
                  </a:lnTo>
                  <a:lnTo>
                    <a:pt x="449" y="497"/>
                  </a:lnTo>
                  <a:lnTo>
                    <a:pt x="450" y="498"/>
                  </a:lnTo>
                  <a:lnTo>
                    <a:pt x="454" y="498"/>
                  </a:lnTo>
                  <a:lnTo>
                    <a:pt x="456" y="496"/>
                  </a:lnTo>
                  <a:lnTo>
                    <a:pt x="467" y="496"/>
                  </a:lnTo>
                  <a:lnTo>
                    <a:pt x="467" y="508"/>
                  </a:lnTo>
                  <a:lnTo>
                    <a:pt x="469" y="510"/>
                  </a:lnTo>
                  <a:lnTo>
                    <a:pt x="470" y="511"/>
                  </a:lnTo>
                  <a:lnTo>
                    <a:pt x="474" y="514"/>
                  </a:lnTo>
                  <a:lnTo>
                    <a:pt x="476" y="516"/>
                  </a:lnTo>
                  <a:lnTo>
                    <a:pt x="474" y="521"/>
                  </a:lnTo>
                  <a:lnTo>
                    <a:pt x="474" y="526"/>
                  </a:lnTo>
                  <a:lnTo>
                    <a:pt x="473" y="530"/>
                  </a:lnTo>
                  <a:lnTo>
                    <a:pt x="471" y="533"/>
                  </a:lnTo>
                  <a:lnTo>
                    <a:pt x="467" y="536"/>
                  </a:lnTo>
                  <a:lnTo>
                    <a:pt x="467" y="540"/>
                  </a:lnTo>
                  <a:lnTo>
                    <a:pt x="467" y="546"/>
                  </a:lnTo>
                  <a:lnTo>
                    <a:pt x="473" y="549"/>
                  </a:lnTo>
                  <a:lnTo>
                    <a:pt x="477" y="554"/>
                  </a:lnTo>
                  <a:lnTo>
                    <a:pt x="477" y="554"/>
                  </a:lnTo>
                  <a:lnTo>
                    <a:pt x="479" y="553"/>
                  </a:lnTo>
                  <a:lnTo>
                    <a:pt x="479" y="549"/>
                  </a:lnTo>
                  <a:lnTo>
                    <a:pt x="482" y="540"/>
                  </a:lnTo>
                  <a:lnTo>
                    <a:pt x="483" y="536"/>
                  </a:lnTo>
                  <a:lnTo>
                    <a:pt x="484" y="536"/>
                  </a:lnTo>
                  <a:lnTo>
                    <a:pt x="487" y="536"/>
                  </a:lnTo>
                  <a:lnTo>
                    <a:pt x="489" y="531"/>
                  </a:lnTo>
                  <a:lnTo>
                    <a:pt x="490" y="527"/>
                  </a:lnTo>
                  <a:lnTo>
                    <a:pt x="496" y="526"/>
                  </a:lnTo>
                  <a:lnTo>
                    <a:pt x="500" y="523"/>
                  </a:lnTo>
                  <a:lnTo>
                    <a:pt x="502" y="524"/>
                  </a:lnTo>
                  <a:lnTo>
                    <a:pt x="506" y="524"/>
                  </a:lnTo>
                  <a:lnTo>
                    <a:pt x="509" y="524"/>
                  </a:lnTo>
                  <a:lnTo>
                    <a:pt x="514" y="523"/>
                  </a:lnTo>
                  <a:lnTo>
                    <a:pt x="519" y="520"/>
                  </a:lnTo>
                  <a:lnTo>
                    <a:pt x="517" y="516"/>
                  </a:lnTo>
                  <a:lnTo>
                    <a:pt x="527" y="510"/>
                  </a:lnTo>
                  <a:lnTo>
                    <a:pt x="530" y="513"/>
                  </a:lnTo>
                  <a:lnTo>
                    <a:pt x="535" y="516"/>
                  </a:lnTo>
                  <a:lnTo>
                    <a:pt x="543" y="507"/>
                  </a:lnTo>
                  <a:lnTo>
                    <a:pt x="537" y="498"/>
                  </a:lnTo>
                  <a:lnTo>
                    <a:pt x="533" y="500"/>
                  </a:lnTo>
                  <a:lnTo>
                    <a:pt x="535" y="491"/>
                  </a:lnTo>
                  <a:lnTo>
                    <a:pt x="535" y="484"/>
                  </a:lnTo>
                  <a:lnTo>
                    <a:pt x="536" y="480"/>
                  </a:lnTo>
                  <a:lnTo>
                    <a:pt x="536" y="475"/>
                  </a:lnTo>
                  <a:lnTo>
                    <a:pt x="537" y="471"/>
                  </a:lnTo>
                  <a:lnTo>
                    <a:pt x="537" y="467"/>
                  </a:lnTo>
                  <a:lnTo>
                    <a:pt x="539" y="467"/>
                  </a:lnTo>
                  <a:lnTo>
                    <a:pt x="545" y="464"/>
                  </a:lnTo>
                  <a:lnTo>
                    <a:pt x="545" y="458"/>
                  </a:lnTo>
                  <a:lnTo>
                    <a:pt x="547" y="457"/>
                  </a:lnTo>
                  <a:lnTo>
                    <a:pt x="552" y="455"/>
                  </a:lnTo>
                  <a:lnTo>
                    <a:pt x="556" y="455"/>
                  </a:lnTo>
                  <a:lnTo>
                    <a:pt x="562" y="455"/>
                  </a:lnTo>
                  <a:lnTo>
                    <a:pt x="566" y="453"/>
                  </a:lnTo>
                  <a:lnTo>
                    <a:pt x="566" y="451"/>
                  </a:lnTo>
                  <a:lnTo>
                    <a:pt x="565" y="443"/>
                  </a:lnTo>
                  <a:lnTo>
                    <a:pt x="563" y="438"/>
                  </a:lnTo>
                  <a:lnTo>
                    <a:pt x="562" y="434"/>
                  </a:lnTo>
                  <a:lnTo>
                    <a:pt x="563" y="430"/>
                  </a:lnTo>
                  <a:lnTo>
                    <a:pt x="565" y="427"/>
                  </a:lnTo>
                  <a:lnTo>
                    <a:pt x="567" y="422"/>
                  </a:lnTo>
                  <a:lnTo>
                    <a:pt x="569" y="417"/>
                  </a:lnTo>
                  <a:lnTo>
                    <a:pt x="569" y="414"/>
                  </a:lnTo>
                  <a:lnTo>
                    <a:pt x="569" y="407"/>
                  </a:lnTo>
                  <a:lnTo>
                    <a:pt x="566" y="402"/>
                  </a:lnTo>
                  <a:lnTo>
                    <a:pt x="563" y="395"/>
                  </a:lnTo>
                  <a:lnTo>
                    <a:pt x="570" y="395"/>
                  </a:lnTo>
                  <a:lnTo>
                    <a:pt x="570" y="392"/>
                  </a:lnTo>
                  <a:lnTo>
                    <a:pt x="569" y="391"/>
                  </a:lnTo>
                  <a:lnTo>
                    <a:pt x="563" y="390"/>
                  </a:lnTo>
                  <a:lnTo>
                    <a:pt x="565" y="384"/>
                  </a:lnTo>
                  <a:lnTo>
                    <a:pt x="566" y="381"/>
                  </a:lnTo>
                  <a:lnTo>
                    <a:pt x="572" y="382"/>
                  </a:lnTo>
                  <a:lnTo>
                    <a:pt x="576" y="387"/>
                  </a:lnTo>
                  <a:lnTo>
                    <a:pt x="579" y="390"/>
                  </a:lnTo>
                  <a:lnTo>
                    <a:pt x="580" y="388"/>
                  </a:lnTo>
                  <a:lnTo>
                    <a:pt x="579" y="378"/>
                  </a:lnTo>
                  <a:lnTo>
                    <a:pt x="580" y="377"/>
                  </a:lnTo>
                  <a:lnTo>
                    <a:pt x="583" y="377"/>
                  </a:lnTo>
                  <a:lnTo>
                    <a:pt x="586" y="381"/>
                  </a:lnTo>
                  <a:lnTo>
                    <a:pt x="587" y="385"/>
                  </a:lnTo>
                  <a:lnTo>
                    <a:pt x="587" y="388"/>
                  </a:lnTo>
                  <a:lnTo>
                    <a:pt x="590" y="387"/>
                  </a:lnTo>
                  <a:lnTo>
                    <a:pt x="592" y="385"/>
                  </a:lnTo>
                  <a:lnTo>
                    <a:pt x="593" y="385"/>
                  </a:lnTo>
                  <a:lnTo>
                    <a:pt x="596" y="387"/>
                  </a:lnTo>
                  <a:lnTo>
                    <a:pt x="599" y="387"/>
                  </a:lnTo>
                  <a:lnTo>
                    <a:pt x="602" y="385"/>
                  </a:lnTo>
                  <a:lnTo>
                    <a:pt x="603" y="385"/>
                  </a:lnTo>
                  <a:lnTo>
                    <a:pt x="608" y="387"/>
                  </a:lnTo>
                  <a:lnTo>
                    <a:pt x="610" y="390"/>
                  </a:lnTo>
                  <a:lnTo>
                    <a:pt x="613" y="391"/>
                  </a:lnTo>
                  <a:lnTo>
                    <a:pt x="618" y="390"/>
                  </a:lnTo>
                  <a:lnTo>
                    <a:pt x="619" y="387"/>
                  </a:lnTo>
                  <a:lnTo>
                    <a:pt x="620" y="382"/>
                  </a:lnTo>
                  <a:lnTo>
                    <a:pt x="622" y="378"/>
                  </a:lnTo>
                  <a:lnTo>
                    <a:pt x="619" y="372"/>
                  </a:lnTo>
                  <a:lnTo>
                    <a:pt x="619" y="368"/>
                  </a:lnTo>
                  <a:lnTo>
                    <a:pt x="618" y="367"/>
                  </a:lnTo>
                  <a:lnTo>
                    <a:pt x="618" y="364"/>
                  </a:lnTo>
                  <a:lnTo>
                    <a:pt x="618" y="358"/>
                  </a:lnTo>
                  <a:lnTo>
                    <a:pt x="622" y="355"/>
                  </a:lnTo>
                  <a:lnTo>
                    <a:pt x="625" y="354"/>
                  </a:lnTo>
                  <a:lnTo>
                    <a:pt x="629" y="354"/>
                  </a:lnTo>
                  <a:lnTo>
                    <a:pt x="633" y="352"/>
                  </a:lnTo>
                  <a:lnTo>
                    <a:pt x="636" y="352"/>
                  </a:lnTo>
                  <a:lnTo>
                    <a:pt x="636" y="349"/>
                  </a:lnTo>
                  <a:lnTo>
                    <a:pt x="639" y="345"/>
                  </a:lnTo>
                  <a:lnTo>
                    <a:pt x="643" y="344"/>
                  </a:lnTo>
                  <a:lnTo>
                    <a:pt x="646" y="344"/>
                  </a:lnTo>
                  <a:lnTo>
                    <a:pt x="651" y="345"/>
                  </a:lnTo>
                  <a:lnTo>
                    <a:pt x="653" y="349"/>
                  </a:lnTo>
                  <a:lnTo>
                    <a:pt x="655" y="354"/>
                  </a:lnTo>
                  <a:lnTo>
                    <a:pt x="659" y="355"/>
                  </a:lnTo>
                  <a:lnTo>
                    <a:pt x="662" y="355"/>
                  </a:lnTo>
                  <a:lnTo>
                    <a:pt x="662" y="355"/>
                  </a:lnTo>
                  <a:lnTo>
                    <a:pt x="665" y="357"/>
                  </a:lnTo>
                  <a:lnTo>
                    <a:pt x="666" y="355"/>
                  </a:lnTo>
                  <a:lnTo>
                    <a:pt x="668" y="352"/>
                  </a:lnTo>
                  <a:lnTo>
                    <a:pt x="668" y="352"/>
                  </a:lnTo>
                  <a:lnTo>
                    <a:pt x="668" y="348"/>
                  </a:lnTo>
                  <a:lnTo>
                    <a:pt x="668" y="349"/>
                  </a:lnTo>
                  <a:lnTo>
                    <a:pt x="668" y="349"/>
                  </a:lnTo>
                  <a:lnTo>
                    <a:pt x="668" y="344"/>
                  </a:lnTo>
                  <a:lnTo>
                    <a:pt x="668" y="341"/>
                  </a:lnTo>
                  <a:lnTo>
                    <a:pt x="668" y="341"/>
                  </a:lnTo>
                  <a:lnTo>
                    <a:pt x="668" y="335"/>
                  </a:lnTo>
                  <a:lnTo>
                    <a:pt x="669" y="332"/>
                  </a:lnTo>
                  <a:lnTo>
                    <a:pt x="669" y="332"/>
                  </a:lnTo>
                  <a:lnTo>
                    <a:pt x="671" y="328"/>
                  </a:lnTo>
                  <a:lnTo>
                    <a:pt x="672" y="324"/>
                  </a:lnTo>
                  <a:lnTo>
                    <a:pt x="672" y="324"/>
                  </a:lnTo>
                  <a:lnTo>
                    <a:pt x="675" y="319"/>
                  </a:lnTo>
                  <a:lnTo>
                    <a:pt x="676" y="314"/>
                  </a:lnTo>
                  <a:lnTo>
                    <a:pt x="676" y="314"/>
                  </a:lnTo>
                  <a:lnTo>
                    <a:pt x="678" y="308"/>
                  </a:lnTo>
                  <a:lnTo>
                    <a:pt x="679" y="304"/>
                  </a:lnTo>
                  <a:lnTo>
                    <a:pt x="679" y="304"/>
                  </a:lnTo>
                  <a:lnTo>
                    <a:pt x="682" y="294"/>
                  </a:lnTo>
                  <a:lnTo>
                    <a:pt x="682" y="294"/>
                  </a:lnTo>
                  <a:lnTo>
                    <a:pt x="689" y="282"/>
                  </a:lnTo>
                  <a:lnTo>
                    <a:pt x="691" y="276"/>
                  </a:lnTo>
                  <a:lnTo>
                    <a:pt x="686" y="272"/>
                  </a:lnTo>
                  <a:lnTo>
                    <a:pt x="686" y="272"/>
                  </a:lnTo>
                  <a:lnTo>
                    <a:pt x="685" y="271"/>
                  </a:lnTo>
                  <a:lnTo>
                    <a:pt x="683" y="269"/>
                  </a:lnTo>
                  <a:lnTo>
                    <a:pt x="681" y="268"/>
                  </a:lnTo>
                  <a:lnTo>
                    <a:pt x="679" y="265"/>
                  </a:lnTo>
                  <a:lnTo>
                    <a:pt x="678" y="264"/>
                  </a:lnTo>
                  <a:lnTo>
                    <a:pt x="676" y="262"/>
                  </a:lnTo>
                  <a:lnTo>
                    <a:pt x="672" y="261"/>
                  </a:lnTo>
                  <a:lnTo>
                    <a:pt x="671" y="259"/>
                  </a:lnTo>
                  <a:lnTo>
                    <a:pt x="668" y="264"/>
                  </a:lnTo>
                  <a:lnTo>
                    <a:pt x="665" y="266"/>
                  </a:lnTo>
                  <a:lnTo>
                    <a:pt x="665" y="269"/>
                  </a:lnTo>
                  <a:lnTo>
                    <a:pt x="662" y="272"/>
                  </a:lnTo>
                  <a:lnTo>
                    <a:pt x="659" y="271"/>
                  </a:lnTo>
                  <a:lnTo>
                    <a:pt x="656" y="268"/>
                  </a:lnTo>
                  <a:lnTo>
                    <a:pt x="655" y="266"/>
                  </a:lnTo>
                  <a:lnTo>
                    <a:pt x="652" y="265"/>
                  </a:lnTo>
                  <a:lnTo>
                    <a:pt x="651" y="265"/>
                  </a:lnTo>
                  <a:lnTo>
                    <a:pt x="646" y="265"/>
                  </a:lnTo>
                  <a:lnTo>
                    <a:pt x="646" y="266"/>
                  </a:lnTo>
                  <a:lnTo>
                    <a:pt x="643" y="265"/>
                  </a:lnTo>
                  <a:lnTo>
                    <a:pt x="639" y="265"/>
                  </a:lnTo>
                  <a:lnTo>
                    <a:pt x="636" y="265"/>
                  </a:lnTo>
                  <a:lnTo>
                    <a:pt x="633" y="266"/>
                  </a:lnTo>
                  <a:lnTo>
                    <a:pt x="630" y="266"/>
                  </a:lnTo>
                  <a:lnTo>
                    <a:pt x="629" y="265"/>
                  </a:lnTo>
                  <a:lnTo>
                    <a:pt x="628" y="264"/>
                  </a:lnTo>
                  <a:lnTo>
                    <a:pt x="625" y="261"/>
                  </a:lnTo>
                  <a:lnTo>
                    <a:pt x="623" y="261"/>
                  </a:lnTo>
                  <a:lnTo>
                    <a:pt x="620" y="262"/>
                  </a:lnTo>
                  <a:lnTo>
                    <a:pt x="618" y="264"/>
                  </a:lnTo>
                  <a:lnTo>
                    <a:pt x="616" y="266"/>
                  </a:lnTo>
                  <a:lnTo>
                    <a:pt x="615" y="268"/>
                  </a:lnTo>
                  <a:lnTo>
                    <a:pt x="613" y="265"/>
                  </a:lnTo>
                  <a:lnTo>
                    <a:pt x="613" y="262"/>
                  </a:lnTo>
                  <a:lnTo>
                    <a:pt x="610" y="259"/>
                  </a:lnTo>
                  <a:lnTo>
                    <a:pt x="606" y="256"/>
                  </a:lnTo>
                  <a:lnTo>
                    <a:pt x="605" y="253"/>
                  </a:lnTo>
                  <a:lnTo>
                    <a:pt x="605" y="249"/>
                  </a:lnTo>
                  <a:lnTo>
                    <a:pt x="606" y="243"/>
                  </a:lnTo>
                  <a:lnTo>
                    <a:pt x="606" y="24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10" name="Line 158"/>
            <p:cNvSpPr>
              <a:spLocks noChangeShapeType="1"/>
            </p:cNvSpPr>
            <p:nvPr/>
          </p:nvSpPr>
          <p:spPr bwMode="auto">
            <a:xfrm>
              <a:off x="2792787" y="3147991"/>
              <a:ext cx="0" cy="1323"/>
            </a:xfrm>
            <a:prstGeom prst="line">
              <a:avLst/>
            </a:pr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11" name="Freeform 159"/>
            <p:cNvSpPr>
              <a:spLocks/>
            </p:cNvSpPr>
            <p:nvPr/>
          </p:nvSpPr>
          <p:spPr bwMode="auto">
            <a:xfrm>
              <a:off x="2784239" y="2965430"/>
              <a:ext cx="529976" cy="580755"/>
            </a:xfrm>
            <a:custGeom>
              <a:avLst/>
              <a:gdLst>
                <a:gd name="T0" fmla="*/ 455 w 866"/>
                <a:gd name="T1" fmla="*/ 79 h 880"/>
                <a:gd name="T2" fmla="*/ 451 w 866"/>
                <a:gd name="T3" fmla="*/ 46 h 880"/>
                <a:gd name="T4" fmla="*/ 326 w 866"/>
                <a:gd name="T5" fmla="*/ 22 h 880"/>
                <a:gd name="T6" fmla="*/ 252 w 866"/>
                <a:gd name="T7" fmla="*/ 23 h 880"/>
                <a:gd name="T8" fmla="*/ 164 w 866"/>
                <a:gd name="T9" fmla="*/ 69 h 880"/>
                <a:gd name="T10" fmla="*/ 157 w 866"/>
                <a:gd name="T11" fmla="*/ 103 h 880"/>
                <a:gd name="T12" fmla="*/ 130 w 866"/>
                <a:gd name="T13" fmla="*/ 139 h 880"/>
                <a:gd name="T14" fmla="*/ 73 w 866"/>
                <a:gd name="T15" fmla="*/ 156 h 880"/>
                <a:gd name="T16" fmla="*/ 11 w 866"/>
                <a:gd name="T17" fmla="*/ 138 h 880"/>
                <a:gd name="T18" fmla="*/ 14 w 866"/>
                <a:gd name="T19" fmla="*/ 171 h 880"/>
                <a:gd name="T20" fmla="*/ 24 w 866"/>
                <a:gd name="T21" fmla="*/ 202 h 880"/>
                <a:gd name="T22" fmla="*/ 23 w 866"/>
                <a:gd name="T23" fmla="*/ 251 h 880"/>
                <a:gd name="T24" fmla="*/ 10 w 866"/>
                <a:gd name="T25" fmla="*/ 291 h 880"/>
                <a:gd name="T26" fmla="*/ 38 w 866"/>
                <a:gd name="T27" fmla="*/ 304 h 880"/>
                <a:gd name="T28" fmla="*/ 73 w 866"/>
                <a:gd name="T29" fmla="*/ 301 h 880"/>
                <a:gd name="T30" fmla="*/ 88 w 866"/>
                <a:gd name="T31" fmla="*/ 331 h 880"/>
                <a:gd name="T32" fmla="*/ 73 w 866"/>
                <a:gd name="T33" fmla="*/ 380 h 880"/>
                <a:gd name="T34" fmla="*/ 101 w 866"/>
                <a:gd name="T35" fmla="*/ 385 h 880"/>
                <a:gd name="T36" fmla="*/ 157 w 866"/>
                <a:gd name="T37" fmla="*/ 424 h 880"/>
                <a:gd name="T38" fmla="*/ 180 w 866"/>
                <a:gd name="T39" fmla="*/ 447 h 880"/>
                <a:gd name="T40" fmla="*/ 203 w 866"/>
                <a:gd name="T41" fmla="*/ 433 h 880"/>
                <a:gd name="T42" fmla="*/ 214 w 866"/>
                <a:gd name="T43" fmla="*/ 467 h 880"/>
                <a:gd name="T44" fmla="*/ 229 w 866"/>
                <a:gd name="T45" fmla="*/ 510 h 880"/>
                <a:gd name="T46" fmla="*/ 226 w 866"/>
                <a:gd name="T47" fmla="*/ 564 h 880"/>
                <a:gd name="T48" fmla="*/ 260 w 866"/>
                <a:gd name="T49" fmla="*/ 605 h 880"/>
                <a:gd name="T50" fmla="*/ 323 w 866"/>
                <a:gd name="T51" fmla="*/ 586 h 880"/>
                <a:gd name="T52" fmla="*/ 391 w 866"/>
                <a:gd name="T53" fmla="*/ 615 h 880"/>
                <a:gd name="T54" fmla="*/ 418 w 866"/>
                <a:gd name="T55" fmla="*/ 585 h 880"/>
                <a:gd name="T56" fmla="*/ 414 w 866"/>
                <a:gd name="T57" fmla="*/ 619 h 880"/>
                <a:gd name="T58" fmla="*/ 435 w 866"/>
                <a:gd name="T59" fmla="*/ 642 h 880"/>
                <a:gd name="T60" fmla="*/ 477 w 866"/>
                <a:gd name="T61" fmla="*/ 686 h 880"/>
                <a:gd name="T62" fmla="*/ 491 w 866"/>
                <a:gd name="T63" fmla="*/ 722 h 880"/>
                <a:gd name="T64" fmla="*/ 515 w 866"/>
                <a:gd name="T65" fmla="*/ 764 h 880"/>
                <a:gd name="T66" fmla="*/ 571 w 866"/>
                <a:gd name="T67" fmla="*/ 822 h 880"/>
                <a:gd name="T68" fmla="*/ 624 w 866"/>
                <a:gd name="T69" fmla="*/ 848 h 880"/>
                <a:gd name="T70" fmla="*/ 661 w 866"/>
                <a:gd name="T71" fmla="*/ 854 h 880"/>
                <a:gd name="T72" fmla="*/ 710 w 866"/>
                <a:gd name="T73" fmla="*/ 870 h 880"/>
                <a:gd name="T74" fmla="*/ 730 w 866"/>
                <a:gd name="T75" fmla="*/ 842 h 880"/>
                <a:gd name="T76" fmla="*/ 764 w 866"/>
                <a:gd name="T77" fmla="*/ 808 h 880"/>
                <a:gd name="T78" fmla="*/ 734 w 866"/>
                <a:gd name="T79" fmla="*/ 778 h 880"/>
                <a:gd name="T80" fmla="*/ 756 w 866"/>
                <a:gd name="T81" fmla="*/ 774 h 880"/>
                <a:gd name="T82" fmla="*/ 790 w 866"/>
                <a:gd name="T83" fmla="*/ 778 h 880"/>
                <a:gd name="T84" fmla="*/ 830 w 866"/>
                <a:gd name="T85" fmla="*/ 761 h 880"/>
                <a:gd name="T86" fmla="*/ 856 w 866"/>
                <a:gd name="T87" fmla="*/ 731 h 880"/>
                <a:gd name="T88" fmla="*/ 843 w 866"/>
                <a:gd name="T89" fmla="*/ 682 h 880"/>
                <a:gd name="T90" fmla="*/ 809 w 866"/>
                <a:gd name="T91" fmla="*/ 595 h 880"/>
                <a:gd name="T92" fmla="*/ 732 w 866"/>
                <a:gd name="T93" fmla="*/ 572 h 880"/>
                <a:gd name="T94" fmla="*/ 684 w 866"/>
                <a:gd name="T95" fmla="*/ 534 h 880"/>
                <a:gd name="T96" fmla="*/ 633 w 866"/>
                <a:gd name="T97" fmla="*/ 509 h 880"/>
                <a:gd name="T98" fmla="*/ 608 w 866"/>
                <a:gd name="T99" fmla="*/ 474 h 880"/>
                <a:gd name="T100" fmla="*/ 587 w 866"/>
                <a:gd name="T101" fmla="*/ 431 h 880"/>
                <a:gd name="T102" fmla="*/ 567 w 866"/>
                <a:gd name="T103" fmla="*/ 401 h 880"/>
                <a:gd name="T104" fmla="*/ 522 w 866"/>
                <a:gd name="T105" fmla="*/ 397 h 880"/>
                <a:gd name="T106" fmla="*/ 501 w 866"/>
                <a:gd name="T107" fmla="*/ 348 h 880"/>
                <a:gd name="T108" fmla="*/ 459 w 866"/>
                <a:gd name="T109" fmla="*/ 297 h 880"/>
                <a:gd name="T110" fmla="*/ 424 w 866"/>
                <a:gd name="T111" fmla="*/ 261 h 880"/>
                <a:gd name="T112" fmla="*/ 424 w 866"/>
                <a:gd name="T113" fmla="*/ 208 h 880"/>
                <a:gd name="T114" fmla="*/ 428 w 866"/>
                <a:gd name="T115" fmla="*/ 178 h 880"/>
                <a:gd name="T116" fmla="*/ 442 w 866"/>
                <a:gd name="T117" fmla="*/ 185 h 880"/>
                <a:gd name="T118" fmla="*/ 441 w 866"/>
                <a:gd name="T119" fmla="*/ 161 h 880"/>
                <a:gd name="T120" fmla="*/ 457 w 866"/>
                <a:gd name="T121" fmla="*/ 131 h 8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6" h="880">
                  <a:moveTo>
                    <a:pt x="477" y="109"/>
                  </a:moveTo>
                  <a:lnTo>
                    <a:pt x="475" y="106"/>
                  </a:lnTo>
                  <a:lnTo>
                    <a:pt x="474" y="105"/>
                  </a:lnTo>
                  <a:lnTo>
                    <a:pt x="472" y="103"/>
                  </a:lnTo>
                  <a:lnTo>
                    <a:pt x="472" y="99"/>
                  </a:lnTo>
                  <a:lnTo>
                    <a:pt x="469" y="98"/>
                  </a:lnTo>
                  <a:lnTo>
                    <a:pt x="468" y="95"/>
                  </a:lnTo>
                  <a:lnTo>
                    <a:pt x="467" y="92"/>
                  </a:lnTo>
                  <a:lnTo>
                    <a:pt x="467" y="92"/>
                  </a:lnTo>
                  <a:lnTo>
                    <a:pt x="462" y="89"/>
                  </a:lnTo>
                  <a:lnTo>
                    <a:pt x="461" y="88"/>
                  </a:lnTo>
                  <a:lnTo>
                    <a:pt x="459" y="85"/>
                  </a:lnTo>
                  <a:lnTo>
                    <a:pt x="458" y="82"/>
                  </a:lnTo>
                  <a:lnTo>
                    <a:pt x="455" y="79"/>
                  </a:lnTo>
                  <a:lnTo>
                    <a:pt x="454" y="78"/>
                  </a:lnTo>
                  <a:lnTo>
                    <a:pt x="454" y="76"/>
                  </a:lnTo>
                  <a:lnTo>
                    <a:pt x="455" y="73"/>
                  </a:lnTo>
                  <a:lnTo>
                    <a:pt x="455" y="73"/>
                  </a:lnTo>
                  <a:lnTo>
                    <a:pt x="455" y="70"/>
                  </a:lnTo>
                  <a:lnTo>
                    <a:pt x="457" y="66"/>
                  </a:lnTo>
                  <a:lnTo>
                    <a:pt x="457" y="65"/>
                  </a:lnTo>
                  <a:lnTo>
                    <a:pt x="457" y="62"/>
                  </a:lnTo>
                  <a:lnTo>
                    <a:pt x="455" y="60"/>
                  </a:lnTo>
                  <a:lnTo>
                    <a:pt x="455" y="56"/>
                  </a:lnTo>
                  <a:lnTo>
                    <a:pt x="454" y="53"/>
                  </a:lnTo>
                  <a:lnTo>
                    <a:pt x="454" y="50"/>
                  </a:lnTo>
                  <a:lnTo>
                    <a:pt x="452" y="49"/>
                  </a:lnTo>
                  <a:lnTo>
                    <a:pt x="451" y="46"/>
                  </a:lnTo>
                  <a:lnTo>
                    <a:pt x="445" y="46"/>
                  </a:lnTo>
                  <a:lnTo>
                    <a:pt x="439" y="45"/>
                  </a:lnTo>
                  <a:lnTo>
                    <a:pt x="436" y="42"/>
                  </a:lnTo>
                  <a:lnTo>
                    <a:pt x="435" y="37"/>
                  </a:lnTo>
                  <a:lnTo>
                    <a:pt x="432" y="35"/>
                  </a:lnTo>
                  <a:lnTo>
                    <a:pt x="429" y="32"/>
                  </a:lnTo>
                  <a:lnTo>
                    <a:pt x="426" y="30"/>
                  </a:lnTo>
                  <a:lnTo>
                    <a:pt x="419" y="29"/>
                  </a:lnTo>
                  <a:lnTo>
                    <a:pt x="415" y="29"/>
                  </a:lnTo>
                  <a:lnTo>
                    <a:pt x="409" y="30"/>
                  </a:lnTo>
                  <a:lnTo>
                    <a:pt x="406" y="32"/>
                  </a:lnTo>
                  <a:lnTo>
                    <a:pt x="402" y="32"/>
                  </a:lnTo>
                  <a:lnTo>
                    <a:pt x="336" y="0"/>
                  </a:lnTo>
                  <a:lnTo>
                    <a:pt x="326" y="22"/>
                  </a:lnTo>
                  <a:lnTo>
                    <a:pt x="298" y="20"/>
                  </a:lnTo>
                  <a:lnTo>
                    <a:pt x="289" y="22"/>
                  </a:lnTo>
                  <a:lnTo>
                    <a:pt x="283" y="17"/>
                  </a:lnTo>
                  <a:lnTo>
                    <a:pt x="280" y="15"/>
                  </a:lnTo>
                  <a:lnTo>
                    <a:pt x="279" y="6"/>
                  </a:lnTo>
                  <a:lnTo>
                    <a:pt x="276" y="3"/>
                  </a:lnTo>
                  <a:lnTo>
                    <a:pt x="269" y="3"/>
                  </a:lnTo>
                  <a:lnTo>
                    <a:pt x="263" y="4"/>
                  </a:lnTo>
                  <a:lnTo>
                    <a:pt x="259" y="7"/>
                  </a:lnTo>
                  <a:lnTo>
                    <a:pt x="257" y="15"/>
                  </a:lnTo>
                  <a:lnTo>
                    <a:pt x="255" y="15"/>
                  </a:lnTo>
                  <a:lnTo>
                    <a:pt x="249" y="16"/>
                  </a:lnTo>
                  <a:lnTo>
                    <a:pt x="249" y="19"/>
                  </a:lnTo>
                  <a:lnTo>
                    <a:pt x="252" y="23"/>
                  </a:lnTo>
                  <a:lnTo>
                    <a:pt x="249" y="27"/>
                  </a:lnTo>
                  <a:lnTo>
                    <a:pt x="240" y="30"/>
                  </a:lnTo>
                  <a:lnTo>
                    <a:pt x="227" y="40"/>
                  </a:lnTo>
                  <a:lnTo>
                    <a:pt x="220" y="45"/>
                  </a:lnTo>
                  <a:lnTo>
                    <a:pt x="214" y="47"/>
                  </a:lnTo>
                  <a:lnTo>
                    <a:pt x="206" y="52"/>
                  </a:lnTo>
                  <a:lnTo>
                    <a:pt x="199" y="56"/>
                  </a:lnTo>
                  <a:lnTo>
                    <a:pt x="192" y="55"/>
                  </a:lnTo>
                  <a:lnTo>
                    <a:pt x="184" y="57"/>
                  </a:lnTo>
                  <a:lnTo>
                    <a:pt x="176" y="60"/>
                  </a:lnTo>
                  <a:lnTo>
                    <a:pt x="176" y="62"/>
                  </a:lnTo>
                  <a:lnTo>
                    <a:pt x="174" y="70"/>
                  </a:lnTo>
                  <a:lnTo>
                    <a:pt x="170" y="70"/>
                  </a:lnTo>
                  <a:lnTo>
                    <a:pt x="164" y="69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63" y="75"/>
                  </a:lnTo>
                  <a:lnTo>
                    <a:pt x="163" y="79"/>
                  </a:lnTo>
                  <a:lnTo>
                    <a:pt x="164" y="82"/>
                  </a:lnTo>
                  <a:lnTo>
                    <a:pt x="164" y="86"/>
                  </a:lnTo>
                  <a:lnTo>
                    <a:pt x="163" y="90"/>
                  </a:lnTo>
                  <a:lnTo>
                    <a:pt x="163" y="95"/>
                  </a:lnTo>
                  <a:lnTo>
                    <a:pt x="167" y="100"/>
                  </a:lnTo>
                  <a:lnTo>
                    <a:pt x="169" y="103"/>
                  </a:lnTo>
                  <a:lnTo>
                    <a:pt x="167" y="105"/>
                  </a:lnTo>
                  <a:lnTo>
                    <a:pt x="163" y="106"/>
                  </a:lnTo>
                  <a:lnTo>
                    <a:pt x="160" y="106"/>
                  </a:lnTo>
                  <a:lnTo>
                    <a:pt x="157" y="103"/>
                  </a:lnTo>
                  <a:lnTo>
                    <a:pt x="153" y="102"/>
                  </a:lnTo>
                  <a:lnTo>
                    <a:pt x="149" y="105"/>
                  </a:lnTo>
                  <a:lnTo>
                    <a:pt x="146" y="106"/>
                  </a:lnTo>
                  <a:lnTo>
                    <a:pt x="143" y="108"/>
                  </a:lnTo>
                  <a:lnTo>
                    <a:pt x="137" y="112"/>
                  </a:lnTo>
                  <a:lnTo>
                    <a:pt x="134" y="118"/>
                  </a:lnTo>
                  <a:lnTo>
                    <a:pt x="133" y="122"/>
                  </a:lnTo>
                  <a:lnTo>
                    <a:pt x="136" y="126"/>
                  </a:lnTo>
                  <a:lnTo>
                    <a:pt x="141" y="129"/>
                  </a:lnTo>
                  <a:lnTo>
                    <a:pt x="141" y="135"/>
                  </a:lnTo>
                  <a:lnTo>
                    <a:pt x="139" y="139"/>
                  </a:lnTo>
                  <a:lnTo>
                    <a:pt x="133" y="143"/>
                  </a:lnTo>
                  <a:lnTo>
                    <a:pt x="127" y="146"/>
                  </a:lnTo>
                  <a:lnTo>
                    <a:pt x="130" y="139"/>
                  </a:lnTo>
                  <a:lnTo>
                    <a:pt x="130" y="132"/>
                  </a:lnTo>
                  <a:lnTo>
                    <a:pt x="124" y="136"/>
                  </a:lnTo>
                  <a:lnTo>
                    <a:pt x="116" y="143"/>
                  </a:lnTo>
                  <a:lnTo>
                    <a:pt x="110" y="142"/>
                  </a:lnTo>
                  <a:lnTo>
                    <a:pt x="103" y="139"/>
                  </a:lnTo>
                  <a:lnTo>
                    <a:pt x="97" y="142"/>
                  </a:lnTo>
                  <a:lnTo>
                    <a:pt x="94" y="149"/>
                  </a:lnTo>
                  <a:lnTo>
                    <a:pt x="90" y="151"/>
                  </a:lnTo>
                  <a:lnTo>
                    <a:pt x="86" y="149"/>
                  </a:lnTo>
                  <a:lnTo>
                    <a:pt x="81" y="143"/>
                  </a:lnTo>
                  <a:lnTo>
                    <a:pt x="78" y="146"/>
                  </a:lnTo>
                  <a:lnTo>
                    <a:pt x="78" y="152"/>
                  </a:lnTo>
                  <a:lnTo>
                    <a:pt x="78" y="158"/>
                  </a:lnTo>
                  <a:lnTo>
                    <a:pt x="73" y="156"/>
                  </a:lnTo>
                  <a:lnTo>
                    <a:pt x="70" y="148"/>
                  </a:lnTo>
                  <a:lnTo>
                    <a:pt x="57" y="141"/>
                  </a:lnTo>
                  <a:lnTo>
                    <a:pt x="51" y="136"/>
                  </a:lnTo>
                  <a:lnTo>
                    <a:pt x="47" y="126"/>
                  </a:lnTo>
                  <a:lnTo>
                    <a:pt x="38" y="126"/>
                  </a:lnTo>
                  <a:lnTo>
                    <a:pt x="35" y="129"/>
                  </a:lnTo>
                  <a:lnTo>
                    <a:pt x="28" y="129"/>
                  </a:lnTo>
                  <a:lnTo>
                    <a:pt x="25" y="131"/>
                  </a:lnTo>
                  <a:lnTo>
                    <a:pt x="21" y="131"/>
                  </a:lnTo>
                  <a:lnTo>
                    <a:pt x="14" y="131"/>
                  </a:lnTo>
                  <a:lnTo>
                    <a:pt x="13" y="131"/>
                  </a:lnTo>
                  <a:lnTo>
                    <a:pt x="13" y="132"/>
                  </a:lnTo>
                  <a:lnTo>
                    <a:pt x="11" y="136"/>
                  </a:lnTo>
                  <a:lnTo>
                    <a:pt x="11" y="138"/>
                  </a:lnTo>
                  <a:lnTo>
                    <a:pt x="13" y="139"/>
                  </a:lnTo>
                  <a:lnTo>
                    <a:pt x="14" y="142"/>
                  </a:lnTo>
                  <a:lnTo>
                    <a:pt x="17" y="145"/>
                  </a:lnTo>
                  <a:lnTo>
                    <a:pt x="15" y="148"/>
                  </a:lnTo>
                  <a:lnTo>
                    <a:pt x="13" y="148"/>
                  </a:lnTo>
                  <a:lnTo>
                    <a:pt x="13" y="146"/>
                  </a:lnTo>
                  <a:lnTo>
                    <a:pt x="8" y="146"/>
                  </a:lnTo>
                  <a:lnTo>
                    <a:pt x="8" y="151"/>
                  </a:lnTo>
                  <a:lnTo>
                    <a:pt x="10" y="153"/>
                  </a:lnTo>
                  <a:lnTo>
                    <a:pt x="11" y="156"/>
                  </a:lnTo>
                  <a:lnTo>
                    <a:pt x="13" y="162"/>
                  </a:lnTo>
                  <a:lnTo>
                    <a:pt x="15" y="165"/>
                  </a:lnTo>
                  <a:lnTo>
                    <a:pt x="15" y="168"/>
                  </a:lnTo>
                  <a:lnTo>
                    <a:pt x="14" y="171"/>
                  </a:lnTo>
                  <a:lnTo>
                    <a:pt x="13" y="171"/>
                  </a:lnTo>
                  <a:lnTo>
                    <a:pt x="3" y="175"/>
                  </a:lnTo>
                  <a:lnTo>
                    <a:pt x="0" y="178"/>
                  </a:lnTo>
                  <a:lnTo>
                    <a:pt x="0" y="184"/>
                  </a:lnTo>
                  <a:lnTo>
                    <a:pt x="4" y="184"/>
                  </a:lnTo>
                  <a:lnTo>
                    <a:pt x="11" y="184"/>
                  </a:lnTo>
                  <a:lnTo>
                    <a:pt x="5" y="192"/>
                  </a:lnTo>
                  <a:lnTo>
                    <a:pt x="5" y="194"/>
                  </a:lnTo>
                  <a:lnTo>
                    <a:pt x="8" y="195"/>
                  </a:lnTo>
                  <a:lnTo>
                    <a:pt x="11" y="195"/>
                  </a:lnTo>
                  <a:lnTo>
                    <a:pt x="18" y="196"/>
                  </a:lnTo>
                  <a:lnTo>
                    <a:pt x="20" y="196"/>
                  </a:lnTo>
                  <a:lnTo>
                    <a:pt x="23" y="201"/>
                  </a:lnTo>
                  <a:lnTo>
                    <a:pt x="24" y="202"/>
                  </a:lnTo>
                  <a:lnTo>
                    <a:pt x="25" y="208"/>
                  </a:lnTo>
                  <a:lnTo>
                    <a:pt x="25" y="211"/>
                  </a:lnTo>
                  <a:lnTo>
                    <a:pt x="25" y="214"/>
                  </a:lnTo>
                  <a:lnTo>
                    <a:pt x="27" y="216"/>
                  </a:lnTo>
                  <a:lnTo>
                    <a:pt x="31" y="216"/>
                  </a:lnTo>
                  <a:lnTo>
                    <a:pt x="33" y="219"/>
                  </a:lnTo>
                  <a:lnTo>
                    <a:pt x="33" y="221"/>
                  </a:lnTo>
                  <a:lnTo>
                    <a:pt x="31" y="224"/>
                  </a:lnTo>
                  <a:lnTo>
                    <a:pt x="30" y="229"/>
                  </a:lnTo>
                  <a:lnTo>
                    <a:pt x="21" y="232"/>
                  </a:lnTo>
                  <a:lnTo>
                    <a:pt x="18" y="239"/>
                  </a:lnTo>
                  <a:lnTo>
                    <a:pt x="18" y="244"/>
                  </a:lnTo>
                  <a:lnTo>
                    <a:pt x="18" y="247"/>
                  </a:lnTo>
                  <a:lnTo>
                    <a:pt x="23" y="251"/>
                  </a:lnTo>
                  <a:lnTo>
                    <a:pt x="27" y="252"/>
                  </a:lnTo>
                  <a:lnTo>
                    <a:pt x="30" y="254"/>
                  </a:lnTo>
                  <a:lnTo>
                    <a:pt x="31" y="258"/>
                  </a:lnTo>
                  <a:lnTo>
                    <a:pt x="28" y="261"/>
                  </a:lnTo>
                  <a:lnTo>
                    <a:pt x="25" y="265"/>
                  </a:lnTo>
                  <a:lnTo>
                    <a:pt x="21" y="268"/>
                  </a:lnTo>
                  <a:lnTo>
                    <a:pt x="20" y="269"/>
                  </a:lnTo>
                  <a:lnTo>
                    <a:pt x="18" y="275"/>
                  </a:lnTo>
                  <a:lnTo>
                    <a:pt x="17" y="278"/>
                  </a:lnTo>
                  <a:lnTo>
                    <a:pt x="13" y="278"/>
                  </a:lnTo>
                  <a:lnTo>
                    <a:pt x="13" y="279"/>
                  </a:lnTo>
                  <a:lnTo>
                    <a:pt x="11" y="281"/>
                  </a:lnTo>
                  <a:lnTo>
                    <a:pt x="10" y="288"/>
                  </a:lnTo>
                  <a:lnTo>
                    <a:pt x="10" y="291"/>
                  </a:lnTo>
                  <a:lnTo>
                    <a:pt x="13" y="294"/>
                  </a:lnTo>
                  <a:lnTo>
                    <a:pt x="15" y="297"/>
                  </a:lnTo>
                  <a:lnTo>
                    <a:pt x="18" y="300"/>
                  </a:lnTo>
                  <a:lnTo>
                    <a:pt x="18" y="304"/>
                  </a:lnTo>
                  <a:lnTo>
                    <a:pt x="20" y="305"/>
                  </a:lnTo>
                  <a:lnTo>
                    <a:pt x="21" y="304"/>
                  </a:lnTo>
                  <a:lnTo>
                    <a:pt x="24" y="301"/>
                  </a:lnTo>
                  <a:lnTo>
                    <a:pt x="25" y="300"/>
                  </a:lnTo>
                  <a:lnTo>
                    <a:pt x="28" y="300"/>
                  </a:lnTo>
                  <a:lnTo>
                    <a:pt x="30" y="300"/>
                  </a:lnTo>
                  <a:lnTo>
                    <a:pt x="33" y="302"/>
                  </a:lnTo>
                  <a:lnTo>
                    <a:pt x="34" y="304"/>
                  </a:lnTo>
                  <a:lnTo>
                    <a:pt x="35" y="304"/>
                  </a:lnTo>
                  <a:lnTo>
                    <a:pt x="38" y="304"/>
                  </a:lnTo>
                  <a:lnTo>
                    <a:pt x="41" y="302"/>
                  </a:lnTo>
                  <a:lnTo>
                    <a:pt x="44" y="304"/>
                  </a:lnTo>
                  <a:lnTo>
                    <a:pt x="48" y="304"/>
                  </a:lnTo>
                  <a:lnTo>
                    <a:pt x="53" y="304"/>
                  </a:lnTo>
                  <a:lnTo>
                    <a:pt x="51" y="304"/>
                  </a:lnTo>
                  <a:lnTo>
                    <a:pt x="56" y="302"/>
                  </a:lnTo>
                  <a:lnTo>
                    <a:pt x="57" y="302"/>
                  </a:lnTo>
                  <a:lnTo>
                    <a:pt x="60" y="305"/>
                  </a:lnTo>
                  <a:lnTo>
                    <a:pt x="61" y="307"/>
                  </a:lnTo>
                  <a:lnTo>
                    <a:pt x="64" y="308"/>
                  </a:lnTo>
                  <a:lnTo>
                    <a:pt x="67" y="310"/>
                  </a:lnTo>
                  <a:lnTo>
                    <a:pt x="70" y="307"/>
                  </a:lnTo>
                  <a:lnTo>
                    <a:pt x="71" y="305"/>
                  </a:lnTo>
                  <a:lnTo>
                    <a:pt x="73" y="301"/>
                  </a:lnTo>
                  <a:lnTo>
                    <a:pt x="76" y="297"/>
                  </a:lnTo>
                  <a:lnTo>
                    <a:pt x="77" y="298"/>
                  </a:lnTo>
                  <a:lnTo>
                    <a:pt x="81" y="300"/>
                  </a:lnTo>
                  <a:lnTo>
                    <a:pt x="83" y="301"/>
                  </a:lnTo>
                  <a:lnTo>
                    <a:pt x="84" y="302"/>
                  </a:lnTo>
                  <a:lnTo>
                    <a:pt x="87" y="305"/>
                  </a:lnTo>
                  <a:lnTo>
                    <a:pt x="88" y="307"/>
                  </a:lnTo>
                  <a:lnTo>
                    <a:pt x="90" y="308"/>
                  </a:lnTo>
                  <a:lnTo>
                    <a:pt x="91" y="310"/>
                  </a:lnTo>
                  <a:lnTo>
                    <a:pt x="91" y="311"/>
                  </a:lnTo>
                  <a:lnTo>
                    <a:pt x="96" y="314"/>
                  </a:lnTo>
                  <a:lnTo>
                    <a:pt x="94" y="320"/>
                  </a:lnTo>
                  <a:lnTo>
                    <a:pt x="94" y="320"/>
                  </a:lnTo>
                  <a:lnTo>
                    <a:pt x="88" y="331"/>
                  </a:lnTo>
                  <a:lnTo>
                    <a:pt x="88" y="331"/>
                  </a:lnTo>
                  <a:lnTo>
                    <a:pt x="84" y="341"/>
                  </a:lnTo>
                  <a:lnTo>
                    <a:pt x="84" y="341"/>
                  </a:lnTo>
                  <a:lnTo>
                    <a:pt x="83" y="345"/>
                  </a:lnTo>
                  <a:lnTo>
                    <a:pt x="81" y="351"/>
                  </a:lnTo>
                  <a:lnTo>
                    <a:pt x="81" y="351"/>
                  </a:lnTo>
                  <a:lnTo>
                    <a:pt x="80" y="357"/>
                  </a:lnTo>
                  <a:lnTo>
                    <a:pt x="78" y="361"/>
                  </a:lnTo>
                  <a:lnTo>
                    <a:pt x="78" y="361"/>
                  </a:lnTo>
                  <a:lnTo>
                    <a:pt x="76" y="365"/>
                  </a:lnTo>
                  <a:lnTo>
                    <a:pt x="74" y="370"/>
                  </a:lnTo>
                  <a:lnTo>
                    <a:pt x="74" y="370"/>
                  </a:lnTo>
                  <a:lnTo>
                    <a:pt x="73" y="374"/>
                  </a:lnTo>
                  <a:lnTo>
                    <a:pt x="73" y="380"/>
                  </a:lnTo>
                  <a:lnTo>
                    <a:pt x="73" y="380"/>
                  </a:lnTo>
                  <a:lnTo>
                    <a:pt x="73" y="383"/>
                  </a:lnTo>
                  <a:lnTo>
                    <a:pt x="73" y="387"/>
                  </a:lnTo>
                  <a:lnTo>
                    <a:pt x="73" y="387"/>
                  </a:lnTo>
                  <a:lnTo>
                    <a:pt x="74" y="388"/>
                  </a:lnTo>
                  <a:lnTo>
                    <a:pt x="76" y="390"/>
                  </a:lnTo>
                  <a:lnTo>
                    <a:pt x="81" y="390"/>
                  </a:lnTo>
                  <a:lnTo>
                    <a:pt x="86" y="388"/>
                  </a:lnTo>
                  <a:lnTo>
                    <a:pt x="88" y="387"/>
                  </a:lnTo>
                  <a:lnTo>
                    <a:pt x="88" y="387"/>
                  </a:lnTo>
                  <a:lnTo>
                    <a:pt x="93" y="384"/>
                  </a:lnTo>
                  <a:lnTo>
                    <a:pt x="97" y="383"/>
                  </a:lnTo>
                  <a:lnTo>
                    <a:pt x="100" y="383"/>
                  </a:lnTo>
                  <a:lnTo>
                    <a:pt x="101" y="385"/>
                  </a:lnTo>
                  <a:lnTo>
                    <a:pt x="101" y="391"/>
                  </a:lnTo>
                  <a:lnTo>
                    <a:pt x="103" y="394"/>
                  </a:lnTo>
                  <a:lnTo>
                    <a:pt x="104" y="395"/>
                  </a:lnTo>
                  <a:lnTo>
                    <a:pt x="109" y="394"/>
                  </a:lnTo>
                  <a:lnTo>
                    <a:pt x="111" y="393"/>
                  </a:lnTo>
                  <a:lnTo>
                    <a:pt x="117" y="390"/>
                  </a:lnTo>
                  <a:lnTo>
                    <a:pt x="120" y="390"/>
                  </a:lnTo>
                  <a:lnTo>
                    <a:pt x="121" y="395"/>
                  </a:lnTo>
                  <a:lnTo>
                    <a:pt x="143" y="418"/>
                  </a:lnTo>
                  <a:lnTo>
                    <a:pt x="143" y="420"/>
                  </a:lnTo>
                  <a:lnTo>
                    <a:pt x="147" y="420"/>
                  </a:lnTo>
                  <a:lnTo>
                    <a:pt x="151" y="420"/>
                  </a:lnTo>
                  <a:lnTo>
                    <a:pt x="153" y="421"/>
                  </a:lnTo>
                  <a:lnTo>
                    <a:pt x="157" y="424"/>
                  </a:lnTo>
                  <a:lnTo>
                    <a:pt x="159" y="426"/>
                  </a:lnTo>
                  <a:lnTo>
                    <a:pt x="160" y="428"/>
                  </a:lnTo>
                  <a:lnTo>
                    <a:pt x="161" y="433"/>
                  </a:lnTo>
                  <a:lnTo>
                    <a:pt x="161" y="436"/>
                  </a:lnTo>
                  <a:lnTo>
                    <a:pt x="161" y="440"/>
                  </a:lnTo>
                  <a:lnTo>
                    <a:pt x="163" y="444"/>
                  </a:lnTo>
                  <a:lnTo>
                    <a:pt x="164" y="447"/>
                  </a:lnTo>
                  <a:lnTo>
                    <a:pt x="164" y="450"/>
                  </a:lnTo>
                  <a:lnTo>
                    <a:pt x="166" y="451"/>
                  </a:lnTo>
                  <a:lnTo>
                    <a:pt x="170" y="453"/>
                  </a:lnTo>
                  <a:lnTo>
                    <a:pt x="170" y="454"/>
                  </a:lnTo>
                  <a:lnTo>
                    <a:pt x="173" y="453"/>
                  </a:lnTo>
                  <a:lnTo>
                    <a:pt x="176" y="450"/>
                  </a:lnTo>
                  <a:lnTo>
                    <a:pt x="180" y="447"/>
                  </a:lnTo>
                  <a:lnTo>
                    <a:pt x="183" y="446"/>
                  </a:lnTo>
                  <a:lnTo>
                    <a:pt x="184" y="451"/>
                  </a:lnTo>
                  <a:lnTo>
                    <a:pt x="187" y="454"/>
                  </a:lnTo>
                  <a:lnTo>
                    <a:pt x="189" y="456"/>
                  </a:lnTo>
                  <a:lnTo>
                    <a:pt x="190" y="454"/>
                  </a:lnTo>
                  <a:lnTo>
                    <a:pt x="193" y="451"/>
                  </a:lnTo>
                  <a:lnTo>
                    <a:pt x="193" y="444"/>
                  </a:lnTo>
                  <a:lnTo>
                    <a:pt x="194" y="440"/>
                  </a:lnTo>
                  <a:lnTo>
                    <a:pt x="196" y="434"/>
                  </a:lnTo>
                  <a:lnTo>
                    <a:pt x="196" y="430"/>
                  </a:lnTo>
                  <a:lnTo>
                    <a:pt x="197" y="427"/>
                  </a:lnTo>
                  <a:lnTo>
                    <a:pt x="202" y="427"/>
                  </a:lnTo>
                  <a:lnTo>
                    <a:pt x="203" y="430"/>
                  </a:lnTo>
                  <a:lnTo>
                    <a:pt x="203" y="433"/>
                  </a:lnTo>
                  <a:lnTo>
                    <a:pt x="203" y="436"/>
                  </a:lnTo>
                  <a:lnTo>
                    <a:pt x="203" y="438"/>
                  </a:lnTo>
                  <a:lnTo>
                    <a:pt x="204" y="440"/>
                  </a:lnTo>
                  <a:lnTo>
                    <a:pt x="210" y="441"/>
                  </a:lnTo>
                  <a:lnTo>
                    <a:pt x="213" y="443"/>
                  </a:lnTo>
                  <a:lnTo>
                    <a:pt x="213" y="444"/>
                  </a:lnTo>
                  <a:lnTo>
                    <a:pt x="213" y="447"/>
                  </a:lnTo>
                  <a:lnTo>
                    <a:pt x="214" y="450"/>
                  </a:lnTo>
                  <a:lnTo>
                    <a:pt x="214" y="456"/>
                  </a:lnTo>
                  <a:lnTo>
                    <a:pt x="214" y="458"/>
                  </a:lnTo>
                  <a:lnTo>
                    <a:pt x="214" y="460"/>
                  </a:lnTo>
                  <a:lnTo>
                    <a:pt x="214" y="463"/>
                  </a:lnTo>
                  <a:lnTo>
                    <a:pt x="213" y="464"/>
                  </a:lnTo>
                  <a:lnTo>
                    <a:pt x="214" y="467"/>
                  </a:lnTo>
                  <a:lnTo>
                    <a:pt x="217" y="469"/>
                  </a:lnTo>
                  <a:lnTo>
                    <a:pt x="219" y="471"/>
                  </a:lnTo>
                  <a:lnTo>
                    <a:pt x="219" y="471"/>
                  </a:lnTo>
                  <a:lnTo>
                    <a:pt x="226" y="474"/>
                  </a:lnTo>
                  <a:lnTo>
                    <a:pt x="230" y="479"/>
                  </a:lnTo>
                  <a:lnTo>
                    <a:pt x="232" y="480"/>
                  </a:lnTo>
                  <a:lnTo>
                    <a:pt x="232" y="484"/>
                  </a:lnTo>
                  <a:lnTo>
                    <a:pt x="227" y="487"/>
                  </a:lnTo>
                  <a:lnTo>
                    <a:pt x="226" y="489"/>
                  </a:lnTo>
                  <a:lnTo>
                    <a:pt x="225" y="491"/>
                  </a:lnTo>
                  <a:lnTo>
                    <a:pt x="226" y="499"/>
                  </a:lnTo>
                  <a:lnTo>
                    <a:pt x="226" y="504"/>
                  </a:lnTo>
                  <a:lnTo>
                    <a:pt x="227" y="504"/>
                  </a:lnTo>
                  <a:lnTo>
                    <a:pt x="229" y="510"/>
                  </a:lnTo>
                  <a:lnTo>
                    <a:pt x="226" y="517"/>
                  </a:lnTo>
                  <a:lnTo>
                    <a:pt x="226" y="522"/>
                  </a:lnTo>
                  <a:lnTo>
                    <a:pt x="223" y="524"/>
                  </a:lnTo>
                  <a:lnTo>
                    <a:pt x="223" y="526"/>
                  </a:lnTo>
                  <a:lnTo>
                    <a:pt x="223" y="533"/>
                  </a:lnTo>
                  <a:lnTo>
                    <a:pt x="220" y="536"/>
                  </a:lnTo>
                  <a:lnTo>
                    <a:pt x="214" y="536"/>
                  </a:lnTo>
                  <a:lnTo>
                    <a:pt x="213" y="537"/>
                  </a:lnTo>
                  <a:lnTo>
                    <a:pt x="214" y="542"/>
                  </a:lnTo>
                  <a:lnTo>
                    <a:pt x="216" y="544"/>
                  </a:lnTo>
                  <a:lnTo>
                    <a:pt x="213" y="550"/>
                  </a:lnTo>
                  <a:lnTo>
                    <a:pt x="213" y="553"/>
                  </a:lnTo>
                  <a:lnTo>
                    <a:pt x="219" y="562"/>
                  </a:lnTo>
                  <a:lnTo>
                    <a:pt x="226" y="564"/>
                  </a:lnTo>
                  <a:lnTo>
                    <a:pt x="226" y="567"/>
                  </a:lnTo>
                  <a:lnTo>
                    <a:pt x="227" y="570"/>
                  </a:lnTo>
                  <a:lnTo>
                    <a:pt x="230" y="575"/>
                  </a:lnTo>
                  <a:lnTo>
                    <a:pt x="235" y="580"/>
                  </a:lnTo>
                  <a:lnTo>
                    <a:pt x="240" y="582"/>
                  </a:lnTo>
                  <a:lnTo>
                    <a:pt x="243" y="583"/>
                  </a:lnTo>
                  <a:lnTo>
                    <a:pt x="247" y="586"/>
                  </a:lnTo>
                  <a:lnTo>
                    <a:pt x="247" y="590"/>
                  </a:lnTo>
                  <a:lnTo>
                    <a:pt x="249" y="599"/>
                  </a:lnTo>
                  <a:lnTo>
                    <a:pt x="250" y="599"/>
                  </a:lnTo>
                  <a:lnTo>
                    <a:pt x="250" y="597"/>
                  </a:lnTo>
                  <a:lnTo>
                    <a:pt x="253" y="597"/>
                  </a:lnTo>
                  <a:lnTo>
                    <a:pt x="257" y="600"/>
                  </a:lnTo>
                  <a:lnTo>
                    <a:pt x="260" y="605"/>
                  </a:lnTo>
                  <a:lnTo>
                    <a:pt x="265" y="605"/>
                  </a:lnTo>
                  <a:lnTo>
                    <a:pt x="269" y="606"/>
                  </a:lnTo>
                  <a:lnTo>
                    <a:pt x="275" y="609"/>
                  </a:lnTo>
                  <a:lnTo>
                    <a:pt x="286" y="609"/>
                  </a:lnTo>
                  <a:lnTo>
                    <a:pt x="295" y="596"/>
                  </a:lnTo>
                  <a:lnTo>
                    <a:pt x="298" y="590"/>
                  </a:lnTo>
                  <a:lnTo>
                    <a:pt x="300" y="590"/>
                  </a:lnTo>
                  <a:lnTo>
                    <a:pt x="303" y="595"/>
                  </a:lnTo>
                  <a:lnTo>
                    <a:pt x="309" y="593"/>
                  </a:lnTo>
                  <a:lnTo>
                    <a:pt x="310" y="585"/>
                  </a:lnTo>
                  <a:lnTo>
                    <a:pt x="316" y="579"/>
                  </a:lnTo>
                  <a:lnTo>
                    <a:pt x="319" y="580"/>
                  </a:lnTo>
                  <a:lnTo>
                    <a:pt x="322" y="580"/>
                  </a:lnTo>
                  <a:lnTo>
                    <a:pt x="323" y="586"/>
                  </a:lnTo>
                  <a:lnTo>
                    <a:pt x="326" y="589"/>
                  </a:lnTo>
                  <a:lnTo>
                    <a:pt x="329" y="589"/>
                  </a:lnTo>
                  <a:lnTo>
                    <a:pt x="338" y="590"/>
                  </a:lnTo>
                  <a:lnTo>
                    <a:pt x="343" y="595"/>
                  </a:lnTo>
                  <a:lnTo>
                    <a:pt x="353" y="597"/>
                  </a:lnTo>
                  <a:lnTo>
                    <a:pt x="358" y="599"/>
                  </a:lnTo>
                  <a:lnTo>
                    <a:pt x="362" y="597"/>
                  </a:lnTo>
                  <a:lnTo>
                    <a:pt x="365" y="600"/>
                  </a:lnTo>
                  <a:lnTo>
                    <a:pt x="366" y="603"/>
                  </a:lnTo>
                  <a:lnTo>
                    <a:pt x="371" y="609"/>
                  </a:lnTo>
                  <a:lnTo>
                    <a:pt x="373" y="609"/>
                  </a:lnTo>
                  <a:lnTo>
                    <a:pt x="381" y="616"/>
                  </a:lnTo>
                  <a:lnTo>
                    <a:pt x="386" y="617"/>
                  </a:lnTo>
                  <a:lnTo>
                    <a:pt x="391" y="615"/>
                  </a:lnTo>
                  <a:lnTo>
                    <a:pt x="394" y="615"/>
                  </a:lnTo>
                  <a:lnTo>
                    <a:pt x="395" y="610"/>
                  </a:lnTo>
                  <a:lnTo>
                    <a:pt x="395" y="607"/>
                  </a:lnTo>
                  <a:lnTo>
                    <a:pt x="396" y="602"/>
                  </a:lnTo>
                  <a:lnTo>
                    <a:pt x="396" y="597"/>
                  </a:lnTo>
                  <a:lnTo>
                    <a:pt x="398" y="596"/>
                  </a:lnTo>
                  <a:lnTo>
                    <a:pt x="398" y="593"/>
                  </a:lnTo>
                  <a:lnTo>
                    <a:pt x="401" y="593"/>
                  </a:lnTo>
                  <a:lnTo>
                    <a:pt x="402" y="593"/>
                  </a:lnTo>
                  <a:lnTo>
                    <a:pt x="405" y="593"/>
                  </a:lnTo>
                  <a:lnTo>
                    <a:pt x="408" y="590"/>
                  </a:lnTo>
                  <a:lnTo>
                    <a:pt x="411" y="589"/>
                  </a:lnTo>
                  <a:lnTo>
                    <a:pt x="412" y="586"/>
                  </a:lnTo>
                  <a:lnTo>
                    <a:pt x="418" y="585"/>
                  </a:lnTo>
                  <a:lnTo>
                    <a:pt x="421" y="585"/>
                  </a:lnTo>
                  <a:lnTo>
                    <a:pt x="422" y="586"/>
                  </a:lnTo>
                  <a:lnTo>
                    <a:pt x="424" y="590"/>
                  </a:lnTo>
                  <a:lnTo>
                    <a:pt x="424" y="593"/>
                  </a:lnTo>
                  <a:lnTo>
                    <a:pt x="424" y="595"/>
                  </a:lnTo>
                  <a:lnTo>
                    <a:pt x="424" y="599"/>
                  </a:lnTo>
                  <a:lnTo>
                    <a:pt x="424" y="600"/>
                  </a:lnTo>
                  <a:lnTo>
                    <a:pt x="424" y="603"/>
                  </a:lnTo>
                  <a:lnTo>
                    <a:pt x="419" y="605"/>
                  </a:lnTo>
                  <a:lnTo>
                    <a:pt x="418" y="607"/>
                  </a:lnTo>
                  <a:lnTo>
                    <a:pt x="418" y="610"/>
                  </a:lnTo>
                  <a:lnTo>
                    <a:pt x="415" y="612"/>
                  </a:lnTo>
                  <a:lnTo>
                    <a:pt x="415" y="615"/>
                  </a:lnTo>
                  <a:lnTo>
                    <a:pt x="414" y="619"/>
                  </a:lnTo>
                  <a:lnTo>
                    <a:pt x="414" y="622"/>
                  </a:lnTo>
                  <a:lnTo>
                    <a:pt x="416" y="622"/>
                  </a:lnTo>
                  <a:lnTo>
                    <a:pt x="421" y="622"/>
                  </a:lnTo>
                  <a:lnTo>
                    <a:pt x="424" y="622"/>
                  </a:lnTo>
                  <a:lnTo>
                    <a:pt x="426" y="623"/>
                  </a:lnTo>
                  <a:lnTo>
                    <a:pt x="428" y="625"/>
                  </a:lnTo>
                  <a:lnTo>
                    <a:pt x="429" y="627"/>
                  </a:lnTo>
                  <a:lnTo>
                    <a:pt x="429" y="627"/>
                  </a:lnTo>
                  <a:lnTo>
                    <a:pt x="431" y="630"/>
                  </a:lnTo>
                  <a:lnTo>
                    <a:pt x="432" y="632"/>
                  </a:lnTo>
                  <a:lnTo>
                    <a:pt x="436" y="635"/>
                  </a:lnTo>
                  <a:lnTo>
                    <a:pt x="438" y="638"/>
                  </a:lnTo>
                  <a:lnTo>
                    <a:pt x="436" y="640"/>
                  </a:lnTo>
                  <a:lnTo>
                    <a:pt x="435" y="642"/>
                  </a:lnTo>
                  <a:lnTo>
                    <a:pt x="434" y="643"/>
                  </a:lnTo>
                  <a:lnTo>
                    <a:pt x="432" y="660"/>
                  </a:lnTo>
                  <a:lnTo>
                    <a:pt x="432" y="665"/>
                  </a:lnTo>
                  <a:lnTo>
                    <a:pt x="441" y="669"/>
                  </a:lnTo>
                  <a:lnTo>
                    <a:pt x="454" y="673"/>
                  </a:lnTo>
                  <a:lnTo>
                    <a:pt x="459" y="675"/>
                  </a:lnTo>
                  <a:lnTo>
                    <a:pt x="459" y="679"/>
                  </a:lnTo>
                  <a:lnTo>
                    <a:pt x="461" y="685"/>
                  </a:lnTo>
                  <a:lnTo>
                    <a:pt x="464" y="689"/>
                  </a:lnTo>
                  <a:lnTo>
                    <a:pt x="465" y="691"/>
                  </a:lnTo>
                  <a:lnTo>
                    <a:pt x="468" y="689"/>
                  </a:lnTo>
                  <a:lnTo>
                    <a:pt x="469" y="685"/>
                  </a:lnTo>
                  <a:lnTo>
                    <a:pt x="472" y="685"/>
                  </a:lnTo>
                  <a:lnTo>
                    <a:pt x="477" y="686"/>
                  </a:lnTo>
                  <a:lnTo>
                    <a:pt x="478" y="689"/>
                  </a:lnTo>
                  <a:lnTo>
                    <a:pt x="479" y="693"/>
                  </a:lnTo>
                  <a:lnTo>
                    <a:pt x="479" y="695"/>
                  </a:lnTo>
                  <a:lnTo>
                    <a:pt x="477" y="701"/>
                  </a:lnTo>
                  <a:lnTo>
                    <a:pt x="475" y="705"/>
                  </a:lnTo>
                  <a:lnTo>
                    <a:pt x="475" y="706"/>
                  </a:lnTo>
                  <a:lnTo>
                    <a:pt x="481" y="706"/>
                  </a:lnTo>
                  <a:lnTo>
                    <a:pt x="484" y="705"/>
                  </a:lnTo>
                  <a:lnTo>
                    <a:pt x="488" y="706"/>
                  </a:lnTo>
                  <a:lnTo>
                    <a:pt x="492" y="706"/>
                  </a:lnTo>
                  <a:lnTo>
                    <a:pt x="494" y="709"/>
                  </a:lnTo>
                  <a:lnTo>
                    <a:pt x="494" y="713"/>
                  </a:lnTo>
                  <a:lnTo>
                    <a:pt x="492" y="718"/>
                  </a:lnTo>
                  <a:lnTo>
                    <a:pt x="491" y="722"/>
                  </a:lnTo>
                  <a:lnTo>
                    <a:pt x="492" y="726"/>
                  </a:lnTo>
                  <a:lnTo>
                    <a:pt x="492" y="733"/>
                  </a:lnTo>
                  <a:lnTo>
                    <a:pt x="498" y="736"/>
                  </a:lnTo>
                  <a:lnTo>
                    <a:pt x="502" y="736"/>
                  </a:lnTo>
                  <a:lnTo>
                    <a:pt x="505" y="739"/>
                  </a:lnTo>
                  <a:lnTo>
                    <a:pt x="505" y="742"/>
                  </a:lnTo>
                  <a:lnTo>
                    <a:pt x="504" y="746"/>
                  </a:lnTo>
                  <a:lnTo>
                    <a:pt x="504" y="749"/>
                  </a:lnTo>
                  <a:lnTo>
                    <a:pt x="507" y="754"/>
                  </a:lnTo>
                  <a:lnTo>
                    <a:pt x="508" y="755"/>
                  </a:lnTo>
                  <a:lnTo>
                    <a:pt x="507" y="758"/>
                  </a:lnTo>
                  <a:lnTo>
                    <a:pt x="507" y="764"/>
                  </a:lnTo>
                  <a:lnTo>
                    <a:pt x="511" y="764"/>
                  </a:lnTo>
                  <a:lnTo>
                    <a:pt x="515" y="764"/>
                  </a:lnTo>
                  <a:lnTo>
                    <a:pt x="517" y="768"/>
                  </a:lnTo>
                  <a:lnTo>
                    <a:pt x="520" y="772"/>
                  </a:lnTo>
                  <a:lnTo>
                    <a:pt x="522" y="775"/>
                  </a:lnTo>
                  <a:lnTo>
                    <a:pt x="527" y="781"/>
                  </a:lnTo>
                  <a:lnTo>
                    <a:pt x="531" y="786"/>
                  </a:lnTo>
                  <a:lnTo>
                    <a:pt x="534" y="791"/>
                  </a:lnTo>
                  <a:lnTo>
                    <a:pt x="537" y="794"/>
                  </a:lnTo>
                  <a:lnTo>
                    <a:pt x="544" y="802"/>
                  </a:lnTo>
                  <a:lnTo>
                    <a:pt x="550" y="807"/>
                  </a:lnTo>
                  <a:lnTo>
                    <a:pt x="551" y="808"/>
                  </a:lnTo>
                  <a:lnTo>
                    <a:pt x="555" y="804"/>
                  </a:lnTo>
                  <a:lnTo>
                    <a:pt x="561" y="811"/>
                  </a:lnTo>
                  <a:lnTo>
                    <a:pt x="570" y="821"/>
                  </a:lnTo>
                  <a:lnTo>
                    <a:pt x="571" y="822"/>
                  </a:lnTo>
                  <a:lnTo>
                    <a:pt x="574" y="821"/>
                  </a:lnTo>
                  <a:lnTo>
                    <a:pt x="583" y="834"/>
                  </a:lnTo>
                  <a:lnTo>
                    <a:pt x="591" y="842"/>
                  </a:lnTo>
                  <a:lnTo>
                    <a:pt x="593" y="847"/>
                  </a:lnTo>
                  <a:lnTo>
                    <a:pt x="594" y="852"/>
                  </a:lnTo>
                  <a:lnTo>
                    <a:pt x="595" y="855"/>
                  </a:lnTo>
                  <a:lnTo>
                    <a:pt x="598" y="858"/>
                  </a:lnTo>
                  <a:lnTo>
                    <a:pt x="603" y="858"/>
                  </a:lnTo>
                  <a:lnTo>
                    <a:pt x="608" y="854"/>
                  </a:lnTo>
                  <a:lnTo>
                    <a:pt x="613" y="852"/>
                  </a:lnTo>
                  <a:lnTo>
                    <a:pt x="616" y="849"/>
                  </a:lnTo>
                  <a:lnTo>
                    <a:pt x="618" y="847"/>
                  </a:lnTo>
                  <a:lnTo>
                    <a:pt x="623" y="844"/>
                  </a:lnTo>
                  <a:lnTo>
                    <a:pt x="624" y="848"/>
                  </a:lnTo>
                  <a:lnTo>
                    <a:pt x="627" y="851"/>
                  </a:lnTo>
                  <a:lnTo>
                    <a:pt x="630" y="855"/>
                  </a:lnTo>
                  <a:lnTo>
                    <a:pt x="631" y="860"/>
                  </a:lnTo>
                  <a:lnTo>
                    <a:pt x="634" y="857"/>
                  </a:lnTo>
                  <a:lnTo>
                    <a:pt x="637" y="854"/>
                  </a:lnTo>
                  <a:lnTo>
                    <a:pt x="638" y="855"/>
                  </a:lnTo>
                  <a:lnTo>
                    <a:pt x="643" y="860"/>
                  </a:lnTo>
                  <a:lnTo>
                    <a:pt x="646" y="864"/>
                  </a:lnTo>
                  <a:lnTo>
                    <a:pt x="650" y="865"/>
                  </a:lnTo>
                  <a:lnTo>
                    <a:pt x="651" y="865"/>
                  </a:lnTo>
                  <a:lnTo>
                    <a:pt x="654" y="861"/>
                  </a:lnTo>
                  <a:lnTo>
                    <a:pt x="657" y="860"/>
                  </a:lnTo>
                  <a:lnTo>
                    <a:pt x="660" y="858"/>
                  </a:lnTo>
                  <a:lnTo>
                    <a:pt x="661" y="854"/>
                  </a:lnTo>
                  <a:lnTo>
                    <a:pt x="667" y="849"/>
                  </a:lnTo>
                  <a:lnTo>
                    <a:pt x="679" y="839"/>
                  </a:lnTo>
                  <a:lnTo>
                    <a:pt x="686" y="847"/>
                  </a:lnTo>
                  <a:lnTo>
                    <a:pt x="689" y="849"/>
                  </a:lnTo>
                  <a:lnTo>
                    <a:pt x="689" y="851"/>
                  </a:lnTo>
                  <a:lnTo>
                    <a:pt x="690" y="855"/>
                  </a:lnTo>
                  <a:lnTo>
                    <a:pt x="691" y="858"/>
                  </a:lnTo>
                  <a:lnTo>
                    <a:pt x="694" y="861"/>
                  </a:lnTo>
                  <a:lnTo>
                    <a:pt x="697" y="860"/>
                  </a:lnTo>
                  <a:lnTo>
                    <a:pt x="701" y="860"/>
                  </a:lnTo>
                  <a:lnTo>
                    <a:pt x="704" y="864"/>
                  </a:lnTo>
                  <a:lnTo>
                    <a:pt x="706" y="865"/>
                  </a:lnTo>
                  <a:lnTo>
                    <a:pt x="707" y="867"/>
                  </a:lnTo>
                  <a:lnTo>
                    <a:pt x="710" y="870"/>
                  </a:lnTo>
                  <a:lnTo>
                    <a:pt x="711" y="874"/>
                  </a:lnTo>
                  <a:lnTo>
                    <a:pt x="714" y="877"/>
                  </a:lnTo>
                  <a:lnTo>
                    <a:pt x="716" y="880"/>
                  </a:lnTo>
                  <a:lnTo>
                    <a:pt x="719" y="878"/>
                  </a:lnTo>
                  <a:lnTo>
                    <a:pt x="723" y="875"/>
                  </a:lnTo>
                  <a:lnTo>
                    <a:pt x="729" y="871"/>
                  </a:lnTo>
                  <a:lnTo>
                    <a:pt x="734" y="867"/>
                  </a:lnTo>
                  <a:lnTo>
                    <a:pt x="736" y="862"/>
                  </a:lnTo>
                  <a:lnTo>
                    <a:pt x="737" y="860"/>
                  </a:lnTo>
                  <a:lnTo>
                    <a:pt x="736" y="855"/>
                  </a:lnTo>
                  <a:lnTo>
                    <a:pt x="732" y="851"/>
                  </a:lnTo>
                  <a:lnTo>
                    <a:pt x="727" y="848"/>
                  </a:lnTo>
                  <a:lnTo>
                    <a:pt x="727" y="847"/>
                  </a:lnTo>
                  <a:lnTo>
                    <a:pt x="730" y="842"/>
                  </a:lnTo>
                  <a:lnTo>
                    <a:pt x="732" y="841"/>
                  </a:lnTo>
                  <a:lnTo>
                    <a:pt x="739" y="838"/>
                  </a:lnTo>
                  <a:lnTo>
                    <a:pt x="743" y="835"/>
                  </a:lnTo>
                  <a:lnTo>
                    <a:pt x="746" y="832"/>
                  </a:lnTo>
                  <a:lnTo>
                    <a:pt x="753" y="831"/>
                  </a:lnTo>
                  <a:lnTo>
                    <a:pt x="757" y="828"/>
                  </a:lnTo>
                  <a:lnTo>
                    <a:pt x="760" y="825"/>
                  </a:lnTo>
                  <a:lnTo>
                    <a:pt x="764" y="824"/>
                  </a:lnTo>
                  <a:lnTo>
                    <a:pt x="767" y="819"/>
                  </a:lnTo>
                  <a:lnTo>
                    <a:pt x="770" y="817"/>
                  </a:lnTo>
                  <a:lnTo>
                    <a:pt x="772" y="812"/>
                  </a:lnTo>
                  <a:lnTo>
                    <a:pt x="769" y="808"/>
                  </a:lnTo>
                  <a:lnTo>
                    <a:pt x="766" y="807"/>
                  </a:lnTo>
                  <a:lnTo>
                    <a:pt x="764" y="808"/>
                  </a:lnTo>
                  <a:lnTo>
                    <a:pt x="762" y="809"/>
                  </a:lnTo>
                  <a:lnTo>
                    <a:pt x="757" y="808"/>
                  </a:lnTo>
                  <a:lnTo>
                    <a:pt x="756" y="807"/>
                  </a:lnTo>
                  <a:lnTo>
                    <a:pt x="752" y="808"/>
                  </a:lnTo>
                  <a:lnTo>
                    <a:pt x="750" y="808"/>
                  </a:lnTo>
                  <a:lnTo>
                    <a:pt x="753" y="801"/>
                  </a:lnTo>
                  <a:lnTo>
                    <a:pt x="752" y="796"/>
                  </a:lnTo>
                  <a:lnTo>
                    <a:pt x="749" y="796"/>
                  </a:lnTo>
                  <a:lnTo>
                    <a:pt x="744" y="796"/>
                  </a:lnTo>
                  <a:lnTo>
                    <a:pt x="744" y="795"/>
                  </a:lnTo>
                  <a:lnTo>
                    <a:pt x="742" y="788"/>
                  </a:lnTo>
                  <a:lnTo>
                    <a:pt x="740" y="784"/>
                  </a:lnTo>
                  <a:lnTo>
                    <a:pt x="736" y="782"/>
                  </a:lnTo>
                  <a:lnTo>
                    <a:pt x="734" y="778"/>
                  </a:lnTo>
                  <a:lnTo>
                    <a:pt x="736" y="775"/>
                  </a:lnTo>
                  <a:lnTo>
                    <a:pt x="740" y="772"/>
                  </a:lnTo>
                  <a:lnTo>
                    <a:pt x="742" y="769"/>
                  </a:lnTo>
                  <a:lnTo>
                    <a:pt x="744" y="769"/>
                  </a:lnTo>
                  <a:lnTo>
                    <a:pt x="746" y="764"/>
                  </a:lnTo>
                  <a:lnTo>
                    <a:pt x="746" y="759"/>
                  </a:lnTo>
                  <a:lnTo>
                    <a:pt x="747" y="758"/>
                  </a:lnTo>
                  <a:lnTo>
                    <a:pt x="752" y="758"/>
                  </a:lnTo>
                  <a:lnTo>
                    <a:pt x="756" y="758"/>
                  </a:lnTo>
                  <a:lnTo>
                    <a:pt x="757" y="761"/>
                  </a:lnTo>
                  <a:lnTo>
                    <a:pt x="756" y="762"/>
                  </a:lnTo>
                  <a:lnTo>
                    <a:pt x="757" y="766"/>
                  </a:lnTo>
                  <a:lnTo>
                    <a:pt x="756" y="769"/>
                  </a:lnTo>
                  <a:lnTo>
                    <a:pt x="756" y="774"/>
                  </a:lnTo>
                  <a:lnTo>
                    <a:pt x="757" y="775"/>
                  </a:lnTo>
                  <a:lnTo>
                    <a:pt x="757" y="778"/>
                  </a:lnTo>
                  <a:lnTo>
                    <a:pt x="759" y="779"/>
                  </a:lnTo>
                  <a:lnTo>
                    <a:pt x="762" y="782"/>
                  </a:lnTo>
                  <a:lnTo>
                    <a:pt x="763" y="782"/>
                  </a:lnTo>
                  <a:lnTo>
                    <a:pt x="767" y="784"/>
                  </a:lnTo>
                  <a:lnTo>
                    <a:pt x="772" y="784"/>
                  </a:lnTo>
                  <a:lnTo>
                    <a:pt x="774" y="784"/>
                  </a:lnTo>
                  <a:lnTo>
                    <a:pt x="774" y="784"/>
                  </a:lnTo>
                  <a:lnTo>
                    <a:pt x="779" y="785"/>
                  </a:lnTo>
                  <a:lnTo>
                    <a:pt x="783" y="785"/>
                  </a:lnTo>
                  <a:lnTo>
                    <a:pt x="784" y="782"/>
                  </a:lnTo>
                  <a:lnTo>
                    <a:pt x="786" y="781"/>
                  </a:lnTo>
                  <a:lnTo>
                    <a:pt x="790" y="778"/>
                  </a:lnTo>
                  <a:lnTo>
                    <a:pt x="790" y="775"/>
                  </a:lnTo>
                  <a:lnTo>
                    <a:pt x="787" y="774"/>
                  </a:lnTo>
                  <a:lnTo>
                    <a:pt x="787" y="769"/>
                  </a:lnTo>
                  <a:lnTo>
                    <a:pt x="795" y="765"/>
                  </a:lnTo>
                  <a:lnTo>
                    <a:pt x="800" y="766"/>
                  </a:lnTo>
                  <a:lnTo>
                    <a:pt x="805" y="764"/>
                  </a:lnTo>
                  <a:lnTo>
                    <a:pt x="812" y="764"/>
                  </a:lnTo>
                  <a:lnTo>
                    <a:pt x="817" y="759"/>
                  </a:lnTo>
                  <a:lnTo>
                    <a:pt x="819" y="759"/>
                  </a:lnTo>
                  <a:lnTo>
                    <a:pt x="820" y="761"/>
                  </a:lnTo>
                  <a:lnTo>
                    <a:pt x="822" y="765"/>
                  </a:lnTo>
                  <a:lnTo>
                    <a:pt x="823" y="768"/>
                  </a:lnTo>
                  <a:lnTo>
                    <a:pt x="826" y="765"/>
                  </a:lnTo>
                  <a:lnTo>
                    <a:pt x="830" y="761"/>
                  </a:lnTo>
                  <a:lnTo>
                    <a:pt x="832" y="756"/>
                  </a:lnTo>
                  <a:lnTo>
                    <a:pt x="830" y="754"/>
                  </a:lnTo>
                  <a:lnTo>
                    <a:pt x="835" y="751"/>
                  </a:lnTo>
                  <a:lnTo>
                    <a:pt x="837" y="749"/>
                  </a:lnTo>
                  <a:lnTo>
                    <a:pt x="840" y="746"/>
                  </a:lnTo>
                  <a:lnTo>
                    <a:pt x="843" y="744"/>
                  </a:lnTo>
                  <a:lnTo>
                    <a:pt x="845" y="739"/>
                  </a:lnTo>
                  <a:lnTo>
                    <a:pt x="852" y="742"/>
                  </a:lnTo>
                  <a:lnTo>
                    <a:pt x="858" y="741"/>
                  </a:lnTo>
                  <a:lnTo>
                    <a:pt x="860" y="736"/>
                  </a:lnTo>
                  <a:lnTo>
                    <a:pt x="860" y="735"/>
                  </a:lnTo>
                  <a:lnTo>
                    <a:pt x="860" y="735"/>
                  </a:lnTo>
                  <a:lnTo>
                    <a:pt x="858" y="733"/>
                  </a:lnTo>
                  <a:lnTo>
                    <a:pt x="856" y="731"/>
                  </a:lnTo>
                  <a:lnTo>
                    <a:pt x="855" y="726"/>
                  </a:lnTo>
                  <a:lnTo>
                    <a:pt x="855" y="722"/>
                  </a:lnTo>
                  <a:lnTo>
                    <a:pt x="855" y="722"/>
                  </a:lnTo>
                  <a:lnTo>
                    <a:pt x="855" y="718"/>
                  </a:lnTo>
                  <a:lnTo>
                    <a:pt x="855" y="712"/>
                  </a:lnTo>
                  <a:lnTo>
                    <a:pt x="855" y="712"/>
                  </a:lnTo>
                  <a:lnTo>
                    <a:pt x="855" y="711"/>
                  </a:lnTo>
                  <a:lnTo>
                    <a:pt x="856" y="709"/>
                  </a:lnTo>
                  <a:lnTo>
                    <a:pt x="860" y="709"/>
                  </a:lnTo>
                  <a:lnTo>
                    <a:pt x="866" y="709"/>
                  </a:lnTo>
                  <a:lnTo>
                    <a:pt x="840" y="691"/>
                  </a:lnTo>
                  <a:lnTo>
                    <a:pt x="840" y="691"/>
                  </a:lnTo>
                  <a:lnTo>
                    <a:pt x="842" y="686"/>
                  </a:lnTo>
                  <a:lnTo>
                    <a:pt x="843" y="682"/>
                  </a:lnTo>
                  <a:lnTo>
                    <a:pt x="842" y="679"/>
                  </a:lnTo>
                  <a:lnTo>
                    <a:pt x="842" y="679"/>
                  </a:lnTo>
                  <a:lnTo>
                    <a:pt x="840" y="676"/>
                  </a:lnTo>
                  <a:lnTo>
                    <a:pt x="837" y="676"/>
                  </a:lnTo>
                  <a:lnTo>
                    <a:pt x="833" y="679"/>
                  </a:lnTo>
                  <a:lnTo>
                    <a:pt x="829" y="672"/>
                  </a:lnTo>
                  <a:lnTo>
                    <a:pt x="819" y="662"/>
                  </a:lnTo>
                  <a:lnTo>
                    <a:pt x="810" y="645"/>
                  </a:lnTo>
                  <a:lnTo>
                    <a:pt x="809" y="642"/>
                  </a:lnTo>
                  <a:lnTo>
                    <a:pt x="812" y="639"/>
                  </a:lnTo>
                  <a:lnTo>
                    <a:pt x="820" y="633"/>
                  </a:lnTo>
                  <a:lnTo>
                    <a:pt x="829" y="629"/>
                  </a:lnTo>
                  <a:lnTo>
                    <a:pt x="822" y="617"/>
                  </a:lnTo>
                  <a:lnTo>
                    <a:pt x="809" y="595"/>
                  </a:lnTo>
                  <a:lnTo>
                    <a:pt x="802" y="600"/>
                  </a:lnTo>
                  <a:lnTo>
                    <a:pt x="792" y="605"/>
                  </a:lnTo>
                  <a:lnTo>
                    <a:pt x="784" y="609"/>
                  </a:lnTo>
                  <a:lnTo>
                    <a:pt x="779" y="613"/>
                  </a:lnTo>
                  <a:lnTo>
                    <a:pt x="772" y="617"/>
                  </a:lnTo>
                  <a:lnTo>
                    <a:pt x="766" y="619"/>
                  </a:lnTo>
                  <a:lnTo>
                    <a:pt x="764" y="619"/>
                  </a:lnTo>
                  <a:lnTo>
                    <a:pt x="762" y="616"/>
                  </a:lnTo>
                  <a:lnTo>
                    <a:pt x="759" y="610"/>
                  </a:lnTo>
                  <a:lnTo>
                    <a:pt x="753" y="600"/>
                  </a:lnTo>
                  <a:lnTo>
                    <a:pt x="749" y="593"/>
                  </a:lnTo>
                  <a:lnTo>
                    <a:pt x="740" y="580"/>
                  </a:lnTo>
                  <a:lnTo>
                    <a:pt x="736" y="575"/>
                  </a:lnTo>
                  <a:lnTo>
                    <a:pt x="732" y="572"/>
                  </a:lnTo>
                  <a:lnTo>
                    <a:pt x="727" y="567"/>
                  </a:lnTo>
                  <a:lnTo>
                    <a:pt x="726" y="560"/>
                  </a:lnTo>
                  <a:lnTo>
                    <a:pt x="721" y="554"/>
                  </a:lnTo>
                  <a:lnTo>
                    <a:pt x="726" y="549"/>
                  </a:lnTo>
                  <a:lnTo>
                    <a:pt x="730" y="543"/>
                  </a:lnTo>
                  <a:lnTo>
                    <a:pt x="724" y="540"/>
                  </a:lnTo>
                  <a:lnTo>
                    <a:pt x="719" y="537"/>
                  </a:lnTo>
                  <a:lnTo>
                    <a:pt x="710" y="533"/>
                  </a:lnTo>
                  <a:lnTo>
                    <a:pt x="706" y="530"/>
                  </a:lnTo>
                  <a:lnTo>
                    <a:pt x="701" y="527"/>
                  </a:lnTo>
                  <a:lnTo>
                    <a:pt x="697" y="533"/>
                  </a:lnTo>
                  <a:lnTo>
                    <a:pt x="691" y="536"/>
                  </a:lnTo>
                  <a:lnTo>
                    <a:pt x="689" y="537"/>
                  </a:lnTo>
                  <a:lnTo>
                    <a:pt x="684" y="534"/>
                  </a:lnTo>
                  <a:lnTo>
                    <a:pt x="677" y="532"/>
                  </a:lnTo>
                  <a:lnTo>
                    <a:pt x="673" y="529"/>
                  </a:lnTo>
                  <a:lnTo>
                    <a:pt x="667" y="530"/>
                  </a:lnTo>
                  <a:lnTo>
                    <a:pt x="663" y="532"/>
                  </a:lnTo>
                  <a:lnTo>
                    <a:pt x="657" y="530"/>
                  </a:lnTo>
                  <a:lnTo>
                    <a:pt x="656" y="526"/>
                  </a:lnTo>
                  <a:lnTo>
                    <a:pt x="653" y="523"/>
                  </a:lnTo>
                  <a:lnTo>
                    <a:pt x="651" y="517"/>
                  </a:lnTo>
                  <a:lnTo>
                    <a:pt x="650" y="511"/>
                  </a:lnTo>
                  <a:lnTo>
                    <a:pt x="648" y="509"/>
                  </a:lnTo>
                  <a:lnTo>
                    <a:pt x="646" y="510"/>
                  </a:lnTo>
                  <a:lnTo>
                    <a:pt x="640" y="510"/>
                  </a:lnTo>
                  <a:lnTo>
                    <a:pt x="636" y="509"/>
                  </a:lnTo>
                  <a:lnTo>
                    <a:pt x="633" y="509"/>
                  </a:lnTo>
                  <a:lnTo>
                    <a:pt x="633" y="503"/>
                  </a:lnTo>
                  <a:lnTo>
                    <a:pt x="636" y="496"/>
                  </a:lnTo>
                  <a:lnTo>
                    <a:pt x="637" y="490"/>
                  </a:lnTo>
                  <a:lnTo>
                    <a:pt x="637" y="484"/>
                  </a:lnTo>
                  <a:lnTo>
                    <a:pt x="636" y="479"/>
                  </a:lnTo>
                  <a:lnTo>
                    <a:pt x="633" y="474"/>
                  </a:lnTo>
                  <a:lnTo>
                    <a:pt x="631" y="473"/>
                  </a:lnTo>
                  <a:lnTo>
                    <a:pt x="627" y="471"/>
                  </a:lnTo>
                  <a:lnTo>
                    <a:pt x="623" y="473"/>
                  </a:lnTo>
                  <a:lnTo>
                    <a:pt x="618" y="477"/>
                  </a:lnTo>
                  <a:lnTo>
                    <a:pt x="613" y="481"/>
                  </a:lnTo>
                  <a:lnTo>
                    <a:pt x="610" y="481"/>
                  </a:lnTo>
                  <a:lnTo>
                    <a:pt x="607" y="479"/>
                  </a:lnTo>
                  <a:lnTo>
                    <a:pt x="608" y="474"/>
                  </a:lnTo>
                  <a:lnTo>
                    <a:pt x="610" y="473"/>
                  </a:lnTo>
                  <a:lnTo>
                    <a:pt x="610" y="473"/>
                  </a:lnTo>
                  <a:lnTo>
                    <a:pt x="605" y="470"/>
                  </a:lnTo>
                  <a:lnTo>
                    <a:pt x="601" y="470"/>
                  </a:lnTo>
                  <a:lnTo>
                    <a:pt x="601" y="467"/>
                  </a:lnTo>
                  <a:lnTo>
                    <a:pt x="593" y="457"/>
                  </a:lnTo>
                  <a:lnTo>
                    <a:pt x="593" y="454"/>
                  </a:lnTo>
                  <a:lnTo>
                    <a:pt x="598" y="448"/>
                  </a:lnTo>
                  <a:lnTo>
                    <a:pt x="601" y="441"/>
                  </a:lnTo>
                  <a:lnTo>
                    <a:pt x="601" y="437"/>
                  </a:lnTo>
                  <a:lnTo>
                    <a:pt x="591" y="436"/>
                  </a:lnTo>
                  <a:lnTo>
                    <a:pt x="587" y="437"/>
                  </a:lnTo>
                  <a:lnTo>
                    <a:pt x="584" y="436"/>
                  </a:lnTo>
                  <a:lnTo>
                    <a:pt x="587" y="431"/>
                  </a:lnTo>
                  <a:lnTo>
                    <a:pt x="594" y="430"/>
                  </a:lnTo>
                  <a:lnTo>
                    <a:pt x="595" y="424"/>
                  </a:lnTo>
                  <a:lnTo>
                    <a:pt x="590" y="418"/>
                  </a:lnTo>
                  <a:lnTo>
                    <a:pt x="585" y="418"/>
                  </a:lnTo>
                  <a:lnTo>
                    <a:pt x="584" y="418"/>
                  </a:lnTo>
                  <a:lnTo>
                    <a:pt x="581" y="420"/>
                  </a:lnTo>
                  <a:lnTo>
                    <a:pt x="575" y="421"/>
                  </a:lnTo>
                  <a:lnTo>
                    <a:pt x="574" y="418"/>
                  </a:lnTo>
                  <a:lnTo>
                    <a:pt x="578" y="414"/>
                  </a:lnTo>
                  <a:lnTo>
                    <a:pt x="581" y="408"/>
                  </a:lnTo>
                  <a:lnTo>
                    <a:pt x="580" y="407"/>
                  </a:lnTo>
                  <a:lnTo>
                    <a:pt x="575" y="403"/>
                  </a:lnTo>
                  <a:lnTo>
                    <a:pt x="573" y="401"/>
                  </a:lnTo>
                  <a:lnTo>
                    <a:pt x="567" y="401"/>
                  </a:lnTo>
                  <a:lnTo>
                    <a:pt x="563" y="406"/>
                  </a:lnTo>
                  <a:lnTo>
                    <a:pt x="558" y="406"/>
                  </a:lnTo>
                  <a:lnTo>
                    <a:pt x="552" y="407"/>
                  </a:lnTo>
                  <a:lnTo>
                    <a:pt x="550" y="407"/>
                  </a:lnTo>
                  <a:lnTo>
                    <a:pt x="545" y="408"/>
                  </a:lnTo>
                  <a:lnTo>
                    <a:pt x="544" y="410"/>
                  </a:lnTo>
                  <a:lnTo>
                    <a:pt x="540" y="414"/>
                  </a:lnTo>
                  <a:lnTo>
                    <a:pt x="537" y="416"/>
                  </a:lnTo>
                  <a:lnTo>
                    <a:pt x="534" y="414"/>
                  </a:lnTo>
                  <a:lnTo>
                    <a:pt x="535" y="407"/>
                  </a:lnTo>
                  <a:lnTo>
                    <a:pt x="532" y="404"/>
                  </a:lnTo>
                  <a:lnTo>
                    <a:pt x="527" y="404"/>
                  </a:lnTo>
                  <a:lnTo>
                    <a:pt x="524" y="401"/>
                  </a:lnTo>
                  <a:lnTo>
                    <a:pt x="522" y="397"/>
                  </a:lnTo>
                  <a:lnTo>
                    <a:pt x="525" y="393"/>
                  </a:lnTo>
                  <a:lnTo>
                    <a:pt x="520" y="390"/>
                  </a:lnTo>
                  <a:lnTo>
                    <a:pt x="517" y="383"/>
                  </a:lnTo>
                  <a:lnTo>
                    <a:pt x="518" y="378"/>
                  </a:lnTo>
                  <a:lnTo>
                    <a:pt x="520" y="374"/>
                  </a:lnTo>
                  <a:lnTo>
                    <a:pt x="521" y="364"/>
                  </a:lnTo>
                  <a:lnTo>
                    <a:pt x="518" y="363"/>
                  </a:lnTo>
                  <a:lnTo>
                    <a:pt x="511" y="365"/>
                  </a:lnTo>
                  <a:lnTo>
                    <a:pt x="510" y="364"/>
                  </a:lnTo>
                  <a:lnTo>
                    <a:pt x="510" y="360"/>
                  </a:lnTo>
                  <a:lnTo>
                    <a:pt x="508" y="353"/>
                  </a:lnTo>
                  <a:lnTo>
                    <a:pt x="507" y="348"/>
                  </a:lnTo>
                  <a:lnTo>
                    <a:pt x="504" y="345"/>
                  </a:lnTo>
                  <a:lnTo>
                    <a:pt x="501" y="348"/>
                  </a:lnTo>
                  <a:lnTo>
                    <a:pt x="498" y="344"/>
                  </a:lnTo>
                  <a:lnTo>
                    <a:pt x="491" y="344"/>
                  </a:lnTo>
                  <a:lnTo>
                    <a:pt x="489" y="341"/>
                  </a:lnTo>
                  <a:lnTo>
                    <a:pt x="487" y="338"/>
                  </a:lnTo>
                  <a:lnTo>
                    <a:pt x="481" y="337"/>
                  </a:lnTo>
                  <a:lnTo>
                    <a:pt x="477" y="334"/>
                  </a:lnTo>
                  <a:lnTo>
                    <a:pt x="471" y="332"/>
                  </a:lnTo>
                  <a:lnTo>
                    <a:pt x="464" y="328"/>
                  </a:lnTo>
                  <a:lnTo>
                    <a:pt x="462" y="322"/>
                  </a:lnTo>
                  <a:lnTo>
                    <a:pt x="468" y="320"/>
                  </a:lnTo>
                  <a:lnTo>
                    <a:pt x="471" y="310"/>
                  </a:lnTo>
                  <a:lnTo>
                    <a:pt x="467" y="304"/>
                  </a:lnTo>
                  <a:lnTo>
                    <a:pt x="467" y="298"/>
                  </a:lnTo>
                  <a:lnTo>
                    <a:pt x="459" y="297"/>
                  </a:lnTo>
                  <a:lnTo>
                    <a:pt x="457" y="295"/>
                  </a:lnTo>
                  <a:lnTo>
                    <a:pt x="447" y="291"/>
                  </a:lnTo>
                  <a:lnTo>
                    <a:pt x="442" y="285"/>
                  </a:lnTo>
                  <a:lnTo>
                    <a:pt x="439" y="277"/>
                  </a:lnTo>
                  <a:lnTo>
                    <a:pt x="434" y="274"/>
                  </a:lnTo>
                  <a:lnTo>
                    <a:pt x="431" y="277"/>
                  </a:lnTo>
                  <a:lnTo>
                    <a:pt x="429" y="277"/>
                  </a:lnTo>
                  <a:lnTo>
                    <a:pt x="429" y="277"/>
                  </a:lnTo>
                  <a:lnTo>
                    <a:pt x="429" y="277"/>
                  </a:lnTo>
                  <a:lnTo>
                    <a:pt x="426" y="271"/>
                  </a:lnTo>
                  <a:lnTo>
                    <a:pt x="426" y="271"/>
                  </a:lnTo>
                  <a:lnTo>
                    <a:pt x="425" y="267"/>
                  </a:lnTo>
                  <a:lnTo>
                    <a:pt x="424" y="261"/>
                  </a:lnTo>
                  <a:lnTo>
                    <a:pt x="424" y="261"/>
                  </a:lnTo>
                  <a:lnTo>
                    <a:pt x="422" y="254"/>
                  </a:lnTo>
                  <a:lnTo>
                    <a:pt x="421" y="249"/>
                  </a:lnTo>
                  <a:lnTo>
                    <a:pt x="419" y="248"/>
                  </a:lnTo>
                  <a:lnTo>
                    <a:pt x="414" y="244"/>
                  </a:lnTo>
                  <a:lnTo>
                    <a:pt x="416" y="241"/>
                  </a:lnTo>
                  <a:lnTo>
                    <a:pt x="416" y="239"/>
                  </a:lnTo>
                  <a:lnTo>
                    <a:pt x="418" y="235"/>
                  </a:lnTo>
                  <a:lnTo>
                    <a:pt x="418" y="232"/>
                  </a:lnTo>
                  <a:lnTo>
                    <a:pt x="419" y="229"/>
                  </a:lnTo>
                  <a:lnTo>
                    <a:pt x="419" y="225"/>
                  </a:lnTo>
                  <a:lnTo>
                    <a:pt x="418" y="221"/>
                  </a:lnTo>
                  <a:lnTo>
                    <a:pt x="415" y="216"/>
                  </a:lnTo>
                  <a:lnTo>
                    <a:pt x="418" y="214"/>
                  </a:lnTo>
                  <a:lnTo>
                    <a:pt x="424" y="208"/>
                  </a:lnTo>
                  <a:lnTo>
                    <a:pt x="426" y="205"/>
                  </a:lnTo>
                  <a:lnTo>
                    <a:pt x="426" y="204"/>
                  </a:lnTo>
                  <a:lnTo>
                    <a:pt x="426" y="204"/>
                  </a:lnTo>
                  <a:lnTo>
                    <a:pt x="422" y="196"/>
                  </a:lnTo>
                  <a:lnTo>
                    <a:pt x="422" y="196"/>
                  </a:lnTo>
                  <a:lnTo>
                    <a:pt x="421" y="192"/>
                  </a:lnTo>
                  <a:lnTo>
                    <a:pt x="421" y="189"/>
                  </a:lnTo>
                  <a:lnTo>
                    <a:pt x="422" y="186"/>
                  </a:lnTo>
                  <a:lnTo>
                    <a:pt x="422" y="186"/>
                  </a:lnTo>
                  <a:lnTo>
                    <a:pt x="426" y="182"/>
                  </a:lnTo>
                  <a:lnTo>
                    <a:pt x="426" y="182"/>
                  </a:lnTo>
                  <a:lnTo>
                    <a:pt x="429" y="181"/>
                  </a:lnTo>
                  <a:lnTo>
                    <a:pt x="428" y="178"/>
                  </a:lnTo>
                  <a:lnTo>
                    <a:pt x="428" y="178"/>
                  </a:lnTo>
                  <a:lnTo>
                    <a:pt x="426" y="175"/>
                  </a:lnTo>
                  <a:lnTo>
                    <a:pt x="426" y="175"/>
                  </a:lnTo>
                  <a:lnTo>
                    <a:pt x="428" y="166"/>
                  </a:lnTo>
                  <a:lnTo>
                    <a:pt x="431" y="165"/>
                  </a:lnTo>
                  <a:lnTo>
                    <a:pt x="431" y="165"/>
                  </a:lnTo>
                  <a:lnTo>
                    <a:pt x="432" y="166"/>
                  </a:lnTo>
                  <a:lnTo>
                    <a:pt x="432" y="166"/>
                  </a:lnTo>
                  <a:lnTo>
                    <a:pt x="434" y="171"/>
                  </a:lnTo>
                  <a:lnTo>
                    <a:pt x="434" y="176"/>
                  </a:lnTo>
                  <a:lnTo>
                    <a:pt x="434" y="181"/>
                  </a:lnTo>
                  <a:lnTo>
                    <a:pt x="435" y="184"/>
                  </a:lnTo>
                  <a:lnTo>
                    <a:pt x="435" y="184"/>
                  </a:lnTo>
                  <a:lnTo>
                    <a:pt x="441" y="185"/>
                  </a:lnTo>
                  <a:lnTo>
                    <a:pt x="442" y="185"/>
                  </a:lnTo>
                  <a:lnTo>
                    <a:pt x="442" y="184"/>
                  </a:lnTo>
                  <a:lnTo>
                    <a:pt x="442" y="184"/>
                  </a:lnTo>
                  <a:lnTo>
                    <a:pt x="441" y="178"/>
                  </a:lnTo>
                  <a:lnTo>
                    <a:pt x="441" y="175"/>
                  </a:lnTo>
                  <a:lnTo>
                    <a:pt x="441" y="173"/>
                  </a:lnTo>
                  <a:lnTo>
                    <a:pt x="441" y="173"/>
                  </a:lnTo>
                  <a:lnTo>
                    <a:pt x="444" y="169"/>
                  </a:lnTo>
                  <a:lnTo>
                    <a:pt x="445" y="166"/>
                  </a:lnTo>
                  <a:lnTo>
                    <a:pt x="447" y="165"/>
                  </a:lnTo>
                  <a:lnTo>
                    <a:pt x="447" y="165"/>
                  </a:lnTo>
                  <a:lnTo>
                    <a:pt x="447" y="163"/>
                  </a:lnTo>
                  <a:lnTo>
                    <a:pt x="445" y="162"/>
                  </a:lnTo>
                  <a:lnTo>
                    <a:pt x="444" y="162"/>
                  </a:lnTo>
                  <a:lnTo>
                    <a:pt x="441" y="161"/>
                  </a:lnTo>
                  <a:lnTo>
                    <a:pt x="436" y="161"/>
                  </a:lnTo>
                  <a:lnTo>
                    <a:pt x="435" y="158"/>
                  </a:lnTo>
                  <a:lnTo>
                    <a:pt x="435" y="155"/>
                  </a:lnTo>
                  <a:lnTo>
                    <a:pt x="439" y="152"/>
                  </a:lnTo>
                  <a:lnTo>
                    <a:pt x="445" y="152"/>
                  </a:lnTo>
                  <a:lnTo>
                    <a:pt x="445" y="152"/>
                  </a:lnTo>
                  <a:lnTo>
                    <a:pt x="447" y="146"/>
                  </a:lnTo>
                  <a:lnTo>
                    <a:pt x="447" y="142"/>
                  </a:lnTo>
                  <a:lnTo>
                    <a:pt x="447" y="136"/>
                  </a:lnTo>
                  <a:lnTo>
                    <a:pt x="447" y="135"/>
                  </a:lnTo>
                  <a:lnTo>
                    <a:pt x="448" y="133"/>
                  </a:lnTo>
                  <a:lnTo>
                    <a:pt x="451" y="132"/>
                  </a:lnTo>
                  <a:lnTo>
                    <a:pt x="454" y="132"/>
                  </a:lnTo>
                  <a:lnTo>
                    <a:pt x="457" y="131"/>
                  </a:lnTo>
                  <a:lnTo>
                    <a:pt x="459" y="125"/>
                  </a:lnTo>
                  <a:lnTo>
                    <a:pt x="461" y="122"/>
                  </a:lnTo>
                  <a:lnTo>
                    <a:pt x="464" y="119"/>
                  </a:lnTo>
                  <a:lnTo>
                    <a:pt x="467" y="119"/>
                  </a:lnTo>
                  <a:lnTo>
                    <a:pt x="472" y="112"/>
                  </a:lnTo>
                  <a:lnTo>
                    <a:pt x="477" y="10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12" name="Freeform 160"/>
            <p:cNvSpPr>
              <a:spLocks/>
            </p:cNvSpPr>
            <p:nvPr/>
          </p:nvSpPr>
          <p:spPr bwMode="auto">
            <a:xfrm>
              <a:off x="2704865" y="3216782"/>
              <a:ext cx="233238" cy="211665"/>
            </a:xfrm>
            <a:custGeom>
              <a:avLst/>
              <a:gdLst>
                <a:gd name="T0" fmla="*/ 188 w 381"/>
                <a:gd name="T1" fmla="*/ 304 h 320"/>
                <a:gd name="T2" fmla="*/ 179 w 381"/>
                <a:gd name="T3" fmla="*/ 305 h 320"/>
                <a:gd name="T4" fmla="*/ 158 w 381"/>
                <a:gd name="T5" fmla="*/ 298 h 320"/>
                <a:gd name="T6" fmla="*/ 134 w 381"/>
                <a:gd name="T7" fmla="*/ 288 h 320"/>
                <a:gd name="T8" fmla="*/ 103 w 381"/>
                <a:gd name="T9" fmla="*/ 285 h 320"/>
                <a:gd name="T10" fmla="*/ 82 w 381"/>
                <a:gd name="T11" fmla="*/ 288 h 320"/>
                <a:gd name="T12" fmla="*/ 66 w 381"/>
                <a:gd name="T13" fmla="*/ 295 h 320"/>
                <a:gd name="T14" fmla="*/ 36 w 381"/>
                <a:gd name="T15" fmla="*/ 301 h 320"/>
                <a:gd name="T16" fmla="*/ 22 w 381"/>
                <a:gd name="T17" fmla="*/ 271 h 320"/>
                <a:gd name="T18" fmla="*/ 2 w 381"/>
                <a:gd name="T19" fmla="*/ 255 h 320"/>
                <a:gd name="T20" fmla="*/ 2 w 381"/>
                <a:gd name="T21" fmla="*/ 226 h 320"/>
                <a:gd name="T22" fmla="*/ 20 w 381"/>
                <a:gd name="T23" fmla="*/ 192 h 320"/>
                <a:gd name="T24" fmla="*/ 39 w 381"/>
                <a:gd name="T25" fmla="*/ 181 h 320"/>
                <a:gd name="T26" fmla="*/ 63 w 381"/>
                <a:gd name="T27" fmla="*/ 168 h 320"/>
                <a:gd name="T28" fmla="*/ 71 w 381"/>
                <a:gd name="T29" fmla="*/ 149 h 320"/>
                <a:gd name="T30" fmla="*/ 75 w 381"/>
                <a:gd name="T31" fmla="*/ 123 h 320"/>
                <a:gd name="T32" fmla="*/ 99 w 381"/>
                <a:gd name="T33" fmla="*/ 112 h 320"/>
                <a:gd name="T34" fmla="*/ 99 w 381"/>
                <a:gd name="T35" fmla="*/ 86 h 320"/>
                <a:gd name="T36" fmla="*/ 102 w 381"/>
                <a:gd name="T37" fmla="*/ 59 h 320"/>
                <a:gd name="T38" fmla="*/ 101 w 381"/>
                <a:gd name="T39" fmla="*/ 40 h 320"/>
                <a:gd name="T40" fmla="*/ 115 w 381"/>
                <a:gd name="T41" fmla="*/ 35 h 320"/>
                <a:gd name="T42" fmla="*/ 126 w 381"/>
                <a:gd name="T43" fmla="*/ 45 h 320"/>
                <a:gd name="T44" fmla="*/ 139 w 381"/>
                <a:gd name="T45" fmla="*/ 43 h 320"/>
                <a:gd name="T46" fmla="*/ 156 w 381"/>
                <a:gd name="T47" fmla="*/ 40 h 320"/>
                <a:gd name="T48" fmla="*/ 155 w 381"/>
                <a:gd name="T49" fmla="*/ 14 h 320"/>
                <a:gd name="T50" fmla="*/ 174 w 381"/>
                <a:gd name="T51" fmla="*/ 6 h 320"/>
                <a:gd name="T52" fmla="*/ 192 w 381"/>
                <a:gd name="T53" fmla="*/ 10 h 320"/>
                <a:gd name="T54" fmla="*/ 204 w 381"/>
                <a:gd name="T55" fmla="*/ 9 h 320"/>
                <a:gd name="T56" fmla="*/ 207 w 381"/>
                <a:gd name="T57" fmla="*/ 9 h 320"/>
                <a:gd name="T58" fmla="*/ 228 w 381"/>
                <a:gd name="T59" fmla="*/ 2 h 320"/>
                <a:gd name="T60" fmla="*/ 240 w 381"/>
                <a:gd name="T61" fmla="*/ 13 h 320"/>
                <a:gd name="T62" fmla="*/ 274 w 381"/>
                <a:gd name="T63" fmla="*/ 39 h 320"/>
                <a:gd name="T64" fmla="*/ 291 w 381"/>
                <a:gd name="T65" fmla="*/ 47 h 320"/>
                <a:gd name="T66" fmla="*/ 295 w 381"/>
                <a:gd name="T67" fmla="*/ 69 h 320"/>
                <a:gd name="T68" fmla="*/ 311 w 381"/>
                <a:gd name="T69" fmla="*/ 66 h 320"/>
                <a:gd name="T70" fmla="*/ 324 w 381"/>
                <a:gd name="T71" fmla="*/ 70 h 320"/>
                <a:gd name="T72" fmla="*/ 333 w 381"/>
                <a:gd name="T73" fmla="*/ 46 h 320"/>
                <a:gd name="T74" fmla="*/ 341 w 381"/>
                <a:gd name="T75" fmla="*/ 60 h 320"/>
                <a:gd name="T76" fmla="*/ 345 w 381"/>
                <a:gd name="T77" fmla="*/ 77 h 320"/>
                <a:gd name="T78" fmla="*/ 350 w 381"/>
                <a:gd name="T79" fmla="*/ 90 h 320"/>
                <a:gd name="T80" fmla="*/ 358 w 381"/>
                <a:gd name="T81" fmla="*/ 106 h 320"/>
                <a:gd name="T82" fmla="*/ 360 w 381"/>
                <a:gd name="T83" fmla="*/ 129 h 320"/>
                <a:gd name="T84" fmla="*/ 351 w 381"/>
                <a:gd name="T85" fmla="*/ 155 h 320"/>
                <a:gd name="T86" fmla="*/ 344 w 381"/>
                <a:gd name="T87" fmla="*/ 172 h 320"/>
                <a:gd name="T88" fmla="*/ 366 w 381"/>
                <a:gd name="T89" fmla="*/ 199 h 320"/>
                <a:gd name="T90" fmla="*/ 380 w 381"/>
                <a:gd name="T91" fmla="*/ 218 h 320"/>
                <a:gd name="T92" fmla="*/ 376 w 381"/>
                <a:gd name="T93" fmla="*/ 248 h 320"/>
                <a:gd name="T94" fmla="*/ 370 w 381"/>
                <a:gd name="T95" fmla="*/ 261 h 320"/>
                <a:gd name="T96" fmla="*/ 348 w 381"/>
                <a:gd name="T97" fmla="*/ 257 h 320"/>
                <a:gd name="T98" fmla="*/ 331 w 381"/>
                <a:gd name="T99" fmla="*/ 257 h 320"/>
                <a:gd name="T100" fmla="*/ 318 w 381"/>
                <a:gd name="T101" fmla="*/ 261 h 320"/>
                <a:gd name="T102" fmla="*/ 300 w 381"/>
                <a:gd name="T103" fmla="*/ 259 h 320"/>
                <a:gd name="T104" fmla="*/ 281 w 381"/>
                <a:gd name="T105" fmla="*/ 268 h 320"/>
                <a:gd name="T106" fmla="*/ 268 w 381"/>
                <a:gd name="T107" fmla="*/ 284 h 320"/>
                <a:gd name="T108" fmla="*/ 232 w 381"/>
                <a:gd name="T109" fmla="*/ 288 h 320"/>
                <a:gd name="T110" fmla="*/ 212 w 381"/>
                <a:gd name="T111" fmla="*/ 295 h 320"/>
                <a:gd name="T112" fmla="*/ 199 w 381"/>
                <a:gd name="T113" fmla="*/ 317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1" h="320">
                  <a:moveTo>
                    <a:pt x="199" y="317"/>
                  </a:moveTo>
                  <a:lnTo>
                    <a:pt x="199" y="317"/>
                  </a:lnTo>
                  <a:lnTo>
                    <a:pt x="197" y="320"/>
                  </a:lnTo>
                  <a:lnTo>
                    <a:pt x="192" y="314"/>
                  </a:lnTo>
                  <a:lnTo>
                    <a:pt x="192" y="311"/>
                  </a:lnTo>
                  <a:lnTo>
                    <a:pt x="188" y="304"/>
                  </a:lnTo>
                  <a:lnTo>
                    <a:pt x="185" y="297"/>
                  </a:lnTo>
                  <a:lnTo>
                    <a:pt x="181" y="292"/>
                  </a:lnTo>
                  <a:lnTo>
                    <a:pt x="179" y="294"/>
                  </a:lnTo>
                  <a:lnTo>
                    <a:pt x="178" y="297"/>
                  </a:lnTo>
                  <a:lnTo>
                    <a:pt x="178" y="302"/>
                  </a:lnTo>
                  <a:lnTo>
                    <a:pt x="179" y="305"/>
                  </a:lnTo>
                  <a:lnTo>
                    <a:pt x="178" y="307"/>
                  </a:lnTo>
                  <a:lnTo>
                    <a:pt x="174" y="305"/>
                  </a:lnTo>
                  <a:lnTo>
                    <a:pt x="172" y="307"/>
                  </a:lnTo>
                  <a:lnTo>
                    <a:pt x="166" y="304"/>
                  </a:lnTo>
                  <a:lnTo>
                    <a:pt x="161" y="302"/>
                  </a:lnTo>
                  <a:lnTo>
                    <a:pt x="158" y="298"/>
                  </a:lnTo>
                  <a:lnTo>
                    <a:pt x="154" y="295"/>
                  </a:lnTo>
                  <a:lnTo>
                    <a:pt x="151" y="291"/>
                  </a:lnTo>
                  <a:lnTo>
                    <a:pt x="146" y="291"/>
                  </a:lnTo>
                  <a:lnTo>
                    <a:pt x="141" y="291"/>
                  </a:lnTo>
                  <a:lnTo>
                    <a:pt x="139" y="291"/>
                  </a:lnTo>
                  <a:lnTo>
                    <a:pt x="134" y="288"/>
                  </a:lnTo>
                  <a:lnTo>
                    <a:pt x="129" y="285"/>
                  </a:lnTo>
                  <a:lnTo>
                    <a:pt x="125" y="282"/>
                  </a:lnTo>
                  <a:lnTo>
                    <a:pt x="121" y="281"/>
                  </a:lnTo>
                  <a:lnTo>
                    <a:pt x="116" y="282"/>
                  </a:lnTo>
                  <a:lnTo>
                    <a:pt x="109" y="284"/>
                  </a:lnTo>
                  <a:lnTo>
                    <a:pt x="103" y="285"/>
                  </a:lnTo>
                  <a:lnTo>
                    <a:pt x="99" y="287"/>
                  </a:lnTo>
                  <a:lnTo>
                    <a:pt x="95" y="288"/>
                  </a:lnTo>
                  <a:lnTo>
                    <a:pt x="91" y="288"/>
                  </a:lnTo>
                  <a:lnTo>
                    <a:pt x="88" y="288"/>
                  </a:lnTo>
                  <a:lnTo>
                    <a:pt x="83" y="287"/>
                  </a:lnTo>
                  <a:lnTo>
                    <a:pt x="82" y="288"/>
                  </a:lnTo>
                  <a:lnTo>
                    <a:pt x="79" y="289"/>
                  </a:lnTo>
                  <a:lnTo>
                    <a:pt x="78" y="292"/>
                  </a:lnTo>
                  <a:lnTo>
                    <a:pt x="75" y="295"/>
                  </a:lnTo>
                  <a:lnTo>
                    <a:pt x="69" y="294"/>
                  </a:lnTo>
                  <a:lnTo>
                    <a:pt x="68" y="295"/>
                  </a:lnTo>
                  <a:lnTo>
                    <a:pt x="66" y="295"/>
                  </a:lnTo>
                  <a:lnTo>
                    <a:pt x="63" y="298"/>
                  </a:lnTo>
                  <a:lnTo>
                    <a:pt x="59" y="302"/>
                  </a:lnTo>
                  <a:lnTo>
                    <a:pt x="55" y="305"/>
                  </a:lnTo>
                  <a:lnTo>
                    <a:pt x="46" y="305"/>
                  </a:lnTo>
                  <a:lnTo>
                    <a:pt x="39" y="307"/>
                  </a:lnTo>
                  <a:lnTo>
                    <a:pt x="36" y="301"/>
                  </a:lnTo>
                  <a:lnTo>
                    <a:pt x="33" y="297"/>
                  </a:lnTo>
                  <a:lnTo>
                    <a:pt x="26" y="294"/>
                  </a:lnTo>
                  <a:lnTo>
                    <a:pt x="22" y="291"/>
                  </a:lnTo>
                  <a:lnTo>
                    <a:pt x="23" y="285"/>
                  </a:lnTo>
                  <a:lnTo>
                    <a:pt x="25" y="281"/>
                  </a:lnTo>
                  <a:lnTo>
                    <a:pt x="22" y="271"/>
                  </a:lnTo>
                  <a:lnTo>
                    <a:pt x="20" y="267"/>
                  </a:lnTo>
                  <a:lnTo>
                    <a:pt x="18" y="262"/>
                  </a:lnTo>
                  <a:lnTo>
                    <a:pt x="9" y="262"/>
                  </a:lnTo>
                  <a:lnTo>
                    <a:pt x="2" y="262"/>
                  </a:lnTo>
                  <a:lnTo>
                    <a:pt x="0" y="258"/>
                  </a:lnTo>
                  <a:lnTo>
                    <a:pt x="2" y="255"/>
                  </a:lnTo>
                  <a:lnTo>
                    <a:pt x="5" y="251"/>
                  </a:lnTo>
                  <a:lnTo>
                    <a:pt x="9" y="245"/>
                  </a:lnTo>
                  <a:lnTo>
                    <a:pt x="9" y="239"/>
                  </a:lnTo>
                  <a:lnTo>
                    <a:pt x="6" y="234"/>
                  </a:lnTo>
                  <a:lnTo>
                    <a:pt x="6" y="232"/>
                  </a:lnTo>
                  <a:lnTo>
                    <a:pt x="2" y="226"/>
                  </a:lnTo>
                  <a:lnTo>
                    <a:pt x="13" y="211"/>
                  </a:lnTo>
                  <a:lnTo>
                    <a:pt x="15" y="209"/>
                  </a:lnTo>
                  <a:lnTo>
                    <a:pt x="15" y="205"/>
                  </a:lnTo>
                  <a:lnTo>
                    <a:pt x="18" y="198"/>
                  </a:lnTo>
                  <a:lnTo>
                    <a:pt x="19" y="192"/>
                  </a:lnTo>
                  <a:lnTo>
                    <a:pt x="20" y="192"/>
                  </a:lnTo>
                  <a:lnTo>
                    <a:pt x="23" y="192"/>
                  </a:lnTo>
                  <a:lnTo>
                    <a:pt x="25" y="188"/>
                  </a:lnTo>
                  <a:lnTo>
                    <a:pt x="26" y="185"/>
                  </a:lnTo>
                  <a:lnTo>
                    <a:pt x="32" y="182"/>
                  </a:lnTo>
                  <a:lnTo>
                    <a:pt x="36" y="179"/>
                  </a:lnTo>
                  <a:lnTo>
                    <a:pt x="39" y="181"/>
                  </a:lnTo>
                  <a:lnTo>
                    <a:pt x="42" y="181"/>
                  </a:lnTo>
                  <a:lnTo>
                    <a:pt x="45" y="181"/>
                  </a:lnTo>
                  <a:lnTo>
                    <a:pt x="50" y="179"/>
                  </a:lnTo>
                  <a:lnTo>
                    <a:pt x="55" y="176"/>
                  </a:lnTo>
                  <a:lnTo>
                    <a:pt x="53" y="173"/>
                  </a:lnTo>
                  <a:lnTo>
                    <a:pt x="63" y="168"/>
                  </a:lnTo>
                  <a:lnTo>
                    <a:pt x="66" y="169"/>
                  </a:lnTo>
                  <a:lnTo>
                    <a:pt x="71" y="172"/>
                  </a:lnTo>
                  <a:lnTo>
                    <a:pt x="79" y="165"/>
                  </a:lnTo>
                  <a:lnTo>
                    <a:pt x="73" y="155"/>
                  </a:lnTo>
                  <a:lnTo>
                    <a:pt x="69" y="158"/>
                  </a:lnTo>
                  <a:lnTo>
                    <a:pt x="71" y="149"/>
                  </a:lnTo>
                  <a:lnTo>
                    <a:pt x="72" y="142"/>
                  </a:lnTo>
                  <a:lnTo>
                    <a:pt x="72" y="136"/>
                  </a:lnTo>
                  <a:lnTo>
                    <a:pt x="72" y="132"/>
                  </a:lnTo>
                  <a:lnTo>
                    <a:pt x="73" y="129"/>
                  </a:lnTo>
                  <a:lnTo>
                    <a:pt x="73" y="125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2" y="116"/>
                  </a:lnTo>
                  <a:lnTo>
                    <a:pt x="83" y="113"/>
                  </a:lnTo>
                  <a:lnTo>
                    <a:pt x="89" y="112"/>
                  </a:lnTo>
                  <a:lnTo>
                    <a:pt x="93" y="112"/>
                  </a:lnTo>
                  <a:lnTo>
                    <a:pt x="99" y="112"/>
                  </a:lnTo>
                  <a:lnTo>
                    <a:pt x="102" y="110"/>
                  </a:lnTo>
                  <a:lnTo>
                    <a:pt x="102" y="108"/>
                  </a:lnTo>
                  <a:lnTo>
                    <a:pt x="101" y="100"/>
                  </a:lnTo>
                  <a:lnTo>
                    <a:pt x="99" y="95"/>
                  </a:lnTo>
                  <a:lnTo>
                    <a:pt x="99" y="92"/>
                  </a:lnTo>
                  <a:lnTo>
                    <a:pt x="99" y="86"/>
                  </a:lnTo>
                  <a:lnTo>
                    <a:pt x="101" y="83"/>
                  </a:lnTo>
                  <a:lnTo>
                    <a:pt x="103" y="79"/>
                  </a:lnTo>
                  <a:lnTo>
                    <a:pt x="105" y="73"/>
                  </a:lnTo>
                  <a:lnTo>
                    <a:pt x="105" y="70"/>
                  </a:lnTo>
                  <a:lnTo>
                    <a:pt x="105" y="63"/>
                  </a:lnTo>
                  <a:lnTo>
                    <a:pt x="102" y="59"/>
                  </a:lnTo>
                  <a:lnTo>
                    <a:pt x="101" y="53"/>
                  </a:lnTo>
                  <a:lnTo>
                    <a:pt x="106" y="52"/>
                  </a:lnTo>
                  <a:lnTo>
                    <a:pt x="106" y="49"/>
                  </a:lnTo>
                  <a:lnTo>
                    <a:pt x="105" y="47"/>
                  </a:lnTo>
                  <a:lnTo>
                    <a:pt x="101" y="46"/>
                  </a:lnTo>
                  <a:lnTo>
                    <a:pt x="101" y="40"/>
                  </a:lnTo>
                  <a:lnTo>
                    <a:pt x="102" y="39"/>
                  </a:lnTo>
                  <a:lnTo>
                    <a:pt x="108" y="39"/>
                  </a:lnTo>
                  <a:lnTo>
                    <a:pt x="112" y="43"/>
                  </a:lnTo>
                  <a:lnTo>
                    <a:pt x="115" y="47"/>
                  </a:lnTo>
                  <a:lnTo>
                    <a:pt x="116" y="46"/>
                  </a:lnTo>
                  <a:lnTo>
                    <a:pt x="115" y="35"/>
                  </a:lnTo>
                  <a:lnTo>
                    <a:pt x="116" y="33"/>
                  </a:lnTo>
                  <a:lnTo>
                    <a:pt x="119" y="33"/>
                  </a:lnTo>
                  <a:lnTo>
                    <a:pt x="122" y="37"/>
                  </a:lnTo>
                  <a:lnTo>
                    <a:pt x="123" y="42"/>
                  </a:lnTo>
                  <a:lnTo>
                    <a:pt x="123" y="45"/>
                  </a:lnTo>
                  <a:lnTo>
                    <a:pt x="126" y="45"/>
                  </a:lnTo>
                  <a:lnTo>
                    <a:pt x="128" y="42"/>
                  </a:lnTo>
                  <a:lnTo>
                    <a:pt x="129" y="42"/>
                  </a:lnTo>
                  <a:lnTo>
                    <a:pt x="132" y="43"/>
                  </a:lnTo>
                  <a:lnTo>
                    <a:pt x="135" y="43"/>
                  </a:lnTo>
                  <a:lnTo>
                    <a:pt x="138" y="43"/>
                  </a:lnTo>
                  <a:lnTo>
                    <a:pt x="139" y="43"/>
                  </a:lnTo>
                  <a:lnTo>
                    <a:pt x="144" y="43"/>
                  </a:lnTo>
                  <a:lnTo>
                    <a:pt x="146" y="46"/>
                  </a:lnTo>
                  <a:lnTo>
                    <a:pt x="151" y="47"/>
                  </a:lnTo>
                  <a:lnTo>
                    <a:pt x="154" y="46"/>
                  </a:lnTo>
                  <a:lnTo>
                    <a:pt x="155" y="43"/>
                  </a:lnTo>
                  <a:lnTo>
                    <a:pt x="156" y="40"/>
                  </a:lnTo>
                  <a:lnTo>
                    <a:pt x="158" y="36"/>
                  </a:lnTo>
                  <a:lnTo>
                    <a:pt x="155" y="30"/>
                  </a:lnTo>
                  <a:lnTo>
                    <a:pt x="155" y="25"/>
                  </a:lnTo>
                  <a:lnTo>
                    <a:pt x="154" y="23"/>
                  </a:lnTo>
                  <a:lnTo>
                    <a:pt x="154" y="20"/>
                  </a:lnTo>
                  <a:lnTo>
                    <a:pt x="155" y="14"/>
                  </a:lnTo>
                  <a:lnTo>
                    <a:pt x="158" y="13"/>
                  </a:lnTo>
                  <a:lnTo>
                    <a:pt x="161" y="10"/>
                  </a:lnTo>
                  <a:lnTo>
                    <a:pt x="165" y="10"/>
                  </a:lnTo>
                  <a:lnTo>
                    <a:pt x="169" y="10"/>
                  </a:lnTo>
                  <a:lnTo>
                    <a:pt x="172" y="9"/>
                  </a:lnTo>
                  <a:lnTo>
                    <a:pt x="174" y="6"/>
                  </a:lnTo>
                  <a:lnTo>
                    <a:pt x="175" y="2"/>
                  </a:lnTo>
                  <a:lnTo>
                    <a:pt x="179" y="0"/>
                  </a:lnTo>
                  <a:lnTo>
                    <a:pt x="184" y="2"/>
                  </a:lnTo>
                  <a:lnTo>
                    <a:pt x="187" y="2"/>
                  </a:lnTo>
                  <a:lnTo>
                    <a:pt x="189" y="6"/>
                  </a:lnTo>
                  <a:lnTo>
                    <a:pt x="192" y="10"/>
                  </a:lnTo>
                  <a:lnTo>
                    <a:pt x="197" y="12"/>
                  </a:lnTo>
                  <a:lnTo>
                    <a:pt x="198" y="13"/>
                  </a:lnTo>
                  <a:lnTo>
                    <a:pt x="198" y="13"/>
                  </a:lnTo>
                  <a:lnTo>
                    <a:pt x="201" y="13"/>
                  </a:lnTo>
                  <a:lnTo>
                    <a:pt x="202" y="12"/>
                  </a:lnTo>
                  <a:lnTo>
                    <a:pt x="204" y="9"/>
                  </a:lnTo>
                  <a:lnTo>
                    <a:pt x="204" y="9"/>
                  </a:lnTo>
                  <a:lnTo>
                    <a:pt x="204" y="6"/>
                  </a:lnTo>
                  <a:lnTo>
                    <a:pt x="204" y="6"/>
                  </a:lnTo>
                  <a:lnTo>
                    <a:pt x="204" y="6"/>
                  </a:lnTo>
                  <a:lnTo>
                    <a:pt x="205" y="7"/>
                  </a:lnTo>
                  <a:lnTo>
                    <a:pt x="207" y="9"/>
                  </a:lnTo>
                  <a:lnTo>
                    <a:pt x="212" y="9"/>
                  </a:lnTo>
                  <a:lnTo>
                    <a:pt x="217" y="7"/>
                  </a:lnTo>
                  <a:lnTo>
                    <a:pt x="219" y="6"/>
                  </a:lnTo>
                  <a:lnTo>
                    <a:pt x="219" y="6"/>
                  </a:lnTo>
                  <a:lnTo>
                    <a:pt x="224" y="3"/>
                  </a:lnTo>
                  <a:lnTo>
                    <a:pt x="228" y="2"/>
                  </a:lnTo>
                  <a:lnTo>
                    <a:pt x="231" y="2"/>
                  </a:lnTo>
                  <a:lnTo>
                    <a:pt x="232" y="4"/>
                  </a:lnTo>
                  <a:lnTo>
                    <a:pt x="232" y="10"/>
                  </a:lnTo>
                  <a:lnTo>
                    <a:pt x="234" y="13"/>
                  </a:lnTo>
                  <a:lnTo>
                    <a:pt x="235" y="14"/>
                  </a:lnTo>
                  <a:lnTo>
                    <a:pt x="240" y="13"/>
                  </a:lnTo>
                  <a:lnTo>
                    <a:pt x="242" y="12"/>
                  </a:lnTo>
                  <a:lnTo>
                    <a:pt x="248" y="9"/>
                  </a:lnTo>
                  <a:lnTo>
                    <a:pt x="251" y="9"/>
                  </a:lnTo>
                  <a:lnTo>
                    <a:pt x="252" y="14"/>
                  </a:lnTo>
                  <a:lnTo>
                    <a:pt x="274" y="37"/>
                  </a:lnTo>
                  <a:lnTo>
                    <a:pt x="274" y="39"/>
                  </a:lnTo>
                  <a:lnTo>
                    <a:pt x="278" y="39"/>
                  </a:lnTo>
                  <a:lnTo>
                    <a:pt x="282" y="39"/>
                  </a:lnTo>
                  <a:lnTo>
                    <a:pt x="284" y="40"/>
                  </a:lnTo>
                  <a:lnTo>
                    <a:pt x="288" y="43"/>
                  </a:lnTo>
                  <a:lnTo>
                    <a:pt x="290" y="45"/>
                  </a:lnTo>
                  <a:lnTo>
                    <a:pt x="291" y="47"/>
                  </a:lnTo>
                  <a:lnTo>
                    <a:pt x="292" y="52"/>
                  </a:lnTo>
                  <a:lnTo>
                    <a:pt x="292" y="55"/>
                  </a:lnTo>
                  <a:lnTo>
                    <a:pt x="292" y="59"/>
                  </a:lnTo>
                  <a:lnTo>
                    <a:pt x="294" y="63"/>
                  </a:lnTo>
                  <a:lnTo>
                    <a:pt x="295" y="66"/>
                  </a:lnTo>
                  <a:lnTo>
                    <a:pt x="295" y="69"/>
                  </a:lnTo>
                  <a:lnTo>
                    <a:pt x="297" y="70"/>
                  </a:lnTo>
                  <a:lnTo>
                    <a:pt x="301" y="72"/>
                  </a:lnTo>
                  <a:lnTo>
                    <a:pt x="301" y="73"/>
                  </a:lnTo>
                  <a:lnTo>
                    <a:pt x="304" y="72"/>
                  </a:lnTo>
                  <a:lnTo>
                    <a:pt x="307" y="69"/>
                  </a:lnTo>
                  <a:lnTo>
                    <a:pt x="311" y="66"/>
                  </a:lnTo>
                  <a:lnTo>
                    <a:pt x="314" y="65"/>
                  </a:lnTo>
                  <a:lnTo>
                    <a:pt x="315" y="70"/>
                  </a:lnTo>
                  <a:lnTo>
                    <a:pt x="318" y="73"/>
                  </a:lnTo>
                  <a:lnTo>
                    <a:pt x="320" y="75"/>
                  </a:lnTo>
                  <a:lnTo>
                    <a:pt x="321" y="73"/>
                  </a:lnTo>
                  <a:lnTo>
                    <a:pt x="324" y="70"/>
                  </a:lnTo>
                  <a:lnTo>
                    <a:pt x="324" y="63"/>
                  </a:lnTo>
                  <a:lnTo>
                    <a:pt x="325" y="59"/>
                  </a:lnTo>
                  <a:lnTo>
                    <a:pt x="327" y="53"/>
                  </a:lnTo>
                  <a:lnTo>
                    <a:pt x="327" y="49"/>
                  </a:lnTo>
                  <a:lnTo>
                    <a:pt x="328" y="46"/>
                  </a:lnTo>
                  <a:lnTo>
                    <a:pt x="333" y="46"/>
                  </a:lnTo>
                  <a:lnTo>
                    <a:pt x="334" y="49"/>
                  </a:lnTo>
                  <a:lnTo>
                    <a:pt x="334" y="52"/>
                  </a:lnTo>
                  <a:lnTo>
                    <a:pt x="334" y="55"/>
                  </a:lnTo>
                  <a:lnTo>
                    <a:pt x="334" y="57"/>
                  </a:lnTo>
                  <a:lnTo>
                    <a:pt x="335" y="59"/>
                  </a:lnTo>
                  <a:lnTo>
                    <a:pt x="341" y="60"/>
                  </a:lnTo>
                  <a:lnTo>
                    <a:pt x="344" y="62"/>
                  </a:lnTo>
                  <a:lnTo>
                    <a:pt x="344" y="63"/>
                  </a:lnTo>
                  <a:lnTo>
                    <a:pt x="344" y="66"/>
                  </a:lnTo>
                  <a:lnTo>
                    <a:pt x="345" y="69"/>
                  </a:lnTo>
                  <a:lnTo>
                    <a:pt x="345" y="75"/>
                  </a:lnTo>
                  <a:lnTo>
                    <a:pt x="345" y="77"/>
                  </a:lnTo>
                  <a:lnTo>
                    <a:pt x="345" y="79"/>
                  </a:lnTo>
                  <a:lnTo>
                    <a:pt x="345" y="82"/>
                  </a:lnTo>
                  <a:lnTo>
                    <a:pt x="344" y="83"/>
                  </a:lnTo>
                  <a:lnTo>
                    <a:pt x="345" y="86"/>
                  </a:lnTo>
                  <a:lnTo>
                    <a:pt x="348" y="88"/>
                  </a:lnTo>
                  <a:lnTo>
                    <a:pt x="350" y="90"/>
                  </a:lnTo>
                  <a:lnTo>
                    <a:pt x="350" y="90"/>
                  </a:lnTo>
                  <a:lnTo>
                    <a:pt x="357" y="93"/>
                  </a:lnTo>
                  <a:lnTo>
                    <a:pt x="361" y="98"/>
                  </a:lnTo>
                  <a:lnTo>
                    <a:pt x="363" y="99"/>
                  </a:lnTo>
                  <a:lnTo>
                    <a:pt x="363" y="103"/>
                  </a:lnTo>
                  <a:lnTo>
                    <a:pt x="358" y="106"/>
                  </a:lnTo>
                  <a:lnTo>
                    <a:pt x="357" y="108"/>
                  </a:lnTo>
                  <a:lnTo>
                    <a:pt x="356" y="110"/>
                  </a:lnTo>
                  <a:lnTo>
                    <a:pt x="357" y="118"/>
                  </a:lnTo>
                  <a:lnTo>
                    <a:pt x="357" y="123"/>
                  </a:lnTo>
                  <a:lnTo>
                    <a:pt x="358" y="123"/>
                  </a:lnTo>
                  <a:lnTo>
                    <a:pt x="360" y="129"/>
                  </a:lnTo>
                  <a:lnTo>
                    <a:pt x="357" y="136"/>
                  </a:lnTo>
                  <a:lnTo>
                    <a:pt x="357" y="141"/>
                  </a:lnTo>
                  <a:lnTo>
                    <a:pt x="354" y="143"/>
                  </a:lnTo>
                  <a:lnTo>
                    <a:pt x="354" y="145"/>
                  </a:lnTo>
                  <a:lnTo>
                    <a:pt x="354" y="152"/>
                  </a:lnTo>
                  <a:lnTo>
                    <a:pt x="351" y="155"/>
                  </a:lnTo>
                  <a:lnTo>
                    <a:pt x="345" y="155"/>
                  </a:lnTo>
                  <a:lnTo>
                    <a:pt x="344" y="156"/>
                  </a:lnTo>
                  <a:lnTo>
                    <a:pt x="345" y="161"/>
                  </a:lnTo>
                  <a:lnTo>
                    <a:pt x="347" y="163"/>
                  </a:lnTo>
                  <a:lnTo>
                    <a:pt x="344" y="169"/>
                  </a:lnTo>
                  <a:lnTo>
                    <a:pt x="344" y="172"/>
                  </a:lnTo>
                  <a:lnTo>
                    <a:pt x="350" y="181"/>
                  </a:lnTo>
                  <a:lnTo>
                    <a:pt x="357" y="183"/>
                  </a:lnTo>
                  <a:lnTo>
                    <a:pt x="357" y="186"/>
                  </a:lnTo>
                  <a:lnTo>
                    <a:pt x="358" y="189"/>
                  </a:lnTo>
                  <a:lnTo>
                    <a:pt x="361" y="194"/>
                  </a:lnTo>
                  <a:lnTo>
                    <a:pt x="366" y="199"/>
                  </a:lnTo>
                  <a:lnTo>
                    <a:pt x="371" y="201"/>
                  </a:lnTo>
                  <a:lnTo>
                    <a:pt x="374" y="202"/>
                  </a:lnTo>
                  <a:lnTo>
                    <a:pt x="378" y="205"/>
                  </a:lnTo>
                  <a:lnTo>
                    <a:pt x="378" y="209"/>
                  </a:lnTo>
                  <a:lnTo>
                    <a:pt x="380" y="218"/>
                  </a:lnTo>
                  <a:lnTo>
                    <a:pt x="380" y="218"/>
                  </a:lnTo>
                  <a:lnTo>
                    <a:pt x="380" y="218"/>
                  </a:lnTo>
                  <a:lnTo>
                    <a:pt x="380" y="225"/>
                  </a:lnTo>
                  <a:lnTo>
                    <a:pt x="381" y="232"/>
                  </a:lnTo>
                  <a:lnTo>
                    <a:pt x="381" y="232"/>
                  </a:lnTo>
                  <a:lnTo>
                    <a:pt x="378" y="239"/>
                  </a:lnTo>
                  <a:lnTo>
                    <a:pt x="376" y="248"/>
                  </a:lnTo>
                  <a:lnTo>
                    <a:pt x="373" y="255"/>
                  </a:lnTo>
                  <a:lnTo>
                    <a:pt x="373" y="255"/>
                  </a:lnTo>
                  <a:lnTo>
                    <a:pt x="371" y="257"/>
                  </a:lnTo>
                  <a:lnTo>
                    <a:pt x="371" y="259"/>
                  </a:lnTo>
                  <a:lnTo>
                    <a:pt x="371" y="259"/>
                  </a:lnTo>
                  <a:lnTo>
                    <a:pt x="370" y="261"/>
                  </a:lnTo>
                  <a:lnTo>
                    <a:pt x="368" y="261"/>
                  </a:lnTo>
                  <a:lnTo>
                    <a:pt x="366" y="259"/>
                  </a:lnTo>
                  <a:lnTo>
                    <a:pt x="366" y="259"/>
                  </a:lnTo>
                  <a:lnTo>
                    <a:pt x="357" y="258"/>
                  </a:lnTo>
                  <a:lnTo>
                    <a:pt x="348" y="257"/>
                  </a:lnTo>
                  <a:lnTo>
                    <a:pt x="348" y="257"/>
                  </a:lnTo>
                  <a:lnTo>
                    <a:pt x="344" y="258"/>
                  </a:lnTo>
                  <a:lnTo>
                    <a:pt x="341" y="259"/>
                  </a:lnTo>
                  <a:lnTo>
                    <a:pt x="341" y="259"/>
                  </a:lnTo>
                  <a:lnTo>
                    <a:pt x="335" y="258"/>
                  </a:lnTo>
                  <a:lnTo>
                    <a:pt x="334" y="257"/>
                  </a:lnTo>
                  <a:lnTo>
                    <a:pt x="331" y="257"/>
                  </a:lnTo>
                  <a:lnTo>
                    <a:pt x="331" y="257"/>
                  </a:lnTo>
                  <a:lnTo>
                    <a:pt x="330" y="259"/>
                  </a:lnTo>
                  <a:lnTo>
                    <a:pt x="327" y="261"/>
                  </a:lnTo>
                  <a:lnTo>
                    <a:pt x="327" y="261"/>
                  </a:lnTo>
                  <a:lnTo>
                    <a:pt x="323" y="262"/>
                  </a:lnTo>
                  <a:lnTo>
                    <a:pt x="318" y="261"/>
                  </a:lnTo>
                  <a:lnTo>
                    <a:pt x="314" y="259"/>
                  </a:lnTo>
                  <a:lnTo>
                    <a:pt x="310" y="262"/>
                  </a:lnTo>
                  <a:lnTo>
                    <a:pt x="310" y="262"/>
                  </a:lnTo>
                  <a:lnTo>
                    <a:pt x="304" y="259"/>
                  </a:lnTo>
                  <a:lnTo>
                    <a:pt x="303" y="259"/>
                  </a:lnTo>
                  <a:lnTo>
                    <a:pt x="300" y="259"/>
                  </a:lnTo>
                  <a:lnTo>
                    <a:pt x="300" y="259"/>
                  </a:lnTo>
                  <a:lnTo>
                    <a:pt x="292" y="262"/>
                  </a:lnTo>
                  <a:lnTo>
                    <a:pt x="288" y="265"/>
                  </a:lnTo>
                  <a:lnTo>
                    <a:pt x="284" y="267"/>
                  </a:lnTo>
                  <a:lnTo>
                    <a:pt x="281" y="268"/>
                  </a:lnTo>
                  <a:lnTo>
                    <a:pt x="281" y="268"/>
                  </a:lnTo>
                  <a:lnTo>
                    <a:pt x="277" y="271"/>
                  </a:lnTo>
                  <a:lnTo>
                    <a:pt x="274" y="274"/>
                  </a:lnTo>
                  <a:lnTo>
                    <a:pt x="272" y="278"/>
                  </a:lnTo>
                  <a:lnTo>
                    <a:pt x="272" y="285"/>
                  </a:lnTo>
                  <a:lnTo>
                    <a:pt x="272" y="285"/>
                  </a:lnTo>
                  <a:lnTo>
                    <a:pt x="268" y="284"/>
                  </a:lnTo>
                  <a:lnTo>
                    <a:pt x="265" y="284"/>
                  </a:lnTo>
                  <a:lnTo>
                    <a:pt x="261" y="287"/>
                  </a:lnTo>
                  <a:lnTo>
                    <a:pt x="258" y="291"/>
                  </a:lnTo>
                  <a:lnTo>
                    <a:pt x="252" y="295"/>
                  </a:lnTo>
                  <a:lnTo>
                    <a:pt x="244" y="297"/>
                  </a:lnTo>
                  <a:lnTo>
                    <a:pt x="232" y="288"/>
                  </a:lnTo>
                  <a:lnTo>
                    <a:pt x="229" y="299"/>
                  </a:lnTo>
                  <a:lnTo>
                    <a:pt x="229" y="299"/>
                  </a:lnTo>
                  <a:lnTo>
                    <a:pt x="225" y="298"/>
                  </a:lnTo>
                  <a:lnTo>
                    <a:pt x="221" y="297"/>
                  </a:lnTo>
                  <a:lnTo>
                    <a:pt x="217" y="295"/>
                  </a:lnTo>
                  <a:lnTo>
                    <a:pt x="212" y="295"/>
                  </a:lnTo>
                  <a:lnTo>
                    <a:pt x="212" y="295"/>
                  </a:lnTo>
                  <a:lnTo>
                    <a:pt x="209" y="299"/>
                  </a:lnTo>
                  <a:lnTo>
                    <a:pt x="207" y="302"/>
                  </a:lnTo>
                  <a:lnTo>
                    <a:pt x="204" y="305"/>
                  </a:lnTo>
                  <a:lnTo>
                    <a:pt x="201" y="308"/>
                  </a:lnTo>
                  <a:lnTo>
                    <a:pt x="199" y="31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13" name="Freeform 161"/>
            <p:cNvSpPr>
              <a:spLocks/>
            </p:cNvSpPr>
            <p:nvPr/>
          </p:nvSpPr>
          <p:spPr bwMode="auto">
            <a:xfrm>
              <a:off x="4324100" y="4288334"/>
              <a:ext cx="718032" cy="649546"/>
            </a:xfrm>
            <a:custGeom>
              <a:avLst/>
              <a:gdLst>
                <a:gd name="T0" fmla="*/ 14 w 1176"/>
                <a:gd name="T1" fmla="*/ 455 h 982"/>
                <a:gd name="T2" fmla="*/ 16 w 1176"/>
                <a:gd name="T3" fmla="*/ 335 h 982"/>
                <a:gd name="T4" fmla="*/ 38 w 1176"/>
                <a:gd name="T5" fmla="*/ 288 h 982"/>
                <a:gd name="T6" fmla="*/ 142 w 1176"/>
                <a:gd name="T7" fmla="*/ 196 h 982"/>
                <a:gd name="T8" fmla="*/ 219 w 1176"/>
                <a:gd name="T9" fmla="*/ 175 h 982"/>
                <a:gd name="T10" fmla="*/ 260 w 1176"/>
                <a:gd name="T11" fmla="*/ 99 h 982"/>
                <a:gd name="T12" fmla="*/ 278 w 1176"/>
                <a:gd name="T13" fmla="*/ 56 h 982"/>
                <a:gd name="T14" fmla="*/ 299 w 1176"/>
                <a:gd name="T15" fmla="*/ 29 h 982"/>
                <a:gd name="T16" fmla="*/ 323 w 1176"/>
                <a:gd name="T17" fmla="*/ 1 h 982"/>
                <a:gd name="T18" fmla="*/ 391 w 1176"/>
                <a:gd name="T19" fmla="*/ 42 h 982"/>
                <a:gd name="T20" fmla="*/ 480 w 1176"/>
                <a:gd name="T21" fmla="*/ 64 h 982"/>
                <a:gd name="T22" fmla="*/ 478 w 1176"/>
                <a:gd name="T23" fmla="*/ 96 h 982"/>
                <a:gd name="T24" fmla="*/ 591 w 1176"/>
                <a:gd name="T25" fmla="*/ 109 h 982"/>
                <a:gd name="T26" fmla="*/ 626 w 1176"/>
                <a:gd name="T27" fmla="*/ 152 h 982"/>
                <a:gd name="T28" fmla="*/ 763 w 1176"/>
                <a:gd name="T29" fmla="*/ 127 h 982"/>
                <a:gd name="T30" fmla="*/ 860 w 1176"/>
                <a:gd name="T31" fmla="*/ 173 h 982"/>
                <a:gd name="T32" fmla="*/ 853 w 1176"/>
                <a:gd name="T33" fmla="*/ 308 h 982"/>
                <a:gd name="T34" fmla="*/ 965 w 1176"/>
                <a:gd name="T35" fmla="*/ 345 h 982"/>
                <a:gd name="T36" fmla="*/ 1084 w 1176"/>
                <a:gd name="T37" fmla="*/ 470 h 982"/>
                <a:gd name="T38" fmla="*/ 1164 w 1176"/>
                <a:gd name="T39" fmla="*/ 536 h 982"/>
                <a:gd name="T40" fmla="*/ 1071 w 1176"/>
                <a:gd name="T41" fmla="*/ 607 h 982"/>
                <a:gd name="T42" fmla="*/ 1107 w 1176"/>
                <a:gd name="T43" fmla="*/ 686 h 982"/>
                <a:gd name="T44" fmla="*/ 1176 w 1176"/>
                <a:gd name="T45" fmla="*/ 729 h 982"/>
                <a:gd name="T46" fmla="*/ 1161 w 1176"/>
                <a:gd name="T47" fmla="*/ 771 h 982"/>
                <a:gd name="T48" fmla="*/ 1150 w 1176"/>
                <a:gd name="T49" fmla="*/ 775 h 982"/>
                <a:gd name="T50" fmla="*/ 1127 w 1176"/>
                <a:gd name="T51" fmla="*/ 791 h 982"/>
                <a:gd name="T52" fmla="*/ 1085 w 1176"/>
                <a:gd name="T53" fmla="*/ 835 h 982"/>
                <a:gd name="T54" fmla="*/ 1088 w 1176"/>
                <a:gd name="T55" fmla="*/ 885 h 982"/>
                <a:gd name="T56" fmla="*/ 988 w 1176"/>
                <a:gd name="T57" fmla="*/ 897 h 982"/>
                <a:gd name="T58" fmla="*/ 972 w 1176"/>
                <a:gd name="T59" fmla="*/ 895 h 982"/>
                <a:gd name="T60" fmla="*/ 946 w 1176"/>
                <a:gd name="T61" fmla="*/ 894 h 982"/>
                <a:gd name="T62" fmla="*/ 929 w 1176"/>
                <a:gd name="T63" fmla="*/ 898 h 982"/>
                <a:gd name="T64" fmla="*/ 919 w 1176"/>
                <a:gd name="T65" fmla="*/ 885 h 982"/>
                <a:gd name="T66" fmla="*/ 895 w 1176"/>
                <a:gd name="T67" fmla="*/ 889 h 982"/>
                <a:gd name="T68" fmla="*/ 876 w 1176"/>
                <a:gd name="T69" fmla="*/ 881 h 982"/>
                <a:gd name="T70" fmla="*/ 860 w 1176"/>
                <a:gd name="T71" fmla="*/ 882 h 982"/>
                <a:gd name="T72" fmla="*/ 848 w 1176"/>
                <a:gd name="T73" fmla="*/ 898 h 982"/>
                <a:gd name="T74" fmla="*/ 833 w 1176"/>
                <a:gd name="T75" fmla="*/ 905 h 982"/>
                <a:gd name="T76" fmla="*/ 819 w 1176"/>
                <a:gd name="T77" fmla="*/ 912 h 982"/>
                <a:gd name="T78" fmla="*/ 800 w 1176"/>
                <a:gd name="T79" fmla="*/ 917 h 982"/>
                <a:gd name="T80" fmla="*/ 787 w 1176"/>
                <a:gd name="T81" fmla="*/ 928 h 982"/>
                <a:gd name="T82" fmla="*/ 746 w 1176"/>
                <a:gd name="T83" fmla="*/ 932 h 982"/>
                <a:gd name="T84" fmla="*/ 690 w 1176"/>
                <a:gd name="T85" fmla="*/ 932 h 982"/>
                <a:gd name="T86" fmla="*/ 670 w 1176"/>
                <a:gd name="T87" fmla="*/ 941 h 982"/>
                <a:gd name="T88" fmla="*/ 641 w 1176"/>
                <a:gd name="T89" fmla="*/ 931 h 982"/>
                <a:gd name="T90" fmla="*/ 611 w 1176"/>
                <a:gd name="T91" fmla="*/ 954 h 982"/>
                <a:gd name="T92" fmla="*/ 593 w 1176"/>
                <a:gd name="T93" fmla="*/ 975 h 982"/>
                <a:gd name="T94" fmla="*/ 583 w 1176"/>
                <a:gd name="T95" fmla="*/ 971 h 982"/>
                <a:gd name="T96" fmla="*/ 568 w 1176"/>
                <a:gd name="T97" fmla="*/ 962 h 982"/>
                <a:gd name="T98" fmla="*/ 583 w 1176"/>
                <a:gd name="T99" fmla="*/ 945 h 982"/>
                <a:gd name="T100" fmla="*/ 581 w 1176"/>
                <a:gd name="T101" fmla="*/ 912 h 982"/>
                <a:gd name="T102" fmla="*/ 591 w 1176"/>
                <a:gd name="T103" fmla="*/ 899 h 982"/>
                <a:gd name="T104" fmla="*/ 575 w 1176"/>
                <a:gd name="T105" fmla="*/ 891 h 982"/>
                <a:gd name="T106" fmla="*/ 575 w 1176"/>
                <a:gd name="T107" fmla="*/ 875 h 982"/>
                <a:gd name="T108" fmla="*/ 600 w 1176"/>
                <a:gd name="T109" fmla="*/ 851 h 982"/>
                <a:gd name="T110" fmla="*/ 583 w 1176"/>
                <a:gd name="T111" fmla="*/ 829 h 982"/>
                <a:gd name="T112" fmla="*/ 565 w 1176"/>
                <a:gd name="T113" fmla="*/ 822 h 982"/>
                <a:gd name="T114" fmla="*/ 550 w 1176"/>
                <a:gd name="T115" fmla="*/ 835 h 982"/>
                <a:gd name="T116" fmla="*/ 528 w 1176"/>
                <a:gd name="T117" fmla="*/ 831 h 982"/>
                <a:gd name="T118" fmla="*/ 482 w 1176"/>
                <a:gd name="T119" fmla="*/ 832 h 982"/>
                <a:gd name="T120" fmla="*/ 225 w 1176"/>
                <a:gd name="T121" fmla="*/ 623 h 9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76" h="982">
                  <a:moveTo>
                    <a:pt x="33" y="531"/>
                  </a:moveTo>
                  <a:lnTo>
                    <a:pt x="33" y="507"/>
                  </a:lnTo>
                  <a:lnTo>
                    <a:pt x="21" y="500"/>
                  </a:lnTo>
                  <a:lnTo>
                    <a:pt x="23" y="484"/>
                  </a:lnTo>
                  <a:lnTo>
                    <a:pt x="24" y="463"/>
                  </a:lnTo>
                  <a:lnTo>
                    <a:pt x="14" y="455"/>
                  </a:lnTo>
                  <a:lnTo>
                    <a:pt x="31" y="410"/>
                  </a:lnTo>
                  <a:lnTo>
                    <a:pt x="27" y="398"/>
                  </a:lnTo>
                  <a:lnTo>
                    <a:pt x="4" y="372"/>
                  </a:lnTo>
                  <a:lnTo>
                    <a:pt x="0" y="365"/>
                  </a:lnTo>
                  <a:lnTo>
                    <a:pt x="20" y="358"/>
                  </a:lnTo>
                  <a:lnTo>
                    <a:pt x="16" y="335"/>
                  </a:lnTo>
                  <a:lnTo>
                    <a:pt x="14" y="332"/>
                  </a:lnTo>
                  <a:lnTo>
                    <a:pt x="20" y="331"/>
                  </a:lnTo>
                  <a:lnTo>
                    <a:pt x="34" y="328"/>
                  </a:lnTo>
                  <a:lnTo>
                    <a:pt x="44" y="321"/>
                  </a:lnTo>
                  <a:lnTo>
                    <a:pt x="33" y="298"/>
                  </a:lnTo>
                  <a:lnTo>
                    <a:pt x="38" y="288"/>
                  </a:lnTo>
                  <a:lnTo>
                    <a:pt x="61" y="272"/>
                  </a:lnTo>
                  <a:lnTo>
                    <a:pt x="91" y="258"/>
                  </a:lnTo>
                  <a:lnTo>
                    <a:pt x="106" y="249"/>
                  </a:lnTo>
                  <a:lnTo>
                    <a:pt x="110" y="216"/>
                  </a:lnTo>
                  <a:lnTo>
                    <a:pt x="134" y="215"/>
                  </a:lnTo>
                  <a:lnTo>
                    <a:pt x="142" y="196"/>
                  </a:lnTo>
                  <a:lnTo>
                    <a:pt x="143" y="195"/>
                  </a:lnTo>
                  <a:lnTo>
                    <a:pt x="150" y="195"/>
                  </a:lnTo>
                  <a:lnTo>
                    <a:pt x="154" y="200"/>
                  </a:lnTo>
                  <a:lnTo>
                    <a:pt x="172" y="182"/>
                  </a:lnTo>
                  <a:lnTo>
                    <a:pt x="210" y="196"/>
                  </a:lnTo>
                  <a:lnTo>
                    <a:pt x="219" y="175"/>
                  </a:lnTo>
                  <a:lnTo>
                    <a:pt x="226" y="172"/>
                  </a:lnTo>
                  <a:lnTo>
                    <a:pt x="246" y="125"/>
                  </a:lnTo>
                  <a:lnTo>
                    <a:pt x="248" y="117"/>
                  </a:lnTo>
                  <a:lnTo>
                    <a:pt x="246" y="110"/>
                  </a:lnTo>
                  <a:lnTo>
                    <a:pt x="253" y="105"/>
                  </a:lnTo>
                  <a:lnTo>
                    <a:pt x="260" y="99"/>
                  </a:lnTo>
                  <a:lnTo>
                    <a:pt x="263" y="90"/>
                  </a:lnTo>
                  <a:lnTo>
                    <a:pt x="265" y="82"/>
                  </a:lnTo>
                  <a:lnTo>
                    <a:pt x="265" y="76"/>
                  </a:lnTo>
                  <a:lnTo>
                    <a:pt x="266" y="67"/>
                  </a:lnTo>
                  <a:lnTo>
                    <a:pt x="270" y="59"/>
                  </a:lnTo>
                  <a:lnTo>
                    <a:pt x="278" y="56"/>
                  </a:lnTo>
                  <a:lnTo>
                    <a:pt x="293" y="57"/>
                  </a:lnTo>
                  <a:lnTo>
                    <a:pt x="299" y="47"/>
                  </a:lnTo>
                  <a:lnTo>
                    <a:pt x="301" y="42"/>
                  </a:lnTo>
                  <a:lnTo>
                    <a:pt x="301" y="36"/>
                  </a:lnTo>
                  <a:lnTo>
                    <a:pt x="299" y="31"/>
                  </a:lnTo>
                  <a:lnTo>
                    <a:pt x="299" y="29"/>
                  </a:lnTo>
                  <a:lnTo>
                    <a:pt x="306" y="23"/>
                  </a:lnTo>
                  <a:lnTo>
                    <a:pt x="311" y="14"/>
                  </a:lnTo>
                  <a:lnTo>
                    <a:pt x="312" y="9"/>
                  </a:lnTo>
                  <a:lnTo>
                    <a:pt x="312" y="4"/>
                  </a:lnTo>
                  <a:lnTo>
                    <a:pt x="318" y="0"/>
                  </a:lnTo>
                  <a:lnTo>
                    <a:pt x="323" y="1"/>
                  </a:lnTo>
                  <a:lnTo>
                    <a:pt x="333" y="9"/>
                  </a:lnTo>
                  <a:lnTo>
                    <a:pt x="345" y="14"/>
                  </a:lnTo>
                  <a:lnTo>
                    <a:pt x="358" y="21"/>
                  </a:lnTo>
                  <a:lnTo>
                    <a:pt x="371" y="33"/>
                  </a:lnTo>
                  <a:lnTo>
                    <a:pt x="381" y="44"/>
                  </a:lnTo>
                  <a:lnTo>
                    <a:pt x="391" y="42"/>
                  </a:lnTo>
                  <a:lnTo>
                    <a:pt x="419" y="56"/>
                  </a:lnTo>
                  <a:lnTo>
                    <a:pt x="431" y="52"/>
                  </a:lnTo>
                  <a:lnTo>
                    <a:pt x="442" y="60"/>
                  </a:lnTo>
                  <a:lnTo>
                    <a:pt x="459" y="57"/>
                  </a:lnTo>
                  <a:lnTo>
                    <a:pt x="477" y="60"/>
                  </a:lnTo>
                  <a:lnTo>
                    <a:pt x="480" y="64"/>
                  </a:lnTo>
                  <a:lnTo>
                    <a:pt x="480" y="69"/>
                  </a:lnTo>
                  <a:lnTo>
                    <a:pt x="478" y="73"/>
                  </a:lnTo>
                  <a:lnTo>
                    <a:pt x="474" y="80"/>
                  </a:lnTo>
                  <a:lnTo>
                    <a:pt x="474" y="84"/>
                  </a:lnTo>
                  <a:lnTo>
                    <a:pt x="474" y="92"/>
                  </a:lnTo>
                  <a:lnTo>
                    <a:pt x="478" y="96"/>
                  </a:lnTo>
                  <a:lnTo>
                    <a:pt x="497" y="100"/>
                  </a:lnTo>
                  <a:lnTo>
                    <a:pt x="531" y="110"/>
                  </a:lnTo>
                  <a:lnTo>
                    <a:pt x="554" y="107"/>
                  </a:lnTo>
                  <a:lnTo>
                    <a:pt x="568" y="112"/>
                  </a:lnTo>
                  <a:lnTo>
                    <a:pt x="581" y="107"/>
                  </a:lnTo>
                  <a:lnTo>
                    <a:pt x="591" y="109"/>
                  </a:lnTo>
                  <a:lnTo>
                    <a:pt x="607" y="116"/>
                  </a:lnTo>
                  <a:lnTo>
                    <a:pt x="607" y="122"/>
                  </a:lnTo>
                  <a:lnTo>
                    <a:pt x="606" y="133"/>
                  </a:lnTo>
                  <a:lnTo>
                    <a:pt x="604" y="140"/>
                  </a:lnTo>
                  <a:lnTo>
                    <a:pt x="611" y="146"/>
                  </a:lnTo>
                  <a:lnTo>
                    <a:pt x="626" y="152"/>
                  </a:lnTo>
                  <a:lnTo>
                    <a:pt x="639" y="150"/>
                  </a:lnTo>
                  <a:lnTo>
                    <a:pt x="669" y="159"/>
                  </a:lnTo>
                  <a:lnTo>
                    <a:pt x="681" y="183"/>
                  </a:lnTo>
                  <a:lnTo>
                    <a:pt x="704" y="175"/>
                  </a:lnTo>
                  <a:lnTo>
                    <a:pt x="706" y="159"/>
                  </a:lnTo>
                  <a:lnTo>
                    <a:pt x="763" y="127"/>
                  </a:lnTo>
                  <a:lnTo>
                    <a:pt x="773" y="125"/>
                  </a:lnTo>
                  <a:lnTo>
                    <a:pt x="786" y="125"/>
                  </a:lnTo>
                  <a:lnTo>
                    <a:pt x="796" y="126"/>
                  </a:lnTo>
                  <a:lnTo>
                    <a:pt x="805" y="130"/>
                  </a:lnTo>
                  <a:lnTo>
                    <a:pt x="829" y="170"/>
                  </a:lnTo>
                  <a:lnTo>
                    <a:pt x="860" y="173"/>
                  </a:lnTo>
                  <a:lnTo>
                    <a:pt x="860" y="173"/>
                  </a:lnTo>
                  <a:lnTo>
                    <a:pt x="882" y="259"/>
                  </a:lnTo>
                  <a:lnTo>
                    <a:pt x="862" y="284"/>
                  </a:lnTo>
                  <a:lnTo>
                    <a:pt x="859" y="295"/>
                  </a:lnTo>
                  <a:lnTo>
                    <a:pt x="858" y="304"/>
                  </a:lnTo>
                  <a:lnTo>
                    <a:pt x="853" y="308"/>
                  </a:lnTo>
                  <a:lnTo>
                    <a:pt x="853" y="319"/>
                  </a:lnTo>
                  <a:lnTo>
                    <a:pt x="853" y="328"/>
                  </a:lnTo>
                  <a:lnTo>
                    <a:pt x="871" y="335"/>
                  </a:lnTo>
                  <a:lnTo>
                    <a:pt x="918" y="347"/>
                  </a:lnTo>
                  <a:lnTo>
                    <a:pt x="951" y="347"/>
                  </a:lnTo>
                  <a:lnTo>
                    <a:pt x="965" y="345"/>
                  </a:lnTo>
                  <a:lnTo>
                    <a:pt x="1009" y="357"/>
                  </a:lnTo>
                  <a:lnTo>
                    <a:pt x="1042" y="374"/>
                  </a:lnTo>
                  <a:lnTo>
                    <a:pt x="1044" y="407"/>
                  </a:lnTo>
                  <a:lnTo>
                    <a:pt x="1072" y="415"/>
                  </a:lnTo>
                  <a:lnTo>
                    <a:pt x="1075" y="420"/>
                  </a:lnTo>
                  <a:lnTo>
                    <a:pt x="1084" y="470"/>
                  </a:lnTo>
                  <a:lnTo>
                    <a:pt x="1090" y="488"/>
                  </a:lnTo>
                  <a:lnTo>
                    <a:pt x="1144" y="491"/>
                  </a:lnTo>
                  <a:lnTo>
                    <a:pt x="1144" y="497"/>
                  </a:lnTo>
                  <a:lnTo>
                    <a:pt x="1144" y="501"/>
                  </a:lnTo>
                  <a:lnTo>
                    <a:pt x="1150" y="511"/>
                  </a:lnTo>
                  <a:lnTo>
                    <a:pt x="1164" y="536"/>
                  </a:lnTo>
                  <a:lnTo>
                    <a:pt x="1166" y="540"/>
                  </a:lnTo>
                  <a:lnTo>
                    <a:pt x="1125" y="547"/>
                  </a:lnTo>
                  <a:lnTo>
                    <a:pt x="1115" y="551"/>
                  </a:lnTo>
                  <a:lnTo>
                    <a:pt x="1098" y="573"/>
                  </a:lnTo>
                  <a:lnTo>
                    <a:pt x="1077" y="599"/>
                  </a:lnTo>
                  <a:lnTo>
                    <a:pt x="1071" y="607"/>
                  </a:lnTo>
                  <a:lnTo>
                    <a:pt x="1071" y="623"/>
                  </a:lnTo>
                  <a:lnTo>
                    <a:pt x="1070" y="656"/>
                  </a:lnTo>
                  <a:lnTo>
                    <a:pt x="1075" y="662"/>
                  </a:lnTo>
                  <a:lnTo>
                    <a:pt x="1075" y="672"/>
                  </a:lnTo>
                  <a:lnTo>
                    <a:pt x="1080" y="677"/>
                  </a:lnTo>
                  <a:lnTo>
                    <a:pt x="1107" y="686"/>
                  </a:lnTo>
                  <a:lnTo>
                    <a:pt x="1124" y="699"/>
                  </a:lnTo>
                  <a:lnTo>
                    <a:pt x="1134" y="710"/>
                  </a:lnTo>
                  <a:lnTo>
                    <a:pt x="1144" y="716"/>
                  </a:lnTo>
                  <a:lnTo>
                    <a:pt x="1156" y="718"/>
                  </a:lnTo>
                  <a:lnTo>
                    <a:pt x="1167" y="722"/>
                  </a:lnTo>
                  <a:lnTo>
                    <a:pt x="1176" y="729"/>
                  </a:lnTo>
                  <a:lnTo>
                    <a:pt x="1173" y="742"/>
                  </a:lnTo>
                  <a:lnTo>
                    <a:pt x="1173" y="749"/>
                  </a:lnTo>
                  <a:lnTo>
                    <a:pt x="1173" y="758"/>
                  </a:lnTo>
                  <a:lnTo>
                    <a:pt x="1170" y="765"/>
                  </a:lnTo>
                  <a:lnTo>
                    <a:pt x="1166" y="768"/>
                  </a:lnTo>
                  <a:lnTo>
                    <a:pt x="1161" y="771"/>
                  </a:lnTo>
                  <a:lnTo>
                    <a:pt x="1157" y="771"/>
                  </a:lnTo>
                  <a:lnTo>
                    <a:pt x="1153" y="768"/>
                  </a:lnTo>
                  <a:lnTo>
                    <a:pt x="1150" y="766"/>
                  </a:lnTo>
                  <a:lnTo>
                    <a:pt x="1148" y="769"/>
                  </a:lnTo>
                  <a:lnTo>
                    <a:pt x="1150" y="773"/>
                  </a:lnTo>
                  <a:lnTo>
                    <a:pt x="1150" y="775"/>
                  </a:lnTo>
                  <a:lnTo>
                    <a:pt x="1153" y="778"/>
                  </a:lnTo>
                  <a:lnTo>
                    <a:pt x="1157" y="786"/>
                  </a:lnTo>
                  <a:lnTo>
                    <a:pt x="1140" y="783"/>
                  </a:lnTo>
                  <a:lnTo>
                    <a:pt x="1140" y="785"/>
                  </a:lnTo>
                  <a:lnTo>
                    <a:pt x="1131" y="792"/>
                  </a:lnTo>
                  <a:lnTo>
                    <a:pt x="1127" y="791"/>
                  </a:lnTo>
                  <a:lnTo>
                    <a:pt x="1121" y="788"/>
                  </a:lnTo>
                  <a:lnTo>
                    <a:pt x="1105" y="826"/>
                  </a:lnTo>
                  <a:lnTo>
                    <a:pt x="1100" y="828"/>
                  </a:lnTo>
                  <a:lnTo>
                    <a:pt x="1091" y="826"/>
                  </a:lnTo>
                  <a:lnTo>
                    <a:pt x="1088" y="826"/>
                  </a:lnTo>
                  <a:lnTo>
                    <a:pt x="1085" y="835"/>
                  </a:lnTo>
                  <a:lnTo>
                    <a:pt x="1081" y="836"/>
                  </a:lnTo>
                  <a:lnTo>
                    <a:pt x="1078" y="842"/>
                  </a:lnTo>
                  <a:lnTo>
                    <a:pt x="1100" y="846"/>
                  </a:lnTo>
                  <a:lnTo>
                    <a:pt x="1093" y="864"/>
                  </a:lnTo>
                  <a:lnTo>
                    <a:pt x="1091" y="872"/>
                  </a:lnTo>
                  <a:lnTo>
                    <a:pt x="1088" y="885"/>
                  </a:lnTo>
                  <a:lnTo>
                    <a:pt x="1074" y="897"/>
                  </a:lnTo>
                  <a:lnTo>
                    <a:pt x="1064" y="887"/>
                  </a:lnTo>
                  <a:lnTo>
                    <a:pt x="988" y="918"/>
                  </a:lnTo>
                  <a:lnTo>
                    <a:pt x="985" y="911"/>
                  </a:lnTo>
                  <a:lnTo>
                    <a:pt x="992" y="905"/>
                  </a:lnTo>
                  <a:lnTo>
                    <a:pt x="988" y="897"/>
                  </a:lnTo>
                  <a:lnTo>
                    <a:pt x="974" y="901"/>
                  </a:lnTo>
                  <a:lnTo>
                    <a:pt x="969" y="901"/>
                  </a:lnTo>
                  <a:lnTo>
                    <a:pt x="966" y="898"/>
                  </a:lnTo>
                  <a:lnTo>
                    <a:pt x="968" y="898"/>
                  </a:lnTo>
                  <a:lnTo>
                    <a:pt x="971" y="897"/>
                  </a:lnTo>
                  <a:lnTo>
                    <a:pt x="972" y="895"/>
                  </a:lnTo>
                  <a:lnTo>
                    <a:pt x="968" y="889"/>
                  </a:lnTo>
                  <a:lnTo>
                    <a:pt x="961" y="892"/>
                  </a:lnTo>
                  <a:lnTo>
                    <a:pt x="955" y="891"/>
                  </a:lnTo>
                  <a:lnTo>
                    <a:pt x="951" y="889"/>
                  </a:lnTo>
                  <a:lnTo>
                    <a:pt x="946" y="889"/>
                  </a:lnTo>
                  <a:lnTo>
                    <a:pt x="946" y="894"/>
                  </a:lnTo>
                  <a:lnTo>
                    <a:pt x="946" y="899"/>
                  </a:lnTo>
                  <a:lnTo>
                    <a:pt x="944" y="902"/>
                  </a:lnTo>
                  <a:lnTo>
                    <a:pt x="936" y="902"/>
                  </a:lnTo>
                  <a:lnTo>
                    <a:pt x="934" y="902"/>
                  </a:lnTo>
                  <a:lnTo>
                    <a:pt x="931" y="899"/>
                  </a:lnTo>
                  <a:lnTo>
                    <a:pt x="929" y="898"/>
                  </a:lnTo>
                  <a:lnTo>
                    <a:pt x="921" y="899"/>
                  </a:lnTo>
                  <a:lnTo>
                    <a:pt x="918" y="899"/>
                  </a:lnTo>
                  <a:lnTo>
                    <a:pt x="916" y="897"/>
                  </a:lnTo>
                  <a:lnTo>
                    <a:pt x="916" y="894"/>
                  </a:lnTo>
                  <a:lnTo>
                    <a:pt x="921" y="891"/>
                  </a:lnTo>
                  <a:lnTo>
                    <a:pt x="919" y="885"/>
                  </a:lnTo>
                  <a:lnTo>
                    <a:pt x="912" y="887"/>
                  </a:lnTo>
                  <a:lnTo>
                    <a:pt x="909" y="888"/>
                  </a:lnTo>
                  <a:lnTo>
                    <a:pt x="908" y="888"/>
                  </a:lnTo>
                  <a:lnTo>
                    <a:pt x="905" y="884"/>
                  </a:lnTo>
                  <a:lnTo>
                    <a:pt x="902" y="885"/>
                  </a:lnTo>
                  <a:lnTo>
                    <a:pt x="895" y="889"/>
                  </a:lnTo>
                  <a:lnTo>
                    <a:pt x="889" y="892"/>
                  </a:lnTo>
                  <a:lnTo>
                    <a:pt x="879" y="892"/>
                  </a:lnTo>
                  <a:lnTo>
                    <a:pt x="876" y="891"/>
                  </a:lnTo>
                  <a:lnTo>
                    <a:pt x="873" y="888"/>
                  </a:lnTo>
                  <a:lnTo>
                    <a:pt x="873" y="885"/>
                  </a:lnTo>
                  <a:lnTo>
                    <a:pt x="876" y="881"/>
                  </a:lnTo>
                  <a:lnTo>
                    <a:pt x="876" y="875"/>
                  </a:lnTo>
                  <a:lnTo>
                    <a:pt x="875" y="874"/>
                  </a:lnTo>
                  <a:lnTo>
                    <a:pt x="873" y="872"/>
                  </a:lnTo>
                  <a:lnTo>
                    <a:pt x="871" y="876"/>
                  </a:lnTo>
                  <a:lnTo>
                    <a:pt x="866" y="879"/>
                  </a:lnTo>
                  <a:lnTo>
                    <a:pt x="860" y="882"/>
                  </a:lnTo>
                  <a:lnTo>
                    <a:pt x="858" y="887"/>
                  </a:lnTo>
                  <a:lnTo>
                    <a:pt x="858" y="888"/>
                  </a:lnTo>
                  <a:lnTo>
                    <a:pt x="853" y="888"/>
                  </a:lnTo>
                  <a:lnTo>
                    <a:pt x="850" y="889"/>
                  </a:lnTo>
                  <a:lnTo>
                    <a:pt x="850" y="894"/>
                  </a:lnTo>
                  <a:lnTo>
                    <a:pt x="848" y="898"/>
                  </a:lnTo>
                  <a:lnTo>
                    <a:pt x="843" y="898"/>
                  </a:lnTo>
                  <a:lnTo>
                    <a:pt x="839" y="899"/>
                  </a:lnTo>
                  <a:lnTo>
                    <a:pt x="836" y="899"/>
                  </a:lnTo>
                  <a:lnTo>
                    <a:pt x="836" y="899"/>
                  </a:lnTo>
                  <a:lnTo>
                    <a:pt x="835" y="902"/>
                  </a:lnTo>
                  <a:lnTo>
                    <a:pt x="833" y="905"/>
                  </a:lnTo>
                  <a:lnTo>
                    <a:pt x="832" y="907"/>
                  </a:lnTo>
                  <a:lnTo>
                    <a:pt x="828" y="907"/>
                  </a:lnTo>
                  <a:lnTo>
                    <a:pt x="820" y="905"/>
                  </a:lnTo>
                  <a:lnTo>
                    <a:pt x="820" y="907"/>
                  </a:lnTo>
                  <a:lnTo>
                    <a:pt x="819" y="911"/>
                  </a:lnTo>
                  <a:lnTo>
                    <a:pt x="819" y="912"/>
                  </a:lnTo>
                  <a:lnTo>
                    <a:pt x="816" y="912"/>
                  </a:lnTo>
                  <a:lnTo>
                    <a:pt x="810" y="912"/>
                  </a:lnTo>
                  <a:lnTo>
                    <a:pt x="806" y="911"/>
                  </a:lnTo>
                  <a:lnTo>
                    <a:pt x="805" y="912"/>
                  </a:lnTo>
                  <a:lnTo>
                    <a:pt x="800" y="914"/>
                  </a:lnTo>
                  <a:lnTo>
                    <a:pt x="800" y="917"/>
                  </a:lnTo>
                  <a:lnTo>
                    <a:pt x="800" y="918"/>
                  </a:lnTo>
                  <a:lnTo>
                    <a:pt x="800" y="921"/>
                  </a:lnTo>
                  <a:lnTo>
                    <a:pt x="802" y="922"/>
                  </a:lnTo>
                  <a:lnTo>
                    <a:pt x="802" y="927"/>
                  </a:lnTo>
                  <a:lnTo>
                    <a:pt x="795" y="928"/>
                  </a:lnTo>
                  <a:lnTo>
                    <a:pt x="787" y="928"/>
                  </a:lnTo>
                  <a:lnTo>
                    <a:pt x="780" y="927"/>
                  </a:lnTo>
                  <a:lnTo>
                    <a:pt x="775" y="925"/>
                  </a:lnTo>
                  <a:lnTo>
                    <a:pt x="769" y="924"/>
                  </a:lnTo>
                  <a:lnTo>
                    <a:pt x="760" y="924"/>
                  </a:lnTo>
                  <a:lnTo>
                    <a:pt x="755" y="928"/>
                  </a:lnTo>
                  <a:lnTo>
                    <a:pt x="746" y="932"/>
                  </a:lnTo>
                  <a:lnTo>
                    <a:pt x="742" y="932"/>
                  </a:lnTo>
                  <a:lnTo>
                    <a:pt x="733" y="928"/>
                  </a:lnTo>
                  <a:lnTo>
                    <a:pt x="732" y="925"/>
                  </a:lnTo>
                  <a:lnTo>
                    <a:pt x="727" y="925"/>
                  </a:lnTo>
                  <a:lnTo>
                    <a:pt x="719" y="927"/>
                  </a:lnTo>
                  <a:lnTo>
                    <a:pt x="690" y="932"/>
                  </a:lnTo>
                  <a:lnTo>
                    <a:pt x="684" y="934"/>
                  </a:lnTo>
                  <a:lnTo>
                    <a:pt x="679" y="935"/>
                  </a:lnTo>
                  <a:lnTo>
                    <a:pt x="676" y="940"/>
                  </a:lnTo>
                  <a:lnTo>
                    <a:pt x="673" y="942"/>
                  </a:lnTo>
                  <a:lnTo>
                    <a:pt x="671" y="942"/>
                  </a:lnTo>
                  <a:lnTo>
                    <a:pt x="670" y="941"/>
                  </a:lnTo>
                  <a:lnTo>
                    <a:pt x="669" y="932"/>
                  </a:lnTo>
                  <a:lnTo>
                    <a:pt x="667" y="928"/>
                  </a:lnTo>
                  <a:lnTo>
                    <a:pt x="663" y="928"/>
                  </a:lnTo>
                  <a:lnTo>
                    <a:pt x="656" y="929"/>
                  </a:lnTo>
                  <a:lnTo>
                    <a:pt x="651" y="927"/>
                  </a:lnTo>
                  <a:lnTo>
                    <a:pt x="641" y="931"/>
                  </a:lnTo>
                  <a:lnTo>
                    <a:pt x="637" y="934"/>
                  </a:lnTo>
                  <a:lnTo>
                    <a:pt x="631" y="938"/>
                  </a:lnTo>
                  <a:lnTo>
                    <a:pt x="623" y="938"/>
                  </a:lnTo>
                  <a:lnTo>
                    <a:pt x="620" y="945"/>
                  </a:lnTo>
                  <a:lnTo>
                    <a:pt x="614" y="948"/>
                  </a:lnTo>
                  <a:lnTo>
                    <a:pt x="611" y="954"/>
                  </a:lnTo>
                  <a:lnTo>
                    <a:pt x="607" y="960"/>
                  </a:lnTo>
                  <a:lnTo>
                    <a:pt x="601" y="964"/>
                  </a:lnTo>
                  <a:lnTo>
                    <a:pt x="601" y="968"/>
                  </a:lnTo>
                  <a:lnTo>
                    <a:pt x="606" y="975"/>
                  </a:lnTo>
                  <a:lnTo>
                    <a:pt x="600" y="982"/>
                  </a:lnTo>
                  <a:lnTo>
                    <a:pt x="593" y="975"/>
                  </a:lnTo>
                  <a:lnTo>
                    <a:pt x="588" y="975"/>
                  </a:lnTo>
                  <a:lnTo>
                    <a:pt x="587" y="975"/>
                  </a:lnTo>
                  <a:lnTo>
                    <a:pt x="584" y="977"/>
                  </a:lnTo>
                  <a:lnTo>
                    <a:pt x="581" y="975"/>
                  </a:lnTo>
                  <a:lnTo>
                    <a:pt x="581" y="974"/>
                  </a:lnTo>
                  <a:lnTo>
                    <a:pt x="583" y="971"/>
                  </a:lnTo>
                  <a:lnTo>
                    <a:pt x="583" y="968"/>
                  </a:lnTo>
                  <a:lnTo>
                    <a:pt x="583" y="965"/>
                  </a:lnTo>
                  <a:lnTo>
                    <a:pt x="580" y="965"/>
                  </a:lnTo>
                  <a:lnTo>
                    <a:pt x="578" y="965"/>
                  </a:lnTo>
                  <a:lnTo>
                    <a:pt x="571" y="965"/>
                  </a:lnTo>
                  <a:lnTo>
                    <a:pt x="568" y="962"/>
                  </a:lnTo>
                  <a:lnTo>
                    <a:pt x="564" y="958"/>
                  </a:lnTo>
                  <a:lnTo>
                    <a:pt x="565" y="955"/>
                  </a:lnTo>
                  <a:lnTo>
                    <a:pt x="570" y="952"/>
                  </a:lnTo>
                  <a:lnTo>
                    <a:pt x="575" y="951"/>
                  </a:lnTo>
                  <a:lnTo>
                    <a:pt x="578" y="948"/>
                  </a:lnTo>
                  <a:lnTo>
                    <a:pt x="583" y="945"/>
                  </a:lnTo>
                  <a:lnTo>
                    <a:pt x="584" y="941"/>
                  </a:lnTo>
                  <a:lnTo>
                    <a:pt x="588" y="937"/>
                  </a:lnTo>
                  <a:lnTo>
                    <a:pt x="587" y="932"/>
                  </a:lnTo>
                  <a:lnTo>
                    <a:pt x="581" y="925"/>
                  </a:lnTo>
                  <a:lnTo>
                    <a:pt x="581" y="917"/>
                  </a:lnTo>
                  <a:lnTo>
                    <a:pt x="581" y="912"/>
                  </a:lnTo>
                  <a:lnTo>
                    <a:pt x="583" y="908"/>
                  </a:lnTo>
                  <a:lnTo>
                    <a:pt x="586" y="907"/>
                  </a:lnTo>
                  <a:lnTo>
                    <a:pt x="588" y="904"/>
                  </a:lnTo>
                  <a:lnTo>
                    <a:pt x="591" y="902"/>
                  </a:lnTo>
                  <a:lnTo>
                    <a:pt x="593" y="902"/>
                  </a:lnTo>
                  <a:lnTo>
                    <a:pt x="591" y="899"/>
                  </a:lnTo>
                  <a:lnTo>
                    <a:pt x="588" y="899"/>
                  </a:lnTo>
                  <a:lnTo>
                    <a:pt x="584" y="899"/>
                  </a:lnTo>
                  <a:lnTo>
                    <a:pt x="578" y="898"/>
                  </a:lnTo>
                  <a:lnTo>
                    <a:pt x="577" y="897"/>
                  </a:lnTo>
                  <a:lnTo>
                    <a:pt x="574" y="894"/>
                  </a:lnTo>
                  <a:lnTo>
                    <a:pt x="575" y="891"/>
                  </a:lnTo>
                  <a:lnTo>
                    <a:pt x="580" y="887"/>
                  </a:lnTo>
                  <a:lnTo>
                    <a:pt x="583" y="885"/>
                  </a:lnTo>
                  <a:lnTo>
                    <a:pt x="583" y="882"/>
                  </a:lnTo>
                  <a:lnTo>
                    <a:pt x="581" y="879"/>
                  </a:lnTo>
                  <a:lnTo>
                    <a:pt x="578" y="878"/>
                  </a:lnTo>
                  <a:lnTo>
                    <a:pt x="575" y="875"/>
                  </a:lnTo>
                  <a:lnTo>
                    <a:pt x="577" y="872"/>
                  </a:lnTo>
                  <a:lnTo>
                    <a:pt x="584" y="865"/>
                  </a:lnTo>
                  <a:lnTo>
                    <a:pt x="587" y="858"/>
                  </a:lnTo>
                  <a:lnTo>
                    <a:pt x="591" y="854"/>
                  </a:lnTo>
                  <a:lnTo>
                    <a:pt x="596" y="851"/>
                  </a:lnTo>
                  <a:lnTo>
                    <a:pt x="600" y="851"/>
                  </a:lnTo>
                  <a:lnTo>
                    <a:pt x="601" y="851"/>
                  </a:lnTo>
                  <a:lnTo>
                    <a:pt x="598" y="846"/>
                  </a:lnTo>
                  <a:lnTo>
                    <a:pt x="593" y="842"/>
                  </a:lnTo>
                  <a:lnTo>
                    <a:pt x="587" y="834"/>
                  </a:lnTo>
                  <a:lnTo>
                    <a:pt x="583" y="829"/>
                  </a:lnTo>
                  <a:lnTo>
                    <a:pt x="583" y="829"/>
                  </a:lnTo>
                  <a:lnTo>
                    <a:pt x="577" y="823"/>
                  </a:lnTo>
                  <a:lnTo>
                    <a:pt x="573" y="821"/>
                  </a:lnTo>
                  <a:lnTo>
                    <a:pt x="568" y="819"/>
                  </a:lnTo>
                  <a:lnTo>
                    <a:pt x="568" y="819"/>
                  </a:lnTo>
                  <a:lnTo>
                    <a:pt x="567" y="821"/>
                  </a:lnTo>
                  <a:lnTo>
                    <a:pt x="565" y="822"/>
                  </a:lnTo>
                  <a:lnTo>
                    <a:pt x="564" y="826"/>
                  </a:lnTo>
                  <a:lnTo>
                    <a:pt x="563" y="831"/>
                  </a:lnTo>
                  <a:lnTo>
                    <a:pt x="561" y="834"/>
                  </a:lnTo>
                  <a:lnTo>
                    <a:pt x="558" y="835"/>
                  </a:lnTo>
                  <a:lnTo>
                    <a:pt x="558" y="835"/>
                  </a:lnTo>
                  <a:lnTo>
                    <a:pt x="550" y="835"/>
                  </a:lnTo>
                  <a:lnTo>
                    <a:pt x="540" y="835"/>
                  </a:lnTo>
                  <a:lnTo>
                    <a:pt x="540" y="835"/>
                  </a:lnTo>
                  <a:lnTo>
                    <a:pt x="537" y="835"/>
                  </a:lnTo>
                  <a:lnTo>
                    <a:pt x="534" y="834"/>
                  </a:lnTo>
                  <a:lnTo>
                    <a:pt x="531" y="832"/>
                  </a:lnTo>
                  <a:lnTo>
                    <a:pt x="528" y="831"/>
                  </a:lnTo>
                  <a:lnTo>
                    <a:pt x="525" y="832"/>
                  </a:lnTo>
                  <a:lnTo>
                    <a:pt x="520" y="835"/>
                  </a:lnTo>
                  <a:lnTo>
                    <a:pt x="512" y="832"/>
                  </a:lnTo>
                  <a:lnTo>
                    <a:pt x="505" y="834"/>
                  </a:lnTo>
                  <a:lnTo>
                    <a:pt x="498" y="834"/>
                  </a:lnTo>
                  <a:lnTo>
                    <a:pt x="482" y="832"/>
                  </a:lnTo>
                  <a:lnTo>
                    <a:pt x="439" y="838"/>
                  </a:lnTo>
                  <a:lnTo>
                    <a:pt x="425" y="778"/>
                  </a:lnTo>
                  <a:lnTo>
                    <a:pt x="338" y="771"/>
                  </a:lnTo>
                  <a:lnTo>
                    <a:pt x="315" y="689"/>
                  </a:lnTo>
                  <a:lnTo>
                    <a:pt x="283" y="656"/>
                  </a:lnTo>
                  <a:lnTo>
                    <a:pt x="225" y="623"/>
                  </a:lnTo>
                  <a:lnTo>
                    <a:pt x="226" y="613"/>
                  </a:lnTo>
                  <a:lnTo>
                    <a:pt x="97" y="566"/>
                  </a:lnTo>
                  <a:lnTo>
                    <a:pt x="93" y="556"/>
                  </a:lnTo>
                  <a:lnTo>
                    <a:pt x="33" y="531"/>
                  </a:lnTo>
                  <a:close/>
                </a:path>
              </a:pathLst>
            </a:custGeom>
            <a:solidFill>
              <a:srgbClr val="FFF27F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14" name="Freeform 162"/>
            <p:cNvSpPr>
              <a:spLocks noEditPoints="1"/>
            </p:cNvSpPr>
            <p:nvPr/>
          </p:nvSpPr>
          <p:spPr bwMode="auto">
            <a:xfrm>
              <a:off x="4087198" y="2925743"/>
              <a:ext cx="914635" cy="1341425"/>
            </a:xfrm>
            <a:custGeom>
              <a:avLst/>
              <a:gdLst>
                <a:gd name="T0" fmla="*/ 767 w 1496"/>
                <a:gd name="T1" fmla="*/ 977 h 2027"/>
                <a:gd name="T2" fmla="*/ 866 w 1496"/>
                <a:gd name="T3" fmla="*/ 914 h 2027"/>
                <a:gd name="T4" fmla="*/ 913 w 1496"/>
                <a:gd name="T5" fmla="*/ 697 h 2027"/>
                <a:gd name="T6" fmla="*/ 1024 w 1496"/>
                <a:gd name="T7" fmla="*/ 479 h 2027"/>
                <a:gd name="T8" fmla="*/ 1107 w 1496"/>
                <a:gd name="T9" fmla="*/ 265 h 2027"/>
                <a:gd name="T10" fmla="*/ 1131 w 1496"/>
                <a:gd name="T11" fmla="*/ 134 h 2027"/>
                <a:gd name="T12" fmla="*/ 986 w 1496"/>
                <a:gd name="T13" fmla="*/ 99 h 2027"/>
                <a:gd name="T14" fmla="*/ 739 w 1496"/>
                <a:gd name="T15" fmla="*/ 313 h 2027"/>
                <a:gd name="T16" fmla="*/ 689 w 1496"/>
                <a:gd name="T17" fmla="*/ 440 h 2027"/>
                <a:gd name="T18" fmla="*/ 701 w 1496"/>
                <a:gd name="T19" fmla="*/ 535 h 2027"/>
                <a:gd name="T20" fmla="*/ 668 w 1496"/>
                <a:gd name="T21" fmla="*/ 701 h 2027"/>
                <a:gd name="T22" fmla="*/ 610 w 1496"/>
                <a:gd name="T23" fmla="*/ 645 h 2027"/>
                <a:gd name="T24" fmla="*/ 537 w 1496"/>
                <a:gd name="T25" fmla="*/ 486 h 2027"/>
                <a:gd name="T26" fmla="*/ 520 w 1496"/>
                <a:gd name="T27" fmla="*/ 548 h 2027"/>
                <a:gd name="T28" fmla="*/ 462 w 1496"/>
                <a:gd name="T29" fmla="*/ 747 h 2027"/>
                <a:gd name="T30" fmla="*/ 312 w 1496"/>
                <a:gd name="T31" fmla="*/ 818 h 2027"/>
                <a:gd name="T32" fmla="*/ 130 w 1496"/>
                <a:gd name="T33" fmla="*/ 881 h 2027"/>
                <a:gd name="T34" fmla="*/ 5 w 1496"/>
                <a:gd name="T35" fmla="*/ 1069 h 2027"/>
                <a:gd name="T36" fmla="*/ 252 w 1496"/>
                <a:gd name="T37" fmla="*/ 1211 h 2027"/>
                <a:gd name="T38" fmla="*/ 455 w 1496"/>
                <a:gd name="T39" fmla="*/ 1354 h 2027"/>
                <a:gd name="T40" fmla="*/ 793 w 1496"/>
                <a:gd name="T41" fmla="*/ 1726 h 2027"/>
                <a:gd name="T42" fmla="*/ 1287 w 1496"/>
                <a:gd name="T43" fmla="*/ 1986 h 2027"/>
                <a:gd name="T44" fmla="*/ 1419 w 1496"/>
                <a:gd name="T45" fmla="*/ 1812 h 2027"/>
                <a:gd name="T46" fmla="*/ 1389 w 1496"/>
                <a:gd name="T47" fmla="*/ 1420 h 2027"/>
                <a:gd name="T48" fmla="*/ 1410 w 1496"/>
                <a:gd name="T49" fmla="*/ 1077 h 2027"/>
                <a:gd name="T50" fmla="*/ 1440 w 1496"/>
                <a:gd name="T51" fmla="*/ 831 h 2027"/>
                <a:gd name="T52" fmla="*/ 1375 w 1496"/>
                <a:gd name="T53" fmla="*/ 669 h 2027"/>
                <a:gd name="T54" fmla="*/ 1439 w 1496"/>
                <a:gd name="T55" fmla="*/ 552 h 2027"/>
                <a:gd name="T56" fmla="*/ 1354 w 1496"/>
                <a:gd name="T57" fmla="*/ 337 h 2027"/>
                <a:gd name="T58" fmla="*/ 1263 w 1496"/>
                <a:gd name="T59" fmla="*/ 353 h 2027"/>
                <a:gd name="T60" fmla="*/ 1332 w 1496"/>
                <a:gd name="T61" fmla="*/ 486 h 2027"/>
                <a:gd name="T62" fmla="*/ 1356 w 1496"/>
                <a:gd name="T63" fmla="*/ 552 h 2027"/>
                <a:gd name="T64" fmla="*/ 1290 w 1496"/>
                <a:gd name="T65" fmla="*/ 490 h 2027"/>
                <a:gd name="T66" fmla="*/ 1234 w 1496"/>
                <a:gd name="T67" fmla="*/ 331 h 2027"/>
                <a:gd name="T68" fmla="*/ 1277 w 1496"/>
                <a:gd name="T69" fmla="*/ 177 h 2027"/>
                <a:gd name="T70" fmla="*/ 1097 w 1496"/>
                <a:gd name="T71" fmla="*/ 476 h 2027"/>
                <a:gd name="T72" fmla="*/ 1009 w 1496"/>
                <a:gd name="T73" fmla="*/ 742 h 2027"/>
                <a:gd name="T74" fmla="*/ 1180 w 1496"/>
                <a:gd name="T75" fmla="*/ 860 h 2027"/>
                <a:gd name="T76" fmla="*/ 1120 w 1496"/>
                <a:gd name="T77" fmla="*/ 1000 h 2027"/>
                <a:gd name="T78" fmla="*/ 1178 w 1496"/>
                <a:gd name="T79" fmla="*/ 1065 h 2027"/>
                <a:gd name="T80" fmla="*/ 1112 w 1496"/>
                <a:gd name="T81" fmla="*/ 1059 h 2027"/>
                <a:gd name="T82" fmla="*/ 1138 w 1496"/>
                <a:gd name="T83" fmla="*/ 891 h 2027"/>
                <a:gd name="T84" fmla="*/ 969 w 1496"/>
                <a:gd name="T85" fmla="*/ 913 h 2027"/>
                <a:gd name="T86" fmla="*/ 727 w 1496"/>
                <a:gd name="T87" fmla="*/ 1092 h 2027"/>
                <a:gd name="T88" fmla="*/ 644 w 1496"/>
                <a:gd name="T89" fmla="*/ 1077 h 2027"/>
                <a:gd name="T90" fmla="*/ 435 w 1496"/>
                <a:gd name="T91" fmla="*/ 939 h 2027"/>
                <a:gd name="T92" fmla="*/ 446 w 1496"/>
                <a:gd name="T93" fmla="*/ 923 h 2027"/>
                <a:gd name="T94" fmla="*/ 587 w 1496"/>
                <a:gd name="T95" fmla="*/ 969 h 2027"/>
                <a:gd name="T96" fmla="*/ 658 w 1496"/>
                <a:gd name="T97" fmla="*/ 1012 h 2027"/>
                <a:gd name="T98" fmla="*/ 697 w 1496"/>
                <a:gd name="T99" fmla="*/ 1035 h 2027"/>
                <a:gd name="T100" fmla="*/ 610 w 1496"/>
                <a:gd name="T101" fmla="*/ 990 h 2027"/>
                <a:gd name="T102" fmla="*/ 580 w 1496"/>
                <a:gd name="T103" fmla="*/ 1013 h 2027"/>
                <a:gd name="T104" fmla="*/ 650 w 1496"/>
                <a:gd name="T105" fmla="*/ 1050 h 2027"/>
                <a:gd name="T106" fmla="*/ 1244 w 1496"/>
                <a:gd name="T107" fmla="*/ 147 h 2027"/>
                <a:gd name="T108" fmla="*/ 1168 w 1496"/>
                <a:gd name="T109" fmla="*/ 175 h 2027"/>
                <a:gd name="T110" fmla="*/ 716 w 1496"/>
                <a:gd name="T111" fmla="*/ 336 h 2027"/>
                <a:gd name="T112" fmla="*/ 618 w 1496"/>
                <a:gd name="T113" fmla="*/ 616 h 2027"/>
                <a:gd name="T114" fmla="*/ 648 w 1496"/>
                <a:gd name="T115" fmla="*/ 512 h 2027"/>
                <a:gd name="T116" fmla="*/ 1148 w 1496"/>
                <a:gd name="T117" fmla="*/ 23 h 2027"/>
                <a:gd name="T118" fmla="*/ 1091 w 1496"/>
                <a:gd name="T119" fmla="*/ 66 h 2027"/>
                <a:gd name="T120" fmla="*/ 1145 w 1496"/>
                <a:gd name="T121" fmla="*/ 29 h 2027"/>
                <a:gd name="T122" fmla="*/ 1339 w 1496"/>
                <a:gd name="T123" fmla="*/ 151 h 2027"/>
                <a:gd name="T124" fmla="*/ 1365 w 1496"/>
                <a:gd name="T125" fmla="*/ 101 h 2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96" h="2027">
                  <a:moveTo>
                    <a:pt x="703" y="1002"/>
                  </a:moveTo>
                  <a:lnTo>
                    <a:pt x="704" y="1000"/>
                  </a:lnTo>
                  <a:lnTo>
                    <a:pt x="706" y="999"/>
                  </a:lnTo>
                  <a:lnTo>
                    <a:pt x="709" y="1002"/>
                  </a:lnTo>
                  <a:lnTo>
                    <a:pt x="709" y="1004"/>
                  </a:lnTo>
                  <a:lnTo>
                    <a:pt x="709" y="1009"/>
                  </a:lnTo>
                  <a:lnTo>
                    <a:pt x="710" y="1013"/>
                  </a:lnTo>
                  <a:lnTo>
                    <a:pt x="713" y="1013"/>
                  </a:lnTo>
                  <a:lnTo>
                    <a:pt x="714" y="1010"/>
                  </a:lnTo>
                  <a:lnTo>
                    <a:pt x="717" y="1010"/>
                  </a:lnTo>
                  <a:lnTo>
                    <a:pt x="720" y="1012"/>
                  </a:lnTo>
                  <a:lnTo>
                    <a:pt x="720" y="1014"/>
                  </a:lnTo>
                  <a:lnTo>
                    <a:pt x="720" y="1019"/>
                  </a:lnTo>
                  <a:lnTo>
                    <a:pt x="721" y="1020"/>
                  </a:lnTo>
                  <a:lnTo>
                    <a:pt x="724" y="1017"/>
                  </a:lnTo>
                  <a:lnTo>
                    <a:pt x="727" y="1013"/>
                  </a:lnTo>
                  <a:lnTo>
                    <a:pt x="729" y="1012"/>
                  </a:lnTo>
                  <a:lnTo>
                    <a:pt x="734" y="1009"/>
                  </a:lnTo>
                  <a:lnTo>
                    <a:pt x="737" y="1007"/>
                  </a:lnTo>
                  <a:lnTo>
                    <a:pt x="743" y="1004"/>
                  </a:lnTo>
                  <a:lnTo>
                    <a:pt x="746" y="1004"/>
                  </a:lnTo>
                  <a:lnTo>
                    <a:pt x="749" y="1003"/>
                  </a:lnTo>
                  <a:lnTo>
                    <a:pt x="750" y="1002"/>
                  </a:lnTo>
                  <a:lnTo>
                    <a:pt x="749" y="999"/>
                  </a:lnTo>
                  <a:lnTo>
                    <a:pt x="747" y="997"/>
                  </a:lnTo>
                  <a:lnTo>
                    <a:pt x="744" y="996"/>
                  </a:lnTo>
                  <a:lnTo>
                    <a:pt x="744" y="994"/>
                  </a:lnTo>
                  <a:lnTo>
                    <a:pt x="746" y="993"/>
                  </a:lnTo>
                  <a:lnTo>
                    <a:pt x="747" y="994"/>
                  </a:lnTo>
                  <a:lnTo>
                    <a:pt x="750" y="996"/>
                  </a:lnTo>
                  <a:lnTo>
                    <a:pt x="752" y="997"/>
                  </a:lnTo>
                  <a:lnTo>
                    <a:pt x="753" y="994"/>
                  </a:lnTo>
                  <a:lnTo>
                    <a:pt x="752" y="993"/>
                  </a:lnTo>
                  <a:lnTo>
                    <a:pt x="750" y="993"/>
                  </a:lnTo>
                  <a:lnTo>
                    <a:pt x="747" y="992"/>
                  </a:lnTo>
                  <a:lnTo>
                    <a:pt x="749" y="989"/>
                  </a:lnTo>
                  <a:lnTo>
                    <a:pt x="752" y="990"/>
                  </a:lnTo>
                  <a:lnTo>
                    <a:pt x="752" y="990"/>
                  </a:lnTo>
                  <a:lnTo>
                    <a:pt x="754" y="990"/>
                  </a:lnTo>
                  <a:lnTo>
                    <a:pt x="757" y="989"/>
                  </a:lnTo>
                  <a:lnTo>
                    <a:pt x="762" y="990"/>
                  </a:lnTo>
                  <a:lnTo>
                    <a:pt x="763" y="992"/>
                  </a:lnTo>
                  <a:lnTo>
                    <a:pt x="764" y="993"/>
                  </a:lnTo>
                  <a:lnTo>
                    <a:pt x="767" y="992"/>
                  </a:lnTo>
                  <a:lnTo>
                    <a:pt x="769" y="987"/>
                  </a:lnTo>
                  <a:lnTo>
                    <a:pt x="770" y="982"/>
                  </a:lnTo>
                  <a:lnTo>
                    <a:pt x="770" y="979"/>
                  </a:lnTo>
                  <a:lnTo>
                    <a:pt x="767" y="977"/>
                  </a:lnTo>
                  <a:lnTo>
                    <a:pt x="764" y="977"/>
                  </a:lnTo>
                  <a:lnTo>
                    <a:pt x="764" y="973"/>
                  </a:lnTo>
                  <a:lnTo>
                    <a:pt x="764" y="969"/>
                  </a:lnTo>
                  <a:lnTo>
                    <a:pt x="766" y="966"/>
                  </a:lnTo>
                  <a:lnTo>
                    <a:pt x="767" y="967"/>
                  </a:lnTo>
                  <a:lnTo>
                    <a:pt x="770" y="967"/>
                  </a:lnTo>
                  <a:lnTo>
                    <a:pt x="772" y="967"/>
                  </a:lnTo>
                  <a:lnTo>
                    <a:pt x="774" y="967"/>
                  </a:lnTo>
                  <a:lnTo>
                    <a:pt x="777" y="966"/>
                  </a:lnTo>
                  <a:lnTo>
                    <a:pt x="779" y="967"/>
                  </a:lnTo>
                  <a:lnTo>
                    <a:pt x="779" y="969"/>
                  </a:lnTo>
                  <a:lnTo>
                    <a:pt x="779" y="972"/>
                  </a:lnTo>
                  <a:lnTo>
                    <a:pt x="782" y="972"/>
                  </a:lnTo>
                  <a:lnTo>
                    <a:pt x="786" y="972"/>
                  </a:lnTo>
                  <a:lnTo>
                    <a:pt x="789" y="972"/>
                  </a:lnTo>
                  <a:lnTo>
                    <a:pt x="792" y="970"/>
                  </a:lnTo>
                  <a:lnTo>
                    <a:pt x="794" y="964"/>
                  </a:lnTo>
                  <a:lnTo>
                    <a:pt x="794" y="960"/>
                  </a:lnTo>
                  <a:lnTo>
                    <a:pt x="796" y="957"/>
                  </a:lnTo>
                  <a:lnTo>
                    <a:pt x="797" y="951"/>
                  </a:lnTo>
                  <a:lnTo>
                    <a:pt x="800" y="950"/>
                  </a:lnTo>
                  <a:lnTo>
                    <a:pt x="803" y="950"/>
                  </a:lnTo>
                  <a:lnTo>
                    <a:pt x="807" y="949"/>
                  </a:lnTo>
                  <a:lnTo>
                    <a:pt x="810" y="946"/>
                  </a:lnTo>
                  <a:lnTo>
                    <a:pt x="812" y="944"/>
                  </a:lnTo>
                  <a:lnTo>
                    <a:pt x="812" y="940"/>
                  </a:lnTo>
                  <a:lnTo>
                    <a:pt x="813" y="937"/>
                  </a:lnTo>
                  <a:lnTo>
                    <a:pt x="813" y="934"/>
                  </a:lnTo>
                  <a:lnTo>
                    <a:pt x="815" y="934"/>
                  </a:lnTo>
                  <a:lnTo>
                    <a:pt x="819" y="936"/>
                  </a:lnTo>
                  <a:lnTo>
                    <a:pt x="825" y="939"/>
                  </a:lnTo>
                  <a:lnTo>
                    <a:pt x="826" y="939"/>
                  </a:lnTo>
                  <a:lnTo>
                    <a:pt x="832" y="939"/>
                  </a:lnTo>
                  <a:lnTo>
                    <a:pt x="835" y="937"/>
                  </a:lnTo>
                  <a:lnTo>
                    <a:pt x="837" y="934"/>
                  </a:lnTo>
                  <a:lnTo>
                    <a:pt x="837" y="931"/>
                  </a:lnTo>
                  <a:lnTo>
                    <a:pt x="840" y="930"/>
                  </a:lnTo>
                  <a:lnTo>
                    <a:pt x="843" y="930"/>
                  </a:lnTo>
                  <a:lnTo>
                    <a:pt x="847" y="930"/>
                  </a:lnTo>
                  <a:lnTo>
                    <a:pt x="850" y="929"/>
                  </a:lnTo>
                  <a:lnTo>
                    <a:pt x="852" y="929"/>
                  </a:lnTo>
                  <a:lnTo>
                    <a:pt x="852" y="933"/>
                  </a:lnTo>
                  <a:lnTo>
                    <a:pt x="853" y="933"/>
                  </a:lnTo>
                  <a:lnTo>
                    <a:pt x="856" y="930"/>
                  </a:lnTo>
                  <a:lnTo>
                    <a:pt x="856" y="924"/>
                  </a:lnTo>
                  <a:lnTo>
                    <a:pt x="858" y="919"/>
                  </a:lnTo>
                  <a:lnTo>
                    <a:pt x="862" y="916"/>
                  </a:lnTo>
                  <a:lnTo>
                    <a:pt x="866" y="914"/>
                  </a:lnTo>
                  <a:lnTo>
                    <a:pt x="868" y="913"/>
                  </a:lnTo>
                  <a:lnTo>
                    <a:pt x="870" y="910"/>
                  </a:lnTo>
                  <a:lnTo>
                    <a:pt x="870" y="906"/>
                  </a:lnTo>
                  <a:lnTo>
                    <a:pt x="873" y="900"/>
                  </a:lnTo>
                  <a:lnTo>
                    <a:pt x="873" y="897"/>
                  </a:lnTo>
                  <a:lnTo>
                    <a:pt x="875" y="888"/>
                  </a:lnTo>
                  <a:lnTo>
                    <a:pt x="873" y="881"/>
                  </a:lnTo>
                  <a:lnTo>
                    <a:pt x="875" y="876"/>
                  </a:lnTo>
                  <a:lnTo>
                    <a:pt x="879" y="870"/>
                  </a:lnTo>
                  <a:lnTo>
                    <a:pt x="883" y="864"/>
                  </a:lnTo>
                  <a:lnTo>
                    <a:pt x="889" y="855"/>
                  </a:lnTo>
                  <a:lnTo>
                    <a:pt x="893" y="850"/>
                  </a:lnTo>
                  <a:lnTo>
                    <a:pt x="899" y="845"/>
                  </a:lnTo>
                  <a:lnTo>
                    <a:pt x="908" y="841"/>
                  </a:lnTo>
                  <a:lnTo>
                    <a:pt x="916" y="837"/>
                  </a:lnTo>
                  <a:lnTo>
                    <a:pt x="919" y="834"/>
                  </a:lnTo>
                  <a:lnTo>
                    <a:pt x="921" y="830"/>
                  </a:lnTo>
                  <a:lnTo>
                    <a:pt x="922" y="825"/>
                  </a:lnTo>
                  <a:lnTo>
                    <a:pt x="922" y="825"/>
                  </a:lnTo>
                  <a:lnTo>
                    <a:pt x="925" y="825"/>
                  </a:lnTo>
                  <a:lnTo>
                    <a:pt x="928" y="827"/>
                  </a:lnTo>
                  <a:lnTo>
                    <a:pt x="928" y="828"/>
                  </a:lnTo>
                  <a:lnTo>
                    <a:pt x="928" y="830"/>
                  </a:lnTo>
                  <a:lnTo>
                    <a:pt x="926" y="833"/>
                  </a:lnTo>
                  <a:lnTo>
                    <a:pt x="925" y="834"/>
                  </a:lnTo>
                  <a:lnTo>
                    <a:pt x="923" y="837"/>
                  </a:lnTo>
                  <a:lnTo>
                    <a:pt x="926" y="838"/>
                  </a:lnTo>
                  <a:lnTo>
                    <a:pt x="929" y="834"/>
                  </a:lnTo>
                  <a:lnTo>
                    <a:pt x="932" y="831"/>
                  </a:lnTo>
                  <a:lnTo>
                    <a:pt x="932" y="824"/>
                  </a:lnTo>
                  <a:lnTo>
                    <a:pt x="932" y="818"/>
                  </a:lnTo>
                  <a:lnTo>
                    <a:pt x="931" y="813"/>
                  </a:lnTo>
                  <a:lnTo>
                    <a:pt x="928" y="803"/>
                  </a:lnTo>
                  <a:lnTo>
                    <a:pt x="928" y="797"/>
                  </a:lnTo>
                  <a:lnTo>
                    <a:pt x="925" y="790"/>
                  </a:lnTo>
                  <a:lnTo>
                    <a:pt x="919" y="780"/>
                  </a:lnTo>
                  <a:lnTo>
                    <a:pt x="918" y="774"/>
                  </a:lnTo>
                  <a:lnTo>
                    <a:pt x="915" y="770"/>
                  </a:lnTo>
                  <a:lnTo>
                    <a:pt x="911" y="764"/>
                  </a:lnTo>
                  <a:lnTo>
                    <a:pt x="909" y="758"/>
                  </a:lnTo>
                  <a:lnTo>
                    <a:pt x="906" y="755"/>
                  </a:lnTo>
                  <a:lnTo>
                    <a:pt x="906" y="748"/>
                  </a:lnTo>
                  <a:lnTo>
                    <a:pt x="905" y="739"/>
                  </a:lnTo>
                  <a:lnTo>
                    <a:pt x="906" y="728"/>
                  </a:lnTo>
                  <a:lnTo>
                    <a:pt x="908" y="719"/>
                  </a:lnTo>
                  <a:lnTo>
                    <a:pt x="908" y="714"/>
                  </a:lnTo>
                  <a:lnTo>
                    <a:pt x="909" y="707"/>
                  </a:lnTo>
                  <a:lnTo>
                    <a:pt x="913" y="697"/>
                  </a:lnTo>
                  <a:lnTo>
                    <a:pt x="916" y="689"/>
                  </a:lnTo>
                  <a:lnTo>
                    <a:pt x="921" y="684"/>
                  </a:lnTo>
                  <a:lnTo>
                    <a:pt x="925" y="682"/>
                  </a:lnTo>
                  <a:lnTo>
                    <a:pt x="926" y="681"/>
                  </a:lnTo>
                  <a:lnTo>
                    <a:pt x="929" y="679"/>
                  </a:lnTo>
                  <a:lnTo>
                    <a:pt x="931" y="676"/>
                  </a:lnTo>
                  <a:lnTo>
                    <a:pt x="931" y="672"/>
                  </a:lnTo>
                  <a:lnTo>
                    <a:pt x="932" y="668"/>
                  </a:lnTo>
                  <a:lnTo>
                    <a:pt x="932" y="664"/>
                  </a:lnTo>
                  <a:lnTo>
                    <a:pt x="933" y="662"/>
                  </a:lnTo>
                  <a:lnTo>
                    <a:pt x="936" y="658"/>
                  </a:lnTo>
                  <a:lnTo>
                    <a:pt x="939" y="658"/>
                  </a:lnTo>
                  <a:lnTo>
                    <a:pt x="943" y="654"/>
                  </a:lnTo>
                  <a:lnTo>
                    <a:pt x="945" y="651"/>
                  </a:lnTo>
                  <a:lnTo>
                    <a:pt x="946" y="645"/>
                  </a:lnTo>
                  <a:lnTo>
                    <a:pt x="946" y="635"/>
                  </a:lnTo>
                  <a:lnTo>
                    <a:pt x="948" y="626"/>
                  </a:lnTo>
                  <a:lnTo>
                    <a:pt x="949" y="623"/>
                  </a:lnTo>
                  <a:lnTo>
                    <a:pt x="953" y="619"/>
                  </a:lnTo>
                  <a:lnTo>
                    <a:pt x="959" y="612"/>
                  </a:lnTo>
                  <a:lnTo>
                    <a:pt x="963" y="608"/>
                  </a:lnTo>
                  <a:lnTo>
                    <a:pt x="968" y="599"/>
                  </a:lnTo>
                  <a:lnTo>
                    <a:pt x="971" y="589"/>
                  </a:lnTo>
                  <a:lnTo>
                    <a:pt x="971" y="585"/>
                  </a:lnTo>
                  <a:lnTo>
                    <a:pt x="971" y="576"/>
                  </a:lnTo>
                  <a:lnTo>
                    <a:pt x="971" y="570"/>
                  </a:lnTo>
                  <a:lnTo>
                    <a:pt x="975" y="565"/>
                  </a:lnTo>
                  <a:lnTo>
                    <a:pt x="982" y="558"/>
                  </a:lnTo>
                  <a:lnTo>
                    <a:pt x="984" y="555"/>
                  </a:lnTo>
                  <a:lnTo>
                    <a:pt x="985" y="549"/>
                  </a:lnTo>
                  <a:lnTo>
                    <a:pt x="985" y="543"/>
                  </a:lnTo>
                  <a:lnTo>
                    <a:pt x="984" y="540"/>
                  </a:lnTo>
                  <a:lnTo>
                    <a:pt x="982" y="535"/>
                  </a:lnTo>
                  <a:lnTo>
                    <a:pt x="985" y="529"/>
                  </a:lnTo>
                  <a:lnTo>
                    <a:pt x="986" y="529"/>
                  </a:lnTo>
                  <a:lnTo>
                    <a:pt x="988" y="526"/>
                  </a:lnTo>
                  <a:lnTo>
                    <a:pt x="992" y="523"/>
                  </a:lnTo>
                  <a:lnTo>
                    <a:pt x="999" y="517"/>
                  </a:lnTo>
                  <a:lnTo>
                    <a:pt x="1004" y="516"/>
                  </a:lnTo>
                  <a:lnTo>
                    <a:pt x="1008" y="516"/>
                  </a:lnTo>
                  <a:lnTo>
                    <a:pt x="1012" y="515"/>
                  </a:lnTo>
                  <a:lnTo>
                    <a:pt x="1014" y="509"/>
                  </a:lnTo>
                  <a:lnTo>
                    <a:pt x="1015" y="505"/>
                  </a:lnTo>
                  <a:lnTo>
                    <a:pt x="1018" y="492"/>
                  </a:lnTo>
                  <a:lnTo>
                    <a:pt x="1018" y="490"/>
                  </a:lnTo>
                  <a:lnTo>
                    <a:pt x="1019" y="487"/>
                  </a:lnTo>
                  <a:lnTo>
                    <a:pt x="1021" y="483"/>
                  </a:lnTo>
                  <a:lnTo>
                    <a:pt x="1024" y="479"/>
                  </a:lnTo>
                  <a:lnTo>
                    <a:pt x="1028" y="475"/>
                  </a:lnTo>
                  <a:lnTo>
                    <a:pt x="1029" y="473"/>
                  </a:lnTo>
                  <a:lnTo>
                    <a:pt x="1032" y="467"/>
                  </a:lnTo>
                  <a:lnTo>
                    <a:pt x="1037" y="460"/>
                  </a:lnTo>
                  <a:lnTo>
                    <a:pt x="1041" y="452"/>
                  </a:lnTo>
                  <a:lnTo>
                    <a:pt x="1042" y="443"/>
                  </a:lnTo>
                  <a:lnTo>
                    <a:pt x="1044" y="439"/>
                  </a:lnTo>
                  <a:lnTo>
                    <a:pt x="1042" y="433"/>
                  </a:lnTo>
                  <a:lnTo>
                    <a:pt x="1042" y="427"/>
                  </a:lnTo>
                  <a:lnTo>
                    <a:pt x="1042" y="423"/>
                  </a:lnTo>
                  <a:lnTo>
                    <a:pt x="1044" y="419"/>
                  </a:lnTo>
                  <a:lnTo>
                    <a:pt x="1047" y="413"/>
                  </a:lnTo>
                  <a:lnTo>
                    <a:pt x="1049" y="407"/>
                  </a:lnTo>
                  <a:lnTo>
                    <a:pt x="1048" y="401"/>
                  </a:lnTo>
                  <a:lnTo>
                    <a:pt x="1048" y="397"/>
                  </a:lnTo>
                  <a:lnTo>
                    <a:pt x="1047" y="396"/>
                  </a:lnTo>
                  <a:lnTo>
                    <a:pt x="1044" y="389"/>
                  </a:lnTo>
                  <a:lnTo>
                    <a:pt x="1041" y="383"/>
                  </a:lnTo>
                  <a:lnTo>
                    <a:pt x="1038" y="374"/>
                  </a:lnTo>
                  <a:lnTo>
                    <a:pt x="1037" y="367"/>
                  </a:lnTo>
                  <a:lnTo>
                    <a:pt x="1037" y="361"/>
                  </a:lnTo>
                  <a:lnTo>
                    <a:pt x="1037" y="354"/>
                  </a:lnTo>
                  <a:lnTo>
                    <a:pt x="1038" y="348"/>
                  </a:lnTo>
                  <a:lnTo>
                    <a:pt x="1037" y="341"/>
                  </a:lnTo>
                  <a:lnTo>
                    <a:pt x="1037" y="337"/>
                  </a:lnTo>
                  <a:lnTo>
                    <a:pt x="1037" y="331"/>
                  </a:lnTo>
                  <a:lnTo>
                    <a:pt x="1039" y="326"/>
                  </a:lnTo>
                  <a:lnTo>
                    <a:pt x="1044" y="324"/>
                  </a:lnTo>
                  <a:lnTo>
                    <a:pt x="1047" y="323"/>
                  </a:lnTo>
                  <a:lnTo>
                    <a:pt x="1051" y="323"/>
                  </a:lnTo>
                  <a:lnTo>
                    <a:pt x="1052" y="323"/>
                  </a:lnTo>
                  <a:lnTo>
                    <a:pt x="1055" y="323"/>
                  </a:lnTo>
                  <a:lnTo>
                    <a:pt x="1058" y="321"/>
                  </a:lnTo>
                  <a:lnTo>
                    <a:pt x="1059" y="321"/>
                  </a:lnTo>
                  <a:lnTo>
                    <a:pt x="1062" y="318"/>
                  </a:lnTo>
                  <a:lnTo>
                    <a:pt x="1065" y="316"/>
                  </a:lnTo>
                  <a:lnTo>
                    <a:pt x="1069" y="314"/>
                  </a:lnTo>
                  <a:lnTo>
                    <a:pt x="1072" y="311"/>
                  </a:lnTo>
                  <a:lnTo>
                    <a:pt x="1077" y="308"/>
                  </a:lnTo>
                  <a:lnTo>
                    <a:pt x="1080" y="306"/>
                  </a:lnTo>
                  <a:lnTo>
                    <a:pt x="1082" y="298"/>
                  </a:lnTo>
                  <a:lnTo>
                    <a:pt x="1084" y="293"/>
                  </a:lnTo>
                  <a:lnTo>
                    <a:pt x="1087" y="288"/>
                  </a:lnTo>
                  <a:lnTo>
                    <a:pt x="1092" y="285"/>
                  </a:lnTo>
                  <a:lnTo>
                    <a:pt x="1097" y="283"/>
                  </a:lnTo>
                  <a:lnTo>
                    <a:pt x="1102" y="277"/>
                  </a:lnTo>
                  <a:lnTo>
                    <a:pt x="1104" y="271"/>
                  </a:lnTo>
                  <a:lnTo>
                    <a:pt x="1107" y="265"/>
                  </a:lnTo>
                  <a:lnTo>
                    <a:pt x="1110" y="261"/>
                  </a:lnTo>
                  <a:lnTo>
                    <a:pt x="1114" y="257"/>
                  </a:lnTo>
                  <a:lnTo>
                    <a:pt x="1120" y="254"/>
                  </a:lnTo>
                  <a:lnTo>
                    <a:pt x="1122" y="248"/>
                  </a:lnTo>
                  <a:lnTo>
                    <a:pt x="1125" y="243"/>
                  </a:lnTo>
                  <a:lnTo>
                    <a:pt x="1130" y="238"/>
                  </a:lnTo>
                  <a:lnTo>
                    <a:pt x="1135" y="235"/>
                  </a:lnTo>
                  <a:lnTo>
                    <a:pt x="1138" y="234"/>
                  </a:lnTo>
                  <a:lnTo>
                    <a:pt x="1138" y="230"/>
                  </a:lnTo>
                  <a:lnTo>
                    <a:pt x="1140" y="225"/>
                  </a:lnTo>
                  <a:lnTo>
                    <a:pt x="1141" y="221"/>
                  </a:lnTo>
                  <a:lnTo>
                    <a:pt x="1143" y="215"/>
                  </a:lnTo>
                  <a:lnTo>
                    <a:pt x="1145" y="212"/>
                  </a:lnTo>
                  <a:lnTo>
                    <a:pt x="1147" y="208"/>
                  </a:lnTo>
                  <a:lnTo>
                    <a:pt x="1147" y="204"/>
                  </a:lnTo>
                  <a:lnTo>
                    <a:pt x="1148" y="204"/>
                  </a:lnTo>
                  <a:lnTo>
                    <a:pt x="1150" y="202"/>
                  </a:lnTo>
                  <a:lnTo>
                    <a:pt x="1151" y="201"/>
                  </a:lnTo>
                  <a:lnTo>
                    <a:pt x="1153" y="198"/>
                  </a:lnTo>
                  <a:lnTo>
                    <a:pt x="1151" y="195"/>
                  </a:lnTo>
                  <a:lnTo>
                    <a:pt x="1151" y="192"/>
                  </a:lnTo>
                  <a:lnTo>
                    <a:pt x="1151" y="190"/>
                  </a:lnTo>
                  <a:lnTo>
                    <a:pt x="1153" y="184"/>
                  </a:lnTo>
                  <a:lnTo>
                    <a:pt x="1154" y="181"/>
                  </a:lnTo>
                  <a:lnTo>
                    <a:pt x="1158" y="177"/>
                  </a:lnTo>
                  <a:lnTo>
                    <a:pt x="1160" y="174"/>
                  </a:lnTo>
                  <a:lnTo>
                    <a:pt x="1160" y="169"/>
                  </a:lnTo>
                  <a:lnTo>
                    <a:pt x="1161" y="167"/>
                  </a:lnTo>
                  <a:lnTo>
                    <a:pt x="1163" y="165"/>
                  </a:lnTo>
                  <a:lnTo>
                    <a:pt x="1164" y="165"/>
                  </a:lnTo>
                  <a:lnTo>
                    <a:pt x="1165" y="167"/>
                  </a:lnTo>
                  <a:lnTo>
                    <a:pt x="1168" y="167"/>
                  </a:lnTo>
                  <a:lnTo>
                    <a:pt x="1168" y="165"/>
                  </a:lnTo>
                  <a:lnTo>
                    <a:pt x="1167" y="161"/>
                  </a:lnTo>
                  <a:lnTo>
                    <a:pt x="1160" y="157"/>
                  </a:lnTo>
                  <a:lnTo>
                    <a:pt x="1155" y="151"/>
                  </a:lnTo>
                  <a:lnTo>
                    <a:pt x="1151" y="147"/>
                  </a:lnTo>
                  <a:lnTo>
                    <a:pt x="1147" y="141"/>
                  </a:lnTo>
                  <a:lnTo>
                    <a:pt x="1144" y="137"/>
                  </a:lnTo>
                  <a:lnTo>
                    <a:pt x="1144" y="134"/>
                  </a:lnTo>
                  <a:lnTo>
                    <a:pt x="1141" y="132"/>
                  </a:lnTo>
                  <a:lnTo>
                    <a:pt x="1140" y="134"/>
                  </a:lnTo>
                  <a:lnTo>
                    <a:pt x="1137" y="137"/>
                  </a:lnTo>
                  <a:lnTo>
                    <a:pt x="1135" y="138"/>
                  </a:lnTo>
                  <a:lnTo>
                    <a:pt x="1132" y="139"/>
                  </a:lnTo>
                  <a:lnTo>
                    <a:pt x="1131" y="137"/>
                  </a:lnTo>
                  <a:lnTo>
                    <a:pt x="1131" y="137"/>
                  </a:lnTo>
                  <a:lnTo>
                    <a:pt x="1131" y="134"/>
                  </a:lnTo>
                  <a:lnTo>
                    <a:pt x="1132" y="132"/>
                  </a:lnTo>
                  <a:lnTo>
                    <a:pt x="1134" y="134"/>
                  </a:lnTo>
                  <a:lnTo>
                    <a:pt x="1135" y="131"/>
                  </a:lnTo>
                  <a:lnTo>
                    <a:pt x="1137" y="129"/>
                  </a:lnTo>
                  <a:lnTo>
                    <a:pt x="1134" y="127"/>
                  </a:lnTo>
                  <a:lnTo>
                    <a:pt x="1131" y="121"/>
                  </a:lnTo>
                  <a:lnTo>
                    <a:pt x="1127" y="116"/>
                  </a:lnTo>
                  <a:lnTo>
                    <a:pt x="1125" y="114"/>
                  </a:lnTo>
                  <a:lnTo>
                    <a:pt x="1122" y="112"/>
                  </a:lnTo>
                  <a:lnTo>
                    <a:pt x="1117" y="112"/>
                  </a:lnTo>
                  <a:lnTo>
                    <a:pt x="1111" y="109"/>
                  </a:lnTo>
                  <a:lnTo>
                    <a:pt x="1107" y="106"/>
                  </a:lnTo>
                  <a:lnTo>
                    <a:pt x="1105" y="104"/>
                  </a:lnTo>
                  <a:lnTo>
                    <a:pt x="1102" y="102"/>
                  </a:lnTo>
                  <a:lnTo>
                    <a:pt x="1100" y="101"/>
                  </a:lnTo>
                  <a:lnTo>
                    <a:pt x="1095" y="101"/>
                  </a:lnTo>
                  <a:lnTo>
                    <a:pt x="1091" y="99"/>
                  </a:lnTo>
                  <a:lnTo>
                    <a:pt x="1087" y="96"/>
                  </a:lnTo>
                  <a:lnTo>
                    <a:pt x="1080" y="92"/>
                  </a:lnTo>
                  <a:lnTo>
                    <a:pt x="1068" y="86"/>
                  </a:lnTo>
                  <a:lnTo>
                    <a:pt x="1055" y="82"/>
                  </a:lnTo>
                  <a:lnTo>
                    <a:pt x="1049" y="81"/>
                  </a:lnTo>
                  <a:lnTo>
                    <a:pt x="1042" y="79"/>
                  </a:lnTo>
                  <a:lnTo>
                    <a:pt x="1037" y="78"/>
                  </a:lnTo>
                  <a:lnTo>
                    <a:pt x="1034" y="75"/>
                  </a:lnTo>
                  <a:lnTo>
                    <a:pt x="1034" y="71"/>
                  </a:lnTo>
                  <a:lnTo>
                    <a:pt x="1037" y="69"/>
                  </a:lnTo>
                  <a:lnTo>
                    <a:pt x="1038" y="68"/>
                  </a:lnTo>
                  <a:lnTo>
                    <a:pt x="1041" y="69"/>
                  </a:lnTo>
                  <a:lnTo>
                    <a:pt x="1044" y="71"/>
                  </a:lnTo>
                  <a:lnTo>
                    <a:pt x="1047" y="72"/>
                  </a:lnTo>
                  <a:lnTo>
                    <a:pt x="1048" y="71"/>
                  </a:lnTo>
                  <a:lnTo>
                    <a:pt x="1048" y="68"/>
                  </a:lnTo>
                  <a:lnTo>
                    <a:pt x="1048" y="66"/>
                  </a:lnTo>
                  <a:lnTo>
                    <a:pt x="1045" y="63"/>
                  </a:lnTo>
                  <a:lnTo>
                    <a:pt x="1041" y="61"/>
                  </a:lnTo>
                  <a:lnTo>
                    <a:pt x="1034" y="58"/>
                  </a:lnTo>
                  <a:lnTo>
                    <a:pt x="1029" y="58"/>
                  </a:lnTo>
                  <a:lnTo>
                    <a:pt x="1027" y="61"/>
                  </a:lnTo>
                  <a:lnTo>
                    <a:pt x="1022" y="66"/>
                  </a:lnTo>
                  <a:lnTo>
                    <a:pt x="1019" y="71"/>
                  </a:lnTo>
                  <a:lnTo>
                    <a:pt x="1016" y="75"/>
                  </a:lnTo>
                  <a:lnTo>
                    <a:pt x="1011" y="79"/>
                  </a:lnTo>
                  <a:lnTo>
                    <a:pt x="1002" y="85"/>
                  </a:lnTo>
                  <a:lnTo>
                    <a:pt x="995" y="88"/>
                  </a:lnTo>
                  <a:lnTo>
                    <a:pt x="991" y="94"/>
                  </a:lnTo>
                  <a:lnTo>
                    <a:pt x="989" y="95"/>
                  </a:lnTo>
                  <a:lnTo>
                    <a:pt x="986" y="99"/>
                  </a:lnTo>
                  <a:lnTo>
                    <a:pt x="981" y="108"/>
                  </a:lnTo>
                  <a:lnTo>
                    <a:pt x="975" y="116"/>
                  </a:lnTo>
                  <a:lnTo>
                    <a:pt x="965" y="129"/>
                  </a:lnTo>
                  <a:lnTo>
                    <a:pt x="959" y="137"/>
                  </a:lnTo>
                  <a:lnTo>
                    <a:pt x="951" y="148"/>
                  </a:lnTo>
                  <a:lnTo>
                    <a:pt x="938" y="165"/>
                  </a:lnTo>
                  <a:lnTo>
                    <a:pt x="935" y="168"/>
                  </a:lnTo>
                  <a:lnTo>
                    <a:pt x="932" y="172"/>
                  </a:lnTo>
                  <a:lnTo>
                    <a:pt x="925" y="181"/>
                  </a:lnTo>
                  <a:lnTo>
                    <a:pt x="915" y="194"/>
                  </a:lnTo>
                  <a:lnTo>
                    <a:pt x="905" y="202"/>
                  </a:lnTo>
                  <a:lnTo>
                    <a:pt x="896" y="211"/>
                  </a:lnTo>
                  <a:lnTo>
                    <a:pt x="888" y="218"/>
                  </a:lnTo>
                  <a:lnTo>
                    <a:pt x="885" y="220"/>
                  </a:lnTo>
                  <a:lnTo>
                    <a:pt x="880" y="222"/>
                  </a:lnTo>
                  <a:lnTo>
                    <a:pt x="875" y="227"/>
                  </a:lnTo>
                  <a:lnTo>
                    <a:pt x="870" y="230"/>
                  </a:lnTo>
                  <a:lnTo>
                    <a:pt x="862" y="234"/>
                  </a:lnTo>
                  <a:lnTo>
                    <a:pt x="859" y="235"/>
                  </a:lnTo>
                  <a:lnTo>
                    <a:pt x="856" y="237"/>
                  </a:lnTo>
                  <a:lnTo>
                    <a:pt x="846" y="240"/>
                  </a:lnTo>
                  <a:lnTo>
                    <a:pt x="833" y="243"/>
                  </a:lnTo>
                  <a:lnTo>
                    <a:pt x="830" y="243"/>
                  </a:lnTo>
                  <a:lnTo>
                    <a:pt x="823" y="245"/>
                  </a:lnTo>
                  <a:lnTo>
                    <a:pt x="817" y="245"/>
                  </a:lnTo>
                  <a:lnTo>
                    <a:pt x="806" y="247"/>
                  </a:lnTo>
                  <a:lnTo>
                    <a:pt x="797" y="248"/>
                  </a:lnTo>
                  <a:lnTo>
                    <a:pt x="792" y="247"/>
                  </a:lnTo>
                  <a:lnTo>
                    <a:pt x="786" y="248"/>
                  </a:lnTo>
                  <a:lnTo>
                    <a:pt x="783" y="251"/>
                  </a:lnTo>
                  <a:lnTo>
                    <a:pt x="779" y="255"/>
                  </a:lnTo>
                  <a:lnTo>
                    <a:pt x="773" y="261"/>
                  </a:lnTo>
                  <a:lnTo>
                    <a:pt x="770" y="265"/>
                  </a:lnTo>
                  <a:lnTo>
                    <a:pt x="770" y="268"/>
                  </a:lnTo>
                  <a:lnTo>
                    <a:pt x="772" y="271"/>
                  </a:lnTo>
                  <a:lnTo>
                    <a:pt x="772" y="274"/>
                  </a:lnTo>
                  <a:lnTo>
                    <a:pt x="769" y="277"/>
                  </a:lnTo>
                  <a:lnTo>
                    <a:pt x="767" y="280"/>
                  </a:lnTo>
                  <a:lnTo>
                    <a:pt x="766" y="281"/>
                  </a:lnTo>
                  <a:lnTo>
                    <a:pt x="764" y="285"/>
                  </a:lnTo>
                  <a:lnTo>
                    <a:pt x="763" y="287"/>
                  </a:lnTo>
                  <a:lnTo>
                    <a:pt x="762" y="288"/>
                  </a:lnTo>
                  <a:lnTo>
                    <a:pt x="756" y="293"/>
                  </a:lnTo>
                  <a:lnTo>
                    <a:pt x="749" y="294"/>
                  </a:lnTo>
                  <a:lnTo>
                    <a:pt x="746" y="296"/>
                  </a:lnTo>
                  <a:lnTo>
                    <a:pt x="743" y="300"/>
                  </a:lnTo>
                  <a:lnTo>
                    <a:pt x="740" y="308"/>
                  </a:lnTo>
                  <a:lnTo>
                    <a:pt x="739" y="313"/>
                  </a:lnTo>
                  <a:lnTo>
                    <a:pt x="739" y="316"/>
                  </a:lnTo>
                  <a:lnTo>
                    <a:pt x="740" y="316"/>
                  </a:lnTo>
                  <a:lnTo>
                    <a:pt x="744" y="317"/>
                  </a:lnTo>
                  <a:lnTo>
                    <a:pt x="746" y="318"/>
                  </a:lnTo>
                  <a:lnTo>
                    <a:pt x="750" y="318"/>
                  </a:lnTo>
                  <a:lnTo>
                    <a:pt x="754" y="318"/>
                  </a:lnTo>
                  <a:lnTo>
                    <a:pt x="757" y="318"/>
                  </a:lnTo>
                  <a:lnTo>
                    <a:pt x="762" y="316"/>
                  </a:lnTo>
                  <a:lnTo>
                    <a:pt x="766" y="317"/>
                  </a:lnTo>
                  <a:lnTo>
                    <a:pt x="769" y="318"/>
                  </a:lnTo>
                  <a:lnTo>
                    <a:pt x="770" y="321"/>
                  </a:lnTo>
                  <a:lnTo>
                    <a:pt x="770" y="328"/>
                  </a:lnTo>
                  <a:lnTo>
                    <a:pt x="769" y="333"/>
                  </a:lnTo>
                  <a:lnTo>
                    <a:pt x="764" y="338"/>
                  </a:lnTo>
                  <a:lnTo>
                    <a:pt x="759" y="347"/>
                  </a:lnTo>
                  <a:lnTo>
                    <a:pt x="756" y="350"/>
                  </a:lnTo>
                  <a:lnTo>
                    <a:pt x="753" y="354"/>
                  </a:lnTo>
                  <a:lnTo>
                    <a:pt x="749" y="359"/>
                  </a:lnTo>
                  <a:lnTo>
                    <a:pt x="747" y="363"/>
                  </a:lnTo>
                  <a:lnTo>
                    <a:pt x="746" y="367"/>
                  </a:lnTo>
                  <a:lnTo>
                    <a:pt x="744" y="371"/>
                  </a:lnTo>
                  <a:lnTo>
                    <a:pt x="743" y="376"/>
                  </a:lnTo>
                  <a:lnTo>
                    <a:pt x="742" y="377"/>
                  </a:lnTo>
                  <a:lnTo>
                    <a:pt x="740" y="381"/>
                  </a:lnTo>
                  <a:lnTo>
                    <a:pt x="736" y="383"/>
                  </a:lnTo>
                  <a:lnTo>
                    <a:pt x="731" y="384"/>
                  </a:lnTo>
                  <a:lnTo>
                    <a:pt x="730" y="384"/>
                  </a:lnTo>
                  <a:lnTo>
                    <a:pt x="729" y="389"/>
                  </a:lnTo>
                  <a:lnTo>
                    <a:pt x="726" y="394"/>
                  </a:lnTo>
                  <a:lnTo>
                    <a:pt x="717" y="403"/>
                  </a:lnTo>
                  <a:lnTo>
                    <a:pt x="716" y="407"/>
                  </a:lnTo>
                  <a:lnTo>
                    <a:pt x="714" y="414"/>
                  </a:lnTo>
                  <a:lnTo>
                    <a:pt x="714" y="422"/>
                  </a:lnTo>
                  <a:lnTo>
                    <a:pt x="714" y="426"/>
                  </a:lnTo>
                  <a:lnTo>
                    <a:pt x="713" y="429"/>
                  </a:lnTo>
                  <a:lnTo>
                    <a:pt x="714" y="430"/>
                  </a:lnTo>
                  <a:lnTo>
                    <a:pt x="717" y="429"/>
                  </a:lnTo>
                  <a:lnTo>
                    <a:pt x="719" y="429"/>
                  </a:lnTo>
                  <a:lnTo>
                    <a:pt x="720" y="429"/>
                  </a:lnTo>
                  <a:lnTo>
                    <a:pt x="719" y="430"/>
                  </a:lnTo>
                  <a:lnTo>
                    <a:pt x="717" y="433"/>
                  </a:lnTo>
                  <a:lnTo>
                    <a:pt x="713" y="434"/>
                  </a:lnTo>
                  <a:lnTo>
                    <a:pt x="707" y="439"/>
                  </a:lnTo>
                  <a:lnTo>
                    <a:pt x="704" y="440"/>
                  </a:lnTo>
                  <a:lnTo>
                    <a:pt x="701" y="440"/>
                  </a:lnTo>
                  <a:lnTo>
                    <a:pt x="697" y="442"/>
                  </a:lnTo>
                  <a:lnTo>
                    <a:pt x="691" y="442"/>
                  </a:lnTo>
                  <a:lnTo>
                    <a:pt x="689" y="440"/>
                  </a:lnTo>
                  <a:lnTo>
                    <a:pt x="690" y="437"/>
                  </a:lnTo>
                  <a:lnTo>
                    <a:pt x="693" y="434"/>
                  </a:lnTo>
                  <a:lnTo>
                    <a:pt x="697" y="433"/>
                  </a:lnTo>
                  <a:lnTo>
                    <a:pt x="697" y="430"/>
                  </a:lnTo>
                  <a:lnTo>
                    <a:pt x="697" y="427"/>
                  </a:lnTo>
                  <a:lnTo>
                    <a:pt x="697" y="426"/>
                  </a:lnTo>
                  <a:lnTo>
                    <a:pt x="697" y="424"/>
                  </a:lnTo>
                  <a:lnTo>
                    <a:pt x="694" y="424"/>
                  </a:lnTo>
                  <a:lnTo>
                    <a:pt x="691" y="427"/>
                  </a:lnTo>
                  <a:lnTo>
                    <a:pt x="687" y="432"/>
                  </a:lnTo>
                  <a:lnTo>
                    <a:pt x="683" y="436"/>
                  </a:lnTo>
                  <a:lnTo>
                    <a:pt x="677" y="444"/>
                  </a:lnTo>
                  <a:lnTo>
                    <a:pt x="671" y="453"/>
                  </a:lnTo>
                  <a:lnTo>
                    <a:pt x="663" y="466"/>
                  </a:lnTo>
                  <a:lnTo>
                    <a:pt x="654" y="480"/>
                  </a:lnTo>
                  <a:lnTo>
                    <a:pt x="651" y="489"/>
                  </a:lnTo>
                  <a:lnTo>
                    <a:pt x="651" y="495"/>
                  </a:lnTo>
                  <a:lnTo>
                    <a:pt x="651" y="500"/>
                  </a:lnTo>
                  <a:lnTo>
                    <a:pt x="651" y="503"/>
                  </a:lnTo>
                  <a:lnTo>
                    <a:pt x="653" y="503"/>
                  </a:lnTo>
                  <a:lnTo>
                    <a:pt x="654" y="500"/>
                  </a:lnTo>
                  <a:lnTo>
                    <a:pt x="654" y="495"/>
                  </a:lnTo>
                  <a:lnTo>
                    <a:pt x="654" y="489"/>
                  </a:lnTo>
                  <a:lnTo>
                    <a:pt x="657" y="486"/>
                  </a:lnTo>
                  <a:lnTo>
                    <a:pt x="658" y="485"/>
                  </a:lnTo>
                  <a:lnTo>
                    <a:pt x="660" y="486"/>
                  </a:lnTo>
                  <a:lnTo>
                    <a:pt x="661" y="487"/>
                  </a:lnTo>
                  <a:lnTo>
                    <a:pt x="663" y="489"/>
                  </a:lnTo>
                  <a:lnTo>
                    <a:pt x="666" y="487"/>
                  </a:lnTo>
                  <a:lnTo>
                    <a:pt x="667" y="485"/>
                  </a:lnTo>
                  <a:lnTo>
                    <a:pt x="667" y="482"/>
                  </a:lnTo>
                  <a:lnTo>
                    <a:pt x="668" y="479"/>
                  </a:lnTo>
                  <a:lnTo>
                    <a:pt x="670" y="477"/>
                  </a:lnTo>
                  <a:lnTo>
                    <a:pt x="671" y="479"/>
                  </a:lnTo>
                  <a:lnTo>
                    <a:pt x="674" y="482"/>
                  </a:lnTo>
                  <a:lnTo>
                    <a:pt x="676" y="487"/>
                  </a:lnTo>
                  <a:lnTo>
                    <a:pt x="677" y="495"/>
                  </a:lnTo>
                  <a:lnTo>
                    <a:pt x="678" y="497"/>
                  </a:lnTo>
                  <a:lnTo>
                    <a:pt x="680" y="500"/>
                  </a:lnTo>
                  <a:lnTo>
                    <a:pt x="683" y="502"/>
                  </a:lnTo>
                  <a:lnTo>
                    <a:pt x="689" y="505"/>
                  </a:lnTo>
                  <a:lnTo>
                    <a:pt x="691" y="507"/>
                  </a:lnTo>
                  <a:lnTo>
                    <a:pt x="693" y="513"/>
                  </a:lnTo>
                  <a:lnTo>
                    <a:pt x="693" y="515"/>
                  </a:lnTo>
                  <a:lnTo>
                    <a:pt x="693" y="522"/>
                  </a:lnTo>
                  <a:lnTo>
                    <a:pt x="697" y="529"/>
                  </a:lnTo>
                  <a:lnTo>
                    <a:pt x="700" y="533"/>
                  </a:lnTo>
                  <a:lnTo>
                    <a:pt x="701" y="535"/>
                  </a:lnTo>
                  <a:lnTo>
                    <a:pt x="704" y="538"/>
                  </a:lnTo>
                  <a:lnTo>
                    <a:pt x="707" y="539"/>
                  </a:lnTo>
                  <a:lnTo>
                    <a:pt x="707" y="536"/>
                  </a:lnTo>
                  <a:lnTo>
                    <a:pt x="707" y="533"/>
                  </a:lnTo>
                  <a:lnTo>
                    <a:pt x="707" y="530"/>
                  </a:lnTo>
                  <a:lnTo>
                    <a:pt x="709" y="529"/>
                  </a:lnTo>
                  <a:lnTo>
                    <a:pt x="711" y="530"/>
                  </a:lnTo>
                  <a:lnTo>
                    <a:pt x="713" y="533"/>
                  </a:lnTo>
                  <a:lnTo>
                    <a:pt x="713" y="538"/>
                  </a:lnTo>
                  <a:lnTo>
                    <a:pt x="710" y="540"/>
                  </a:lnTo>
                  <a:lnTo>
                    <a:pt x="709" y="543"/>
                  </a:lnTo>
                  <a:lnTo>
                    <a:pt x="704" y="550"/>
                  </a:lnTo>
                  <a:lnTo>
                    <a:pt x="697" y="556"/>
                  </a:lnTo>
                  <a:lnTo>
                    <a:pt x="694" y="559"/>
                  </a:lnTo>
                  <a:lnTo>
                    <a:pt x="691" y="566"/>
                  </a:lnTo>
                  <a:lnTo>
                    <a:pt x="691" y="573"/>
                  </a:lnTo>
                  <a:lnTo>
                    <a:pt x="690" y="583"/>
                  </a:lnTo>
                  <a:lnTo>
                    <a:pt x="690" y="595"/>
                  </a:lnTo>
                  <a:lnTo>
                    <a:pt x="690" y="602"/>
                  </a:lnTo>
                  <a:lnTo>
                    <a:pt x="690" y="611"/>
                  </a:lnTo>
                  <a:lnTo>
                    <a:pt x="690" y="619"/>
                  </a:lnTo>
                  <a:lnTo>
                    <a:pt x="691" y="629"/>
                  </a:lnTo>
                  <a:lnTo>
                    <a:pt x="693" y="635"/>
                  </a:lnTo>
                  <a:lnTo>
                    <a:pt x="696" y="639"/>
                  </a:lnTo>
                  <a:lnTo>
                    <a:pt x="700" y="642"/>
                  </a:lnTo>
                  <a:lnTo>
                    <a:pt x="703" y="642"/>
                  </a:lnTo>
                  <a:lnTo>
                    <a:pt x="706" y="642"/>
                  </a:lnTo>
                  <a:lnTo>
                    <a:pt x="710" y="641"/>
                  </a:lnTo>
                  <a:lnTo>
                    <a:pt x="713" y="642"/>
                  </a:lnTo>
                  <a:lnTo>
                    <a:pt x="714" y="644"/>
                  </a:lnTo>
                  <a:lnTo>
                    <a:pt x="716" y="645"/>
                  </a:lnTo>
                  <a:lnTo>
                    <a:pt x="717" y="648"/>
                  </a:lnTo>
                  <a:lnTo>
                    <a:pt x="719" y="649"/>
                  </a:lnTo>
                  <a:lnTo>
                    <a:pt x="717" y="649"/>
                  </a:lnTo>
                  <a:lnTo>
                    <a:pt x="716" y="649"/>
                  </a:lnTo>
                  <a:lnTo>
                    <a:pt x="713" y="649"/>
                  </a:lnTo>
                  <a:lnTo>
                    <a:pt x="710" y="649"/>
                  </a:lnTo>
                  <a:lnTo>
                    <a:pt x="709" y="651"/>
                  </a:lnTo>
                  <a:lnTo>
                    <a:pt x="709" y="654"/>
                  </a:lnTo>
                  <a:lnTo>
                    <a:pt x="711" y="655"/>
                  </a:lnTo>
                  <a:lnTo>
                    <a:pt x="713" y="658"/>
                  </a:lnTo>
                  <a:lnTo>
                    <a:pt x="713" y="661"/>
                  </a:lnTo>
                  <a:lnTo>
                    <a:pt x="706" y="665"/>
                  </a:lnTo>
                  <a:lnTo>
                    <a:pt x="703" y="669"/>
                  </a:lnTo>
                  <a:lnTo>
                    <a:pt x="699" y="674"/>
                  </a:lnTo>
                  <a:lnTo>
                    <a:pt x="690" y="685"/>
                  </a:lnTo>
                  <a:lnTo>
                    <a:pt x="678" y="692"/>
                  </a:lnTo>
                  <a:lnTo>
                    <a:pt x="668" y="701"/>
                  </a:lnTo>
                  <a:lnTo>
                    <a:pt x="660" y="708"/>
                  </a:lnTo>
                  <a:lnTo>
                    <a:pt x="650" y="715"/>
                  </a:lnTo>
                  <a:lnTo>
                    <a:pt x="647" y="718"/>
                  </a:lnTo>
                  <a:lnTo>
                    <a:pt x="647" y="719"/>
                  </a:lnTo>
                  <a:lnTo>
                    <a:pt x="647" y="724"/>
                  </a:lnTo>
                  <a:lnTo>
                    <a:pt x="647" y="727"/>
                  </a:lnTo>
                  <a:lnTo>
                    <a:pt x="644" y="727"/>
                  </a:lnTo>
                  <a:lnTo>
                    <a:pt x="643" y="727"/>
                  </a:lnTo>
                  <a:lnTo>
                    <a:pt x="641" y="728"/>
                  </a:lnTo>
                  <a:lnTo>
                    <a:pt x="640" y="729"/>
                  </a:lnTo>
                  <a:lnTo>
                    <a:pt x="637" y="731"/>
                  </a:lnTo>
                  <a:lnTo>
                    <a:pt x="636" y="732"/>
                  </a:lnTo>
                  <a:lnTo>
                    <a:pt x="631" y="732"/>
                  </a:lnTo>
                  <a:lnTo>
                    <a:pt x="628" y="732"/>
                  </a:lnTo>
                  <a:lnTo>
                    <a:pt x="625" y="734"/>
                  </a:lnTo>
                  <a:lnTo>
                    <a:pt x="623" y="735"/>
                  </a:lnTo>
                  <a:lnTo>
                    <a:pt x="621" y="735"/>
                  </a:lnTo>
                  <a:lnTo>
                    <a:pt x="621" y="734"/>
                  </a:lnTo>
                  <a:lnTo>
                    <a:pt x="621" y="732"/>
                  </a:lnTo>
                  <a:lnTo>
                    <a:pt x="621" y="729"/>
                  </a:lnTo>
                  <a:lnTo>
                    <a:pt x="620" y="728"/>
                  </a:lnTo>
                  <a:lnTo>
                    <a:pt x="618" y="727"/>
                  </a:lnTo>
                  <a:lnTo>
                    <a:pt x="617" y="724"/>
                  </a:lnTo>
                  <a:lnTo>
                    <a:pt x="620" y="719"/>
                  </a:lnTo>
                  <a:lnTo>
                    <a:pt x="621" y="718"/>
                  </a:lnTo>
                  <a:lnTo>
                    <a:pt x="624" y="717"/>
                  </a:lnTo>
                  <a:lnTo>
                    <a:pt x="628" y="715"/>
                  </a:lnTo>
                  <a:lnTo>
                    <a:pt x="630" y="714"/>
                  </a:lnTo>
                  <a:lnTo>
                    <a:pt x="630" y="708"/>
                  </a:lnTo>
                  <a:lnTo>
                    <a:pt x="631" y="702"/>
                  </a:lnTo>
                  <a:lnTo>
                    <a:pt x="630" y="698"/>
                  </a:lnTo>
                  <a:lnTo>
                    <a:pt x="627" y="695"/>
                  </a:lnTo>
                  <a:lnTo>
                    <a:pt x="624" y="689"/>
                  </a:lnTo>
                  <a:lnTo>
                    <a:pt x="620" y="685"/>
                  </a:lnTo>
                  <a:lnTo>
                    <a:pt x="617" y="682"/>
                  </a:lnTo>
                  <a:lnTo>
                    <a:pt x="614" y="679"/>
                  </a:lnTo>
                  <a:lnTo>
                    <a:pt x="613" y="678"/>
                  </a:lnTo>
                  <a:lnTo>
                    <a:pt x="613" y="675"/>
                  </a:lnTo>
                  <a:lnTo>
                    <a:pt x="614" y="674"/>
                  </a:lnTo>
                  <a:lnTo>
                    <a:pt x="615" y="674"/>
                  </a:lnTo>
                  <a:lnTo>
                    <a:pt x="617" y="676"/>
                  </a:lnTo>
                  <a:lnTo>
                    <a:pt x="618" y="676"/>
                  </a:lnTo>
                  <a:lnTo>
                    <a:pt x="618" y="674"/>
                  </a:lnTo>
                  <a:lnTo>
                    <a:pt x="615" y="669"/>
                  </a:lnTo>
                  <a:lnTo>
                    <a:pt x="615" y="662"/>
                  </a:lnTo>
                  <a:lnTo>
                    <a:pt x="613" y="655"/>
                  </a:lnTo>
                  <a:lnTo>
                    <a:pt x="610" y="649"/>
                  </a:lnTo>
                  <a:lnTo>
                    <a:pt x="610" y="645"/>
                  </a:lnTo>
                  <a:lnTo>
                    <a:pt x="610" y="641"/>
                  </a:lnTo>
                  <a:lnTo>
                    <a:pt x="607" y="636"/>
                  </a:lnTo>
                  <a:lnTo>
                    <a:pt x="607" y="635"/>
                  </a:lnTo>
                  <a:lnTo>
                    <a:pt x="603" y="631"/>
                  </a:lnTo>
                  <a:lnTo>
                    <a:pt x="603" y="625"/>
                  </a:lnTo>
                  <a:lnTo>
                    <a:pt x="603" y="621"/>
                  </a:lnTo>
                  <a:lnTo>
                    <a:pt x="601" y="615"/>
                  </a:lnTo>
                  <a:lnTo>
                    <a:pt x="603" y="612"/>
                  </a:lnTo>
                  <a:lnTo>
                    <a:pt x="604" y="609"/>
                  </a:lnTo>
                  <a:lnTo>
                    <a:pt x="607" y="609"/>
                  </a:lnTo>
                  <a:lnTo>
                    <a:pt x="607" y="606"/>
                  </a:lnTo>
                  <a:lnTo>
                    <a:pt x="607" y="605"/>
                  </a:lnTo>
                  <a:lnTo>
                    <a:pt x="604" y="602"/>
                  </a:lnTo>
                  <a:lnTo>
                    <a:pt x="597" y="595"/>
                  </a:lnTo>
                  <a:lnTo>
                    <a:pt x="590" y="588"/>
                  </a:lnTo>
                  <a:lnTo>
                    <a:pt x="584" y="579"/>
                  </a:lnTo>
                  <a:lnTo>
                    <a:pt x="580" y="572"/>
                  </a:lnTo>
                  <a:lnTo>
                    <a:pt x="577" y="568"/>
                  </a:lnTo>
                  <a:lnTo>
                    <a:pt x="575" y="562"/>
                  </a:lnTo>
                  <a:lnTo>
                    <a:pt x="577" y="560"/>
                  </a:lnTo>
                  <a:lnTo>
                    <a:pt x="574" y="556"/>
                  </a:lnTo>
                  <a:lnTo>
                    <a:pt x="573" y="552"/>
                  </a:lnTo>
                  <a:lnTo>
                    <a:pt x="573" y="549"/>
                  </a:lnTo>
                  <a:lnTo>
                    <a:pt x="568" y="545"/>
                  </a:lnTo>
                  <a:lnTo>
                    <a:pt x="564" y="542"/>
                  </a:lnTo>
                  <a:lnTo>
                    <a:pt x="562" y="538"/>
                  </a:lnTo>
                  <a:lnTo>
                    <a:pt x="560" y="535"/>
                  </a:lnTo>
                  <a:lnTo>
                    <a:pt x="557" y="532"/>
                  </a:lnTo>
                  <a:lnTo>
                    <a:pt x="555" y="526"/>
                  </a:lnTo>
                  <a:lnTo>
                    <a:pt x="555" y="525"/>
                  </a:lnTo>
                  <a:lnTo>
                    <a:pt x="557" y="525"/>
                  </a:lnTo>
                  <a:lnTo>
                    <a:pt x="558" y="526"/>
                  </a:lnTo>
                  <a:lnTo>
                    <a:pt x="560" y="530"/>
                  </a:lnTo>
                  <a:lnTo>
                    <a:pt x="562" y="532"/>
                  </a:lnTo>
                  <a:lnTo>
                    <a:pt x="567" y="533"/>
                  </a:lnTo>
                  <a:lnTo>
                    <a:pt x="568" y="533"/>
                  </a:lnTo>
                  <a:lnTo>
                    <a:pt x="570" y="532"/>
                  </a:lnTo>
                  <a:lnTo>
                    <a:pt x="568" y="530"/>
                  </a:lnTo>
                  <a:lnTo>
                    <a:pt x="561" y="525"/>
                  </a:lnTo>
                  <a:lnTo>
                    <a:pt x="554" y="517"/>
                  </a:lnTo>
                  <a:lnTo>
                    <a:pt x="547" y="507"/>
                  </a:lnTo>
                  <a:lnTo>
                    <a:pt x="544" y="500"/>
                  </a:lnTo>
                  <a:lnTo>
                    <a:pt x="541" y="497"/>
                  </a:lnTo>
                  <a:lnTo>
                    <a:pt x="541" y="497"/>
                  </a:lnTo>
                  <a:lnTo>
                    <a:pt x="540" y="496"/>
                  </a:lnTo>
                  <a:lnTo>
                    <a:pt x="538" y="493"/>
                  </a:lnTo>
                  <a:lnTo>
                    <a:pt x="537" y="486"/>
                  </a:lnTo>
                  <a:lnTo>
                    <a:pt x="537" y="486"/>
                  </a:lnTo>
                  <a:lnTo>
                    <a:pt x="537" y="485"/>
                  </a:lnTo>
                  <a:lnTo>
                    <a:pt x="534" y="483"/>
                  </a:lnTo>
                  <a:lnTo>
                    <a:pt x="531" y="483"/>
                  </a:lnTo>
                  <a:lnTo>
                    <a:pt x="530" y="483"/>
                  </a:lnTo>
                  <a:lnTo>
                    <a:pt x="530" y="483"/>
                  </a:lnTo>
                  <a:lnTo>
                    <a:pt x="530" y="485"/>
                  </a:lnTo>
                  <a:lnTo>
                    <a:pt x="530" y="487"/>
                  </a:lnTo>
                  <a:lnTo>
                    <a:pt x="530" y="487"/>
                  </a:lnTo>
                  <a:lnTo>
                    <a:pt x="528" y="489"/>
                  </a:lnTo>
                  <a:lnTo>
                    <a:pt x="525" y="490"/>
                  </a:lnTo>
                  <a:lnTo>
                    <a:pt x="525" y="490"/>
                  </a:lnTo>
                  <a:lnTo>
                    <a:pt x="524" y="490"/>
                  </a:lnTo>
                  <a:lnTo>
                    <a:pt x="524" y="492"/>
                  </a:lnTo>
                  <a:lnTo>
                    <a:pt x="524" y="493"/>
                  </a:lnTo>
                  <a:lnTo>
                    <a:pt x="524" y="493"/>
                  </a:lnTo>
                  <a:lnTo>
                    <a:pt x="521" y="493"/>
                  </a:lnTo>
                  <a:lnTo>
                    <a:pt x="521" y="493"/>
                  </a:lnTo>
                  <a:lnTo>
                    <a:pt x="520" y="493"/>
                  </a:lnTo>
                  <a:lnTo>
                    <a:pt x="520" y="495"/>
                  </a:lnTo>
                  <a:lnTo>
                    <a:pt x="522" y="496"/>
                  </a:lnTo>
                  <a:lnTo>
                    <a:pt x="522" y="496"/>
                  </a:lnTo>
                  <a:lnTo>
                    <a:pt x="524" y="496"/>
                  </a:lnTo>
                  <a:lnTo>
                    <a:pt x="524" y="496"/>
                  </a:lnTo>
                  <a:lnTo>
                    <a:pt x="525" y="499"/>
                  </a:lnTo>
                  <a:lnTo>
                    <a:pt x="525" y="499"/>
                  </a:lnTo>
                  <a:lnTo>
                    <a:pt x="525" y="499"/>
                  </a:lnTo>
                  <a:lnTo>
                    <a:pt x="525" y="503"/>
                  </a:lnTo>
                  <a:lnTo>
                    <a:pt x="522" y="506"/>
                  </a:lnTo>
                  <a:lnTo>
                    <a:pt x="518" y="513"/>
                  </a:lnTo>
                  <a:lnTo>
                    <a:pt x="518" y="513"/>
                  </a:lnTo>
                  <a:lnTo>
                    <a:pt x="517" y="515"/>
                  </a:lnTo>
                  <a:lnTo>
                    <a:pt x="514" y="515"/>
                  </a:lnTo>
                  <a:lnTo>
                    <a:pt x="508" y="515"/>
                  </a:lnTo>
                  <a:lnTo>
                    <a:pt x="508" y="515"/>
                  </a:lnTo>
                  <a:lnTo>
                    <a:pt x="502" y="515"/>
                  </a:lnTo>
                  <a:lnTo>
                    <a:pt x="499" y="517"/>
                  </a:lnTo>
                  <a:lnTo>
                    <a:pt x="499" y="517"/>
                  </a:lnTo>
                  <a:lnTo>
                    <a:pt x="499" y="520"/>
                  </a:lnTo>
                  <a:lnTo>
                    <a:pt x="501" y="525"/>
                  </a:lnTo>
                  <a:lnTo>
                    <a:pt x="501" y="525"/>
                  </a:lnTo>
                  <a:lnTo>
                    <a:pt x="505" y="529"/>
                  </a:lnTo>
                  <a:lnTo>
                    <a:pt x="508" y="530"/>
                  </a:lnTo>
                  <a:lnTo>
                    <a:pt x="508" y="532"/>
                  </a:lnTo>
                  <a:lnTo>
                    <a:pt x="508" y="532"/>
                  </a:lnTo>
                  <a:lnTo>
                    <a:pt x="509" y="536"/>
                  </a:lnTo>
                  <a:lnTo>
                    <a:pt x="512" y="540"/>
                  </a:lnTo>
                  <a:lnTo>
                    <a:pt x="520" y="548"/>
                  </a:lnTo>
                  <a:lnTo>
                    <a:pt x="520" y="548"/>
                  </a:lnTo>
                  <a:lnTo>
                    <a:pt x="525" y="558"/>
                  </a:lnTo>
                  <a:lnTo>
                    <a:pt x="528" y="566"/>
                  </a:lnTo>
                  <a:lnTo>
                    <a:pt x="528" y="566"/>
                  </a:lnTo>
                  <a:lnTo>
                    <a:pt x="528" y="572"/>
                  </a:lnTo>
                  <a:lnTo>
                    <a:pt x="525" y="576"/>
                  </a:lnTo>
                  <a:lnTo>
                    <a:pt x="522" y="581"/>
                  </a:lnTo>
                  <a:lnTo>
                    <a:pt x="521" y="585"/>
                  </a:lnTo>
                  <a:lnTo>
                    <a:pt x="521" y="585"/>
                  </a:lnTo>
                  <a:lnTo>
                    <a:pt x="521" y="588"/>
                  </a:lnTo>
                  <a:lnTo>
                    <a:pt x="522" y="592"/>
                  </a:lnTo>
                  <a:lnTo>
                    <a:pt x="524" y="596"/>
                  </a:lnTo>
                  <a:lnTo>
                    <a:pt x="524" y="599"/>
                  </a:lnTo>
                  <a:lnTo>
                    <a:pt x="524" y="599"/>
                  </a:lnTo>
                  <a:lnTo>
                    <a:pt x="522" y="603"/>
                  </a:lnTo>
                  <a:lnTo>
                    <a:pt x="520" y="608"/>
                  </a:lnTo>
                  <a:lnTo>
                    <a:pt x="512" y="613"/>
                  </a:lnTo>
                  <a:lnTo>
                    <a:pt x="505" y="618"/>
                  </a:lnTo>
                  <a:lnTo>
                    <a:pt x="501" y="621"/>
                  </a:lnTo>
                  <a:lnTo>
                    <a:pt x="498" y="625"/>
                  </a:lnTo>
                  <a:lnTo>
                    <a:pt x="498" y="625"/>
                  </a:lnTo>
                  <a:lnTo>
                    <a:pt x="494" y="631"/>
                  </a:lnTo>
                  <a:lnTo>
                    <a:pt x="487" y="636"/>
                  </a:lnTo>
                  <a:lnTo>
                    <a:pt x="479" y="642"/>
                  </a:lnTo>
                  <a:lnTo>
                    <a:pt x="474" y="646"/>
                  </a:lnTo>
                  <a:lnTo>
                    <a:pt x="474" y="646"/>
                  </a:lnTo>
                  <a:lnTo>
                    <a:pt x="465" y="658"/>
                  </a:lnTo>
                  <a:lnTo>
                    <a:pt x="459" y="668"/>
                  </a:lnTo>
                  <a:lnTo>
                    <a:pt x="455" y="676"/>
                  </a:lnTo>
                  <a:lnTo>
                    <a:pt x="454" y="685"/>
                  </a:lnTo>
                  <a:lnTo>
                    <a:pt x="461" y="692"/>
                  </a:lnTo>
                  <a:lnTo>
                    <a:pt x="465" y="695"/>
                  </a:lnTo>
                  <a:lnTo>
                    <a:pt x="471" y="697"/>
                  </a:lnTo>
                  <a:lnTo>
                    <a:pt x="474" y="698"/>
                  </a:lnTo>
                  <a:lnTo>
                    <a:pt x="475" y="701"/>
                  </a:lnTo>
                  <a:lnTo>
                    <a:pt x="477" y="702"/>
                  </a:lnTo>
                  <a:lnTo>
                    <a:pt x="479" y="704"/>
                  </a:lnTo>
                  <a:lnTo>
                    <a:pt x="479" y="707"/>
                  </a:lnTo>
                  <a:lnTo>
                    <a:pt x="479" y="711"/>
                  </a:lnTo>
                  <a:lnTo>
                    <a:pt x="475" y="715"/>
                  </a:lnTo>
                  <a:lnTo>
                    <a:pt x="469" y="721"/>
                  </a:lnTo>
                  <a:lnTo>
                    <a:pt x="467" y="724"/>
                  </a:lnTo>
                  <a:lnTo>
                    <a:pt x="469" y="727"/>
                  </a:lnTo>
                  <a:lnTo>
                    <a:pt x="474" y="731"/>
                  </a:lnTo>
                  <a:lnTo>
                    <a:pt x="475" y="734"/>
                  </a:lnTo>
                  <a:lnTo>
                    <a:pt x="474" y="737"/>
                  </a:lnTo>
                  <a:lnTo>
                    <a:pt x="471" y="741"/>
                  </a:lnTo>
                  <a:lnTo>
                    <a:pt x="465" y="745"/>
                  </a:lnTo>
                  <a:lnTo>
                    <a:pt x="462" y="747"/>
                  </a:lnTo>
                  <a:lnTo>
                    <a:pt x="459" y="747"/>
                  </a:lnTo>
                  <a:lnTo>
                    <a:pt x="459" y="739"/>
                  </a:lnTo>
                  <a:lnTo>
                    <a:pt x="456" y="738"/>
                  </a:lnTo>
                  <a:lnTo>
                    <a:pt x="454" y="737"/>
                  </a:lnTo>
                  <a:lnTo>
                    <a:pt x="449" y="737"/>
                  </a:lnTo>
                  <a:lnTo>
                    <a:pt x="438" y="742"/>
                  </a:lnTo>
                  <a:lnTo>
                    <a:pt x="435" y="747"/>
                  </a:lnTo>
                  <a:lnTo>
                    <a:pt x="434" y="750"/>
                  </a:lnTo>
                  <a:lnTo>
                    <a:pt x="435" y="751"/>
                  </a:lnTo>
                  <a:lnTo>
                    <a:pt x="444" y="752"/>
                  </a:lnTo>
                  <a:lnTo>
                    <a:pt x="449" y="755"/>
                  </a:lnTo>
                  <a:lnTo>
                    <a:pt x="452" y="758"/>
                  </a:lnTo>
                  <a:lnTo>
                    <a:pt x="452" y="762"/>
                  </a:lnTo>
                  <a:lnTo>
                    <a:pt x="451" y="770"/>
                  </a:lnTo>
                  <a:lnTo>
                    <a:pt x="446" y="772"/>
                  </a:lnTo>
                  <a:lnTo>
                    <a:pt x="439" y="774"/>
                  </a:lnTo>
                  <a:lnTo>
                    <a:pt x="431" y="775"/>
                  </a:lnTo>
                  <a:lnTo>
                    <a:pt x="426" y="775"/>
                  </a:lnTo>
                  <a:lnTo>
                    <a:pt x="422" y="774"/>
                  </a:lnTo>
                  <a:lnTo>
                    <a:pt x="421" y="771"/>
                  </a:lnTo>
                  <a:lnTo>
                    <a:pt x="418" y="771"/>
                  </a:lnTo>
                  <a:lnTo>
                    <a:pt x="415" y="771"/>
                  </a:lnTo>
                  <a:lnTo>
                    <a:pt x="415" y="774"/>
                  </a:lnTo>
                  <a:lnTo>
                    <a:pt x="415" y="778"/>
                  </a:lnTo>
                  <a:lnTo>
                    <a:pt x="414" y="780"/>
                  </a:lnTo>
                  <a:lnTo>
                    <a:pt x="409" y="781"/>
                  </a:lnTo>
                  <a:lnTo>
                    <a:pt x="405" y="782"/>
                  </a:lnTo>
                  <a:lnTo>
                    <a:pt x="404" y="780"/>
                  </a:lnTo>
                  <a:lnTo>
                    <a:pt x="402" y="778"/>
                  </a:lnTo>
                  <a:lnTo>
                    <a:pt x="399" y="778"/>
                  </a:lnTo>
                  <a:lnTo>
                    <a:pt x="398" y="780"/>
                  </a:lnTo>
                  <a:lnTo>
                    <a:pt x="395" y="782"/>
                  </a:lnTo>
                  <a:lnTo>
                    <a:pt x="389" y="784"/>
                  </a:lnTo>
                  <a:lnTo>
                    <a:pt x="379" y="787"/>
                  </a:lnTo>
                  <a:lnTo>
                    <a:pt x="372" y="788"/>
                  </a:lnTo>
                  <a:lnTo>
                    <a:pt x="366" y="790"/>
                  </a:lnTo>
                  <a:lnTo>
                    <a:pt x="363" y="795"/>
                  </a:lnTo>
                  <a:lnTo>
                    <a:pt x="358" y="795"/>
                  </a:lnTo>
                  <a:lnTo>
                    <a:pt x="353" y="798"/>
                  </a:lnTo>
                  <a:lnTo>
                    <a:pt x="352" y="804"/>
                  </a:lnTo>
                  <a:lnTo>
                    <a:pt x="349" y="811"/>
                  </a:lnTo>
                  <a:lnTo>
                    <a:pt x="346" y="814"/>
                  </a:lnTo>
                  <a:lnTo>
                    <a:pt x="342" y="820"/>
                  </a:lnTo>
                  <a:lnTo>
                    <a:pt x="336" y="821"/>
                  </a:lnTo>
                  <a:lnTo>
                    <a:pt x="332" y="820"/>
                  </a:lnTo>
                  <a:lnTo>
                    <a:pt x="323" y="820"/>
                  </a:lnTo>
                  <a:lnTo>
                    <a:pt x="318" y="820"/>
                  </a:lnTo>
                  <a:lnTo>
                    <a:pt x="312" y="818"/>
                  </a:lnTo>
                  <a:lnTo>
                    <a:pt x="306" y="818"/>
                  </a:lnTo>
                  <a:lnTo>
                    <a:pt x="303" y="820"/>
                  </a:lnTo>
                  <a:lnTo>
                    <a:pt x="300" y="824"/>
                  </a:lnTo>
                  <a:lnTo>
                    <a:pt x="295" y="824"/>
                  </a:lnTo>
                  <a:lnTo>
                    <a:pt x="289" y="824"/>
                  </a:lnTo>
                  <a:lnTo>
                    <a:pt x="280" y="825"/>
                  </a:lnTo>
                  <a:lnTo>
                    <a:pt x="275" y="824"/>
                  </a:lnTo>
                  <a:lnTo>
                    <a:pt x="267" y="820"/>
                  </a:lnTo>
                  <a:lnTo>
                    <a:pt x="263" y="817"/>
                  </a:lnTo>
                  <a:lnTo>
                    <a:pt x="257" y="815"/>
                  </a:lnTo>
                  <a:lnTo>
                    <a:pt x="255" y="815"/>
                  </a:lnTo>
                  <a:lnTo>
                    <a:pt x="250" y="820"/>
                  </a:lnTo>
                  <a:lnTo>
                    <a:pt x="247" y="823"/>
                  </a:lnTo>
                  <a:lnTo>
                    <a:pt x="243" y="823"/>
                  </a:lnTo>
                  <a:lnTo>
                    <a:pt x="239" y="823"/>
                  </a:lnTo>
                  <a:lnTo>
                    <a:pt x="235" y="823"/>
                  </a:lnTo>
                  <a:lnTo>
                    <a:pt x="229" y="824"/>
                  </a:lnTo>
                  <a:lnTo>
                    <a:pt x="224" y="824"/>
                  </a:lnTo>
                  <a:lnTo>
                    <a:pt x="222" y="824"/>
                  </a:lnTo>
                  <a:lnTo>
                    <a:pt x="219" y="823"/>
                  </a:lnTo>
                  <a:lnTo>
                    <a:pt x="216" y="823"/>
                  </a:lnTo>
                  <a:lnTo>
                    <a:pt x="210" y="824"/>
                  </a:lnTo>
                  <a:lnTo>
                    <a:pt x="193" y="833"/>
                  </a:lnTo>
                  <a:lnTo>
                    <a:pt x="190" y="834"/>
                  </a:lnTo>
                  <a:lnTo>
                    <a:pt x="189" y="837"/>
                  </a:lnTo>
                  <a:lnTo>
                    <a:pt x="193" y="843"/>
                  </a:lnTo>
                  <a:lnTo>
                    <a:pt x="193" y="845"/>
                  </a:lnTo>
                  <a:lnTo>
                    <a:pt x="187" y="851"/>
                  </a:lnTo>
                  <a:lnTo>
                    <a:pt x="186" y="851"/>
                  </a:lnTo>
                  <a:lnTo>
                    <a:pt x="184" y="850"/>
                  </a:lnTo>
                  <a:lnTo>
                    <a:pt x="182" y="845"/>
                  </a:lnTo>
                  <a:lnTo>
                    <a:pt x="176" y="843"/>
                  </a:lnTo>
                  <a:lnTo>
                    <a:pt x="171" y="844"/>
                  </a:lnTo>
                  <a:lnTo>
                    <a:pt x="169" y="848"/>
                  </a:lnTo>
                  <a:lnTo>
                    <a:pt x="164" y="854"/>
                  </a:lnTo>
                  <a:lnTo>
                    <a:pt x="159" y="857"/>
                  </a:lnTo>
                  <a:lnTo>
                    <a:pt x="154" y="858"/>
                  </a:lnTo>
                  <a:lnTo>
                    <a:pt x="147" y="860"/>
                  </a:lnTo>
                  <a:lnTo>
                    <a:pt x="143" y="863"/>
                  </a:lnTo>
                  <a:lnTo>
                    <a:pt x="143" y="864"/>
                  </a:lnTo>
                  <a:lnTo>
                    <a:pt x="143" y="868"/>
                  </a:lnTo>
                  <a:lnTo>
                    <a:pt x="144" y="871"/>
                  </a:lnTo>
                  <a:lnTo>
                    <a:pt x="143" y="873"/>
                  </a:lnTo>
                  <a:lnTo>
                    <a:pt x="141" y="874"/>
                  </a:lnTo>
                  <a:lnTo>
                    <a:pt x="136" y="874"/>
                  </a:lnTo>
                  <a:lnTo>
                    <a:pt x="134" y="874"/>
                  </a:lnTo>
                  <a:lnTo>
                    <a:pt x="131" y="880"/>
                  </a:lnTo>
                  <a:lnTo>
                    <a:pt x="130" y="881"/>
                  </a:lnTo>
                  <a:lnTo>
                    <a:pt x="127" y="881"/>
                  </a:lnTo>
                  <a:lnTo>
                    <a:pt x="126" y="881"/>
                  </a:lnTo>
                  <a:lnTo>
                    <a:pt x="120" y="878"/>
                  </a:lnTo>
                  <a:lnTo>
                    <a:pt x="117" y="877"/>
                  </a:lnTo>
                  <a:lnTo>
                    <a:pt x="114" y="878"/>
                  </a:lnTo>
                  <a:lnTo>
                    <a:pt x="108" y="880"/>
                  </a:lnTo>
                  <a:lnTo>
                    <a:pt x="93" y="878"/>
                  </a:lnTo>
                  <a:lnTo>
                    <a:pt x="83" y="880"/>
                  </a:lnTo>
                  <a:lnTo>
                    <a:pt x="67" y="880"/>
                  </a:lnTo>
                  <a:lnTo>
                    <a:pt x="57" y="881"/>
                  </a:lnTo>
                  <a:lnTo>
                    <a:pt x="67" y="880"/>
                  </a:lnTo>
                  <a:lnTo>
                    <a:pt x="73" y="888"/>
                  </a:lnTo>
                  <a:lnTo>
                    <a:pt x="76" y="897"/>
                  </a:lnTo>
                  <a:lnTo>
                    <a:pt x="76" y="903"/>
                  </a:lnTo>
                  <a:lnTo>
                    <a:pt x="74" y="908"/>
                  </a:lnTo>
                  <a:lnTo>
                    <a:pt x="74" y="914"/>
                  </a:lnTo>
                  <a:lnTo>
                    <a:pt x="76" y="920"/>
                  </a:lnTo>
                  <a:lnTo>
                    <a:pt x="77" y="923"/>
                  </a:lnTo>
                  <a:lnTo>
                    <a:pt x="77" y="924"/>
                  </a:lnTo>
                  <a:lnTo>
                    <a:pt x="76" y="927"/>
                  </a:lnTo>
                  <a:lnTo>
                    <a:pt x="71" y="929"/>
                  </a:lnTo>
                  <a:lnTo>
                    <a:pt x="68" y="933"/>
                  </a:lnTo>
                  <a:lnTo>
                    <a:pt x="64" y="943"/>
                  </a:lnTo>
                  <a:lnTo>
                    <a:pt x="64" y="946"/>
                  </a:lnTo>
                  <a:lnTo>
                    <a:pt x="64" y="951"/>
                  </a:lnTo>
                  <a:lnTo>
                    <a:pt x="68" y="957"/>
                  </a:lnTo>
                  <a:lnTo>
                    <a:pt x="74" y="961"/>
                  </a:lnTo>
                  <a:lnTo>
                    <a:pt x="77" y="964"/>
                  </a:lnTo>
                  <a:lnTo>
                    <a:pt x="78" y="967"/>
                  </a:lnTo>
                  <a:lnTo>
                    <a:pt x="78" y="970"/>
                  </a:lnTo>
                  <a:lnTo>
                    <a:pt x="74" y="974"/>
                  </a:lnTo>
                  <a:lnTo>
                    <a:pt x="60" y="990"/>
                  </a:lnTo>
                  <a:lnTo>
                    <a:pt x="53" y="1003"/>
                  </a:lnTo>
                  <a:lnTo>
                    <a:pt x="43" y="1012"/>
                  </a:lnTo>
                  <a:lnTo>
                    <a:pt x="35" y="1017"/>
                  </a:lnTo>
                  <a:lnTo>
                    <a:pt x="35" y="1019"/>
                  </a:lnTo>
                  <a:lnTo>
                    <a:pt x="37" y="1027"/>
                  </a:lnTo>
                  <a:lnTo>
                    <a:pt x="37" y="1030"/>
                  </a:lnTo>
                  <a:lnTo>
                    <a:pt x="35" y="1033"/>
                  </a:lnTo>
                  <a:lnTo>
                    <a:pt x="34" y="1036"/>
                  </a:lnTo>
                  <a:lnTo>
                    <a:pt x="27" y="1042"/>
                  </a:lnTo>
                  <a:lnTo>
                    <a:pt x="18" y="1045"/>
                  </a:lnTo>
                  <a:lnTo>
                    <a:pt x="11" y="1046"/>
                  </a:lnTo>
                  <a:lnTo>
                    <a:pt x="7" y="1050"/>
                  </a:lnTo>
                  <a:lnTo>
                    <a:pt x="2" y="1055"/>
                  </a:lnTo>
                  <a:lnTo>
                    <a:pt x="0" y="1057"/>
                  </a:lnTo>
                  <a:lnTo>
                    <a:pt x="1" y="1060"/>
                  </a:lnTo>
                  <a:lnTo>
                    <a:pt x="5" y="1069"/>
                  </a:lnTo>
                  <a:lnTo>
                    <a:pt x="11" y="1075"/>
                  </a:lnTo>
                  <a:lnTo>
                    <a:pt x="14" y="1082"/>
                  </a:lnTo>
                  <a:lnTo>
                    <a:pt x="17" y="1082"/>
                  </a:lnTo>
                  <a:lnTo>
                    <a:pt x="25" y="1082"/>
                  </a:lnTo>
                  <a:lnTo>
                    <a:pt x="34" y="1083"/>
                  </a:lnTo>
                  <a:lnTo>
                    <a:pt x="38" y="1086"/>
                  </a:lnTo>
                  <a:lnTo>
                    <a:pt x="40" y="1089"/>
                  </a:lnTo>
                  <a:lnTo>
                    <a:pt x="41" y="1098"/>
                  </a:lnTo>
                  <a:lnTo>
                    <a:pt x="41" y="1100"/>
                  </a:lnTo>
                  <a:lnTo>
                    <a:pt x="44" y="1102"/>
                  </a:lnTo>
                  <a:lnTo>
                    <a:pt x="47" y="1105"/>
                  </a:lnTo>
                  <a:lnTo>
                    <a:pt x="47" y="1109"/>
                  </a:lnTo>
                  <a:lnTo>
                    <a:pt x="44" y="1115"/>
                  </a:lnTo>
                  <a:lnTo>
                    <a:pt x="40" y="1118"/>
                  </a:lnTo>
                  <a:lnTo>
                    <a:pt x="35" y="1120"/>
                  </a:lnTo>
                  <a:lnTo>
                    <a:pt x="34" y="1122"/>
                  </a:lnTo>
                  <a:lnTo>
                    <a:pt x="34" y="1125"/>
                  </a:lnTo>
                  <a:lnTo>
                    <a:pt x="37" y="1129"/>
                  </a:lnTo>
                  <a:lnTo>
                    <a:pt x="48" y="1141"/>
                  </a:lnTo>
                  <a:lnTo>
                    <a:pt x="54" y="1145"/>
                  </a:lnTo>
                  <a:lnTo>
                    <a:pt x="58" y="1145"/>
                  </a:lnTo>
                  <a:lnTo>
                    <a:pt x="63" y="1141"/>
                  </a:lnTo>
                  <a:lnTo>
                    <a:pt x="70" y="1138"/>
                  </a:lnTo>
                  <a:lnTo>
                    <a:pt x="73" y="1139"/>
                  </a:lnTo>
                  <a:lnTo>
                    <a:pt x="83" y="1143"/>
                  </a:lnTo>
                  <a:lnTo>
                    <a:pt x="90" y="1151"/>
                  </a:lnTo>
                  <a:lnTo>
                    <a:pt x="100" y="1152"/>
                  </a:lnTo>
                  <a:lnTo>
                    <a:pt x="108" y="1149"/>
                  </a:lnTo>
                  <a:lnTo>
                    <a:pt x="113" y="1149"/>
                  </a:lnTo>
                  <a:lnTo>
                    <a:pt x="116" y="1151"/>
                  </a:lnTo>
                  <a:lnTo>
                    <a:pt x="117" y="1153"/>
                  </a:lnTo>
                  <a:lnTo>
                    <a:pt x="118" y="1158"/>
                  </a:lnTo>
                  <a:lnTo>
                    <a:pt x="121" y="1158"/>
                  </a:lnTo>
                  <a:lnTo>
                    <a:pt x="136" y="1159"/>
                  </a:lnTo>
                  <a:lnTo>
                    <a:pt x="141" y="1162"/>
                  </a:lnTo>
                  <a:lnTo>
                    <a:pt x="147" y="1166"/>
                  </a:lnTo>
                  <a:lnTo>
                    <a:pt x="154" y="1166"/>
                  </a:lnTo>
                  <a:lnTo>
                    <a:pt x="166" y="1165"/>
                  </a:lnTo>
                  <a:lnTo>
                    <a:pt x="177" y="1166"/>
                  </a:lnTo>
                  <a:lnTo>
                    <a:pt x="194" y="1172"/>
                  </a:lnTo>
                  <a:lnTo>
                    <a:pt x="207" y="1179"/>
                  </a:lnTo>
                  <a:lnTo>
                    <a:pt x="216" y="1188"/>
                  </a:lnTo>
                  <a:lnTo>
                    <a:pt x="223" y="1196"/>
                  </a:lnTo>
                  <a:lnTo>
                    <a:pt x="229" y="1204"/>
                  </a:lnTo>
                  <a:lnTo>
                    <a:pt x="233" y="1206"/>
                  </a:lnTo>
                  <a:lnTo>
                    <a:pt x="242" y="1208"/>
                  </a:lnTo>
                  <a:lnTo>
                    <a:pt x="247" y="1208"/>
                  </a:lnTo>
                  <a:lnTo>
                    <a:pt x="252" y="1211"/>
                  </a:lnTo>
                  <a:lnTo>
                    <a:pt x="253" y="1215"/>
                  </a:lnTo>
                  <a:lnTo>
                    <a:pt x="257" y="1229"/>
                  </a:lnTo>
                  <a:lnTo>
                    <a:pt x="257" y="1235"/>
                  </a:lnTo>
                  <a:lnTo>
                    <a:pt x="255" y="1236"/>
                  </a:lnTo>
                  <a:lnTo>
                    <a:pt x="249" y="1239"/>
                  </a:lnTo>
                  <a:lnTo>
                    <a:pt x="233" y="1246"/>
                  </a:lnTo>
                  <a:lnTo>
                    <a:pt x="230" y="1264"/>
                  </a:lnTo>
                  <a:lnTo>
                    <a:pt x="245" y="1279"/>
                  </a:lnTo>
                  <a:lnTo>
                    <a:pt x="245" y="1294"/>
                  </a:lnTo>
                  <a:lnTo>
                    <a:pt x="246" y="1297"/>
                  </a:lnTo>
                  <a:lnTo>
                    <a:pt x="249" y="1297"/>
                  </a:lnTo>
                  <a:lnTo>
                    <a:pt x="253" y="1297"/>
                  </a:lnTo>
                  <a:lnTo>
                    <a:pt x="255" y="1301"/>
                  </a:lnTo>
                  <a:lnTo>
                    <a:pt x="263" y="1305"/>
                  </a:lnTo>
                  <a:lnTo>
                    <a:pt x="267" y="1308"/>
                  </a:lnTo>
                  <a:lnTo>
                    <a:pt x="272" y="1308"/>
                  </a:lnTo>
                  <a:lnTo>
                    <a:pt x="276" y="1310"/>
                  </a:lnTo>
                  <a:lnTo>
                    <a:pt x="275" y="1312"/>
                  </a:lnTo>
                  <a:lnTo>
                    <a:pt x="275" y="1317"/>
                  </a:lnTo>
                  <a:lnTo>
                    <a:pt x="277" y="1318"/>
                  </a:lnTo>
                  <a:lnTo>
                    <a:pt x="292" y="1311"/>
                  </a:lnTo>
                  <a:lnTo>
                    <a:pt x="302" y="1310"/>
                  </a:lnTo>
                  <a:lnTo>
                    <a:pt x="313" y="1305"/>
                  </a:lnTo>
                  <a:lnTo>
                    <a:pt x="342" y="1301"/>
                  </a:lnTo>
                  <a:lnTo>
                    <a:pt x="352" y="1324"/>
                  </a:lnTo>
                  <a:lnTo>
                    <a:pt x="356" y="1328"/>
                  </a:lnTo>
                  <a:lnTo>
                    <a:pt x="359" y="1330"/>
                  </a:lnTo>
                  <a:lnTo>
                    <a:pt x="359" y="1330"/>
                  </a:lnTo>
                  <a:lnTo>
                    <a:pt x="361" y="1328"/>
                  </a:lnTo>
                  <a:lnTo>
                    <a:pt x="363" y="1322"/>
                  </a:lnTo>
                  <a:lnTo>
                    <a:pt x="368" y="1320"/>
                  </a:lnTo>
                  <a:lnTo>
                    <a:pt x="373" y="1318"/>
                  </a:lnTo>
                  <a:lnTo>
                    <a:pt x="375" y="1315"/>
                  </a:lnTo>
                  <a:lnTo>
                    <a:pt x="375" y="1311"/>
                  </a:lnTo>
                  <a:lnTo>
                    <a:pt x="372" y="1299"/>
                  </a:lnTo>
                  <a:lnTo>
                    <a:pt x="373" y="1295"/>
                  </a:lnTo>
                  <a:lnTo>
                    <a:pt x="378" y="1298"/>
                  </a:lnTo>
                  <a:lnTo>
                    <a:pt x="392" y="1302"/>
                  </a:lnTo>
                  <a:lnTo>
                    <a:pt x="396" y="1304"/>
                  </a:lnTo>
                  <a:lnTo>
                    <a:pt x="401" y="1317"/>
                  </a:lnTo>
                  <a:lnTo>
                    <a:pt x="405" y="1320"/>
                  </a:lnTo>
                  <a:lnTo>
                    <a:pt x="418" y="1324"/>
                  </a:lnTo>
                  <a:lnTo>
                    <a:pt x="421" y="1325"/>
                  </a:lnTo>
                  <a:lnTo>
                    <a:pt x="425" y="1340"/>
                  </a:lnTo>
                  <a:lnTo>
                    <a:pt x="432" y="1347"/>
                  </a:lnTo>
                  <a:lnTo>
                    <a:pt x="438" y="1350"/>
                  </a:lnTo>
                  <a:lnTo>
                    <a:pt x="452" y="1351"/>
                  </a:lnTo>
                  <a:lnTo>
                    <a:pt x="455" y="1354"/>
                  </a:lnTo>
                  <a:lnTo>
                    <a:pt x="455" y="1361"/>
                  </a:lnTo>
                  <a:lnTo>
                    <a:pt x="458" y="1368"/>
                  </a:lnTo>
                  <a:lnTo>
                    <a:pt x="471" y="1378"/>
                  </a:lnTo>
                  <a:lnTo>
                    <a:pt x="477" y="1388"/>
                  </a:lnTo>
                  <a:lnTo>
                    <a:pt x="477" y="1391"/>
                  </a:lnTo>
                  <a:lnTo>
                    <a:pt x="475" y="1398"/>
                  </a:lnTo>
                  <a:lnTo>
                    <a:pt x="472" y="1403"/>
                  </a:lnTo>
                  <a:lnTo>
                    <a:pt x="468" y="1405"/>
                  </a:lnTo>
                  <a:lnTo>
                    <a:pt x="452" y="1410"/>
                  </a:lnTo>
                  <a:lnTo>
                    <a:pt x="451" y="1411"/>
                  </a:lnTo>
                  <a:lnTo>
                    <a:pt x="451" y="1468"/>
                  </a:lnTo>
                  <a:lnTo>
                    <a:pt x="455" y="1471"/>
                  </a:lnTo>
                  <a:lnTo>
                    <a:pt x="464" y="1476"/>
                  </a:lnTo>
                  <a:lnTo>
                    <a:pt x="478" y="1479"/>
                  </a:lnTo>
                  <a:lnTo>
                    <a:pt x="482" y="1486"/>
                  </a:lnTo>
                  <a:lnTo>
                    <a:pt x="482" y="1499"/>
                  </a:lnTo>
                  <a:lnTo>
                    <a:pt x="481" y="1504"/>
                  </a:lnTo>
                  <a:lnTo>
                    <a:pt x="477" y="1513"/>
                  </a:lnTo>
                  <a:lnTo>
                    <a:pt x="471" y="1530"/>
                  </a:lnTo>
                  <a:lnTo>
                    <a:pt x="462" y="1559"/>
                  </a:lnTo>
                  <a:lnTo>
                    <a:pt x="462" y="1563"/>
                  </a:lnTo>
                  <a:lnTo>
                    <a:pt x="467" y="1566"/>
                  </a:lnTo>
                  <a:lnTo>
                    <a:pt x="475" y="1566"/>
                  </a:lnTo>
                  <a:lnTo>
                    <a:pt x="479" y="1566"/>
                  </a:lnTo>
                  <a:lnTo>
                    <a:pt x="491" y="1567"/>
                  </a:lnTo>
                  <a:lnTo>
                    <a:pt x="504" y="1564"/>
                  </a:lnTo>
                  <a:lnTo>
                    <a:pt x="512" y="1564"/>
                  </a:lnTo>
                  <a:lnTo>
                    <a:pt x="531" y="1576"/>
                  </a:lnTo>
                  <a:lnTo>
                    <a:pt x="544" y="1583"/>
                  </a:lnTo>
                  <a:lnTo>
                    <a:pt x="557" y="1573"/>
                  </a:lnTo>
                  <a:lnTo>
                    <a:pt x="561" y="1567"/>
                  </a:lnTo>
                  <a:lnTo>
                    <a:pt x="577" y="1572"/>
                  </a:lnTo>
                  <a:lnTo>
                    <a:pt x="584" y="1617"/>
                  </a:lnTo>
                  <a:lnTo>
                    <a:pt x="591" y="1623"/>
                  </a:lnTo>
                  <a:lnTo>
                    <a:pt x="615" y="1630"/>
                  </a:lnTo>
                  <a:lnTo>
                    <a:pt x="631" y="1637"/>
                  </a:lnTo>
                  <a:lnTo>
                    <a:pt x="640" y="1650"/>
                  </a:lnTo>
                  <a:lnTo>
                    <a:pt x="646" y="1666"/>
                  </a:lnTo>
                  <a:lnTo>
                    <a:pt x="647" y="1672"/>
                  </a:lnTo>
                  <a:lnTo>
                    <a:pt x="657" y="1679"/>
                  </a:lnTo>
                  <a:lnTo>
                    <a:pt x="677" y="1685"/>
                  </a:lnTo>
                  <a:lnTo>
                    <a:pt x="691" y="1683"/>
                  </a:lnTo>
                  <a:lnTo>
                    <a:pt x="714" y="1688"/>
                  </a:lnTo>
                  <a:lnTo>
                    <a:pt x="733" y="1695"/>
                  </a:lnTo>
                  <a:lnTo>
                    <a:pt x="752" y="1705"/>
                  </a:lnTo>
                  <a:lnTo>
                    <a:pt x="766" y="1718"/>
                  </a:lnTo>
                  <a:lnTo>
                    <a:pt x="766" y="1729"/>
                  </a:lnTo>
                  <a:lnTo>
                    <a:pt x="793" y="1726"/>
                  </a:lnTo>
                  <a:lnTo>
                    <a:pt x="809" y="1738"/>
                  </a:lnTo>
                  <a:lnTo>
                    <a:pt x="813" y="1743"/>
                  </a:lnTo>
                  <a:lnTo>
                    <a:pt x="816" y="1758"/>
                  </a:lnTo>
                  <a:lnTo>
                    <a:pt x="813" y="1775"/>
                  </a:lnTo>
                  <a:lnTo>
                    <a:pt x="863" y="1841"/>
                  </a:lnTo>
                  <a:lnTo>
                    <a:pt x="885" y="1835"/>
                  </a:lnTo>
                  <a:lnTo>
                    <a:pt x="895" y="1837"/>
                  </a:lnTo>
                  <a:lnTo>
                    <a:pt x="909" y="1839"/>
                  </a:lnTo>
                  <a:lnTo>
                    <a:pt x="919" y="1842"/>
                  </a:lnTo>
                  <a:lnTo>
                    <a:pt x="928" y="1848"/>
                  </a:lnTo>
                  <a:lnTo>
                    <a:pt x="935" y="1854"/>
                  </a:lnTo>
                  <a:lnTo>
                    <a:pt x="955" y="1857"/>
                  </a:lnTo>
                  <a:lnTo>
                    <a:pt x="971" y="1864"/>
                  </a:lnTo>
                  <a:lnTo>
                    <a:pt x="989" y="1871"/>
                  </a:lnTo>
                  <a:lnTo>
                    <a:pt x="1008" y="1839"/>
                  </a:lnTo>
                  <a:lnTo>
                    <a:pt x="1029" y="1834"/>
                  </a:lnTo>
                  <a:lnTo>
                    <a:pt x="1052" y="1825"/>
                  </a:lnTo>
                  <a:lnTo>
                    <a:pt x="1062" y="1818"/>
                  </a:lnTo>
                  <a:lnTo>
                    <a:pt x="1067" y="1811"/>
                  </a:lnTo>
                  <a:lnTo>
                    <a:pt x="1075" y="1804"/>
                  </a:lnTo>
                  <a:lnTo>
                    <a:pt x="1091" y="1804"/>
                  </a:lnTo>
                  <a:lnTo>
                    <a:pt x="1101" y="1806"/>
                  </a:lnTo>
                  <a:lnTo>
                    <a:pt x="1098" y="1825"/>
                  </a:lnTo>
                  <a:lnTo>
                    <a:pt x="1100" y="1834"/>
                  </a:lnTo>
                  <a:lnTo>
                    <a:pt x="1112" y="1844"/>
                  </a:lnTo>
                  <a:lnTo>
                    <a:pt x="1114" y="1849"/>
                  </a:lnTo>
                  <a:lnTo>
                    <a:pt x="1114" y="1855"/>
                  </a:lnTo>
                  <a:lnTo>
                    <a:pt x="1111" y="1861"/>
                  </a:lnTo>
                  <a:lnTo>
                    <a:pt x="1115" y="1865"/>
                  </a:lnTo>
                  <a:lnTo>
                    <a:pt x="1131" y="1877"/>
                  </a:lnTo>
                  <a:lnTo>
                    <a:pt x="1140" y="1892"/>
                  </a:lnTo>
                  <a:lnTo>
                    <a:pt x="1143" y="1895"/>
                  </a:lnTo>
                  <a:lnTo>
                    <a:pt x="1167" y="1885"/>
                  </a:lnTo>
                  <a:lnTo>
                    <a:pt x="1183" y="1898"/>
                  </a:lnTo>
                  <a:lnTo>
                    <a:pt x="1197" y="1894"/>
                  </a:lnTo>
                  <a:lnTo>
                    <a:pt x="1210" y="1904"/>
                  </a:lnTo>
                  <a:lnTo>
                    <a:pt x="1207" y="1917"/>
                  </a:lnTo>
                  <a:lnTo>
                    <a:pt x="1214" y="1927"/>
                  </a:lnTo>
                  <a:lnTo>
                    <a:pt x="1226" y="1937"/>
                  </a:lnTo>
                  <a:lnTo>
                    <a:pt x="1224" y="1947"/>
                  </a:lnTo>
                  <a:lnTo>
                    <a:pt x="1244" y="1960"/>
                  </a:lnTo>
                  <a:lnTo>
                    <a:pt x="1253" y="1958"/>
                  </a:lnTo>
                  <a:lnTo>
                    <a:pt x="1260" y="1963"/>
                  </a:lnTo>
                  <a:lnTo>
                    <a:pt x="1277" y="1947"/>
                  </a:lnTo>
                  <a:lnTo>
                    <a:pt x="1281" y="1951"/>
                  </a:lnTo>
                  <a:lnTo>
                    <a:pt x="1286" y="1970"/>
                  </a:lnTo>
                  <a:lnTo>
                    <a:pt x="1287" y="1975"/>
                  </a:lnTo>
                  <a:lnTo>
                    <a:pt x="1287" y="1986"/>
                  </a:lnTo>
                  <a:lnTo>
                    <a:pt x="1297" y="1996"/>
                  </a:lnTo>
                  <a:lnTo>
                    <a:pt x="1297" y="2014"/>
                  </a:lnTo>
                  <a:lnTo>
                    <a:pt x="1304" y="2021"/>
                  </a:lnTo>
                  <a:lnTo>
                    <a:pt x="1312" y="2027"/>
                  </a:lnTo>
                  <a:lnTo>
                    <a:pt x="1320" y="2007"/>
                  </a:lnTo>
                  <a:lnTo>
                    <a:pt x="1353" y="1987"/>
                  </a:lnTo>
                  <a:lnTo>
                    <a:pt x="1354" y="1977"/>
                  </a:lnTo>
                  <a:lnTo>
                    <a:pt x="1363" y="1967"/>
                  </a:lnTo>
                  <a:lnTo>
                    <a:pt x="1369" y="1967"/>
                  </a:lnTo>
                  <a:lnTo>
                    <a:pt x="1369" y="1967"/>
                  </a:lnTo>
                  <a:lnTo>
                    <a:pt x="1380" y="1947"/>
                  </a:lnTo>
                  <a:lnTo>
                    <a:pt x="1380" y="1947"/>
                  </a:lnTo>
                  <a:lnTo>
                    <a:pt x="1382" y="1941"/>
                  </a:lnTo>
                  <a:lnTo>
                    <a:pt x="1386" y="1937"/>
                  </a:lnTo>
                  <a:lnTo>
                    <a:pt x="1390" y="1935"/>
                  </a:lnTo>
                  <a:lnTo>
                    <a:pt x="1395" y="1933"/>
                  </a:lnTo>
                  <a:lnTo>
                    <a:pt x="1405" y="1931"/>
                  </a:lnTo>
                  <a:lnTo>
                    <a:pt x="1407" y="1930"/>
                  </a:lnTo>
                  <a:lnTo>
                    <a:pt x="1409" y="1928"/>
                  </a:lnTo>
                  <a:lnTo>
                    <a:pt x="1409" y="1928"/>
                  </a:lnTo>
                  <a:lnTo>
                    <a:pt x="1413" y="1924"/>
                  </a:lnTo>
                  <a:lnTo>
                    <a:pt x="1417" y="1920"/>
                  </a:lnTo>
                  <a:lnTo>
                    <a:pt x="1422" y="1914"/>
                  </a:lnTo>
                  <a:lnTo>
                    <a:pt x="1423" y="1910"/>
                  </a:lnTo>
                  <a:lnTo>
                    <a:pt x="1425" y="1905"/>
                  </a:lnTo>
                  <a:lnTo>
                    <a:pt x="1425" y="1905"/>
                  </a:lnTo>
                  <a:lnTo>
                    <a:pt x="1425" y="1901"/>
                  </a:lnTo>
                  <a:lnTo>
                    <a:pt x="1426" y="1894"/>
                  </a:lnTo>
                  <a:lnTo>
                    <a:pt x="1432" y="1881"/>
                  </a:lnTo>
                  <a:lnTo>
                    <a:pt x="1439" y="1865"/>
                  </a:lnTo>
                  <a:lnTo>
                    <a:pt x="1439" y="1865"/>
                  </a:lnTo>
                  <a:lnTo>
                    <a:pt x="1432" y="1857"/>
                  </a:lnTo>
                  <a:lnTo>
                    <a:pt x="1430" y="1852"/>
                  </a:lnTo>
                  <a:lnTo>
                    <a:pt x="1429" y="1847"/>
                  </a:lnTo>
                  <a:lnTo>
                    <a:pt x="1429" y="1847"/>
                  </a:lnTo>
                  <a:lnTo>
                    <a:pt x="1429" y="1838"/>
                  </a:lnTo>
                  <a:lnTo>
                    <a:pt x="1428" y="1835"/>
                  </a:lnTo>
                  <a:lnTo>
                    <a:pt x="1423" y="1827"/>
                  </a:lnTo>
                  <a:lnTo>
                    <a:pt x="1423" y="1827"/>
                  </a:lnTo>
                  <a:lnTo>
                    <a:pt x="1419" y="1822"/>
                  </a:lnTo>
                  <a:lnTo>
                    <a:pt x="1419" y="1822"/>
                  </a:lnTo>
                  <a:lnTo>
                    <a:pt x="1416" y="1819"/>
                  </a:lnTo>
                  <a:lnTo>
                    <a:pt x="1416" y="1819"/>
                  </a:lnTo>
                  <a:lnTo>
                    <a:pt x="1416" y="1818"/>
                  </a:lnTo>
                  <a:lnTo>
                    <a:pt x="1417" y="1817"/>
                  </a:lnTo>
                  <a:lnTo>
                    <a:pt x="1417" y="1817"/>
                  </a:lnTo>
                  <a:lnTo>
                    <a:pt x="1419" y="1815"/>
                  </a:lnTo>
                  <a:lnTo>
                    <a:pt x="1419" y="1812"/>
                  </a:lnTo>
                  <a:lnTo>
                    <a:pt x="1419" y="1812"/>
                  </a:lnTo>
                  <a:lnTo>
                    <a:pt x="1423" y="1808"/>
                  </a:lnTo>
                  <a:lnTo>
                    <a:pt x="1423" y="1808"/>
                  </a:lnTo>
                  <a:lnTo>
                    <a:pt x="1428" y="1805"/>
                  </a:lnTo>
                  <a:lnTo>
                    <a:pt x="1428" y="1805"/>
                  </a:lnTo>
                  <a:lnTo>
                    <a:pt x="1429" y="1802"/>
                  </a:lnTo>
                  <a:lnTo>
                    <a:pt x="1433" y="1801"/>
                  </a:lnTo>
                  <a:lnTo>
                    <a:pt x="1433" y="1789"/>
                  </a:lnTo>
                  <a:lnTo>
                    <a:pt x="1435" y="1778"/>
                  </a:lnTo>
                  <a:lnTo>
                    <a:pt x="1476" y="1755"/>
                  </a:lnTo>
                  <a:lnTo>
                    <a:pt x="1485" y="1752"/>
                  </a:lnTo>
                  <a:lnTo>
                    <a:pt x="1483" y="1741"/>
                  </a:lnTo>
                  <a:lnTo>
                    <a:pt x="1488" y="1735"/>
                  </a:lnTo>
                  <a:lnTo>
                    <a:pt x="1492" y="1729"/>
                  </a:lnTo>
                  <a:lnTo>
                    <a:pt x="1489" y="1708"/>
                  </a:lnTo>
                  <a:lnTo>
                    <a:pt x="1486" y="1689"/>
                  </a:lnTo>
                  <a:lnTo>
                    <a:pt x="1489" y="1680"/>
                  </a:lnTo>
                  <a:lnTo>
                    <a:pt x="1495" y="1672"/>
                  </a:lnTo>
                  <a:lnTo>
                    <a:pt x="1496" y="1665"/>
                  </a:lnTo>
                  <a:lnTo>
                    <a:pt x="1495" y="1658"/>
                  </a:lnTo>
                  <a:lnTo>
                    <a:pt x="1496" y="1646"/>
                  </a:lnTo>
                  <a:lnTo>
                    <a:pt x="1495" y="1636"/>
                  </a:lnTo>
                  <a:lnTo>
                    <a:pt x="1495" y="1636"/>
                  </a:lnTo>
                  <a:lnTo>
                    <a:pt x="1488" y="1627"/>
                  </a:lnTo>
                  <a:lnTo>
                    <a:pt x="1482" y="1625"/>
                  </a:lnTo>
                  <a:lnTo>
                    <a:pt x="1476" y="1625"/>
                  </a:lnTo>
                  <a:lnTo>
                    <a:pt x="1465" y="1626"/>
                  </a:lnTo>
                  <a:lnTo>
                    <a:pt x="1455" y="1616"/>
                  </a:lnTo>
                  <a:lnTo>
                    <a:pt x="1453" y="1612"/>
                  </a:lnTo>
                  <a:lnTo>
                    <a:pt x="1443" y="1593"/>
                  </a:lnTo>
                  <a:lnTo>
                    <a:pt x="1413" y="1592"/>
                  </a:lnTo>
                  <a:lnTo>
                    <a:pt x="1409" y="1563"/>
                  </a:lnTo>
                  <a:lnTo>
                    <a:pt x="1410" y="1564"/>
                  </a:lnTo>
                  <a:lnTo>
                    <a:pt x="1435" y="1544"/>
                  </a:lnTo>
                  <a:lnTo>
                    <a:pt x="1435" y="1519"/>
                  </a:lnTo>
                  <a:lnTo>
                    <a:pt x="1438" y="1509"/>
                  </a:lnTo>
                  <a:lnTo>
                    <a:pt x="1435" y="1493"/>
                  </a:lnTo>
                  <a:lnTo>
                    <a:pt x="1422" y="1484"/>
                  </a:lnTo>
                  <a:lnTo>
                    <a:pt x="1430" y="1481"/>
                  </a:lnTo>
                  <a:lnTo>
                    <a:pt x="1432" y="1474"/>
                  </a:lnTo>
                  <a:lnTo>
                    <a:pt x="1428" y="1470"/>
                  </a:lnTo>
                  <a:lnTo>
                    <a:pt x="1422" y="1460"/>
                  </a:lnTo>
                  <a:lnTo>
                    <a:pt x="1413" y="1450"/>
                  </a:lnTo>
                  <a:lnTo>
                    <a:pt x="1402" y="1447"/>
                  </a:lnTo>
                  <a:lnTo>
                    <a:pt x="1387" y="1448"/>
                  </a:lnTo>
                  <a:lnTo>
                    <a:pt x="1389" y="1441"/>
                  </a:lnTo>
                  <a:lnTo>
                    <a:pt x="1390" y="1431"/>
                  </a:lnTo>
                  <a:lnTo>
                    <a:pt x="1389" y="1420"/>
                  </a:lnTo>
                  <a:lnTo>
                    <a:pt x="1386" y="1414"/>
                  </a:lnTo>
                  <a:lnTo>
                    <a:pt x="1382" y="1405"/>
                  </a:lnTo>
                  <a:lnTo>
                    <a:pt x="1383" y="1401"/>
                  </a:lnTo>
                  <a:lnTo>
                    <a:pt x="1387" y="1398"/>
                  </a:lnTo>
                  <a:lnTo>
                    <a:pt x="1392" y="1393"/>
                  </a:lnTo>
                  <a:lnTo>
                    <a:pt x="1399" y="1387"/>
                  </a:lnTo>
                  <a:lnTo>
                    <a:pt x="1402" y="1384"/>
                  </a:lnTo>
                  <a:lnTo>
                    <a:pt x="1402" y="1367"/>
                  </a:lnTo>
                  <a:lnTo>
                    <a:pt x="1402" y="1352"/>
                  </a:lnTo>
                  <a:lnTo>
                    <a:pt x="1399" y="1348"/>
                  </a:lnTo>
                  <a:lnTo>
                    <a:pt x="1395" y="1342"/>
                  </a:lnTo>
                  <a:lnTo>
                    <a:pt x="1390" y="1338"/>
                  </a:lnTo>
                  <a:lnTo>
                    <a:pt x="1389" y="1331"/>
                  </a:lnTo>
                  <a:lnTo>
                    <a:pt x="1389" y="1327"/>
                  </a:lnTo>
                  <a:lnTo>
                    <a:pt x="1390" y="1320"/>
                  </a:lnTo>
                  <a:lnTo>
                    <a:pt x="1392" y="1311"/>
                  </a:lnTo>
                  <a:lnTo>
                    <a:pt x="1396" y="1307"/>
                  </a:lnTo>
                  <a:lnTo>
                    <a:pt x="1400" y="1304"/>
                  </a:lnTo>
                  <a:lnTo>
                    <a:pt x="1406" y="1302"/>
                  </a:lnTo>
                  <a:lnTo>
                    <a:pt x="1410" y="1301"/>
                  </a:lnTo>
                  <a:lnTo>
                    <a:pt x="1412" y="1297"/>
                  </a:lnTo>
                  <a:lnTo>
                    <a:pt x="1413" y="1294"/>
                  </a:lnTo>
                  <a:lnTo>
                    <a:pt x="1409" y="1281"/>
                  </a:lnTo>
                  <a:lnTo>
                    <a:pt x="1405" y="1265"/>
                  </a:lnTo>
                  <a:lnTo>
                    <a:pt x="1397" y="1251"/>
                  </a:lnTo>
                  <a:lnTo>
                    <a:pt x="1382" y="1225"/>
                  </a:lnTo>
                  <a:lnTo>
                    <a:pt x="1363" y="1195"/>
                  </a:lnTo>
                  <a:lnTo>
                    <a:pt x="1360" y="1189"/>
                  </a:lnTo>
                  <a:lnTo>
                    <a:pt x="1377" y="1176"/>
                  </a:lnTo>
                  <a:lnTo>
                    <a:pt x="1377" y="1158"/>
                  </a:lnTo>
                  <a:lnTo>
                    <a:pt x="1386" y="1145"/>
                  </a:lnTo>
                  <a:lnTo>
                    <a:pt x="1379" y="1130"/>
                  </a:lnTo>
                  <a:lnTo>
                    <a:pt x="1376" y="1106"/>
                  </a:lnTo>
                  <a:lnTo>
                    <a:pt x="1366" y="1077"/>
                  </a:lnTo>
                  <a:lnTo>
                    <a:pt x="1369" y="1072"/>
                  </a:lnTo>
                  <a:lnTo>
                    <a:pt x="1366" y="1077"/>
                  </a:lnTo>
                  <a:lnTo>
                    <a:pt x="1369" y="1072"/>
                  </a:lnTo>
                  <a:lnTo>
                    <a:pt x="1372" y="1072"/>
                  </a:lnTo>
                  <a:lnTo>
                    <a:pt x="1375" y="1073"/>
                  </a:lnTo>
                  <a:lnTo>
                    <a:pt x="1379" y="1075"/>
                  </a:lnTo>
                  <a:lnTo>
                    <a:pt x="1385" y="1075"/>
                  </a:lnTo>
                  <a:lnTo>
                    <a:pt x="1386" y="1076"/>
                  </a:lnTo>
                  <a:lnTo>
                    <a:pt x="1387" y="1079"/>
                  </a:lnTo>
                  <a:lnTo>
                    <a:pt x="1390" y="1080"/>
                  </a:lnTo>
                  <a:lnTo>
                    <a:pt x="1393" y="1080"/>
                  </a:lnTo>
                  <a:lnTo>
                    <a:pt x="1402" y="1083"/>
                  </a:lnTo>
                  <a:lnTo>
                    <a:pt x="1407" y="1082"/>
                  </a:lnTo>
                  <a:lnTo>
                    <a:pt x="1410" y="1077"/>
                  </a:lnTo>
                  <a:lnTo>
                    <a:pt x="1412" y="1075"/>
                  </a:lnTo>
                  <a:lnTo>
                    <a:pt x="1412" y="1067"/>
                  </a:lnTo>
                  <a:lnTo>
                    <a:pt x="1412" y="1062"/>
                  </a:lnTo>
                  <a:lnTo>
                    <a:pt x="1413" y="1056"/>
                  </a:lnTo>
                  <a:lnTo>
                    <a:pt x="1416" y="1053"/>
                  </a:lnTo>
                  <a:lnTo>
                    <a:pt x="1419" y="1053"/>
                  </a:lnTo>
                  <a:lnTo>
                    <a:pt x="1425" y="1052"/>
                  </a:lnTo>
                  <a:lnTo>
                    <a:pt x="1426" y="1050"/>
                  </a:lnTo>
                  <a:lnTo>
                    <a:pt x="1428" y="1045"/>
                  </a:lnTo>
                  <a:lnTo>
                    <a:pt x="1429" y="1039"/>
                  </a:lnTo>
                  <a:lnTo>
                    <a:pt x="1430" y="1035"/>
                  </a:lnTo>
                  <a:lnTo>
                    <a:pt x="1436" y="1035"/>
                  </a:lnTo>
                  <a:lnTo>
                    <a:pt x="1440" y="1033"/>
                  </a:lnTo>
                  <a:lnTo>
                    <a:pt x="1442" y="1032"/>
                  </a:lnTo>
                  <a:lnTo>
                    <a:pt x="1445" y="1024"/>
                  </a:lnTo>
                  <a:lnTo>
                    <a:pt x="1448" y="1014"/>
                  </a:lnTo>
                  <a:lnTo>
                    <a:pt x="1448" y="999"/>
                  </a:lnTo>
                  <a:lnTo>
                    <a:pt x="1448" y="992"/>
                  </a:lnTo>
                  <a:lnTo>
                    <a:pt x="1450" y="987"/>
                  </a:lnTo>
                  <a:lnTo>
                    <a:pt x="1458" y="983"/>
                  </a:lnTo>
                  <a:lnTo>
                    <a:pt x="1465" y="980"/>
                  </a:lnTo>
                  <a:lnTo>
                    <a:pt x="1468" y="977"/>
                  </a:lnTo>
                  <a:lnTo>
                    <a:pt x="1470" y="970"/>
                  </a:lnTo>
                  <a:lnTo>
                    <a:pt x="1470" y="963"/>
                  </a:lnTo>
                  <a:lnTo>
                    <a:pt x="1466" y="954"/>
                  </a:lnTo>
                  <a:lnTo>
                    <a:pt x="1463" y="951"/>
                  </a:lnTo>
                  <a:lnTo>
                    <a:pt x="1458" y="946"/>
                  </a:lnTo>
                  <a:lnTo>
                    <a:pt x="1456" y="940"/>
                  </a:lnTo>
                  <a:lnTo>
                    <a:pt x="1456" y="936"/>
                  </a:lnTo>
                  <a:lnTo>
                    <a:pt x="1458" y="927"/>
                  </a:lnTo>
                  <a:lnTo>
                    <a:pt x="1459" y="920"/>
                  </a:lnTo>
                  <a:lnTo>
                    <a:pt x="1456" y="913"/>
                  </a:lnTo>
                  <a:lnTo>
                    <a:pt x="1455" y="908"/>
                  </a:lnTo>
                  <a:lnTo>
                    <a:pt x="1455" y="904"/>
                  </a:lnTo>
                  <a:lnTo>
                    <a:pt x="1456" y="901"/>
                  </a:lnTo>
                  <a:lnTo>
                    <a:pt x="1462" y="900"/>
                  </a:lnTo>
                  <a:lnTo>
                    <a:pt x="1468" y="897"/>
                  </a:lnTo>
                  <a:lnTo>
                    <a:pt x="1463" y="881"/>
                  </a:lnTo>
                  <a:lnTo>
                    <a:pt x="1459" y="881"/>
                  </a:lnTo>
                  <a:lnTo>
                    <a:pt x="1450" y="883"/>
                  </a:lnTo>
                  <a:lnTo>
                    <a:pt x="1436" y="866"/>
                  </a:lnTo>
                  <a:lnTo>
                    <a:pt x="1433" y="868"/>
                  </a:lnTo>
                  <a:lnTo>
                    <a:pt x="1426" y="860"/>
                  </a:lnTo>
                  <a:lnTo>
                    <a:pt x="1438" y="853"/>
                  </a:lnTo>
                  <a:lnTo>
                    <a:pt x="1449" y="854"/>
                  </a:lnTo>
                  <a:lnTo>
                    <a:pt x="1448" y="841"/>
                  </a:lnTo>
                  <a:lnTo>
                    <a:pt x="1443" y="835"/>
                  </a:lnTo>
                  <a:lnTo>
                    <a:pt x="1440" y="831"/>
                  </a:lnTo>
                  <a:lnTo>
                    <a:pt x="1436" y="831"/>
                  </a:lnTo>
                  <a:lnTo>
                    <a:pt x="1433" y="833"/>
                  </a:lnTo>
                  <a:lnTo>
                    <a:pt x="1430" y="840"/>
                  </a:lnTo>
                  <a:lnTo>
                    <a:pt x="1428" y="848"/>
                  </a:lnTo>
                  <a:lnTo>
                    <a:pt x="1426" y="851"/>
                  </a:lnTo>
                  <a:lnTo>
                    <a:pt x="1422" y="855"/>
                  </a:lnTo>
                  <a:lnTo>
                    <a:pt x="1417" y="857"/>
                  </a:lnTo>
                  <a:lnTo>
                    <a:pt x="1413" y="855"/>
                  </a:lnTo>
                  <a:lnTo>
                    <a:pt x="1410" y="857"/>
                  </a:lnTo>
                  <a:lnTo>
                    <a:pt x="1410" y="857"/>
                  </a:lnTo>
                  <a:lnTo>
                    <a:pt x="1409" y="850"/>
                  </a:lnTo>
                  <a:lnTo>
                    <a:pt x="1406" y="845"/>
                  </a:lnTo>
                  <a:lnTo>
                    <a:pt x="1403" y="843"/>
                  </a:lnTo>
                  <a:lnTo>
                    <a:pt x="1399" y="841"/>
                  </a:lnTo>
                  <a:lnTo>
                    <a:pt x="1390" y="840"/>
                  </a:lnTo>
                  <a:lnTo>
                    <a:pt x="1379" y="837"/>
                  </a:lnTo>
                  <a:lnTo>
                    <a:pt x="1379" y="837"/>
                  </a:lnTo>
                  <a:lnTo>
                    <a:pt x="1373" y="835"/>
                  </a:lnTo>
                  <a:lnTo>
                    <a:pt x="1369" y="833"/>
                  </a:lnTo>
                  <a:lnTo>
                    <a:pt x="1365" y="830"/>
                  </a:lnTo>
                  <a:lnTo>
                    <a:pt x="1360" y="828"/>
                  </a:lnTo>
                  <a:lnTo>
                    <a:pt x="1360" y="828"/>
                  </a:lnTo>
                  <a:lnTo>
                    <a:pt x="1343" y="823"/>
                  </a:lnTo>
                  <a:lnTo>
                    <a:pt x="1337" y="821"/>
                  </a:lnTo>
                  <a:lnTo>
                    <a:pt x="1333" y="818"/>
                  </a:lnTo>
                  <a:lnTo>
                    <a:pt x="1330" y="814"/>
                  </a:lnTo>
                  <a:lnTo>
                    <a:pt x="1327" y="808"/>
                  </a:lnTo>
                  <a:lnTo>
                    <a:pt x="1327" y="800"/>
                  </a:lnTo>
                  <a:lnTo>
                    <a:pt x="1326" y="790"/>
                  </a:lnTo>
                  <a:lnTo>
                    <a:pt x="1326" y="790"/>
                  </a:lnTo>
                  <a:lnTo>
                    <a:pt x="1326" y="784"/>
                  </a:lnTo>
                  <a:lnTo>
                    <a:pt x="1324" y="778"/>
                  </a:lnTo>
                  <a:lnTo>
                    <a:pt x="1320" y="770"/>
                  </a:lnTo>
                  <a:lnTo>
                    <a:pt x="1316" y="760"/>
                  </a:lnTo>
                  <a:lnTo>
                    <a:pt x="1312" y="751"/>
                  </a:lnTo>
                  <a:lnTo>
                    <a:pt x="1312" y="751"/>
                  </a:lnTo>
                  <a:lnTo>
                    <a:pt x="1310" y="748"/>
                  </a:lnTo>
                  <a:lnTo>
                    <a:pt x="1309" y="745"/>
                  </a:lnTo>
                  <a:lnTo>
                    <a:pt x="1306" y="737"/>
                  </a:lnTo>
                  <a:lnTo>
                    <a:pt x="1303" y="721"/>
                  </a:lnTo>
                  <a:lnTo>
                    <a:pt x="1303" y="721"/>
                  </a:lnTo>
                  <a:lnTo>
                    <a:pt x="1304" y="717"/>
                  </a:lnTo>
                  <a:lnTo>
                    <a:pt x="1309" y="711"/>
                  </a:lnTo>
                  <a:lnTo>
                    <a:pt x="1320" y="702"/>
                  </a:lnTo>
                  <a:lnTo>
                    <a:pt x="1333" y="692"/>
                  </a:lnTo>
                  <a:lnTo>
                    <a:pt x="1344" y="686"/>
                  </a:lnTo>
                  <a:lnTo>
                    <a:pt x="1344" y="686"/>
                  </a:lnTo>
                  <a:lnTo>
                    <a:pt x="1375" y="669"/>
                  </a:lnTo>
                  <a:lnTo>
                    <a:pt x="1383" y="665"/>
                  </a:lnTo>
                  <a:lnTo>
                    <a:pt x="1390" y="662"/>
                  </a:lnTo>
                  <a:lnTo>
                    <a:pt x="1396" y="661"/>
                  </a:lnTo>
                  <a:lnTo>
                    <a:pt x="1399" y="662"/>
                  </a:lnTo>
                  <a:lnTo>
                    <a:pt x="1399" y="664"/>
                  </a:lnTo>
                  <a:lnTo>
                    <a:pt x="1399" y="664"/>
                  </a:lnTo>
                  <a:lnTo>
                    <a:pt x="1399" y="655"/>
                  </a:lnTo>
                  <a:lnTo>
                    <a:pt x="1400" y="652"/>
                  </a:lnTo>
                  <a:lnTo>
                    <a:pt x="1403" y="652"/>
                  </a:lnTo>
                  <a:lnTo>
                    <a:pt x="1403" y="652"/>
                  </a:lnTo>
                  <a:lnTo>
                    <a:pt x="1405" y="652"/>
                  </a:lnTo>
                  <a:lnTo>
                    <a:pt x="1405" y="654"/>
                  </a:lnTo>
                  <a:lnTo>
                    <a:pt x="1405" y="654"/>
                  </a:lnTo>
                  <a:lnTo>
                    <a:pt x="1406" y="655"/>
                  </a:lnTo>
                  <a:lnTo>
                    <a:pt x="1406" y="655"/>
                  </a:lnTo>
                  <a:lnTo>
                    <a:pt x="1409" y="654"/>
                  </a:lnTo>
                  <a:lnTo>
                    <a:pt x="1410" y="652"/>
                  </a:lnTo>
                  <a:lnTo>
                    <a:pt x="1413" y="652"/>
                  </a:lnTo>
                  <a:lnTo>
                    <a:pt x="1413" y="652"/>
                  </a:lnTo>
                  <a:lnTo>
                    <a:pt x="1417" y="654"/>
                  </a:lnTo>
                  <a:lnTo>
                    <a:pt x="1422" y="654"/>
                  </a:lnTo>
                  <a:lnTo>
                    <a:pt x="1422" y="654"/>
                  </a:lnTo>
                  <a:lnTo>
                    <a:pt x="1426" y="654"/>
                  </a:lnTo>
                  <a:lnTo>
                    <a:pt x="1429" y="651"/>
                  </a:lnTo>
                  <a:lnTo>
                    <a:pt x="1430" y="649"/>
                  </a:lnTo>
                  <a:lnTo>
                    <a:pt x="1435" y="646"/>
                  </a:lnTo>
                  <a:lnTo>
                    <a:pt x="1435" y="646"/>
                  </a:lnTo>
                  <a:lnTo>
                    <a:pt x="1436" y="645"/>
                  </a:lnTo>
                  <a:lnTo>
                    <a:pt x="1438" y="644"/>
                  </a:lnTo>
                  <a:lnTo>
                    <a:pt x="1439" y="638"/>
                  </a:lnTo>
                  <a:lnTo>
                    <a:pt x="1439" y="625"/>
                  </a:lnTo>
                  <a:lnTo>
                    <a:pt x="1439" y="625"/>
                  </a:lnTo>
                  <a:lnTo>
                    <a:pt x="1439" y="611"/>
                  </a:lnTo>
                  <a:lnTo>
                    <a:pt x="1439" y="611"/>
                  </a:lnTo>
                  <a:lnTo>
                    <a:pt x="1440" y="608"/>
                  </a:lnTo>
                  <a:lnTo>
                    <a:pt x="1442" y="605"/>
                  </a:lnTo>
                  <a:lnTo>
                    <a:pt x="1443" y="602"/>
                  </a:lnTo>
                  <a:lnTo>
                    <a:pt x="1443" y="599"/>
                  </a:lnTo>
                  <a:lnTo>
                    <a:pt x="1449" y="601"/>
                  </a:lnTo>
                  <a:lnTo>
                    <a:pt x="1446" y="599"/>
                  </a:lnTo>
                  <a:lnTo>
                    <a:pt x="1446" y="592"/>
                  </a:lnTo>
                  <a:lnTo>
                    <a:pt x="1448" y="576"/>
                  </a:lnTo>
                  <a:lnTo>
                    <a:pt x="1449" y="566"/>
                  </a:lnTo>
                  <a:lnTo>
                    <a:pt x="1449" y="560"/>
                  </a:lnTo>
                  <a:lnTo>
                    <a:pt x="1449" y="556"/>
                  </a:lnTo>
                  <a:lnTo>
                    <a:pt x="1446" y="555"/>
                  </a:lnTo>
                  <a:lnTo>
                    <a:pt x="1442" y="553"/>
                  </a:lnTo>
                  <a:lnTo>
                    <a:pt x="1439" y="552"/>
                  </a:lnTo>
                  <a:lnTo>
                    <a:pt x="1430" y="546"/>
                  </a:lnTo>
                  <a:lnTo>
                    <a:pt x="1425" y="542"/>
                  </a:lnTo>
                  <a:lnTo>
                    <a:pt x="1417" y="532"/>
                  </a:lnTo>
                  <a:lnTo>
                    <a:pt x="1416" y="522"/>
                  </a:lnTo>
                  <a:lnTo>
                    <a:pt x="1413" y="512"/>
                  </a:lnTo>
                  <a:lnTo>
                    <a:pt x="1409" y="506"/>
                  </a:lnTo>
                  <a:lnTo>
                    <a:pt x="1406" y="503"/>
                  </a:lnTo>
                  <a:lnTo>
                    <a:pt x="1399" y="499"/>
                  </a:lnTo>
                  <a:lnTo>
                    <a:pt x="1397" y="497"/>
                  </a:lnTo>
                  <a:lnTo>
                    <a:pt x="1397" y="493"/>
                  </a:lnTo>
                  <a:lnTo>
                    <a:pt x="1399" y="486"/>
                  </a:lnTo>
                  <a:lnTo>
                    <a:pt x="1403" y="482"/>
                  </a:lnTo>
                  <a:lnTo>
                    <a:pt x="1409" y="477"/>
                  </a:lnTo>
                  <a:lnTo>
                    <a:pt x="1412" y="475"/>
                  </a:lnTo>
                  <a:lnTo>
                    <a:pt x="1413" y="469"/>
                  </a:lnTo>
                  <a:lnTo>
                    <a:pt x="1413" y="462"/>
                  </a:lnTo>
                  <a:lnTo>
                    <a:pt x="1415" y="459"/>
                  </a:lnTo>
                  <a:lnTo>
                    <a:pt x="1417" y="457"/>
                  </a:lnTo>
                  <a:lnTo>
                    <a:pt x="1422" y="456"/>
                  </a:lnTo>
                  <a:lnTo>
                    <a:pt x="1442" y="466"/>
                  </a:lnTo>
                  <a:lnTo>
                    <a:pt x="1459" y="449"/>
                  </a:lnTo>
                  <a:lnTo>
                    <a:pt x="1473" y="419"/>
                  </a:lnTo>
                  <a:lnTo>
                    <a:pt x="1409" y="356"/>
                  </a:lnTo>
                  <a:lnTo>
                    <a:pt x="1409" y="326"/>
                  </a:lnTo>
                  <a:lnTo>
                    <a:pt x="1403" y="327"/>
                  </a:lnTo>
                  <a:lnTo>
                    <a:pt x="1402" y="324"/>
                  </a:lnTo>
                  <a:lnTo>
                    <a:pt x="1400" y="323"/>
                  </a:lnTo>
                  <a:lnTo>
                    <a:pt x="1399" y="320"/>
                  </a:lnTo>
                  <a:lnTo>
                    <a:pt x="1396" y="318"/>
                  </a:lnTo>
                  <a:lnTo>
                    <a:pt x="1396" y="317"/>
                  </a:lnTo>
                  <a:lnTo>
                    <a:pt x="1392" y="317"/>
                  </a:lnTo>
                  <a:lnTo>
                    <a:pt x="1390" y="317"/>
                  </a:lnTo>
                  <a:lnTo>
                    <a:pt x="1387" y="318"/>
                  </a:lnTo>
                  <a:lnTo>
                    <a:pt x="1385" y="320"/>
                  </a:lnTo>
                  <a:lnTo>
                    <a:pt x="1382" y="320"/>
                  </a:lnTo>
                  <a:lnTo>
                    <a:pt x="1379" y="321"/>
                  </a:lnTo>
                  <a:lnTo>
                    <a:pt x="1377" y="324"/>
                  </a:lnTo>
                  <a:lnTo>
                    <a:pt x="1376" y="326"/>
                  </a:lnTo>
                  <a:lnTo>
                    <a:pt x="1372" y="328"/>
                  </a:lnTo>
                  <a:lnTo>
                    <a:pt x="1367" y="333"/>
                  </a:lnTo>
                  <a:lnTo>
                    <a:pt x="1363" y="333"/>
                  </a:lnTo>
                  <a:lnTo>
                    <a:pt x="1362" y="330"/>
                  </a:lnTo>
                  <a:lnTo>
                    <a:pt x="1359" y="327"/>
                  </a:lnTo>
                  <a:lnTo>
                    <a:pt x="1357" y="326"/>
                  </a:lnTo>
                  <a:lnTo>
                    <a:pt x="1356" y="327"/>
                  </a:lnTo>
                  <a:lnTo>
                    <a:pt x="1356" y="330"/>
                  </a:lnTo>
                  <a:lnTo>
                    <a:pt x="1356" y="333"/>
                  </a:lnTo>
                  <a:lnTo>
                    <a:pt x="1354" y="337"/>
                  </a:lnTo>
                  <a:lnTo>
                    <a:pt x="1352" y="338"/>
                  </a:lnTo>
                  <a:lnTo>
                    <a:pt x="1350" y="338"/>
                  </a:lnTo>
                  <a:lnTo>
                    <a:pt x="1347" y="341"/>
                  </a:lnTo>
                  <a:lnTo>
                    <a:pt x="1346" y="344"/>
                  </a:lnTo>
                  <a:lnTo>
                    <a:pt x="1346" y="347"/>
                  </a:lnTo>
                  <a:lnTo>
                    <a:pt x="1344" y="350"/>
                  </a:lnTo>
                  <a:lnTo>
                    <a:pt x="1347" y="351"/>
                  </a:lnTo>
                  <a:lnTo>
                    <a:pt x="1350" y="353"/>
                  </a:lnTo>
                  <a:lnTo>
                    <a:pt x="1357" y="353"/>
                  </a:lnTo>
                  <a:lnTo>
                    <a:pt x="1362" y="351"/>
                  </a:lnTo>
                  <a:lnTo>
                    <a:pt x="1366" y="351"/>
                  </a:lnTo>
                  <a:lnTo>
                    <a:pt x="1372" y="353"/>
                  </a:lnTo>
                  <a:lnTo>
                    <a:pt x="1375" y="357"/>
                  </a:lnTo>
                  <a:lnTo>
                    <a:pt x="1377" y="363"/>
                  </a:lnTo>
                  <a:lnTo>
                    <a:pt x="1379" y="376"/>
                  </a:lnTo>
                  <a:lnTo>
                    <a:pt x="1377" y="383"/>
                  </a:lnTo>
                  <a:lnTo>
                    <a:pt x="1377" y="386"/>
                  </a:lnTo>
                  <a:lnTo>
                    <a:pt x="1376" y="387"/>
                  </a:lnTo>
                  <a:lnTo>
                    <a:pt x="1373" y="389"/>
                  </a:lnTo>
                  <a:lnTo>
                    <a:pt x="1367" y="393"/>
                  </a:lnTo>
                  <a:lnTo>
                    <a:pt x="1362" y="394"/>
                  </a:lnTo>
                  <a:lnTo>
                    <a:pt x="1357" y="396"/>
                  </a:lnTo>
                  <a:lnTo>
                    <a:pt x="1352" y="397"/>
                  </a:lnTo>
                  <a:lnTo>
                    <a:pt x="1346" y="396"/>
                  </a:lnTo>
                  <a:lnTo>
                    <a:pt x="1339" y="391"/>
                  </a:lnTo>
                  <a:lnTo>
                    <a:pt x="1337" y="387"/>
                  </a:lnTo>
                  <a:lnTo>
                    <a:pt x="1336" y="383"/>
                  </a:lnTo>
                  <a:lnTo>
                    <a:pt x="1334" y="377"/>
                  </a:lnTo>
                  <a:lnTo>
                    <a:pt x="1332" y="370"/>
                  </a:lnTo>
                  <a:lnTo>
                    <a:pt x="1332" y="363"/>
                  </a:lnTo>
                  <a:lnTo>
                    <a:pt x="1327" y="357"/>
                  </a:lnTo>
                  <a:lnTo>
                    <a:pt x="1323" y="351"/>
                  </a:lnTo>
                  <a:lnTo>
                    <a:pt x="1322" y="347"/>
                  </a:lnTo>
                  <a:lnTo>
                    <a:pt x="1322" y="344"/>
                  </a:lnTo>
                  <a:lnTo>
                    <a:pt x="1320" y="343"/>
                  </a:lnTo>
                  <a:lnTo>
                    <a:pt x="1316" y="341"/>
                  </a:lnTo>
                  <a:lnTo>
                    <a:pt x="1309" y="341"/>
                  </a:lnTo>
                  <a:lnTo>
                    <a:pt x="1303" y="341"/>
                  </a:lnTo>
                  <a:lnTo>
                    <a:pt x="1297" y="340"/>
                  </a:lnTo>
                  <a:lnTo>
                    <a:pt x="1291" y="340"/>
                  </a:lnTo>
                  <a:lnTo>
                    <a:pt x="1287" y="343"/>
                  </a:lnTo>
                  <a:lnTo>
                    <a:pt x="1281" y="346"/>
                  </a:lnTo>
                  <a:lnTo>
                    <a:pt x="1280" y="348"/>
                  </a:lnTo>
                  <a:lnTo>
                    <a:pt x="1276" y="351"/>
                  </a:lnTo>
                  <a:lnTo>
                    <a:pt x="1271" y="353"/>
                  </a:lnTo>
                  <a:lnTo>
                    <a:pt x="1267" y="351"/>
                  </a:lnTo>
                  <a:lnTo>
                    <a:pt x="1264" y="351"/>
                  </a:lnTo>
                  <a:lnTo>
                    <a:pt x="1263" y="353"/>
                  </a:lnTo>
                  <a:lnTo>
                    <a:pt x="1264" y="356"/>
                  </a:lnTo>
                  <a:lnTo>
                    <a:pt x="1266" y="357"/>
                  </a:lnTo>
                  <a:lnTo>
                    <a:pt x="1267" y="360"/>
                  </a:lnTo>
                  <a:lnTo>
                    <a:pt x="1267" y="364"/>
                  </a:lnTo>
                  <a:lnTo>
                    <a:pt x="1266" y="369"/>
                  </a:lnTo>
                  <a:lnTo>
                    <a:pt x="1263" y="376"/>
                  </a:lnTo>
                  <a:lnTo>
                    <a:pt x="1263" y="380"/>
                  </a:lnTo>
                  <a:lnTo>
                    <a:pt x="1264" y="386"/>
                  </a:lnTo>
                  <a:lnTo>
                    <a:pt x="1266" y="391"/>
                  </a:lnTo>
                  <a:lnTo>
                    <a:pt x="1266" y="396"/>
                  </a:lnTo>
                  <a:lnTo>
                    <a:pt x="1264" y="400"/>
                  </a:lnTo>
                  <a:lnTo>
                    <a:pt x="1261" y="406"/>
                  </a:lnTo>
                  <a:lnTo>
                    <a:pt x="1261" y="412"/>
                  </a:lnTo>
                  <a:lnTo>
                    <a:pt x="1269" y="420"/>
                  </a:lnTo>
                  <a:lnTo>
                    <a:pt x="1273" y="427"/>
                  </a:lnTo>
                  <a:lnTo>
                    <a:pt x="1274" y="434"/>
                  </a:lnTo>
                  <a:lnTo>
                    <a:pt x="1279" y="437"/>
                  </a:lnTo>
                  <a:lnTo>
                    <a:pt x="1286" y="446"/>
                  </a:lnTo>
                  <a:lnTo>
                    <a:pt x="1289" y="447"/>
                  </a:lnTo>
                  <a:lnTo>
                    <a:pt x="1293" y="447"/>
                  </a:lnTo>
                  <a:lnTo>
                    <a:pt x="1294" y="449"/>
                  </a:lnTo>
                  <a:lnTo>
                    <a:pt x="1294" y="452"/>
                  </a:lnTo>
                  <a:lnTo>
                    <a:pt x="1294" y="459"/>
                  </a:lnTo>
                  <a:lnTo>
                    <a:pt x="1297" y="465"/>
                  </a:lnTo>
                  <a:lnTo>
                    <a:pt x="1301" y="470"/>
                  </a:lnTo>
                  <a:lnTo>
                    <a:pt x="1306" y="473"/>
                  </a:lnTo>
                  <a:lnTo>
                    <a:pt x="1307" y="475"/>
                  </a:lnTo>
                  <a:lnTo>
                    <a:pt x="1310" y="477"/>
                  </a:lnTo>
                  <a:lnTo>
                    <a:pt x="1314" y="479"/>
                  </a:lnTo>
                  <a:lnTo>
                    <a:pt x="1316" y="482"/>
                  </a:lnTo>
                  <a:lnTo>
                    <a:pt x="1317" y="482"/>
                  </a:lnTo>
                  <a:lnTo>
                    <a:pt x="1317" y="479"/>
                  </a:lnTo>
                  <a:lnTo>
                    <a:pt x="1319" y="476"/>
                  </a:lnTo>
                  <a:lnTo>
                    <a:pt x="1322" y="476"/>
                  </a:lnTo>
                  <a:lnTo>
                    <a:pt x="1324" y="477"/>
                  </a:lnTo>
                  <a:lnTo>
                    <a:pt x="1327" y="477"/>
                  </a:lnTo>
                  <a:lnTo>
                    <a:pt x="1329" y="475"/>
                  </a:lnTo>
                  <a:lnTo>
                    <a:pt x="1330" y="475"/>
                  </a:lnTo>
                  <a:lnTo>
                    <a:pt x="1330" y="475"/>
                  </a:lnTo>
                  <a:lnTo>
                    <a:pt x="1330" y="477"/>
                  </a:lnTo>
                  <a:lnTo>
                    <a:pt x="1329" y="479"/>
                  </a:lnTo>
                  <a:lnTo>
                    <a:pt x="1326" y="483"/>
                  </a:lnTo>
                  <a:lnTo>
                    <a:pt x="1324" y="489"/>
                  </a:lnTo>
                  <a:lnTo>
                    <a:pt x="1326" y="490"/>
                  </a:lnTo>
                  <a:lnTo>
                    <a:pt x="1327" y="490"/>
                  </a:lnTo>
                  <a:lnTo>
                    <a:pt x="1329" y="487"/>
                  </a:lnTo>
                  <a:lnTo>
                    <a:pt x="1330" y="486"/>
                  </a:lnTo>
                  <a:lnTo>
                    <a:pt x="1332" y="486"/>
                  </a:lnTo>
                  <a:lnTo>
                    <a:pt x="1334" y="487"/>
                  </a:lnTo>
                  <a:lnTo>
                    <a:pt x="1336" y="490"/>
                  </a:lnTo>
                  <a:lnTo>
                    <a:pt x="1337" y="490"/>
                  </a:lnTo>
                  <a:lnTo>
                    <a:pt x="1339" y="489"/>
                  </a:lnTo>
                  <a:lnTo>
                    <a:pt x="1339" y="487"/>
                  </a:lnTo>
                  <a:lnTo>
                    <a:pt x="1340" y="486"/>
                  </a:lnTo>
                  <a:lnTo>
                    <a:pt x="1342" y="487"/>
                  </a:lnTo>
                  <a:lnTo>
                    <a:pt x="1344" y="490"/>
                  </a:lnTo>
                  <a:lnTo>
                    <a:pt x="1344" y="495"/>
                  </a:lnTo>
                  <a:lnTo>
                    <a:pt x="1344" y="499"/>
                  </a:lnTo>
                  <a:lnTo>
                    <a:pt x="1340" y="506"/>
                  </a:lnTo>
                  <a:lnTo>
                    <a:pt x="1336" y="513"/>
                  </a:lnTo>
                  <a:lnTo>
                    <a:pt x="1334" y="520"/>
                  </a:lnTo>
                  <a:lnTo>
                    <a:pt x="1336" y="526"/>
                  </a:lnTo>
                  <a:lnTo>
                    <a:pt x="1339" y="529"/>
                  </a:lnTo>
                  <a:lnTo>
                    <a:pt x="1340" y="530"/>
                  </a:lnTo>
                  <a:lnTo>
                    <a:pt x="1342" y="530"/>
                  </a:lnTo>
                  <a:lnTo>
                    <a:pt x="1342" y="530"/>
                  </a:lnTo>
                  <a:lnTo>
                    <a:pt x="1340" y="528"/>
                  </a:lnTo>
                  <a:lnTo>
                    <a:pt x="1340" y="526"/>
                  </a:lnTo>
                  <a:lnTo>
                    <a:pt x="1339" y="523"/>
                  </a:lnTo>
                  <a:lnTo>
                    <a:pt x="1340" y="522"/>
                  </a:lnTo>
                  <a:lnTo>
                    <a:pt x="1342" y="520"/>
                  </a:lnTo>
                  <a:lnTo>
                    <a:pt x="1346" y="520"/>
                  </a:lnTo>
                  <a:lnTo>
                    <a:pt x="1347" y="522"/>
                  </a:lnTo>
                  <a:lnTo>
                    <a:pt x="1346" y="525"/>
                  </a:lnTo>
                  <a:lnTo>
                    <a:pt x="1344" y="526"/>
                  </a:lnTo>
                  <a:lnTo>
                    <a:pt x="1344" y="529"/>
                  </a:lnTo>
                  <a:lnTo>
                    <a:pt x="1346" y="530"/>
                  </a:lnTo>
                  <a:lnTo>
                    <a:pt x="1346" y="532"/>
                  </a:lnTo>
                  <a:lnTo>
                    <a:pt x="1344" y="533"/>
                  </a:lnTo>
                  <a:lnTo>
                    <a:pt x="1343" y="533"/>
                  </a:lnTo>
                  <a:lnTo>
                    <a:pt x="1340" y="535"/>
                  </a:lnTo>
                  <a:lnTo>
                    <a:pt x="1340" y="536"/>
                  </a:lnTo>
                  <a:lnTo>
                    <a:pt x="1340" y="540"/>
                  </a:lnTo>
                  <a:lnTo>
                    <a:pt x="1339" y="542"/>
                  </a:lnTo>
                  <a:lnTo>
                    <a:pt x="1336" y="545"/>
                  </a:lnTo>
                  <a:lnTo>
                    <a:pt x="1334" y="548"/>
                  </a:lnTo>
                  <a:lnTo>
                    <a:pt x="1334" y="549"/>
                  </a:lnTo>
                  <a:lnTo>
                    <a:pt x="1336" y="550"/>
                  </a:lnTo>
                  <a:lnTo>
                    <a:pt x="1339" y="549"/>
                  </a:lnTo>
                  <a:lnTo>
                    <a:pt x="1342" y="548"/>
                  </a:lnTo>
                  <a:lnTo>
                    <a:pt x="1343" y="546"/>
                  </a:lnTo>
                  <a:lnTo>
                    <a:pt x="1346" y="549"/>
                  </a:lnTo>
                  <a:lnTo>
                    <a:pt x="1349" y="550"/>
                  </a:lnTo>
                  <a:lnTo>
                    <a:pt x="1350" y="553"/>
                  </a:lnTo>
                  <a:lnTo>
                    <a:pt x="1354" y="553"/>
                  </a:lnTo>
                  <a:lnTo>
                    <a:pt x="1356" y="552"/>
                  </a:lnTo>
                  <a:lnTo>
                    <a:pt x="1357" y="549"/>
                  </a:lnTo>
                  <a:lnTo>
                    <a:pt x="1356" y="546"/>
                  </a:lnTo>
                  <a:lnTo>
                    <a:pt x="1356" y="543"/>
                  </a:lnTo>
                  <a:lnTo>
                    <a:pt x="1357" y="543"/>
                  </a:lnTo>
                  <a:lnTo>
                    <a:pt x="1360" y="543"/>
                  </a:lnTo>
                  <a:lnTo>
                    <a:pt x="1360" y="546"/>
                  </a:lnTo>
                  <a:lnTo>
                    <a:pt x="1362" y="548"/>
                  </a:lnTo>
                  <a:lnTo>
                    <a:pt x="1365" y="549"/>
                  </a:lnTo>
                  <a:lnTo>
                    <a:pt x="1366" y="549"/>
                  </a:lnTo>
                  <a:lnTo>
                    <a:pt x="1369" y="545"/>
                  </a:lnTo>
                  <a:lnTo>
                    <a:pt x="1372" y="546"/>
                  </a:lnTo>
                  <a:lnTo>
                    <a:pt x="1370" y="549"/>
                  </a:lnTo>
                  <a:lnTo>
                    <a:pt x="1370" y="550"/>
                  </a:lnTo>
                  <a:lnTo>
                    <a:pt x="1370" y="552"/>
                  </a:lnTo>
                  <a:lnTo>
                    <a:pt x="1367" y="552"/>
                  </a:lnTo>
                  <a:lnTo>
                    <a:pt x="1366" y="552"/>
                  </a:lnTo>
                  <a:lnTo>
                    <a:pt x="1365" y="555"/>
                  </a:lnTo>
                  <a:lnTo>
                    <a:pt x="1366" y="556"/>
                  </a:lnTo>
                  <a:lnTo>
                    <a:pt x="1365" y="558"/>
                  </a:lnTo>
                  <a:lnTo>
                    <a:pt x="1362" y="558"/>
                  </a:lnTo>
                  <a:lnTo>
                    <a:pt x="1360" y="558"/>
                  </a:lnTo>
                  <a:lnTo>
                    <a:pt x="1359" y="559"/>
                  </a:lnTo>
                  <a:lnTo>
                    <a:pt x="1360" y="560"/>
                  </a:lnTo>
                  <a:lnTo>
                    <a:pt x="1359" y="563"/>
                  </a:lnTo>
                  <a:lnTo>
                    <a:pt x="1357" y="562"/>
                  </a:lnTo>
                  <a:lnTo>
                    <a:pt x="1354" y="560"/>
                  </a:lnTo>
                  <a:lnTo>
                    <a:pt x="1352" y="558"/>
                  </a:lnTo>
                  <a:lnTo>
                    <a:pt x="1346" y="553"/>
                  </a:lnTo>
                  <a:lnTo>
                    <a:pt x="1342" y="552"/>
                  </a:lnTo>
                  <a:lnTo>
                    <a:pt x="1339" y="552"/>
                  </a:lnTo>
                  <a:lnTo>
                    <a:pt x="1336" y="553"/>
                  </a:lnTo>
                  <a:lnTo>
                    <a:pt x="1333" y="553"/>
                  </a:lnTo>
                  <a:lnTo>
                    <a:pt x="1330" y="550"/>
                  </a:lnTo>
                  <a:lnTo>
                    <a:pt x="1329" y="548"/>
                  </a:lnTo>
                  <a:lnTo>
                    <a:pt x="1326" y="545"/>
                  </a:lnTo>
                  <a:lnTo>
                    <a:pt x="1322" y="542"/>
                  </a:lnTo>
                  <a:lnTo>
                    <a:pt x="1319" y="540"/>
                  </a:lnTo>
                  <a:lnTo>
                    <a:pt x="1314" y="538"/>
                  </a:lnTo>
                  <a:lnTo>
                    <a:pt x="1310" y="535"/>
                  </a:lnTo>
                  <a:lnTo>
                    <a:pt x="1312" y="532"/>
                  </a:lnTo>
                  <a:lnTo>
                    <a:pt x="1312" y="525"/>
                  </a:lnTo>
                  <a:lnTo>
                    <a:pt x="1314" y="517"/>
                  </a:lnTo>
                  <a:lnTo>
                    <a:pt x="1314" y="509"/>
                  </a:lnTo>
                  <a:lnTo>
                    <a:pt x="1312" y="503"/>
                  </a:lnTo>
                  <a:lnTo>
                    <a:pt x="1307" y="499"/>
                  </a:lnTo>
                  <a:lnTo>
                    <a:pt x="1301" y="495"/>
                  </a:lnTo>
                  <a:lnTo>
                    <a:pt x="1294" y="492"/>
                  </a:lnTo>
                  <a:lnTo>
                    <a:pt x="1290" y="490"/>
                  </a:lnTo>
                  <a:lnTo>
                    <a:pt x="1289" y="487"/>
                  </a:lnTo>
                  <a:lnTo>
                    <a:pt x="1286" y="485"/>
                  </a:lnTo>
                  <a:lnTo>
                    <a:pt x="1281" y="485"/>
                  </a:lnTo>
                  <a:lnTo>
                    <a:pt x="1277" y="485"/>
                  </a:lnTo>
                  <a:lnTo>
                    <a:pt x="1270" y="482"/>
                  </a:lnTo>
                  <a:lnTo>
                    <a:pt x="1267" y="479"/>
                  </a:lnTo>
                  <a:lnTo>
                    <a:pt x="1263" y="476"/>
                  </a:lnTo>
                  <a:lnTo>
                    <a:pt x="1256" y="473"/>
                  </a:lnTo>
                  <a:lnTo>
                    <a:pt x="1250" y="470"/>
                  </a:lnTo>
                  <a:lnTo>
                    <a:pt x="1244" y="467"/>
                  </a:lnTo>
                  <a:lnTo>
                    <a:pt x="1231" y="459"/>
                  </a:lnTo>
                  <a:lnTo>
                    <a:pt x="1227" y="456"/>
                  </a:lnTo>
                  <a:lnTo>
                    <a:pt x="1223" y="453"/>
                  </a:lnTo>
                  <a:lnTo>
                    <a:pt x="1217" y="450"/>
                  </a:lnTo>
                  <a:lnTo>
                    <a:pt x="1213" y="444"/>
                  </a:lnTo>
                  <a:lnTo>
                    <a:pt x="1210" y="442"/>
                  </a:lnTo>
                  <a:lnTo>
                    <a:pt x="1208" y="439"/>
                  </a:lnTo>
                  <a:lnTo>
                    <a:pt x="1206" y="437"/>
                  </a:lnTo>
                  <a:lnTo>
                    <a:pt x="1203" y="433"/>
                  </a:lnTo>
                  <a:lnTo>
                    <a:pt x="1200" y="430"/>
                  </a:lnTo>
                  <a:lnTo>
                    <a:pt x="1200" y="427"/>
                  </a:lnTo>
                  <a:lnTo>
                    <a:pt x="1198" y="423"/>
                  </a:lnTo>
                  <a:lnTo>
                    <a:pt x="1200" y="417"/>
                  </a:lnTo>
                  <a:lnTo>
                    <a:pt x="1201" y="412"/>
                  </a:lnTo>
                  <a:lnTo>
                    <a:pt x="1204" y="409"/>
                  </a:lnTo>
                  <a:lnTo>
                    <a:pt x="1207" y="409"/>
                  </a:lnTo>
                  <a:lnTo>
                    <a:pt x="1208" y="412"/>
                  </a:lnTo>
                  <a:lnTo>
                    <a:pt x="1210" y="413"/>
                  </a:lnTo>
                  <a:lnTo>
                    <a:pt x="1213" y="412"/>
                  </a:lnTo>
                  <a:lnTo>
                    <a:pt x="1213" y="406"/>
                  </a:lnTo>
                  <a:lnTo>
                    <a:pt x="1216" y="403"/>
                  </a:lnTo>
                  <a:lnTo>
                    <a:pt x="1218" y="400"/>
                  </a:lnTo>
                  <a:lnTo>
                    <a:pt x="1218" y="397"/>
                  </a:lnTo>
                  <a:lnTo>
                    <a:pt x="1218" y="391"/>
                  </a:lnTo>
                  <a:lnTo>
                    <a:pt x="1218" y="389"/>
                  </a:lnTo>
                  <a:lnTo>
                    <a:pt x="1220" y="386"/>
                  </a:lnTo>
                  <a:lnTo>
                    <a:pt x="1223" y="384"/>
                  </a:lnTo>
                  <a:lnTo>
                    <a:pt x="1226" y="383"/>
                  </a:lnTo>
                  <a:lnTo>
                    <a:pt x="1226" y="379"/>
                  </a:lnTo>
                  <a:lnTo>
                    <a:pt x="1223" y="373"/>
                  </a:lnTo>
                  <a:lnTo>
                    <a:pt x="1221" y="367"/>
                  </a:lnTo>
                  <a:lnTo>
                    <a:pt x="1221" y="360"/>
                  </a:lnTo>
                  <a:lnTo>
                    <a:pt x="1223" y="353"/>
                  </a:lnTo>
                  <a:lnTo>
                    <a:pt x="1226" y="347"/>
                  </a:lnTo>
                  <a:lnTo>
                    <a:pt x="1230" y="338"/>
                  </a:lnTo>
                  <a:lnTo>
                    <a:pt x="1230" y="334"/>
                  </a:lnTo>
                  <a:lnTo>
                    <a:pt x="1231" y="331"/>
                  </a:lnTo>
                  <a:lnTo>
                    <a:pt x="1234" y="331"/>
                  </a:lnTo>
                  <a:lnTo>
                    <a:pt x="1238" y="331"/>
                  </a:lnTo>
                  <a:lnTo>
                    <a:pt x="1240" y="333"/>
                  </a:lnTo>
                  <a:lnTo>
                    <a:pt x="1241" y="330"/>
                  </a:lnTo>
                  <a:lnTo>
                    <a:pt x="1243" y="327"/>
                  </a:lnTo>
                  <a:lnTo>
                    <a:pt x="1243" y="324"/>
                  </a:lnTo>
                  <a:lnTo>
                    <a:pt x="1246" y="320"/>
                  </a:lnTo>
                  <a:lnTo>
                    <a:pt x="1250" y="316"/>
                  </a:lnTo>
                  <a:lnTo>
                    <a:pt x="1253" y="311"/>
                  </a:lnTo>
                  <a:lnTo>
                    <a:pt x="1257" y="307"/>
                  </a:lnTo>
                  <a:lnTo>
                    <a:pt x="1260" y="300"/>
                  </a:lnTo>
                  <a:lnTo>
                    <a:pt x="1263" y="294"/>
                  </a:lnTo>
                  <a:lnTo>
                    <a:pt x="1267" y="293"/>
                  </a:lnTo>
                  <a:lnTo>
                    <a:pt x="1270" y="293"/>
                  </a:lnTo>
                  <a:lnTo>
                    <a:pt x="1273" y="291"/>
                  </a:lnTo>
                  <a:lnTo>
                    <a:pt x="1273" y="288"/>
                  </a:lnTo>
                  <a:lnTo>
                    <a:pt x="1274" y="285"/>
                  </a:lnTo>
                  <a:lnTo>
                    <a:pt x="1273" y="281"/>
                  </a:lnTo>
                  <a:lnTo>
                    <a:pt x="1273" y="275"/>
                  </a:lnTo>
                  <a:lnTo>
                    <a:pt x="1274" y="273"/>
                  </a:lnTo>
                  <a:lnTo>
                    <a:pt x="1274" y="268"/>
                  </a:lnTo>
                  <a:lnTo>
                    <a:pt x="1276" y="260"/>
                  </a:lnTo>
                  <a:lnTo>
                    <a:pt x="1279" y="250"/>
                  </a:lnTo>
                  <a:lnTo>
                    <a:pt x="1280" y="247"/>
                  </a:lnTo>
                  <a:lnTo>
                    <a:pt x="1283" y="245"/>
                  </a:lnTo>
                  <a:lnTo>
                    <a:pt x="1284" y="247"/>
                  </a:lnTo>
                  <a:lnTo>
                    <a:pt x="1287" y="247"/>
                  </a:lnTo>
                  <a:lnTo>
                    <a:pt x="1289" y="245"/>
                  </a:lnTo>
                  <a:lnTo>
                    <a:pt x="1287" y="240"/>
                  </a:lnTo>
                  <a:lnTo>
                    <a:pt x="1284" y="232"/>
                  </a:lnTo>
                  <a:lnTo>
                    <a:pt x="1283" y="227"/>
                  </a:lnTo>
                  <a:lnTo>
                    <a:pt x="1284" y="220"/>
                  </a:lnTo>
                  <a:lnTo>
                    <a:pt x="1284" y="217"/>
                  </a:lnTo>
                  <a:lnTo>
                    <a:pt x="1280" y="214"/>
                  </a:lnTo>
                  <a:lnTo>
                    <a:pt x="1280" y="212"/>
                  </a:lnTo>
                  <a:lnTo>
                    <a:pt x="1280" y="211"/>
                  </a:lnTo>
                  <a:lnTo>
                    <a:pt x="1284" y="210"/>
                  </a:lnTo>
                  <a:lnTo>
                    <a:pt x="1286" y="211"/>
                  </a:lnTo>
                  <a:lnTo>
                    <a:pt x="1289" y="212"/>
                  </a:lnTo>
                  <a:lnTo>
                    <a:pt x="1290" y="212"/>
                  </a:lnTo>
                  <a:lnTo>
                    <a:pt x="1291" y="211"/>
                  </a:lnTo>
                  <a:lnTo>
                    <a:pt x="1291" y="208"/>
                  </a:lnTo>
                  <a:lnTo>
                    <a:pt x="1290" y="202"/>
                  </a:lnTo>
                  <a:lnTo>
                    <a:pt x="1287" y="197"/>
                  </a:lnTo>
                  <a:lnTo>
                    <a:pt x="1286" y="192"/>
                  </a:lnTo>
                  <a:lnTo>
                    <a:pt x="1281" y="187"/>
                  </a:lnTo>
                  <a:lnTo>
                    <a:pt x="1279" y="182"/>
                  </a:lnTo>
                  <a:lnTo>
                    <a:pt x="1279" y="178"/>
                  </a:lnTo>
                  <a:lnTo>
                    <a:pt x="1277" y="177"/>
                  </a:lnTo>
                  <a:lnTo>
                    <a:pt x="1273" y="178"/>
                  </a:lnTo>
                  <a:lnTo>
                    <a:pt x="1269" y="179"/>
                  </a:lnTo>
                  <a:lnTo>
                    <a:pt x="1264" y="184"/>
                  </a:lnTo>
                  <a:lnTo>
                    <a:pt x="1264" y="188"/>
                  </a:lnTo>
                  <a:lnTo>
                    <a:pt x="1264" y="198"/>
                  </a:lnTo>
                  <a:lnTo>
                    <a:pt x="1264" y="207"/>
                  </a:lnTo>
                  <a:lnTo>
                    <a:pt x="1261" y="218"/>
                  </a:lnTo>
                  <a:lnTo>
                    <a:pt x="1260" y="231"/>
                  </a:lnTo>
                  <a:lnTo>
                    <a:pt x="1250" y="260"/>
                  </a:lnTo>
                  <a:lnTo>
                    <a:pt x="1248" y="268"/>
                  </a:lnTo>
                  <a:lnTo>
                    <a:pt x="1241" y="280"/>
                  </a:lnTo>
                  <a:lnTo>
                    <a:pt x="1233" y="291"/>
                  </a:lnTo>
                  <a:lnTo>
                    <a:pt x="1227" y="297"/>
                  </a:lnTo>
                  <a:lnTo>
                    <a:pt x="1218" y="300"/>
                  </a:lnTo>
                  <a:lnTo>
                    <a:pt x="1210" y="306"/>
                  </a:lnTo>
                  <a:lnTo>
                    <a:pt x="1201" y="308"/>
                  </a:lnTo>
                  <a:lnTo>
                    <a:pt x="1188" y="310"/>
                  </a:lnTo>
                  <a:lnTo>
                    <a:pt x="1184" y="311"/>
                  </a:lnTo>
                  <a:lnTo>
                    <a:pt x="1175" y="311"/>
                  </a:lnTo>
                  <a:lnTo>
                    <a:pt x="1154" y="314"/>
                  </a:lnTo>
                  <a:lnTo>
                    <a:pt x="1144" y="317"/>
                  </a:lnTo>
                  <a:lnTo>
                    <a:pt x="1137" y="320"/>
                  </a:lnTo>
                  <a:lnTo>
                    <a:pt x="1134" y="324"/>
                  </a:lnTo>
                  <a:lnTo>
                    <a:pt x="1132" y="328"/>
                  </a:lnTo>
                  <a:lnTo>
                    <a:pt x="1134" y="333"/>
                  </a:lnTo>
                  <a:lnTo>
                    <a:pt x="1132" y="337"/>
                  </a:lnTo>
                  <a:lnTo>
                    <a:pt x="1128" y="340"/>
                  </a:lnTo>
                  <a:lnTo>
                    <a:pt x="1121" y="347"/>
                  </a:lnTo>
                  <a:lnTo>
                    <a:pt x="1115" y="351"/>
                  </a:lnTo>
                  <a:lnTo>
                    <a:pt x="1107" y="356"/>
                  </a:lnTo>
                  <a:lnTo>
                    <a:pt x="1097" y="361"/>
                  </a:lnTo>
                  <a:lnTo>
                    <a:pt x="1091" y="366"/>
                  </a:lnTo>
                  <a:lnTo>
                    <a:pt x="1088" y="369"/>
                  </a:lnTo>
                  <a:lnTo>
                    <a:pt x="1087" y="373"/>
                  </a:lnTo>
                  <a:lnTo>
                    <a:pt x="1090" y="376"/>
                  </a:lnTo>
                  <a:lnTo>
                    <a:pt x="1094" y="384"/>
                  </a:lnTo>
                  <a:lnTo>
                    <a:pt x="1100" y="393"/>
                  </a:lnTo>
                  <a:lnTo>
                    <a:pt x="1101" y="399"/>
                  </a:lnTo>
                  <a:lnTo>
                    <a:pt x="1102" y="404"/>
                  </a:lnTo>
                  <a:lnTo>
                    <a:pt x="1104" y="417"/>
                  </a:lnTo>
                  <a:lnTo>
                    <a:pt x="1102" y="427"/>
                  </a:lnTo>
                  <a:lnTo>
                    <a:pt x="1101" y="437"/>
                  </a:lnTo>
                  <a:lnTo>
                    <a:pt x="1102" y="446"/>
                  </a:lnTo>
                  <a:lnTo>
                    <a:pt x="1104" y="453"/>
                  </a:lnTo>
                  <a:lnTo>
                    <a:pt x="1104" y="459"/>
                  </a:lnTo>
                  <a:lnTo>
                    <a:pt x="1101" y="463"/>
                  </a:lnTo>
                  <a:lnTo>
                    <a:pt x="1097" y="469"/>
                  </a:lnTo>
                  <a:lnTo>
                    <a:pt x="1097" y="476"/>
                  </a:lnTo>
                  <a:lnTo>
                    <a:pt x="1097" y="480"/>
                  </a:lnTo>
                  <a:lnTo>
                    <a:pt x="1100" y="486"/>
                  </a:lnTo>
                  <a:lnTo>
                    <a:pt x="1102" y="496"/>
                  </a:lnTo>
                  <a:lnTo>
                    <a:pt x="1104" y="505"/>
                  </a:lnTo>
                  <a:lnTo>
                    <a:pt x="1102" y="513"/>
                  </a:lnTo>
                  <a:lnTo>
                    <a:pt x="1102" y="519"/>
                  </a:lnTo>
                  <a:lnTo>
                    <a:pt x="1098" y="528"/>
                  </a:lnTo>
                  <a:lnTo>
                    <a:pt x="1095" y="535"/>
                  </a:lnTo>
                  <a:lnTo>
                    <a:pt x="1090" y="542"/>
                  </a:lnTo>
                  <a:lnTo>
                    <a:pt x="1081" y="550"/>
                  </a:lnTo>
                  <a:lnTo>
                    <a:pt x="1077" y="553"/>
                  </a:lnTo>
                  <a:lnTo>
                    <a:pt x="1068" y="559"/>
                  </a:lnTo>
                  <a:lnTo>
                    <a:pt x="1059" y="563"/>
                  </a:lnTo>
                  <a:lnTo>
                    <a:pt x="1048" y="570"/>
                  </a:lnTo>
                  <a:lnTo>
                    <a:pt x="1041" y="576"/>
                  </a:lnTo>
                  <a:lnTo>
                    <a:pt x="1039" y="578"/>
                  </a:lnTo>
                  <a:lnTo>
                    <a:pt x="1039" y="581"/>
                  </a:lnTo>
                  <a:lnTo>
                    <a:pt x="1041" y="583"/>
                  </a:lnTo>
                  <a:lnTo>
                    <a:pt x="1041" y="588"/>
                  </a:lnTo>
                  <a:lnTo>
                    <a:pt x="1041" y="591"/>
                  </a:lnTo>
                  <a:lnTo>
                    <a:pt x="1038" y="595"/>
                  </a:lnTo>
                  <a:lnTo>
                    <a:pt x="1035" y="598"/>
                  </a:lnTo>
                  <a:lnTo>
                    <a:pt x="1032" y="603"/>
                  </a:lnTo>
                  <a:lnTo>
                    <a:pt x="1031" y="608"/>
                  </a:lnTo>
                  <a:lnTo>
                    <a:pt x="1027" y="612"/>
                  </a:lnTo>
                  <a:lnTo>
                    <a:pt x="1024" y="615"/>
                  </a:lnTo>
                  <a:lnTo>
                    <a:pt x="1021" y="622"/>
                  </a:lnTo>
                  <a:lnTo>
                    <a:pt x="1016" y="625"/>
                  </a:lnTo>
                  <a:lnTo>
                    <a:pt x="1011" y="628"/>
                  </a:lnTo>
                  <a:lnTo>
                    <a:pt x="1008" y="632"/>
                  </a:lnTo>
                  <a:lnTo>
                    <a:pt x="1006" y="638"/>
                  </a:lnTo>
                  <a:lnTo>
                    <a:pt x="1006" y="645"/>
                  </a:lnTo>
                  <a:lnTo>
                    <a:pt x="1006" y="658"/>
                  </a:lnTo>
                  <a:lnTo>
                    <a:pt x="1008" y="672"/>
                  </a:lnTo>
                  <a:lnTo>
                    <a:pt x="1009" y="682"/>
                  </a:lnTo>
                  <a:lnTo>
                    <a:pt x="1006" y="691"/>
                  </a:lnTo>
                  <a:lnTo>
                    <a:pt x="1002" y="699"/>
                  </a:lnTo>
                  <a:lnTo>
                    <a:pt x="998" y="707"/>
                  </a:lnTo>
                  <a:lnTo>
                    <a:pt x="989" y="718"/>
                  </a:lnTo>
                  <a:lnTo>
                    <a:pt x="985" y="724"/>
                  </a:lnTo>
                  <a:lnTo>
                    <a:pt x="984" y="735"/>
                  </a:lnTo>
                  <a:lnTo>
                    <a:pt x="985" y="739"/>
                  </a:lnTo>
                  <a:lnTo>
                    <a:pt x="986" y="744"/>
                  </a:lnTo>
                  <a:lnTo>
                    <a:pt x="992" y="747"/>
                  </a:lnTo>
                  <a:lnTo>
                    <a:pt x="996" y="747"/>
                  </a:lnTo>
                  <a:lnTo>
                    <a:pt x="1001" y="744"/>
                  </a:lnTo>
                  <a:lnTo>
                    <a:pt x="1004" y="744"/>
                  </a:lnTo>
                  <a:lnTo>
                    <a:pt x="1009" y="742"/>
                  </a:lnTo>
                  <a:lnTo>
                    <a:pt x="1015" y="745"/>
                  </a:lnTo>
                  <a:lnTo>
                    <a:pt x="1019" y="747"/>
                  </a:lnTo>
                  <a:lnTo>
                    <a:pt x="1029" y="755"/>
                  </a:lnTo>
                  <a:lnTo>
                    <a:pt x="1031" y="760"/>
                  </a:lnTo>
                  <a:lnTo>
                    <a:pt x="1032" y="761"/>
                  </a:lnTo>
                  <a:lnTo>
                    <a:pt x="1034" y="762"/>
                  </a:lnTo>
                  <a:lnTo>
                    <a:pt x="1038" y="762"/>
                  </a:lnTo>
                  <a:lnTo>
                    <a:pt x="1044" y="764"/>
                  </a:lnTo>
                  <a:lnTo>
                    <a:pt x="1049" y="764"/>
                  </a:lnTo>
                  <a:lnTo>
                    <a:pt x="1055" y="765"/>
                  </a:lnTo>
                  <a:lnTo>
                    <a:pt x="1055" y="764"/>
                  </a:lnTo>
                  <a:lnTo>
                    <a:pt x="1055" y="761"/>
                  </a:lnTo>
                  <a:lnTo>
                    <a:pt x="1058" y="758"/>
                  </a:lnTo>
                  <a:lnTo>
                    <a:pt x="1065" y="757"/>
                  </a:lnTo>
                  <a:lnTo>
                    <a:pt x="1068" y="755"/>
                  </a:lnTo>
                  <a:lnTo>
                    <a:pt x="1084" y="751"/>
                  </a:lnTo>
                  <a:lnTo>
                    <a:pt x="1088" y="752"/>
                  </a:lnTo>
                  <a:lnTo>
                    <a:pt x="1091" y="754"/>
                  </a:lnTo>
                  <a:lnTo>
                    <a:pt x="1095" y="757"/>
                  </a:lnTo>
                  <a:lnTo>
                    <a:pt x="1098" y="760"/>
                  </a:lnTo>
                  <a:lnTo>
                    <a:pt x="1104" y="761"/>
                  </a:lnTo>
                  <a:lnTo>
                    <a:pt x="1108" y="762"/>
                  </a:lnTo>
                  <a:lnTo>
                    <a:pt x="1111" y="764"/>
                  </a:lnTo>
                  <a:lnTo>
                    <a:pt x="1115" y="768"/>
                  </a:lnTo>
                  <a:lnTo>
                    <a:pt x="1120" y="775"/>
                  </a:lnTo>
                  <a:lnTo>
                    <a:pt x="1124" y="781"/>
                  </a:lnTo>
                  <a:lnTo>
                    <a:pt x="1127" y="787"/>
                  </a:lnTo>
                  <a:lnTo>
                    <a:pt x="1128" y="788"/>
                  </a:lnTo>
                  <a:lnTo>
                    <a:pt x="1132" y="791"/>
                  </a:lnTo>
                  <a:lnTo>
                    <a:pt x="1137" y="790"/>
                  </a:lnTo>
                  <a:lnTo>
                    <a:pt x="1141" y="791"/>
                  </a:lnTo>
                  <a:lnTo>
                    <a:pt x="1144" y="794"/>
                  </a:lnTo>
                  <a:lnTo>
                    <a:pt x="1145" y="800"/>
                  </a:lnTo>
                  <a:lnTo>
                    <a:pt x="1145" y="804"/>
                  </a:lnTo>
                  <a:lnTo>
                    <a:pt x="1145" y="807"/>
                  </a:lnTo>
                  <a:lnTo>
                    <a:pt x="1147" y="814"/>
                  </a:lnTo>
                  <a:lnTo>
                    <a:pt x="1148" y="818"/>
                  </a:lnTo>
                  <a:lnTo>
                    <a:pt x="1151" y="820"/>
                  </a:lnTo>
                  <a:lnTo>
                    <a:pt x="1157" y="824"/>
                  </a:lnTo>
                  <a:lnTo>
                    <a:pt x="1161" y="827"/>
                  </a:lnTo>
                  <a:lnTo>
                    <a:pt x="1164" y="830"/>
                  </a:lnTo>
                  <a:lnTo>
                    <a:pt x="1165" y="834"/>
                  </a:lnTo>
                  <a:lnTo>
                    <a:pt x="1168" y="838"/>
                  </a:lnTo>
                  <a:lnTo>
                    <a:pt x="1174" y="843"/>
                  </a:lnTo>
                  <a:lnTo>
                    <a:pt x="1181" y="847"/>
                  </a:lnTo>
                  <a:lnTo>
                    <a:pt x="1183" y="850"/>
                  </a:lnTo>
                  <a:lnTo>
                    <a:pt x="1183" y="855"/>
                  </a:lnTo>
                  <a:lnTo>
                    <a:pt x="1180" y="860"/>
                  </a:lnTo>
                  <a:lnTo>
                    <a:pt x="1178" y="867"/>
                  </a:lnTo>
                  <a:lnTo>
                    <a:pt x="1177" y="873"/>
                  </a:lnTo>
                  <a:lnTo>
                    <a:pt x="1177" y="883"/>
                  </a:lnTo>
                  <a:lnTo>
                    <a:pt x="1173" y="888"/>
                  </a:lnTo>
                  <a:lnTo>
                    <a:pt x="1171" y="891"/>
                  </a:lnTo>
                  <a:lnTo>
                    <a:pt x="1170" y="898"/>
                  </a:lnTo>
                  <a:lnTo>
                    <a:pt x="1168" y="906"/>
                  </a:lnTo>
                  <a:lnTo>
                    <a:pt x="1167" y="908"/>
                  </a:lnTo>
                  <a:lnTo>
                    <a:pt x="1168" y="910"/>
                  </a:lnTo>
                  <a:lnTo>
                    <a:pt x="1171" y="911"/>
                  </a:lnTo>
                  <a:lnTo>
                    <a:pt x="1175" y="910"/>
                  </a:lnTo>
                  <a:lnTo>
                    <a:pt x="1177" y="913"/>
                  </a:lnTo>
                  <a:lnTo>
                    <a:pt x="1178" y="917"/>
                  </a:lnTo>
                  <a:lnTo>
                    <a:pt x="1177" y="920"/>
                  </a:lnTo>
                  <a:lnTo>
                    <a:pt x="1173" y="924"/>
                  </a:lnTo>
                  <a:lnTo>
                    <a:pt x="1171" y="929"/>
                  </a:lnTo>
                  <a:lnTo>
                    <a:pt x="1170" y="936"/>
                  </a:lnTo>
                  <a:lnTo>
                    <a:pt x="1173" y="940"/>
                  </a:lnTo>
                  <a:lnTo>
                    <a:pt x="1175" y="940"/>
                  </a:lnTo>
                  <a:lnTo>
                    <a:pt x="1177" y="943"/>
                  </a:lnTo>
                  <a:lnTo>
                    <a:pt x="1175" y="946"/>
                  </a:lnTo>
                  <a:lnTo>
                    <a:pt x="1174" y="949"/>
                  </a:lnTo>
                  <a:lnTo>
                    <a:pt x="1173" y="951"/>
                  </a:lnTo>
                  <a:lnTo>
                    <a:pt x="1175" y="956"/>
                  </a:lnTo>
                  <a:lnTo>
                    <a:pt x="1175" y="960"/>
                  </a:lnTo>
                  <a:lnTo>
                    <a:pt x="1175" y="961"/>
                  </a:lnTo>
                  <a:lnTo>
                    <a:pt x="1171" y="961"/>
                  </a:lnTo>
                  <a:lnTo>
                    <a:pt x="1165" y="961"/>
                  </a:lnTo>
                  <a:lnTo>
                    <a:pt x="1163" y="960"/>
                  </a:lnTo>
                  <a:lnTo>
                    <a:pt x="1158" y="959"/>
                  </a:lnTo>
                  <a:lnTo>
                    <a:pt x="1154" y="957"/>
                  </a:lnTo>
                  <a:lnTo>
                    <a:pt x="1151" y="957"/>
                  </a:lnTo>
                  <a:lnTo>
                    <a:pt x="1147" y="957"/>
                  </a:lnTo>
                  <a:lnTo>
                    <a:pt x="1141" y="960"/>
                  </a:lnTo>
                  <a:lnTo>
                    <a:pt x="1134" y="963"/>
                  </a:lnTo>
                  <a:lnTo>
                    <a:pt x="1130" y="969"/>
                  </a:lnTo>
                  <a:lnTo>
                    <a:pt x="1127" y="973"/>
                  </a:lnTo>
                  <a:lnTo>
                    <a:pt x="1127" y="979"/>
                  </a:lnTo>
                  <a:lnTo>
                    <a:pt x="1124" y="986"/>
                  </a:lnTo>
                  <a:lnTo>
                    <a:pt x="1122" y="989"/>
                  </a:lnTo>
                  <a:lnTo>
                    <a:pt x="1121" y="993"/>
                  </a:lnTo>
                  <a:lnTo>
                    <a:pt x="1122" y="994"/>
                  </a:lnTo>
                  <a:lnTo>
                    <a:pt x="1122" y="996"/>
                  </a:lnTo>
                  <a:lnTo>
                    <a:pt x="1125" y="997"/>
                  </a:lnTo>
                  <a:lnTo>
                    <a:pt x="1125" y="999"/>
                  </a:lnTo>
                  <a:lnTo>
                    <a:pt x="1125" y="1000"/>
                  </a:lnTo>
                  <a:lnTo>
                    <a:pt x="1122" y="1000"/>
                  </a:lnTo>
                  <a:lnTo>
                    <a:pt x="1120" y="1000"/>
                  </a:lnTo>
                  <a:lnTo>
                    <a:pt x="1117" y="1002"/>
                  </a:lnTo>
                  <a:lnTo>
                    <a:pt x="1115" y="1004"/>
                  </a:lnTo>
                  <a:lnTo>
                    <a:pt x="1111" y="1012"/>
                  </a:lnTo>
                  <a:lnTo>
                    <a:pt x="1110" y="1017"/>
                  </a:lnTo>
                  <a:lnTo>
                    <a:pt x="1110" y="1024"/>
                  </a:lnTo>
                  <a:lnTo>
                    <a:pt x="1111" y="1027"/>
                  </a:lnTo>
                  <a:lnTo>
                    <a:pt x="1112" y="1032"/>
                  </a:lnTo>
                  <a:lnTo>
                    <a:pt x="1115" y="1033"/>
                  </a:lnTo>
                  <a:lnTo>
                    <a:pt x="1118" y="1035"/>
                  </a:lnTo>
                  <a:lnTo>
                    <a:pt x="1122" y="1032"/>
                  </a:lnTo>
                  <a:lnTo>
                    <a:pt x="1125" y="1030"/>
                  </a:lnTo>
                  <a:lnTo>
                    <a:pt x="1125" y="1032"/>
                  </a:lnTo>
                  <a:lnTo>
                    <a:pt x="1127" y="1035"/>
                  </a:lnTo>
                  <a:lnTo>
                    <a:pt x="1128" y="1039"/>
                  </a:lnTo>
                  <a:lnTo>
                    <a:pt x="1131" y="1042"/>
                  </a:lnTo>
                  <a:lnTo>
                    <a:pt x="1134" y="1046"/>
                  </a:lnTo>
                  <a:lnTo>
                    <a:pt x="1137" y="1052"/>
                  </a:lnTo>
                  <a:lnTo>
                    <a:pt x="1141" y="1052"/>
                  </a:lnTo>
                  <a:lnTo>
                    <a:pt x="1145" y="1052"/>
                  </a:lnTo>
                  <a:lnTo>
                    <a:pt x="1148" y="1052"/>
                  </a:lnTo>
                  <a:lnTo>
                    <a:pt x="1151" y="1055"/>
                  </a:lnTo>
                  <a:lnTo>
                    <a:pt x="1153" y="1059"/>
                  </a:lnTo>
                  <a:lnTo>
                    <a:pt x="1155" y="1060"/>
                  </a:lnTo>
                  <a:lnTo>
                    <a:pt x="1157" y="1059"/>
                  </a:lnTo>
                  <a:lnTo>
                    <a:pt x="1158" y="1055"/>
                  </a:lnTo>
                  <a:lnTo>
                    <a:pt x="1158" y="1052"/>
                  </a:lnTo>
                  <a:lnTo>
                    <a:pt x="1160" y="1050"/>
                  </a:lnTo>
                  <a:lnTo>
                    <a:pt x="1160" y="1050"/>
                  </a:lnTo>
                  <a:lnTo>
                    <a:pt x="1161" y="1052"/>
                  </a:lnTo>
                  <a:lnTo>
                    <a:pt x="1161" y="1056"/>
                  </a:lnTo>
                  <a:lnTo>
                    <a:pt x="1161" y="1059"/>
                  </a:lnTo>
                  <a:lnTo>
                    <a:pt x="1163" y="1059"/>
                  </a:lnTo>
                  <a:lnTo>
                    <a:pt x="1165" y="1057"/>
                  </a:lnTo>
                  <a:lnTo>
                    <a:pt x="1167" y="1057"/>
                  </a:lnTo>
                  <a:lnTo>
                    <a:pt x="1168" y="1057"/>
                  </a:lnTo>
                  <a:lnTo>
                    <a:pt x="1170" y="1060"/>
                  </a:lnTo>
                  <a:lnTo>
                    <a:pt x="1170" y="1062"/>
                  </a:lnTo>
                  <a:lnTo>
                    <a:pt x="1167" y="1065"/>
                  </a:lnTo>
                  <a:lnTo>
                    <a:pt x="1163" y="1065"/>
                  </a:lnTo>
                  <a:lnTo>
                    <a:pt x="1158" y="1065"/>
                  </a:lnTo>
                  <a:lnTo>
                    <a:pt x="1158" y="1066"/>
                  </a:lnTo>
                  <a:lnTo>
                    <a:pt x="1161" y="1067"/>
                  </a:lnTo>
                  <a:lnTo>
                    <a:pt x="1164" y="1069"/>
                  </a:lnTo>
                  <a:lnTo>
                    <a:pt x="1167" y="1069"/>
                  </a:lnTo>
                  <a:lnTo>
                    <a:pt x="1171" y="1069"/>
                  </a:lnTo>
                  <a:lnTo>
                    <a:pt x="1173" y="1065"/>
                  </a:lnTo>
                  <a:lnTo>
                    <a:pt x="1174" y="1065"/>
                  </a:lnTo>
                  <a:lnTo>
                    <a:pt x="1178" y="1065"/>
                  </a:lnTo>
                  <a:lnTo>
                    <a:pt x="1180" y="1066"/>
                  </a:lnTo>
                  <a:lnTo>
                    <a:pt x="1181" y="1069"/>
                  </a:lnTo>
                  <a:lnTo>
                    <a:pt x="1181" y="1072"/>
                  </a:lnTo>
                  <a:lnTo>
                    <a:pt x="1181" y="1073"/>
                  </a:lnTo>
                  <a:lnTo>
                    <a:pt x="1183" y="1076"/>
                  </a:lnTo>
                  <a:lnTo>
                    <a:pt x="1184" y="1079"/>
                  </a:lnTo>
                  <a:lnTo>
                    <a:pt x="1187" y="1080"/>
                  </a:lnTo>
                  <a:lnTo>
                    <a:pt x="1190" y="1082"/>
                  </a:lnTo>
                  <a:lnTo>
                    <a:pt x="1193" y="1085"/>
                  </a:lnTo>
                  <a:lnTo>
                    <a:pt x="1196" y="1089"/>
                  </a:lnTo>
                  <a:lnTo>
                    <a:pt x="1196" y="1093"/>
                  </a:lnTo>
                  <a:lnTo>
                    <a:pt x="1196" y="1095"/>
                  </a:lnTo>
                  <a:lnTo>
                    <a:pt x="1194" y="1093"/>
                  </a:lnTo>
                  <a:lnTo>
                    <a:pt x="1193" y="1092"/>
                  </a:lnTo>
                  <a:lnTo>
                    <a:pt x="1190" y="1090"/>
                  </a:lnTo>
                  <a:lnTo>
                    <a:pt x="1188" y="1086"/>
                  </a:lnTo>
                  <a:lnTo>
                    <a:pt x="1184" y="1083"/>
                  </a:lnTo>
                  <a:lnTo>
                    <a:pt x="1180" y="1079"/>
                  </a:lnTo>
                  <a:lnTo>
                    <a:pt x="1177" y="1076"/>
                  </a:lnTo>
                  <a:lnTo>
                    <a:pt x="1174" y="1075"/>
                  </a:lnTo>
                  <a:lnTo>
                    <a:pt x="1170" y="1075"/>
                  </a:lnTo>
                  <a:lnTo>
                    <a:pt x="1167" y="1075"/>
                  </a:lnTo>
                  <a:lnTo>
                    <a:pt x="1164" y="1073"/>
                  </a:lnTo>
                  <a:lnTo>
                    <a:pt x="1160" y="1073"/>
                  </a:lnTo>
                  <a:lnTo>
                    <a:pt x="1158" y="1075"/>
                  </a:lnTo>
                  <a:lnTo>
                    <a:pt x="1153" y="1076"/>
                  </a:lnTo>
                  <a:lnTo>
                    <a:pt x="1148" y="1075"/>
                  </a:lnTo>
                  <a:lnTo>
                    <a:pt x="1145" y="1072"/>
                  </a:lnTo>
                  <a:lnTo>
                    <a:pt x="1144" y="1069"/>
                  </a:lnTo>
                  <a:lnTo>
                    <a:pt x="1141" y="1067"/>
                  </a:lnTo>
                  <a:lnTo>
                    <a:pt x="1138" y="1066"/>
                  </a:lnTo>
                  <a:lnTo>
                    <a:pt x="1132" y="1067"/>
                  </a:lnTo>
                  <a:lnTo>
                    <a:pt x="1127" y="1067"/>
                  </a:lnTo>
                  <a:lnTo>
                    <a:pt x="1124" y="1066"/>
                  </a:lnTo>
                  <a:lnTo>
                    <a:pt x="1121" y="1067"/>
                  </a:lnTo>
                  <a:lnTo>
                    <a:pt x="1118" y="1069"/>
                  </a:lnTo>
                  <a:lnTo>
                    <a:pt x="1115" y="1072"/>
                  </a:lnTo>
                  <a:lnTo>
                    <a:pt x="1112" y="1075"/>
                  </a:lnTo>
                  <a:lnTo>
                    <a:pt x="1108" y="1079"/>
                  </a:lnTo>
                  <a:lnTo>
                    <a:pt x="1105" y="1079"/>
                  </a:lnTo>
                  <a:lnTo>
                    <a:pt x="1104" y="1079"/>
                  </a:lnTo>
                  <a:lnTo>
                    <a:pt x="1104" y="1076"/>
                  </a:lnTo>
                  <a:lnTo>
                    <a:pt x="1105" y="1073"/>
                  </a:lnTo>
                  <a:lnTo>
                    <a:pt x="1107" y="1072"/>
                  </a:lnTo>
                  <a:lnTo>
                    <a:pt x="1107" y="1069"/>
                  </a:lnTo>
                  <a:lnTo>
                    <a:pt x="1108" y="1065"/>
                  </a:lnTo>
                  <a:lnTo>
                    <a:pt x="1111" y="1062"/>
                  </a:lnTo>
                  <a:lnTo>
                    <a:pt x="1112" y="1059"/>
                  </a:lnTo>
                  <a:lnTo>
                    <a:pt x="1112" y="1056"/>
                  </a:lnTo>
                  <a:lnTo>
                    <a:pt x="1112" y="1052"/>
                  </a:lnTo>
                  <a:lnTo>
                    <a:pt x="1111" y="1049"/>
                  </a:lnTo>
                  <a:lnTo>
                    <a:pt x="1108" y="1043"/>
                  </a:lnTo>
                  <a:lnTo>
                    <a:pt x="1102" y="1036"/>
                  </a:lnTo>
                  <a:lnTo>
                    <a:pt x="1097" y="1027"/>
                  </a:lnTo>
                  <a:lnTo>
                    <a:pt x="1090" y="1019"/>
                  </a:lnTo>
                  <a:lnTo>
                    <a:pt x="1088" y="1016"/>
                  </a:lnTo>
                  <a:lnTo>
                    <a:pt x="1088" y="1010"/>
                  </a:lnTo>
                  <a:lnTo>
                    <a:pt x="1091" y="1006"/>
                  </a:lnTo>
                  <a:lnTo>
                    <a:pt x="1092" y="1004"/>
                  </a:lnTo>
                  <a:lnTo>
                    <a:pt x="1095" y="1004"/>
                  </a:lnTo>
                  <a:lnTo>
                    <a:pt x="1095" y="1007"/>
                  </a:lnTo>
                  <a:lnTo>
                    <a:pt x="1095" y="1009"/>
                  </a:lnTo>
                  <a:lnTo>
                    <a:pt x="1098" y="1009"/>
                  </a:lnTo>
                  <a:lnTo>
                    <a:pt x="1100" y="1006"/>
                  </a:lnTo>
                  <a:lnTo>
                    <a:pt x="1102" y="1004"/>
                  </a:lnTo>
                  <a:lnTo>
                    <a:pt x="1107" y="1002"/>
                  </a:lnTo>
                  <a:lnTo>
                    <a:pt x="1107" y="1000"/>
                  </a:lnTo>
                  <a:lnTo>
                    <a:pt x="1108" y="997"/>
                  </a:lnTo>
                  <a:lnTo>
                    <a:pt x="1107" y="992"/>
                  </a:lnTo>
                  <a:lnTo>
                    <a:pt x="1108" y="986"/>
                  </a:lnTo>
                  <a:lnTo>
                    <a:pt x="1108" y="980"/>
                  </a:lnTo>
                  <a:lnTo>
                    <a:pt x="1110" y="973"/>
                  </a:lnTo>
                  <a:lnTo>
                    <a:pt x="1111" y="967"/>
                  </a:lnTo>
                  <a:lnTo>
                    <a:pt x="1114" y="963"/>
                  </a:lnTo>
                  <a:lnTo>
                    <a:pt x="1118" y="959"/>
                  </a:lnTo>
                  <a:lnTo>
                    <a:pt x="1124" y="953"/>
                  </a:lnTo>
                  <a:lnTo>
                    <a:pt x="1127" y="950"/>
                  </a:lnTo>
                  <a:lnTo>
                    <a:pt x="1127" y="946"/>
                  </a:lnTo>
                  <a:lnTo>
                    <a:pt x="1127" y="943"/>
                  </a:lnTo>
                  <a:lnTo>
                    <a:pt x="1121" y="939"/>
                  </a:lnTo>
                  <a:lnTo>
                    <a:pt x="1121" y="934"/>
                  </a:lnTo>
                  <a:lnTo>
                    <a:pt x="1121" y="931"/>
                  </a:lnTo>
                  <a:lnTo>
                    <a:pt x="1122" y="930"/>
                  </a:lnTo>
                  <a:lnTo>
                    <a:pt x="1125" y="929"/>
                  </a:lnTo>
                  <a:lnTo>
                    <a:pt x="1128" y="929"/>
                  </a:lnTo>
                  <a:lnTo>
                    <a:pt x="1131" y="927"/>
                  </a:lnTo>
                  <a:lnTo>
                    <a:pt x="1132" y="924"/>
                  </a:lnTo>
                  <a:lnTo>
                    <a:pt x="1134" y="920"/>
                  </a:lnTo>
                  <a:lnTo>
                    <a:pt x="1134" y="916"/>
                  </a:lnTo>
                  <a:lnTo>
                    <a:pt x="1134" y="911"/>
                  </a:lnTo>
                  <a:lnTo>
                    <a:pt x="1135" y="908"/>
                  </a:lnTo>
                  <a:lnTo>
                    <a:pt x="1138" y="906"/>
                  </a:lnTo>
                  <a:lnTo>
                    <a:pt x="1140" y="904"/>
                  </a:lnTo>
                  <a:lnTo>
                    <a:pt x="1140" y="901"/>
                  </a:lnTo>
                  <a:lnTo>
                    <a:pt x="1138" y="896"/>
                  </a:lnTo>
                  <a:lnTo>
                    <a:pt x="1138" y="891"/>
                  </a:lnTo>
                  <a:lnTo>
                    <a:pt x="1137" y="888"/>
                  </a:lnTo>
                  <a:lnTo>
                    <a:pt x="1134" y="887"/>
                  </a:lnTo>
                  <a:lnTo>
                    <a:pt x="1131" y="884"/>
                  </a:lnTo>
                  <a:lnTo>
                    <a:pt x="1130" y="880"/>
                  </a:lnTo>
                  <a:lnTo>
                    <a:pt x="1128" y="873"/>
                  </a:lnTo>
                  <a:lnTo>
                    <a:pt x="1127" y="870"/>
                  </a:lnTo>
                  <a:lnTo>
                    <a:pt x="1122" y="861"/>
                  </a:lnTo>
                  <a:lnTo>
                    <a:pt x="1118" y="855"/>
                  </a:lnTo>
                  <a:lnTo>
                    <a:pt x="1118" y="848"/>
                  </a:lnTo>
                  <a:lnTo>
                    <a:pt x="1120" y="844"/>
                  </a:lnTo>
                  <a:lnTo>
                    <a:pt x="1122" y="840"/>
                  </a:lnTo>
                  <a:lnTo>
                    <a:pt x="1127" y="834"/>
                  </a:lnTo>
                  <a:lnTo>
                    <a:pt x="1127" y="827"/>
                  </a:lnTo>
                  <a:lnTo>
                    <a:pt x="1128" y="820"/>
                  </a:lnTo>
                  <a:lnTo>
                    <a:pt x="1125" y="813"/>
                  </a:lnTo>
                  <a:lnTo>
                    <a:pt x="1121" y="810"/>
                  </a:lnTo>
                  <a:lnTo>
                    <a:pt x="1112" y="807"/>
                  </a:lnTo>
                  <a:lnTo>
                    <a:pt x="1107" y="807"/>
                  </a:lnTo>
                  <a:lnTo>
                    <a:pt x="1100" y="807"/>
                  </a:lnTo>
                  <a:lnTo>
                    <a:pt x="1094" y="807"/>
                  </a:lnTo>
                  <a:lnTo>
                    <a:pt x="1088" y="808"/>
                  </a:lnTo>
                  <a:lnTo>
                    <a:pt x="1082" y="805"/>
                  </a:lnTo>
                  <a:lnTo>
                    <a:pt x="1080" y="805"/>
                  </a:lnTo>
                  <a:lnTo>
                    <a:pt x="1077" y="805"/>
                  </a:lnTo>
                  <a:lnTo>
                    <a:pt x="1074" y="807"/>
                  </a:lnTo>
                  <a:lnTo>
                    <a:pt x="1071" y="807"/>
                  </a:lnTo>
                  <a:lnTo>
                    <a:pt x="1069" y="805"/>
                  </a:lnTo>
                  <a:lnTo>
                    <a:pt x="1065" y="803"/>
                  </a:lnTo>
                  <a:lnTo>
                    <a:pt x="1059" y="801"/>
                  </a:lnTo>
                  <a:lnTo>
                    <a:pt x="1048" y="804"/>
                  </a:lnTo>
                  <a:lnTo>
                    <a:pt x="1039" y="805"/>
                  </a:lnTo>
                  <a:lnTo>
                    <a:pt x="1028" y="807"/>
                  </a:lnTo>
                  <a:lnTo>
                    <a:pt x="1015" y="805"/>
                  </a:lnTo>
                  <a:lnTo>
                    <a:pt x="1005" y="807"/>
                  </a:lnTo>
                  <a:lnTo>
                    <a:pt x="996" y="808"/>
                  </a:lnTo>
                  <a:lnTo>
                    <a:pt x="991" y="814"/>
                  </a:lnTo>
                  <a:lnTo>
                    <a:pt x="988" y="820"/>
                  </a:lnTo>
                  <a:lnTo>
                    <a:pt x="985" y="828"/>
                  </a:lnTo>
                  <a:lnTo>
                    <a:pt x="984" y="835"/>
                  </a:lnTo>
                  <a:lnTo>
                    <a:pt x="981" y="844"/>
                  </a:lnTo>
                  <a:lnTo>
                    <a:pt x="974" y="850"/>
                  </a:lnTo>
                  <a:lnTo>
                    <a:pt x="968" y="854"/>
                  </a:lnTo>
                  <a:lnTo>
                    <a:pt x="965" y="858"/>
                  </a:lnTo>
                  <a:lnTo>
                    <a:pt x="963" y="863"/>
                  </a:lnTo>
                  <a:lnTo>
                    <a:pt x="965" y="868"/>
                  </a:lnTo>
                  <a:lnTo>
                    <a:pt x="968" y="881"/>
                  </a:lnTo>
                  <a:lnTo>
                    <a:pt x="969" y="893"/>
                  </a:lnTo>
                  <a:lnTo>
                    <a:pt x="969" y="913"/>
                  </a:lnTo>
                  <a:lnTo>
                    <a:pt x="966" y="931"/>
                  </a:lnTo>
                  <a:lnTo>
                    <a:pt x="963" y="939"/>
                  </a:lnTo>
                  <a:lnTo>
                    <a:pt x="961" y="946"/>
                  </a:lnTo>
                  <a:lnTo>
                    <a:pt x="958" y="954"/>
                  </a:lnTo>
                  <a:lnTo>
                    <a:pt x="952" y="964"/>
                  </a:lnTo>
                  <a:lnTo>
                    <a:pt x="946" y="974"/>
                  </a:lnTo>
                  <a:lnTo>
                    <a:pt x="942" y="979"/>
                  </a:lnTo>
                  <a:lnTo>
                    <a:pt x="931" y="984"/>
                  </a:lnTo>
                  <a:lnTo>
                    <a:pt x="922" y="987"/>
                  </a:lnTo>
                  <a:lnTo>
                    <a:pt x="913" y="990"/>
                  </a:lnTo>
                  <a:lnTo>
                    <a:pt x="906" y="992"/>
                  </a:lnTo>
                  <a:lnTo>
                    <a:pt x="898" y="997"/>
                  </a:lnTo>
                  <a:lnTo>
                    <a:pt x="889" y="1003"/>
                  </a:lnTo>
                  <a:lnTo>
                    <a:pt x="879" y="1007"/>
                  </a:lnTo>
                  <a:lnTo>
                    <a:pt x="873" y="1010"/>
                  </a:lnTo>
                  <a:lnTo>
                    <a:pt x="872" y="1013"/>
                  </a:lnTo>
                  <a:lnTo>
                    <a:pt x="870" y="1016"/>
                  </a:lnTo>
                  <a:lnTo>
                    <a:pt x="870" y="1017"/>
                  </a:lnTo>
                  <a:lnTo>
                    <a:pt x="869" y="1027"/>
                  </a:lnTo>
                  <a:lnTo>
                    <a:pt x="866" y="1032"/>
                  </a:lnTo>
                  <a:lnTo>
                    <a:pt x="863" y="1035"/>
                  </a:lnTo>
                  <a:lnTo>
                    <a:pt x="860" y="1039"/>
                  </a:lnTo>
                  <a:lnTo>
                    <a:pt x="859" y="1045"/>
                  </a:lnTo>
                  <a:lnTo>
                    <a:pt x="856" y="1049"/>
                  </a:lnTo>
                  <a:lnTo>
                    <a:pt x="852" y="1055"/>
                  </a:lnTo>
                  <a:lnTo>
                    <a:pt x="849" y="1057"/>
                  </a:lnTo>
                  <a:lnTo>
                    <a:pt x="843" y="1060"/>
                  </a:lnTo>
                  <a:lnTo>
                    <a:pt x="836" y="1060"/>
                  </a:lnTo>
                  <a:lnTo>
                    <a:pt x="832" y="1063"/>
                  </a:lnTo>
                  <a:lnTo>
                    <a:pt x="827" y="1067"/>
                  </a:lnTo>
                  <a:lnTo>
                    <a:pt x="823" y="1072"/>
                  </a:lnTo>
                  <a:lnTo>
                    <a:pt x="816" y="1075"/>
                  </a:lnTo>
                  <a:lnTo>
                    <a:pt x="807" y="1075"/>
                  </a:lnTo>
                  <a:lnTo>
                    <a:pt x="790" y="1076"/>
                  </a:lnTo>
                  <a:lnTo>
                    <a:pt x="783" y="1076"/>
                  </a:lnTo>
                  <a:lnTo>
                    <a:pt x="779" y="1080"/>
                  </a:lnTo>
                  <a:lnTo>
                    <a:pt x="777" y="1083"/>
                  </a:lnTo>
                  <a:lnTo>
                    <a:pt x="773" y="1085"/>
                  </a:lnTo>
                  <a:lnTo>
                    <a:pt x="772" y="1085"/>
                  </a:lnTo>
                  <a:lnTo>
                    <a:pt x="767" y="1086"/>
                  </a:lnTo>
                  <a:lnTo>
                    <a:pt x="759" y="1085"/>
                  </a:lnTo>
                  <a:lnTo>
                    <a:pt x="749" y="1082"/>
                  </a:lnTo>
                  <a:lnTo>
                    <a:pt x="744" y="1082"/>
                  </a:lnTo>
                  <a:lnTo>
                    <a:pt x="742" y="1085"/>
                  </a:lnTo>
                  <a:lnTo>
                    <a:pt x="739" y="1088"/>
                  </a:lnTo>
                  <a:lnTo>
                    <a:pt x="734" y="1090"/>
                  </a:lnTo>
                  <a:lnTo>
                    <a:pt x="729" y="1090"/>
                  </a:lnTo>
                  <a:lnTo>
                    <a:pt x="727" y="1092"/>
                  </a:lnTo>
                  <a:lnTo>
                    <a:pt x="727" y="1093"/>
                  </a:lnTo>
                  <a:lnTo>
                    <a:pt x="729" y="1095"/>
                  </a:lnTo>
                  <a:lnTo>
                    <a:pt x="731" y="1095"/>
                  </a:lnTo>
                  <a:lnTo>
                    <a:pt x="731" y="1096"/>
                  </a:lnTo>
                  <a:lnTo>
                    <a:pt x="731" y="1098"/>
                  </a:lnTo>
                  <a:lnTo>
                    <a:pt x="729" y="1100"/>
                  </a:lnTo>
                  <a:lnTo>
                    <a:pt x="727" y="1102"/>
                  </a:lnTo>
                  <a:lnTo>
                    <a:pt x="726" y="1105"/>
                  </a:lnTo>
                  <a:lnTo>
                    <a:pt x="727" y="1110"/>
                  </a:lnTo>
                  <a:lnTo>
                    <a:pt x="726" y="1113"/>
                  </a:lnTo>
                  <a:lnTo>
                    <a:pt x="721" y="1115"/>
                  </a:lnTo>
                  <a:lnTo>
                    <a:pt x="720" y="1116"/>
                  </a:lnTo>
                  <a:lnTo>
                    <a:pt x="720" y="1118"/>
                  </a:lnTo>
                  <a:lnTo>
                    <a:pt x="721" y="1119"/>
                  </a:lnTo>
                  <a:lnTo>
                    <a:pt x="723" y="1119"/>
                  </a:lnTo>
                  <a:lnTo>
                    <a:pt x="723" y="1120"/>
                  </a:lnTo>
                  <a:lnTo>
                    <a:pt x="720" y="1123"/>
                  </a:lnTo>
                  <a:lnTo>
                    <a:pt x="714" y="1126"/>
                  </a:lnTo>
                  <a:lnTo>
                    <a:pt x="710" y="1126"/>
                  </a:lnTo>
                  <a:lnTo>
                    <a:pt x="709" y="1126"/>
                  </a:lnTo>
                  <a:lnTo>
                    <a:pt x="706" y="1132"/>
                  </a:lnTo>
                  <a:lnTo>
                    <a:pt x="706" y="1132"/>
                  </a:lnTo>
                  <a:lnTo>
                    <a:pt x="704" y="1129"/>
                  </a:lnTo>
                  <a:lnTo>
                    <a:pt x="704" y="1126"/>
                  </a:lnTo>
                  <a:lnTo>
                    <a:pt x="704" y="1125"/>
                  </a:lnTo>
                  <a:lnTo>
                    <a:pt x="700" y="1123"/>
                  </a:lnTo>
                  <a:lnTo>
                    <a:pt x="699" y="1126"/>
                  </a:lnTo>
                  <a:lnTo>
                    <a:pt x="697" y="1130"/>
                  </a:lnTo>
                  <a:lnTo>
                    <a:pt x="696" y="1133"/>
                  </a:lnTo>
                  <a:lnTo>
                    <a:pt x="696" y="1133"/>
                  </a:lnTo>
                  <a:lnTo>
                    <a:pt x="694" y="1130"/>
                  </a:lnTo>
                  <a:lnTo>
                    <a:pt x="694" y="1128"/>
                  </a:lnTo>
                  <a:lnTo>
                    <a:pt x="696" y="1125"/>
                  </a:lnTo>
                  <a:lnTo>
                    <a:pt x="694" y="1123"/>
                  </a:lnTo>
                  <a:lnTo>
                    <a:pt x="693" y="1122"/>
                  </a:lnTo>
                  <a:lnTo>
                    <a:pt x="691" y="1120"/>
                  </a:lnTo>
                  <a:lnTo>
                    <a:pt x="687" y="1119"/>
                  </a:lnTo>
                  <a:lnTo>
                    <a:pt x="683" y="1119"/>
                  </a:lnTo>
                  <a:lnTo>
                    <a:pt x="677" y="1118"/>
                  </a:lnTo>
                  <a:lnTo>
                    <a:pt x="676" y="1116"/>
                  </a:lnTo>
                  <a:lnTo>
                    <a:pt x="677" y="1112"/>
                  </a:lnTo>
                  <a:lnTo>
                    <a:pt x="678" y="1108"/>
                  </a:lnTo>
                  <a:lnTo>
                    <a:pt x="677" y="1105"/>
                  </a:lnTo>
                  <a:lnTo>
                    <a:pt x="673" y="1099"/>
                  </a:lnTo>
                  <a:lnTo>
                    <a:pt x="670" y="1095"/>
                  </a:lnTo>
                  <a:lnTo>
                    <a:pt x="663" y="1090"/>
                  </a:lnTo>
                  <a:lnTo>
                    <a:pt x="654" y="1083"/>
                  </a:lnTo>
                  <a:lnTo>
                    <a:pt x="644" y="1077"/>
                  </a:lnTo>
                  <a:lnTo>
                    <a:pt x="631" y="1073"/>
                  </a:lnTo>
                  <a:lnTo>
                    <a:pt x="624" y="1070"/>
                  </a:lnTo>
                  <a:lnTo>
                    <a:pt x="614" y="1069"/>
                  </a:lnTo>
                  <a:lnTo>
                    <a:pt x="605" y="1065"/>
                  </a:lnTo>
                  <a:lnTo>
                    <a:pt x="600" y="1059"/>
                  </a:lnTo>
                  <a:lnTo>
                    <a:pt x="594" y="1053"/>
                  </a:lnTo>
                  <a:lnTo>
                    <a:pt x="590" y="1047"/>
                  </a:lnTo>
                  <a:lnTo>
                    <a:pt x="584" y="1042"/>
                  </a:lnTo>
                  <a:lnTo>
                    <a:pt x="580" y="1037"/>
                  </a:lnTo>
                  <a:lnTo>
                    <a:pt x="578" y="1032"/>
                  </a:lnTo>
                  <a:lnTo>
                    <a:pt x="578" y="1027"/>
                  </a:lnTo>
                  <a:lnTo>
                    <a:pt x="574" y="1023"/>
                  </a:lnTo>
                  <a:lnTo>
                    <a:pt x="565" y="1017"/>
                  </a:lnTo>
                  <a:lnTo>
                    <a:pt x="558" y="1012"/>
                  </a:lnTo>
                  <a:lnTo>
                    <a:pt x="554" y="1000"/>
                  </a:lnTo>
                  <a:lnTo>
                    <a:pt x="550" y="990"/>
                  </a:lnTo>
                  <a:lnTo>
                    <a:pt x="551" y="983"/>
                  </a:lnTo>
                  <a:lnTo>
                    <a:pt x="554" y="977"/>
                  </a:lnTo>
                  <a:lnTo>
                    <a:pt x="560" y="973"/>
                  </a:lnTo>
                  <a:lnTo>
                    <a:pt x="562" y="970"/>
                  </a:lnTo>
                  <a:lnTo>
                    <a:pt x="562" y="966"/>
                  </a:lnTo>
                  <a:lnTo>
                    <a:pt x="562" y="963"/>
                  </a:lnTo>
                  <a:lnTo>
                    <a:pt x="555" y="960"/>
                  </a:lnTo>
                  <a:lnTo>
                    <a:pt x="548" y="956"/>
                  </a:lnTo>
                  <a:lnTo>
                    <a:pt x="542" y="954"/>
                  </a:lnTo>
                  <a:lnTo>
                    <a:pt x="538" y="956"/>
                  </a:lnTo>
                  <a:lnTo>
                    <a:pt x="535" y="959"/>
                  </a:lnTo>
                  <a:lnTo>
                    <a:pt x="531" y="963"/>
                  </a:lnTo>
                  <a:lnTo>
                    <a:pt x="531" y="961"/>
                  </a:lnTo>
                  <a:lnTo>
                    <a:pt x="527" y="966"/>
                  </a:lnTo>
                  <a:lnTo>
                    <a:pt x="520" y="970"/>
                  </a:lnTo>
                  <a:lnTo>
                    <a:pt x="512" y="973"/>
                  </a:lnTo>
                  <a:lnTo>
                    <a:pt x="502" y="976"/>
                  </a:lnTo>
                  <a:lnTo>
                    <a:pt x="497" y="977"/>
                  </a:lnTo>
                  <a:lnTo>
                    <a:pt x="491" y="979"/>
                  </a:lnTo>
                  <a:lnTo>
                    <a:pt x="484" y="976"/>
                  </a:lnTo>
                  <a:lnTo>
                    <a:pt x="477" y="973"/>
                  </a:lnTo>
                  <a:lnTo>
                    <a:pt x="474" y="969"/>
                  </a:lnTo>
                  <a:lnTo>
                    <a:pt x="465" y="959"/>
                  </a:lnTo>
                  <a:lnTo>
                    <a:pt x="459" y="944"/>
                  </a:lnTo>
                  <a:lnTo>
                    <a:pt x="458" y="940"/>
                  </a:lnTo>
                  <a:lnTo>
                    <a:pt x="454" y="936"/>
                  </a:lnTo>
                  <a:lnTo>
                    <a:pt x="451" y="933"/>
                  </a:lnTo>
                  <a:lnTo>
                    <a:pt x="451" y="931"/>
                  </a:lnTo>
                  <a:lnTo>
                    <a:pt x="449" y="931"/>
                  </a:lnTo>
                  <a:lnTo>
                    <a:pt x="446" y="934"/>
                  </a:lnTo>
                  <a:lnTo>
                    <a:pt x="442" y="937"/>
                  </a:lnTo>
                  <a:lnTo>
                    <a:pt x="435" y="939"/>
                  </a:lnTo>
                  <a:lnTo>
                    <a:pt x="431" y="939"/>
                  </a:lnTo>
                  <a:lnTo>
                    <a:pt x="425" y="934"/>
                  </a:lnTo>
                  <a:lnTo>
                    <a:pt x="419" y="926"/>
                  </a:lnTo>
                  <a:lnTo>
                    <a:pt x="412" y="916"/>
                  </a:lnTo>
                  <a:lnTo>
                    <a:pt x="408" y="911"/>
                  </a:lnTo>
                  <a:lnTo>
                    <a:pt x="402" y="910"/>
                  </a:lnTo>
                  <a:lnTo>
                    <a:pt x="399" y="910"/>
                  </a:lnTo>
                  <a:lnTo>
                    <a:pt x="395" y="914"/>
                  </a:lnTo>
                  <a:lnTo>
                    <a:pt x="392" y="917"/>
                  </a:lnTo>
                  <a:lnTo>
                    <a:pt x="389" y="920"/>
                  </a:lnTo>
                  <a:lnTo>
                    <a:pt x="385" y="923"/>
                  </a:lnTo>
                  <a:lnTo>
                    <a:pt x="382" y="926"/>
                  </a:lnTo>
                  <a:lnTo>
                    <a:pt x="379" y="929"/>
                  </a:lnTo>
                  <a:lnTo>
                    <a:pt x="375" y="933"/>
                  </a:lnTo>
                  <a:lnTo>
                    <a:pt x="371" y="937"/>
                  </a:lnTo>
                  <a:lnTo>
                    <a:pt x="368" y="939"/>
                  </a:lnTo>
                  <a:lnTo>
                    <a:pt x="362" y="943"/>
                  </a:lnTo>
                  <a:lnTo>
                    <a:pt x="358" y="944"/>
                  </a:lnTo>
                  <a:lnTo>
                    <a:pt x="348" y="943"/>
                  </a:lnTo>
                  <a:lnTo>
                    <a:pt x="333" y="944"/>
                  </a:lnTo>
                  <a:lnTo>
                    <a:pt x="323" y="949"/>
                  </a:lnTo>
                  <a:lnTo>
                    <a:pt x="320" y="951"/>
                  </a:lnTo>
                  <a:lnTo>
                    <a:pt x="312" y="947"/>
                  </a:lnTo>
                  <a:lnTo>
                    <a:pt x="315" y="946"/>
                  </a:lnTo>
                  <a:lnTo>
                    <a:pt x="319" y="941"/>
                  </a:lnTo>
                  <a:lnTo>
                    <a:pt x="330" y="937"/>
                  </a:lnTo>
                  <a:lnTo>
                    <a:pt x="338" y="937"/>
                  </a:lnTo>
                  <a:lnTo>
                    <a:pt x="353" y="934"/>
                  </a:lnTo>
                  <a:lnTo>
                    <a:pt x="355" y="933"/>
                  </a:lnTo>
                  <a:lnTo>
                    <a:pt x="358" y="930"/>
                  </a:lnTo>
                  <a:lnTo>
                    <a:pt x="361" y="927"/>
                  </a:lnTo>
                  <a:lnTo>
                    <a:pt x="366" y="924"/>
                  </a:lnTo>
                  <a:lnTo>
                    <a:pt x="373" y="921"/>
                  </a:lnTo>
                  <a:lnTo>
                    <a:pt x="382" y="916"/>
                  </a:lnTo>
                  <a:lnTo>
                    <a:pt x="388" y="910"/>
                  </a:lnTo>
                  <a:lnTo>
                    <a:pt x="392" y="906"/>
                  </a:lnTo>
                  <a:lnTo>
                    <a:pt x="401" y="903"/>
                  </a:lnTo>
                  <a:lnTo>
                    <a:pt x="405" y="901"/>
                  </a:lnTo>
                  <a:lnTo>
                    <a:pt x="411" y="904"/>
                  </a:lnTo>
                  <a:lnTo>
                    <a:pt x="415" y="907"/>
                  </a:lnTo>
                  <a:lnTo>
                    <a:pt x="418" y="911"/>
                  </a:lnTo>
                  <a:lnTo>
                    <a:pt x="424" y="920"/>
                  </a:lnTo>
                  <a:lnTo>
                    <a:pt x="431" y="929"/>
                  </a:lnTo>
                  <a:lnTo>
                    <a:pt x="434" y="930"/>
                  </a:lnTo>
                  <a:lnTo>
                    <a:pt x="436" y="930"/>
                  </a:lnTo>
                  <a:lnTo>
                    <a:pt x="439" y="929"/>
                  </a:lnTo>
                  <a:lnTo>
                    <a:pt x="444" y="926"/>
                  </a:lnTo>
                  <a:lnTo>
                    <a:pt x="446" y="923"/>
                  </a:lnTo>
                  <a:lnTo>
                    <a:pt x="448" y="921"/>
                  </a:lnTo>
                  <a:lnTo>
                    <a:pt x="451" y="921"/>
                  </a:lnTo>
                  <a:lnTo>
                    <a:pt x="452" y="921"/>
                  </a:lnTo>
                  <a:lnTo>
                    <a:pt x="456" y="923"/>
                  </a:lnTo>
                  <a:lnTo>
                    <a:pt x="459" y="929"/>
                  </a:lnTo>
                  <a:lnTo>
                    <a:pt x="464" y="931"/>
                  </a:lnTo>
                  <a:lnTo>
                    <a:pt x="468" y="940"/>
                  </a:lnTo>
                  <a:lnTo>
                    <a:pt x="472" y="951"/>
                  </a:lnTo>
                  <a:lnTo>
                    <a:pt x="479" y="961"/>
                  </a:lnTo>
                  <a:lnTo>
                    <a:pt x="485" y="967"/>
                  </a:lnTo>
                  <a:lnTo>
                    <a:pt x="492" y="969"/>
                  </a:lnTo>
                  <a:lnTo>
                    <a:pt x="501" y="967"/>
                  </a:lnTo>
                  <a:lnTo>
                    <a:pt x="511" y="964"/>
                  </a:lnTo>
                  <a:lnTo>
                    <a:pt x="522" y="956"/>
                  </a:lnTo>
                  <a:lnTo>
                    <a:pt x="524" y="953"/>
                  </a:lnTo>
                  <a:lnTo>
                    <a:pt x="525" y="950"/>
                  </a:lnTo>
                  <a:lnTo>
                    <a:pt x="525" y="947"/>
                  </a:lnTo>
                  <a:lnTo>
                    <a:pt x="527" y="944"/>
                  </a:lnTo>
                  <a:lnTo>
                    <a:pt x="527" y="946"/>
                  </a:lnTo>
                  <a:lnTo>
                    <a:pt x="530" y="946"/>
                  </a:lnTo>
                  <a:lnTo>
                    <a:pt x="531" y="949"/>
                  </a:lnTo>
                  <a:lnTo>
                    <a:pt x="532" y="950"/>
                  </a:lnTo>
                  <a:lnTo>
                    <a:pt x="537" y="951"/>
                  </a:lnTo>
                  <a:lnTo>
                    <a:pt x="540" y="951"/>
                  </a:lnTo>
                  <a:lnTo>
                    <a:pt x="541" y="951"/>
                  </a:lnTo>
                  <a:lnTo>
                    <a:pt x="545" y="951"/>
                  </a:lnTo>
                  <a:lnTo>
                    <a:pt x="551" y="954"/>
                  </a:lnTo>
                  <a:lnTo>
                    <a:pt x="557" y="956"/>
                  </a:lnTo>
                  <a:lnTo>
                    <a:pt x="560" y="954"/>
                  </a:lnTo>
                  <a:lnTo>
                    <a:pt x="560" y="953"/>
                  </a:lnTo>
                  <a:lnTo>
                    <a:pt x="562" y="951"/>
                  </a:lnTo>
                  <a:lnTo>
                    <a:pt x="564" y="950"/>
                  </a:lnTo>
                  <a:lnTo>
                    <a:pt x="567" y="949"/>
                  </a:lnTo>
                  <a:lnTo>
                    <a:pt x="568" y="949"/>
                  </a:lnTo>
                  <a:lnTo>
                    <a:pt x="570" y="950"/>
                  </a:lnTo>
                  <a:lnTo>
                    <a:pt x="568" y="953"/>
                  </a:lnTo>
                  <a:lnTo>
                    <a:pt x="565" y="954"/>
                  </a:lnTo>
                  <a:lnTo>
                    <a:pt x="565" y="956"/>
                  </a:lnTo>
                  <a:lnTo>
                    <a:pt x="565" y="957"/>
                  </a:lnTo>
                  <a:lnTo>
                    <a:pt x="568" y="959"/>
                  </a:lnTo>
                  <a:lnTo>
                    <a:pt x="571" y="960"/>
                  </a:lnTo>
                  <a:lnTo>
                    <a:pt x="573" y="961"/>
                  </a:lnTo>
                  <a:lnTo>
                    <a:pt x="574" y="964"/>
                  </a:lnTo>
                  <a:lnTo>
                    <a:pt x="578" y="966"/>
                  </a:lnTo>
                  <a:lnTo>
                    <a:pt x="581" y="966"/>
                  </a:lnTo>
                  <a:lnTo>
                    <a:pt x="583" y="967"/>
                  </a:lnTo>
                  <a:lnTo>
                    <a:pt x="585" y="967"/>
                  </a:lnTo>
                  <a:lnTo>
                    <a:pt x="587" y="969"/>
                  </a:lnTo>
                  <a:lnTo>
                    <a:pt x="588" y="970"/>
                  </a:lnTo>
                  <a:lnTo>
                    <a:pt x="590" y="972"/>
                  </a:lnTo>
                  <a:lnTo>
                    <a:pt x="590" y="969"/>
                  </a:lnTo>
                  <a:lnTo>
                    <a:pt x="588" y="966"/>
                  </a:lnTo>
                  <a:lnTo>
                    <a:pt x="585" y="963"/>
                  </a:lnTo>
                  <a:lnTo>
                    <a:pt x="581" y="961"/>
                  </a:lnTo>
                  <a:lnTo>
                    <a:pt x="577" y="960"/>
                  </a:lnTo>
                  <a:lnTo>
                    <a:pt x="574" y="957"/>
                  </a:lnTo>
                  <a:lnTo>
                    <a:pt x="574" y="954"/>
                  </a:lnTo>
                  <a:lnTo>
                    <a:pt x="574" y="951"/>
                  </a:lnTo>
                  <a:lnTo>
                    <a:pt x="577" y="951"/>
                  </a:lnTo>
                  <a:lnTo>
                    <a:pt x="580" y="951"/>
                  </a:lnTo>
                  <a:lnTo>
                    <a:pt x="580" y="954"/>
                  </a:lnTo>
                  <a:lnTo>
                    <a:pt x="584" y="959"/>
                  </a:lnTo>
                  <a:lnTo>
                    <a:pt x="587" y="960"/>
                  </a:lnTo>
                  <a:lnTo>
                    <a:pt x="590" y="963"/>
                  </a:lnTo>
                  <a:lnTo>
                    <a:pt x="595" y="967"/>
                  </a:lnTo>
                  <a:lnTo>
                    <a:pt x="598" y="972"/>
                  </a:lnTo>
                  <a:lnTo>
                    <a:pt x="603" y="974"/>
                  </a:lnTo>
                  <a:lnTo>
                    <a:pt x="607" y="974"/>
                  </a:lnTo>
                  <a:lnTo>
                    <a:pt x="608" y="973"/>
                  </a:lnTo>
                  <a:lnTo>
                    <a:pt x="611" y="973"/>
                  </a:lnTo>
                  <a:lnTo>
                    <a:pt x="613" y="973"/>
                  </a:lnTo>
                  <a:lnTo>
                    <a:pt x="615" y="974"/>
                  </a:lnTo>
                  <a:lnTo>
                    <a:pt x="614" y="979"/>
                  </a:lnTo>
                  <a:lnTo>
                    <a:pt x="614" y="984"/>
                  </a:lnTo>
                  <a:lnTo>
                    <a:pt x="614" y="990"/>
                  </a:lnTo>
                  <a:lnTo>
                    <a:pt x="615" y="994"/>
                  </a:lnTo>
                  <a:lnTo>
                    <a:pt x="618" y="997"/>
                  </a:lnTo>
                  <a:lnTo>
                    <a:pt x="623" y="999"/>
                  </a:lnTo>
                  <a:lnTo>
                    <a:pt x="627" y="1000"/>
                  </a:lnTo>
                  <a:lnTo>
                    <a:pt x="631" y="1000"/>
                  </a:lnTo>
                  <a:lnTo>
                    <a:pt x="634" y="1002"/>
                  </a:lnTo>
                  <a:lnTo>
                    <a:pt x="637" y="1006"/>
                  </a:lnTo>
                  <a:lnTo>
                    <a:pt x="638" y="1007"/>
                  </a:lnTo>
                  <a:lnTo>
                    <a:pt x="643" y="1007"/>
                  </a:lnTo>
                  <a:lnTo>
                    <a:pt x="647" y="1009"/>
                  </a:lnTo>
                  <a:lnTo>
                    <a:pt x="654" y="1009"/>
                  </a:lnTo>
                  <a:lnTo>
                    <a:pt x="660" y="1007"/>
                  </a:lnTo>
                  <a:lnTo>
                    <a:pt x="666" y="1004"/>
                  </a:lnTo>
                  <a:lnTo>
                    <a:pt x="666" y="1003"/>
                  </a:lnTo>
                  <a:lnTo>
                    <a:pt x="666" y="1003"/>
                  </a:lnTo>
                  <a:lnTo>
                    <a:pt x="667" y="1004"/>
                  </a:lnTo>
                  <a:lnTo>
                    <a:pt x="667" y="1007"/>
                  </a:lnTo>
                  <a:lnTo>
                    <a:pt x="667" y="1007"/>
                  </a:lnTo>
                  <a:lnTo>
                    <a:pt x="664" y="1010"/>
                  </a:lnTo>
                  <a:lnTo>
                    <a:pt x="658" y="1012"/>
                  </a:lnTo>
                  <a:lnTo>
                    <a:pt x="658" y="1012"/>
                  </a:lnTo>
                  <a:lnTo>
                    <a:pt x="653" y="1014"/>
                  </a:lnTo>
                  <a:lnTo>
                    <a:pt x="653" y="1014"/>
                  </a:lnTo>
                  <a:lnTo>
                    <a:pt x="647" y="1016"/>
                  </a:lnTo>
                  <a:lnTo>
                    <a:pt x="646" y="1017"/>
                  </a:lnTo>
                  <a:lnTo>
                    <a:pt x="643" y="1020"/>
                  </a:lnTo>
                  <a:lnTo>
                    <a:pt x="643" y="1020"/>
                  </a:lnTo>
                  <a:lnTo>
                    <a:pt x="644" y="1022"/>
                  </a:lnTo>
                  <a:lnTo>
                    <a:pt x="646" y="1023"/>
                  </a:lnTo>
                  <a:lnTo>
                    <a:pt x="650" y="1026"/>
                  </a:lnTo>
                  <a:lnTo>
                    <a:pt x="650" y="1026"/>
                  </a:lnTo>
                  <a:lnTo>
                    <a:pt x="654" y="1032"/>
                  </a:lnTo>
                  <a:lnTo>
                    <a:pt x="657" y="1040"/>
                  </a:lnTo>
                  <a:lnTo>
                    <a:pt x="657" y="1040"/>
                  </a:lnTo>
                  <a:lnTo>
                    <a:pt x="658" y="1042"/>
                  </a:lnTo>
                  <a:lnTo>
                    <a:pt x="663" y="1043"/>
                  </a:lnTo>
                  <a:lnTo>
                    <a:pt x="667" y="1045"/>
                  </a:lnTo>
                  <a:lnTo>
                    <a:pt x="671" y="1047"/>
                  </a:lnTo>
                  <a:lnTo>
                    <a:pt x="671" y="1047"/>
                  </a:lnTo>
                  <a:lnTo>
                    <a:pt x="671" y="1047"/>
                  </a:lnTo>
                  <a:lnTo>
                    <a:pt x="673" y="1047"/>
                  </a:lnTo>
                  <a:lnTo>
                    <a:pt x="673" y="1046"/>
                  </a:lnTo>
                  <a:lnTo>
                    <a:pt x="673" y="1045"/>
                  </a:lnTo>
                  <a:lnTo>
                    <a:pt x="673" y="1045"/>
                  </a:lnTo>
                  <a:lnTo>
                    <a:pt x="671" y="1042"/>
                  </a:lnTo>
                  <a:lnTo>
                    <a:pt x="671" y="1040"/>
                  </a:lnTo>
                  <a:lnTo>
                    <a:pt x="673" y="1040"/>
                  </a:lnTo>
                  <a:lnTo>
                    <a:pt x="673" y="1040"/>
                  </a:lnTo>
                  <a:lnTo>
                    <a:pt x="674" y="1042"/>
                  </a:lnTo>
                  <a:lnTo>
                    <a:pt x="674" y="1043"/>
                  </a:lnTo>
                  <a:lnTo>
                    <a:pt x="676" y="1045"/>
                  </a:lnTo>
                  <a:lnTo>
                    <a:pt x="677" y="1046"/>
                  </a:lnTo>
                  <a:lnTo>
                    <a:pt x="677" y="1046"/>
                  </a:lnTo>
                  <a:lnTo>
                    <a:pt x="683" y="1049"/>
                  </a:lnTo>
                  <a:lnTo>
                    <a:pt x="690" y="1049"/>
                  </a:lnTo>
                  <a:lnTo>
                    <a:pt x="694" y="1049"/>
                  </a:lnTo>
                  <a:lnTo>
                    <a:pt x="693" y="1047"/>
                  </a:lnTo>
                  <a:lnTo>
                    <a:pt x="690" y="1046"/>
                  </a:lnTo>
                  <a:lnTo>
                    <a:pt x="690" y="1046"/>
                  </a:lnTo>
                  <a:lnTo>
                    <a:pt x="690" y="1045"/>
                  </a:lnTo>
                  <a:lnTo>
                    <a:pt x="691" y="1043"/>
                  </a:lnTo>
                  <a:lnTo>
                    <a:pt x="694" y="1040"/>
                  </a:lnTo>
                  <a:lnTo>
                    <a:pt x="694" y="1040"/>
                  </a:lnTo>
                  <a:lnTo>
                    <a:pt x="696" y="1039"/>
                  </a:lnTo>
                  <a:lnTo>
                    <a:pt x="697" y="1039"/>
                  </a:lnTo>
                  <a:lnTo>
                    <a:pt x="699" y="1039"/>
                  </a:lnTo>
                  <a:lnTo>
                    <a:pt x="700" y="1039"/>
                  </a:lnTo>
                  <a:lnTo>
                    <a:pt x="700" y="1039"/>
                  </a:lnTo>
                  <a:lnTo>
                    <a:pt x="697" y="1035"/>
                  </a:lnTo>
                  <a:lnTo>
                    <a:pt x="696" y="1029"/>
                  </a:lnTo>
                  <a:lnTo>
                    <a:pt x="696" y="1029"/>
                  </a:lnTo>
                  <a:lnTo>
                    <a:pt x="696" y="1027"/>
                  </a:lnTo>
                  <a:lnTo>
                    <a:pt x="697" y="1029"/>
                  </a:lnTo>
                  <a:lnTo>
                    <a:pt x="699" y="1029"/>
                  </a:lnTo>
                  <a:lnTo>
                    <a:pt x="701" y="1030"/>
                  </a:lnTo>
                  <a:lnTo>
                    <a:pt x="701" y="1030"/>
                  </a:lnTo>
                  <a:lnTo>
                    <a:pt x="703" y="1030"/>
                  </a:lnTo>
                  <a:lnTo>
                    <a:pt x="703" y="1030"/>
                  </a:lnTo>
                  <a:lnTo>
                    <a:pt x="707" y="1017"/>
                  </a:lnTo>
                  <a:lnTo>
                    <a:pt x="706" y="1012"/>
                  </a:lnTo>
                  <a:lnTo>
                    <a:pt x="706" y="1009"/>
                  </a:lnTo>
                  <a:lnTo>
                    <a:pt x="703" y="1007"/>
                  </a:lnTo>
                  <a:lnTo>
                    <a:pt x="703" y="1007"/>
                  </a:lnTo>
                  <a:lnTo>
                    <a:pt x="703" y="1006"/>
                  </a:lnTo>
                  <a:lnTo>
                    <a:pt x="703" y="1006"/>
                  </a:lnTo>
                  <a:lnTo>
                    <a:pt x="703" y="1002"/>
                  </a:lnTo>
                  <a:lnTo>
                    <a:pt x="703" y="1002"/>
                  </a:lnTo>
                  <a:close/>
                  <a:moveTo>
                    <a:pt x="584" y="973"/>
                  </a:moveTo>
                  <a:lnTo>
                    <a:pt x="584" y="973"/>
                  </a:lnTo>
                  <a:lnTo>
                    <a:pt x="581" y="974"/>
                  </a:lnTo>
                  <a:lnTo>
                    <a:pt x="578" y="974"/>
                  </a:lnTo>
                  <a:lnTo>
                    <a:pt x="578" y="974"/>
                  </a:lnTo>
                  <a:lnTo>
                    <a:pt x="575" y="974"/>
                  </a:lnTo>
                  <a:lnTo>
                    <a:pt x="573" y="973"/>
                  </a:lnTo>
                  <a:lnTo>
                    <a:pt x="571" y="974"/>
                  </a:lnTo>
                  <a:lnTo>
                    <a:pt x="571" y="974"/>
                  </a:lnTo>
                  <a:lnTo>
                    <a:pt x="568" y="976"/>
                  </a:lnTo>
                  <a:lnTo>
                    <a:pt x="567" y="974"/>
                  </a:lnTo>
                  <a:lnTo>
                    <a:pt x="567" y="967"/>
                  </a:lnTo>
                  <a:lnTo>
                    <a:pt x="567" y="967"/>
                  </a:lnTo>
                  <a:lnTo>
                    <a:pt x="565" y="961"/>
                  </a:lnTo>
                  <a:lnTo>
                    <a:pt x="565" y="960"/>
                  </a:lnTo>
                  <a:lnTo>
                    <a:pt x="568" y="960"/>
                  </a:lnTo>
                  <a:lnTo>
                    <a:pt x="568" y="960"/>
                  </a:lnTo>
                  <a:lnTo>
                    <a:pt x="570" y="961"/>
                  </a:lnTo>
                  <a:lnTo>
                    <a:pt x="571" y="963"/>
                  </a:lnTo>
                  <a:lnTo>
                    <a:pt x="573" y="966"/>
                  </a:lnTo>
                  <a:lnTo>
                    <a:pt x="575" y="967"/>
                  </a:lnTo>
                  <a:lnTo>
                    <a:pt x="575" y="967"/>
                  </a:lnTo>
                  <a:lnTo>
                    <a:pt x="578" y="967"/>
                  </a:lnTo>
                  <a:lnTo>
                    <a:pt x="578" y="967"/>
                  </a:lnTo>
                  <a:lnTo>
                    <a:pt x="583" y="970"/>
                  </a:lnTo>
                  <a:lnTo>
                    <a:pt x="584" y="972"/>
                  </a:lnTo>
                  <a:lnTo>
                    <a:pt x="584" y="973"/>
                  </a:lnTo>
                  <a:lnTo>
                    <a:pt x="584" y="973"/>
                  </a:lnTo>
                  <a:close/>
                  <a:moveTo>
                    <a:pt x="610" y="990"/>
                  </a:moveTo>
                  <a:lnTo>
                    <a:pt x="610" y="990"/>
                  </a:lnTo>
                  <a:lnTo>
                    <a:pt x="611" y="993"/>
                  </a:lnTo>
                  <a:lnTo>
                    <a:pt x="611" y="996"/>
                  </a:lnTo>
                  <a:lnTo>
                    <a:pt x="610" y="997"/>
                  </a:lnTo>
                  <a:lnTo>
                    <a:pt x="607" y="996"/>
                  </a:lnTo>
                  <a:lnTo>
                    <a:pt x="607" y="996"/>
                  </a:lnTo>
                  <a:lnTo>
                    <a:pt x="605" y="994"/>
                  </a:lnTo>
                  <a:lnTo>
                    <a:pt x="605" y="994"/>
                  </a:lnTo>
                  <a:lnTo>
                    <a:pt x="605" y="993"/>
                  </a:lnTo>
                  <a:lnTo>
                    <a:pt x="604" y="993"/>
                  </a:lnTo>
                  <a:lnTo>
                    <a:pt x="604" y="993"/>
                  </a:lnTo>
                  <a:lnTo>
                    <a:pt x="604" y="993"/>
                  </a:lnTo>
                  <a:lnTo>
                    <a:pt x="604" y="992"/>
                  </a:lnTo>
                  <a:lnTo>
                    <a:pt x="604" y="992"/>
                  </a:lnTo>
                  <a:lnTo>
                    <a:pt x="603" y="992"/>
                  </a:lnTo>
                  <a:lnTo>
                    <a:pt x="603" y="992"/>
                  </a:lnTo>
                  <a:lnTo>
                    <a:pt x="603" y="992"/>
                  </a:lnTo>
                  <a:lnTo>
                    <a:pt x="601" y="989"/>
                  </a:lnTo>
                  <a:lnTo>
                    <a:pt x="603" y="986"/>
                  </a:lnTo>
                  <a:lnTo>
                    <a:pt x="603" y="986"/>
                  </a:lnTo>
                  <a:lnTo>
                    <a:pt x="604" y="984"/>
                  </a:lnTo>
                  <a:lnTo>
                    <a:pt x="604" y="984"/>
                  </a:lnTo>
                  <a:lnTo>
                    <a:pt x="605" y="984"/>
                  </a:lnTo>
                  <a:lnTo>
                    <a:pt x="607" y="986"/>
                  </a:lnTo>
                  <a:lnTo>
                    <a:pt x="610" y="990"/>
                  </a:lnTo>
                  <a:lnTo>
                    <a:pt x="610" y="990"/>
                  </a:lnTo>
                  <a:close/>
                  <a:moveTo>
                    <a:pt x="598" y="1013"/>
                  </a:moveTo>
                  <a:lnTo>
                    <a:pt x="598" y="1013"/>
                  </a:lnTo>
                  <a:lnTo>
                    <a:pt x="600" y="1016"/>
                  </a:lnTo>
                  <a:lnTo>
                    <a:pt x="600" y="1020"/>
                  </a:lnTo>
                  <a:lnTo>
                    <a:pt x="600" y="1020"/>
                  </a:lnTo>
                  <a:lnTo>
                    <a:pt x="598" y="1022"/>
                  </a:lnTo>
                  <a:lnTo>
                    <a:pt x="597" y="1022"/>
                  </a:lnTo>
                  <a:lnTo>
                    <a:pt x="595" y="1022"/>
                  </a:lnTo>
                  <a:lnTo>
                    <a:pt x="593" y="1023"/>
                  </a:lnTo>
                  <a:lnTo>
                    <a:pt x="593" y="1023"/>
                  </a:lnTo>
                  <a:lnTo>
                    <a:pt x="593" y="1024"/>
                  </a:lnTo>
                  <a:lnTo>
                    <a:pt x="591" y="1027"/>
                  </a:lnTo>
                  <a:lnTo>
                    <a:pt x="591" y="1030"/>
                  </a:lnTo>
                  <a:lnTo>
                    <a:pt x="591" y="1030"/>
                  </a:lnTo>
                  <a:lnTo>
                    <a:pt x="590" y="1030"/>
                  </a:lnTo>
                  <a:lnTo>
                    <a:pt x="590" y="1030"/>
                  </a:lnTo>
                  <a:lnTo>
                    <a:pt x="581" y="1024"/>
                  </a:lnTo>
                  <a:lnTo>
                    <a:pt x="581" y="1024"/>
                  </a:lnTo>
                  <a:lnTo>
                    <a:pt x="580" y="1023"/>
                  </a:lnTo>
                  <a:lnTo>
                    <a:pt x="578" y="1020"/>
                  </a:lnTo>
                  <a:lnTo>
                    <a:pt x="578" y="1014"/>
                  </a:lnTo>
                  <a:lnTo>
                    <a:pt x="578" y="1014"/>
                  </a:lnTo>
                  <a:lnTo>
                    <a:pt x="580" y="1013"/>
                  </a:lnTo>
                  <a:lnTo>
                    <a:pt x="581" y="1010"/>
                  </a:lnTo>
                  <a:lnTo>
                    <a:pt x="584" y="1009"/>
                  </a:lnTo>
                  <a:lnTo>
                    <a:pt x="584" y="1007"/>
                  </a:lnTo>
                  <a:lnTo>
                    <a:pt x="583" y="1006"/>
                  </a:lnTo>
                  <a:lnTo>
                    <a:pt x="583" y="1006"/>
                  </a:lnTo>
                  <a:lnTo>
                    <a:pt x="581" y="1006"/>
                  </a:lnTo>
                  <a:lnTo>
                    <a:pt x="580" y="1006"/>
                  </a:lnTo>
                  <a:lnTo>
                    <a:pt x="580" y="1004"/>
                  </a:lnTo>
                  <a:lnTo>
                    <a:pt x="578" y="1003"/>
                  </a:lnTo>
                  <a:lnTo>
                    <a:pt x="578" y="1003"/>
                  </a:lnTo>
                  <a:lnTo>
                    <a:pt x="580" y="997"/>
                  </a:lnTo>
                  <a:lnTo>
                    <a:pt x="581" y="993"/>
                  </a:lnTo>
                  <a:lnTo>
                    <a:pt x="584" y="990"/>
                  </a:lnTo>
                  <a:lnTo>
                    <a:pt x="585" y="986"/>
                  </a:lnTo>
                  <a:lnTo>
                    <a:pt x="585" y="986"/>
                  </a:lnTo>
                  <a:lnTo>
                    <a:pt x="587" y="983"/>
                  </a:lnTo>
                  <a:lnTo>
                    <a:pt x="588" y="980"/>
                  </a:lnTo>
                  <a:lnTo>
                    <a:pt x="591" y="980"/>
                  </a:lnTo>
                  <a:lnTo>
                    <a:pt x="594" y="980"/>
                  </a:lnTo>
                  <a:lnTo>
                    <a:pt x="594" y="980"/>
                  </a:lnTo>
                  <a:lnTo>
                    <a:pt x="597" y="983"/>
                  </a:lnTo>
                  <a:lnTo>
                    <a:pt x="598" y="986"/>
                  </a:lnTo>
                  <a:lnTo>
                    <a:pt x="598" y="989"/>
                  </a:lnTo>
                  <a:lnTo>
                    <a:pt x="600" y="992"/>
                  </a:lnTo>
                  <a:lnTo>
                    <a:pt x="600" y="992"/>
                  </a:lnTo>
                  <a:lnTo>
                    <a:pt x="603" y="994"/>
                  </a:lnTo>
                  <a:lnTo>
                    <a:pt x="605" y="997"/>
                  </a:lnTo>
                  <a:lnTo>
                    <a:pt x="605" y="997"/>
                  </a:lnTo>
                  <a:lnTo>
                    <a:pt x="608" y="1004"/>
                  </a:lnTo>
                  <a:lnTo>
                    <a:pt x="608" y="1010"/>
                  </a:lnTo>
                  <a:lnTo>
                    <a:pt x="608" y="1012"/>
                  </a:lnTo>
                  <a:lnTo>
                    <a:pt x="607" y="1012"/>
                  </a:lnTo>
                  <a:lnTo>
                    <a:pt x="607" y="1012"/>
                  </a:lnTo>
                  <a:lnTo>
                    <a:pt x="601" y="1010"/>
                  </a:lnTo>
                  <a:lnTo>
                    <a:pt x="600" y="1012"/>
                  </a:lnTo>
                  <a:lnTo>
                    <a:pt x="598" y="1013"/>
                  </a:lnTo>
                  <a:lnTo>
                    <a:pt x="598" y="1013"/>
                  </a:lnTo>
                  <a:close/>
                  <a:moveTo>
                    <a:pt x="647" y="1030"/>
                  </a:moveTo>
                  <a:lnTo>
                    <a:pt x="647" y="1030"/>
                  </a:lnTo>
                  <a:lnTo>
                    <a:pt x="648" y="1032"/>
                  </a:lnTo>
                  <a:lnTo>
                    <a:pt x="650" y="1035"/>
                  </a:lnTo>
                  <a:lnTo>
                    <a:pt x="651" y="1037"/>
                  </a:lnTo>
                  <a:lnTo>
                    <a:pt x="653" y="1040"/>
                  </a:lnTo>
                  <a:lnTo>
                    <a:pt x="653" y="1040"/>
                  </a:lnTo>
                  <a:lnTo>
                    <a:pt x="656" y="1043"/>
                  </a:lnTo>
                  <a:lnTo>
                    <a:pt x="656" y="1046"/>
                  </a:lnTo>
                  <a:lnTo>
                    <a:pt x="654" y="1049"/>
                  </a:lnTo>
                  <a:lnTo>
                    <a:pt x="650" y="1050"/>
                  </a:lnTo>
                  <a:lnTo>
                    <a:pt x="650" y="1050"/>
                  </a:lnTo>
                  <a:lnTo>
                    <a:pt x="640" y="1049"/>
                  </a:lnTo>
                  <a:lnTo>
                    <a:pt x="633" y="1046"/>
                  </a:lnTo>
                  <a:lnTo>
                    <a:pt x="627" y="1040"/>
                  </a:lnTo>
                  <a:lnTo>
                    <a:pt x="621" y="1032"/>
                  </a:lnTo>
                  <a:lnTo>
                    <a:pt x="621" y="1032"/>
                  </a:lnTo>
                  <a:lnTo>
                    <a:pt x="621" y="1027"/>
                  </a:lnTo>
                  <a:lnTo>
                    <a:pt x="621" y="1022"/>
                  </a:lnTo>
                  <a:lnTo>
                    <a:pt x="621" y="1022"/>
                  </a:lnTo>
                  <a:lnTo>
                    <a:pt x="623" y="1020"/>
                  </a:lnTo>
                  <a:lnTo>
                    <a:pt x="624" y="1020"/>
                  </a:lnTo>
                  <a:lnTo>
                    <a:pt x="628" y="1020"/>
                  </a:lnTo>
                  <a:lnTo>
                    <a:pt x="628" y="1020"/>
                  </a:lnTo>
                  <a:lnTo>
                    <a:pt x="634" y="1020"/>
                  </a:lnTo>
                  <a:lnTo>
                    <a:pt x="638" y="1020"/>
                  </a:lnTo>
                  <a:lnTo>
                    <a:pt x="640" y="1020"/>
                  </a:lnTo>
                  <a:lnTo>
                    <a:pt x="640" y="1020"/>
                  </a:lnTo>
                  <a:lnTo>
                    <a:pt x="647" y="1030"/>
                  </a:lnTo>
                  <a:lnTo>
                    <a:pt x="647" y="1030"/>
                  </a:lnTo>
                  <a:close/>
                  <a:moveTo>
                    <a:pt x="1271" y="134"/>
                  </a:moveTo>
                  <a:lnTo>
                    <a:pt x="1276" y="137"/>
                  </a:lnTo>
                  <a:lnTo>
                    <a:pt x="1280" y="141"/>
                  </a:lnTo>
                  <a:lnTo>
                    <a:pt x="1283" y="144"/>
                  </a:lnTo>
                  <a:lnTo>
                    <a:pt x="1284" y="148"/>
                  </a:lnTo>
                  <a:lnTo>
                    <a:pt x="1286" y="151"/>
                  </a:lnTo>
                  <a:lnTo>
                    <a:pt x="1284" y="152"/>
                  </a:lnTo>
                  <a:lnTo>
                    <a:pt x="1283" y="152"/>
                  </a:lnTo>
                  <a:lnTo>
                    <a:pt x="1281" y="151"/>
                  </a:lnTo>
                  <a:lnTo>
                    <a:pt x="1280" y="147"/>
                  </a:lnTo>
                  <a:lnTo>
                    <a:pt x="1279" y="145"/>
                  </a:lnTo>
                  <a:lnTo>
                    <a:pt x="1277" y="144"/>
                  </a:lnTo>
                  <a:lnTo>
                    <a:pt x="1274" y="145"/>
                  </a:lnTo>
                  <a:lnTo>
                    <a:pt x="1274" y="148"/>
                  </a:lnTo>
                  <a:lnTo>
                    <a:pt x="1273" y="151"/>
                  </a:lnTo>
                  <a:lnTo>
                    <a:pt x="1271" y="154"/>
                  </a:lnTo>
                  <a:lnTo>
                    <a:pt x="1269" y="157"/>
                  </a:lnTo>
                  <a:lnTo>
                    <a:pt x="1267" y="159"/>
                  </a:lnTo>
                  <a:lnTo>
                    <a:pt x="1266" y="164"/>
                  </a:lnTo>
                  <a:lnTo>
                    <a:pt x="1266" y="168"/>
                  </a:lnTo>
                  <a:lnTo>
                    <a:pt x="1263" y="172"/>
                  </a:lnTo>
                  <a:lnTo>
                    <a:pt x="1261" y="175"/>
                  </a:lnTo>
                  <a:lnTo>
                    <a:pt x="1260" y="175"/>
                  </a:lnTo>
                  <a:lnTo>
                    <a:pt x="1259" y="175"/>
                  </a:lnTo>
                  <a:lnTo>
                    <a:pt x="1257" y="174"/>
                  </a:lnTo>
                  <a:lnTo>
                    <a:pt x="1254" y="167"/>
                  </a:lnTo>
                  <a:lnTo>
                    <a:pt x="1251" y="161"/>
                  </a:lnTo>
                  <a:lnTo>
                    <a:pt x="1246" y="152"/>
                  </a:lnTo>
                  <a:lnTo>
                    <a:pt x="1244" y="147"/>
                  </a:lnTo>
                  <a:lnTo>
                    <a:pt x="1246" y="142"/>
                  </a:lnTo>
                  <a:lnTo>
                    <a:pt x="1247" y="139"/>
                  </a:lnTo>
                  <a:lnTo>
                    <a:pt x="1250" y="137"/>
                  </a:lnTo>
                  <a:lnTo>
                    <a:pt x="1253" y="132"/>
                  </a:lnTo>
                  <a:lnTo>
                    <a:pt x="1259" y="131"/>
                  </a:lnTo>
                  <a:lnTo>
                    <a:pt x="1260" y="129"/>
                  </a:lnTo>
                  <a:lnTo>
                    <a:pt x="1264" y="131"/>
                  </a:lnTo>
                  <a:lnTo>
                    <a:pt x="1267" y="132"/>
                  </a:lnTo>
                  <a:lnTo>
                    <a:pt x="1271" y="134"/>
                  </a:lnTo>
                  <a:lnTo>
                    <a:pt x="1271" y="134"/>
                  </a:lnTo>
                  <a:close/>
                  <a:moveTo>
                    <a:pt x="1360" y="154"/>
                  </a:moveTo>
                  <a:lnTo>
                    <a:pt x="1362" y="155"/>
                  </a:lnTo>
                  <a:lnTo>
                    <a:pt x="1366" y="158"/>
                  </a:lnTo>
                  <a:lnTo>
                    <a:pt x="1369" y="158"/>
                  </a:lnTo>
                  <a:lnTo>
                    <a:pt x="1369" y="158"/>
                  </a:lnTo>
                  <a:lnTo>
                    <a:pt x="1369" y="155"/>
                  </a:lnTo>
                  <a:lnTo>
                    <a:pt x="1370" y="155"/>
                  </a:lnTo>
                  <a:lnTo>
                    <a:pt x="1372" y="157"/>
                  </a:lnTo>
                  <a:lnTo>
                    <a:pt x="1373" y="165"/>
                  </a:lnTo>
                  <a:lnTo>
                    <a:pt x="1373" y="168"/>
                  </a:lnTo>
                  <a:lnTo>
                    <a:pt x="1372" y="169"/>
                  </a:lnTo>
                  <a:lnTo>
                    <a:pt x="1366" y="169"/>
                  </a:lnTo>
                  <a:lnTo>
                    <a:pt x="1357" y="165"/>
                  </a:lnTo>
                  <a:lnTo>
                    <a:pt x="1349" y="158"/>
                  </a:lnTo>
                  <a:lnTo>
                    <a:pt x="1347" y="154"/>
                  </a:lnTo>
                  <a:lnTo>
                    <a:pt x="1347" y="149"/>
                  </a:lnTo>
                  <a:lnTo>
                    <a:pt x="1350" y="148"/>
                  </a:lnTo>
                  <a:lnTo>
                    <a:pt x="1353" y="148"/>
                  </a:lnTo>
                  <a:lnTo>
                    <a:pt x="1356" y="151"/>
                  </a:lnTo>
                  <a:lnTo>
                    <a:pt x="1360" y="154"/>
                  </a:lnTo>
                  <a:lnTo>
                    <a:pt x="1360" y="154"/>
                  </a:lnTo>
                  <a:close/>
                  <a:moveTo>
                    <a:pt x="1168" y="175"/>
                  </a:moveTo>
                  <a:lnTo>
                    <a:pt x="1167" y="175"/>
                  </a:lnTo>
                  <a:lnTo>
                    <a:pt x="1167" y="178"/>
                  </a:lnTo>
                  <a:lnTo>
                    <a:pt x="1165" y="182"/>
                  </a:lnTo>
                  <a:lnTo>
                    <a:pt x="1165" y="187"/>
                  </a:lnTo>
                  <a:lnTo>
                    <a:pt x="1164" y="190"/>
                  </a:lnTo>
                  <a:lnTo>
                    <a:pt x="1163" y="190"/>
                  </a:lnTo>
                  <a:lnTo>
                    <a:pt x="1163" y="188"/>
                  </a:lnTo>
                  <a:lnTo>
                    <a:pt x="1163" y="185"/>
                  </a:lnTo>
                  <a:lnTo>
                    <a:pt x="1163" y="179"/>
                  </a:lnTo>
                  <a:lnTo>
                    <a:pt x="1164" y="172"/>
                  </a:lnTo>
                  <a:lnTo>
                    <a:pt x="1167" y="169"/>
                  </a:lnTo>
                  <a:lnTo>
                    <a:pt x="1170" y="169"/>
                  </a:lnTo>
                  <a:lnTo>
                    <a:pt x="1173" y="171"/>
                  </a:lnTo>
                  <a:lnTo>
                    <a:pt x="1173" y="172"/>
                  </a:lnTo>
                  <a:lnTo>
                    <a:pt x="1171" y="174"/>
                  </a:lnTo>
                  <a:lnTo>
                    <a:pt x="1168" y="175"/>
                  </a:lnTo>
                  <a:lnTo>
                    <a:pt x="1168" y="175"/>
                  </a:lnTo>
                  <a:close/>
                  <a:moveTo>
                    <a:pt x="756" y="274"/>
                  </a:moveTo>
                  <a:lnTo>
                    <a:pt x="759" y="273"/>
                  </a:lnTo>
                  <a:lnTo>
                    <a:pt x="762" y="271"/>
                  </a:lnTo>
                  <a:lnTo>
                    <a:pt x="763" y="270"/>
                  </a:lnTo>
                  <a:lnTo>
                    <a:pt x="764" y="268"/>
                  </a:lnTo>
                  <a:lnTo>
                    <a:pt x="766" y="267"/>
                  </a:lnTo>
                  <a:lnTo>
                    <a:pt x="767" y="268"/>
                  </a:lnTo>
                  <a:lnTo>
                    <a:pt x="767" y="270"/>
                  </a:lnTo>
                  <a:lnTo>
                    <a:pt x="767" y="271"/>
                  </a:lnTo>
                  <a:lnTo>
                    <a:pt x="766" y="274"/>
                  </a:lnTo>
                  <a:lnTo>
                    <a:pt x="764" y="275"/>
                  </a:lnTo>
                  <a:lnTo>
                    <a:pt x="763" y="280"/>
                  </a:lnTo>
                  <a:lnTo>
                    <a:pt x="762" y="283"/>
                  </a:lnTo>
                  <a:lnTo>
                    <a:pt x="759" y="285"/>
                  </a:lnTo>
                  <a:lnTo>
                    <a:pt x="754" y="284"/>
                  </a:lnTo>
                  <a:lnTo>
                    <a:pt x="753" y="285"/>
                  </a:lnTo>
                  <a:lnTo>
                    <a:pt x="754" y="285"/>
                  </a:lnTo>
                  <a:lnTo>
                    <a:pt x="754" y="288"/>
                  </a:lnTo>
                  <a:lnTo>
                    <a:pt x="753" y="287"/>
                  </a:lnTo>
                  <a:lnTo>
                    <a:pt x="750" y="288"/>
                  </a:lnTo>
                  <a:lnTo>
                    <a:pt x="749" y="287"/>
                  </a:lnTo>
                  <a:lnTo>
                    <a:pt x="747" y="285"/>
                  </a:lnTo>
                  <a:lnTo>
                    <a:pt x="747" y="284"/>
                  </a:lnTo>
                  <a:lnTo>
                    <a:pt x="747" y="281"/>
                  </a:lnTo>
                  <a:lnTo>
                    <a:pt x="753" y="278"/>
                  </a:lnTo>
                  <a:lnTo>
                    <a:pt x="756" y="274"/>
                  </a:lnTo>
                  <a:lnTo>
                    <a:pt x="756" y="274"/>
                  </a:lnTo>
                  <a:close/>
                  <a:moveTo>
                    <a:pt x="743" y="296"/>
                  </a:moveTo>
                  <a:lnTo>
                    <a:pt x="739" y="298"/>
                  </a:lnTo>
                  <a:lnTo>
                    <a:pt x="736" y="301"/>
                  </a:lnTo>
                  <a:lnTo>
                    <a:pt x="734" y="301"/>
                  </a:lnTo>
                  <a:lnTo>
                    <a:pt x="731" y="301"/>
                  </a:lnTo>
                  <a:lnTo>
                    <a:pt x="733" y="300"/>
                  </a:lnTo>
                  <a:lnTo>
                    <a:pt x="734" y="298"/>
                  </a:lnTo>
                  <a:lnTo>
                    <a:pt x="739" y="296"/>
                  </a:lnTo>
                  <a:lnTo>
                    <a:pt x="740" y="291"/>
                  </a:lnTo>
                  <a:lnTo>
                    <a:pt x="743" y="288"/>
                  </a:lnTo>
                  <a:lnTo>
                    <a:pt x="743" y="288"/>
                  </a:lnTo>
                  <a:lnTo>
                    <a:pt x="744" y="290"/>
                  </a:lnTo>
                  <a:lnTo>
                    <a:pt x="744" y="291"/>
                  </a:lnTo>
                  <a:lnTo>
                    <a:pt x="744" y="293"/>
                  </a:lnTo>
                  <a:lnTo>
                    <a:pt x="743" y="296"/>
                  </a:lnTo>
                  <a:lnTo>
                    <a:pt x="743" y="296"/>
                  </a:lnTo>
                  <a:close/>
                  <a:moveTo>
                    <a:pt x="720" y="321"/>
                  </a:moveTo>
                  <a:lnTo>
                    <a:pt x="720" y="324"/>
                  </a:lnTo>
                  <a:lnTo>
                    <a:pt x="719" y="328"/>
                  </a:lnTo>
                  <a:lnTo>
                    <a:pt x="716" y="336"/>
                  </a:lnTo>
                  <a:lnTo>
                    <a:pt x="713" y="341"/>
                  </a:lnTo>
                  <a:lnTo>
                    <a:pt x="711" y="343"/>
                  </a:lnTo>
                  <a:lnTo>
                    <a:pt x="710" y="341"/>
                  </a:lnTo>
                  <a:lnTo>
                    <a:pt x="709" y="338"/>
                  </a:lnTo>
                  <a:lnTo>
                    <a:pt x="710" y="334"/>
                  </a:lnTo>
                  <a:lnTo>
                    <a:pt x="714" y="323"/>
                  </a:lnTo>
                  <a:lnTo>
                    <a:pt x="720" y="311"/>
                  </a:lnTo>
                  <a:lnTo>
                    <a:pt x="726" y="304"/>
                  </a:lnTo>
                  <a:lnTo>
                    <a:pt x="727" y="304"/>
                  </a:lnTo>
                  <a:lnTo>
                    <a:pt x="729" y="306"/>
                  </a:lnTo>
                  <a:lnTo>
                    <a:pt x="729" y="307"/>
                  </a:lnTo>
                  <a:lnTo>
                    <a:pt x="724" y="314"/>
                  </a:lnTo>
                  <a:lnTo>
                    <a:pt x="720" y="321"/>
                  </a:lnTo>
                  <a:lnTo>
                    <a:pt x="720" y="321"/>
                  </a:lnTo>
                  <a:close/>
                  <a:moveTo>
                    <a:pt x="720" y="346"/>
                  </a:moveTo>
                  <a:lnTo>
                    <a:pt x="723" y="347"/>
                  </a:lnTo>
                  <a:lnTo>
                    <a:pt x="723" y="348"/>
                  </a:lnTo>
                  <a:lnTo>
                    <a:pt x="723" y="351"/>
                  </a:lnTo>
                  <a:lnTo>
                    <a:pt x="721" y="353"/>
                  </a:lnTo>
                  <a:lnTo>
                    <a:pt x="721" y="354"/>
                  </a:lnTo>
                  <a:lnTo>
                    <a:pt x="720" y="356"/>
                  </a:lnTo>
                  <a:lnTo>
                    <a:pt x="719" y="359"/>
                  </a:lnTo>
                  <a:lnTo>
                    <a:pt x="719" y="361"/>
                  </a:lnTo>
                  <a:lnTo>
                    <a:pt x="717" y="366"/>
                  </a:lnTo>
                  <a:lnTo>
                    <a:pt x="716" y="367"/>
                  </a:lnTo>
                  <a:lnTo>
                    <a:pt x="714" y="367"/>
                  </a:lnTo>
                  <a:lnTo>
                    <a:pt x="713" y="366"/>
                  </a:lnTo>
                  <a:lnTo>
                    <a:pt x="711" y="361"/>
                  </a:lnTo>
                  <a:lnTo>
                    <a:pt x="711" y="353"/>
                  </a:lnTo>
                  <a:lnTo>
                    <a:pt x="711" y="350"/>
                  </a:lnTo>
                  <a:lnTo>
                    <a:pt x="714" y="347"/>
                  </a:lnTo>
                  <a:lnTo>
                    <a:pt x="719" y="346"/>
                  </a:lnTo>
                  <a:lnTo>
                    <a:pt x="720" y="346"/>
                  </a:lnTo>
                  <a:lnTo>
                    <a:pt x="720" y="346"/>
                  </a:lnTo>
                  <a:close/>
                  <a:moveTo>
                    <a:pt x="726" y="370"/>
                  </a:moveTo>
                  <a:lnTo>
                    <a:pt x="724" y="373"/>
                  </a:lnTo>
                  <a:lnTo>
                    <a:pt x="724" y="376"/>
                  </a:lnTo>
                  <a:lnTo>
                    <a:pt x="721" y="376"/>
                  </a:lnTo>
                  <a:lnTo>
                    <a:pt x="720" y="374"/>
                  </a:lnTo>
                  <a:lnTo>
                    <a:pt x="720" y="373"/>
                  </a:lnTo>
                  <a:lnTo>
                    <a:pt x="720" y="369"/>
                  </a:lnTo>
                  <a:lnTo>
                    <a:pt x="721" y="366"/>
                  </a:lnTo>
                  <a:lnTo>
                    <a:pt x="723" y="366"/>
                  </a:lnTo>
                  <a:lnTo>
                    <a:pt x="726" y="366"/>
                  </a:lnTo>
                  <a:lnTo>
                    <a:pt x="726" y="369"/>
                  </a:lnTo>
                  <a:lnTo>
                    <a:pt x="726" y="370"/>
                  </a:lnTo>
                  <a:lnTo>
                    <a:pt x="726" y="370"/>
                  </a:lnTo>
                  <a:close/>
                  <a:moveTo>
                    <a:pt x="618" y="616"/>
                  </a:moveTo>
                  <a:lnTo>
                    <a:pt x="618" y="618"/>
                  </a:lnTo>
                  <a:lnTo>
                    <a:pt x="620" y="621"/>
                  </a:lnTo>
                  <a:lnTo>
                    <a:pt x="618" y="623"/>
                  </a:lnTo>
                  <a:lnTo>
                    <a:pt x="617" y="623"/>
                  </a:lnTo>
                  <a:lnTo>
                    <a:pt x="615" y="623"/>
                  </a:lnTo>
                  <a:lnTo>
                    <a:pt x="613" y="622"/>
                  </a:lnTo>
                  <a:lnTo>
                    <a:pt x="613" y="621"/>
                  </a:lnTo>
                  <a:lnTo>
                    <a:pt x="611" y="618"/>
                  </a:lnTo>
                  <a:lnTo>
                    <a:pt x="610" y="615"/>
                  </a:lnTo>
                  <a:lnTo>
                    <a:pt x="608" y="611"/>
                  </a:lnTo>
                  <a:lnTo>
                    <a:pt x="610" y="609"/>
                  </a:lnTo>
                  <a:lnTo>
                    <a:pt x="611" y="609"/>
                  </a:lnTo>
                  <a:lnTo>
                    <a:pt x="613" y="611"/>
                  </a:lnTo>
                  <a:lnTo>
                    <a:pt x="615" y="613"/>
                  </a:lnTo>
                  <a:lnTo>
                    <a:pt x="618" y="616"/>
                  </a:lnTo>
                  <a:lnTo>
                    <a:pt x="618" y="616"/>
                  </a:lnTo>
                  <a:close/>
                  <a:moveTo>
                    <a:pt x="674" y="513"/>
                  </a:moveTo>
                  <a:lnTo>
                    <a:pt x="671" y="516"/>
                  </a:lnTo>
                  <a:lnTo>
                    <a:pt x="666" y="520"/>
                  </a:lnTo>
                  <a:lnTo>
                    <a:pt x="663" y="522"/>
                  </a:lnTo>
                  <a:lnTo>
                    <a:pt x="660" y="520"/>
                  </a:lnTo>
                  <a:lnTo>
                    <a:pt x="656" y="513"/>
                  </a:lnTo>
                  <a:lnTo>
                    <a:pt x="656" y="510"/>
                  </a:lnTo>
                  <a:lnTo>
                    <a:pt x="656" y="509"/>
                  </a:lnTo>
                  <a:lnTo>
                    <a:pt x="660" y="506"/>
                  </a:lnTo>
                  <a:lnTo>
                    <a:pt x="667" y="503"/>
                  </a:lnTo>
                  <a:lnTo>
                    <a:pt x="673" y="502"/>
                  </a:lnTo>
                  <a:lnTo>
                    <a:pt x="676" y="503"/>
                  </a:lnTo>
                  <a:lnTo>
                    <a:pt x="677" y="505"/>
                  </a:lnTo>
                  <a:lnTo>
                    <a:pt x="676" y="510"/>
                  </a:lnTo>
                  <a:lnTo>
                    <a:pt x="674" y="513"/>
                  </a:lnTo>
                  <a:lnTo>
                    <a:pt x="674" y="513"/>
                  </a:lnTo>
                  <a:close/>
                  <a:moveTo>
                    <a:pt x="653" y="519"/>
                  </a:moveTo>
                  <a:lnTo>
                    <a:pt x="656" y="520"/>
                  </a:lnTo>
                  <a:lnTo>
                    <a:pt x="657" y="523"/>
                  </a:lnTo>
                  <a:lnTo>
                    <a:pt x="658" y="525"/>
                  </a:lnTo>
                  <a:lnTo>
                    <a:pt x="658" y="528"/>
                  </a:lnTo>
                  <a:lnTo>
                    <a:pt x="657" y="528"/>
                  </a:lnTo>
                  <a:lnTo>
                    <a:pt x="653" y="530"/>
                  </a:lnTo>
                  <a:lnTo>
                    <a:pt x="651" y="532"/>
                  </a:lnTo>
                  <a:lnTo>
                    <a:pt x="650" y="532"/>
                  </a:lnTo>
                  <a:lnTo>
                    <a:pt x="648" y="532"/>
                  </a:lnTo>
                  <a:lnTo>
                    <a:pt x="647" y="528"/>
                  </a:lnTo>
                  <a:lnTo>
                    <a:pt x="646" y="522"/>
                  </a:lnTo>
                  <a:lnTo>
                    <a:pt x="646" y="517"/>
                  </a:lnTo>
                  <a:lnTo>
                    <a:pt x="646" y="513"/>
                  </a:lnTo>
                  <a:lnTo>
                    <a:pt x="647" y="512"/>
                  </a:lnTo>
                  <a:lnTo>
                    <a:pt x="648" y="512"/>
                  </a:lnTo>
                  <a:lnTo>
                    <a:pt x="650" y="512"/>
                  </a:lnTo>
                  <a:lnTo>
                    <a:pt x="653" y="519"/>
                  </a:lnTo>
                  <a:lnTo>
                    <a:pt x="653" y="519"/>
                  </a:lnTo>
                  <a:close/>
                  <a:moveTo>
                    <a:pt x="583" y="558"/>
                  </a:moveTo>
                  <a:lnTo>
                    <a:pt x="584" y="559"/>
                  </a:lnTo>
                  <a:lnTo>
                    <a:pt x="585" y="560"/>
                  </a:lnTo>
                  <a:lnTo>
                    <a:pt x="587" y="566"/>
                  </a:lnTo>
                  <a:lnTo>
                    <a:pt x="588" y="573"/>
                  </a:lnTo>
                  <a:lnTo>
                    <a:pt x="587" y="576"/>
                  </a:lnTo>
                  <a:lnTo>
                    <a:pt x="585" y="576"/>
                  </a:lnTo>
                  <a:lnTo>
                    <a:pt x="585" y="573"/>
                  </a:lnTo>
                  <a:lnTo>
                    <a:pt x="584" y="566"/>
                  </a:lnTo>
                  <a:lnTo>
                    <a:pt x="581" y="559"/>
                  </a:lnTo>
                  <a:lnTo>
                    <a:pt x="580" y="556"/>
                  </a:lnTo>
                  <a:lnTo>
                    <a:pt x="580" y="550"/>
                  </a:lnTo>
                  <a:lnTo>
                    <a:pt x="578" y="546"/>
                  </a:lnTo>
                  <a:lnTo>
                    <a:pt x="577" y="545"/>
                  </a:lnTo>
                  <a:lnTo>
                    <a:pt x="575" y="542"/>
                  </a:lnTo>
                  <a:lnTo>
                    <a:pt x="573" y="539"/>
                  </a:lnTo>
                  <a:lnTo>
                    <a:pt x="571" y="538"/>
                  </a:lnTo>
                  <a:lnTo>
                    <a:pt x="571" y="536"/>
                  </a:lnTo>
                  <a:lnTo>
                    <a:pt x="573" y="535"/>
                  </a:lnTo>
                  <a:lnTo>
                    <a:pt x="575" y="536"/>
                  </a:lnTo>
                  <a:lnTo>
                    <a:pt x="580" y="540"/>
                  </a:lnTo>
                  <a:lnTo>
                    <a:pt x="581" y="546"/>
                  </a:lnTo>
                  <a:lnTo>
                    <a:pt x="583" y="552"/>
                  </a:lnTo>
                  <a:lnTo>
                    <a:pt x="583" y="558"/>
                  </a:lnTo>
                  <a:lnTo>
                    <a:pt x="583" y="558"/>
                  </a:lnTo>
                  <a:close/>
                  <a:moveTo>
                    <a:pt x="1088" y="12"/>
                  </a:moveTo>
                  <a:lnTo>
                    <a:pt x="1088" y="10"/>
                  </a:lnTo>
                  <a:lnTo>
                    <a:pt x="1088" y="6"/>
                  </a:lnTo>
                  <a:lnTo>
                    <a:pt x="1090" y="3"/>
                  </a:lnTo>
                  <a:lnTo>
                    <a:pt x="1092" y="3"/>
                  </a:lnTo>
                  <a:lnTo>
                    <a:pt x="1098" y="5"/>
                  </a:lnTo>
                  <a:lnTo>
                    <a:pt x="1101" y="3"/>
                  </a:lnTo>
                  <a:lnTo>
                    <a:pt x="1102" y="2"/>
                  </a:lnTo>
                  <a:lnTo>
                    <a:pt x="1107" y="0"/>
                  </a:lnTo>
                  <a:lnTo>
                    <a:pt x="1111" y="2"/>
                  </a:lnTo>
                  <a:lnTo>
                    <a:pt x="1114" y="2"/>
                  </a:lnTo>
                  <a:lnTo>
                    <a:pt x="1117" y="3"/>
                  </a:lnTo>
                  <a:lnTo>
                    <a:pt x="1120" y="5"/>
                  </a:lnTo>
                  <a:lnTo>
                    <a:pt x="1122" y="3"/>
                  </a:lnTo>
                  <a:lnTo>
                    <a:pt x="1125" y="3"/>
                  </a:lnTo>
                  <a:lnTo>
                    <a:pt x="1132" y="5"/>
                  </a:lnTo>
                  <a:lnTo>
                    <a:pt x="1137" y="8"/>
                  </a:lnTo>
                  <a:lnTo>
                    <a:pt x="1141" y="10"/>
                  </a:lnTo>
                  <a:lnTo>
                    <a:pt x="1145" y="19"/>
                  </a:lnTo>
                  <a:lnTo>
                    <a:pt x="1148" y="23"/>
                  </a:lnTo>
                  <a:lnTo>
                    <a:pt x="1148" y="25"/>
                  </a:lnTo>
                  <a:lnTo>
                    <a:pt x="1145" y="25"/>
                  </a:lnTo>
                  <a:lnTo>
                    <a:pt x="1144" y="23"/>
                  </a:lnTo>
                  <a:lnTo>
                    <a:pt x="1140" y="22"/>
                  </a:lnTo>
                  <a:lnTo>
                    <a:pt x="1138" y="23"/>
                  </a:lnTo>
                  <a:lnTo>
                    <a:pt x="1140" y="25"/>
                  </a:lnTo>
                  <a:lnTo>
                    <a:pt x="1138" y="28"/>
                  </a:lnTo>
                  <a:lnTo>
                    <a:pt x="1137" y="29"/>
                  </a:lnTo>
                  <a:lnTo>
                    <a:pt x="1135" y="31"/>
                  </a:lnTo>
                  <a:lnTo>
                    <a:pt x="1134" y="32"/>
                  </a:lnTo>
                  <a:lnTo>
                    <a:pt x="1134" y="35"/>
                  </a:lnTo>
                  <a:lnTo>
                    <a:pt x="1132" y="39"/>
                  </a:lnTo>
                  <a:lnTo>
                    <a:pt x="1131" y="42"/>
                  </a:lnTo>
                  <a:lnTo>
                    <a:pt x="1130" y="43"/>
                  </a:lnTo>
                  <a:lnTo>
                    <a:pt x="1127" y="43"/>
                  </a:lnTo>
                  <a:lnTo>
                    <a:pt x="1125" y="43"/>
                  </a:lnTo>
                  <a:lnTo>
                    <a:pt x="1125" y="46"/>
                  </a:lnTo>
                  <a:lnTo>
                    <a:pt x="1127" y="48"/>
                  </a:lnTo>
                  <a:lnTo>
                    <a:pt x="1130" y="48"/>
                  </a:lnTo>
                  <a:lnTo>
                    <a:pt x="1132" y="51"/>
                  </a:lnTo>
                  <a:lnTo>
                    <a:pt x="1134" y="52"/>
                  </a:lnTo>
                  <a:lnTo>
                    <a:pt x="1137" y="51"/>
                  </a:lnTo>
                  <a:lnTo>
                    <a:pt x="1138" y="49"/>
                  </a:lnTo>
                  <a:lnTo>
                    <a:pt x="1140" y="46"/>
                  </a:lnTo>
                  <a:lnTo>
                    <a:pt x="1143" y="46"/>
                  </a:lnTo>
                  <a:lnTo>
                    <a:pt x="1145" y="45"/>
                  </a:lnTo>
                  <a:lnTo>
                    <a:pt x="1147" y="42"/>
                  </a:lnTo>
                  <a:lnTo>
                    <a:pt x="1148" y="41"/>
                  </a:lnTo>
                  <a:lnTo>
                    <a:pt x="1150" y="41"/>
                  </a:lnTo>
                  <a:lnTo>
                    <a:pt x="1150" y="45"/>
                  </a:lnTo>
                  <a:lnTo>
                    <a:pt x="1150" y="51"/>
                  </a:lnTo>
                  <a:lnTo>
                    <a:pt x="1150" y="56"/>
                  </a:lnTo>
                  <a:lnTo>
                    <a:pt x="1150" y="63"/>
                  </a:lnTo>
                  <a:lnTo>
                    <a:pt x="1148" y="71"/>
                  </a:lnTo>
                  <a:lnTo>
                    <a:pt x="1147" y="72"/>
                  </a:lnTo>
                  <a:lnTo>
                    <a:pt x="1144" y="72"/>
                  </a:lnTo>
                  <a:lnTo>
                    <a:pt x="1140" y="69"/>
                  </a:lnTo>
                  <a:lnTo>
                    <a:pt x="1137" y="69"/>
                  </a:lnTo>
                  <a:lnTo>
                    <a:pt x="1134" y="69"/>
                  </a:lnTo>
                  <a:lnTo>
                    <a:pt x="1130" y="71"/>
                  </a:lnTo>
                  <a:lnTo>
                    <a:pt x="1125" y="72"/>
                  </a:lnTo>
                  <a:lnTo>
                    <a:pt x="1117" y="71"/>
                  </a:lnTo>
                  <a:lnTo>
                    <a:pt x="1112" y="68"/>
                  </a:lnTo>
                  <a:lnTo>
                    <a:pt x="1110" y="66"/>
                  </a:lnTo>
                  <a:lnTo>
                    <a:pt x="1105" y="66"/>
                  </a:lnTo>
                  <a:lnTo>
                    <a:pt x="1101" y="66"/>
                  </a:lnTo>
                  <a:lnTo>
                    <a:pt x="1095" y="66"/>
                  </a:lnTo>
                  <a:lnTo>
                    <a:pt x="1091" y="66"/>
                  </a:lnTo>
                  <a:lnTo>
                    <a:pt x="1085" y="68"/>
                  </a:lnTo>
                  <a:lnTo>
                    <a:pt x="1081" y="68"/>
                  </a:lnTo>
                  <a:lnTo>
                    <a:pt x="1078" y="66"/>
                  </a:lnTo>
                  <a:lnTo>
                    <a:pt x="1074" y="63"/>
                  </a:lnTo>
                  <a:lnTo>
                    <a:pt x="1072" y="62"/>
                  </a:lnTo>
                  <a:lnTo>
                    <a:pt x="1072" y="59"/>
                  </a:lnTo>
                  <a:lnTo>
                    <a:pt x="1074" y="58"/>
                  </a:lnTo>
                  <a:lnTo>
                    <a:pt x="1074" y="55"/>
                  </a:lnTo>
                  <a:lnTo>
                    <a:pt x="1072" y="53"/>
                  </a:lnTo>
                  <a:lnTo>
                    <a:pt x="1071" y="53"/>
                  </a:lnTo>
                  <a:lnTo>
                    <a:pt x="1068" y="55"/>
                  </a:lnTo>
                  <a:lnTo>
                    <a:pt x="1067" y="56"/>
                  </a:lnTo>
                  <a:lnTo>
                    <a:pt x="1067" y="59"/>
                  </a:lnTo>
                  <a:lnTo>
                    <a:pt x="1068" y="62"/>
                  </a:lnTo>
                  <a:lnTo>
                    <a:pt x="1068" y="63"/>
                  </a:lnTo>
                  <a:lnTo>
                    <a:pt x="1065" y="63"/>
                  </a:lnTo>
                  <a:lnTo>
                    <a:pt x="1062" y="62"/>
                  </a:lnTo>
                  <a:lnTo>
                    <a:pt x="1061" y="61"/>
                  </a:lnTo>
                  <a:lnTo>
                    <a:pt x="1061" y="56"/>
                  </a:lnTo>
                  <a:lnTo>
                    <a:pt x="1061" y="52"/>
                  </a:lnTo>
                  <a:lnTo>
                    <a:pt x="1062" y="49"/>
                  </a:lnTo>
                  <a:lnTo>
                    <a:pt x="1068" y="45"/>
                  </a:lnTo>
                  <a:lnTo>
                    <a:pt x="1075" y="38"/>
                  </a:lnTo>
                  <a:lnTo>
                    <a:pt x="1080" y="31"/>
                  </a:lnTo>
                  <a:lnTo>
                    <a:pt x="1082" y="23"/>
                  </a:lnTo>
                  <a:lnTo>
                    <a:pt x="1088" y="12"/>
                  </a:lnTo>
                  <a:lnTo>
                    <a:pt x="1088" y="12"/>
                  </a:lnTo>
                  <a:close/>
                  <a:moveTo>
                    <a:pt x="1145" y="29"/>
                  </a:moveTo>
                  <a:lnTo>
                    <a:pt x="1141" y="31"/>
                  </a:lnTo>
                  <a:lnTo>
                    <a:pt x="1138" y="32"/>
                  </a:lnTo>
                  <a:lnTo>
                    <a:pt x="1137" y="33"/>
                  </a:lnTo>
                  <a:lnTo>
                    <a:pt x="1135" y="36"/>
                  </a:lnTo>
                  <a:lnTo>
                    <a:pt x="1135" y="39"/>
                  </a:lnTo>
                  <a:lnTo>
                    <a:pt x="1134" y="42"/>
                  </a:lnTo>
                  <a:lnTo>
                    <a:pt x="1134" y="43"/>
                  </a:lnTo>
                  <a:lnTo>
                    <a:pt x="1132" y="46"/>
                  </a:lnTo>
                  <a:lnTo>
                    <a:pt x="1135" y="46"/>
                  </a:lnTo>
                  <a:lnTo>
                    <a:pt x="1137" y="46"/>
                  </a:lnTo>
                  <a:lnTo>
                    <a:pt x="1138" y="45"/>
                  </a:lnTo>
                  <a:lnTo>
                    <a:pt x="1140" y="43"/>
                  </a:lnTo>
                  <a:lnTo>
                    <a:pt x="1143" y="43"/>
                  </a:lnTo>
                  <a:lnTo>
                    <a:pt x="1144" y="41"/>
                  </a:lnTo>
                  <a:lnTo>
                    <a:pt x="1145" y="38"/>
                  </a:lnTo>
                  <a:lnTo>
                    <a:pt x="1147" y="35"/>
                  </a:lnTo>
                  <a:lnTo>
                    <a:pt x="1148" y="32"/>
                  </a:lnTo>
                  <a:lnTo>
                    <a:pt x="1148" y="31"/>
                  </a:lnTo>
                  <a:lnTo>
                    <a:pt x="1147" y="29"/>
                  </a:lnTo>
                  <a:lnTo>
                    <a:pt x="1145" y="29"/>
                  </a:lnTo>
                  <a:lnTo>
                    <a:pt x="1145" y="29"/>
                  </a:lnTo>
                  <a:close/>
                  <a:moveTo>
                    <a:pt x="1412" y="303"/>
                  </a:moveTo>
                  <a:lnTo>
                    <a:pt x="1410" y="304"/>
                  </a:lnTo>
                  <a:lnTo>
                    <a:pt x="1409" y="304"/>
                  </a:lnTo>
                  <a:lnTo>
                    <a:pt x="1406" y="306"/>
                  </a:lnTo>
                  <a:lnTo>
                    <a:pt x="1402" y="307"/>
                  </a:lnTo>
                  <a:lnTo>
                    <a:pt x="1400" y="308"/>
                  </a:lnTo>
                  <a:lnTo>
                    <a:pt x="1396" y="310"/>
                  </a:lnTo>
                  <a:lnTo>
                    <a:pt x="1392" y="310"/>
                  </a:lnTo>
                  <a:lnTo>
                    <a:pt x="1389" y="311"/>
                  </a:lnTo>
                  <a:lnTo>
                    <a:pt x="1386" y="313"/>
                  </a:lnTo>
                  <a:lnTo>
                    <a:pt x="1382" y="316"/>
                  </a:lnTo>
                  <a:lnTo>
                    <a:pt x="1377" y="318"/>
                  </a:lnTo>
                  <a:lnTo>
                    <a:pt x="1375" y="320"/>
                  </a:lnTo>
                  <a:lnTo>
                    <a:pt x="1369" y="318"/>
                  </a:lnTo>
                  <a:lnTo>
                    <a:pt x="1365" y="318"/>
                  </a:lnTo>
                  <a:lnTo>
                    <a:pt x="1359" y="316"/>
                  </a:lnTo>
                  <a:lnTo>
                    <a:pt x="1350" y="313"/>
                  </a:lnTo>
                  <a:lnTo>
                    <a:pt x="1344" y="313"/>
                  </a:lnTo>
                  <a:lnTo>
                    <a:pt x="1339" y="313"/>
                  </a:lnTo>
                  <a:lnTo>
                    <a:pt x="1336" y="310"/>
                  </a:lnTo>
                  <a:lnTo>
                    <a:pt x="1333" y="307"/>
                  </a:lnTo>
                  <a:lnTo>
                    <a:pt x="1332" y="303"/>
                  </a:lnTo>
                  <a:lnTo>
                    <a:pt x="1334" y="298"/>
                  </a:lnTo>
                  <a:lnTo>
                    <a:pt x="1337" y="296"/>
                  </a:lnTo>
                  <a:lnTo>
                    <a:pt x="1344" y="293"/>
                  </a:lnTo>
                  <a:lnTo>
                    <a:pt x="1352" y="290"/>
                  </a:lnTo>
                  <a:lnTo>
                    <a:pt x="1357" y="285"/>
                  </a:lnTo>
                  <a:lnTo>
                    <a:pt x="1362" y="281"/>
                  </a:lnTo>
                  <a:lnTo>
                    <a:pt x="1367" y="277"/>
                  </a:lnTo>
                  <a:lnTo>
                    <a:pt x="1375" y="271"/>
                  </a:lnTo>
                  <a:lnTo>
                    <a:pt x="1382" y="268"/>
                  </a:lnTo>
                  <a:lnTo>
                    <a:pt x="1386" y="268"/>
                  </a:lnTo>
                  <a:lnTo>
                    <a:pt x="1390" y="271"/>
                  </a:lnTo>
                  <a:lnTo>
                    <a:pt x="1399" y="275"/>
                  </a:lnTo>
                  <a:lnTo>
                    <a:pt x="1407" y="281"/>
                  </a:lnTo>
                  <a:lnTo>
                    <a:pt x="1410" y="287"/>
                  </a:lnTo>
                  <a:lnTo>
                    <a:pt x="1412" y="294"/>
                  </a:lnTo>
                  <a:lnTo>
                    <a:pt x="1412" y="298"/>
                  </a:lnTo>
                  <a:lnTo>
                    <a:pt x="1412" y="303"/>
                  </a:lnTo>
                  <a:lnTo>
                    <a:pt x="1412" y="303"/>
                  </a:lnTo>
                  <a:close/>
                  <a:moveTo>
                    <a:pt x="1344" y="148"/>
                  </a:moveTo>
                  <a:lnTo>
                    <a:pt x="1342" y="151"/>
                  </a:lnTo>
                  <a:lnTo>
                    <a:pt x="1342" y="152"/>
                  </a:lnTo>
                  <a:lnTo>
                    <a:pt x="1340" y="154"/>
                  </a:lnTo>
                  <a:lnTo>
                    <a:pt x="1339" y="155"/>
                  </a:lnTo>
                  <a:lnTo>
                    <a:pt x="1339" y="154"/>
                  </a:lnTo>
                  <a:lnTo>
                    <a:pt x="1339" y="151"/>
                  </a:lnTo>
                  <a:lnTo>
                    <a:pt x="1340" y="149"/>
                  </a:lnTo>
                  <a:lnTo>
                    <a:pt x="1343" y="145"/>
                  </a:lnTo>
                  <a:lnTo>
                    <a:pt x="1346" y="142"/>
                  </a:lnTo>
                  <a:lnTo>
                    <a:pt x="1347" y="144"/>
                  </a:lnTo>
                  <a:lnTo>
                    <a:pt x="1347" y="145"/>
                  </a:lnTo>
                  <a:lnTo>
                    <a:pt x="1344" y="148"/>
                  </a:lnTo>
                  <a:lnTo>
                    <a:pt x="1344" y="148"/>
                  </a:lnTo>
                  <a:close/>
                  <a:moveTo>
                    <a:pt x="1347" y="88"/>
                  </a:moveTo>
                  <a:lnTo>
                    <a:pt x="1353" y="89"/>
                  </a:lnTo>
                  <a:lnTo>
                    <a:pt x="1360" y="91"/>
                  </a:lnTo>
                  <a:lnTo>
                    <a:pt x="1365" y="94"/>
                  </a:lnTo>
                  <a:lnTo>
                    <a:pt x="1367" y="95"/>
                  </a:lnTo>
                  <a:lnTo>
                    <a:pt x="1367" y="96"/>
                  </a:lnTo>
                  <a:lnTo>
                    <a:pt x="1365" y="98"/>
                  </a:lnTo>
                  <a:lnTo>
                    <a:pt x="1362" y="98"/>
                  </a:lnTo>
                  <a:lnTo>
                    <a:pt x="1357" y="98"/>
                  </a:lnTo>
                  <a:lnTo>
                    <a:pt x="1354" y="99"/>
                  </a:lnTo>
                  <a:lnTo>
                    <a:pt x="1354" y="104"/>
                  </a:lnTo>
                  <a:lnTo>
                    <a:pt x="1353" y="106"/>
                  </a:lnTo>
                  <a:lnTo>
                    <a:pt x="1350" y="106"/>
                  </a:lnTo>
                  <a:lnTo>
                    <a:pt x="1339" y="104"/>
                  </a:lnTo>
                  <a:lnTo>
                    <a:pt x="1337" y="102"/>
                  </a:lnTo>
                  <a:lnTo>
                    <a:pt x="1339" y="101"/>
                  </a:lnTo>
                  <a:lnTo>
                    <a:pt x="1340" y="98"/>
                  </a:lnTo>
                  <a:lnTo>
                    <a:pt x="1340" y="98"/>
                  </a:lnTo>
                  <a:lnTo>
                    <a:pt x="1339" y="96"/>
                  </a:lnTo>
                  <a:lnTo>
                    <a:pt x="1336" y="98"/>
                  </a:lnTo>
                  <a:lnTo>
                    <a:pt x="1332" y="104"/>
                  </a:lnTo>
                  <a:lnTo>
                    <a:pt x="1329" y="106"/>
                  </a:lnTo>
                  <a:lnTo>
                    <a:pt x="1327" y="108"/>
                  </a:lnTo>
                  <a:lnTo>
                    <a:pt x="1326" y="105"/>
                  </a:lnTo>
                  <a:lnTo>
                    <a:pt x="1327" y="102"/>
                  </a:lnTo>
                  <a:lnTo>
                    <a:pt x="1332" y="94"/>
                  </a:lnTo>
                  <a:lnTo>
                    <a:pt x="1342" y="89"/>
                  </a:lnTo>
                  <a:lnTo>
                    <a:pt x="1347" y="88"/>
                  </a:lnTo>
                  <a:lnTo>
                    <a:pt x="1347" y="88"/>
                  </a:lnTo>
                  <a:close/>
                  <a:moveTo>
                    <a:pt x="1386" y="114"/>
                  </a:moveTo>
                  <a:lnTo>
                    <a:pt x="1389" y="118"/>
                  </a:lnTo>
                  <a:lnTo>
                    <a:pt x="1390" y="122"/>
                  </a:lnTo>
                  <a:lnTo>
                    <a:pt x="1390" y="124"/>
                  </a:lnTo>
                  <a:lnTo>
                    <a:pt x="1389" y="124"/>
                  </a:lnTo>
                  <a:lnTo>
                    <a:pt x="1387" y="124"/>
                  </a:lnTo>
                  <a:lnTo>
                    <a:pt x="1386" y="119"/>
                  </a:lnTo>
                  <a:lnTo>
                    <a:pt x="1383" y="114"/>
                  </a:lnTo>
                  <a:lnTo>
                    <a:pt x="1376" y="105"/>
                  </a:lnTo>
                  <a:lnTo>
                    <a:pt x="1372" y="104"/>
                  </a:lnTo>
                  <a:lnTo>
                    <a:pt x="1369" y="102"/>
                  </a:lnTo>
                  <a:lnTo>
                    <a:pt x="1365" y="101"/>
                  </a:lnTo>
                  <a:lnTo>
                    <a:pt x="1366" y="99"/>
                  </a:lnTo>
                  <a:lnTo>
                    <a:pt x="1369" y="98"/>
                  </a:lnTo>
                  <a:lnTo>
                    <a:pt x="1372" y="98"/>
                  </a:lnTo>
                  <a:lnTo>
                    <a:pt x="1375" y="101"/>
                  </a:lnTo>
                  <a:lnTo>
                    <a:pt x="1380" y="104"/>
                  </a:lnTo>
                  <a:lnTo>
                    <a:pt x="1386" y="114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15" name="Freeform 163"/>
            <p:cNvSpPr>
              <a:spLocks noEditPoints="1"/>
            </p:cNvSpPr>
            <p:nvPr/>
          </p:nvSpPr>
          <p:spPr bwMode="auto">
            <a:xfrm>
              <a:off x="3309331" y="2251062"/>
              <a:ext cx="346804" cy="568849"/>
            </a:xfrm>
            <a:custGeom>
              <a:avLst/>
              <a:gdLst>
                <a:gd name="T0" fmla="*/ 123 w 567"/>
                <a:gd name="T1" fmla="*/ 425 h 859"/>
                <a:gd name="T2" fmla="*/ 132 w 567"/>
                <a:gd name="T3" fmla="*/ 412 h 859"/>
                <a:gd name="T4" fmla="*/ 146 w 567"/>
                <a:gd name="T5" fmla="*/ 381 h 859"/>
                <a:gd name="T6" fmla="*/ 153 w 567"/>
                <a:gd name="T7" fmla="*/ 346 h 859"/>
                <a:gd name="T8" fmla="*/ 170 w 567"/>
                <a:gd name="T9" fmla="*/ 375 h 859"/>
                <a:gd name="T10" fmla="*/ 149 w 567"/>
                <a:gd name="T11" fmla="*/ 429 h 859"/>
                <a:gd name="T12" fmla="*/ 155 w 567"/>
                <a:gd name="T13" fmla="*/ 458 h 859"/>
                <a:gd name="T14" fmla="*/ 155 w 567"/>
                <a:gd name="T15" fmla="*/ 485 h 859"/>
                <a:gd name="T16" fmla="*/ 162 w 567"/>
                <a:gd name="T17" fmla="*/ 497 h 859"/>
                <a:gd name="T18" fmla="*/ 165 w 567"/>
                <a:gd name="T19" fmla="*/ 515 h 859"/>
                <a:gd name="T20" fmla="*/ 175 w 567"/>
                <a:gd name="T21" fmla="*/ 611 h 859"/>
                <a:gd name="T22" fmla="*/ 219 w 567"/>
                <a:gd name="T23" fmla="*/ 747 h 859"/>
                <a:gd name="T24" fmla="*/ 262 w 567"/>
                <a:gd name="T25" fmla="*/ 809 h 859"/>
                <a:gd name="T26" fmla="*/ 361 w 567"/>
                <a:gd name="T27" fmla="*/ 856 h 859"/>
                <a:gd name="T28" fmla="*/ 435 w 567"/>
                <a:gd name="T29" fmla="*/ 855 h 859"/>
                <a:gd name="T30" fmla="*/ 475 w 567"/>
                <a:gd name="T31" fmla="*/ 839 h 859"/>
                <a:gd name="T32" fmla="*/ 500 w 567"/>
                <a:gd name="T33" fmla="*/ 815 h 859"/>
                <a:gd name="T34" fmla="*/ 536 w 567"/>
                <a:gd name="T35" fmla="*/ 767 h 859"/>
                <a:gd name="T36" fmla="*/ 547 w 567"/>
                <a:gd name="T37" fmla="*/ 732 h 859"/>
                <a:gd name="T38" fmla="*/ 550 w 567"/>
                <a:gd name="T39" fmla="*/ 703 h 859"/>
                <a:gd name="T40" fmla="*/ 559 w 567"/>
                <a:gd name="T41" fmla="*/ 649 h 859"/>
                <a:gd name="T42" fmla="*/ 543 w 567"/>
                <a:gd name="T43" fmla="*/ 620 h 859"/>
                <a:gd name="T44" fmla="*/ 541 w 567"/>
                <a:gd name="T45" fmla="*/ 571 h 859"/>
                <a:gd name="T46" fmla="*/ 543 w 567"/>
                <a:gd name="T47" fmla="*/ 558 h 859"/>
                <a:gd name="T48" fmla="*/ 549 w 567"/>
                <a:gd name="T49" fmla="*/ 524 h 859"/>
                <a:gd name="T50" fmla="*/ 560 w 567"/>
                <a:gd name="T51" fmla="*/ 484 h 859"/>
                <a:gd name="T52" fmla="*/ 563 w 567"/>
                <a:gd name="T53" fmla="*/ 425 h 859"/>
                <a:gd name="T54" fmla="*/ 563 w 567"/>
                <a:gd name="T55" fmla="*/ 372 h 859"/>
                <a:gd name="T56" fmla="*/ 559 w 567"/>
                <a:gd name="T57" fmla="*/ 328 h 859"/>
                <a:gd name="T58" fmla="*/ 534 w 567"/>
                <a:gd name="T59" fmla="*/ 312 h 859"/>
                <a:gd name="T60" fmla="*/ 528 w 567"/>
                <a:gd name="T61" fmla="*/ 262 h 859"/>
                <a:gd name="T62" fmla="*/ 498 w 567"/>
                <a:gd name="T63" fmla="*/ 240 h 859"/>
                <a:gd name="T64" fmla="*/ 463 w 567"/>
                <a:gd name="T65" fmla="*/ 235 h 859"/>
                <a:gd name="T66" fmla="*/ 497 w 567"/>
                <a:gd name="T67" fmla="*/ 222 h 859"/>
                <a:gd name="T68" fmla="*/ 503 w 567"/>
                <a:gd name="T69" fmla="*/ 203 h 859"/>
                <a:gd name="T70" fmla="*/ 508 w 567"/>
                <a:gd name="T71" fmla="*/ 189 h 859"/>
                <a:gd name="T72" fmla="*/ 488 w 567"/>
                <a:gd name="T73" fmla="*/ 160 h 859"/>
                <a:gd name="T74" fmla="*/ 524 w 567"/>
                <a:gd name="T75" fmla="*/ 123 h 859"/>
                <a:gd name="T76" fmla="*/ 549 w 567"/>
                <a:gd name="T77" fmla="*/ 176 h 859"/>
                <a:gd name="T78" fmla="*/ 550 w 567"/>
                <a:gd name="T79" fmla="*/ 119 h 859"/>
                <a:gd name="T80" fmla="*/ 513 w 567"/>
                <a:gd name="T81" fmla="*/ 103 h 859"/>
                <a:gd name="T82" fmla="*/ 485 w 567"/>
                <a:gd name="T83" fmla="*/ 64 h 859"/>
                <a:gd name="T84" fmla="*/ 464 w 567"/>
                <a:gd name="T85" fmla="*/ 33 h 859"/>
                <a:gd name="T86" fmla="*/ 381 w 567"/>
                <a:gd name="T87" fmla="*/ 26 h 859"/>
                <a:gd name="T88" fmla="*/ 301 w 567"/>
                <a:gd name="T89" fmla="*/ 31 h 859"/>
                <a:gd name="T90" fmla="*/ 205 w 567"/>
                <a:gd name="T91" fmla="*/ 119 h 859"/>
                <a:gd name="T92" fmla="*/ 143 w 567"/>
                <a:gd name="T93" fmla="*/ 196 h 859"/>
                <a:gd name="T94" fmla="*/ 53 w 567"/>
                <a:gd name="T95" fmla="*/ 192 h 859"/>
                <a:gd name="T96" fmla="*/ 72 w 567"/>
                <a:gd name="T97" fmla="*/ 328 h 859"/>
                <a:gd name="T98" fmla="*/ 66 w 567"/>
                <a:gd name="T99" fmla="*/ 381 h 859"/>
                <a:gd name="T100" fmla="*/ 103 w 567"/>
                <a:gd name="T101" fmla="*/ 422 h 859"/>
                <a:gd name="T102" fmla="*/ 464 w 567"/>
                <a:gd name="T103" fmla="*/ 11 h 859"/>
                <a:gd name="T104" fmla="*/ 491 w 567"/>
                <a:gd name="T105" fmla="*/ 1 h 859"/>
                <a:gd name="T106" fmla="*/ 123 w 567"/>
                <a:gd name="T107" fmla="*/ 449 h 859"/>
                <a:gd name="T108" fmla="*/ 119 w 567"/>
                <a:gd name="T109" fmla="*/ 435 h 859"/>
                <a:gd name="T110" fmla="*/ 541 w 567"/>
                <a:gd name="T111" fmla="*/ 273 h 859"/>
                <a:gd name="T112" fmla="*/ 533 w 567"/>
                <a:gd name="T113" fmla="*/ 250 h 859"/>
                <a:gd name="T114" fmla="*/ 122 w 567"/>
                <a:gd name="T115" fmla="*/ 471 h 859"/>
                <a:gd name="T116" fmla="*/ 120 w 567"/>
                <a:gd name="T117" fmla="*/ 457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7" h="859">
                  <a:moveTo>
                    <a:pt x="105" y="427"/>
                  </a:moveTo>
                  <a:lnTo>
                    <a:pt x="106" y="425"/>
                  </a:lnTo>
                  <a:lnTo>
                    <a:pt x="106" y="425"/>
                  </a:lnTo>
                  <a:lnTo>
                    <a:pt x="109" y="427"/>
                  </a:lnTo>
                  <a:lnTo>
                    <a:pt x="110" y="428"/>
                  </a:lnTo>
                  <a:lnTo>
                    <a:pt x="112" y="429"/>
                  </a:lnTo>
                  <a:lnTo>
                    <a:pt x="113" y="431"/>
                  </a:lnTo>
                  <a:lnTo>
                    <a:pt x="113" y="431"/>
                  </a:lnTo>
                  <a:lnTo>
                    <a:pt x="116" y="429"/>
                  </a:lnTo>
                  <a:lnTo>
                    <a:pt x="116" y="428"/>
                  </a:lnTo>
                  <a:lnTo>
                    <a:pt x="116" y="427"/>
                  </a:lnTo>
                  <a:lnTo>
                    <a:pt x="119" y="425"/>
                  </a:lnTo>
                  <a:lnTo>
                    <a:pt x="119" y="425"/>
                  </a:lnTo>
                  <a:lnTo>
                    <a:pt x="122" y="425"/>
                  </a:lnTo>
                  <a:lnTo>
                    <a:pt x="123" y="425"/>
                  </a:lnTo>
                  <a:lnTo>
                    <a:pt x="123" y="424"/>
                  </a:lnTo>
                  <a:lnTo>
                    <a:pt x="123" y="415"/>
                  </a:lnTo>
                  <a:lnTo>
                    <a:pt x="123" y="415"/>
                  </a:lnTo>
                  <a:lnTo>
                    <a:pt x="125" y="414"/>
                  </a:lnTo>
                  <a:lnTo>
                    <a:pt x="126" y="415"/>
                  </a:lnTo>
                  <a:lnTo>
                    <a:pt x="127" y="419"/>
                  </a:lnTo>
                  <a:lnTo>
                    <a:pt x="127" y="419"/>
                  </a:lnTo>
                  <a:lnTo>
                    <a:pt x="129" y="421"/>
                  </a:lnTo>
                  <a:lnTo>
                    <a:pt x="130" y="421"/>
                  </a:lnTo>
                  <a:lnTo>
                    <a:pt x="132" y="421"/>
                  </a:lnTo>
                  <a:lnTo>
                    <a:pt x="133" y="421"/>
                  </a:lnTo>
                  <a:lnTo>
                    <a:pt x="133" y="421"/>
                  </a:lnTo>
                  <a:lnTo>
                    <a:pt x="133" y="414"/>
                  </a:lnTo>
                  <a:lnTo>
                    <a:pt x="133" y="414"/>
                  </a:lnTo>
                  <a:lnTo>
                    <a:pt x="132" y="412"/>
                  </a:lnTo>
                  <a:lnTo>
                    <a:pt x="130" y="411"/>
                  </a:lnTo>
                  <a:lnTo>
                    <a:pt x="130" y="411"/>
                  </a:lnTo>
                  <a:lnTo>
                    <a:pt x="130" y="406"/>
                  </a:lnTo>
                  <a:lnTo>
                    <a:pt x="133" y="404"/>
                  </a:lnTo>
                  <a:lnTo>
                    <a:pt x="133" y="404"/>
                  </a:lnTo>
                  <a:lnTo>
                    <a:pt x="135" y="399"/>
                  </a:lnTo>
                  <a:lnTo>
                    <a:pt x="135" y="394"/>
                  </a:lnTo>
                  <a:lnTo>
                    <a:pt x="133" y="386"/>
                  </a:lnTo>
                  <a:lnTo>
                    <a:pt x="136" y="385"/>
                  </a:lnTo>
                  <a:lnTo>
                    <a:pt x="136" y="384"/>
                  </a:lnTo>
                  <a:lnTo>
                    <a:pt x="139" y="385"/>
                  </a:lnTo>
                  <a:lnTo>
                    <a:pt x="140" y="388"/>
                  </a:lnTo>
                  <a:lnTo>
                    <a:pt x="142" y="385"/>
                  </a:lnTo>
                  <a:lnTo>
                    <a:pt x="143" y="381"/>
                  </a:lnTo>
                  <a:lnTo>
                    <a:pt x="146" y="381"/>
                  </a:lnTo>
                  <a:lnTo>
                    <a:pt x="147" y="381"/>
                  </a:lnTo>
                  <a:lnTo>
                    <a:pt x="149" y="379"/>
                  </a:lnTo>
                  <a:lnTo>
                    <a:pt x="150" y="376"/>
                  </a:lnTo>
                  <a:lnTo>
                    <a:pt x="153" y="374"/>
                  </a:lnTo>
                  <a:lnTo>
                    <a:pt x="155" y="371"/>
                  </a:lnTo>
                  <a:lnTo>
                    <a:pt x="153" y="369"/>
                  </a:lnTo>
                  <a:lnTo>
                    <a:pt x="153" y="366"/>
                  </a:lnTo>
                  <a:lnTo>
                    <a:pt x="152" y="364"/>
                  </a:lnTo>
                  <a:lnTo>
                    <a:pt x="152" y="362"/>
                  </a:lnTo>
                  <a:lnTo>
                    <a:pt x="156" y="361"/>
                  </a:lnTo>
                  <a:lnTo>
                    <a:pt x="159" y="358"/>
                  </a:lnTo>
                  <a:lnTo>
                    <a:pt x="159" y="355"/>
                  </a:lnTo>
                  <a:lnTo>
                    <a:pt x="159" y="353"/>
                  </a:lnTo>
                  <a:lnTo>
                    <a:pt x="156" y="351"/>
                  </a:lnTo>
                  <a:lnTo>
                    <a:pt x="153" y="346"/>
                  </a:lnTo>
                  <a:lnTo>
                    <a:pt x="150" y="343"/>
                  </a:lnTo>
                  <a:lnTo>
                    <a:pt x="149" y="341"/>
                  </a:lnTo>
                  <a:lnTo>
                    <a:pt x="150" y="333"/>
                  </a:lnTo>
                  <a:lnTo>
                    <a:pt x="152" y="332"/>
                  </a:lnTo>
                  <a:lnTo>
                    <a:pt x="153" y="336"/>
                  </a:lnTo>
                  <a:lnTo>
                    <a:pt x="153" y="342"/>
                  </a:lnTo>
                  <a:lnTo>
                    <a:pt x="159" y="351"/>
                  </a:lnTo>
                  <a:lnTo>
                    <a:pt x="162" y="356"/>
                  </a:lnTo>
                  <a:lnTo>
                    <a:pt x="166" y="358"/>
                  </a:lnTo>
                  <a:lnTo>
                    <a:pt x="170" y="359"/>
                  </a:lnTo>
                  <a:lnTo>
                    <a:pt x="170" y="362"/>
                  </a:lnTo>
                  <a:lnTo>
                    <a:pt x="169" y="364"/>
                  </a:lnTo>
                  <a:lnTo>
                    <a:pt x="168" y="366"/>
                  </a:lnTo>
                  <a:lnTo>
                    <a:pt x="168" y="369"/>
                  </a:lnTo>
                  <a:lnTo>
                    <a:pt x="170" y="375"/>
                  </a:lnTo>
                  <a:lnTo>
                    <a:pt x="172" y="379"/>
                  </a:lnTo>
                  <a:lnTo>
                    <a:pt x="172" y="384"/>
                  </a:lnTo>
                  <a:lnTo>
                    <a:pt x="169" y="384"/>
                  </a:lnTo>
                  <a:lnTo>
                    <a:pt x="165" y="384"/>
                  </a:lnTo>
                  <a:lnTo>
                    <a:pt x="163" y="385"/>
                  </a:lnTo>
                  <a:lnTo>
                    <a:pt x="160" y="388"/>
                  </a:lnTo>
                  <a:lnTo>
                    <a:pt x="160" y="389"/>
                  </a:lnTo>
                  <a:lnTo>
                    <a:pt x="159" y="395"/>
                  </a:lnTo>
                  <a:lnTo>
                    <a:pt x="158" y="399"/>
                  </a:lnTo>
                  <a:lnTo>
                    <a:pt x="156" y="406"/>
                  </a:lnTo>
                  <a:lnTo>
                    <a:pt x="155" y="409"/>
                  </a:lnTo>
                  <a:lnTo>
                    <a:pt x="153" y="414"/>
                  </a:lnTo>
                  <a:lnTo>
                    <a:pt x="152" y="419"/>
                  </a:lnTo>
                  <a:lnTo>
                    <a:pt x="150" y="425"/>
                  </a:lnTo>
                  <a:lnTo>
                    <a:pt x="149" y="429"/>
                  </a:lnTo>
                  <a:lnTo>
                    <a:pt x="149" y="437"/>
                  </a:lnTo>
                  <a:lnTo>
                    <a:pt x="150" y="441"/>
                  </a:lnTo>
                  <a:lnTo>
                    <a:pt x="149" y="444"/>
                  </a:lnTo>
                  <a:lnTo>
                    <a:pt x="147" y="448"/>
                  </a:lnTo>
                  <a:lnTo>
                    <a:pt x="147" y="451"/>
                  </a:lnTo>
                  <a:lnTo>
                    <a:pt x="146" y="455"/>
                  </a:lnTo>
                  <a:lnTo>
                    <a:pt x="146" y="458"/>
                  </a:lnTo>
                  <a:lnTo>
                    <a:pt x="147" y="458"/>
                  </a:lnTo>
                  <a:lnTo>
                    <a:pt x="147" y="459"/>
                  </a:lnTo>
                  <a:lnTo>
                    <a:pt x="147" y="462"/>
                  </a:lnTo>
                  <a:lnTo>
                    <a:pt x="149" y="462"/>
                  </a:lnTo>
                  <a:lnTo>
                    <a:pt x="152" y="458"/>
                  </a:lnTo>
                  <a:lnTo>
                    <a:pt x="153" y="457"/>
                  </a:lnTo>
                  <a:lnTo>
                    <a:pt x="153" y="455"/>
                  </a:lnTo>
                  <a:lnTo>
                    <a:pt x="155" y="458"/>
                  </a:lnTo>
                  <a:lnTo>
                    <a:pt x="156" y="457"/>
                  </a:lnTo>
                  <a:lnTo>
                    <a:pt x="158" y="455"/>
                  </a:lnTo>
                  <a:lnTo>
                    <a:pt x="159" y="455"/>
                  </a:lnTo>
                  <a:lnTo>
                    <a:pt x="163" y="454"/>
                  </a:lnTo>
                  <a:lnTo>
                    <a:pt x="168" y="452"/>
                  </a:lnTo>
                  <a:lnTo>
                    <a:pt x="168" y="455"/>
                  </a:lnTo>
                  <a:lnTo>
                    <a:pt x="165" y="458"/>
                  </a:lnTo>
                  <a:lnTo>
                    <a:pt x="165" y="459"/>
                  </a:lnTo>
                  <a:lnTo>
                    <a:pt x="163" y="461"/>
                  </a:lnTo>
                  <a:lnTo>
                    <a:pt x="162" y="468"/>
                  </a:lnTo>
                  <a:lnTo>
                    <a:pt x="163" y="471"/>
                  </a:lnTo>
                  <a:lnTo>
                    <a:pt x="159" y="474"/>
                  </a:lnTo>
                  <a:lnTo>
                    <a:pt x="156" y="477"/>
                  </a:lnTo>
                  <a:lnTo>
                    <a:pt x="153" y="480"/>
                  </a:lnTo>
                  <a:lnTo>
                    <a:pt x="155" y="485"/>
                  </a:lnTo>
                  <a:lnTo>
                    <a:pt x="156" y="488"/>
                  </a:lnTo>
                  <a:lnTo>
                    <a:pt x="159" y="490"/>
                  </a:lnTo>
                  <a:lnTo>
                    <a:pt x="160" y="490"/>
                  </a:lnTo>
                  <a:lnTo>
                    <a:pt x="165" y="485"/>
                  </a:lnTo>
                  <a:lnTo>
                    <a:pt x="166" y="488"/>
                  </a:lnTo>
                  <a:lnTo>
                    <a:pt x="163" y="490"/>
                  </a:lnTo>
                  <a:lnTo>
                    <a:pt x="160" y="491"/>
                  </a:lnTo>
                  <a:lnTo>
                    <a:pt x="160" y="494"/>
                  </a:lnTo>
                  <a:lnTo>
                    <a:pt x="165" y="492"/>
                  </a:lnTo>
                  <a:lnTo>
                    <a:pt x="168" y="491"/>
                  </a:lnTo>
                  <a:lnTo>
                    <a:pt x="170" y="492"/>
                  </a:lnTo>
                  <a:lnTo>
                    <a:pt x="169" y="494"/>
                  </a:lnTo>
                  <a:lnTo>
                    <a:pt x="166" y="494"/>
                  </a:lnTo>
                  <a:lnTo>
                    <a:pt x="163" y="495"/>
                  </a:lnTo>
                  <a:lnTo>
                    <a:pt x="162" y="497"/>
                  </a:lnTo>
                  <a:lnTo>
                    <a:pt x="162" y="498"/>
                  </a:lnTo>
                  <a:lnTo>
                    <a:pt x="166" y="498"/>
                  </a:lnTo>
                  <a:lnTo>
                    <a:pt x="169" y="500"/>
                  </a:lnTo>
                  <a:lnTo>
                    <a:pt x="166" y="501"/>
                  </a:lnTo>
                  <a:lnTo>
                    <a:pt x="163" y="501"/>
                  </a:lnTo>
                  <a:lnTo>
                    <a:pt x="162" y="502"/>
                  </a:lnTo>
                  <a:lnTo>
                    <a:pt x="162" y="505"/>
                  </a:lnTo>
                  <a:lnTo>
                    <a:pt x="163" y="505"/>
                  </a:lnTo>
                  <a:lnTo>
                    <a:pt x="166" y="505"/>
                  </a:lnTo>
                  <a:lnTo>
                    <a:pt x="168" y="505"/>
                  </a:lnTo>
                  <a:lnTo>
                    <a:pt x="169" y="504"/>
                  </a:lnTo>
                  <a:lnTo>
                    <a:pt x="166" y="508"/>
                  </a:lnTo>
                  <a:lnTo>
                    <a:pt x="166" y="511"/>
                  </a:lnTo>
                  <a:lnTo>
                    <a:pt x="168" y="518"/>
                  </a:lnTo>
                  <a:lnTo>
                    <a:pt x="165" y="515"/>
                  </a:lnTo>
                  <a:lnTo>
                    <a:pt x="162" y="512"/>
                  </a:lnTo>
                  <a:lnTo>
                    <a:pt x="156" y="521"/>
                  </a:lnTo>
                  <a:lnTo>
                    <a:pt x="152" y="527"/>
                  </a:lnTo>
                  <a:lnTo>
                    <a:pt x="156" y="533"/>
                  </a:lnTo>
                  <a:lnTo>
                    <a:pt x="166" y="535"/>
                  </a:lnTo>
                  <a:lnTo>
                    <a:pt x="173" y="540"/>
                  </a:lnTo>
                  <a:lnTo>
                    <a:pt x="173" y="550"/>
                  </a:lnTo>
                  <a:lnTo>
                    <a:pt x="170" y="561"/>
                  </a:lnTo>
                  <a:lnTo>
                    <a:pt x="170" y="571"/>
                  </a:lnTo>
                  <a:lnTo>
                    <a:pt x="172" y="578"/>
                  </a:lnTo>
                  <a:lnTo>
                    <a:pt x="170" y="583"/>
                  </a:lnTo>
                  <a:lnTo>
                    <a:pt x="169" y="588"/>
                  </a:lnTo>
                  <a:lnTo>
                    <a:pt x="170" y="601"/>
                  </a:lnTo>
                  <a:lnTo>
                    <a:pt x="172" y="604"/>
                  </a:lnTo>
                  <a:lnTo>
                    <a:pt x="175" y="611"/>
                  </a:lnTo>
                  <a:lnTo>
                    <a:pt x="178" y="617"/>
                  </a:lnTo>
                  <a:lnTo>
                    <a:pt x="182" y="627"/>
                  </a:lnTo>
                  <a:lnTo>
                    <a:pt x="186" y="637"/>
                  </a:lnTo>
                  <a:lnTo>
                    <a:pt x="188" y="650"/>
                  </a:lnTo>
                  <a:lnTo>
                    <a:pt x="190" y="656"/>
                  </a:lnTo>
                  <a:lnTo>
                    <a:pt x="195" y="669"/>
                  </a:lnTo>
                  <a:lnTo>
                    <a:pt x="200" y="673"/>
                  </a:lnTo>
                  <a:lnTo>
                    <a:pt x="205" y="680"/>
                  </a:lnTo>
                  <a:lnTo>
                    <a:pt x="208" y="687"/>
                  </a:lnTo>
                  <a:lnTo>
                    <a:pt x="212" y="703"/>
                  </a:lnTo>
                  <a:lnTo>
                    <a:pt x="213" y="710"/>
                  </a:lnTo>
                  <a:lnTo>
                    <a:pt x="216" y="723"/>
                  </a:lnTo>
                  <a:lnTo>
                    <a:pt x="216" y="734"/>
                  </a:lnTo>
                  <a:lnTo>
                    <a:pt x="216" y="742"/>
                  </a:lnTo>
                  <a:lnTo>
                    <a:pt x="219" y="747"/>
                  </a:lnTo>
                  <a:lnTo>
                    <a:pt x="221" y="755"/>
                  </a:lnTo>
                  <a:lnTo>
                    <a:pt x="222" y="760"/>
                  </a:lnTo>
                  <a:lnTo>
                    <a:pt x="226" y="766"/>
                  </a:lnTo>
                  <a:lnTo>
                    <a:pt x="231" y="772"/>
                  </a:lnTo>
                  <a:lnTo>
                    <a:pt x="232" y="777"/>
                  </a:lnTo>
                  <a:lnTo>
                    <a:pt x="235" y="782"/>
                  </a:lnTo>
                  <a:lnTo>
                    <a:pt x="239" y="785"/>
                  </a:lnTo>
                  <a:lnTo>
                    <a:pt x="241" y="789"/>
                  </a:lnTo>
                  <a:lnTo>
                    <a:pt x="243" y="793"/>
                  </a:lnTo>
                  <a:lnTo>
                    <a:pt x="245" y="797"/>
                  </a:lnTo>
                  <a:lnTo>
                    <a:pt x="248" y="800"/>
                  </a:lnTo>
                  <a:lnTo>
                    <a:pt x="252" y="803"/>
                  </a:lnTo>
                  <a:lnTo>
                    <a:pt x="255" y="806"/>
                  </a:lnTo>
                  <a:lnTo>
                    <a:pt x="258" y="806"/>
                  </a:lnTo>
                  <a:lnTo>
                    <a:pt x="262" y="809"/>
                  </a:lnTo>
                  <a:lnTo>
                    <a:pt x="266" y="815"/>
                  </a:lnTo>
                  <a:lnTo>
                    <a:pt x="274" y="820"/>
                  </a:lnTo>
                  <a:lnTo>
                    <a:pt x="278" y="825"/>
                  </a:lnTo>
                  <a:lnTo>
                    <a:pt x="288" y="828"/>
                  </a:lnTo>
                  <a:lnTo>
                    <a:pt x="306" y="839"/>
                  </a:lnTo>
                  <a:lnTo>
                    <a:pt x="318" y="848"/>
                  </a:lnTo>
                  <a:lnTo>
                    <a:pt x="325" y="850"/>
                  </a:lnTo>
                  <a:lnTo>
                    <a:pt x="327" y="852"/>
                  </a:lnTo>
                  <a:lnTo>
                    <a:pt x="329" y="852"/>
                  </a:lnTo>
                  <a:lnTo>
                    <a:pt x="335" y="852"/>
                  </a:lnTo>
                  <a:lnTo>
                    <a:pt x="341" y="850"/>
                  </a:lnTo>
                  <a:lnTo>
                    <a:pt x="347" y="850"/>
                  </a:lnTo>
                  <a:lnTo>
                    <a:pt x="351" y="852"/>
                  </a:lnTo>
                  <a:lnTo>
                    <a:pt x="354" y="853"/>
                  </a:lnTo>
                  <a:lnTo>
                    <a:pt x="361" y="856"/>
                  </a:lnTo>
                  <a:lnTo>
                    <a:pt x="367" y="858"/>
                  </a:lnTo>
                  <a:lnTo>
                    <a:pt x="372" y="859"/>
                  </a:lnTo>
                  <a:lnTo>
                    <a:pt x="378" y="856"/>
                  </a:lnTo>
                  <a:lnTo>
                    <a:pt x="380" y="856"/>
                  </a:lnTo>
                  <a:lnTo>
                    <a:pt x="385" y="855"/>
                  </a:lnTo>
                  <a:lnTo>
                    <a:pt x="388" y="858"/>
                  </a:lnTo>
                  <a:lnTo>
                    <a:pt x="392" y="856"/>
                  </a:lnTo>
                  <a:lnTo>
                    <a:pt x="397" y="853"/>
                  </a:lnTo>
                  <a:lnTo>
                    <a:pt x="407" y="853"/>
                  </a:lnTo>
                  <a:lnTo>
                    <a:pt x="411" y="855"/>
                  </a:lnTo>
                  <a:lnTo>
                    <a:pt x="415" y="853"/>
                  </a:lnTo>
                  <a:lnTo>
                    <a:pt x="420" y="855"/>
                  </a:lnTo>
                  <a:lnTo>
                    <a:pt x="424" y="855"/>
                  </a:lnTo>
                  <a:lnTo>
                    <a:pt x="428" y="853"/>
                  </a:lnTo>
                  <a:lnTo>
                    <a:pt x="435" y="855"/>
                  </a:lnTo>
                  <a:lnTo>
                    <a:pt x="440" y="856"/>
                  </a:lnTo>
                  <a:lnTo>
                    <a:pt x="443" y="853"/>
                  </a:lnTo>
                  <a:lnTo>
                    <a:pt x="447" y="855"/>
                  </a:lnTo>
                  <a:lnTo>
                    <a:pt x="451" y="853"/>
                  </a:lnTo>
                  <a:lnTo>
                    <a:pt x="455" y="852"/>
                  </a:lnTo>
                  <a:lnTo>
                    <a:pt x="458" y="849"/>
                  </a:lnTo>
                  <a:lnTo>
                    <a:pt x="460" y="846"/>
                  </a:lnTo>
                  <a:lnTo>
                    <a:pt x="463" y="846"/>
                  </a:lnTo>
                  <a:lnTo>
                    <a:pt x="465" y="845"/>
                  </a:lnTo>
                  <a:lnTo>
                    <a:pt x="467" y="845"/>
                  </a:lnTo>
                  <a:lnTo>
                    <a:pt x="470" y="845"/>
                  </a:lnTo>
                  <a:lnTo>
                    <a:pt x="470" y="843"/>
                  </a:lnTo>
                  <a:lnTo>
                    <a:pt x="471" y="838"/>
                  </a:lnTo>
                  <a:lnTo>
                    <a:pt x="474" y="836"/>
                  </a:lnTo>
                  <a:lnTo>
                    <a:pt x="475" y="839"/>
                  </a:lnTo>
                  <a:lnTo>
                    <a:pt x="477" y="842"/>
                  </a:lnTo>
                  <a:lnTo>
                    <a:pt x="478" y="840"/>
                  </a:lnTo>
                  <a:lnTo>
                    <a:pt x="481" y="840"/>
                  </a:lnTo>
                  <a:lnTo>
                    <a:pt x="483" y="838"/>
                  </a:lnTo>
                  <a:lnTo>
                    <a:pt x="485" y="835"/>
                  </a:lnTo>
                  <a:lnTo>
                    <a:pt x="488" y="833"/>
                  </a:lnTo>
                  <a:lnTo>
                    <a:pt x="491" y="833"/>
                  </a:lnTo>
                  <a:lnTo>
                    <a:pt x="493" y="830"/>
                  </a:lnTo>
                  <a:lnTo>
                    <a:pt x="494" y="828"/>
                  </a:lnTo>
                  <a:lnTo>
                    <a:pt x="497" y="826"/>
                  </a:lnTo>
                  <a:lnTo>
                    <a:pt x="500" y="825"/>
                  </a:lnTo>
                  <a:lnTo>
                    <a:pt x="501" y="823"/>
                  </a:lnTo>
                  <a:lnTo>
                    <a:pt x="503" y="822"/>
                  </a:lnTo>
                  <a:lnTo>
                    <a:pt x="503" y="818"/>
                  </a:lnTo>
                  <a:lnTo>
                    <a:pt x="500" y="815"/>
                  </a:lnTo>
                  <a:lnTo>
                    <a:pt x="498" y="813"/>
                  </a:lnTo>
                  <a:lnTo>
                    <a:pt x="498" y="809"/>
                  </a:lnTo>
                  <a:lnTo>
                    <a:pt x="501" y="806"/>
                  </a:lnTo>
                  <a:lnTo>
                    <a:pt x="508" y="802"/>
                  </a:lnTo>
                  <a:lnTo>
                    <a:pt x="516" y="796"/>
                  </a:lnTo>
                  <a:lnTo>
                    <a:pt x="518" y="793"/>
                  </a:lnTo>
                  <a:lnTo>
                    <a:pt x="521" y="789"/>
                  </a:lnTo>
                  <a:lnTo>
                    <a:pt x="523" y="786"/>
                  </a:lnTo>
                  <a:lnTo>
                    <a:pt x="521" y="782"/>
                  </a:lnTo>
                  <a:lnTo>
                    <a:pt x="523" y="779"/>
                  </a:lnTo>
                  <a:lnTo>
                    <a:pt x="524" y="777"/>
                  </a:lnTo>
                  <a:lnTo>
                    <a:pt x="528" y="775"/>
                  </a:lnTo>
                  <a:lnTo>
                    <a:pt x="531" y="773"/>
                  </a:lnTo>
                  <a:lnTo>
                    <a:pt x="533" y="770"/>
                  </a:lnTo>
                  <a:lnTo>
                    <a:pt x="536" y="767"/>
                  </a:lnTo>
                  <a:lnTo>
                    <a:pt x="541" y="766"/>
                  </a:lnTo>
                  <a:lnTo>
                    <a:pt x="543" y="765"/>
                  </a:lnTo>
                  <a:lnTo>
                    <a:pt x="546" y="763"/>
                  </a:lnTo>
                  <a:lnTo>
                    <a:pt x="549" y="760"/>
                  </a:lnTo>
                  <a:lnTo>
                    <a:pt x="550" y="757"/>
                  </a:lnTo>
                  <a:lnTo>
                    <a:pt x="550" y="757"/>
                  </a:lnTo>
                  <a:lnTo>
                    <a:pt x="553" y="753"/>
                  </a:lnTo>
                  <a:lnTo>
                    <a:pt x="553" y="750"/>
                  </a:lnTo>
                  <a:lnTo>
                    <a:pt x="551" y="747"/>
                  </a:lnTo>
                  <a:lnTo>
                    <a:pt x="549" y="744"/>
                  </a:lnTo>
                  <a:lnTo>
                    <a:pt x="546" y="743"/>
                  </a:lnTo>
                  <a:lnTo>
                    <a:pt x="547" y="742"/>
                  </a:lnTo>
                  <a:lnTo>
                    <a:pt x="547" y="740"/>
                  </a:lnTo>
                  <a:lnTo>
                    <a:pt x="547" y="736"/>
                  </a:lnTo>
                  <a:lnTo>
                    <a:pt x="547" y="732"/>
                  </a:lnTo>
                  <a:lnTo>
                    <a:pt x="547" y="726"/>
                  </a:lnTo>
                  <a:lnTo>
                    <a:pt x="547" y="724"/>
                  </a:lnTo>
                  <a:lnTo>
                    <a:pt x="543" y="726"/>
                  </a:lnTo>
                  <a:lnTo>
                    <a:pt x="538" y="726"/>
                  </a:lnTo>
                  <a:lnTo>
                    <a:pt x="538" y="722"/>
                  </a:lnTo>
                  <a:lnTo>
                    <a:pt x="536" y="720"/>
                  </a:lnTo>
                  <a:lnTo>
                    <a:pt x="536" y="719"/>
                  </a:lnTo>
                  <a:lnTo>
                    <a:pt x="538" y="713"/>
                  </a:lnTo>
                  <a:lnTo>
                    <a:pt x="540" y="709"/>
                  </a:lnTo>
                  <a:lnTo>
                    <a:pt x="541" y="707"/>
                  </a:lnTo>
                  <a:lnTo>
                    <a:pt x="543" y="707"/>
                  </a:lnTo>
                  <a:lnTo>
                    <a:pt x="543" y="707"/>
                  </a:lnTo>
                  <a:lnTo>
                    <a:pt x="546" y="712"/>
                  </a:lnTo>
                  <a:lnTo>
                    <a:pt x="549" y="709"/>
                  </a:lnTo>
                  <a:lnTo>
                    <a:pt x="550" y="703"/>
                  </a:lnTo>
                  <a:lnTo>
                    <a:pt x="547" y="702"/>
                  </a:lnTo>
                  <a:lnTo>
                    <a:pt x="549" y="700"/>
                  </a:lnTo>
                  <a:lnTo>
                    <a:pt x="550" y="697"/>
                  </a:lnTo>
                  <a:lnTo>
                    <a:pt x="550" y="693"/>
                  </a:lnTo>
                  <a:lnTo>
                    <a:pt x="550" y="689"/>
                  </a:lnTo>
                  <a:lnTo>
                    <a:pt x="553" y="683"/>
                  </a:lnTo>
                  <a:lnTo>
                    <a:pt x="553" y="680"/>
                  </a:lnTo>
                  <a:lnTo>
                    <a:pt x="550" y="679"/>
                  </a:lnTo>
                  <a:lnTo>
                    <a:pt x="550" y="674"/>
                  </a:lnTo>
                  <a:lnTo>
                    <a:pt x="553" y="670"/>
                  </a:lnTo>
                  <a:lnTo>
                    <a:pt x="556" y="666"/>
                  </a:lnTo>
                  <a:lnTo>
                    <a:pt x="557" y="663"/>
                  </a:lnTo>
                  <a:lnTo>
                    <a:pt x="560" y="654"/>
                  </a:lnTo>
                  <a:lnTo>
                    <a:pt x="560" y="650"/>
                  </a:lnTo>
                  <a:lnTo>
                    <a:pt x="559" y="649"/>
                  </a:lnTo>
                  <a:lnTo>
                    <a:pt x="556" y="656"/>
                  </a:lnTo>
                  <a:lnTo>
                    <a:pt x="554" y="661"/>
                  </a:lnTo>
                  <a:lnTo>
                    <a:pt x="550" y="666"/>
                  </a:lnTo>
                  <a:lnTo>
                    <a:pt x="549" y="666"/>
                  </a:lnTo>
                  <a:lnTo>
                    <a:pt x="549" y="666"/>
                  </a:lnTo>
                  <a:lnTo>
                    <a:pt x="544" y="661"/>
                  </a:lnTo>
                  <a:lnTo>
                    <a:pt x="541" y="657"/>
                  </a:lnTo>
                  <a:lnTo>
                    <a:pt x="541" y="656"/>
                  </a:lnTo>
                  <a:lnTo>
                    <a:pt x="537" y="654"/>
                  </a:lnTo>
                  <a:lnTo>
                    <a:pt x="538" y="647"/>
                  </a:lnTo>
                  <a:lnTo>
                    <a:pt x="538" y="637"/>
                  </a:lnTo>
                  <a:lnTo>
                    <a:pt x="538" y="631"/>
                  </a:lnTo>
                  <a:lnTo>
                    <a:pt x="540" y="630"/>
                  </a:lnTo>
                  <a:lnTo>
                    <a:pt x="543" y="626"/>
                  </a:lnTo>
                  <a:lnTo>
                    <a:pt x="543" y="620"/>
                  </a:lnTo>
                  <a:lnTo>
                    <a:pt x="543" y="617"/>
                  </a:lnTo>
                  <a:lnTo>
                    <a:pt x="540" y="616"/>
                  </a:lnTo>
                  <a:lnTo>
                    <a:pt x="541" y="614"/>
                  </a:lnTo>
                  <a:lnTo>
                    <a:pt x="541" y="610"/>
                  </a:lnTo>
                  <a:lnTo>
                    <a:pt x="543" y="607"/>
                  </a:lnTo>
                  <a:lnTo>
                    <a:pt x="543" y="604"/>
                  </a:lnTo>
                  <a:lnTo>
                    <a:pt x="546" y="598"/>
                  </a:lnTo>
                  <a:lnTo>
                    <a:pt x="549" y="596"/>
                  </a:lnTo>
                  <a:lnTo>
                    <a:pt x="547" y="590"/>
                  </a:lnTo>
                  <a:lnTo>
                    <a:pt x="547" y="580"/>
                  </a:lnTo>
                  <a:lnTo>
                    <a:pt x="547" y="574"/>
                  </a:lnTo>
                  <a:lnTo>
                    <a:pt x="546" y="573"/>
                  </a:lnTo>
                  <a:lnTo>
                    <a:pt x="544" y="570"/>
                  </a:lnTo>
                  <a:lnTo>
                    <a:pt x="541" y="568"/>
                  </a:lnTo>
                  <a:lnTo>
                    <a:pt x="541" y="571"/>
                  </a:lnTo>
                  <a:lnTo>
                    <a:pt x="538" y="575"/>
                  </a:lnTo>
                  <a:lnTo>
                    <a:pt x="540" y="583"/>
                  </a:lnTo>
                  <a:lnTo>
                    <a:pt x="540" y="586"/>
                  </a:lnTo>
                  <a:lnTo>
                    <a:pt x="538" y="588"/>
                  </a:lnTo>
                  <a:lnTo>
                    <a:pt x="538" y="588"/>
                  </a:lnTo>
                  <a:lnTo>
                    <a:pt x="538" y="584"/>
                  </a:lnTo>
                  <a:lnTo>
                    <a:pt x="537" y="578"/>
                  </a:lnTo>
                  <a:lnTo>
                    <a:pt x="537" y="575"/>
                  </a:lnTo>
                  <a:lnTo>
                    <a:pt x="537" y="573"/>
                  </a:lnTo>
                  <a:lnTo>
                    <a:pt x="537" y="568"/>
                  </a:lnTo>
                  <a:lnTo>
                    <a:pt x="537" y="567"/>
                  </a:lnTo>
                  <a:lnTo>
                    <a:pt x="536" y="565"/>
                  </a:lnTo>
                  <a:lnTo>
                    <a:pt x="537" y="563"/>
                  </a:lnTo>
                  <a:lnTo>
                    <a:pt x="540" y="561"/>
                  </a:lnTo>
                  <a:lnTo>
                    <a:pt x="543" y="558"/>
                  </a:lnTo>
                  <a:lnTo>
                    <a:pt x="544" y="555"/>
                  </a:lnTo>
                  <a:lnTo>
                    <a:pt x="546" y="554"/>
                  </a:lnTo>
                  <a:lnTo>
                    <a:pt x="544" y="554"/>
                  </a:lnTo>
                  <a:lnTo>
                    <a:pt x="543" y="553"/>
                  </a:lnTo>
                  <a:lnTo>
                    <a:pt x="543" y="550"/>
                  </a:lnTo>
                  <a:lnTo>
                    <a:pt x="546" y="548"/>
                  </a:lnTo>
                  <a:lnTo>
                    <a:pt x="546" y="544"/>
                  </a:lnTo>
                  <a:lnTo>
                    <a:pt x="546" y="543"/>
                  </a:lnTo>
                  <a:lnTo>
                    <a:pt x="547" y="540"/>
                  </a:lnTo>
                  <a:lnTo>
                    <a:pt x="547" y="535"/>
                  </a:lnTo>
                  <a:lnTo>
                    <a:pt x="547" y="533"/>
                  </a:lnTo>
                  <a:lnTo>
                    <a:pt x="550" y="531"/>
                  </a:lnTo>
                  <a:lnTo>
                    <a:pt x="550" y="530"/>
                  </a:lnTo>
                  <a:lnTo>
                    <a:pt x="549" y="527"/>
                  </a:lnTo>
                  <a:lnTo>
                    <a:pt x="549" y="524"/>
                  </a:lnTo>
                  <a:lnTo>
                    <a:pt x="551" y="524"/>
                  </a:lnTo>
                  <a:lnTo>
                    <a:pt x="553" y="524"/>
                  </a:lnTo>
                  <a:lnTo>
                    <a:pt x="553" y="521"/>
                  </a:lnTo>
                  <a:lnTo>
                    <a:pt x="554" y="518"/>
                  </a:lnTo>
                  <a:lnTo>
                    <a:pt x="554" y="514"/>
                  </a:lnTo>
                  <a:lnTo>
                    <a:pt x="554" y="514"/>
                  </a:lnTo>
                  <a:lnTo>
                    <a:pt x="556" y="511"/>
                  </a:lnTo>
                  <a:lnTo>
                    <a:pt x="554" y="508"/>
                  </a:lnTo>
                  <a:lnTo>
                    <a:pt x="553" y="505"/>
                  </a:lnTo>
                  <a:lnTo>
                    <a:pt x="554" y="502"/>
                  </a:lnTo>
                  <a:lnTo>
                    <a:pt x="556" y="504"/>
                  </a:lnTo>
                  <a:lnTo>
                    <a:pt x="557" y="498"/>
                  </a:lnTo>
                  <a:lnTo>
                    <a:pt x="559" y="490"/>
                  </a:lnTo>
                  <a:lnTo>
                    <a:pt x="559" y="487"/>
                  </a:lnTo>
                  <a:lnTo>
                    <a:pt x="560" y="484"/>
                  </a:lnTo>
                  <a:lnTo>
                    <a:pt x="560" y="481"/>
                  </a:lnTo>
                  <a:lnTo>
                    <a:pt x="559" y="475"/>
                  </a:lnTo>
                  <a:lnTo>
                    <a:pt x="559" y="472"/>
                  </a:lnTo>
                  <a:lnTo>
                    <a:pt x="560" y="467"/>
                  </a:lnTo>
                  <a:lnTo>
                    <a:pt x="559" y="464"/>
                  </a:lnTo>
                  <a:lnTo>
                    <a:pt x="560" y="461"/>
                  </a:lnTo>
                  <a:lnTo>
                    <a:pt x="561" y="458"/>
                  </a:lnTo>
                  <a:lnTo>
                    <a:pt x="561" y="455"/>
                  </a:lnTo>
                  <a:lnTo>
                    <a:pt x="560" y="452"/>
                  </a:lnTo>
                  <a:lnTo>
                    <a:pt x="561" y="448"/>
                  </a:lnTo>
                  <a:lnTo>
                    <a:pt x="563" y="445"/>
                  </a:lnTo>
                  <a:lnTo>
                    <a:pt x="563" y="441"/>
                  </a:lnTo>
                  <a:lnTo>
                    <a:pt x="563" y="437"/>
                  </a:lnTo>
                  <a:lnTo>
                    <a:pt x="563" y="431"/>
                  </a:lnTo>
                  <a:lnTo>
                    <a:pt x="563" y="425"/>
                  </a:lnTo>
                  <a:lnTo>
                    <a:pt x="563" y="424"/>
                  </a:lnTo>
                  <a:lnTo>
                    <a:pt x="563" y="421"/>
                  </a:lnTo>
                  <a:lnTo>
                    <a:pt x="563" y="419"/>
                  </a:lnTo>
                  <a:lnTo>
                    <a:pt x="566" y="414"/>
                  </a:lnTo>
                  <a:lnTo>
                    <a:pt x="566" y="409"/>
                  </a:lnTo>
                  <a:lnTo>
                    <a:pt x="564" y="404"/>
                  </a:lnTo>
                  <a:lnTo>
                    <a:pt x="561" y="401"/>
                  </a:lnTo>
                  <a:lnTo>
                    <a:pt x="563" y="396"/>
                  </a:lnTo>
                  <a:lnTo>
                    <a:pt x="563" y="392"/>
                  </a:lnTo>
                  <a:lnTo>
                    <a:pt x="564" y="389"/>
                  </a:lnTo>
                  <a:lnTo>
                    <a:pt x="566" y="388"/>
                  </a:lnTo>
                  <a:lnTo>
                    <a:pt x="567" y="382"/>
                  </a:lnTo>
                  <a:lnTo>
                    <a:pt x="564" y="381"/>
                  </a:lnTo>
                  <a:lnTo>
                    <a:pt x="563" y="378"/>
                  </a:lnTo>
                  <a:lnTo>
                    <a:pt x="563" y="372"/>
                  </a:lnTo>
                  <a:lnTo>
                    <a:pt x="561" y="371"/>
                  </a:lnTo>
                  <a:lnTo>
                    <a:pt x="560" y="369"/>
                  </a:lnTo>
                  <a:lnTo>
                    <a:pt x="563" y="366"/>
                  </a:lnTo>
                  <a:lnTo>
                    <a:pt x="564" y="362"/>
                  </a:lnTo>
                  <a:lnTo>
                    <a:pt x="564" y="358"/>
                  </a:lnTo>
                  <a:lnTo>
                    <a:pt x="563" y="356"/>
                  </a:lnTo>
                  <a:lnTo>
                    <a:pt x="559" y="358"/>
                  </a:lnTo>
                  <a:lnTo>
                    <a:pt x="559" y="358"/>
                  </a:lnTo>
                  <a:lnTo>
                    <a:pt x="561" y="355"/>
                  </a:lnTo>
                  <a:lnTo>
                    <a:pt x="563" y="351"/>
                  </a:lnTo>
                  <a:lnTo>
                    <a:pt x="563" y="346"/>
                  </a:lnTo>
                  <a:lnTo>
                    <a:pt x="560" y="343"/>
                  </a:lnTo>
                  <a:lnTo>
                    <a:pt x="559" y="341"/>
                  </a:lnTo>
                  <a:lnTo>
                    <a:pt x="559" y="332"/>
                  </a:lnTo>
                  <a:lnTo>
                    <a:pt x="559" y="328"/>
                  </a:lnTo>
                  <a:lnTo>
                    <a:pt x="557" y="325"/>
                  </a:lnTo>
                  <a:lnTo>
                    <a:pt x="556" y="322"/>
                  </a:lnTo>
                  <a:lnTo>
                    <a:pt x="553" y="319"/>
                  </a:lnTo>
                  <a:lnTo>
                    <a:pt x="551" y="316"/>
                  </a:lnTo>
                  <a:lnTo>
                    <a:pt x="550" y="316"/>
                  </a:lnTo>
                  <a:lnTo>
                    <a:pt x="549" y="319"/>
                  </a:lnTo>
                  <a:lnTo>
                    <a:pt x="550" y="323"/>
                  </a:lnTo>
                  <a:lnTo>
                    <a:pt x="549" y="325"/>
                  </a:lnTo>
                  <a:lnTo>
                    <a:pt x="538" y="323"/>
                  </a:lnTo>
                  <a:lnTo>
                    <a:pt x="538" y="322"/>
                  </a:lnTo>
                  <a:lnTo>
                    <a:pt x="543" y="319"/>
                  </a:lnTo>
                  <a:lnTo>
                    <a:pt x="543" y="316"/>
                  </a:lnTo>
                  <a:lnTo>
                    <a:pt x="541" y="313"/>
                  </a:lnTo>
                  <a:lnTo>
                    <a:pt x="540" y="313"/>
                  </a:lnTo>
                  <a:lnTo>
                    <a:pt x="534" y="312"/>
                  </a:lnTo>
                  <a:lnTo>
                    <a:pt x="534" y="311"/>
                  </a:lnTo>
                  <a:lnTo>
                    <a:pt x="537" y="309"/>
                  </a:lnTo>
                  <a:lnTo>
                    <a:pt x="536" y="305"/>
                  </a:lnTo>
                  <a:lnTo>
                    <a:pt x="534" y="303"/>
                  </a:lnTo>
                  <a:lnTo>
                    <a:pt x="531" y="299"/>
                  </a:lnTo>
                  <a:lnTo>
                    <a:pt x="531" y="298"/>
                  </a:lnTo>
                  <a:lnTo>
                    <a:pt x="531" y="292"/>
                  </a:lnTo>
                  <a:lnTo>
                    <a:pt x="531" y="288"/>
                  </a:lnTo>
                  <a:lnTo>
                    <a:pt x="531" y="283"/>
                  </a:lnTo>
                  <a:lnTo>
                    <a:pt x="531" y="279"/>
                  </a:lnTo>
                  <a:lnTo>
                    <a:pt x="531" y="276"/>
                  </a:lnTo>
                  <a:lnTo>
                    <a:pt x="531" y="272"/>
                  </a:lnTo>
                  <a:lnTo>
                    <a:pt x="530" y="268"/>
                  </a:lnTo>
                  <a:lnTo>
                    <a:pt x="528" y="263"/>
                  </a:lnTo>
                  <a:lnTo>
                    <a:pt x="528" y="262"/>
                  </a:lnTo>
                  <a:lnTo>
                    <a:pt x="526" y="258"/>
                  </a:lnTo>
                  <a:lnTo>
                    <a:pt x="523" y="253"/>
                  </a:lnTo>
                  <a:lnTo>
                    <a:pt x="520" y="250"/>
                  </a:lnTo>
                  <a:lnTo>
                    <a:pt x="516" y="248"/>
                  </a:lnTo>
                  <a:lnTo>
                    <a:pt x="514" y="246"/>
                  </a:lnTo>
                  <a:lnTo>
                    <a:pt x="510" y="243"/>
                  </a:lnTo>
                  <a:lnTo>
                    <a:pt x="510" y="240"/>
                  </a:lnTo>
                  <a:lnTo>
                    <a:pt x="511" y="240"/>
                  </a:lnTo>
                  <a:lnTo>
                    <a:pt x="511" y="239"/>
                  </a:lnTo>
                  <a:lnTo>
                    <a:pt x="510" y="237"/>
                  </a:lnTo>
                  <a:lnTo>
                    <a:pt x="508" y="235"/>
                  </a:lnTo>
                  <a:lnTo>
                    <a:pt x="504" y="235"/>
                  </a:lnTo>
                  <a:lnTo>
                    <a:pt x="503" y="237"/>
                  </a:lnTo>
                  <a:lnTo>
                    <a:pt x="503" y="240"/>
                  </a:lnTo>
                  <a:lnTo>
                    <a:pt x="498" y="240"/>
                  </a:lnTo>
                  <a:lnTo>
                    <a:pt x="497" y="240"/>
                  </a:lnTo>
                  <a:lnTo>
                    <a:pt x="493" y="245"/>
                  </a:lnTo>
                  <a:lnTo>
                    <a:pt x="490" y="246"/>
                  </a:lnTo>
                  <a:lnTo>
                    <a:pt x="484" y="246"/>
                  </a:lnTo>
                  <a:lnTo>
                    <a:pt x="478" y="245"/>
                  </a:lnTo>
                  <a:lnTo>
                    <a:pt x="474" y="248"/>
                  </a:lnTo>
                  <a:lnTo>
                    <a:pt x="470" y="240"/>
                  </a:lnTo>
                  <a:lnTo>
                    <a:pt x="460" y="237"/>
                  </a:lnTo>
                  <a:lnTo>
                    <a:pt x="451" y="236"/>
                  </a:lnTo>
                  <a:lnTo>
                    <a:pt x="441" y="240"/>
                  </a:lnTo>
                  <a:lnTo>
                    <a:pt x="437" y="242"/>
                  </a:lnTo>
                  <a:lnTo>
                    <a:pt x="438" y="237"/>
                  </a:lnTo>
                  <a:lnTo>
                    <a:pt x="445" y="233"/>
                  </a:lnTo>
                  <a:lnTo>
                    <a:pt x="455" y="232"/>
                  </a:lnTo>
                  <a:lnTo>
                    <a:pt x="463" y="235"/>
                  </a:lnTo>
                  <a:lnTo>
                    <a:pt x="471" y="239"/>
                  </a:lnTo>
                  <a:lnTo>
                    <a:pt x="478" y="242"/>
                  </a:lnTo>
                  <a:lnTo>
                    <a:pt x="485" y="240"/>
                  </a:lnTo>
                  <a:lnTo>
                    <a:pt x="488" y="239"/>
                  </a:lnTo>
                  <a:lnTo>
                    <a:pt x="490" y="232"/>
                  </a:lnTo>
                  <a:lnTo>
                    <a:pt x="488" y="229"/>
                  </a:lnTo>
                  <a:lnTo>
                    <a:pt x="490" y="229"/>
                  </a:lnTo>
                  <a:lnTo>
                    <a:pt x="494" y="232"/>
                  </a:lnTo>
                  <a:lnTo>
                    <a:pt x="498" y="235"/>
                  </a:lnTo>
                  <a:lnTo>
                    <a:pt x="501" y="232"/>
                  </a:lnTo>
                  <a:lnTo>
                    <a:pt x="497" y="227"/>
                  </a:lnTo>
                  <a:lnTo>
                    <a:pt x="491" y="223"/>
                  </a:lnTo>
                  <a:lnTo>
                    <a:pt x="488" y="222"/>
                  </a:lnTo>
                  <a:lnTo>
                    <a:pt x="491" y="222"/>
                  </a:lnTo>
                  <a:lnTo>
                    <a:pt x="497" y="222"/>
                  </a:lnTo>
                  <a:lnTo>
                    <a:pt x="500" y="225"/>
                  </a:lnTo>
                  <a:lnTo>
                    <a:pt x="501" y="226"/>
                  </a:lnTo>
                  <a:lnTo>
                    <a:pt x="510" y="227"/>
                  </a:lnTo>
                  <a:lnTo>
                    <a:pt x="511" y="227"/>
                  </a:lnTo>
                  <a:lnTo>
                    <a:pt x="514" y="225"/>
                  </a:lnTo>
                  <a:lnTo>
                    <a:pt x="520" y="220"/>
                  </a:lnTo>
                  <a:lnTo>
                    <a:pt x="523" y="216"/>
                  </a:lnTo>
                  <a:lnTo>
                    <a:pt x="520" y="215"/>
                  </a:lnTo>
                  <a:lnTo>
                    <a:pt x="516" y="213"/>
                  </a:lnTo>
                  <a:lnTo>
                    <a:pt x="516" y="212"/>
                  </a:lnTo>
                  <a:lnTo>
                    <a:pt x="513" y="209"/>
                  </a:lnTo>
                  <a:lnTo>
                    <a:pt x="510" y="207"/>
                  </a:lnTo>
                  <a:lnTo>
                    <a:pt x="508" y="205"/>
                  </a:lnTo>
                  <a:lnTo>
                    <a:pt x="504" y="205"/>
                  </a:lnTo>
                  <a:lnTo>
                    <a:pt x="503" y="203"/>
                  </a:lnTo>
                  <a:lnTo>
                    <a:pt x="498" y="200"/>
                  </a:lnTo>
                  <a:lnTo>
                    <a:pt x="494" y="200"/>
                  </a:lnTo>
                  <a:lnTo>
                    <a:pt x="491" y="200"/>
                  </a:lnTo>
                  <a:lnTo>
                    <a:pt x="488" y="202"/>
                  </a:lnTo>
                  <a:lnTo>
                    <a:pt x="487" y="200"/>
                  </a:lnTo>
                  <a:lnTo>
                    <a:pt x="485" y="199"/>
                  </a:lnTo>
                  <a:lnTo>
                    <a:pt x="484" y="197"/>
                  </a:lnTo>
                  <a:lnTo>
                    <a:pt x="484" y="196"/>
                  </a:lnTo>
                  <a:lnTo>
                    <a:pt x="488" y="195"/>
                  </a:lnTo>
                  <a:lnTo>
                    <a:pt x="497" y="196"/>
                  </a:lnTo>
                  <a:lnTo>
                    <a:pt x="503" y="197"/>
                  </a:lnTo>
                  <a:lnTo>
                    <a:pt x="510" y="197"/>
                  </a:lnTo>
                  <a:lnTo>
                    <a:pt x="511" y="195"/>
                  </a:lnTo>
                  <a:lnTo>
                    <a:pt x="511" y="192"/>
                  </a:lnTo>
                  <a:lnTo>
                    <a:pt x="508" y="189"/>
                  </a:lnTo>
                  <a:lnTo>
                    <a:pt x="504" y="189"/>
                  </a:lnTo>
                  <a:lnTo>
                    <a:pt x="501" y="186"/>
                  </a:lnTo>
                  <a:lnTo>
                    <a:pt x="504" y="186"/>
                  </a:lnTo>
                  <a:lnTo>
                    <a:pt x="508" y="182"/>
                  </a:lnTo>
                  <a:lnTo>
                    <a:pt x="508" y="177"/>
                  </a:lnTo>
                  <a:lnTo>
                    <a:pt x="508" y="176"/>
                  </a:lnTo>
                  <a:lnTo>
                    <a:pt x="504" y="174"/>
                  </a:lnTo>
                  <a:lnTo>
                    <a:pt x="503" y="172"/>
                  </a:lnTo>
                  <a:lnTo>
                    <a:pt x="501" y="166"/>
                  </a:lnTo>
                  <a:lnTo>
                    <a:pt x="496" y="163"/>
                  </a:lnTo>
                  <a:lnTo>
                    <a:pt x="493" y="164"/>
                  </a:lnTo>
                  <a:lnTo>
                    <a:pt x="488" y="162"/>
                  </a:lnTo>
                  <a:lnTo>
                    <a:pt x="483" y="159"/>
                  </a:lnTo>
                  <a:lnTo>
                    <a:pt x="484" y="157"/>
                  </a:lnTo>
                  <a:lnTo>
                    <a:pt x="488" y="160"/>
                  </a:lnTo>
                  <a:lnTo>
                    <a:pt x="498" y="162"/>
                  </a:lnTo>
                  <a:lnTo>
                    <a:pt x="501" y="157"/>
                  </a:lnTo>
                  <a:lnTo>
                    <a:pt x="504" y="156"/>
                  </a:lnTo>
                  <a:lnTo>
                    <a:pt x="507" y="154"/>
                  </a:lnTo>
                  <a:lnTo>
                    <a:pt x="508" y="144"/>
                  </a:lnTo>
                  <a:lnTo>
                    <a:pt x="507" y="139"/>
                  </a:lnTo>
                  <a:lnTo>
                    <a:pt x="504" y="136"/>
                  </a:lnTo>
                  <a:lnTo>
                    <a:pt x="498" y="133"/>
                  </a:lnTo>
                  <a:lnTo>
                    <a:pt x="500" y="132"/>
                  </a:lnTo>
                  <a:lnTo>
                    <a:pt x="506" y="132"/>
                  </a:lnTo>
                  <a:lnTo>
                    <a:pt x="508" y="129"/>
                  </a:lnTo>
                  <a:lnTo>
                    <a:pt x="513" y="127"/>
                  </a:lnTo>
                  <a:lnTo>
                    <a:pt x="517" y="127"/>
                  </a:lnTo>
                  <a:lnTo>
                    <a:pt x="523" y="121"/>
                  </a:lnTo>
                  <a:lnTo>
                    <a:pt x="524" y="123"/>
                  </a:lnTo>
                  <a:lnTo>
                    <a:pt x="523" y="130"/>
                  </a:lnTo>
                  <a:lnTo>
                    <a:pt x="518" y="132"/>
                  </a:lnTo>
                  <a:lnTo>
                    <a:pt x="513" y="136"/>
                  </a:lnTo>
                  <a:lnTo>
                    <a:pt x="513" y="142"/>
                  </a:lnTo>
                  <a:lnTo>
                    <a:pt x="517" y="144"/>
                  </a:lnTo>
                  <a:lnTo>
                    <a:pt x="518" y="149"/>
                  </a:lnTo>
                  <a:lnTo>
                    <a:pt x="517" y="154"/>
                  </a:lnTo>
                  <a:lnTo>
                    <a:pt x="518" y="160"/>
                  </a:lnTo>
                  <a:lnTo>
                    <a:pt x="520" y="164"/>
                  </a:lnTo>
                  <a:lnTo>
                    <a:pt x="521" y="176"/>
                  </a:lnTo>
                  <a:lnTo>
                    <a:pt x="526" y="180"/>
                  </a:lnTo>
                  <a:lnTo>
                    <a:pt x="534" y="180"/>
                  </a:lnTo>
                  <a:lnTo>
                    <a:pt x="540" y="182"/>
                  </a:lnTo>
                  <a:lnTo>
                    <a:pt x="544" y="179"/>
                  </a:lnTo>
                  <a:lnTo>
                    <a:pt x="549" y="176"/>
                  </a:lnTo>
                  <a:lnTo>
                    <a:pt x="553" y="177"/>
                  </a:lnTo>
                  <a:lnTo>
                    <a:pt x="556" y="173"/>
                  </a:lnTo>
                  <a:lnTo>
                    <a:pt x="556" y="172"/>
                  </a:lnTo>
                  <a:lnTo>
                    <a:pt x="554" y="167"/>
                  </a:lnTo>
                  <a:lnTo>
                    <a:pt x="553" y="157"/>
                  </a:lnTo>
                  <a:lnTo>
                    <a:pt x="551" y="150"/>
                  </a:lnTo>
                  <a:lnTo>
                    <a:pt x="550" y="147"/>
                  </a:lnTo>
                  <a:lnTo>
                    <a:pt x="547" y="143"/>
                  </a:lnTo>
                  <a:lnTo>
                    <a:pt x="546" y="140"/>
                  </a:lnTo>
                  <a:lnTo>
                    <a:pt x="544" y="136"/>
                  </a:lnTo>
                  <a:lnTo>
                    <a:pt x="550" y="134"/>
                  </a:lnTo>
                  <a:lnTo>
                    <a:pt x="551" y="133"/>
                  </a:lnTo>
                  <a:lnTo>
                    <a:pt x="553" y="129"/>
                  </a:lnTo>
                  <a:lnTo>
                    <a:pt x="553" y="126"/>
                  </a:lnTo>
                  <a:lnTo>
                    <a:pt x="550" y="119"/>
                  </a:lnTo>
                  <a:lnTo>
                    <a:pt x="551" y="113"/>
                  </a:lnTo>
                  <a:lnTo>
                    <a:pt x="553" y="104"/>
                  </a:lnTo>
                  <a:lnTo>
                    <a:pt x="550" y="103"/>
                  </a:lnTo>
                  <a:lnTo>
                    <a:pt x="549" y="100"/>
                  </a:lnTo>
                  <a:lnTo>
                    <a:pt x="551" y="96"/>
                  </a:lnTo>
                  <a:lnTo>
                    <a:pt x="549" y="96"/>
                  </a:lnTo>
                  <a:lnTo>
                    <a:pt x="541" y="99"/>
                  </a:lnTo>
                  <a:lnTo>
                    <a:pt x="540" y="103"/>
                  </a:lnTo>
                  <a:lnTo>
                    <a:pt x="537" y="107"/>
                  </a:lnTo>
                  <a:lnTo>
                    <a:pt x="533" y="111"/>
                  </a:lnTo>
                  <a:lnTo>
                    <a:pt x="527" y="116"/>
                  </a:lnTo>
                  <a:lnTo>
                    <a:pt x="528" y="107"/>
                  </a:lnTo>
                  <a:lnTo>
                    <a:pt x="530" y="99"/>
                  </a:lnTo>
                  <a:lnTo>
                    <a:pt x="523" y="99"/>
                  </a:lnTo>
                  <a:lnTo>
                    <a:pt x="513" y="103"/>
                  </a:lnTo>
                  <a:lnTo>
                    <a:pt x="511" y="109"/>
                  </a:lnTo>
                  <a:lnTo>
                    <a:pt x="510" y="119"/>
                  </a:lnTo>
                  <a:lnTo>
                    <a:pt x="504" y="114"/>
                  </a:lnTo>
                  <a:lnTo>
                    <a:pt x="504" y="106"/>
                  </a:lnTo>
                  <a:lnTo>
                    <a:pt x="500" y="100"/>
                  </a:lnTo>
                  <a:lnTo>
                    <a:pt x="493" y="97"/>
                  </a:lnTo>
                  <a:lnTo>
                    <a:pt x="491" y="94"/>
                  </a:lnTo>
                  <a:lnTo>
                    <a:pt x="501" y="89"/>
                  </a:lnTo>
                  <a:lnTo>
                    <a:pt x="501" y="79"/>
                  </a:lnTo>
                  <a:lnTo>
                    <a:pt x="501" y="79"/>
                  </a:lnTo>
                  <a:lnTo>
                    <a:pt x="498" y="71"/>
                  </a:lnTo>
                  <a:lnTo>
                    <a:pt x="493" y="64"/>
                  </a:lnTo>
                  <a:lnTo>
                    <a:pt x="491" y="63"/>
                  </a:lnTo>
                  <a:lnTo>
                    <a:pt x="488" y="61"/>
                  </a:lnTo>
                  <a:lnTo>
                    <a:pt x="485" y="64"/>
                  </a:lnTo>
                  <a:lnTo>
                    <a:pt x="484" y="68"/>
                  </a:lnTo>
                  <a:lnTo>
                    <a:pt x="484" y="68"/>
                  </a:lnTo>
                  <a:lnTo>
                    <a:pt x="481" y="76"/>
                  </a:lnTo>
                  <a:lnTo>
                    <a:pt x="477" y="79"/>
                  </a:lnTo>
                  <a:lnTo>
                    <a:pt x="473" y="80"/>
                  </a:lnTo>
                  <a:lnTo>
                    <a:pt x="467" y="79"/>
                  </a:lnTo>
                  <a:lnTo>
                    <a:pt x="463" y="77"/>
                  </a:lnTo>
                  <a:lnTo>
                    <a:pt x="458" y="73"/>
                  </a:lnTo>
                  <a:lnTo>
                    <a:pt x="455" y="68"/>
                  </a:lnTo>
                  <a:lnTo>
                    <a:pt x="455" y="63"/>
                  </a:lnTo>
                  <a:lnTo>
                    <a:pt x="455" y="63"/>
                  </a:lnTo>
                  <a:lnTo>
                    <a:pt x="458" y="54"/>
                  </a:lnTo>
                  <a:lnTo>
                    <a:pt x="463" y="41"/>
                  </a:lnTo>
                  <a:lnTo>
                    <a:pt x="464" y="36"/>
                  </a:lnTo>
                  <a:lnTo>
                    <a:pt x="464" y="33"/>
                  </a:lnTo>
                  <a:lnTo>
                    <a:pt x="463" y="31"/>
                  </a:lnTo>
                  <a:lnTo>
                    <a:pt x="461" y="30"/>
                  </a:lnTo>
                  <a:lnTo>
                    <a:pt x="457" y="31"/>
                  </a:lnTo>
                  <a:lnTo>
                    <a:pt x="457" y="31"/>
                  </a:lnTo>
                  <a:lnTo>
                    <a:pt x="441" y="38"/>
                  </a:lnTo>
                  <a:lnTo>
                    <a:pt x="432" y="41"/>
                  </a:lnTo>
                  <a:lnTo>
                    <a:pt x="425" y="44"/>
                  </a:lnTo>
                  <a:lnTo>
                    <a:pt x="417" y="44"/>
                  </a:lnTo>
                  <a:lnTo>
                    <a:pt x="410" y="43"/>
                  </a:lnTo>
                  <a:lnTo>
                    <a:pt x="401" y="38"/>
                  </a:lnTo>
                  <a:lnTo>
                    <a:pt x="394" y="30"/>
                  </a:lnTo>
                  <a:lnTo>
                    <a:pt x="394" y="30"/>
                  </a:lnTo>
                  <a:lnTo>
                    <a:pt x="391" y="28"/>
                  </a:lnTo>
                  <a:lnTo>
                    <a:pt x="388" y="27"/>
                  </a:lnTo>
                  <a:lnTo>
                    <a:pt x="381" y="26"/>
                  </a:lnTo>
                  <a:lnTo>
                    <a:pt x="372" y="27"/>
                  </a:lnTo>
                  <a:lnTo>
                    <a:pt x="362" y="30"/>
                  </a:lnTo>
                  <a:lnTo>
                    <a:pt x="354" y="31"/>
                  </a:lnTo>
                  <a:lnTo>
                    <a:pt x="347" y="31"/>
                  </a:lnTo>
                  <a:lnTo>
                    <a:pt x="341" y="30"/>
                  </a:lnTo>
                  <a:lnTo>
                    <a:pt x="339" y="28"/>
                  </a:lnTo>
                  <a:lnTo>
                    <a:pt x="339" y="26"/>
                  </a:lnTo>
                  <a:lnTo>
                    <a:pt x="337" y="24"/>
                  </a:lnTo>
                  <a:lnTo>
                    <a:pt x="337" y="20"/>
                  </a:lnTo>
                  <a:lnTo>
                    <a:pt x="322" y="15"/>
                  </a:lnTo>
                  <a:lnTo>
                    <a:pt x="314" y="10"/>
                  </a:lnTo>
                  <a:lnTo>
                    <a:pt x="299" y="5"/>
                  </a:lnTo>
                  <a:lnTo>
                    <a:pt x="294" y="5"/>
                  </a:lnTo>
                  <a:lnTo>
                    <a:pt x="294" y="11"/>
                  </a:lnTo>
                  <a:lnTo>
                    <a:pt x="301" y="31"/>
                  </a:lnTo>
                  <a:lnTo>
                    <a:pt x="263" y="30"/>
                  </a:lnTo>
                  <a:lnTo>
                    <a:pt x="253" y="33"/>
                  </a:lnTo>
                  <a:lnTo>
                    <a:pt x="246" y="34"/>
                  </a:lnTo>
                  <a:lnTo>
                    <a:pt x="242" y="37"/>
                  </a:lnTo>
                  <a:lnTo>
                    <a:pt x="235" y="44"/>
                  </a:lnTo>
                  <a:lnTo>
                    <a:pt x="228" y="51"/>
                  </a:lnTo>
                  <a:lnTo>
                    <a:pt x="216" y="60"/>
                  </a:lnTo>
                  <a:lnTo>
                    <a:pt x="209" y="68"/>
                  </a:lnTo>
                  <a:lnTo>
                    <a:pt x="206" y="73"/>
                  </a:lnTo>
                  <a:lnTo>
                    <a:pt x="203" y="83"/>
                  </a:lnTo>
                  <a:lnTo>
                    <a:pt x="205" y="87"/>
                  </a:lnTo>
                  <a:lnTo>
                    <a:pt x="206" y="93"/>
                  </a:lnTo>
                  <a:lnTo>
                    <a:pt x="206" y="99"/>
                  </a:lnTo>
                  <a:lnTo>
                    <a:pt x="206" y="111"/>
                  </a:lnTo>
                  <a:lnTo>
                    <a:pt x="205" y="119"/>
                  </a:lnTo>
                  <a:lnTo>
                    <a:pt x="205" y="123"/>
                  </a:lnTo>
                  <a:lnTo>
                    <a:pt x="200" y="132"/>
                  </a:lnTo>
                  <a:lnTo>
                    <a:pt x="198" y="136"/>
                  </a:lnTo>
                  <a:lnTo>
                    <a:pt x="193" y="139"/>
                  </a:lnTo>
                  <a:lnTo>
                    <a:pt x="190" y="142"/>
                  </a:lnTo>
                  <a:lnTo>
                    <a:pt x="182" y="150"/>
                  </a:lnTo>
                  <a:lnTo>
                    <a:pt x="179" y="156"/>
                  </a:lnTo>
                  <a:lnTo>
                    <a:pt x="175" y="167"/>
                  </a:lnTo>
                  <a:lnTo>
                    <a:pt x="172" y="186"/>
                  </a:lnTo>
                  <a:lnTo>
                    <a:pt x="169" y="196"/>
                  </a:lnTo>
                  <a:lnTo>
                    <a:pt x="160" y="196"/>
                  </a:lnTo>
                  <a:lnTo>
                    <a:pt x="158" y="196"/>
                  </a:lnTo>
                  <a:lnTo>
                    <a:pt x="153" y="196"/>
                  </a:lnTo>
                  <a:lnTo>
                    <a:pt x="145" y="196"/>
                  </a:lnTo>
                  <a:lnTo>
                    <a:pt x="143" y="196"/>
                  </a:lnTo>
                  <a:lnTo>
                    <a:pt x="136" y="196"/>
                  </a:lnTo>
                  <a:lnTo>
                    <a:pt x="132" y="196"/>
                  </a:lnTo>
                  <a:lnTo>
                    <a:pt x="126" y="196"/>
                  </a:lnTo>
                  <a:lnTo>
                    <a:pt x="117" y="195"/>
                  </a:lnTo>
                  <a:lnTo>
                    <a:pt x="110" y="195"/>
                  </a:lnTo>
                  <a:lnTo>
                    <a:pt x="106" y="195"/>
                  </a:lnTo>
                  <a:lnTo>
                    <a:pt x="102" y="195"/>
                  </a:lnTo>
                  <a:lnTo>
                    <a:pt x="93" y="195"/>
                  </a:lnTo>
                  <a:lnTo>
                    <a:pt x="87" y="193"/>
                  </a:lnTo>
                  <a:lnTo>
                    <a:pt x="84" y="193"/>
                  </a:lnTo>
                  <a:lnTo>
                    <a:pt x="76" y="192"/>
                  </a:lnTo>
                  <a:lnTo>
                    <a:pt x="70" y="193"/>
                  </a:lnTo>
                  <a:lnTo>
                    <a:pt x="62" y="192"/>
                  </a:lnTo>
                  <a:lnTo>
                    <a:pt x="57" y="190"/>
                  </a:lnTo>
                  <a:lnTo>
                    <a:pt x="53" y="192"/>
                  </a:lnTo>
                  <a:lnTo>
                    <a:pt x="43" y="190"/>
                  </a:lnTo>
                  <a:lnTo>
                    <a:pt x="37" y="192"/>
                  </a:lnTo>
                  <a:lnTo>
                    <a:pt x="33" y="193"/>
                  </a:lnTo>
                  <a:lnTo>
                    <a:pt x="29" y="196"/>
                  </a:lnTo>
                  <a:lnTo>
                    <a:pt x="24" y="202"/>
                  </a:lnTo>
                  <a:lnTo>
                    <a:pt x="19" y="209"/>
                  </a:lnTo>
                  <a:lnTo>
                    <a:pt x="17" y="212"/>
                  </a:lnTo>
                  <a:lnTo>
                    <a:pt x="14" y="216"/>
                  </a:lnTo>
                  <a:lnTo>
                    <a:pt x="10" y="222"/>
                  </a:lnTo>
                  <a:lnTo>
                    <a:pt x="4" y="227"/>
                  </a:lnTo>
                  <a:lnTo>
                    <a:pt x="3" y="232"/>
                  </a:lnTo>
                  <a:lnTo>
                    <a:pt x="0" y="236"/>
                  </a:lnTo>
                  <a:lnTo>
                    <a:pt x="52" y="305"/>
                  </a:lnTo>
                  <a:lnTo>
                    <a:pt x="72" y="328"/>
                  </a:lnTo>
                  <a:lnTo>
                    <a:pt x="72" y="328"/>
                  </a:lnTo>
                  <a:lnTo>
                    <a:pt x="73" y="336"/>
                  </a:lnTo>
                  <a:lnTo>
                    <a:pt x="74" y="346"/>
                  </a:lnTo>
                  <a:lnTo>
                    <a:pt x="74" y="346"/>
                  </a:lnTo>
                  <a:lnTo>
                    <a:pt x="74" y="351"/>
                  </a:lnTo>
                  <a:lnTo>
                    <a:pt x="76" y="353"/>
                  </a:lnTo>
                  <a:lnTo>
                    <a:pt x="77" y="355"/>
                  </a:lnTo>
                  <a:lnTo>
                    <a:pt x="79" y="358"/>
                  </a:lnTo>
                  <a:lnTo>
                    <a:pt x="79" y="358"/>
                  </a:lnTo>
                  <a:lnTo>
                    <a:pt x="80" y="362"/>
                  </a:lnTo>
                  <a:lnTo>
                    <a:pt x="79" y="366"/>
                  </a:lnTo>
                  <a:lnTo>
                    <a:pt x="77" y="368"/>
                  </a:lnTo>
                  <a:lnTo>
                    <a:pt x="74" y="371"/>
                  </a:lnTo>
                  <a:lnTo>
                    <a:pt x="69" y="375"/>
                  </a:lnTo>
                  <a:lnTo>
                    <a:pt x="67" y="378"/>
                  </a:lnTo>
                  <a:lnTo>
                    <a:pt x="66" y="381"/>
                  </a:lnTo>
                  <a:lnTo>
                    <a:pt x="66" y="381"/>
                  </a:lnTo>
                  <a:lnTo>
                    <a:pt x="64" y="388"/>
                  </a:lnTo>
                  <a:lnTo>
                    <a:pt x="63" y="392"/>
                  </a:lnTo>
                  <a:lnTo>
                    <a:pt x="54" y="401"/>
                  </a:lnTo>
                  <a:lnTo>
                    <a:pt x="54" y="401"/>
                  </a:lnTo>
                  <a:lnTo>
                    <a:pt x="54" y="404"/>
                  </a:lnTo>
                  <a:lnTo>
                    <a:pt x="54" y="406"/>
                  </a:lnTo>
                  <a:lnTo>
                    <a:pt x="56" y="411"/>
                  </a:lnTo>
                  <a:lnTo>
                    <a:pt x="59" y="412"/>
                  </a:lnTo>
                  <a:lnTo>
                    <a:pt x="59" y="412"/>
                  </a:lnTo>
                  <a:lnTo>
                    <a:pt x="70" y="414"/>
                  </a:lnTo>
                  <a:lnTo>
                    <a:pt x="86" y="415"/>
                  </a:lnTo>
                  <a:lnTo>
                    <a:pt x="93" y="417"/>
                  </a:lnTo>
                  <a:lnTo>
                    <a:pt x="99" y="419"/>
                  </a:lnTo>
                  <a:lnTo>
                    <a:pt x="103" y="422"/>
                  </a:lnTo>
                  <a:lnTo>
                    <a:pt x="105" y="424"/>
                  </a:lnTo>
                  <a:lnTo>
                    <a:pt x="105" y="427"/>
                  </a:lnTo>
                  <a:lnTo>
                    <a:pt x="105" y="427"/>
                  </a:lnTo>
                  <a:close/>
                  <a:moveTo>
                    <a:pt x="480" y="15"/>
                  </a:moveTo>
                  <a:lnTo>
                    <a:pt x="481" y="11"/>
                  </a:lnTo>
                  <a:lnTo>
                    <a:pt x="481" y="11"/>
                  </a:lnTo>
                  <a:lnTo>
                    <a:pt x="478" y="14"/>
                  </a:lnTo>
                  <a:lnTo>
                    <a:pt x="478" y="14"/>
                  </a:lnTo>
                  <a:lnTo>
                    <a:pt x="477" y="15"/>
                  </a:lnTo>
                  <a:lnTo>
                    <a:pt x="474" y="15"/>
                  </a:lnTo>
                  <a:lnTo>
                    <a:pt x="474" y="15"/>
                  </a:lnTo>
                  <a:lnTo>
                    <a:pt x="470" y="14"/>
                  </a:lnTo>
                  <a:lnTo>
                    <a:pt x="465" y="13"/>
                  </a:lnTo>
                  <a:lnTo>
                    <a:pt x="465" y="13"/>
                  </a:lnTo>
                  <a:lnTo>
                    <a:pt x="464" y="11"/>
                  </a:lnTo>
                  <a:lnTo>
                    <a:pt x="464" y="8"/>
                  </a:lnTo>
                  <a:lnTo>
                    <a:pt x="464" y="8"/>
                  </a:lnTo>
                  <a:lnTo>
                    <a:pt x="464" y="4"/>
                  </a:lnTo>
                  <a:lnTo>
                    <a:pt x="465" y="3"/>
                  </a:lnTo>
                  <a:lnTo>
                    <a:pt x="465" y="3"/>
                  </a:lnTo>
                  <a:lnTo>
                    <a:pt x="465" y="3"/>
                  </a:lnTo>
                  <a:lnTo>
                    <a:pt x="470" y="1"/>
                  </a:lnTo>
                  <a:lnTo>
                    <a:pt x="470" y="1"/>
                  </a:lnTo>
                  <a:lnTo>
                    <a:pt x="473" y="0"/>
                  </a:lnTo>
                  <a:lnTo>
                    <a:pt x="473" y="0"/>
                  </a:lnTo>
                  <a:lnTo>
                    <a:pt x="480" y="0"/>
                  </a:lnTo>
                  <a:lnTo>
                    <a:pt x="487" y="0"/>
                  </a:lnTo>
                  <a:lnTo>
                    <a:pt x="487" y="0"/>
                  </a:lnTo>
                  <a:lnTo>
                    <a:pt x="490" y="0"/>
                  </a:lnTo>
                  <a:lnTo>
                    <a:pt x="491" y="1"/>
                  </a:lnTo>
                  <a:lnTo>
                    <a:pt x="491" y="4"/>
                  </a:lnTo>
                  <a:lnTo>
                    <a:pt x="491" y="4"/>
                  </a:lnTo>
                  <a:lnTo>
                    <a:pt x="491" y="8"/>
                  </a:lnTo>
                  <a:lnTo>
                    <a:pt x="490" y="10"/>
                  </a:lnTo>
                  <a:lnTo>
                    <a:pt x="488" y="11"/>
                  </a:lnTo>
                  <a:lnTo>
                    <a:pt x="488" y="11"/>
                  </a:lnTo>
                  <a:lnTo>
                    <a:pt x="483" y="11"/>
                  </a:lnTo>
                  <a:lnTo>
                    <a:pt x="481" y="11"/>
                  </a:lnTo>
                  <a:lnTo>
                    <a:pt x="480" y="15"/>
                  </a:lnTo>
                  <a:lnTo>
                    <a:pt x="480" y="15"/>
                  </a:lnTo>
                  <a:close/>
                  <a:moveTo>
                    <a:pt x="129" y="452"/>
                  </a:moveTo>
                  <a:lnTo>
                    <a:pt x="126" y="451"/>
                  </a:lnTo>
                  <a:lnTo>
                    <a:pt x="126" y="451"/>
                  </a:lnTo>
                  <a:lnTo>
                    <a:pt x="125" y="451"/>
                  </a:lnTo>
                  <a:lnTo>
                    <a:pt x="123" y="449"/>
                  </a:lnTo>
                  <a:lnTo>
                    <a:pt x="123" y="449"/>
                  </a:lnTo>
                  <a:lnTo>
                    <a:pt x="122" y="447"/>
                  </a:lnTo>
                  <a:lnTo>
                    <a:pt x="122" y="447"/>
                  </a:lnTo>
                  <a:lnTo>
                    <a:pt x="122" y="445"/>
                  </a:lnTo>
                  <a:lnTo>
                    <a:pt x="120" y="445"/>
                  </a:lnTo>
                  <a:lnTo>
                    <a:pt x="120" y="445"/>
                  </a:lnTo>
                  <a:lnTo>
                    <a:pt x="117" y="445"/>
                  </a:lnTo>
                  <a:lnTo>
                    <a:pt x="116" y="444"/>
                  </a:lnTo>
                  <a:lnTo>
                    <a:pt x="116" y="444"/>
                  </a:lnTo>
                  <a:lnTo>
                    <a:pt x="116" y="438"/>
                  </a:lnTo>
                  <a:lnTo>
                    <a:pt x="116" y="438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9" y="437"/>
                  </a:lnTo>
                  <a:lnTo>
                    <a:pt x="119" y="435"/>
                  </a:lnTo>
                  <a:lnTo>
                    <a:pt x="119" y="435"/>
                  </a:lnTo>
                  <a:lnTo>
                    <a:pt x="123" y="435"/>
                  </a:lnTo>
                  <a:lnTo>
                    <a:pt x="123" y="435"/>
                  </a:lnTo>
                  <a:lnTo>
                    <a:pt x="125" y="437"/>
                  </a:lnTo>
                  <a:lnTo>
                    <a:pt x="125" y="437"/>
                  </a:lnTo>
                  <a:lnTo>
                    <a:pt x="126" y="438"/>
                  </a:lnTo>
                  <a:lnTo>
                    <a:pt x="126" y="439"/>
                  </a:lnTo>
                  <a:lnTo>
                    <a:pt x="126" y="439"/>
                  </a:lnTo>
                  <a:lnTo>
                    <a:pt x="129" y="441"/>
                  </a:lnTo>
                  <a:lnTo>
                    <a:pt x="129" y="444"/>
                  </a:lnTo>
                  <a:lnTo>
                    <a:pt x="129" y="452"/>
                  </a:lnTo>
                  <a:lnTo>
                    <a:pt x="129" y="452"/>
                  </a:lnTo>
                  <a:close/>
                  <a:moveTo>
                    <a:pt x="543" y="272"/>
                  </a:moveTo>
                  <a:lnTo>
                    <a:pt x="543" y="272"/>
                  </a:lnTo>
                  <a:lnTo>
                    <a:pt x="541" y="273"/>
                  </a:lnTo>
                  <a:lnTo>
                    <a:pt x="537" y="273"/>
                  </a:lnTo>
                  <a:lnTo>
                    <a:pt x="537" y="273"/>
                  </a:lnTo>
                  <a:lnTo>
                    <a:pt x="536" y="272"/>
                  </a:lnTo>
                  <a:lnTo>
                    <a:pt x="534" y="270"/>
                  </a:lnTo>
                  <a:lnTo>
                    <a:pt x="534" y="270"/>
                  </a:lnTo>
                  <a:lnTo>
                    <a:pt x="533" y="269"/>
                  </a:lnTo>
                  <a:lnTo>
                    <a:pt x="531" y="268"/>
                  </a:lnTo>
                  <a:lnTo>
                    <a:pt x="531" y="268"/>
                  </a:lnTo>
                  <a:lnTo>
                    <a:pt x="531" y="262"/>
                  </a:lnTo>
                  <a:lnTo>
                    <a:pt x="531" y="262"/>
                  </a:lnTo>
                  <a:lnTo>
                    <a:pt x="531" y="259"/>
                  </a:lnTo>
                  <a:lnTo>
                    <a:pt x="530" y="256"/>
                  </a:lnTo>
                  <a:lnTo>
                    <a:pt x="530" y="256"/>
                  </a:lnTo>
                  <a:lnTo>
                    <a:pt x="531" y="252"/>
                  </a:lnTo>
                  <a:lnTo>
                    <a:pt x="533" y="250"/>
                  </a:lnTo>
                  <a:lnTo>
                    <a:pt x="536" y="252"/>
                  </a:lnTo>
                  <a:lnTo>
                    <a:pt x="536" y="252"/>
                  </a:lnTo>
                  <a:lnTo>
                    <a:pt x="540" y="255"/>
                  </a:lnTo>
                  <a:lnTo>
                    <a:pt x="540" y="255"/>
                  </a:lnTo>
                  <a:lnTo>
                    <a:pt x="543" y="256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3"/>
                  </a:lnTo>
                  <a:lnTo>
                    <a:pt x="541" y="268"/>
                  </a:lnTo>
                  <a:lnTo>
                    <a:pt x="541" y="268"/>
                  </a:lnTo>
                  <a:lnTo>
                    <a:pt x="541" y="270"/>
                  </a:lnTo>
                  <a:lnTo>
                    <a:pt x="543" y="272"/>
                  </a:lnTo>
                  <a:lnTo>
                    <a:pt x="543" y="272"/>
                  </a:lnTo>
                  <a:close/>
                  <a:moveTo>
                    <a:pt x="122" y="471"/>
                  </a:moveTo>
                  <a:lnTo>
                    <a:pt x="122" y="471"/>
                  </a:lnTo>
                  <a:lnTo>
                    <a:pt x="123" y="471"/>
                  </a:lnTo>
                  <a:lnTo>
                    <a:pt x="122" y="471"/>
                  </a:lnTo>
                  <a:lnTo>
                    <a:pt x="122" y="471"/>
                  </a:lnTo>
                  <a:lnTo>
                    <a:pt x="120" y="471"/>
                  </a:lnTo>
                  <a:lnTo>
                    <a:pt x="120" y="471"/>
                  </a:lnTo>
                  <a:lnTo>
                    <a:pt x="119" y="471"/>
                  </a:lnTo>
                  <a:lnTo>
                    <a:pt x="119" y="470"/>
                  </a:lnTo>
                  <a:lnTo>
                    <a:pt x="119" y="467"/>
                  </a:lnTo>
                  <a:lnTo>
                    <a:pt x="119" y="459"/>
                  </a:lnTo>
                  <a:lnTo>
                    <a:pt x="119" y="459"/>
                  </a:lnTo>
                  <a:lnTo>
                    <a:pt x="119" y="457"/>
                  </a:lnTo>
                  <a:lnTo>
                    <a:pt x="119" y="455"/>
                  </a:lnTo>
                  <a:lnTo>
                    <a:pt x="120" y="455"/>
                  </a:lnTo>
                  <a:lnTo>
                    <a:pt x="120" y="455"/>
                  </a:lnTo>
                  <a:lnTo>
                    <a:pt x="120" y="457"/>
                  </a:lnTo>
                  <a:lnTo>
                    <a:pt x="120" y="457"/>
                  </a:lnTo>
                  <a:lnTo>
                    <a:pt x="122" y="457"/>
                  </a:lnTo>
                  <a:lnTo>
                    <a:pt x="122" y="457"/>
                  </a:lnTo>
                  <a:lnTo>
                    <a:pt x="123" y="458"/>
                  </a:lnTo>
                  <a:lnTo>
                    <a:pt x="123" y="458"/>
                  </a:lnTo>
                  <a:lnTo>
                    <a:pt x="125" y="458"/>
                  </a:lnTo>
                  <a:lnTo>
                    <a:pt x="125" y="458"/>
                  </a:lnTo>
                  <a:lnTo>
                    <a:pt x="125" y="459"/>
                  </a:lnTo>
                  <a:lnTo>
                    <a:pt x="125" y="464"/>
                  </a:lnTo>
                  <a:lnTo>
                    <a:pt x="125" y="464"/>
                  </a:lnTo>
                  <a:lnTo>
                    <a:pt x="125" y="468"/>
                  </a:lnTo>
                  <a:lnTo>
                    <a:pt x="122" y="471"/>
                  </a:lnTo>
                  <a:lnTo>
                    <a:pt x="122" y="471"/>
                  </a:lnTo>
                  <a:close/>
                </a:path>
              </a:pathLst>
            </a:custGeom>
            <a:solidFill>
              <a:srgbClr val="DCDD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16" name="Freeform 164"/>
            <p:cNvSpPr>
              <a:spLocks noEditPoints="1"/>
            </p:cNvSpPr>
            <p:nvPr/>
          </p:nvSpPr>
          <p:spPr bwMode="auto">
            <a:xfrm>
              <a:off x="3309331" y="2251062"/>
              <a:ext cx="346804" cy="568849"/>
            </a:xfrm>
            <a:custGeom>
              <a:avLst/>
              <a:gdLst>
                <a:gd name="T0" fmla="*/ 123 w 567"/>
                <a:gd name="T1" fmla="*/ 425 h 859"/>
                <a:gd name="T2" fmla="*/ 132 w 567"/>
                <a:gd name="T3" fmla="*/ 412 h 859"/>
                <a:gd name="T4" fmla="*/ 146 w 567"/>
                <a:gd name="T5" fmla="*/ 381 h 859"/>
                <a:gd name="T6" fmla="*/ 153 w 567"/>
                <a:gd name="T7" fmla="*/ 346 h 859"/>
                <a:gd name="T8" fmla="*/ 170 w 567"/>
                <a:gd name="T9" fmla="*/ 375 h 859"/>
                <a:gd name="T10" fmla="*/ 149 w 567"/>
                <a:gd name="T11" fmla="*/ 429 h 859"/>
                <a:gd name="T12" fmla="*/ 155 w 567"/>
                <a:gd name="T13" fmla="*/ 458 h 859"/>
                <a:gd name="T14" fmla="*/ 155 w 567"/>
                <a:gd name="T15" fmla="*/ 485 h 859"/>
                <a:gd name="T16" fmla="*/ 162 w 567"/>
                <a:gd name="T17" fmla="*/ 497 h 859"/>
                <a:gd name="T18" fmla="*/ 165 w 567"/>
                <a:gd name="T19" fmla="*/ 515 h 859"/>
                <a:gd name="T20" fmla="*/ 175 w 567"/>
                <a:gd name="T21" fmla="*/ 611 h 859"/>
                <a:gd name="T22" fmla="*/ 219 w 567"/>
                <a:gd name="T23" fmla="*/ 747 h 859"/>
                <a:gd name="T24" fmla="*/ 262 w 567"/>
                <a:gd name="T25" fmla="*/ 809 h 859"/>
                <a:gd name="T26" fmla="*/ 361 w 567"/>
                <a:gd name="T27" fmla="*/ 856 h 859"/>
                <a:gd name="T28" fmla="*/ 435 w 567"/>
                <a:gd name="T29" fmla="*/ 855 h 859"/>
                <a:gd name="T30" fmla="*/ 475 w 567"/>
                <a:gd name="T31" fmla="*/ 839 h 859"/>
                <a:gd name="T32" fmla="*/ 500 w 567"/>
                <a:gd name="T33" fmla="*/ 815 h 859"/>
                <a:gd name="T34" fmla="*/ 536 w 567"/>
                <a:gd name="T35" fmla="*/ 767 h 859"/>
                <a:gd name="T36" fmla="*/ 547 w 567"/>
                <a:gd name="T37" fmla="*/ 732 h 859"/>
                <a:gd name="T38" fmla="*/ 550 w 567"/>
                <a:gd name="T39" fmla="*/ 703 h 859"/>
                <a:gd name="T40" fmla="*/ 559 w 567"/>
                <a:gd name="T41" fmla="*/ 649 h 859"/>
                <a:gd name="T42" fmla="*/ 543 w 567"/>
                <a:gd name="T43" fmla="*/ 620 h 859"/>
                <a:gd name="T44" fmla="*/ 541 w 567"/>
                <a:gd name="T45" fmla="*/ 571 h 859"/>
                <a:gd name="T46" fmla="*/ 543 w 567"/>
                <a:gd name="T47" fmla="*/ 558 h 859"/>
                <a:gd name="T48" fmla="*/ 549 w 567"/>
                <a:gd name="T49" fmla="*/ 524 h 859"/>
                <a:gd name="T50" fmla="*/ 560 w 567"/>
                <a:gd name="T51" fmla="*/ 484 h 859"/>
                <a:gd name="T52" fmla="*/ 563 w 567"/>
                <a:gd name="T53" fmla="*/ 425 h 859"/>
                <a:gd name="T54" fmla="*/ 563 w 567"/>
                <a:gd name="T55" fmla="*/ 372 h 859"/>
                <a:gd name="T56" fmla="*/ 559 w 567"/>
                <a:gd name="T57" fmla="*/ 328 h 859"/>
                <a:gd name="T58" fmla="*/ 534 w 567"/>
                <a:gd name="T59" fmla="*/ 312 h 859"/>
                <a:gd name="T60" fmla="*/ 528 w 567"/>
                <a:gd name="T61" fmla="*/ 262 h 859"/>
                <a:gd name="T62" fmla="*/ 498 w 567"/>
                <a:gd name="T63" fmla="*/ 240 h 859"/>
                <a:gd name="T64" fmla="*/ 463 w 567"/>
                <a:gd name="T65" fmla="*/ 235 h 859"/>
                <a:gd name="T66" fmla="*/ 497 w 567"/>
                <a:gd name="T67" fmla="*/ 222 h 859"/>
                <a:gd name="T68" fmla="*/ 503 w 567"/>
                <a:gd name="T69" fmla="*/ 203 h 859"/>
                <a:gd name="T70" fmla="*/ 508 w 567"/>
                <a:gd name="T71" fmla="*/ 189 h 859"/>
                <a:gd name="T72" fmla="*/ 488 w 567"/>
                <a:gd name="T73" fmla="*/ 160 h 859"/>
                <a:gd name="T74" fmla="*/ 524 w 567"/>
                <a:gd name="T75" fmla="*/ 123 h 859"/>
                <a:gd name="T76" fmla="*/ 549 w 567"/>
                <a:gd name="T77" fmla="*/ 176 h 859"/>
                <a:gd name="T78" fmla="*/ 550 w 567"/>
                <a:gd name="T79" fmla="*/ 119 h 859"/>
                <a:gd name="T80" fmla="*/ 513 w 567"/>
                <a:gd name="T81" fmla="*/ 103 h 859"/>
                <a:gd name="T82" fmla="*/ 485 w 567"/>
                <a:gd name="T83" fmla="*/ 64 h 859"/>
                <a:gd name="T84" fmla="*/ 464 w 567"/>
                <a:gd name="T85" fmla="*/ 33 h 859"/>
                <a:gd name="T86" fmla="*/ 381 w 567"/>
                <a:gd name="T87" fmla="*/ 26 h 859"/>
                <a:gd name="T88" fmla="*/ 301 w 567"/>
                <a:gd name="T89" fmla="*/ 31 h 859"/>
                <a:gd name="T90" fmla="*/ 205 w 567"/>
                <a:gd name="T91" fmla="*/ 119 h 859"/>
                <a:gd name="T92" fmla="*/ 143 w 567"/>
                <a:gd name="T93" fmla="*/ 196 h 859"/>
                <a:gd name="T94" fmla="*/ 53 w 567"/>
                <a:gd name="T95" fmla="*/ 192 h 859"/>
                <a:gd name="T96" fmla="*/ 72 w 567"/>
                <a:gd name="T97" fmla="*/ 328 h 859"/>
                <a:gd name="T98" fmla="*/ 66 w 567"/>
                <a:gd name="T99" fmla="*/ 381 h 859"/>
                <a:gd name="T100" fmla="*/ 103 w 567"/>
                <a:gd name="T101" fmla="*/ 422 h 859"/>
                <a:gd name="T102" fmla="*/ 490 w 567"/>
                <a:gd name="T103" fmla="*/ 0 h 859"/>
                <a:gd name="T104" fmla="*/ 465 w 567"/>
                <a:gd name="T105" fmla="*/ 13 h 859"/>
                <a:gd name="T106" fmla="*/ 126 w 567"/>
                <a:gd name="T107" fmla="*/ 439 h 859"/>
                <a:gd name="T108" fmla="*/ 117 w 567"/>
                <a:gd name="T109" fmla="*/ 445 h 859"/>
                <a:gd name="T110" fmla="*/ 541 w 567"/>
                <a:gd name="T111" fmla="*/ 268 h 859"/>
                <a:gd name="T112" fmla="*/ 531 w 567"/>
                <a:gd name="T113" fmla="*/ 262 h 859"/>
                <a:gd name="T114" fmla="*/ 125 w 567"/>
                <a:gd name="T115" fmla="*/ 468 h 859"/>
                <a:gd name="T116" fmla="*/ 119 w 567"/>
                <a:gd name="T117" fmla="*/ 457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7" h="859">
                  <a:moveTo>
                    <a:pt x="105" y="427"/>
                  </a:moveTo>
                  <a:lnTo>
                    <a:pt x="106" y="425"/>
                  </a:lnTo>
                  <a:lnTo>
                    <a:pt x="106" y="425"/>
                  </a:lnTo>
                  <a:lnTo>
                    <a:pt x="109" y="427"/>
                  </a:lnTo>
                  <a:lnTo>
                    <a:pt x="110" y="428"/>
                  </a:lnTo>
                  <a:lnTo>
                    <a:pt x="112" y="429"/>
                  </a:lnTo>
                  <a:lnTo>
                    <a:pt x="113" y="431"/>
                  </a:lnTo>
                  <a:lnTo>
                    <a:pt x="113" y="431"/>
                  </a:lnTo>
                  <a:lnTo>
                    <a:pt x="116" y="429"/>
                  </a:lnTo>
                  <a:lnTo>
                    <a:pt x="116" y="428"/>
                  </a:lnTo>
                  <a:lnTo>
                    <a:pt x="116" y="427"/>
                  </a:lnTo>
                  <a:lnTo>
                    <a:pt x="119" y="425"/>
                  </a:lnTo>
                  <a:lnTo>
                    <a:pt x="119" y="425"/>
                  </a:lnTo>
                  <a:lnTo>
                    <a:pt x="122" y="425"/>
                  </a:lnTo>
                  <a:lnTo>
                    <a:pt x="123" y="425"/>
                  </a:lnTo>
                  <a:lnTo>
                    <a:pt x="123" y="424"/>
                  </a:lnTo>
                  <a:lnTo>
                    <a:pt x="123" y="415"/>
                  </a:lnTo>
                  <a:lnTo>
                    <a:pt x="123" y="415"/>
                  </a:lnTo>
                  <a:lnTo>
                    <a:pt x="125" y="414"/>
                  </a:lnTo>
                  <a:lnTo>
                    <a:pt x="126" y="415"/>
                  </a:lnTo>
                  <a:lnTo>
                    <a:pt x="127" y="419"/>
                  </a:lnTo>
                  <a:lnTo>
                    <a:pt x="127" y="419"/>
                  </a:lnTo>
                  <a:lnTo>
                    <a:pt x="129" y="421"/>
                  </a:lnTo>
                  <a:lnTo>
                    <a:pt x="130" y="421"/>
                  </a:lnTo>
                  <a:lnTo>
                    <a:pt x="132" y="421"/>
                  </a:lnTo>
                  <a:lnTo>
                    <a:pt x="133" y="421"/>
                  </a:lnTo>
                  <a:lnTo>
                    <a:pt x="133" y="421"/>
                  </a:lnTo>
                  <a:lnTo>
                    <a:pt x="133" y="414"/>
                  </a:lnTo>
                  <a:lnTo>
                    <a:pt x="133" y="414"/>
                  </a:lnTo>
                  <a:lnTo>
                    <a:pt x="132" y="412"/>
                  </a:lnTo>
                  <a:lnTo>
                    <a:pt x="130" y="411"/>
                  </a:lnTo>
                  <a:lnTo>
                    <a:pt x="130" y="411"/>
                  </a:lnTo>
                  <a:lnTo>
                    <a:pt x="130" y="406"/>
                  </a:lnTo>
                  <a:lnTo>
                    <a:pt x="133" y="404"/>
                  </a:lnTo>
                  <a:lnTo>
                    <a:pt x="133" y="404"/>
                  </a:lnTo>
                  <a:lnTo>
                    <a:pt x="135" y="399"/>
                  </a:lnTo>
                  <a:lnTo>
                    <a:pt x="135" y="394"/>
                  </a:lnTo>
                  <a:lnTo>
                    <a:pt x="133" y="386"/>
                  </a:lnTo>
                  <a:lnTo>
                    <a:pt x="136" y="385"/>
                  </a:lnTo>
                  <a:lnTo>
                    <a:pt x="136" y="384"/>
                  </a:lnTo>
                  <a:lnTo>
                    <a:pt x="139" y="385"/>
                  </a:lnTo>
                  <a:lnTo>
                    <a:pt x="140" y="388"/>
                  </a:lnTo>
                  <a:lnTo>
                    <a:pt x="142" y="385"/>
                  </a:lnTo>
                  <a:lnTo>
                    <a:pt x="143" y="381"/>
                  </a:lnTo>
                  <a:lnTo>
                    <a:pt x="146" y="381"/>
                  </a:lnTo>
                  <a:lnTo>
                    <a:pt x="147" y="381"/>
                  </a:lnTo>
                  <a:lnTo>
                    <a:pt x="149" y="379"/>
                  </a:lnTo>
                  <a:lnTo>
                    <a:pt x="150" y="376"/>
                  </a:lnTo>
                  <a:lnTo>
                    <a:pt x="153" y="374"/>
                  </a:lnTo>
                  <a:lnTo>
                    <a:pt x="155" y="371"/>
                  </a:lnTo>
                  <a:lnTo>
                    <a:pt x="153" y="369"/>
                  </a:lnTo>
                  <a:lnTo>
                    <a:pt x="153" y="366"/>
                  </a:lnTo>
                  <a:lnTo>
                    <a:pt x="152" y="364"/>
                  </a:lnTo>
                  <a:lnTo>
                    <a:pt x="152" y="362"/>
                  </a:lnTo>
                  <a:lnTo>
                    <a:pt x="156" y="361"/>
                  </a:lnTo>
                  <a:lnTo>
                    <a:pt x="159" y="358"/>
                  </a:lnTo>
                  <a:lnTo>
                    <a:pt x="159" y="355"/>
                  </a:lnTo>
                  <a:lnTo>
                    <a:pt x="159" y="353"/>
                  </a:lnTo>
                  <a:lnTo>
                    <a:pt x="156" y="351"/>
                  </a:lnTo>
                  <a:lnTo>
                    <a:pt x="153" y="346"/>
                  </a:lnTo>
                  <a:lnTo>
                    <a:pt x="150" y="343"/>
                  </a:lnTo>
                  <a:lnTo>
                    <a:pt x="149" y="341"/>
                  </a:lnTo>
                  <a:lnTo>
                    <a:pt x="150" y="333"/>
                  </a:lnTo>
                  <a:lnTo>
                    <a:pt x="152" y="332"/>
                  </a:lnTo>
                  <a:lnTo>
                    <a:pt x="153" y="336"/>
                  </a:lnTo>
                  <a:lnTo>
                    <a:pt x="153" y="342"/>
                  </a:lnTo>
                  <a:lnTo>
                    <a:pt x="159" y="351"/>
                  </a:lnTo>
                  <a:lnTo>
                    <a:pt x="162" y="356"/>
                  </a:lnTo>
                  <a:lnTo>
                    <a:pt x="166" y="358"/>
                  </a:lnTo>
                  <a:lnTo>
                    <a:pt x="170" y="359"/>
                  </a:lnTo>
                  <a:lnTo>
                    <a:pt x="170" y="362"/>
                  </a:lnTo>
                  <a:lnTo>
                    <a:pt x="169" y="364"/>
                  </a:lnTo>
                  <a:lnTo>
                    <a:pt x="168" y="366"/>
                  </a:lnTo>
                  <a:lnTo>
                    <a:pt x="168" y="369"/>
                  </a:lnTo>
                  <a:lnTo>
                    <a:pt x="170" y="375"/>
                  </a:lnTo>
                  <a:lnTo>
                    <a:pt x="172" y="379"/>
                  </a:lnTo>
                  <a:lnTo>
                    <a:pt x="172" y="384"/>
                  </a:lnTo>
                  <a:lnTo>
                    <a:pt x="169" y="384"/>
                  </a:lnTo>
                  <a:lnTo>
                    <a:pt x="165" y="384"/>
                  </a:lnTo>
                  <a:lnTo>
                    <a:pt x="163" y="385"/>
                  </a:lnTo>
                  <a:lnTo>
                    <a:pt x="160" y="388"/>
                  </a:lnTo>
                  <a:lnTo>
                    <a:pt x="160" y="389"/>
                  </a:lnTo>
                  <a:lnTo>
                    <a:pt x="159" y="395"/>
                  </a:lnTo>
                  <a:lnTo>
                    <a:pt x="158" y="399"/>
                  </a:lnTo>
                  <a:lnTo>
                    <a:pt x="156" y="406"/>
                  </a:lnTo>
                  <a:lnTo>
                    <a:pt x="155" y="409"/>
                  </a:lnTo>
                  <a:lnTo>
                    <a:pt x="153" y="414"/>
                  </a:lnTo>
                  <a:lnTo>
                    <a:pt x="152" y="419"/>
                  </a:lnTo>
                  <a:lnTo>
                    <a:pt x="150" y="425"/>
                  </a:lnTo>
                  <a:lnTo>
                    <a:pt x="149" y="429"/>
                  </a:lnTo>
                  <a:lnTo>
                    <a:pt x="149" y="437"/>
                  </a:lnTo>
                  <a:lnTo>
                    <a:pt x="150" y="441"/>
                  </a:lnTo>
                  <a:lnTo>
                    <a:pt x="149" y="444"/>
                  </a:lnTo>
                  <a:lnTo>
                    <a:pt x="147" y="448"/>
                  </a:lnTo>
                  <a:lnTo>
                    <a:pt x="147" y="451"/>
                  </a:lnTo>
                  <a:lnTo>
                    <a:pt x="146" y="455"/>
                  </a:lnTo>
                  <a:lnTo>
                    <a:pt x="146" y="458"/>
                  </a:lnTo>
                  <a:lnTo>
                    <a:pt x="147" y="458"/>
                  </a:lnTo>
                  <a:lnTo>
                    <a:pt x="147" y="459"/>
                  </a:lnTo>
                  <a:lnTo>
                    <a:pt x="147" y="462"/>
                  </a:lnTo>
                  <a:lnTo>
                    <a:pt x="149" y="462"/>
                  </a:lnTo>
                  <a:lnTo>
                    <a:pt x="152" y="458"/>
                  </a:lnTo>
                  <a:lnTo>
                    <a:pt x="153" y="457"/>
                  </a:lnTo>
                  <a:lnTo>
                    <a:pt x="153" y="455"/>
                  </a:lnTo>
                  <a:lnTo>
                    <a:pt x="155" y="458"/>
                  </a:lnTo>
                  <a:lnTo>
                    <a:pt x="156" y="457"/>
                  </a:lnTo>
                  <a:lnTo>
                    <a:pt x="158" y="455"/>
                  </a:lnTo>
                  <a:lnTo>
                    <a:pt x="159" y="455"/>
                  </a:lnTo>
                  <a:lnTo>
                    <a:pt x="163" y="454"/>
                  </a:lnTo>
                  <a:lnTo>
                    <a:pt x="168" y="452"/>
                  </a:lnTo>
                  <a:lnTo>
                    <a:pt x="168" y="455"/>
                  </a:lnTo>
                  <a:lnTo>
                    <a:pt x="165" y="458"/>
                  </a:lnTo>
                  <a:lnTo>
                    <a:pt x="165" y="459"/>
                  </a:lnTo>
                  <a:lnTo>
                    <a:pt x="163" y="461"/>
                  </a:lnTo>
                  <a:lnTo>
                    <a:pt x="162" y="468"/>
                  </a:lnTo>
                  <a:lnTo>
                    <a:pt x="163" y="471"/>
                  </a:lnTo>
                  <a:lnTo>
                    <a:pt x="159" y="474"/>
                  </a:lnTo>
                  <a:lnTo>
                    <a:pt x="156" y="477"/>
                  </a:lnTo>
                  <a:lnTo>
                    <a:pt x="153" y="480"/>
                  </a:lnTo>
                  <a:lnTo>
                    <a:pt x="155" y="485"/>
                  </a:lnTo>
                  <a:lnTo>
                    <a:pt x="156" y="488"/>
                  </a:lnTo>
                  <a:lnTo>
                    <a:pt x="159" y="490"/>
                  </a:lnTo>
                  <a:lnTo>
                    <a:pt x="160" y="490"/>
                  </a:lnTo>
                  <a:lnTo>
                    <a:pt x="165" y="485"/>
                  </a:lnTo>
                  <a:lnTo>
                    <a:pt x="166" y="488"/>
                  </a:lnTo>
                  <a:lnTo>
                    <a:pt x="163" y="490"/>
                  </a:lnTo>
                  <a:lnTo>
                    <a:pt x="160" y="491"/>
                  </a:lnTo>
                  <a:lnTo>
                    <a:pt x="160" y="494"/>
                  </a:lnTo>
                  <a:lnTo>
                    <a:pt x="165" y="492"/>
                  </a:lnTo>
                  <a:lnTo>
                    <a:pt x="168" y="491"/>
                  </a:lnTo>
                  <a:lnTo>
                    <a:pt x="170" y="492"/>
                  </a:lnTo>
                  <a:lnTo>
                    <a:pt x="169" y="494"/>
                  </a:lnTo>
                  <a:lnTo>
                    <a:pt x="166" y="494"/>
                  </a:lnTo>
                  <a:lnTo>
                    <a:pt x="163" y="495"/>
                  </a:lnTo>
                  <a:lnTo>
                    <a:pt x="162" y="497"/>
                  </a:lnTo>
                  <a:lnTo>
                    <a:pt x="162" y="498"/>
                  </a:lnTo>
                  <a:lnTo>
                    <a:pt x="166" y="498"/>
                  </a:lnTo>
                  <a:lnTo>
                    <a:pt x="169" y="500"/>
                  </a:lnTo>
                  <a:lnTo>
                    <a:pt x="166" y="501"/>
                  </a:lnTo>
                  <a:lnTo>
                    <a:pt x="163" y="501"/>
                  </a:lnTo>
                  <a:lnTo>
                    <a:pt x="162" y="502"/>
                  </a:lnTo>
                  <a:lnTo>
                    <a:pt x="162" y="505"/>
                  </a:lnTo>
                  <a:lnTo>
                    <a:pt x="163" y="505"/>
                  </a:lnTo>
                  <a:lnTo>
                    <a:pt x="166" y="505"/>
                  </a:lnTo>
                  <a:lnTo>
                    <a:pt x="168" y="505"/>
                  </a:lnTo>
                  <a:lnTo>
                    <a:pt x="169" y="504"/>
                  </a:lnTo>
                  <a:lnTo>
                    <a:pt x="166" y="508"/>
                  </a:lnTo>
                  <a:lnTo>
                    <a:pt x="166" y="511"/>
                  </a:lnTo>
                  <a:lnTo>
                    <a:pt x="168" y="518"/>
                  </a:lnTo>
                  <a:lnTo>
                    <a:pt x="165" y="515"/>
                  </a:lnTo>
                  <a:lnTo>
                    <a:pt x="162" y="512"/>
                  </a:lnTo>
                  <a:lnTo>
                    <a:pt x="156" y="521"/>
                  </a:lnTo>
                  <a:lnTo>
                    <a:pt x="152" y="527"/>
                  </a:lnTo>
                  <a:lnTo>
                    <a:pt x="156" y="533"/>
                  </a:lnTo>
                  <a:lnTo>
                    <a:pt x="166" y="535"/>
                  </a:lnTo>
                  <a:lnTo>
                    <a:pt x="173" y="540"/>
                  </a:lnTo>
                  <a:lnTo>
                    <a:pt x="173" y="550"/>
                  </a:lnTo>
                  <a:lnTo>
                    <a:pt x="170" y="561"/>
                  </a:lnTo>
                  <a:lnTo>
                    <a:pt x="170" y="571"/>
                  </a:lnTo>
                  <a:lnTo>
                    <a:pt x="172" y="578"/>
                  </a:lnTo>
                  <a:lnTo>
                    <a:pt x="170" y="583"/>
                  </a:lnTo>
                  <a:lnTo>
                    <a:pt x="169" y="588"/>
                  </a:lnTo>
                  <a:lnTo>
                    <a:pt x="170" y="601"/>
                  </a:lnTo>
                  <a:lnTo>
                    <a:pt x="172" y="604"/>
                  </a:lnTo>
                  <a:lnTo>
                    <a:pt x="175" y="611"/>
                  </a:lnTo>
                  <a:lnTo>
                    <a:pt x="178" y="617"/>
                  </a:lnTo>
                  <a:lnTo>
                    <a:pt x="182" y="627"/>
                  </a:lnTo>
                  <a:lnTo>
                    <a:pt x="186" y="637"/>
                  </a:lnTo>
                  <a:lnTo>
                    <a:pt x="188" y="650"/>
                  </a:lnTo>
                  <a:lnTo>
                    <a:pt x="190" y="656"/>
                  </a:lnTo>
                  <a:lnTo>
                    <a:pt x="195" y="669"/>
                  </a:lnTo>
                  <a:lnTo>
                    <a:pt x="200" y="673"/>
                  </a:lnTo>
                  <a:lnTo>
                    <a:pt x="205" y="680"/>
                  </a:lnTo>
                  <a:lnTo>
                    <a:pt x="208" y="687"/>
                  </a:lnTo>
                  <a:lnTo>
                    <a:pt x="212" y="703"/>
                  </a:lnTo>
                  <a:lnTo>
                    <a:pt x="213" y="710"/>
                  </a:lnTo>
                  <a:lnTo>
                    <a:pt x="216" y="723"/>
                  </a:lnTo>
                  <a:lnTo>
                    <a:pt x="216" y="734"/>
                  </a:lnTo>
                  <a:lnTo>
                    <a:pt x="216" y="742"/>
                  </a:lnTo>
                  <a:lnTo>
                    <a:pt x="219" y="747"/>
                  </a:lnTo>
                  <a:lnTo>
                    <a:pt x="221" y="755"/>
                  </a:lnTo>
                  <a:lnTo>
                    <a:pt x="222" y="760"/>
                  </a:lnTo>
                  <a:lnTo>
                    <a:pt x="226" y="766"/>
                  </a:lnTo>
                  <a:lnTo>
                    <a:pt x="231" y="772"/>
                  </a:lnTo>
                  <a:lnTo>
                    <a:pt x="232" y="777"/>
                  </a:lnTo>
                  <a:lnTo>
                    <a:pt x="235" y="782"/>
                  </a:lnTo>
                  <a:lnTo>
                    <a:pt x="239" y="785"/>
                  </a:lnTo>
                  <a:lnTo>
                    <a:pt x="241" y="789"/>
                  </a:lnTo>
                  <a:lnTo>
                    <a:pt x="243" y="793"/>
                  </a:lnTo>
                  <a:lnTo>
                    <a:pt x="245" y="797"/>
                  </a:lnTo>
                  <a:lnTo>
                    <a:pt x="248" y="800"/>
                  </a:lnTo>
                  <a:lnTo>
                    <a:pt x="252" y="803"/>
                  </a:lnTo>
                  <a:lnTo>
                    <a:pt x="255" y="806"/>
                  </a:lnTo>
                  <a:lnTo>
                    <a:pt x="258" y="806"/>
                  </a:lnTo>
                  <a:lnTo>
                    <a:pt x="262" y="809"/>
                  </a:lnTo>
                  <a:lnTo>
                    <a:pt x="266" y="815"/>
                  </a:lnTo>
                  <a:lnTo>
                    <a:pt x="274" y="820"/>
                  </a:lnTo>
                  <a:lnTo>
                    <a:pt x="278" y="825"/>
                  </a:lnTo>
                  <a:lnTo>
                    <a:pt x="288" y="828"/>
                  </a:lnTo>
                  <a:lnTo>
                    <a:pt x="306" y="839"/>
                  </a:lnTo>
                  <a:lnTo>
                    <a:pt x="318" y="848"/>
                  </a:lnTo>
                  <a:lnTo>
                    <a:pt x="325" y="850"/>
                  </a:lnTo>
                  <a:lnTo>
                    <a:pt x="327" y="852"/>
                  </a:lnTo>
                  <a:lnTo>
                    <a:pt x="329" y="852"/>
                  </a:lnTo>
                  <a:lnTo>
                    <a:pt x="335" y="852"/>
                  </a:lnTo>
                  <a:lnTo>
                    <a:pt x="341" y="850"/>
                  </a:lnTo>
                  <a:lnTo>
                    <a:pt x="347" y="850"/>
                  </a:lnTo>
                  <a:lnTo>
                    <a:pt x="351" y="852"/>
                  </a:lnTo>
                  <a:lnTo>
                    <a:pt x="354" y="853"/>
                  </a:lnTo>
                  <a:lnTo>
                    <a:pt x="361" y="856"/>
                  </a:lnTo>
                  <a:lnTo>
                    <a:pt x="367" y="858"/>
                  </a:lnTo>
                  <a:lnTo>
                    <a:pt x="372" y="859"/>
                  </a:lnTo>
                  <a:lnTo>
                    <a:pt x="378" y="856"/>
                  </a:lnTo>
                  <a:lnTo>
                    <a:pt x="380" y="856"/>
                  </a:lnTo>
                  <a:lnTo>
                    <a:pt x="385" y="855"/>
                  </a:lnTo>
                  <a:lnTo>
                    <a:pt x="388" y="858"/>
                  </a:lnTo>
                  <a:lnTo>
                    <a:pt x="392" y="856"/>
                  </a:lnTo>
                  <a:lnTo>
                    <a:pt x="397" y="853"/>
                  </a:lnTo>
                  <a:lnTo>
                    <a:pt x="407" y="853"/>
                  </a:lnTo>
                  <a:lnTo>
                    <a:pt x="411" y="855"/>
                  </a:lnTo>
                  <a:lnTo>
                    <a:pt x="415" y="853"/>
                  </a:lnTo>
                  <a:lnTo>
                    <a:pt x="420" y="855"/>
                  </a:lnTo>
                  <a:lnTo>
                    <a:pt x="424" y="855"/>
                  </a:lnTo>
                  <a:lnTo>
                    <a:pt x="428" y="853"/>
                  </a:lnTo>
                  <a:lnTo>
                    <a:pt x="435" y="855"/>
                  </a:lnTo>
                  <a:lnTo>
                    <a:pt x="440" y="856"/>
                  </a:lnTo>
                  <a:lnTo>
                    <a:pt x="443" y="853"/>
                  </a:lnTo>
                  <a:lnTo>
                    <a:pt x="447" y="855"/>
                  </a:lnTo>
                  <a:lnTo>
                    <a:pt x="451" y="853"/>
                  </a:lnTo>
                  <a:lnTo>
                    <a:pt x="455" y="852"/>
                  </a:lnTo>
                  <a:lnTo>
                    <a:pt x="458" y="849"/>
                  </a:lnTo>
                  <a:lnTo>
                    <a:pt x="460" y="846"/>
                  </a:lnTo>
                  <a:lnTo>
                    <a:pt x="463" y="846"/>
                  </a:lnTo>
                  <a:lnTo>
                    <a:pt x="465" y="845"/>
                  </a:lnTo>
                  <a:lnTo>
                    <a:pt x="467" y="845"/>
                  </a:lnTo>
                  <a:lnTo>
                    <a:pt x="470" y="845"/>
                  </a:lnTo>
                  <a:lnTo>
                    <a:pt x="470" y="843"/>
                  </a:lnTo>
                  <a:lnTo>
                    <a:pt x="471" y="838"/>
                  </a:lnTo>
                  <a:lnTo>
                    <a:pt x="474" y="836"/>
                  </a:lnTo>
                  <a:lnTo>
                    <a:pt x="475" y="839"/>
                  </a:lnTo>
                  <a:lnTo>
                    <a:pt x="477" y="842"/>
                  </a:lnTo>
                  <a:lnTo>
                    <a:pt x="478" y="840"/>
                  </a:lnTo>
                  <a:lnTo>
                    <a:pt x="481" y="840"/>
                  </a:lnTo>
                  <a:lnTo>
                    <a:pt x="483" y="838"/>
                  </a:lnTo>
                  <a:lnTo>
                    <a:pt x="485" y="835"/>
                  </a:lnTo>
                  <a:lnTo>
                    <a:pt x="488" y="833"/>
                  </a:lnTo>
                  <a:lnTo>
                    <a:pt x="491" y="833"/>
                  </a:lnTo>
                  <a:lnTo>
                    <a:pt x="493" y="830"/>
                  </a:lnTo>
                  <a:lnTo>
                    <a:pt x="494" y="828"/>
                  </a:lnTo>
                  <a:lnTo>
                    <a:pt x="497" y="826"/>
                  </a:lnTo>
                  <a:lnTo>
                    <a:pt x="500" y="825"/>
                  </a:lnTo>
                  <a:lnTo>
                    <a:pt x="501" y="823"/>
                  </a:lnTo>
                  <a:lnTo>
                    <a:pt x="503" y="822"/>
                  </a:lnTo>
                  <a:lnTo>
                    <a:pt x="503" y="818"/>
                  </a:lnTo>
                  <a:lnTo>
                    <a:pt x="500" y="815"/>
                  </a:lnTo>
                  <a:lnTo>
                    <a:pt x="498" y="813"/>
                  </a:lnTo>
                  <a:lnTo>
                    <a:pt x="498" y="809"/>
                  </a:lnTo>
                  <a:lnTo>
                    <a:pt x="501" y="806"/>
                  </a:lnTo>
                  <a:lnTo>
                    <a:pt x="508" y="802"/>
                  </a:lnTo>
                  <a:lnTo>
                    <a:pt x="516" y="796"/>
                  </a:lnTo>
                  <a:lnTo>
                    <a:pt x="518" y="793"/>
                  </a:lnTo>
                  <a:lnTo>
                    <a:pt x="521" y="789"/>
                  </a:lnTo>
                  <a:lnTo>
                    <a:pt x="523" y="786"/>
                  </a:lnTo>
                  <a:lnTo>
                    <a:pt x="521" y="782"/>
                  </a:lnTo>
                  <a:lnTo>
                    <a:pt x="523" y="779"/>
                  </a:lnTo>
                  <a:lnTo>
                    <a:pt x="524" y="777"/>
                  </a:lnTo>
                  <a:lnTo>
                    <a:pt x="528" y="775"/>
                  </a:lnTo>
                  <a:lnTo>
                    <a:pt x="531" y="773"/>
                  </a:lnTo>
                  <a:lnTo>
                    <a:pt x="533" y="770"/>
                  </a:lnTo>
                  <a:lnTo>
                    <a:pt x="536" y="767"/>
                  </a:lnTo>
                  <a:lnTo>
                    <a:pt x="541" y="766"/>
                  </a:lnTo>
                  <a:lnTo>
                    <a:pt x="543" y="765"/>
                  </a:lnTo>
                  <a:lnTo>
                    <a:pt x="546" y="763"/>
                  </a:lnTo>
                  <a:lnTo>
                    <a:pt x="549" y="760"/>
                  </a:lnTo>
                  <a:lnTo>
                    <a:pt x="550" y="757"/>
                  </a:lnTo>
                  <a:lnTo>
                    <a:pt x="550" y="757"/>
                  </a:lnTo>
                  <a:lnTo>
                    <a:pt x="553" y="753"/>
                  </a:lnTo>
                  <a:lnTo>
                    <a:pt x="553" y="750"/>
                  </a:lnTo>
                  <a:lnTo>
                    <a:pt x="551" y="747"/>
                  </a:lnTo>
                  <a:lnTo>
                    <a:pt x="549" y="744"/>
                  </a:lnTo>
                  <a:lnTo>
                    <a:pt x="546" y="743"/>
                  </a:lnTo>
                  <a:lnTo>
                    <a:pt x="547" y="742"/>
                  </a:lnTo>
                  <a:lnTo>
                    <a:pt x="547" y="740"/>
                  </a:lnTo>
                  <a:lnTo>
                    <a:pt x="547" y="736"/>
                  </a:lnTo>
                  <a:lnTo>
                    <a:pt x="547" y="732"/>
                  </a:lnTo>
                  <a:lnTo>
                    <a:pt x="547" y="726"/>
                  </a:lnTo>
                  <a:lnTo>
                    <a:pt x="547" y="724"/>
                  </a:lnTo>
                  <a:lnTo>
                    <a:pt x="543" y="726"/>
                  </a:lnTo>
                  <a:lnTo>
                    <a:pt x="538" y="726"/>
                  </a:lnTo>
                  <a:lnTo>
                    <a:pt x="538" y="722"/>
                  </a:lnTo>
                  <a:lnTo>
                    <a:pt x="536" y="720"/>
                  </a:lnTo>
                  <a:lnTo>
                    <a:pt x="536" y="719"/>
                  </a:lnTo>
                  <a:lnTo>
                    <a:pt x="538" y="713"/>
                  </a:lnTo>
                  <a:lnTo>
                    <a:pt x="540" y="709"/>
                  </a:lnTo>
                  <a:lnTo>
                    <a:pt x="541" y="707"/>
                  </a:lnTo>
                  <a:lnTo>
                    <a:pt x="543" y="707"/>
                  </a:lnTo>
                  <a:lnTo>
                    <a:pt x="543" y="707"/>
                  </a:lnTo>
                  <a:lnTo>
                    <a:pt x="546" y="712"/>
                  </a:lnTo>
                  <a:lnTo>
                    <a:pt x="549" y="709"/>
                  </a:lnTo>
                  <a:lnTo>
                    <a:pt x="550" y="703"/>
                  </a:lnTo>
                  <a:lnTo>
                    <a:pt x="547" y="702"/>
                  </a:lnTo>
                  <a:lnTo>
                    <a:pt x="549" y="700"/>
                  </a:lnTo>
                  <a:lnTo>
                    <a:pt x="550" y="697"/>
                  </a:lnTo>
                  <a:lnTo>
                    <a:pt x="550" y="693"/>
                  </a:lnTo>
                  <a:lnTo>
                    <a:pt x="550" y="689"/>
                  </a:lnTo>
                  <a:lnTo>
                    <a:pt x="553" y="683"/>
                  </a:lnTo>
                  <a:lnTo>
                    <a:pt x="553" y="680"/>
                  </a:lnTo>
                  <a:lnTo>
                    <a:pt x="550" y="679"/>
                  </a:lnTo>
                  <a:lnTo>
                    <a:pt x="550" y="674"/>
                  </a:lnTo>
                  <a:lnTo>
                    <a:pt x="553" y="670"/>
                  </a:lnTo>
                  <a:lnTo>
                    <a:pt x="556" y="666"/>
                  </a:lnTo>
                  <a:lnTo>
                    <a:pt x="557" y="663"/>
                  </a:lnTo>
                  <a:lnTo>
                    <a:pt x="560" y="654"/>
                  </a:lnTo>
                  <a:lnTo>
                    <a:pt x="560" y="650"/>
                  </a:lnTo>
                  <a:lnTo>
                    <a:pt x="559" y="649"/>
                  </a:lnTo>
                  <a:lnTo>
                    <a:pt x="556" y="656"/>
                  </a:lnTo>
                  <a:lnTo>
                    <a:pt x="554" y="661"/>
                  </a:lnTo>
                  <a:lnTo>
                    <a:pt x="550" y="666"/>
                  </a:lnTo>
                  <a:lnTo>
                    <a:pt x="549" y="666"/>
                  </a:lnTo>
                  <a:lnTo>
                    <a:pt x="549" y="666"/>
                  </a:lnTo>
                  <a:lnTo>
                    <a:pt x="544" y="661"/>
                  </a:lnTo>
                  <a:lnTo>
                    <a:pt x="541" y="657"/>
                  </a:lnTo>
                  <a:lnTo>
                    <a:pt x="541" y="656"/>
                  </a:lnTo>
                  <a:lnTo>
                    <a:pt x="537" y="654"/>
                  </a:lnTo>
                  <a:lnTo>
                    <a:pt x="538" y="647"/>
                  </a:lnTo>
                  <a:lnTo>
                    <a:pt x="538" y="637"/>
                  </a:lnTo>
                  <a:lnTo>
                    <a:pt x="538" y="631"/>
                  </a:lnTo>
                  <a:lnTo>
                    <a:pt x="540" y="630"/>
                  </a:lnTo>
                  <a:lnTo>
                    <a:pt x="543" y="626"/>
                  </a:lnTo>
                  <a:lnTo>
                    <a:pt x="543" y="620"/>
                  </a:lnTo>
                  <a:lnTo>
                    <a:pt x="543" y="617"/>
                  </a:lnTo>
                  <a:lnTo>
                    <a:pt x="540" y="616"/>
                  </a:lnTo>
                  <a:lnTo>
                    <a:pt x="541" y="614"/>
                  </a:lnTo>
                  <a:lnTo>
                    <a:pt x="541" y="610"/>
                  </a:lnTo>
                  <a:lnTo>
                    <a:pt x="543" y="607"/>
                  </a:lnTo>
                  <a:lnTo>
                    <a:pt x="543" y="604"/>
                  </a:lnTo>
                  <a:lnTo>
                    <a:pt x="546" y="598"/>
                  </a:lnTo>
                  <a:lnTo>
                    <a:pt x="549" y="596"/>
                  </a:lnTo>
                  <a:lnTo>
                    <a:pt x="547" y="590"/>
                  </a:lnTo>
                  <a:lnTo>
                    <a:pt x="547" y="580"/>
                  </a:lnTo>
                  <a:lnTo>
                    <a:pt x="547" y="574"/>
                  </a:lnTo>
                  <a:lnTo>
                    <a:pt x="546" y="573"/>
                  </a:lnTo>
                  <a:lnTo>
                    <a:pt x="544" y="570"/>
                  </a:lnTo>
                  <a:lnTo>
                    <a:pt x="541" y="568"/>
                  </a:lnTo>
                  <a:lnTo>
                    <a:pt x="541" y="571"/>
                  </a:lnTo>
                  <a:lnTo>
                    <a:pt x="538" y="575"/>
                  </a:lnTo>
                  <a:lnTo>
                    <a:pt x="540" y="583"/>
                  </a:lnTo>
                  <a:lnTo>
                    <a:pt x="540" y="586"/>
                  </a:lnTo>
                  <a:lnTo>
                    <a:pt x="538" y="588"/>
                  </a:lnTo>
                  <a:lnTo>
                    <a:pt x="538" y="588"/>
                  </a:lnTo>
                  <a:lnTo>
                    <a:pt x="538" y="584"/>
                  </a:lnTo>
                  <a:lnTo>
                    <a:pt x="537" y="578"/>
                  </a:lnTo>
                  <a:lnTo>
                    <a:pt x="537" y="575"/>
                  </a:lnTo>
                  <a:lnTo>
                    <a:pt x="537" y="573"/>
                  </a:lnTo>
                  <a:lnTo>
                    <a:pt x="537" y="568"/>
                  </a:lnTo>
                  <a:lnTo>
                    <a:pt x="537" y="567"/>
                  </a:lnTo>
                  <a:lnTo>
                    <a:pt x="536" y="565"/>
                  </a:lnTo>
                  <a:lnTo>
                    <a:pt x="537" y="563"/>
                  </a:lnTo>
                  <a:lnTo>
                    <a:pt x="540" y="561"/>
                  </a:lnTo>
                  <a:lnTo>
                    <a:pt x="543" y="558"/>
                  </a:lnTo>
                  <a:lnTo>
                    <a:pt x="544" y="555"/>
                  </a:lnTo>
                  <a:lnTo>
                    <a:pt x="546" y="554"/>
                  </a:lnTo>
                  <a:lnTo>
                    <a:pt x="544" y="554"/>
                  </a:lnTo>
                  <a:lnTo>
                    <a:pt x="543" y="553"/>
                  </a:lnTo>
                  <a:lnTo>
                    <a:pt x="543" y="550"/>
                  </a:lnTo>
                  <a:lnTo>
                    <a:pt x="546" y="548"/>
                  </a:lnTo>
                  <a:lnTo>
                    <a:pt x="546" y="544"/>
                  </a:lnTo>
                  <a:lnTo>
                    <a:pt x="546" y="543"/>
                  </a:lnTo>
                  <a:lnTo>
                    <a:pt x="547" y="540"/>
                  </a:lnTo>
                  <a:lnTo>
                    <a:pt x="547" y="535"/>
                  </a:lnTo>
                  <a:lnTo>
                    <a:pt x="547" y="533"/>
                  </a:lnTo>
                  <a:lnTo>
                    <a:pt x="550" y="531"/>
                  </a:lnTo>
                  <a:lnTo>
                    <a:pt x="550" y="530"/>
                  </a:lnTo>
                  <a:lnTo>
                    <a:pt x="549" y="527"/>
                  </a:lnTo>
                  <a:lnTo>
                    <a:pt x="549" y="524"/>
                  </a:lnTo>
                  <a:lnTo>
                    <a:pt x="551" y="524"/>
                  </a:lnTo>
                  <a:lnTo>
                    <a:pt x="553" y="524"/>
                  </a:lnTo>
                  <a:lnTo>
                    <a:pt x="553" y="521"/>
                  </a:lnTo>
                  <a:lnTo>
                    <a:pt x="554" y="518"/>
                  </a:lnTo>
                  <a:lnTo>
                    <a:pt x="554" y="514"/>
                  </a:lnTo>
                  <a:lnTo>
                    <a:pt x="554" y="514"/>
                  </a:lnTo>
                  <a:lnTo>
                    <a:pt x="556" y="511"/>
                  </a:lnTo>
                  <a:lnTo>
                    <a:pt x="554" y="508"/>
                  </a:lnTo>
                  <a:lnTo>
                    <a:pt x="553" y="505"/>
                  </a:lnTo>
                  <a:lnTo>
                    <a:pt x="554" y="502"/>
                  </a:lnTo>
                  <a:lnTo>
                    <a:pt x="556" y="504"/>
                  </a:lnTo>
                  <a:lnTo>
                    <a:pt x="557" y="498"/>
                  </a:lnTo>
                  <a:lnTo>
                    <a:pt x="559" y="490"/>
                  </a:lnTo>
                  <a:lnTo>
                    <a:pt x="559" y="487"/>
                  </a:lnTo>
                  <a:lnTo>
                    <a:pt x="560" y="484"/>
                  </a:lnTo>
                  <a:lnTo>
                    <a:pt x="560" y="481"/>
                  </a:lnTo>
                  <a:lnTo>
                    <a:pt x="559" y="475"/>
                  </a:lnTo>
                  <a:lnTo>
                    <a:pt x="559" y="472"/>
                  </a:lnTo>
                  <a:lnTo>
                    <a:pt x="560" y="467"/>
                  </a:lnTo>
                  <a:lnTo>
                    <a:pt x="559" y="464"/>
                  </a:lnTo>
                  <a:lnTo>
                    <a:pt x="560" y="461"/>
                  </a:lnTo>
                  <a:lnTo>
                    <a:pt x="561" y="458"/>
                  </a:lnTo>
                  <a:lnTo>
                    <a:pt x="561" y="455"/>
                  </a:lnTo>
                  <a:lnTo>
                    <a:pt x="560" y="452"/>
                  </a:lnTo>
                  <a:lnTo>
                    <a:pt x="561" y="448"/>
                  </a:lnTo>
                  <a:lnTo>
                    <a:pt x="563" y="445"/>
                  </a:lnTo>
                  <a:lnTo>
                    <a:pt x="563" y="441"/>
                  </a:lnTo>
                  <a:lnTo>
                    <a:pt x="563" y="437"/>
                  </a:lnTo>
                  <a:lnTo>
                    <a:pt x="563" y="431"/>
                  </a:lnTo>
                  <a:lnTo>
                    <a:pt x="563" y="425"/>
                  </a:lnTo>
                  <a:lnTo>
                    <a:pt x="563" y="424"/>
                  </a:lnTo>
                  <a:lnTo>
                    <a:pt x="563" y="421"/>
                  </a:lnTo>
                  <a:lnTo>
                    <a:pt x="563" y="419"/>
                  </a:lnTo>
                  <a:lnTo>
                    <a:pt x="566" y="414"/>
                  </a:lnTo>
                  <a:lnTo>
                    <a:pt x="566" y="409"/>
                  </a:lnTo>
                  <a:lnTo>
                    <a:pt x="564" y="404"/>
                  </a:lnTo>
                  <a:lnTo>
                    <a:pt x="561" y="401"/>
                  </a:lnTo>
                  <a:lnTo>
                    <a:pt x="563" y="396"/>
                  </a:lnTo>
                  <a:lnTo>
                    <a:pt x="563" y="392"/>
                  </a:lnTo>
                  <a:lnTo>
                    <a:pt x="564" y="389"/>
                  </a:lnTo>
                  <a:lnTo>
                    <a:pt x="566" y="388"/>
                  </a:lnTo>
                  <a:lnTo>
                    <a:pt x="567" y="382"/>
                  </a:lnTo>
                  <a:lnTo>
                    <a:pt x="564" y="381"/>
                  </a:lnTo>
                  <a:lnTo>
                    <a:pt x="563" y="378"/>
                  </a:lnTo>
                  <a:lnTo>
                    <a:pt x="563" y="372"/>
                  </a:lnTo>
                  <a:lnTo>
                    <a:pt x="561" y="371"/>
                  </a:lnTo>
                  <a:lnTo>
                    <a:pt x="560" y="369"/>
                  </a:lnTo>
                  <a:lnTo>
                    <a:pt x="563" y="366"/>
                  </a:lnTo>
                  <a:lnTo>
                    <a:pt x="564" y="362"/>
                  </a:lnTo>
                  <a:lnTo>
                    <a:pt x="564" y="358"/>
                  </a:lnTo>
                  <a:lnTo>
                    <a:pt x="563" y="356"/>
                  </a:lnTo>
                  <a:lnTo>
                    <a:pt x="559" y="358"/>
                  </a:lnTo>
                  <a:lnTo>
                    <a:pt x="559" y="358"/>
                  </a:lnTo>
                  <a:lnTo>
                    <a:pt x="561" y="355"/>
                  </a:lnTo>
                  <a:lnTo>
                    <a:pt x="563" y="351"/>
                  </a:lnTo>
                  <a:lnTo>
                    <a:pt x="563" y="346"/>
                  </a:lnTo>
                  <a:lnTo>
                    <a:pt x="560" y="343"/>
                  </a:lnTo>
                  <a:lnTo>
                    <a:pt x="559" y="341"/>
                  </a:lnTo>
                  <a:lnTo>
                    <a:pt x="559" y="332"/>
                  </a:lnTo>
                  <a:lnTo>
                    <a:pt x="559" y="328"/>
                  </a:lnTo>
                  <a:lnTo>
                    <a:pt x="557" y="325"/>
                  </a:lnTo>
                  <a:lnTo>
                    <a:pt x="556" y="322"/>
                  </a:lnTo>
                  <a:lnTo>
                    <a:pt x="553" y="319"/>
                  </a:lnTo>
                  <a:lnTo>
                    <a:pt x="551" y="316"/>
                  </a:lnTo>
                  <a:lnTo>
                    <a:pt x="550" y="316"/>
                  </a:lnTo>
                  <a:lnTo>
                    <a:pt x="549" y="319"/>
                  </a:lnTo>
                  <a:lnTo>
                    <a:pt x="550" y="323"/>
                  </a:lnTo>
                  <a:lnTo>
                    <a:pt x="549" y="325"/>
                  </a:lnTo>
                  <a:lnTo>
                    <a:pt x="538" y="323"/>
                  </a:lnTo>
                  <a:lnTo>
                    <a:pt x="538" y="322"/>
                  </a:lnTo>
                  <a:lnTo>
                    <a:pt x="543" y="319"/>
                  </a:lnTo>
                  <a:lnTo>
                    <a:pt x="543" y="316"/>
                  </a:lnTo>
                  <a:lnTo>
                    <a:pt x="541" y="313"/>
                  </a:lnTo>
                  <a:lnTo>
                    <a:pt x="540" y="313"/>
                  </a:lnTo>
                  <a:lnTo>
                    <a:pt x="534" y="312"/>
                  </a:lnTo>
                  <a:lnTo>
                    <a:pt x="534" y="311"/>
                  </a:lnTo>
                  <a:lnTo>
                    <a:pt x="537" y="309"/>
                  </a:lnTo>
                  <a:lnTo>
                    <a:pt x="536" y="305"/>
                  </a:lnTo>
                  <a:lnTo>
                    <a:pt x="534" y="303"/>
                  </a:lnTo>
                  <a:lnTo>
                    <a:pt x="531" y="299"/>
                  </a:lnTo>
                  <a:lnTo>
                    <a:pt x="531" y="298"/>
                  </a:lnTo>
                  <a:lnTo>
                    <a:pt x="531" y="292"/>
                  </a:lnTo>
                  <a:lnTo>
                    <a:pt x="531" y="288"/>
                  </a:lnTo>
                  <a:lnTo>
                    <a:pt x="531" y="283"/>
                  </a:lnTo>
                  <a:lnTo>
                    <a:pt x="531" y="279"/>
                  </a:lnTo>
                  <a:lnTo>
                    <a:pt x="531" y="276"/>
                  </a:lnTo>
                  <a:lnTo>
                    <a:pt x="531" y="272"/>
                  </a:lnTo>
                  <a:lnTo>
                    <a:pt x="530" y="268"/>
                  </a:lnTo>
                  <a:lnTo>
                    <a:pt x="528" y="263"/>
                  </a:lnTo>
                  <a:lnTo>
                    <a:pt x="528" y="262"/>
                  </a:lnTo>
                  <a:lnTo>
                    <a:pt x="526" y="258"/>
                  </a:lnTo>
                  <a:lnTo>
                    <a:pt x="523" y="253"/>
                  </a:lnTo>
                  <a:lnTo>
                    <a:pt x="520" y="250"/>
                  </a:lnTo>
                  <a:lnTo>
                    <a:pt x="516" y="248"/>
                  </a:lnTo>
                  <a:lnTo>
                    <a:pt x="514" y="246"/>
                  </a:lnTo>
                  <a:lnTo>
                    <a:pt x="510" y="243"/>
                  </a:lnTo>
                  <a:lnTo>
                    <a:pt x="510" y="240"/>
                  </a:lnTo>
                  <a:lnTo>
                    <a:pt x="511" y="240"/>
                  </a:lnTo>
                  <a:lnTo>
                    <a:pt x="511" y="239"/>
                  </a:lnTo>
                  <a:lnTo>
                    <a:pt x="510" y="237"/>
                  </a:lnTo>
                  <a:lnTo>
                    <a:pt x="508" y="235"/>
                  </a:lnTo>
                  <a:lnTo>
                    <a:pt x="504" y="235"/>
                  </a:lnTo>
                  <a:lnTo>
                    <a:pt x="503" y="237"/>
                  </a:lnTo>
                  <a:lnTo>
                    <a:pt x="503" y="240"/>
                  </a:lnTo>
                  <a:lnTo>
                    <a:pt x="498" y="240"/>
                  </a:lnTo>
                  <a:lnTo>
                    <a:pt x="497" y="240"/>
                  </a:lnTo>
                  <a:lnTo>
                    <a:pt x="493" y="245"/>
                  </a:lnTo>
                  <a:lnTo>
                    <a:pt x="490" y="246"/>
                  </a:lnTo>
                  <a:lnTo>
                    <a:pt x="484" y="246"/>
                  </a:lnTo>
                  <a:lnTo>
                    <a:pt x="478" y="245"/>
                  </a:lnTo>
                  <a:lnTo>
                    <a:pt x="474" y="248"/>
                  </a:lnTo>
                  <a:lnTo>
                    <a:pt x="470" y="240"/>
                  </a:lnTo>
                  <a:lnTo>
                    <a:pt x="460" y="237"/>
                  </a:lnTo>
                  <a:lnTo>
                    <a:pt x="451" y="236"/>
                  </a:lnTo>
                  <a:lnTo>
                    <a:pt x="441" y="240"/>
                  </a:lnTo>
                  <a:lnTo>
                    <a:pt x="437" y="242"/>
                  </a:lnTo>
                  <a:lnTo>
                    <a:pt x="438" y="237"/>
                  </a:lnTo>
                  <a:lnTo>
                    <a:pt x="445" y="233"/>
                  </a:lnTo>
                  <a:lnTo>
                    <a:pt x="455" y="232"/>
                  </a:lnTo>
                  <a:lnTo>
                    <a:pt x="463" y="235"/>
                  </a:lnTo>
                  <a:lnTo>
                    <a:pt x="471" y="239"/>
                  </a:lnTo>
                  <a:lnTo>
                    <a:pt x="478" y="242"/>
                  </a:lnTo>
                  <a:lnTo>
                    <a:pt x="485" y="240"/>
                  </a:lnTo>
                  <a:lnTo>
                    <a:pt x="488" y="239"/>
                  </a:lnTo>
                  <a:lnTo>
                    <a:pt x="490" y="232"/>
                  </a:lnTo>
                  <a:lnTo>
                    <a:pt x="488" y="229"/>
                  </a:lnTo>
                  <a:lnTo>
                    <a:pt x="490" y="229"/>
                  </a:lnTo>
                  <a:lnTo>
                    <a:pt x="494" y="232"/>
                  </a:lnTo>
                  <a:lnTo>
                    <a:pt x="498" y="235"/>
                  </a:lnTo>
                  <a:lnTo>
                    <a:pt x="501" y="232"/>
                  </a:lnTo>
                  <a:lnTo>
                    <a:pt x="497" y="227"/>
                  </a:lnTo>
                  <a:lnTo>
                    <a:pt x="491" y="223"/>
                  </a:lnTo>
                  <a:lnTo>
                    <a:pt x="488" y="222"/>
                  </a:lnTo>
                  <a:lnTo>
                    <a:pt x="491" y="222"/>
                  </a:lnTo>
                  <a:lnTo>
                    <a:pt x="497" y="222"/>
                  </a:lnTo>
                  <a:lnTo>
                    <a:pt x="500" y="225"/>
                  </a:lnTo>
                  <a:lnTo>
                    <a:pt x="501" y="226"/>
                  </a:lnTo>
                  <a:lnTo>
                    <a:pt x="510" y="227"/>
                  </a:lnTo>
                  <a:lnTo>
                    <a:pt x="511" y="227"/>
                  </a:lnTo>
                  <a:lnTo>
                    <a:pt x="514" y="225"/>
                  </a:lnTo>
                  <a:lnTo>
                    <a:pt x="520" y="220"/>
                  </a:lnTo>
                  <a:lnTo>
                    <a:pt x="523" y="216"/>
                  </a:lnTo>
                  <a:lnTo>
                    <a:pt x="520" y="215"/>
                  </a:lnTo>
                  <a:lnTo>
                    <a:pt x="516" y="213"/>
                  </a:lnTo>
                  <a:lnTo>
                    <a:pt x="516" y="212"/>
                  </a:lnTo>
                  <a:lnTo>
                    <a:pt x="513" y="209"/>
                  </a:lnTo>
                  <a:lnTo>
                    <a:pt x="510" y="207"/>
                  </a:lnTo>
                  <a:lnTo>
                    <a:pt x="508" y="205"/>
                  </a:lnTo>
                  <a:lnTo>
                    <a:pt x="504" y="205"/>
                  </a:lnTo>
                  <a:lnTo>
                    <a:pt x="503" y="203"/>
                  </a:lnTo>
                  <a:lnTo>
                    <a:pt x="498" y="200"/>
                  </a:lnTo>
                  <a:lnTo>
                    <a:pt x="494" y="200"/>
                  </a:lnTo>
                  <a:lnTo>
                    <a:pt x="491" y="200"/>
                  </a:lnTo>
                  <a:lnTo>
                    <a:pt x="488" y="202"/>
                  </a:lnTo>
                  <a:lnTo>
                    <a:pt x="487" y="200"/>
                  </a:lnTo>
                  <a:lnTo>
                    <a:pt x="485" y="199"/>
                  </a:lnTo>
                  <a:lnTo>
                    <a:pt x="484" y="197"/>
                  </a:lnTo>
                  <a:lnTo>
                    <a:pt x="484" y="196"/>
                  </a:lnTo>
                  <a:lnTo>
                    <a:pt x="488" y="195"/>
                  </a:lnTo>
                  <a:lnTo>
                    <a:pt x="497" y="196"/>
                  </a:lnTo>
                  <a:lnTo>
                    <a:pt x="503" y="197"/>
                  </a:lnTo>
                  <a:lnTo>
                    <a:pt x="510" y="197"/>
                  </a:lnTo>
                  <a:lnTo>
                    <a:pt x="511" y="195"/>
                  </a:lnTo>
                  <a:lnTo>
                    <a:pt x="511" y="192"/>
                  </a:lnTo>
                  <a:lnTo>
                    <a:pt x="508" y="189"/>
                  </a:lnTo>
                  <a:lnTo>
                    <a:pt x="504" y="189"/>
                  </a:lnTo>
                  <a:lnTo>
                    <a:pt x="501" y="186"/>
                  </a:lnTo>
                  <a:lnTo>
                    <a:pt x="504" y="186"/>
                  </a:lnTo>
                  <a:lnTo>
                    <a:pt x="508" y="182"/>
                  </a:lnTo>
                  <a:lnTo>
                    <a:pt x="508" y="177"/>
                  </a:lnTo>
                  <a:lnTo>
                    <a:pt x="508" y="176"/>
                  </a:lnTo>
                  <a:lnTo>
                    <a:pt x="504" y="174"/>
                  </a:lnTo>
                  <a:lnTo>
                    <a:pt x="503" y="172"/>
                  </a:lnTo>
                  <a:lnTo>
                    <a:pt x="501" y="166"/>
                  </a:lnTo>
                  <a:lnTo>
                    <a:pt x="496" y="163"/>
                  </a:lnTo>
                  <a:lnTo>
                    <a:pt x="493" y="164"/>
                  </a:lnTo>
                  <a:lnTo>
                    <a:pt x="488" y="162"/>
                  </a:lnTo>
                  <a:lnTo>
                    <a:pt x="483" y="159"/>
                  </a:lnTo>
                  <a:lnTo>
                    <a:pt x="484" y="157"/>
                  </a:lnTo>
                  <a:lnTo>
                    <a:pt x="488" y="160"/>
                  </a:lnTo>
                  <a:lnTo>
                    <a:pt x="498" y="162"/>
                  </a:lnTo>
                  <a:lnTo>
                    <a:pt x="501" y="157"/>
                  </a:lnTo>
                  <a:lnTo>
                    <a:pt x="504" y="156"/>
                  </a:lnTo>
                  <a:lnTo>
                    <a:pt x="507" y="154"/>
                  </a:lnTo>
                  <a:lnTo>
                    <a:pt x="508" y="144"/>
                  </a:lnTo>
                  <a:lnTo>
                    <a:pt x="507" y="139"/>
                  </a:lnTo>
                  <a:lnTo>
                    <a:pt x="504" y="136"/>
                  </a:lnTo>
                  <a:lnTo>
                    <a:pt x="498" y="133"/>
                  </a:lnTo>
                  <a:lnTo>
                    <a:pt x="500" y="132"/>
                  </a:lnTo>
                  <a:lnTo>
                    <a:pt x="506" y="132"/>
                  </a:lnTo>
                  <a:lnTo>
                    <a:pt x="508" y="129"/>
                  </a:lnTo>
                  <a:lnTo>
                    <a:pt x="513" y="127"/>
                  </a:lnTo>
                  <a:lnTo>
                    <a:pt x="517" y="127"/>
                  </a:lnTo>
                  <a:lnTo>
                    <a:pt x="523" y="121"/>
                  </a:lnTo>
                  <a:lnTo>
                    <a:pt x="524" y="123"/>
                  </a:lnTo>
                  <a:lnTo>
                    <a:pt x="523" y="130"/>
                  </a:lnTo>
                  <a:lnTo>
                    <a:pt x="518" y="132"/>
                  </a:lnTo>
                  <a:lnTo>
                    <a:pt x="513" y="136"/>
                  </a:lnTo>
                  <a:lnTo>
                    <a:pt x="513" y="142"/>
                  </a:lnTo>
                  <a:lnTo>
                    <a:pt x="517" y="144"/>
                  </a:lnTo>
                  <a:lnTo>
                    <a:pt x="518" y="149"/>
                  </a:lnTo>
                  <a:lnTo>
                    <a:pt x="517" y="154"/>
                  </a:lnTo>
                  <a:lnTo>
                    <a:pt x="518" y="160"/>
                  </a:lnTo>
                  <a:lnTo>
                    <a:pt x="520" y="164"/>
                  </a:lnTo>
                  <a:lnTo>
                    <a:pt x="521" y="176"/>
                  </a:lnTo>
                  <a:lnTo>
                    <a:pt x="526" y="180"/>
                  </a:lnTo>
                  <a:lnTo>
                    <a:pt x="534" y="180"/>
                  </a:lnTo>
                  <a:lnTo>
                    <a:pt x="540" y="182"/>
                  </a:lnTo>
                  <a:lnTo>
                    <a:pt x="544" y="179"/>
                  </a:lnTo>
                  <a:lnTo>
                    <a:pt x="549" y="176"/>
                  </a:lnTo>
                  <a:lnTo>
                    <a:pt x="553" y="177"/>
                  </a:lnTo>
                  <a:lnTo>
                    <a:pt x="556" y="173"/>
                  </a:lnTo>
                  <a:lnTo>
                    <a:pt x="556" y="172"/>
                  </a:lnTo>
                  <a:lnTo>
                    <a:pt x="554" y="167"/>
                  </a:lnTo>
                  <a:lnTo>
                    <a:pt x="553" y="157"/>
                  </a:lnTo>
                  <a:lnTo>
                    <a:pt x="551" y="150"/>
                  </a:lnTo>
                  <a:lnTo>
                    <a:pt x="550" y="147"/>
                  </a:lnTo>
                  <a:lnTo>
                    <a:pt x="547" y="143"/>
                  </a:lnTo>
                  <a:lnTo>
                    <a:pt x="546" y="140"/>
                  </a:lnTo>
                  <a:lnTo>
                    <a:pt x="544" y="136"/>
                  </a:lnTo>
                  <a:lnTo>
                    <a:pt x="550" y="134"/>
                  </a:lnTo>
                  <a:lnTo>
                    <a:pt x="551" y="133"/>
                  </a:lnTo>
                  <a:lnTo>
                    <a:pt x="553" y="129"/>
                  </a:lnTo>
                  <a:lnTo>
                    <a:pt x="553" y="126"/>
                  </a:lnTo>
                  <a:lnTo>
                    <a:pt x="550" y="119"/>
                  </a:lnTo>
                  <a:lnTo>
                    <a:pt x="551" y="113"/>
                  </a:lnTo>
                  <a:lnTo>
                    <a:pt x="553" y="104"/>
                  </a:lnTo>
                  <a:lnTo>
                    <a:pt x="550" y="103"/>
                  </a:lnTo>
                  <a:lnTo>
                    <a:pt x="549" y="100"/>
                  </a:lnTo>
                  <a:lnTo>
                    <a:pt x="551" y="96"/>
                  </a:lnTo>
                  <a:lnTo>
                    <a:pt x="549" y="96"/>
                  </a:lnTo>
                  <a:lnTo>
                    <a:pt x="541" y="99"/>
                  </a:lnTo>
                  <a:lnTo>
                    <a:pt x="540" y="103"/>
                  </a:lnTo>
                  <a:lnTo>
                    <a:pt x="537" y="107"/>
                  </a:lnTo>
                  <a:lnTo>
                    <a:pt x="533" y="111"/>
                  </a:lnTo>
                  <a:lnTo>
                    <a:pt x="527" y="116"/>
                  </a:lnTo>
                  <a:lnTo>
                    <a:pt x="528" y="107"/>
                  </a:lnTo>
                  <a:lnTo>
                    <a:pt x="530" y="99"/>
                  </a:lnTo>
                  <a:lnTo>
                    <a:pt x="523" y="99"/>
                  </a:lnTo>
                  <a:lnTo>
                    <a:pt x="513" y="103"/>
                  </a:lnTo>
                  <a:lnTo>
                    <a:pt x="511" y="109"/>
                  </a:lnTo>
                  <a:lnTo>
                    <a:pt x="510" y="119"/>
                  </a:lnTo>
                  <a:lnTo>
                    <a:pt x="504" y="114"/>
                  </a:lnTo>
                  <a:lnTo>
                    <a:pt x="504" y="106"/>
                  </a:lnTo>
                  <a:lnTo>
                    <a:pt x="500" y="100"/>
                  </a:lnTo>
                  <a:lnTo>
                    <a:pt x="493" y="97"/>
                  </a:lnTo>
                  <a:lnTo>
                    <a:pt x="491" y="94"/>
                  </a:lnTo>
                  <a:lnTo>
                    <a:pt x="501" y="89"/>
                  </a:lnTo>
                  <a:lnTo>
                    <a:pt x="501" y="79"/>
                  </a:lnTo>
                  <a:lnTo>
                    <a:pt x="501" y="79"/>
                  </a:lnTo>
                  <a:lnTo>
                    <a:pt x="498" y="71"/>
                  </a:lnTo>
                  <a:lnTo>
                    <a:pt x="493" y="64"/>
                  </a:lnTo>
                  <a:lnTo>
                    <a:pt x="491" y="63"/>
                  </a:lnTo>
                  <a:lnTo>
                    <a:pt x="488" y="61"/>
                  </a:lnTo>
                  <a:lnTo>
                    <a:pt x="485" y="64"/>
                  </a:lnTo>
                  <a:lnTo>
                    <a:pt x="484" y="68"/>
                  </a:lnTo>
                  <a:lnTo>
                    <a:pt x="484" y="68"/>
                  </a:lnTo>
                  <a:lnTo>
                    <a:pt x="481" y="76"/>
                  </a:lnTo>
                  <a:lnTo>
                    <a:pt x="477" y="79"/>
                  </a:lnTo>
                  <a:lnTo>
                    <a:pt x="473" y="80"/>
                  </a:lnTo>
                  <a:lnTo>
                    <a:pt x="467" y="79"/>
                  </a:lnTo>
                  <a:lnTo>
                    <a:pt x="463" y="77"/>
                  </a:lnTo>
                  <a:lnTo>
                    <a:pt x="458" y="73"/>
                  </a:lnTo>
                  <a:lnTo>
                    <a:pt x="455" y="68"/>
                  </a:lnTo>
                  <a:lnTo>
                    <a:pt x="455" y="63"/>
                  </a:lnTo>
                  <a:lnTo>
                    <a:pt x="455" y="63"/>
                  </a:lnTo>
                  <a:lnTo>
                    <a:pt x="458" y="54"/>
                  </a:lnTo>
                  <a:lnTo>
                    <a:pt x="463" y="41"/>
                  </a:lnTo>
                  <a:lnTo>
                    <a:pt x="464" y="36"/>
                  </a:lnTo>
                  <a:lnTo>
                    <a:pt x="464" y="33"/>
                  </a:lnTo>
                  <a:lnTo>
                    <a:pt x="463" y="31"/>
                  </a:lnTo>
                  <a:lnTo>
                    <a:pt x="461" y="30"/>
                  </a:lnTo>
                  <a:lnTo>
                    <a:pt x="457" y="31"/>
                  </a:lnTo>
                  <a:lnTo>
                    <a:pt x="457" y="31"/>
                  </a:lnTo>
                  <a:lnTo>
                    <a:pt x="441" y="38"/>
                  </a:lnTo>
                  <a:lnTo>
                    <a:pt x="432" y="41"/>
                  </a:lnTo>
                  <a:lnTo>
                    <a:pt x="425" y="44"/>
                  </a:lnTo>
                  <a:lnTo>
                    <a:pt x="417" y="44"/>
                  </a:lnTo>
                  <a:lnTo>
                    <a:pt x="410" y="43"/>
                  </a:lnTo>
                  <a:lnTo>
                    <a:pt x="401" y="38"/>
                  </a:lnTo>
                  <a:lnTo>
                    <a:pt x="394" y="30"/>
                  </a:lnTo>
                  <a:lnTo>
                    <a:pt x="394" y="30"/>
                  </a:lnTo>
                  <a:lnTo>
                    <a:pt x="391" y="28"/>
                  </a:lnTo>
                  <a:lnTo>
                    <a:pt x="388" y="27"/>
                  </a:lnTo>
                  <a:lnTo>
                    <a:pt x="381" y="26"/>
                  </a:lnTo>
                  <a:lnTo>
                    <a:pt x="372" y="27"/>
                  </a:lnTo>
                  <a:lnTo>
                    <a:pt x="362" y="30"/>
                  </a:lnTo>
                  <a:lnTo>
                    <a:pt x="354" y="31"/>
                  </a:lnTo>
                  <a:lnTo>
                    <a:pt x="347" y="31"/>
                  </a:lnTo>
                  <a:lnTo>
                    <a:pt x="341" y="30"/>
                  </a:lnTo>
                  <a:lnTo>
                    <a:pt x="339" y="28"/>
                  </a:lnTo>
                  <a:lnTo>
                    <a:pt x="339" y="26"/>
                  </a:lnTo>
                  <a:lnTo>
                    <a:pt x="337" y="24"/>
                  </a:lnTo>
                  <a:lnTo>
                    <a:pt x="337" y="20"/>
                  </a:lnTo>
                  <a:lnTo>
                    <a:pt x="322" y="15"/>
                  </a:lnTo>
                  <a:lnTo>
                    <a:pt x="314" y="10"/>
                  </a:lnTo>
                  <a:lnTo>
                    <a:pt x="299" y="5"/>
                  </a:lnTo>
                  <a:lnTo>
                    <a:pt x="294" y="5"/>
                  </a:lnTo>
                  <a:lnTo>
                    <a:pt x="294" y="11"/>
                  </a:lnTo>
                  <a:lnTo>
                    <a:pt x="301" y="31"/>
                  </a:lnTo>
                  <a:lnTo>
                    <a:pt x="263" y="30"/>
                  </a:lnTo>
                  <a:lnTo>
                    <a:pt x="253" y="33"/>
                  </a:lnTo>
                  <a:lnTo>
                    <a:pt x="246" y="34"/>
                  </a:lnTo>
                  <a:lnTo>
                    <a:pt x="242" y="37"/>
                  </a:lnTo>
                  <a:lnTo>
                    <a:pt x="235" y="44"/>
                  </a:lnTo>
                  <a:lnTo>
                    <a:pt x="228" y="51"/>
                  </a:lnTo>
                  <a:lnTo>
                    <a:pt x="216" y="60"/>
                  </a:lnTo>
                  <a:lnTo>
                    <a:pt x="209" y="68"/>
                  </a:lnTo>
                  <a:lnTo>
                    <a:pt x="206" y="73"/>
                  </a:lnTo>
                  <a:lnTo>
                    <a:pt x="203" y="83"/>
                  </a:lnTo>
                  <a:lnTo>
                    <a:pt x="205" y="87"/>
                  </a:lnTo>
                  <a:lnTo>
                    <a:pt x="206" y="93"/>
                  </a:lnTo>
                  <a:lnTo>
                    <a:pt x="206" y="99"/>
                  </a:lnTo>
                  <a:lnTo>
                    <a:pt x="206" y="111"/>
                  </a:lnTo>
                  <a:lnTo>
                    <a:pt x="205" y="119"/>
                  </a:lnTo>
                  <a:lnTo>
                    <a:pt x="205" y="123"/>
                  </a:lnTo>
                  <a:lnTo>
                    <a:pt x="200" y="132"/>
                  </a:lnTo>
                  <a:lnTo>
                    <a:pt x="198" y="136"/>
                  </a:lnTo>
                  <a:lnTo>
                    <a:pt x="193" y="139"/>
                  </a:lnTo>
                  <a:lnTo>
                    <a:pt x="190" y="142"/>
                  </a:lnTo>
                  <a:lnTo>
                    <a:pt x="182" y="150"/>
                  </a:lnTo>
                  <a:lnTo>
                    <a:pt x="179" y="156"/>
                  </a:lnTo>
                  <a:lnTo>
                    <a:pt x="175" y="167"/>
                  </a:lnTo>
                  <a:lnTo>
                    <a:pt x="172" y="186"/>
                  </a:lnTo>
                  <a:lnTo>
                    <a:pt x="169" y="196"/>
                  </a:lnTo>
                  <a:lnTo>
                    <a:pt x="160" y="196"/>
                  </a:lnTo>
                  <a:lnTo>
                    <a:pt x="158" y="196"/>
                  </a:lnTo>
                  <a:lnTo>
                    <a:pt x="153" y="196"/>
                  </a:lnTo>
                  <a:lnTo>
                    <a:pt x="145" y="196"/>
                  </a:lnTo>
                  <a:lnTo>
                    <a:pt x="143" y="196"/>
                  </a:lnTo>
                  <a:lnTo>
                    <a:pt x="136" y="196"/>
                  </a:lnTo>
                  <a:lnTo>
                    <a:pt x="132" y="196"/>
                  </a:lnTo>
                  <a:lnTo>
                    <a:pt x="126" y="196"/>
                  </a:lnTo>
                  <a:lnTo>
                    <a:pt x="117" y="195"/>
                  </a:lnTo>
                  <a:lnTo>
                    <a:pt x="110" y="195"/>
                  </a:lnTo>
                  <a:lnTo>
                    <a:pt x="106" y="195"/>
                  </a:lnTo>
                  <a:lnTo>
                    <a:pt x="102" y="195"/>
                  </a:lnTo>
                  <a:lnTo>
                    <a:pt x="93" y="195"/>
                  </a:lnTo>
                  <a:lnTo>
                    <a:pt x="87" y="193"/>
                  </a:lnTo>
                  <a:lnTo>
                    <a:pt x="84" y="193"/>
                  </a:lnTo>
                  <a:lnTo>
                    <a:pt x="76" y="192"/>
                  </a:lnTo>
                  <a:lnTo>
                    <a:pt x="70" y="193"/>
                  </a:lnTo>
                  <a:lnTo>
                    <a:pt x="62" y="192"/>
                  </a:lnTo>
                  <a:lnTo>
                    <a:pt x="57" y="190"/>
                  </a:lnTo>
                  <a:lnTo>
                    <a:pt x="53" y="192"/>
                  </a:lnTo>
                  <a:lnTo>
                    <a:pt x="43" y="190"/>
                  </a:lnTo>
                  <a:lnTo>
                    <a:pt x="37" y="192"/>
                  </a:lnTo>
                  <a:lnTo>
                    <a:pt x="33" y="193"/>
                  </a:lnTo>
                  <a:lnTo>
                    <a:pt x="29" y="196"/>
                  </a:lnTo>
                  <a:lnTo>
                    <a:pt x="24" y="202"/>
                  </a:lnTo>
                  <a:lnTo>
                    <a:pt x="19" y="209"/>
                  </a:lnTo>
                  <a:lnTo>
                    <a:pt x="17" y="212"/>
                  </a:lnTo>
                  <a:lnTo>
                    <a:pt x="14" y="216"/>
                  </a:lnTo>
                  <a:lnTo>
                    <a:pt x="10" y="222"/>
                  </a:lnTo>
                  <a:lnTo>
                    <a:pt x="4" y="227"/>
                  </a:lnTo>
                  <a:lnTo>
                    <a:pt x="3" y="232"/>
                  </a:lnTo>
                  <a:lnTo>
                    <a:pt x="0" y="236"/>
                  </a:lnTo>
                  <a:lnTo>
                    <a:pt x="52" y="305"/>
                  </a:lnTo>
                  <a:lnTo>
                    <a:pt x="72" y="328"/>
                  </a:lnTo>
                  <a:lnTo>
                    <a:pt x="72" y="328"/>
                  </a:lnTo>
                  <a:lnTo>
                    <a:pt x="73" y="336"/>
                  </a:lnTo>
                  <a:lnTo>
                    <a:pt x="74" y="346"/>
                  </a:lnTo>
                  <a:lnTo>
                    <a:pt x="74" y="346"/>
                  </a:lnTo>
                  <a:lnTo>
                    <a:pt x="74" y="351"/>
                  </a:lnTo>
                  <a:lnTo>
                    <a:pt x="76" y="353"/>
                  </a:lnTo>
                  <a:lnTo>
                    <a:pt x="77" y="355"/>
                  </a:lnTo>
                  <a:lnTo>
                    <a:pt x="79" y="358"/>
                  </a:lnTo>
                  <a:lnTo>
                    <a:pt x="79" y="358"/>
                  </a:lnTo>
                  <a:lnTo>
                    <a:pt x="80" y="362"/>
                  </a:lnTo>
                  <a:lnTo>
                    <a:pt x="79" y="366"/>
                  </a:lnTo>
                  <a:lnTo>
                    <a:pt x="77" y="368"/>
                  </a:lnTo>
                  <a:lnTo>
                    <a:pt x="74" y="371"/>
                  </a:lnTo>
                  <a:lnTo>
                    <a:pt x="69" y="375"/>
                  </a:lnTo>
                  <a:lnTo>
                    <a:pt x="67" y="378"/>
                  </a:lnTo>
                  <a:lnTo>
                    <a:pt x="66" y="381"/>
                  </a:lnTo>
                  <a:lnTo>
                    <a:pt x="66" y="381"/>
                  </a:lnTo>
                  <a:lnTo>
                    <a:pt x="64" y="388"/>
                  </a:lnTo>
                  <a:lnTo>
                    <a:pt x="63" y="392"/>
                  </a:lnTo>
                  <a:lnTo>
                    <a:pt x="54" y="401"/>
                  </a:lnTo>
                  <a:lnTo>
                    <a:pt x="54" y="401"/>
                  </a:lnTo>
                  <a:lnTo>
                    <a:pt x="54" y="404"/>
                  </a:lnTo>
                  <a:lnTo>
                    <a:pt x="54" y="406"/>
                  </a:lnTo>
                  <a:lnTo>
                    <a:pt x="56" y="411"/>
                  </a:lnTo>
                  <a:lnTo>
                    <a:pt x="59" y="412"/>
                  </a:lnTo>
                  <a:lnTo>
                    <a:pt x="59" y="412"/>
                  </a:lnTo>
                  <a:lnTo>
                    <a:pt x="70" y="414"/>
                  </a:lnTo>
                  <a:lnTo>
                    <a:pt x="86" y="415"/>
                  </a:lnTo>
                  <a:lnTo>
                    <a:pt x="93" y="417"/>
                  </a:lnTo>
                  <a:lnTo>
                    <a:pt x="99" y="419"/>
                  </a:lnTo>
                  <a:lnTo>
                    <a:pt x="103" y="422"/>
                  </a:lnTo>
                  <a:lnTo>
                    <a:pt x="105" y="424"/>
                  </a:lnTo>
                  <a:lnTo>
                    <a:pt x="105" y="427"/>
                  </a:lnTo>
                  <a:lnTo>
                    <a:pt x="105" y="427"/>
                  </a:lnTo>
                  <a:close/>
                  <a:moveTo>
                    <a:pt x="480" y="15"/>
                  </a:moveTo>
                  <a:lnTo>
                    <a:pt x="480" y="15"/>
                  </a:lnTo>
                  <a:lnTo>
                    <a:pt x="481" y="11"/>
                  </a:lnTo>
                  <a:lnTo>
                    <a:pt x="483" y="11"/>
                  </a:lnTo>
                  <a:lnTo>
                    <a:pt x="488" y="11"/>
                  </a:lnTo>
                  <a:lnTo>
                    <a:pt x="488" y="11"/>
                  </a:lnTo>
                  <a:lnTo>
                    <a:pt x="490" y="10"/>
                  </a:lnTo>
                  <a:lnTo>
                    <a:pt x="491" y="8"/>
                  </a:lnTo>
                  <a:lnTo>
                    <a:pt x="491" y="4"/>
                  </a:lnTo>
                  <a:lnTo>
                    <a:pt x="491" y="4"/>
                  </a:lnTo>
                  <a:lnTo>
                    <a:pt x="491" y="1"/>
                  </a:lnTo>
                  <a:lnTo>
                    <a:pt x="490" y="0"/>
                  </a:lnTo>
                  <a:lnTo>
                    <a:pt x="487" y="0"/>
                  </a:lnTo>
                  <a:lnTo>
                    <a:pt x="487" y="0"/>
                  </a:lnTo>
                  <a:lnTo>
                    <a:pt x="480" y="0"/>
                  </a:lnTo>
                  <a:lnTo>
                    <a:pt x="473" y="0"/>
                  </a:lnTo>
                  <a:lnTo>
                    <a:pt x="473" y="0"/>
                  </a:lnTo>
                  <a:lnTo>
                    <a:pt x="470" y="1"/>
                  </a:lnTo>
                  <a:lnTo>
                    <a:pt x="470" y="1"/>
                  </a:lnTo>
                  <a:lnTo>
                    <a:pt x="465" y="3"/>
                  </a:lnTo>
                  <a:lnTo>
                    <a:pt x="465" y="3"/>
                  </a:lnTo>
                  <a:lnTo>
                    <a:pt x="465" y="3"/>
                  </a:lnTo>
                  <a:lnTo>
                    <a:pt x="464" y="4"/>
                  </a:lnTo>
                  <a:lnTo>
                    <a:pt x="464" y="8"/>
                  </a:lnTo>
                  <a:lnTo>
                    <a:pt x="464" y="8"/>
                  </a:lnTo>
                  <a:lnTo>
                    <a:pt x="464" y="11"/>
                  </a:lnTo>
                  <a:lnTo>
                    <a:pt x="465" y="13"/>
                  </a:lnTo>
                  <a:lnTo>
                    <a:pt x="465" y="13"/>
                  </a:lnTo>
                  <a:lnTo>
                    <a:pt x="470" y="14"/>
                  </a:lnTo>
                  <a:lnTo>
                    <a:pt x="474" y="15"/>
                  </a:lnTo>
                  <a:lnTo>
                    <a:pt x="474" y="15"/>
                  </a:lnTo>
                  <a:lnTo>
                    <a:pt x="477" y="15"/>
                  </a:lnTo>
                  <a:lnTo>
                    <a:pt x="478" y="14"/>
                  </a:lnTo>
                  <a:lnTo>
                    <a:pt x="478" y="14"/>
                  </a:lnTo>
                  <a:lnTo>
                    <a:pt x="481" y="11"/>
                  </a:lnTo>
                  <a:lnTo>
                    <a:pt x="480" y="15"/>
                  </a:lnTo>
                  <a:close/>
                  <a:moveTo>
                    <a:pt x="129" y="452"/>
                  </a:moveTo>
                  <a:lnTo>
                    <a:pt x="129" y="444"/>
                  </a:lnTo>
                  <a:lnTo>
                    <a:pt x="129" y="444"/>
                  </a:lnTo>
                  <a:lnTo>
                    <a:pt x="129" y="441"/>
                  </a:lnTo>
                  <a:lnTo>
                    <a:pt x="126" y="439"/>
                  </a:lnTo>
                  <a:lnTo>
                    <a:pt x="126" y="439"/>
                  </a:lnTo>
                  <a:lnTo>
                    <a:pt x="126" y="438"/>
                  </a:lnTo>
                  <a:lnTo>
                    <a:pt x="125" y="437"/>
                  </a:lnTo>
                  <a:lnTo>
                    <a:pt x="125" y="437"/>
                  </a:lnTo>
                  <a:lnTo>
                    <a:pt x="123" y="435"/>
                  </a:lnTo>
                  <a:lnTo>
                    <a:pt x="123" y="435"/>
                  </a:lnTo>
                  <a:lnTo>
                    <a:pt x="119" y="435"/>
                  </a:lnTo>
                  <a:lnTo>
                    <a:pt x="119" y="437"/>
                  </a:lnTo>
                  <a:lnTo>
                    <a:pt x="119" y="437"/>
                  </a:lnTo>
                  <a:lnTo>
                    <a:pt x="117" y="437"/>
                  </a:lnTo>
                  <a:lnTo>
                    <a:pt x="117" y="437"/>
                  </a:lnTo>
                  <a:lnTo>
                    <a:pt x="116" y="438"/>
                  </a:lnTo>
                  <a:lnTo>
                    <a:pt x="116" y="438"/>
                  </a:lnTo>
                  <a:lnTo>
                    <a:pt x="116" y="444"/>
                  </a:lnTo>
                  <a:lnTo>
                    <a:pt x="116" y="444"/>
                  </a:lnTo>
                  <a:lnTo>
                    <a:pt x="117" y="445"/>
                  </a:lnTo>
                  <a:lnTo>
                    <a:pt x="120" y="445"/>
                  </a:lnTo>
                  <a:lnTo>
                    <a:pt x="120" y="445"/>
                  </a:lnTo>
                  <a:lnTo>
                    <a:pt x="122" y="445"/>
                  </a:lnTo>
                  <a:lnTo>
                    <a:pt x="122" y="447"/>
                  </a:lnTo>
                  <a:lnTo>
                    <a:pt x="122" y="447"/>
                  </a:lnTo>
                  <a:lnTo>
                    <a:pt x="123" y="449"/>
                  </a:lnTo>
                  <a:lnTo>
                    <a:pt x="123" y="449"/>
                  </a:lnTo>
                  <a:lnTo>
                    <a:pt x="125" y="451"/>
                  </a:lnTo>
                  <a:lnTo>
                    <a:pt x="126" y="451"/>
                  </a:lnTo>
                  <a:lnTo>
                    <a:pt x="129" y="452"/>
                  </a:lnTo>
                  <a:lnTo>
                    <a:pt x="129" y="452"/>
                  </a:lnTo>
                  <a:close/>
                  <a:moveTo>
                    <a:pt x="543" y="272"/>
                  </a:moveTo>
                  <a:lnTo>
                    <a:pt x="543" y="272"/>
                  </a:lnTo>
                  <a:lnTo>
                    <a:pt x="541" y="270"/>
                  </a:lnTo>
                  <a:lnTo>
                    <a:pt x="541" y="268"/>
                  </a:lnTo>
                  <a:lnTo>
                    <a:pt x="541" y="268"/>
                  </a:lnTo>
                  <a:lnTo>
                    <a:pt x="543" y="263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56"/>
                  </a:lnTo>
                  <a:lnTo>
                    <a:pt x="540" y="255"/>
                  </a:lnTo>
                  <a:lnTo>
                    <a:pt x="540" y="255"/>
                  </a:lnTo>
                  <a:lnTo>
                    <a:pt x="536" y="252"/>
                  </a:lnTo>
                  <a:lnTo>
                    <a:pt x="536" y="252"/>
                  </a:lnTo>
                  <a:lnTo>
                    <a:pt x="533" y="250"/>
                  </a:lnTo>
                  <a:lnTo>
                    <a:pt x="531" y="252"/>
                  </a:lnTo>
                  <a:lnTo>
                    <a:pt x="530" y="256"/>
                  </a:lnTo>
                  <a:lnTo>
                    <a:pt x="530" y="256"/>
                  </a:lnTo>
                  <a:lnTo>
                    <a:pt x="531" y="259"/>
                  </a:lnTo>
                  <a:lnTo>
                    <a:pt x="531" y="262"/>
                  </a:lnTo>
                  <a:lnTo>
                    <a:pt x="531" y="262"/>
                  </a:lnTo>
                  <a:lnTo>
                    <a:pt x="531" y="268"/>
                  </a:lnTo>
                  <a:lnTo>
                    <a:pt x="531" y="268"/>
                  </a:lnTo>
                  <a:lnTo>
                    <a:pt x="533" y="269"/>
                  </a:lnTo>
                  <a:lnTo>
                    <a:pt x="534" y="270"/>
                  </a:lnTo>
                  <a:lnTo>
                    <a:pt x="534" y="270"/>
                  </a:lnTo>
                  <a:lnTo>
                    <a:pt x="536" y="272"/>
                  </a:lnTo>
                  <a:lnTo>
                    <a:pt x="537" y="273"/>
                  </a:lnTo>
                  <a:lnTo>
                    <a:pt x="537" y="273"/>
                  </a:lnTo>
                  <a:lnTo>
                    <a:pt x="541" y="273"/>
                  </a:lnTo>
                  <a:lnTo>
                    <a:pt x="543" y="272"/>
                  </a:lnTo>
                  <a:lnTo>
                    <a:pt x="543" y="272"/>
                  </a:lnTo>
                  <a:close/>
                  <a:moveTo>
                    <a:pt x="122" y="471"/>
                  </a:moveTo>
                  <a:lnTo>
                    <a:pt x="122" y="471"/>
                  </a:lnTo>
                  <a:lnTo>
                    <a:pt x="125" y="468"/>
                  </a:lnTo>
                  <a:lnTo>
                    <a:pt x="125" y="464"/>
                  </a:lnTo>
                  <a:lnTo>
                    <a:pt x="125" y="459"/>
                  </a:lnTo>
                  <a:lnTo>
                    <a:pt x="125" y="459"/>
                  </a:lnTo>
                  <a:lnTo>
                    <a:pt x="125" y="458"/>
                  </a:lnTo>
                  <a:lnTo>
                    <a:pt x="125" y="458"/>
                  </a:lnTo>
                  <a:lnTo>
                    <a:pt x="123" y="458"/>
                  </a:lnTo>
                  <a:lnTo>
                    <a:pt x="123" y="458"/>
                  </a:lnTo>
                  <a:lnTo>
                    <a:pt x="122" y="457"/>
                  </a:lnTo>
                  <a:lnTo>
                    <a:pt x="122" y="457"/>
                  </a:lnTo>
                  <a:lnTo>
                    <a:pt x="120" y="457"/>
                  </a:lnTo>
                  <a:lnTo>
                    <a:pt x="120" y="457"/>
                  </a:lnTo>
                  <a:lnTo>
                    <a:pt x="120" y="455"/>
                  </a:lnTo>
                  <a:lnTo>
                    <a:pt x="120" y="455"/>
                  </a:lnTo>
                  <a:lnTo>
                    <a:pt x="119" y="455"/>
                  </a:lnTo>
                  <a:lnTo>
                    <a:pt x="119" y="457"/>
                  </a:lnTo>
                  <a:lnTo>
                    <a:pt x="119" y="459"/>
                  </a:lnTo>
                  <a:lnTo>
                    <a:pt x="119" y="467"/>
                  </a:lnTo>
                  <a:lnTo>
                    <a:pt x="119" y="470"/>
                  </a:lnTo>
                  <a:lnTo>
                    <a:pt x="119" y="470"/>
                  </a:lnTo>
                  <a:lnTo>
                    <a:pt x="119" y="471"/>
                  </a:lnTo>
                  <a:lnTo>
                    <a:pt x="120" y="471"/>
                  </a:lnTo>
                  <a:lnTo>
                    <a:pt x="120" y="471"/>
                  </a:lnTo>
                  <a:lnTo>
                    <a:pt x="122" y="471"/>
                  </a:lnTo>
                  <a:lnTo>
                    <a:pt x="122" y="471"/>
                  </a:lnTo>
                  <a:lnTo>
                    <a:pt x="123" y="471"/>
                  </a:lnTo>
                  <a:lnTo>
                    <a:pt x="122" y="471"/>
                  </a:lnTo>
                  <a:lnTo>
                    <a:pt x="122" y="471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17" name="Freeform 165"/>
            <p:cNvSpPr>
              <a:spLocks/>
            </p:cNvSpPr>
            <p:nvPr/>
          </p:nvSpPr>
          <p:spPr bwMode="auto">
            <a:xfrm>
              <a:off x="3309331" y="2255030"/>
              <a:ext cx="346804" cy="564880"/>
            </a:xfrm>
            <a:custGeom>
              <a:avLst/>
              <a:gdLst>
                <a:gd name="T0" fmla="*/ 119 w 567"/>
                <a:gd name="T1" fmla="*/ 420 h 854"/>
                <a:gd name="T2" fmla="*/ 133 w 567"/>
                <a:gd name="T3" fmla="*/ 416 h 854"/>
                <a:gd name="T4" fmla="*/ 136 w 567"/>
                <a:gd name="T5" fmla="*/ 380 h 854"/>
                <a:gd name="T6" fmla="*/ 153 w 567"/>
                <a:gd name="T7" fmla="*/ 361 h 854"/>
                <a:gd name="T8" fmla="*/ 153 w 567"/>
                <a:gd name="T9" fmla="*/ 331 h 854"/>
                <a:gd name="T10" fmla="*/ 169 w 567"/>
                <a:gd name="T11" fmla="*/ 379 h 854"/>
                <a:gd name="T12" fmla="*/ 149 w 567"/>
                <a:gd name="T13" fmla="*/ 432 h 854"/>
                <a:gd name="T14" fmla="*/ 153 w 567"/>
                <a:gd name="T15" fmla="*/ 450 h 854"/>
                <a:gd name="T16" fmla="*/ 159 w 567"/>
                <a:gd name="T17" fmla="*/ 469 h 854"/>
                <a:gd name="T18" fmla="*/ 168 w 567"/>
                <a:gd name="T19" fmla="*/ 486 h 854"/>
                <a:gd name="T20" fmla="*/ 163 w 567"/>
                <a:gd name="T21" fmla="*/ 500 h 854"/>
                <a:gd name="T22" fmla="*/ 173 w 567"/>
                <a:gd name="T23" fmla="*/ 535 h 854"/>
                <a:gd name="T24" fmla="*/ 188 w 567"/>
                <a:gd name="T25" fmla="*/ 645 h 854"/>
                <a:gd name="T26" fmla="*/ 222 w 567"/>
                <a:gd name="T27" fmla="*/ 755 h 854"/>
                <a:gd name="T28" fmla="*/ 262 w 567"/>
                <a:gd name="T29" fmla="*/ 804 h 854"/>
                <a:gd name="T30" fmla="*/ 351 w 567"/>
                <a:gd name="T31" fmla="*/ 847 h 854"/>
                <a:gd name="T32" fmla="*/ 415 w 567"/>
                <a:gd name="T33" fmla="*/ 848 h 854"/>
                <a:gd name="T34" fmla="*/ 465 w 567"/>
                <a:gd name="T35" fmla="*/ 840 h 854"/>
                <a:gd name="T36" fmla="*/ 491 w 567"/>
                <a:gd name="T37" fmla="*/ 828 h 854"/>
                <a:gd name="T38" fmla="*/ 516 w 567"/>
                <a:gd name="T39" fmla="*/ 791 h 854"/>
                <a:gd name="T40" fmla="*/ 546 w 567"/>
                <a:gd name="T41" fmla="*/ 758 h 854"/>
                <a:gd name="T42" fmla="*/ 547 w 567"/>
                <a:gd name="T43" fmla="*/ 721 h 854"/>
                <a:gd name="T44" fmla="*/ 549 w 567"/>
                <a:gd name="T45" fmla="*/ 704 h 854"/>
                <a:gd name="T46" fmla="*/ 557 w 567"/>
                <a:gd name="T47" fmla="*/ 658 h 854"/>
                <a:gd name="T48" fmla="*/ 538 w 567"/>
                <a:gd name="T49" fmla="*/ 642 h 854"/>
                <a:gd name="T50" fmla="*/ 549 w 567"/>
                <a:gd name="T51" fmla="*/ 591 h 854"/>
                <a:gd name="T52" fmla="*/ 538 w 567"/>
                <a:gd name="T53" fmla="*/ 579 h 854"/>
                <a:gd name="T54" fmla="*/ 543 w 567"/>
                <a:gd name="T55" fmla="*/ 548 h 854"/>
                <a:gd name="T56" fmla="*/ 553 w 567"/>
                <a:gd name="T57" fmla="*/ 519 h 854"/>
                <a:gd name="T58" fmla="*/ 560 w 567"/>
                <a:gd name="T59" fmla="*/ 479 h 854"/>
                <a:gd name="T60" fmla="*/ 563 w 567"/>
                <a:gd name="T61" fmla="*/ 432 h 854"/>
                <a:gd name="T62" fmla="*/ 566 w 567"/>
                <a:gd name="T63" fmla="*/ 383 h 854"/>
                <a:gd name="T64" fmla="*/ 561 w 567"/>
                <a:gd name="T65" fmla="*/ 350 h 854"/>
                <a:gd name="T66" fmla="*/ 550 w 567"/>
                <a:gd name="T67" fmla="*/ 318 h 854"/>
                <a:gd name="T68" fmla="*/ 531 w 567"/>
                <a:gd name="T69" fmla="*/ 294 h 854"/>
                <a:gd name="T70" fmla="*/ 520 w 567"/>
                <a:gd name="T71" fmla="*/ 245 h 854"/>
                <a:gd name="T72" fmla="*/ 497 w 567"/>
                <a:gd name="T73" fmla="*/ 235 h 854"/>
                <a:gd name="T74" fmla="*/ 455 w 567"/>
                <a:gd name="T75" fmla="*/ 227 h 854"/>
                <a:gd name="T76" fmla="*/ 491 w 567"/>
                <a:gd name="T77" fmla="*/ 218 h 854"/>
                <a:gd name="T78" fmla="*/ 516 w 567"/>
                <a:gd name="T79" fmla="*/ 207 h 854"/>
                <a:gd name="T80" fmla="*/ 484 w 567"/>
                <a:gd name="T81" fmla="*/ 191 h 854"/>
                <a:gd name="T82" fmla="*/ 508 w 567"/>
                <a:gd name="T83" fmla="*/ 171 h 854"/>
                <a:gd name="T84" fmla="*/ 507 w 567"/>
                <a:gd name="T85" fmla="*/ 149 h 854"/>
                <a:gd name="T86" fmla="*/ 518 w 567"/>
                <a:gd name="T87" fmla="*/ 127 h 854"/>
                <a:gd name="T88" fmla="*/ 549 w 567"/>
                <a:gd name="T89" fmla="*/ 171 h 854"/>
                <a:gd name="T90" fmla="*/ 553 w 567"/>
                <a:gd name="T91" fmla="*/ 124 h 854"/>
                <a:gd name="T92" fmla="*/ 527 w 567"/>
                <a:gd name="T93" fmla="*/ 111 h 854"/>
                <a:gd name="T94" fmla="*/ 501 w 567"/>
                <a:gd name="T95" fmla="*/ 74 h 854"/>
                <a:gd name="T96" fmla="*/ 463 w 567"/>
                <a:gd name="T97" fmla="*/ 72 h 854"/>
                <a:gd name="T98" fmla="*/ 441 w 567"/>
                <a:gd name="T99" fmla="*/ 33 h 854"/>
                <a:gd name="T100" fmla="*/ 354 w 567"/>
                <a:gd name="T101" fmla="*/ 26 h 854"/>
                <a:gd name="T102" fmla="*/ 263 w 567"/>
                <a:gd name="T103" fmla="*/ 25 h 854"/>
                <a:gd name="T104" fmla="*/ 206 w 567"/>
                <a:gd name="T105" fmla="*/ 106 h 854"/>
                <a:gd name="T106" fmla="*/ 158 w 567"/>
                <a:gd name="T107" fmla="*/ 191 h 854"/>
                <a:gd name="T108" fmla="*/ 84 w 567"/>
                <a:gd name="T109" fmla="*/ 188 h 854"/>
                <a:gd name="T110" fmla="*/ 14 w 567"/>
                <a:gd name="T111" fmla="*/ 211 h 854"/>
                <a:gd name="T112" fmla="*/ 77 w 567"/>
                <a:gd name="T113" fmla="*/ 350 h 854"/>
                <a:gd name="T114" fmla="*/ 54 w 567"/>
                <a:gd name="T115" fmla="*/ 396 h 854"/>
                <a:gd name="T116" fmla="*/ 105 w 567"/>
                <a:gd name="T117" fmla="*/ 422 h 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7" h="854">
                  <a:moveTo>
                    <a:pt x="105" y="422"/>
                  </a:moveTo>
                  <a:lnTo>
                    <a:pt x="106" y="420"/>
                  </a:lnTo>
                  <a:lnTo>
                    <a:pt x="106" y="420"/>
                  </a:lnTo>
                  <a:lnTo>
                    <a:pt x="109" y="422"/>
                  </a:lnTo>
                  <a:lnTo>
                    <a:pt x="110" y="423"/>
                  </a:lnTo>
                  <a:lnTo>
                    <a:pt x="112" y="424"/>
                  </a:lnTo>
                  <a:lnTo>
                    <a:pt x="113" y="426"/>
                  </a:lnTo>
                  <a:lnTo>
                    <a:pt x="113" y="426"/>
                  </a:lnTo>
                  <a:lnTo>
                    <a:pt x="116" y="424"/>
                  </a:lnTo>
                  <a:lnTo>
                    <a:pt x="116" y="423"/>
                  </a:lnTo>
                  <a:lnTo>
                    <a:pt x="116" y="422"/>
                  </a:lnTo>
                  <a:lnTo>
                    <a:pt x="119" y="420"/>
                  </a:lnTo>
                  <a:lnTo>
                    <a:pt x="119" y="420"/>
                  </a:lnTo>
                  <a:lnTo>
                    <a:pt x="122" y="420"/>
                  </a:lnTo>
                  <a:lnTo>
                    <a:pt x="123" y="420"/>
                  </a:lnTo>
                  <a:lnTo>
                    <a:pt x="123" y="419"/>
                  </a:lnTo>
                  <a:lnTo>
                    <a:pt x="123" y="410"/>
                  </a:lnTo>
                  <a:lnTo>
                    <a:pt x="123" y="410"/>
                  </a:lnTo>
                  <a:lnTo>
                    <a:pt x="125" y="409"/>
                  </a:lnTo>
                  <a:lnTo>
                    <a:pt x="126" y="410"/>
                  </a:lnTo>
                  <a:lnTo>
                    <a:pt x="127" y="414"/>
                  </a:lnTo>
                  <a:lnTo>
                    <a:pt x="127" y="414"/>
                  </a:lnTo>
                  <a:lnTo>
                    <a:pt x="129" y="416"/>
                  </a:lnTo>
                  <a:lnTo>
                    <a:pt x="130" y="416"/>
                  </a:lnTo>
                  <a:lnTo>
                    <a:pt x="132" y="416"/>
                  </a:lnTo>
                  <a:lnTo>
                    <a:pt x="133" y="416"/>
                  </a:lnTo>
                  <a:lnTo>
                    <a:pt x="133" y="416"/>
                  </a:lnTo>
                  <a:lnTo>
                    <a:pt x="133" y="409"/>
                  </a:lnTo>
                  <a:lnTo>
                    <a:pt x="133" y="409"/>
                  </a:lnTo>
                  <a:lnTo>
                    <a:pt x="132" y="407"/>
                  </a:lnTo>
                  <a:lnTo>
                    <a:pt x="130" y="406"/>
                  </a:lnTo>
                  <a:lnTo>
                    <a:pt x="130" y="406"/>
                  </a:lnTo>
                  <a:lnTo>
                    <a:pt x="130" y="401"/>
                  </a:lnTo>
                  <a:lnTo>
                    <a:pt x="133" y="399"/>
                  </a:lnTo>
                  <a:lnTo>
                    <a:pt x="133" y="399"/>
                  </a:lnTo>
                  <a:lnTo>
                    <a:pt x="135" y="394"/>
                  </a:lnTo>
                  <a:lnTo>
                    <a:pt x="135" y="389"/>
                  </a:lnTo>
                  <a:lnTo>
                    <a:pt x="133" y="381"/>
                  </a:lnTo>
                  <a:lnTo>
                    <a:pt x="136" y="380"/>
                  </a:lnTo>
                  <a:lnTo>
                    <a:pt x="136" y="379"/>
                  </a:lnTo>
                  <a:lnTo>
                    <a:pt x="139" y="380"/>
                  </a:lnTo>
                  <a:lnTo>
                    <a:pt x="140" y="383"/>
                  </a:lnTo>
                  <a:lnTo>
                    <a:pt x="142" y="380"/>
                  </a:lnTo>
                  <a:lnTo>
                    <a:pt x="143" y="376"/>
                  </a:lnTo>
                  <a:lnTo>
                    <a:pt x="146" y="376"/>
                  </a:lnTo>
                  <a:lnTo>
                    <a:pt x="147" y="376"/>
                  </a:lnTo>
                  <a:lnTo>
                    <a:pt x="149" y="374"/>
                  </a:lnTo>
                  <a:lnTo>
                    <a:pt x="150" y="371"/>
                  </a:lnTo>
                  <a:lnTo>
                    <a:pt x="153" y="369"/>
                  </a:lnTo>
                  <a:lnTo>
                    <a:pt x="155" y="366"/>
                  </a:lnTo>
                  <a:lnTo>
                    <a:pt x="153" y="364"/>
                  </a:lnTo>
                  <a:lnTo>
                    <a:pt x="153" y="361"/>
                  </a:lnTo>
                  <a:lnTo>
                    <a:pt x="152" y="359"/>
                  </a:lnTo>
                  <a:lnTo>
                    <a:pt x="152" y="357"/>
                  </a:lnTo>
                  <a:lnTo>
                    <a:pt x="156" y="356"/>
                  </a:lnTo>
                  <a:lnTo>
                    <a:pt x="159" y="353"/>
                  </a:lnTo>
                  <a:lnTo>
                    <a:pt x="159" y="350"/>
                  </a:lnTo>
                  <a:lnTo>
                    <a:pt x="159" y="348"/>
                  </a:lnTo>
                  <a:lnTo>
                    <a:pt x="156" y="346"/>
                  </a:lnTo>
                  <a:lnTo>
                    <a:pt x="153" y="341"/>
                  </a:lnTo>
                  <a:lnTo>
                    <a:pt x="150" y="338"/>
                  </a:lnTo>
                  <a:lnTo>
                    <a:pt x="149" y="336"/>
                  </a:lnTo>
                  <a:lnTo>
                    <a:pt x="150" y="328"/>
                  </a:lnTo>
                  <a:lnTo>
                    <a:pt x="152" y="327"/>
                  </a:lnTo>
                  <a:lnTo>
                    <a:pt x="153" y="331"/>
                  </a:lnTo>
                  <a:lnTo>
                    <a:pt x="153" y="337"/>
                  </a:lnTo>
                  <a:lnTo>
                    <a:pt x="159" y="346"/>
                  </a:lnTo>
                  <a:lnTo>
                    <a:pt x="162" y="351"/>
                  </a:lnTo>
                  <a:lnTo>
                    <a:pt x="166" y="353"/>
                  </a:lnTo>
                  <a:lnTo>
                    <a:pt x="170" y="354"/>
                  </a:lnTo>
                  <a:lnTo>
                    <a:pt x="170" y="357"/>
                  </a:lnTo>
                  <a:lnTo>
                    <a:pt x="169" y="359"/>
                  </a:lnTo>
                  <a:lnTo>
                    <a:pt x="168" y="361"/>
                  </a:lnTo>
                  <a:lnTo>
                    <a:pt x="168" y="364"/>
                  </a:lnTo>
                  <a:lnTo>
                    <a:pt x="170" y="370"/>
                  </a:lnTo>
                  <a:lnTo>
                    <a:pt x="172" y="374"/>
                  </a:lnTo>
                  <a:lnTo>
                    <a:pt x="172" y="379"/>
                  </a:lnTo>
                  <a:lnTo>
                    <a:pt x="169" y="379"/>
                  </a:lnTo>
                  <a:lnTo>
                    <a:pt x="165" y="379"/>
                  </a:lnTo>
                  <a:lnTo>
                    <a:pt x="163" y="380"/>
                  </a:lnTo>
                  <a:lnTo>
                    <a:pt x="160" y="383"/>
                  </a:lnTo>
                  <a:lnTo>
                    <a:pt x="160" y="384"/>
                  </a:lnTo>
                  <a:lnTo>
                    <a:pt x="159" y="390"/>
                  </a:lnTo>
                  <a:lnTo>
                    <a:pt x="158" y="394"/>
                  </a:lnTo>
                  <a:lnTo>
                    <a:pt x="156" y="401"/>
                  </a:lnTo>
                  <a:lnTo>
                    <a:pt x="155" y="404"/>
                  </a:lnTo>
                  <a:lnTo>
                    <a:pt x="153" y="409"/>
                  </a:lnTo>
                  <a:lnTo>
                    <a:pt x="152" y="414"/>
                  </a:lnTo>
                  <a:lnTo>
                    <a:pt x="150" y="420"/>
                  </a:lnTo>
                  <a:lnTo>
                    <a:pt x="149" y="424"/>
                  </a:lnTo>
                  <a:lnTo>
                    <a:pt x="149" y="432"/>
                  </a:lnTo>
                  <a:lnTo>
                    <a:pt x="150" y="436"/>
                  </a:lnTo>
                  <a:lnTo>
                    <a:pt x="149" y="439"/>
                  </a:lnTo>
                  <a:lnTo>
                    <a:pt x="147" y="443"/>
                  </a:lnTo>
                  <a:lnTo>
                    <a:pt x="147" y="446"/>
                  </a:lnTo>
                  <a:lnTo>
                    <a:pt x="146" y="450"/>
                  </a:lnTo>
                  <a:lnTo>
                    <a:pt x="146" y="453"/>
                  </a:lnTo>
                  <a:lnTo>
                    <a:pt x="147" y="453"/>
                  </a:lnTo>
                  <a:lnTo>
                    <a:pt x="147" y="454"/>
                  </a:lnTo>
                  <a:lnTo>
                    <a:pt x="147" y="457"/>
                  </a:lnTo>
                  <a:lnTo>
                    <a:pt x="149" y="457"/>
                  </a:lnTo>
                  <a:lnTo>
                    <a:pt x="152" y="453"/>
                  </a:lnTo>
                  <a:lnTo>
                    <a:pt x="153" y="452"/>
                  </a:lnTo>
                  <a:lnTo>
                    <a:pt x="153" y="450"/>
                  </a:lnTo>
                  <a:lnTo>
                    <a:pt x="155" y="453"/>
                  </a:lnTo>
                  <a:lnTo>
                    <a:pt x="156" y="452"/>
                  </a:lnTo>
                  <a:lnTo>
                    <a:pt x="158" y="450"/>
                  </a:lnTo>
                  <a:lnTo>
                    <a:pt x="159" y="450"/>
                  </a:lnTo>
                  <a:lnTo>
                    <a:pt x="163" y="449"/>
                  </a:lnTo>
                  <a:lnTo>
                    <a:pt x="168" y="447"/>
                  </a:lnTo>
                  <a:lnTo>
                    <a:pt x="168" y="450"/>
                  </a:lnTo>
                  <a:lnTo>
                    <a:pt x="165" y="453"/>
                  </a:lnTo>
                  <a:lnTo>
                    <a:pt x="165" y="454"/>
                  </a:lnTo>
                  <a:lnTo>
                    <a:pt x="163" y="456"/>
                  </a:lnTo>
                  <a:lnTo>
                    <a:pt x="162" y="463"/>
                  </a:lnTo>
                  <a:lnTo>
                    <a:pt x="163" y="466"/>
                  </a:lnTo>
                  <a:lnTo>
                    <a:pt x="159" y="469"/>
                  </a:lnTo>
                  <a:lnTo>
                    <a:pt x="156" y="472"/>
                  </a:lnTo>
                  <a:lnTo>
                    <a:pt x="153" y="475"/>
                  </a:lnTo>
                  <a:lnTo>
                    <a:pt x="155" y="480"/>
                  </a:lnTo>
                  <a:lnTo>
                    <a:pt x="156" y="483"/>
                  </a:lnTo>
                  <a:lnTo>
                    <a:pt x="159" y="485"/>
                  </a:lnTo>
                  <a:lnTo>
                    <a:pt x="160" y="485"/>
                  </a:lnTo>
                  <a:lnTo>
                    <a:pt x="165" y="480"/>
                  </a:lnTo>
                  <a:lnTo>
                    <a:pt x="166" y="483"/>
                  </a:lnTo>
                  <a:lnTo>
                    <a:pt x="163" y="485"/>
                  </a:lnTo>
                  <a:lnTo>
                    <a:pt x="160" y="486"/>
                  </a:lnTo>
                  <a:lnTo>
                    <a:pt x="160" y="489"/>
                  </a:lnTo>
                  <a:lnTo>
                    <a:pt x="165" y="487"/>
                  </a:lnTo>
                  <a:lnTo>
                    <a:pt x="168" y="486"/>
                  </a:lnTo>
                  <a:lnTo>
                    <a:pt x="170" y="487"/>
                  </a:lnTo>
                  <a:lnTo>
                    <a:pt x="169" y="489"/>
                  </a:lnTo>
                  <a:lnTo>
                    <a:pt x="166" y="489"/>
                  </a:lnTo>
                  <a:lnTo>
                    <a:pt x="163" y="490"/>
                  </a:lnTo>
                  <a:lnTo>
                    <a:pt x="162" y="492"/>
                  </a:lnTo>
                  <a:lnTo>
                    <a:pt x="162" y="493"/>
                  </a:lnTo>
                  <a:lnTo>
                    <a:pt x="166" y="493"/>
                  </a:lnTo>
                  <a:lnTo>
                    <a:pt x="169" y="495"/>
                  </a:lnTo>
                  <a:lnTo>
                    <a:pt x="166" y="496"/>
                  </a:lnTo>
                  <a:lnTo>
                    <a:pt x="163" y="496"/>
                  </a:lnTo>
                  <a:lnTo>
                    <a:pt x="162" y="497"/>
                  </a:lnTo>
                  <a:lnTo>
                    <a:pt x="162" y="500"/>
                  </a:lnTo>
                  <a:lnTo>
                    <a:pt x="163" y="500"/>
                  </a:lnTo>
                  <a:lnTo>
                    <a:pt x="166" y="500"/>
                  </a:lnTo>
                  <a:lnTo>
                    <a:pt x="168" y="500"/>
                  </a:lnTo>
                  <a:lnTo>
                    <a:pt x="169" y="499"/>
                  </a:lnTo>
                  <a:lnTo>
                    <a:pt x="166" y="503"/>
                  </a:lnTo>
                  <a:lnTo>
                    <a:pt x="166" y="506"/>
                  </a:lnTo>
                  <a:lnTo>
                    <a:pt x="168" y="513"/>
                  </a:lnTo>
                  <a:lnTo>
                    <a:pt x="165" y="510"/>
                  </a:lnTo>
                  <a:lnTo>
                    <a:pt x="162" y="507"/>
                  </a:lnTo>
                  <a:lnTo>
                    <a:pt x="156" y="516"/>
                  </a:lnTo>
                  <a:lnTo>
                    <a:pt x="152" y="522"/>
                  </a:lnTo>
                  <a:lnTo>
                    <a:pt x="156" y="528"/>
                  </a:lnTo>
                  <a:lnTo>
                    <a:pt x="166" y="530"/>
                  </a:lnTo>
                  <a:lnTo>
                    <a:pt x="173" y="535"/>
                  </a:lnTo>
                  <a:lnTo>
                    <a:pt x="173" y="545"/>
                  </a:lnTo>
                  <a:lnTo>
                    <a:pt x="170" y="556"/>
                  </a:lnTo>
                  <a:lnTo>
                    <a:pt x="170" y="566"/>
                  </a:lnTo>
                  <a:lnTo>
                    <a:pt x="172" y="573"/>
                  </a:lnTo>
                  <a:lnTo>
                    <a:pt x="170" y="578"/>
                  </a:lnTo>
                  <a:lnTo>
                    <a:pt x="169" y="583"/>
                  </a:lnTo>
                  <a:lnTo>
                    <a:pt x="170" y="596"/>
                  </a:lnTo>
                  <a:lnTo>
                    <a:pt x="172" y="599"/>
                  </a:lnTo>
                  <a:lnTo>
                    <a:pt x="175" y="606"/>
                  </a:lnTo>
                  <a:lnTo>
                    <a:pt x="178" y="612"/>
                  </a:lnTo>
                  <a:lnTo>
                    <a:pt x="182" y="622"/>
                  </a:lnTo>
                  <a:lnTo>
                    <a:pt x="186" y="632"/>
                  </a:lnTo>
                  <a:lnTo>
                    <a:pt x="188" y="645"/>
                  </a:lnTo>
                  <a:lnTo>
                    <a:pt x="190" y="651"/>
                  </a:lnTo>
                  <a:lnTo>
                    <a:pt x="195" y="664"/>
                  </a:lnTo>
                  <a:lnTo>
                    <a:pt x="200" y="668"/>
                  </a:lnTo>
                  <a:lnTo>
                    <a:pt x="205" y="675"/>
                  </a:lnTo>
                  <a:lnTo>
                    <a:pt x="208" y="682"/>
                  </a:lnTo>
                  <a:lnTo>
                    <a:pt x="212" y="698"/>
                  </a:lnTo>
                  <a:lnTo>
                    <a:pt x="213" y="705"/>
                  </a:lnTo>
                  <a:lnTo>
                    <a:pt x="216" y="718"/>
                  </a:lnTo>
                  <a:lnTo>
                    <a:pt x="216" y="729"/>
                  </a:lnTo>
                  <a:lnTo>
                    <a:pt x="216" y="737"/>
                  </a:lnTo>
                  <a:lnTo>
                    <a:pt x="219" y="742"/>
                  </a:lnTo>
                  <a:lnTo>
                    <a:pt x="221" y="750"/>
                  </a:lnTo>
                  <a:lnTo>
                    <a:pt x="222" y="755"/>
                  </a:lnTo>
                  <a:lnTo>
                    <a:pt x="226" y="761"/>
                  </a:lnTo>
                  <a:lnTo>
                    <a:pt x="231" y="767"/>
                  </a:lnTo>
                  <a:lnTo>
                    <a:pt x="232" y="772"/>
                  </a:lnTo>
                  <a:lnTo>
                    <a:pt x="235" y="777"/>
                  </a:lnTo>
                  <a:lnTo>
                    <a:pt x="239" y="780"/>
                  </a:lnTo>
                  <a:lnTo>
                    <a:pt x="241" y="784"/>
                  </a:lnTo>
                  <a:lnTo>
                    <a:pt x="243" y="788"/>
                  </a:lnTo>
                  <a:lnTo>
                    <a:pt x="245" y="792"/>
                  </a:lnTo>
                  <a:lnTo>
                    <a:pt x="248" y="795"/>
                  </a:lnTo>
                  <a:lnTo>
                    <a:pt x="252" y="798"/>
                  </a:lnTo>
                  <a:lnTo>
                    <a:pt x="255" y="801"/>
                  </a:lnTo>
                  <a:lnTo>
                    <a:pt x="258" y="801"/>
                  </a:lnTo>
                  <a:lnTo>
                    <a:pt x="262" y="804"/>
                  </a:lnTo>
                  <a:lnTo>
                    <a:pt x="266" y="810"/>
                  </a:lnTo>
                  <a:lnTo>
                    <a:pt x="274" y="815"/>
                  </a:lnTo>
                  <a:lnTo>
                    <a:pt x="278" y="820"/>
                  </a:lnTo>
                  <a:lnTo>
                    <a:pt x="288" y="823"/>
                  </a:lnTo>
                  <a:lnTo>
                    <a:pt x="306" y="834"/>
                  </a:lnTo>
                  <a:lnTo>
                    <a:pt x="318" y="843"/>
                  </a:lnTo>
                  <a:lnTo>
                    <a:pt x="325" y="845"/>
                  </a:lnTo>
                  <a:lnTo>
                    <a:pt x="327" y="847"/>
                  </a:lnTo>
                  <a:lnTo>
                    <a:pt x="329" y="847"/>
                  </a:lnTo>
                  <a:lnTo>
                    <a:pt x="335" y="847"/>
                  </a:lnTo>
                  <a:lnTo>
                    <a:pt x="341" y="845"/>
                  </a:lnTo>
                  <a:lnTo>
                    <a:pt x="347" y="845"/>
                  </a:lnTo>
                  <a:lnTo>
                    <a:pt x="351" y="847"/>
                  </a:lnTo>
                  <a:lnTo>
                    <a:pt x="354" y="848"/>
                  </a:lnTo>
                  <a:lnTo>
                    <a:pt x="361" y="851"/>
                  </a:lnTo>
                  <a:lnTo>
                    <a:pt x="367" y="853"/>
                  </a:lnTo>
                  <a:lnTo>
                    <a:pt x="372" y="854"/>
                  </a:lnTo>
                  <a:lnTo>
                    <a:pt x="378" y="851"/>
                  </a:lnTo>
                  <a:lnTo>
                    <a:pt x="380" y="851"/>
                  </a:lnTo>
                  <a:lnTo>
                    <a:pt x="385" y="850"/>
                  </a:lnTo>
                  <a:lnTo>
                    <a:pt x="388" y="853"/>
                  </a:lnTo>
                  <a:lnTo>
                    <a:pt x="392" y="851"/>
                  </a:lnTo>
                  <a:lnTo>
                    <a:pt x="397" y="848"/>
                  </a:lnTo>
                  <a:lnTo>
                    <a:pt x="407" y="848"/>
                  </a:lnTo>
                  <a:lnTo>
                    <a:pt x="411" y="850"/>
                  </a:lnTo>
                  <a:lnTo>
                    <a:pt x="415" y="848"/>
                  </a:lnTo>
                  <a:lnTo>
                    <a:pt x="420" y="850"/>
                  </a:lnTo>
                  <a:lnTo>
                    <a:pt x="424" y="850"/>
                  </a:lnTo>
                  <a:lnTo>
                    <a:pt x="428" y="848"/>
                  </a:lnTo>
                  <a:lnTo>
                    <a:pt x="435" y="850"/>
                  </a:lnTo>
                  <a:lnTo>
                    <a:pt x="440" y="851"/>
                  </a:lnTo>
                  <a:lnTo>
                    <a:pt x="443" y="848"/>
                  </a:lnTo>
                  <a:lnTo>
                    <a:pt x="447" y="850"/>
                  </a:lnTo>
                  <a:lnTo>
                    <a:pt x="451" y="848"/>
                  </a:lnTo>
                  <a:lnTo>
                    <a:pt x="455" y="847"/>
                  </a:lnTo>
                  <a:lnTo>
                    <a:pt x="458" y="844"/>
                  </a:lnTo>
                  <a:lnTo>
                    <a:pt x="460" y="841"/>
                  </a:lnTo>
                  <a:lnTo>
                    <a:pt x="463" y="841"/>
                  </a:lnTo>
                  <a:lnTo>
                    <a:pt x="465" y="840"/>
                  </a:lnTo>
                  <a:lnTo>
                    <a:pt x="467" y="840"/>
                  </a:lnTo>
                  <a:lnTo>
                    <a:pt x="470" y="840"/>
                  </a:lnTo>
                  <a:lnTo>
                    <a:pt x="470" y="838"/>
                  </a:lnTo>
                  <a:lnTo>
                    <a:pt x="471" y="833"/>
                  </a:lnTo>
                  <a:lnTo>
                    <a:pt x="474" y="831"/>
                  </a:lnTo>
                  <a:lnTo>
                    <a:pt x="475" y="834"/>
                  </a:lnTo>
                  <a:lnTo>
                    <a:pt x="477" y="837"/>
                  </a:lnTo>
                  <a:lnTo>
                    <a:pt x="478" y="835"/>
                  </a:lnTo>
                  <a:lnTo>
                    <a:pt x="481" y="835"/>
                  </a:lnTo>
                  <a:lnTo>
                    <a:pt x="483" y="833"/>
                  </a:lnTo>
                  <a:lnTo>
                    <a:pt x="485" y="830"/>
                  </a:lnTo>
                  <a:lnTo>
                    <a:pt x="488" y="828"/>
                  </a:lnTo>
                  <a:lnTo>
                    <a:pt x="491" y="828"/>
                  </a:lnTo>
                  <a:lnTo>
                    <a:pt x="493" y="825"/>
                  </a:lnTo>
                  <a:lnTo>
                    <a:pt x="494" y="823"/>
                  </a:lnTo>
                  <a:lnTo>
                    <a:pt x="497" y="821"/>
                  </a:lnTo>
                  <a:lnTo>
                    <a:pt x="500" y="820"/>
                  </a:lnTo>
                  <a:lnTo>
                    <a:pt x="501" y="818"/>
                  </a:lnTo>
                  <a:lnTo>
                    <a:pt x="503" y="817"/>
                  </a:lnTo>
                  <a:lnTo>
                    <a:pt x="503" y="813"/>
                  </a:lnTo>
                  <a:lnTo>
                    <a:pt x="500" y="810"/>
                  </a:lnTo>
                  <a:lnTo>
                    <a:pt x="498" y="808"/>
                  </a:lnTo>
                  <a:lnTo>
                    <a:pt x="498" y="804"/>
                  </a:lnTo>
                  <a:lnTo>
                    <a:pt x="501" y="801"/>
                  </a:lnTo>
                  <a:lnTo>
                    <a:pt x="508" y="797"/>
                  </a:lnTo>
                  <a:lnTo>
                    <a:pt x="516" y="791"/>
                  </a:lnTo>
                  <a:lnTo>
                    <a:pt x="518" y="788"/>
                  </a:lnTo>
                  <a:lnTo>
                    <a:pt x="521" y="784"/>
                  </a:lnTo>
                  <a:lnTo>
                    <a:pt x="523" y="781"/>
                  </a:lnTo>
                  <a:lnTo>
                    <a:pt x="521" y="777"/>
                  </a:lnTo>
                  <a:lnTo>
                    <a:pt x="523" y="774"/>
                  </a:lnTo>
                  <a:lnTo>
                    <a:pt x="524" y="772"/>
                  </a:lnTo>
                  <a:lnTo>
                    <a:pt x="528" y="770"/>
                  </a:lnTo>
                  <a:lnTo>
                    <a:pt x="531" y="768"/>
                  </a:lnTo>
                  <a:lnTo>
                    <a:pt x="533" y="765"/>
                  </a:lnTo>
                  <a:lnTo>
                    <a:pt x="536" y="762"/>
                  </a:lnTo>
                  <a:lnTo>
                    <a:pt x="541" y="761"/>
                  </a:lnTo>
                  <a:lnTo>
                    <a:pt x="543" y="760"/>
                  </a:lnTo>
                  <a:lnTo>
                    <a:pt x="546" y="758"/>
                  </a:lnTo>
                  <a:lnTo>
                    <a:pt x="549" y="755"/>
                  </a:lnTo>
                  <a:lnTo>
                    <a:pt x="550" y="752"/>
                  </a:lnTo>
                  <a:lnTo>
                    <a:pt x="550" y="752"/>
                  </a:lnTo>
                  <a:lnTo>
                    <a:pt x="553" y="748"/>
                  </a:lnTo>
                  <a:lnTo>
                    <a:pt x="553" y="745"/>
                  </a:lnTo>
                  <a:lnTo>
                    <a:pt x="551" y="742"/>
                  </a:lnTo>
                  <a:lnTo>
                    <a:pt x="549" y="739"/>
                  </a:lnTo>
                  <a:lnTo>
                    <a:pt x="546" y="738"/>
                  </a:lnTo>
                  <a:lnTo>
                    <a:pt x="547" y="737"/>
                  </a:lnTo>
                  <a:lnTo>
                    <a:pt x="547" y="735"/>
                  </a:lnTo>
                  <a:lnTo>
                    <a:pt x="547" y="731"/>
                  </a:lnTo>
                  <a:lnTo>
                    <a:pt x="547" y="727"/>
                  </a:lnTo>
                  <a:lnTo>
                    <a:pt x="547" y="721"/>
                  </a:lnTo>
                  <a:lnTo>
                    <a:pt x="547" y="719"/>
                  </a:lnTo>
                  <a:lnTo>
                    <a:pt x="543" y="721"/>
                  </a:lnTo>
                  <a:lnTo>
                    <a:pt x="538" y="721"/>
                  </a:lnTo>
                  <a:lnTo>
                    <a:pt x="538" y="717"/>
                  </a:lnTo>
                  <a:lnTo>
                    <a:pt x="536" y="715"/>
                  </a:lnTo>
                  <a:lnTo>
                    <a:pt x="536" y="714"/>
                  </a:lnTo>
                  <a:lnTo>
                    <a:pt x="538" y="708"/>
                  </a:lnTo>
                  <a:lnTo>
                    <a:pt x="540" y="704"/>
                  </a:lnTo>
                  <a:lnTo>
                    <a:pt x="541" y="702"/>
                  </a:lnTo>
                  <a:lnTo>
                    <a:pt x="543" y="702"/>
                  </a:lnTo>
                  <a:lnTo>
                    <a:pt x="543" y="702"/>
                  </a:lnTo>
                  <a:lnTo>
                    <a:pt x="546" y="707"/>
                  </a:lnTo>
                  <a:lnTo>
                    <a:pt x="549" y="704"/>
                  </a:lnTo>
                  <a:lnTo>
                    <a:pt x="550" y="698"/>
                  </a:lnTo>
                  <a:lnTo>
                    <a:pt x="547" y="697"/>
                  </a:lnTo>
                  <a:lnTo>
                    <a:pt x="549" y="695"/>
                  </a:lnTo>
                  <a:lnTo>
                    <a:pt x="550" y="692"/>
                  </a:lnTo>
                  <a:lnTo>
                    <a:pt x="550" y="688"/>
                  </a:lnTo>
                  <a:lnTo>
                    <a:pt x="550" y="684"/>
                  </a:lnTo>
                  <a:lnTo>
                    <a:pt x="553" y="678"/>
                  </a:lnTo>
                  <a:lnTo>
                    <a:pt x="553" y="675"/>
                  </a:lnTo>
                  <a:lnTo>
                    <a:pt x="550" y="674"/>
                  </a:lnTo>
                  <a:lnTo>
                    <a:pt x="550" y="669"/>
                  </a:lnTo>
                  <a:lnTo>
                    <a:pt x="553" y="665"/>
                  </a:lnTo>
                  <a:lnTo>
                    <a:pt x="556" y="661"/>
                  </a:lnTo>
                  <a:lnTo>
                    <a:pt x="557" y="658"/>
                  </a:lnTo>
                  <a:lnTo>
                    <a:pt x="560" y="649"/>
                  </a:lnTo>
                  <a:lnTo>
                    <a:pt x="560" y="645"/>
                  </a:lnTo>
                  <a:lnTo>
                    <a:pt x="559" y="644"/>
                  </a:lnTo>
                  <a:lnTo>
                    <a:pt x="556" y="651"/>
                  </a:lnTo>
                  <a:lnTo>
                    <a:pt x="554" y="656"/>
                  </a:lnTo>
                  <a:lnTo>
                    <a:pt x="550" y="661"/>
                  </a:lnTo>
                  <a:lnTo>
                    <a:pt x="549" y="661"/>
                  </a:lnTo>
                  <a:lnTo>
                    <a:pt x="549" y="661"/>
                  </a:lnTo>
                  <a:lnTo>
                    <a:pt x="544" y="656"/>
                  </a:lnTo>
                  <a:lnTo>
                    <a:pt x="541" y="652"/>
                  </a:lnTo>
                  <a:lnTo>
                    <a:pt x="541" y="651"/>
                  </a:lnTo>
                  <a:lnTo>
                    <a:pt x="537" y="649"/>
                  </a:lnTo>
                  <a:lnTo>
                    <a:pt x="538" y="642"/>
                  </a:lnTo>
                  <a:lnTo>
                    <a:pt x="538" y="632"/>
                  </a:lnTo>
                  <a:lnTo>
                    <a:pt x="538" y="626"/>
                  </a:lnTo>
                  <a:lnTo>
                    <a:pt x="540" y="625"/>
                  </a:lnTo>
                  <a:lnTo>
                    <a:pt x="543" y="621"/>
                  </a:lnTo>
                  <a:lnTo>
                    <a:pt x="543" y="615"/>
                  </a:lnTo>
                  <a:lnTo>
                    <a:pt x="543" y="612"/>
                  </a:lnTo>
                  <a:lnTo>
                    <a:pt x="540" y="611"/>
                  </a:lnTo>
                  <a:lnTo>
                    <a:pt x="541" y="609"/>
                  </a:lnTo>
                  <a:lnTo>
                    <a:pt x="541" y="605"/>
                  </a:lnTo>
                  <a:lnTo>
                    <a:pt x="543" y="602"/>
                  </a:lnTo>
                  <a:lnTo>
                    <a:pt x="543" y="599"/>
                  </a:lnTo>
                  <a:lnTo>
                    <a:pt x="546" y="593"/>
                  </a:lnTo>
                  <a:lnTo>
                    <a:pt x="549" y="591"/>
                  </a:lnTo>
                  <a:lnTo>
                    <a:pt x="547" y="585"/>
                  </a:lnTo>
                  <a:lnTo>
                    <a:pt x="547" y="575"/>
                  </a:lnTo>
                  <a:lnTo>
                    <a:pt x="547" y="569"/>
                  </a:lnTo>
                  <a:lnTo>
                    <a:pt x="546" y="568"/>
                  </a:lnTo>
                  <a:lnTo>
                    <a:pt x="544" y="565"/>
                  </a:lnTo>
                  <a:lnTo>
                    <a:pt x="541" y="563"/>
                  </a:lnTo>
                  <a:lnTo>
                    <a:pt x="541" y="566"/>
                  </a:lnTo>
                  <a:lnTo>
                    <a:pt x="538" y="570"/>
                  </a:lnTo>
                  <a:lnTo>
                    <a:pt x="540" y="578"/>
                  </a:lnTo>
                  <a:lnTo>
                    <a:pt x="540" y="581"/>
                  </a:lnTo>
                  <a:lnTo>
                    <a:pt x="538" y="583"/>
                  </a:lnTo>
                  <a:lnTo>
                    <a:pt x="538" y="583"/>
                  </a:lnTo>
                  <a:lnTo>
                    <a:pt x="538" y="579"/>
                  </a:lnTo>
                  <a:lnTo>
                    <a:pt x="537" y="573"/>
                  </a:lnTo>
                  <a:lnTo>
                    <a:pt x="537" y="570"/>
                  </a:lnTo>
                  <a:lnTo>
                    <a:pt x="537" y="568"/>
                  </a:lnTo>
                  <a:lnTo>
                    <a:pt x="537" y="563"/>
                  </a:lnTo>
                  <a:lnTo>
                    <a:pt x="537" y="562"/>
                  </a:lnTo>
                  <a:lnTo>
                    <a:pt x="536" y="560"/>
                  </a:lnTo>
                  <a:lnTo>
                    <a:pt x="537" y="558"/>
                  </a:lnTo>
                  <a:lnTo>
                    <a:pt x="540" y="556"/>
                  </a:lnTo>
                  <a:lnTo>
                    <a:pt x="543" y="553"/>
                  </a:lnTo>
                  <a:lnTo>
                    <a:pt x="544" y="550"/>
                  </a:lnTo>
                  <a:lnTo>
                    <a:pt x="546" y="549"/>
                  </a:lnTo>
                  <a:lnTo>
                    <a:pt x="544" y="549"/>
                  </a:lnTo>
                  <a:lnTo>
                    <a:pt x="543" y="548"/>
                  </a:lnTo>
                  <a:lnTo>
                    <a:pt x="543" y="545"/>
                  </a:lnTo>
                  <a:lnTo>
                    <a:pt x="546" y="543"/>
                  </a:lnTo>
                  <a:lnTo>
                    <a:pt x="546" y="539"/>
                  </a:lnTo>
                  <a:lnTo>
                    <a:pt x="546" y="538"/>
                  </a:lnTo>
                  <a:lnTo>
                    <a:pt x="547" y="535"/>
                  </a:lnTo>
                  <a:lnTo>
                    <a:pt x="547" y="530"/>
                  </a:lnTo>
                  <a:lnTo>
                    <a:pt x="547" y="528"/>
                  </a:lnTo>
                  <a:lnTo>
                    <a:pt x="550" y="526"/>
                  </a:lnTo>
                  <a:lnTo>
                    <a:pt x="550" y="525"/>
                  </a:lnTo>
                  <a:lnTo>
                    <a:pt x="549" y="522"/>
                  </a:lnTo>
                  <a:lnTo>
                    <a:pt x="549" y="519"/>
                  </a:lnTo>
                  <a:lnTo>
                    <a:pt x="551" y="519"/>
                  </a:lnTo>
                  <a:lnTo>
                    <a:pt x="553" y="519"/>
                  </a:lnTo>
                  <a:lnTo>
                    <a:pt x="553" y="516"/>
                  </a:lnTo>
                  <a:lnTo>
                    <a:pt x="554" y="513"/>
                  </a:lnTo>
                  <a:lnTo>
                    <a:pt x="554" y="509"/>
                  </a:lnTo>
                  <a:lnTo>
                    <a:pt x="554" y="509"/>
                  </a:lnTo>
                  <a:lnTo>
                    <a:pt x="556" y="506"/>
                  </a:lnTo>
                  <a:lnTo>
                    <a:pt x="554" y="503"/>
                  </a:lnTo>
                  <a:lnTo>
                    <a:pt x="553" y="500"/>
                  </a:lnTo>
                  <a:lnTo>
                    <a:pt x="554" y="497"/>
                  </a:lnTo>
                  <a:lnTo>
                    <a:pt x="556" y="499"/>
                  </a:lnTo>
                  <a:lnTo>
                    <a:pt x="557" y="493"/>
                  </a:lnTo>
                  <a:lnTo>
                    <a:pt x="559" y="485"/>
                  </a:lnTo>
                  <a:lnTo>
                    <a:pt x="559" y="482"/>
                  </a:lnTo>
                  <a:lnTo>
                    <a:pt x="560" y="479"/>
                  </a:lnTo>
                  <a:lnTo>
                    <a:pt x="560" y="476"/>
                  </a:lnTo>
                  <a:lnTo>
                    <a:pt x="559" y="470"/>
                  </a:lnTo>
                  <a:lnTo>
                    <a:pt x="559" y="467"/>
                  </a:lnTo>
                  <a:lnTo>
                    <a:pt x="560" y="462"/>
                  </a:lnTo>
                  <a:lnTo>
                    <a:pt x="559" y="459"/>
                  </a:lnTo>
                  <a:lnTo>
                    <a:pt x="560" y="456"/>
                  </a:lnTo>
                  <a:lnTo>
                    <a:pt x="561" y="453"/>
                  </a:lnTo>
                  <a:lnTo>
                    <a:pt x="561" y="450"/>
                  </a:lnTo>
                  <a:lnTo>
                    <a:pt x="560" y="447"/>
                  </a:lnTo>
                  <a:lnTo>
                    <a:pt x="561" y="443"/>
                  </a:lnTo>
                  <a:lnTo>
                    <a:pt x="563" y="440"/>
                  </a:lnTo>
                  <a:lnTo>
                    <a:pt x="563" y="436"/>
                  </a:lnTo>
                  <a:lnTo>
                    <a:pt x="563" y="432"/>
                  </a:lnTo>
                  <a:lnTo>
                    <a:pt x="563" y="426"/>
                  </a:lnTo>
                  <a:lnTo>
                    <a:pt x="563" y="420"/>
                  </a:lnTo>
                  <a:lnTo>
                    <a:pt x="563" y="419"/>
                  </a:lnTo>
                  <a:lnTo>
                    <a:pt x="563" y="416"/>
                  </a:lnTo>
                  <a:lnTo>
                    <a:pt x="563" y="414"/>
                  </a:lnTo>
                  <a:lnTo>
                    <a:pt x="566" y="409"/>
                  </a:lnTo>
                  <a:lnTo>
                    <a:pt x="566" y="404"/>
                  </a:lnTo>
                  <a:lnTo>
                    <a:pt x="564" y="399"/>
                  </a:lnTo>
                  <a:lnTo>
                    <a:pt x="561" y="396"/>
                  </a:lnTo>
                  <a:lnTo>
                    <a:pt x="563" y="391"/>
                  </a:lnTo>
                  <a:lnTo>
                    <a:pt x="563" y="387"/>
                  </a:lnTo>
                  <a:lnTo>
                    <a:pt x="564" y="384"/>
                  </a:lnTo>
                  <a:lnTo>
                    <a:pt x="566" y="383"/>
                  </a:lnTo>
                  <a:lnTo>
                    <a:pt x="567" y="377"/>
                  </a:lnTo>
                  <a:lnTo>
                    <a:pt x="564" y="376"/>
                  </a:lnTo>
                  <a:lnTo>
                    <a:pt x="563" y="373"/>
                  </a:lnTo>
                  <a:lnTo>
                    <a:pt x="563" y="367"/>
                  </a:lnTo>
                  <a:lnTo>
                    <a:pt x="561" y="366"/>
                  </a:lnTo>
                  <a:lnTo>
                    <a:pt x="560" y="364"/>
                  </a:lnTo>
                  <a:lnTo>
                    <a:pt x="563" y="361"/>
                  </a:lnTo>
                  <a:lnTo>
                    <a:pt x="564" y="357"/>
                  </a:lnTo>
                  <a:lnTo>
                    <a:pt x="564" y="353"/>
                  </a:lnTo>
                  <a:lnTo>
                    <a:pt x="563" y="351"/>
                  </a:lnTo>
                  <a:lnTo>
                    <a:pt x="559" y="353"/>
                  </a:lnTo>
                  <a:lnTo>
                    <a:pt x="559" y="353"/>
                  </a:lnTo>
                  <a:lnTo>
                    <a:pt x="561" y="350"/>
                  </a:lnTo>
                  <a:lnTo>
                    <a:pt x="563" y="346"/>
                  </a:lnTo>
                  <a:lnTo>
                    <a:pt x="563" y="341"/>
                  </a:lnTo>
                  <a:lnTo>
                    <a:pt x="560" y="338"/>
                  </a:lnTo>
                  <a:lnTo>
                    <a:pt x="559" y="336"/>
                  </a:lnTo>
                  <a:lnTo>
                    <a:pt x="559" y="327"/>
                  </a:lnTo>
                  <a:lnTo>
                    <a:pt x="559" y="323"/>
                  </a:lnTo>
                  <a:lnTo>
                    <a:pt x="557" y="320"/>
                  </a:lnTo>
                  <a:lnTo>
                    <a:pt x="556" y="317"/>
                  </a:lnTo>
                  <a:lnTo>
                    <a:pt x="553" y="314"/>
                  </a:lnTo>
                  <a:lnTo>
                    <a:pt x="551" y="311"/>
                  </a:lnTo>
                  <a:lnTo>
                    <a:pt x="550" y="311"/>
                  </a:lnTo>
                  <a:lnTo>
                    <a:pt x="549" y="314"/>
                  </a:lnTo>
                  <a:lnTo>
                    <a:pt x="550" y="318"/>
                  </a:lnTo>
                  <a:lnTo>
                    <a:pt x="549" y="320"/>
                  </a:lnTo>
                  <a:lnTo>
                    <a:pt x="538" y="318"/>
                  </a:lnTo>
                  <a:lnTo>
                    <a:pt x="538" y="317"/>
                  </a:lnTo>
                  <a:lnTo>
                    <a:pt x="543" y="314"/>
                  </a:lnTo>
                  <a:lnTo>
                    <a:pt x="543" y="311"/>
                  </a:lnTo>
                  <a:lnTo>
                    <a:pt x="541" y="308"/>
                  </a:lnTo>
                  <a:lnTo>
                    <a:pt x="540" y="308"/>
                  </a:lnTo>
                  <a:lnTo>
                    <a:pt x="534" y="307"/>
                  </a:lnTo>
                  <a:lnTo>
                    <a:pt x="534" y="306"/>
                  </a:lnTo>
                  <a:lnTo>
                    <a:pt x="537" y="304"/>
                  </a:lnTo>
                  <a:lnTo>
                    <a:pt x="536" y="300"/>
                  </a:lnTo>
                  <a:lnTo>
                    <a:pt x="534" y="298"/>
                  </a:lnTo>
                  <a:lnTo>
                    <a:pt x="531" y="294"/>
                  </a:lnTo>
                  <a:lnTo>
                    <a:pt x="531" y="293"/>
                  </a:lnTo>
                  <a:lnTo>
                    <a:pt x="531" y="287"/>
                  </a:lnTo>
                  <a:lnTo>
                    <a:pt x="531" y="283"/>
                  </a:lnTo>
                  <a:lnTo>
                    <a:pt x="531" y="278"/>
                  </a:lnTo>
                  <a:lnTo>
                    <a:pt x="531" y="274"/>
                  </a:lnTo>
                  <a:lnTo>
                    <a:pt x="531" y="271"/>
                  </a:lnTo>
                  <a:lnTo>
                    <a:pt x="531" y="267"/>
                  </a:lnTo>
                  <a:lnTo>
                    <a:pt x="530" y="263"/>
                  </a:lnTo>
                  <a:lnTo>
                    <a:pt x="528" y="258"/>
                  </a:lnTo>
                  <a:lnTo>
                    <a:pt x="528" y="257"/>
                  </a:lnTo>
                  <a:lnTo>
                    <a:pt x="526" y="253"/>
                  </a:lnTo>
                  <a:lnTo>
                    <a:pt x="523" y="248"/>
                  </a:lnTo>
                  <a:lnTo>
                    <a:pt x="520" y="245"/>
                  </a:lnTo>
                  <a:lnTo>
                    <a:pt x="516" y="243"/>
                  </a:lnTo>
                  <a:lnTo>
                    <a:pt x="514" y="241"/>
                  </a:lnTo>
                  <a:lnTo>
                    <a:pt x="510" y="238"/>
                  </a:lnTo>
                  <a:lnTo>
                    <a:pt x="510" y="235"/>
                  </a:lnTo>
                  <a:lnTo>
                    <a:pt x="511" y="235"/>
                  </a:lnTo>
                  <a:lnTo>
                    <a:pt x="511" y="234"/>
                  </a:lnTo>
                  <a:lnTo>
                    <a:pt x="510" y="232"/>
                  </a:lnTo>
                  <a:lnTo>
                    <a:pt x="508" y="230"/>
                  </a:lnTo>
                  <a:lnTo>
                    <a:pt x="504" y="230"/>
                  </a:lnTo>
                  <a:lnTo>
                    <a:pt x="503" y="232"/>
                  </a:lnTo>
                  <a:lnTo>
                    <a:pt x="503" y="235"/>
                  </a:lnTo>
                  <a:lnTo>
                    <a:pt x="498" y="235"/>
                  </a:lnTo>
                  <a:lnTo>
                    <a:pt x="497" y="235"/>
                  </a:lnTo>
                  <a:lnTo>
                    <a:pt x="493" y="240"/>
                  </a:lnTo>
                  <a:lnTo>
                    <a:pt x="490" y="241"/>
                  </a:lnTo>
                  <a:lnTo>
                    <a:pt x="484" y="241"/>
                  </a:lnTo>
                  <a:lnTo>
                    <a:pt x="478" y="240"/>
                  </a:lnTo>
                  <a:lnTo>
                    <a:pt x="474" y="243"/>
                  </a:lnTo>
                  <a:lnTo>
                    <a:pt x="470" y="235"/>
                  </a:lnTo>
                  <a:lnTo>
                    <a:pt x="460" y="232"/>
                  </a:lnTo>
                  <a:lnTo>
                    <a:pt x="451" y="231"/>
                  </a:lnTo>
                  <a:lnTo>
                    <a:pt x="441" y="235"/>
                  </a:lnTo>
                  <a:lnTo>
                    <a:pt x="437" y="237"/>
                  </a:lnTo>
                  <a:lnTo>
                    <a:pt x="438" y="232"/>
                  </a:lnTo>
                  <a:lnTo>
                    <a:pt x="445" y="228"/>
                  </a:lnTo>
                  <a:lnTo>
                    <a:pt x="455" y="227"/>
                  </a:lnTo>
                  <a:lnTo>
                    <a:pt x="463" y="230"/>
                  </a:lnTo>
                  <a:lnTo>
                    <a:pt x="471" y="234"/>
                  </a:lnTo>
                  <a:lnTo>
                    <a:pt x="478" y="237"/>
                  </a:lnTo>
                  <a:lnTo>
                    <a:pt x="485" y="235"/>
                  </a:lnTo>
                  <a:lnTo>
                    <a:pt x="488" y="234"/>
                  </a:lnTo>
                  <a:lnTo>
                    <a:pt x="490" y="227"/>
                  </a:lnTo>
                  <a:lnTo>
                    <a:pt x="488" y="224"/>
                  </a:lnTo>
                  <a:lnTo>
                    <a:pt x="490" y="224"/>
                  </a:lnTo>
                  <a:lnTo>
                    <a:pt x="494" y="227"/>
                  </a:lnTo>
                  <a:lnTo>
                    <a:pt x="498" y="230"/>
                  </a:lnTo>
                  <a:lnTo>
                    <a:pt x="501" y="227"/>
                  </a:lnTo>
                  <a:lnTo>
                    <a:pt x="497" y="222"/>
                  </a:lnTo>
                  <a:lnTo>
                    <a:pt x="491" y="218"/>
                  </a:lnTo>
                  <a:lnTo>
                    <a:pt x="488" y="217"/>
                  </a:lnTo>
                  <a:lnTo>
                    <a:pt x="491" y="217"/>
                  </a:lnTo>
                  <a:lnTo>
                    <a:pt x="497" y="217"/>
                  </a:lnTo>
                  <a:lnTo>
                    <a:pt x="500" y="220"/>
                  </a:lnTo>
                  <a:lnTo>
                    <a:pt x="501" y="221"/>
                  </a:lnTo>
                  <a:lnTo>
                    <a:pt x="510" y="222"/>
                  </a:lnTo>
                  <a:lnTo>
                    <a:pt x="511" y="222"/>
                  </a:lnTo>
                  <a:lnTo>
                    <a:pt x="514" y="220"/>
                  </a:lnTo>
                  <a:lnTo>
                    <a:pt x="520" y="215"/>
                  </a:lnTo>
                  <a:lnTo>
                    <a:pt x="523" y="211"/>
                  </a:lnTo>
                  <a:lnTo>
                    <a:pt x="520" y="210"/>
                  </a:lnTo>
                  <a:lnTo>
                    <a:pt x="516" y="208"/>
                  </a:lnTo>
                  <a:lnTo>
                    <a:pt x="516" y="207"/>
                  </a:lnTo>
                  <a:lnTo>
                    <a:pt x="513" y="204"/>
                  </a:lnTo>
                  <a:lnTo>
                    <a:pt x="510" y="202"/>
                  </a:lnTo>
                  <a:lnTo>
                    <a:pt x="508" y="200"/>
                  </a:lnTo>
                  <a:lnTo>
                    <a:pt x="504" y="200"/>
                  </a:lnTo>
                  <a:lnTo>
                    <a:pt x="503" y="198"/>
                  </a:lnTo>
                  <a:lnTo>
                    <a:pt x="498" y="195"/>
                  </a:lnTo>
                  <a:lnTo>
                    <a:pt x="494" y="195"/>
                  </a:lnTo>
                  <a:lnTo>
                    <a:pt x="491" y="195"/>
                  </a:lnTo>
                  <a:lnTo>
                    <a:pt x="488" y="197"/>
                  </a:lnTo>
                  <a:lnTo>
                    <a:pt x="487" y="195"/>
                  </a:lnTo>
                  <a:lnTo>
                    <a:pt x="485" y="194"/>
                  </a:lnTo>
                  <a:lnTo>
                    <a:pt x="484" y="192"/>
                  </a:lnTo>
                  <a:lnTo>
                    <a:pt x="484" y="191"/>
                  </a:lnTo>
                  <a:lnTo>
                    <a:pt x="488" y="190"/>
                  </a:lnTo>
                  <a:lnTo>
                    <a:pt x="497" y="191"/>
                  </a:lnTo>
                  <a:lnTo>
                    <a:pt x="503" y="192"/>
                  </a:lnTo>
                  <a:lnTo>
                    <a:pt x="510" y="192"/>
                  </a:lnTo>
                  <a:lnTo>
                    <a:pt x="511" y="190"/>
                  </a:lnTo>
                  <a:lnTo>
                    <a:pt x="511" y="187"/>
                  </a:lnTo>
                  <a:lnTo>
                    <a:pt x="508" y="184"/>
                  </a:lnTo>
                  <a:lnTo>
                    <a:pt x="504" y="184"/>
                  </a:lnTo>
                  <a:lnTo>
                    <a:pt x="501" y="181"/>
                  </a:lnTo>
                  <a:lnTo>
                    <a:pt x="504" y="181"/>
                  </a:lnTo>
                  <a:lnTo>
                    <a:pt x="508" y="177"/>
                  </a:lnTo>
                  <a:lnTo>
                    <a:pt x="508" y="172"/>
                  </a:lnTo>
                  <a:lnTo>
                    <a:pt x="508" y="171"/>
                  </a:lnTo>
                  <a:lnTo>
                    <a:pt x="504" y="169"/>
                  </a:lnTo>
                  <a:lnTo>
                    <a:pt x="503" y="167"/>
                  </a:lnTo>
                  <a:lnTo>
                    <a:pt x="501" y="161"/>
                  </a:lnTo>
                  <a:lnTo>
                    <a:pt x="496" y="158"/>
                  </a:lnTo>
                  <a:lnTo>
                    <a:pt x="493" y="159"/>
                  </a:lnTo>
                  <a:lnTo>
                    <a:pt x="488" y="157"/>
                  </a:lnTo>
                  <a:lnTo>
                    <a:pt x="483" y="154"/>
                  </a:lnTo>
                  <a:lnTo>
                    <a:pt x="484" y="152"/>
                  </a:lnTo>
                  <a:lnTo>
                    <a:pt x="488" y="155"/>
                  </a:lnTo>
                  <a:lnTo>
                    <a:pt x="498" y="157"/>
                  </a:lnTo>
                  <a:lnTo>
                    <a:pt x="501" y="152"/>
                  </a:lnTo>
                  <a:lnTo>
                    <a:pt x="504" y="151"/>
                  </a:lnTo>
                  <a:lnTo>
                    <a:pt x="507" y="149"/>
                  </a:lnTo>
                  <a:lnTo>
                    <a:pt x="508" y="139"/>
                  </a:lnTo>
                  <a:lnTo>
                    <a:pt x="507" y="134"/>
                  </a:lnTo>
                  <a:lnTo>
                    <a:pt x="504" y="131"/>
                  </a:lnTo>
                  <a:lnTo>
                    <a:pt x="498" y="128"/>
                  </a:lnTo>
                  <a:lnTo>
                    <a:pt x="500" y="127"/>
                  </a:lnTo>
                  <a:lnTo>
                    <a:pt x="506" y="127"/>
                  </a:lnTo>
                  <a:lnTo>
                    <a:pt x="508" y="124"/>
                  </a:lnTo>
                  <a:lnTo>
                    <a:pt x="513" y="122"/>
                  </a:lnTo>
                  <a:lnTo>
                    <a:pt x="517" y="122"/>
                  </a:lnTo>
                  <a:lnTo>
                    <a:pt x="523" y="116"/>
                  </a:lnTo>
                  <a:lnTo>
                    <a:pt x="524" y="118"/>
                  </a:lnTo>
                  <a:lnTo>
                    <a:pt x="523" y="125"/>
                  </a:lnTo>
                  <a:lnTo>
                    <a:pt x="518" y="127"/>
                  </a:lnTo>
                  <a:lnTo>
                    <a:pt x="513" y="131"/>
                  </a:lnTo>
                  <a:lnTo>
                    <a:pt x="513" y="137"/>
                  </a:lnTo>
                  <a:lnTo>
                    <a:pt x="517" y="139"/>
                  </a:lnTo>
                  <a:lnTo>
                    <a:pt x="518" y="144"/>
                  </a:lnTo>
                  <a:lnTo>
                    <a:pt x="517" y="149"/>
                  </a:lnTo>
                  <a:lnTo>
                    <a:pt x="518" y="155"/>
                  </a:lnTo>
                  <a:lnTo>
                    <a:pt x="520" y="159"/>
                  </a:lnTo>
                  <a:lnTo>
                    <a:pt x="521" y="171"/>
                  </a:lnTo>
                  <a:lnTo>
                    <a:pt x="526" y="175"/>
                  </a:lnTo>
                  <a:lnTo>
                    <a:pt x="534" y="175"/>
                  </a:lnTo>
                  <a:lnTo>
                    <a:pt x="540" y="177"/>
                  </a:lnTo>
                  <a:lnTo>
                    <a:pt x="544" y="174"/>
                  </a:lnTo>
                  <a:lnTo>
                    <a:pt x="549" y="171"/>
                  </a:lnTo>
                  <a:lnTo>
                    <a:pt x="553" y="172"/>
                  </a:lnTo>
                  <a:lnTo>
                    <a:pt x="556" y="168"/>
                  </a:lnTo>
                  <a:lnTo>
                    <a:pt x="556" y="167"/>
                  </a:lnTo>
                  <a:lnTo>
                    <a:pt x="554" y="162"/>
                  </a:lnTo>
                  <a:lnTo>
                    <a:pt x="553" y="152"/>
                  </a:lnTo>
                  <a:lnTo>
                    <a:pt x="551" y="145"/>
                  </a:lnTo>
                  <a:lnTo>
                    <a:pt x="550" y="142"/>
                  </a:lnTo>
                  <a:lnTo>
                    <a:pt x="547" y="138"/>
                  </a:lnTo>
                  <a:lnTo>
                    <a:pt x="546" y="135"/>
                  </a:lnTo>
                  <a:lnTo>
                    <a:pt x="544" y="131"/>
                  </a:lnTo>
                  <a:lnTo>
                    <a:pt x="550" y="129"/>
                  </a:lnTo>
                  <a:lnTo>
                    <a:pt x="551" y="128"/>
                  </a:lnTo>
                  <a:lnTo>
                    <a:pt x="553" y="124"/>
                  </a:lnTo>
                  <a:lnTo>
                    <a:pt x="553" y="121"/>
                  </a:lnTo>
                  <a:lnTo>
                    <a:pt x="550" y="114"/>
                  </a:lnTo>
                  <a:lnTo>
                    <a:pt x="551" y="108"/>
                  </a:lnTo>
                  <a:lnTo>
                    <a:pt x="553" y="99"/>
                  </a:lnTo>
                  <a:lnTo>
                    <a:pt x="550" y="98"/>
                  </a:lnTo>
                  <a:lnTo>
                    <a:pt x="549" y="95"/>
                  </a:lnTo>
                  <a:lnTo>
                    <a:pt x="551" y="91"/>
                  </a:lnTo>
                  <a:lnTo>
                    <a:pt x="549" y="91"/>
                  </a:lnTo>
                  <a:lnTo>
                    <a:pt x="541" y="94"/>
                  </a:lnTo>
                  <a:lnTo>
                    <a:pt x="540" y="98"/>
                  </a:lnTo>
                  <a:lnTo>
                    <a:pt x="537" y="102"/>
                  </a:lnTo>
                  <a:lnTo>
                    <a:pt x="533" y="106"/>
                  </a:lnTo>
                  <a:lnTo>
                    <a:pt x="527" y="111"/>
                  </a:lnTo>
                  <a:lnTo>
                    <a:pt x="528" y="102"/>
                  </a:lnTo>
                  <a:lnTo>
                    <a:pt x="530" y="94"/>
                  </a:lnTo>
                  <a:lnTo>
                    <a:pt x="523" y="94"/>
                  </a:lnTo>
                  <a:lnTo>
                    <a:pt x="513" y="98"/>
                  </a:lnTo>
                  <a:lnTo>
                    <a:pt x="511" y="104"/>
                  </a:lnTo>
                  <a:lnTo>
                    <a:pt x="510" y="114"/>
                  </a:lnTo>
                  <a:lnTo>
                    <a:pt x="504" y="109"/>
                  </a:lnTo>
                  <a:lnTo>
                    <a:pt x="504" y="101"/>
                  </a:lnTo>
                  <a:lnTo>
                    <a:pt x="500" y="95"/>
                  </a:lnTo>
                  <a:lnTo>
                    <a:pt x="493" y="92"/>
                  </a:lnTo>
                  <a:lnTo>
                    <a:pt x="491" y="89"/>
                  </a:lnTo>
                  <a:lnTo>
                    <a:pt x="501" y="84"/>
                  </a:lnTo>
                  <a:lnTo>
                    <a:pt x="501" y="74"/>
                  </a:lnTo>
                  <a:lnTo>
                    <a:pt x="501" y="74"/>
                  </a:lnTo>
                  <a:lnTo>
                    <a:pt x="498" y="66"/>
                  </a:lnTo>
                  <a:lnTo>
                    <a:pt x="493" y="59"/>
                  </a:lnTo>
                  <a:lnTo>
                    <a:pt x="491" y="58"/>
                  </a:lnTo>
                  <a:lnTo>
                    <a:pt x="488" y="56"/>
                  </a:lnTo>
                  <a:lnTo>
                    <a:pt x="485" y="59"/>
                  </a:lnTo>
                  <a:lnTo>
                    <a:pt x="484" y="63"/>
                  </a:lnTo>
                  <a:lnTo>
                    <a:pt x="484" y="63"/>
                  </a:lnTo>
                  <a:lnTo>
                    <a:pt x="481" y="71"/>
                  </a:lnTo>
                  <a:lnTo>
                    <a:pt x="477" y="74"/>
                  </a:lnTo>
                  <a:lnTo>
                    <a:pt x="473" y="75"/>
                  </a:lnTo>
                  <a:lnTo>
                    <a:pt x="467" y="74"/>
                  </a:lnTo>
                  <a:lnTo>
                    <a:pt x="463" y="72"/>
                  </a:lnTo>
                  <a:lnTo>
                    <a:pt x="458" y="68"/>
                  </a:lnTo>
                  <a:lnTo>
                    <a:pt x="455" y="63"/>
                  </a:lnTo>
                  <a:lnTo>
                    <a:pt x="455" y="58"/>
                  </a:lnTo>
                  <a:lnTo>
                    <a:pt x="455" y="58"/>
                  </a:lnTo>
                  <a:lnTo>
                    <a:pt x="458" y="49"/>
                  </a:lnTo>
                  <a:lnTo>
                    <a:pt x="463" y="36"/>
                  </a:lnTo>
                  <a:lnTo>
                    <a:pt x="464" y="31"/>
                  </a:lnTo>
                  <a:lnTo>
                    <a:pt x="464" y="28"/>
                  </a:lnTo>
                  <a:lnTo>
                    <a:pt x="463" y="26"/>
                  </a:lnTo>
                  <a:lnTo>
                    <a:pt x="461" y="25"/>
                  </a:lnTo>
                  <a:lnTo>
                    <a:pt x="457" y="26"/>
                  </a:lnTo>
                  <a:lnTo>
                    <a:pt x="457" y="26"/>
                  </a:lnTo>
                  <a:lnTo>
                    <a:pt x="441" y="33"/>
                  </a:lnTo>
                  <a:lnTo>
                    <a:pt x="432" y="36"/>
                  </a:lnTo>
                  <a:lnTo>
                    <a:pt x="425" y="39"/>
                  </a:lnTo>
                  <a:lnTo>
                    <a:pt x="417" y="39"/>
                  </a:lnTo>
                  <a:lnTo>
                    <a:pt x="410" y="38"/>
                  </a:lnTo>
                  <a:lnTo>
                    <a:pt x="401" y="33"/>
                  </a:lnTo>
                  <a:lnTo>
                    <a:pt x="394" y="25"/>
                  </a:lnTo>
                  <a:lnTo>
                    <a:pt x="394" y="25"/>
                  </a:lnTo>
                  <a:lnTo>
                    <a:pt x="391" y="23"/>
                  </a:lnTo>
                  <a:lnTo>
                    <a:pt x="388" y="22"/>
                  </a:lnTo>
                  <a:lnTo>
                    <a:pt x="381" y="21"/>
                  </a:lnTo>
                  <a:lnTo>
                    <a:pt x="372" y="22"/>
                  </a:lnTo>
                  <a:lnTo>
                    <a:pt x="362" y="25"/>
                  </a:lnTo>
                  <a:lnTo>
                    <a:pt x="354" y="26"/>
                  </a:lnTo>
                  <a:lnTo>
                    <a:pt x="347" y="26"/>
                  </a:lnTo>
                  <a:lnTo>
                    <a:pt x="341" y="25"/>
                  </a:lnTo>
                  <a:lnTo>
                    <a:pt x="339" y="23"/>
                  </a:lnTo>
                  <a:lnTo>
                    <a:pt x="339" y="21"/>
                  </a:lnTo>
                  <a:lnTo>
                    <a:pt x="337" y="19"/>
                  </a:lnTo>
                  <a:lnTo>
                    <a:pt x="337" y="15"/>
                  </a:lnTo>
                  <a:lnTo>
                    <a:pt x="322" y="10"/>
                  </a:lnTo>
                  <a:lnTo>
                    <a:pt x="314" y="5"/>
                  </a:lnTo>
                  <a:lnTo>
                    <a:pt x="299" y="0"/>
                  </a:lnTo>
                  <a:lnTo>
                    <a:pt x="294" y="0"/>
                  </a:lnTo>
                  <a:lnTo>
                    <a:pt x="294" y="6"/>
                  </a:lnTo>
                  <a:lnTo>
                    <a:pt x="301" y="26"/>
                  </a:lnTo>
                  <a:lnTo>
                    <a:pt x="263" y="25"/>
                  </a:lnTo>
                  <a:lnTo>
                    <a:pt x="253" y="28"/>
                  </a:lnTo>
                  <a:lnTo>
                    <a:pt x="246" y="29"/>
                  </a:lnTo>
                  <a:lnTo>
                    <a:pt x="242" y="32"/>
                  </a:lnTo>
                  <a:lnTo>
                    <a:pt x="235" y="39"/>
                  </a:lnTo>
                  <a:lnTo>
                    <a:pt x="228" y="46"/>
                  </a:lnTo>
                  <a:lnTo>
                    <a:pt x="216" y="55"/>
                  </a:lnTo>
                  <a:lnTo>
                    <a:pt x="209" y="63"/>
                  </a:lnTo>
                  <a:lnTo>
                    <a:pt x="206" y="68"/>
                  </a:lnTo>
                  <a:lnTo>
                    <a:pt x="203" y="78"/>
                  </a:lnTo>
                  <a:lnTo>
                    <a:pt x="205" y="82"/>
                  </a:lnTo>
                  <a:lnTo>
                    <a:pt x="206" y="88"/>
                  </a:lnTo>
                  <a:lnTo>
                    <a:pt x="206" y="94"/>
                  </a:lnTo>
                  <a:lnTo>
                    <a:pt x="206" y="106"/>
                  </a:lnTo>
                  <a:lnTo>
                    <a:pt x="205" y="114"/>
                  </a:lnTo>
                  <a:lnTo>
                    <a:pt x="205" y="118"/>
                  </a:lnTo>
                  <a:lnTo>
                    <a:pt x="200" y="127"/>
                  </a:lnTo>
                  <a:lnTo>
                    <a:pt x="198" y="131"/>
                  </a:lnTo>
                  <a:lnTo>
                    <a:pt x="193" y="134"/>
                  </a:lnTo>
                  <a:lnTo>
                    <a:pt x="190" y="137"/>
                  </a:lnTo>
                  <a:lnTo>
                    <a:pt x="182" y="145"/>
                  </a:lnTo>
                  <a:lnTo>
                    <a:pt x="179" y="151"/>
                  </a:lnTo>
                  <a:lnTo>
                    <a:pt x="175" y="162"/>
                  </a:lnTo>
                  <a:lnTo>
                    <a:pt x="172" y="181"/>
                  </a:lnTo>
                  <a:lnTo>
                    <a:pt x="169" y="191"/>
                  </a:lnTo>
                  <a:lnTo>
                    <a:pt x="160" y="191"/>
                  </a:lnTo>
                  <a:lnTo>
                    <a:pt x="158" y="191"/>
                  </a:lnTo>
                  <a:lnTo>
                    <a:pt x="153" y="191"/>
                  </a:lnTo>
                  <a:lnTo>
                    <a:pt x="145" y="191"/>
                  </a:lnTo>
                  <a:lnTo>
                    <a:pt x="143" y="191"/>
                  </a:lnTo>
                  <a:lnTo>
                    <a:pt x="136" y="191"/>
                  </a:lnTo>
                  <a:lnTo>
                    <a:pt x="132" y="191"/>
                  </a:lnTo>
                  <a:lnTo>
                    <a:pt x="126" y="191"/>
                  </a:lnTo>
                  <a:lnTo>
                    <a:pt x="117" y="190"/>
                  </a:lnTo>
                  <a:lnTo>
                    <a:pt x="110" y="190"/>
                  </a:lnTo>
                  <a:lnTo>
                    <a:pt x="106" y="190"/>
                  </a:lnTo>
                  <a:lnTo>
                    <a:pt x="102" y="190"/>
                  </a:lnTo>
                  <a:lnTo>
                    <a:pt x="93" y="190"/>
                  </a:lnTo>
                  <a:lnTo>
                    <a:pt x="87" y="188"/>
                  </a:lnTo>
                  <a:lnTo>
                    <a:pt x="84" y="188"/>
                  </a:lnTo>
                  <a:lnTo>
                    <a:pt x="76" y="187"/>
                  </a:lnTo>
                  <a:lnTo>
                    <a:pt x="70" y="188"/>
                  </a:lnTo>
                  <a:lnTo>
                    <a:pt x="62" y="187"/>
                  </a:lnTo>
                  <a:lnTo>
                    <a:pt x="57" y="185"/>
                  </a:lnTo>
                  <a:lnTo>
                    <a:pt x="53" y="187"/>
                  </a:lnTo>
                  <a:lnTo>
                    <a:pt x="43" y="185"/>
                  </a:lnTo>
                  <a:lnTo>
                    <a:pt x="37" y="187"/>
                  </a:lnTo>
                  <a:lnTo>
                    <a:pt x="33" y="188"/>
                  </a:lnTo>
                  <a:lnTo>
                    <a:pt x="29" y="191"/>
                  </a:lnTo>
                  <a:lnTo>
                    <a:pt x="24" y="197"/>
                  </a:lnTo>
                  <a:lnTo>
                    <a:pt x="19" y="204"/>
                  </a:lnTo>
                  <a:lnTo>
                    <a:pt x="17" y="207"/>
                  </a:lnTo>
                  <a:lnTo>
                    <a:pt x="14" y="211"/>
                  </a:lnTo>
                  <a:lnTo>
                    <a:pt x="10" y="217"/>
                  </a:lnTo>
                  <a:lnTo>
                    <a:pt x="4" y="222"/>
                  </a:lnTo>
                  <a:lnTo>
                    <a:pt x="3" y="227"/>
                  </a:lnTo>
                  <a:lnTo>
                    <a:pt x="0" y="231"/>
                  </a:lnTo>
                  <a:lnTo>
                    <a:pt x="52" y="300"/>
                  </a:lnTo>
                  <a:lnTo>
                    <a:pt x="72" y="323"/>
                  </a:lnTo>
                  <a:lnTo>
                    <a:pt x="72" y="323"/>
                  </a:lnTo>
                  <a:lnTo>
                    <a:pt x="73" y="331"/>
                  </a:lnTo>
                  <a:lnTo>
                    <a:pt x="74" y="341"/>
                  </a:lnTo>
                  <a:lnTo>
                    <a:pt x="74" y="341"/>
                  </a:lnTo>
                  <a:lnTo>
                    <a:pt x="74" y="346"/>
                  </a:lnTo>
                  <a:lnTo>
                    <a:pt x="76" y="348"/>
                  </a:lnTo>
                  <a:lnTo>
                    <a:pt x="77" y="350"/>
                  </a:lnTo>
                  <a:lnTo>
                    <a:pt x="79" y="353"/>
                  </a:lnTo>
                  <a:lnTo>
                    <a:pt x="79" y="353"/>
                  </a:lnTo>
                  <a:lnTo>
                    <a:pt x="80" y="357"/>
                  </a:lnTo>
                  <a:lnTo>
                    <a:pt x="79" y="361"/>
                  </a:lnTo>
                  <a:lnTo>
                    <a:pt x="77" y="363"/>
                  </a:lnTo>
                  <a:lnTo>
                    <a:pt x="74" y="366"/>
                  </a:lnTo>
                  <a:lnTo>
                    <a:pt x="69" y="370"/>
                  </a:lnTo>
                  <a:lnTo>
                    <a:pt x="67" y="373"/>
                  </a:lnTo>
                  <a:lnTo>
                    <a:pt x="66" y="376"/>
                  </a:lnTo>
                  <a:lnTo>
                    <a:pt x="66" y="376"/>
                  </a:lnTo>
                  <a:lnTo>
                    <a:pt x="64" y="383"/>
                  </a:lnTo>
                  <a:lnTo>
                    <a:pt x="63" y="387"/>
                  </a:lnTo>
                  <a:lnTo>
                    <a:pt x="54" y="396"/>
                  </a:lnTo>
                  <a:lnTo>
                    <a:pt x="54" y="396"/>
                  </a:lnTo>
                  <a:lnTo>
                    <a:pt x="54" y="399"/>
                  </a:lnTo>
                  <a:lnTo>
                    <a:pt x="54" y="401"/>
                  </a:lnTo>
                  <a:lnTo>
                    <a:pt x="56" y="406"/>
                  </a:lnTo>
                  <a:lnTo>
                    <a:pt x="59" y="407"/>
                  </a:lnTo>
                  <a:lnTo>
                    <a:pt x="59" y="407"/>
                  </a:lnTo>
                  <a:lnTo>
                    <a:pt x="70" y="409"/>
                  </a:lnTo>
                  <a:lnTo>
                    <a:pt x="86" y="410"/>
                  </a:lnTo>
                  <a:lnTo>
                    <a:pt x="93" y="412"/>
                  </a:lnTo>
                  <a:lnTo>
                    <a:pt x="99" y="414"/>
                  </a:lnTo>
                  <a:lnTo>
                    <a:pt x="103" y="417"/>
                  </a:lnTo>
                  <a:lnTo>
                    <a:pt x="105" y="419"/>
                  </a:lnTo>
                  <a:lnTo>
                    <a:pt x="105" y="422"/>
                  </a:lnTo>
                  <a:lnTo>
                    <a:pt x="105" y="422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18" name="Freeform 166"/>
            <p:cNvSpPr>
              <a:spLocks/>
            </p:cNvSpPr>
            <p:nvPr/>
          </p:nvSpPr>
          <p:spPr bwMode="auto">
            <a:xfrm>
              <a:off x="3592635" y="2251062"/>
              <a:ext cx="17096" cy="10583"/>
            </a:xfrm>
            <a:custGeom>
              <a:avLst/>
              <a:gdLst>
                <a:gd name="T0" fmla="*/ 16 w 27"/>
                <a:gd name="T1" fmla="*/ 15 h 15"/>
                <a:gd name="T2" fmla="*/ 16 w 27"/>
                <a:gd name="T3" fmla="*/ 15 h 15"/>
                <a:gd name="T4" fmla="*/ 17 w 27"/>
                <a:gd name="T5" fmla="*/ 11 h 15"/>
                <a:gd name="T6" fmla="*/ 19 w 27"/>
                <a:gd name="T7" fmla="*/ 11 h 15"/>
                <a:gd name="T8" fmla="*/ 24 w 27"/>
                <a:gd name="T9" fmla="*/ 11 h 15"/>
                <a:gd name="T10" fmla="*/ 24 w 27"/>
                <a:gd name="T11" fmla="*/ 11 h 15"/>
                <a:gd name="T12" fmla="*/ 26 w 27"/>
                <a:gd name="T13" fmla="*/ 10 h 15"/>
                <a:gd name="T14" fmla="*/ 27 w 27"/>
                <a:gd name="T15" fmla="*/ 8 h 15"/>
                <a:gd name="T16" fmla="*/ 27 w 27"/>
                <a:gd name="T17" fmla="*/ 4 h 15"/>
                <a:gd name="T18" fmla="*/ 27 w 27"/>
                <a:gd name="T19" fmla="*/ 4 h 15"/>
                <a:gd name="T20" fmla="*/ 27 w 27"/>
                <a:gd name="T21" fmla="*/ 1 h 15"/>
                <a:gd name="T22" fmla="*/ 26 w 27"/>
                <a:gd name="T23" fmla="*/ 0 h 15"/>
                <a:gd name="T24" fmla="*/ 23 w 27"/>
                <a:gd name="T25" fmla="*/ 0 h 15"/>
                <a:gd name="T26" fmla="*/ 23 w 27"/>
                <a:gd name="T27" fmla="*/ 0 h 15"/>
                <a:gd name="T28" fmla="*/ 16 w 27"/>
                <a:gd name="T29" fmla="*/ 0 h 15"/>
                <a:gd name="T30" fmla="*/ 9 w 27"/>
                <a:gd name="T31" fmla="*/ 0 h 15"/>
                <a:gd name="T32" fmla="*/ 9 w 27"/>
                <a:gd name="T33" fmla="*/ 0 h 15"/>
                <a:gd name="T34" fmla="*/ 6 w 27"/>
                <a:gd name="T35" fmla="*/ 1 h 15"/>
                <a:gd name="T36" fmla="*/ 6 w 27"/>
                <a:gd name="T37" fmla="*/ 1 h 15"/>
                <a:gd name="T38" fmla="*/ 1 w 27"/>
                <a:gd name="T39" fmla="*/ 3 h 15"/>
                <a:gd name="T40" fmla="*/ 1 w 27"/>
                <a:gd name="T41" fmla="*/ 3 h 15"/>
                <a:gd name="T42" fmla="*/ 1 w 27"/>
                <a:gd name="T43" fmla="*/ 3 h 15"/>
                <a:gd name="T44" fmla="*/ 0 w 27"/>
                <a:gd name="T45" fmla="*/ 4 h 15"/>
                <a:gd name="T46" fmla="*/ 0 w 27"/>
                <a:gd name="T47" fmla="*/ 8 h 15"/>
                <a:gd name="T48" fmla="*/ 0 w 27"/>
                <a:gd name="T49" fmla="*/ 8 h 15"/>
                <a:gd name="T50" fmla="*/ 0 w 27"/>
                <a:gd name="T51" fmla="*/ 11 h 15"/>
                <a:gd name="T52" fmla="*/ 1 w 27"/>
                <a:gd name="T53" fmla="*/ 13 h 15"/>
                <a:gd name="T54" fmla="*/ 1 w 27"/>
                <a:gd name="T55" fmla="*/ 13 h 15"/>
                <a:gd name="T56" fmla="*/ 6 w 27"/>
                <a:gd name="T57" fmla="*/ 14 h 15"/>
                <a:gd name="T58" fmla="*/ 10 w 27"/>
                <a:gd name="T59" fmla="*/ 15 h 15"/>
                <a:gd name="T60" fmla="*/ 10 w 27"/>
                <a:gd name="T61" fmla="*/ 15 h 15"/>
                <a:gd name="T62" fmla="*/ 13 w 27"/>
                <a:gd name="T63" fmla="*/ 15 h 15"/>
                <a:gd name="T64" fmla="*/ 14 w 27"/>
                <a:gd name="T65" fmla="*/ 14 h 15"/>
                <a:gd name="T66" fmla="*/ 14 w 27"/>
                <a:gd name="T67" fmla="*/ 14 h 15"/>
                <a:gd name="T68" fmla="*/ 17 w 27"/>
                <a:gd name="T69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" h="15">
                  <a:moveTo>
                    <a:pt x="16" y="15"/>
                  </a:moveTo>
                  <a:lnTo>
                    <a:pt x="16" y="15"/>
                  </a:lnTo>
                  <a:lnTo>
                    <a:pt x="17" y="11"/>
                  </a:lnTo>
                  <a:lnTo>
                    <a:pt x="19" y="11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6" y="10"/>
                  </a:lnTo>
                  <a:lnTo>
                    <a:pt x="27" y="8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1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6" y="1"/>
                  </a:lnTo>
                  <a:lnTo>
                    <a:pt x="6" y="1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1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6" y="14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3" y="15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7" y="1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19" name="Freeform 167"/>
            <p:cNvSpPr>
              <a:spLocks/>
            </p:cNvSpPr>
            <p:nvPr/>
          </p:nvSpPr>
          <p:spPr bwMode="auto">
            <a:xfrm>
              <a:off x="3380157" y="2539455"/>
              <a:ext cx="7327" cy="11906"/>
            </a:xfrm>
            <a:custGeom>
              <a:avLst/>
              <a:gdLst>
                <a:gd name="T0" fmla="*/ 13 w 13"/>
                <a:gd name="T1" fmla="*/ 17 h 17"/>
                <a:gd name="T2" fmla="*/ 13 w 13"/>
                <a:gd name="T3" fmla="*/ 9 h 17"/>
                <a:gd name="T4" fmla="*/ 13 w 13"/>
                <a:gd name="T5" fmla="*/ 9 h 17"/>
                <a:gd name="T6" fmla="*/ 13 w 13"/>
                <a:gd name="T7" fmla="*/ 6 h 17"/>
                <a:gd name="T8" fmla="*/ 10 w 13"/>
                <a:gd name="T9" fmla="*/ 4 h 17"/>
                <a:gd name="T10" fmla="*/ 10 w 13"/>
                <a:gd name="T11" fmla="*/ 4 h 17"/>
                <a:gd name="T12" fmla="*/ 10 w 13"/>
                <a:gd name="T13" fmla="*/ 3 h 17"/>
                <a:gd name="T14" fmla="*/ 9 w 13"/>
                <a:gd name="T15" fmla="*/ 2 h 17"/>
                <a:gd name="T16" fmla="*/ 9 w 13"/>
                <a:gd name="T17" fmla="*/ 2 h 17"/>
                <a:gd name="T18" fmla="*/ 7 w 13"/>
                <a:gd name="T19" fmla="*/ 0 h 17"/>
                <a:gd name="T20" fmla="*/ 7 w 13"/>
                <a:gd name="T21" fmla="*/ 0 h 17"/>
                <a:gd name="T22" fmla="*/ 3 w 13"/>
                <a:gd name="T23" fmla="*/ 0 h 17"/>
                <a:gd name="T24" fmla="*/ 3 w 13"/>
                <a:gd name="T25" fmla="*/ 2 h 17"/>
                <a:gd name="T26" fmla="*/ 3 w 13"/>
                <a:gd name="T27" fmla="*/ 2 h 17"/>
                <a:gd name="T28" fmla="*/ 1 w 13"/>
                <a:gd name="T29" fmla="*/ 2 h 17"/>
                <a:gd name="T30" fmla="*/ 1 w 13"/>
                <a:gd name="T31" fmla="*/ 2 h 17"/>
                <a:gd name="T32" fmla="*/ 0 w 13"/>
                <a:gd name="T33" fmla="*/ 3 h 17"/>
                <a:gd name="T34" fmla="*/ 0 w 13"/>
                <a:gd name="T35" fmla="*/ 3 h 17"/>
                <a:gd name="T36" fmla="*/ 0 w 13"/>
                <a:gd name="T37" fmla="*/ 9 h 17"/>
                <a:gd name="T38" fmla="*/ 0 w 13"/>
                <a:gd name="T39" fmla="*/ 9 h 17"/>
                <a:gd name="T40" fmla="*/ 1 w 13"/>
                <a:gd name="T41" fmla="*/ 10 h 17"/>
                <a:gd name="T42" fmla="*/ 4 w 13"/>
                <a:gd name="T43" fmla="*/ 10 h 17"/>
                <a:gd name="T44" fmla="*/ 4 w 13"/>
                <a:gd name="T45" fmla="*/ 10 h 17"/>
                <a:gd name="T46" fmla="*/ 6 w 13"/>
                <a:gd name="T47" fmla="*/ 10 h 17"/>
                <a:gd name="T48" fmla="*/ 6 w 13"/>
                <a:gd name="T49" fmla="*/ 12 h 17"/>
                <a:gd name="T50" fmla="*/ 6 w 13"/>
                <a:gd name="T51" fmla="*/ 12 h 17"/>
                <a:gd name="T52" fmla="*/ 7 w 13"/>
                <a:gd name="T53" fmla="*/ 14 h 17"/>
                <a:gd name="T54" fmla="*/ 7 w 13"/>
                <a:gd name="T55" fmla="*/ 14 h 17"/>
                <a:gd name="T56" fmla="*/ 9 w 13"/>
                <a:gd name="T57" fmla="*/ 16 h 17"/>
                <a:gd name="T58" fmla="*/ 10 w 13"/>
                <a:gd name="T59" fmla="*/ 16 h 17"/>
                <a:gd name="T60" fmla="*/ 13 w 13"/>
                <a:gd name="T61" fmla="*/ 17 h 17"/>
                <a:gd name="T62" fmla="*/ 13 w 13"/>
                <a:gd name="T6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" h="17">
                  <a:moveTo>
                    <a:pt x="13" y="17"/>
                  </a:moveTo>
                  <a:lnTo>
                    <a:pt x="13" y="9"/>
                  </a:lnTo>
                  <a:lnTo>
                    <a:pt x="13" y="9"/>
                  </a:lnTo>
                  <a:lnTo>
                    <a:pt x="13" y="6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3"/>
                  </a:lnTo>
                  <a:lnTo>
                    <a:pt x="9" y="2"/>
                  </a:lnTo>
                  <a:lnTo>
                    <a:pt x="9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9"/>
                  </a:lnTo>
                  <a:lnTo>
                    <a:pt x="1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9" y="16"/>
                  </a:lnTo>
                  <a:lnTo>
                    <a:pt x="10" y="16"/>
                  </a:lnTo>
                  <a:lnTo>
                    <a:pt x="13" y="17"/>
                  </a:lnTo>
                  <a:lnTo>
                    <a:pt x="13" y="17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20" name="Freeform 168"/>
            <p:cNvSpPr>
              <a:spLocks/>
            </p:cNvSpPr>
            <p:nvPr/>
          </p:nvSpPr>
          <p:spPr bwMode="auto">
            <a:xfrm>
              <a:off x="3632933" y="2417748"/>
              <a:ext cx="7327" cy="14552"/>
            </a:xfrm>
            <a:custGeom>
              <a:avLst/>
              <a:gdLst>
                <a:gd name="T0" fmla="*/ 13 w 13"/>
                <a:gd name="T1" fmla="*/ 22 h 23"/>
                <a:gd name="T2" fmla="*/ 13 w 13"/>
                <a:gd name="T3" fmla="*/ 22 h 23"/>
                <a:gd name="T4" fmla="*/ 11 w 13"/>
                <a:gd name="T5" fmla="*/ 20 h 23"/>
                <a:gd name="T6" fmla="*/ 11 w 13"/>
                <a:gd name="T7" fmla="*/ 18 h 23"/>
                <a:gd name="T8" fmla="*/ 11 w 13"/>
                <a:gd name="T9" fmla="*/ 18 h 23"/>
                <a:gd name="T10" fmla="*/ 13 w 13"/>
                <a:gd name="T11" fmla="*/ 13 h 23"/>
                <a:gd name="T12" fmla="*/ 13 w 13"/>
                <a:gd name="T13" fmla="*/ 10 h 23"/>
                <a:gd name="T14" fmla="*/ 13 w 13"/>
                <a:gd name="T15" fmla="*/ 10 h 23"/>
                <a:gd name="T16" fmla="*/ 13 w 13"/>
                <a:gd name="T17" fmla="*/ 6 h 23"/>
                <a:gd name="T18" fmla="*/ 10 w 13"/>
                <a:gd name="T19" fmla="*/ 5 h 23"/>
                <a:gd name="T20" fmla="*/ 10 w 13"/>
                <a:gd name="T21" fmla="*/ 5 h 23"/>
                <a:gd name="T22" fmla="*/ 6 w 13"/>
                <a:gd name="T23" fmla="*/ 2 h 23"/>
                <a:gd name="T24" fmla="*/ 6 w 13"/>
                <a:gd name="T25" fmla="*/ 2 h 23"/>
                <a:gd name="T26" fmla="*/ 3 w 13"/>
                <a:gd name="T27" fmla="*/ 0 h 23"/>
                <a:gd name="T28" fmla="*/ 1 w 13"/>
                <a:gd name="T29" fmla="*/ 2 h 23"/>
                <a:gd name="T30" fmla="*/ 0 w 13"/>
                <a:gd name="T31" fmla="*/ 6 h 23"/>
                <a:gd name="T32" fmla="*/ 0 w 13"/>
                <a:gd name="T33" fmla="*/ 6 h 23"/>
                <a:gd name="T34" fmla="*/ 1 w 13"/>
                <a:gd name="T35" fmla="*/ 9 h 23"/>
                <a:gd name="T36" fmla="*/ 1 w 13"/>
                <a:gd name="T37" fmla="*/ 12 h 23"/>
                <a:gd name="T38" fmla="*/ 1 w 13"/>
                <a:gd name="T39" fmla="*/ 12 h 23"/>
                <a:gd name="T40" fmla="*/ 1 w 13"/>
                <a:gd name="T41" fmla="*/ 18 h 23"/>
                <a:gd name="T42" fmla="*/ 1 w 13"/>
                <a:gd name="T43" fmla="*/ 18 h 23"/>
                <a:gd name="T44" fmla="*/ 3 w 13"/>
                <a:gd name="T45" fmla="*/ 19 h 23"/>
                <a:gd name="T46" fmla="*/ 4 w 13"/>
                <a:gd name="T47" fmla="*/ 20 h 23"/>
                <a:gd name="T48" fmla="*/ 4 w 13"/>
                <a:gd name="T49" fmla="*/ 20 h 23"/>
                <a:gd name="T50" fmla="*/ 6 w 13"/>
                <a:gd name="T51" fmla="*/ 22 h 23"/>
                <a:gd name="T52" fmla="*/ 7 w 13"/>
                <a:gd name="T53" fmla="*/ 23 h 23"/>
                <a:gd name="T54" fmla="*/ 7 w 13"/>
                <a:gd name="T55" fmla="*/ 23 h 23"/>
                <a:gd name="T56" fmla="*/ 11 w 13"/>
                <a:gd name="T57" fmla="*/ 23 h 23"/>
                <a:gd name="T58" fmla="*/ 13 w 13"/>
                <a:gd name="T59" fmla="*/ 22 h 23"/>
                <a:gd name="T60" fmla="*/ 13 w 13"/>
                <a:gd name="T61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" h="23">
                  <a:moveTo>
                    <a:pt x="13" y="22"/>
                  </a:moveTo>
                  <a:lnTo>
                    <a:pt x="13" y="22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3" y="13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6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6" y="2"/>
                  </a:lnTo>
                  <a:lnTo>
                    <a:pt x="6" y="2"/>
                  </a:lnTo>
                  <a:lnTo>
                    <a:pt x="3" y="0"/>
                  </a:lnTo>
                  <a:lnTo>
                    <a:pt x="1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9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3" y="19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6" y="22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11" y="23"/>
                  </a:lnTo>
                  <a:lnTo>
                    <a:pt x="13" y="22"/>
                  </a:lnTo>
                  <a:lnTo>
                    <a:pt x="13" y="22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21" name="Freeform 169"/>
            <p:cNvSpPr>
              <a:spLocks/>
            </p:cNvSpPr>
            <p:nvPr/>
          </p:nvSpPr>
          <p:spPr bwMode="auto">
            <a:xfrm>
              <a:off x="3381378" y="2552684"/>
              <a:ext cx="3663" cy="10583"/>
            </a:xfrm>
            <a:custGeom>
              <a:avLst/>
              <a:gdLst>
                <a:gd name="T0" fmla="*/ 3 w 6"/>
                <a:gd name="T1" fmla="*/ 16 h 16"/>
                <a:gd name="T2" fmla="*/ 3 w 6"/>
                <a:gd name="T3" fmla="*/ 16 h 16"/>
                <a:gd name="T4" fmla="*/ 6 w 6"/>
                <a:gd name="T5" fmla="*/ 13 h 16"/>
                <a:gd name="T6" fmla="*/ 6 w 6"/>
                <a:gd name="T7" fmla="*/ 9 h 16"/>
                <a:gd name="T8" fmla="*/ 6 w 6"/>
                <a:gd name="T9" fmla="*/ 4 h 16"/>
                <a:gd name="T10" fmla="*/ 6 w 6"/>
                <a:gd name="T11" fmla="*/ 4 h 16"/>
                <a:gd name="T12" fmla="*/ 6 w 6"/>
                <a:gd name="T13" fmla="*/ 3 h 16"/>
                <a:gd name="T14" fmla="*/ 6 w 6"/>
                <a:gd name="T15" fmla="*/ 3 h 16"/>
                <a:gd name="T16" fmla="*/ 4 w 6"/>
                <a:gd name="T17" fmla="*/ 3 h 16"/>
                <a:gd name="T18" fmla="*/ 4 w 6"/>
                <a:gd name="T19" fmla="*/ 3 h 16"/>
                <a:gd name="T20" fmla="*/ 3 w 6"/>
                <a:gd name="T21" fmla="*/ 2 h 16"/>
                <a:gd name="T22" fmla="*/ 3 w 6"/>
                <a:gd name="T23" fmla="*/ 2 h 16"/>
                <a:gd name="T24" fmla="*/ 1 w 6"/>
                <a:gd name="T25" fmla="*/ 2 h 16"/>
                <a:gd name="T26" fmla="*/ 1 w 6"/>
                <a:gd name="T27" fmla="*/ 2 h 16"/>
                <a:gd name="T28" fmla="*/ 1 w 6"/>
                <a:gd name="T29" fmla="*/ 0 h 16"/>
                <a:gd name="T30" fmla="*/ 1 w 6"/>
                <a:gd name="T31" fmla="*/ 0 h 16"/>
                <a:gd name="T32" fmla="*/ 0 w 6"/>
                <a:gd name="T33" fmla="*/ 0 h 16"/>
                <a:gd name="T34" fmla="*/ 0 w 6"/>
                <a:gd name="T35" fmla="*/ 2 h 16"/>
                <a:gd name="T36" fmla="*/ 0 w 6"/>
                <a:gd name="T37" fmla="*/ 4 h 16"/>
                <a:gd name="T38" fmla="*/ 0 w 6"/>
                <a:gd name="T39" fmla="*/ 12 h 16"/>
                <a:gd name="T40" fmla="*/ 0 w 6"/>
                <a:gd name="T41" fmla="*/ 15 h 16"/>
                <a:gd name="T42" fmla="*/ 0 w 6"/>
                <a:gd name="T43" fmla="*/ 15 h 16"/>
                <a:gd name="T44" fmla="*/ 0 w 6"/>
                <a:gd name="T45" fmla="*/ 16 h 16"/>
                <a:gd name="T46" fmla="*/ 1 w 6"/>
                <a:gd name="T47" fmla="*/ 16 h 16"/>
                <a:gd name="T48" fmla="*/ 1 w 6"/>
                <a:gd name="T49" fmla="*/ 16 h 16"/>
                <a:gd name="T50" fmla="*/ 3 w 6"/>
                <a:gd name="T51" fmla="*/ 16 h 16"/>
                <a:gd name="T52" fmla="*/ 3 w 6"/>
                <a:gd name="T53" fmla="*/ 16 h 16"/>
                <a:gd name="T54" fmla="*/ 4 w 6"/>
                <a:gd name="T55" fmla="*/ 16 h 16"/>
                <a:gd name="T56" fmla="*/ 3 w 6"/>
                <a:gd name="T57" fmla="*/ 16 h 16"/>
                <a:gd name="T58" fmla="*/ 3 w 6"/>
                <a:gd name="T5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" h="16">
                  <a:moveTo>
                    <a:pt x="3" y="16"/>
                  </a:moveTo>
                  <a:lnTo>
                    <a:pt x="3" y="16"/>
                  </a:lnTo>
                  <a:lnTo>
                    <a:pt x="6" y="13"/>
                  </a:lnTo>
                  <a:lnTo>
                    <a:pt x="6" y="9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6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23" name="Freeform 170"/>
            <p:cNvSpPr>
              <a:spLocks noEditPoints="1"/>
            </p:cNvSpPr>
            <p:nvPr/>
          </p:nvSpPr>
          <p:spPr bwMode="auto">
            <a:xfrm>
              <a:off x="2001487" y="2468018"/>
              <a:ext cx="145316" cy="203727"/>
            </a:xfrm>
            <a:custGeom>
              <a:avLst/>
              <a:gdLst>
                <a:gd name="T0" fmla="*/ 219 w 238"/>
                <a:gd name="T1" fmla="*/ 242 h 310"/>
                <a:gd name="T2" fmla="*/ 223 w 238"/>
                <a:gd name="T3" fmla="*/ 254 h 310"/>
                <a:gd name="T4" fmla="*/ 215 w 238"/>
                <a:gd name="T5" fmla="*/ 254 h 310"/>
                <a:gd name="T6" fmla="*/ 208 w 238"/>
                <a:gd name="T7" fmla="*/ 260 h 310"/>
                <a:gd name="T8" fmla="*/ 205 w 238"/>
                <a:gd name="T9" fmla="*/ 271 h 310"/>
                <a:gd name="T10" fmla="*/ 200 w 238"/>
                <a:gd name="T11" fmla="*/ 284 h 310"/>
                <a:gd name="T12" fmla="*/ 193 w 238"/>
                <a:gd name="T13" fmla="*/ 290 h 310"/>
                <a:gd name="T14" fmla="*/ 185 w 238"/>
                <a:gd name="T15" fmla="*/ 284 h 310"/>
                <a:gd name="T16" fmla="*/ 156 w 238"/>
                <a:gd name="T17" fmla="*/ 280 h 310"/>
                <a:gd name="T18" fmla="*/ 134 w 238"/>
                <a:gd name="T19" fmla="*/ 291 h 310"/>
                <a:gd name="T20" fmla="*/ 122 w 238"/>
                <a:gd name="T21" fmla="*/ 307 h 310"/>
                <a:gd name="T22" fmla="*/ 99 w 238"/>
                <a:gd name="T23" fmla="*/ 254 h 310"/>
                <a:gd name="T24" fmla="*/ 80 w 238"/>
                <a:gd name="T25" fmla="*/ 219 h 310"/>
                <a:gd name="T26" fmla="*/ 69 w 238"/>
                <a:gd name="T27" fmla="*/ 189 h 310"/>
                <a:gd name="T28" fmla="*/ 59 w 238"/>
                <a:gd name="T29" fmla="*/ 162 h 310"/>
                <a:gd name="T30" fmla="*/ 54 w 238"/>
                <a:gd name="T31" fmla="*/ 146 h 310"/>
                <a:gd name="T32" fmla="*/ 51 w 238"/>
                <a:gd name="T33" fmla="*/ 128 h 310"/>
                <a:gd name="T34" fmla="*/ 43 w 238"/>
                <a:gd name="T35" fmla="*/ 91 h 310"/>
                <a:gd name="T36" fmla="*/ 39 w 238"/>
                <a:gd name="T37" fmla="*/ 58 h 310"/>
                <a:gd name="T38" fmla="*/ 33 w 238"/>
                <a:gd name="T39" fmla="*/ 46 h 310"/>
                <a:gd name="T40" fmla="*/ 49 w 238"/>
                <a:gd name="T41" fmla="*/ 53 h 310"/>
                <a:gd name="T42" fmla="*/ 59 w 238"/>
                <a:gd name="T43" fmla="*/ 53 h 310"/>
                <a:gd name="T44" fmla="*/ 60 w 238"/>
                <a:gd name="T45" fmla="*/ 58 h 310"/>
                <a:gd name="T46" fmla="*/ 59 w 238"/>
                <a:gd name="T47" fmla="*/ 63 h 310"/>
                <a:gd name="T48" fmla="*/ 69 w 238"/>
                <a:gd name="T49" fmla="*/ 69 h 310"/>
                <a:gd name="T50" fmla="*/ 84 w 238"/>
                <a:gd name="T51" fmla="*/ 76 h 310"/>
                <a:gd name="T52" fmla="*/ 83 w 238"/>
                <a:gd name="T53" fmla="*/ 63 h 310"/>
                <a:gd name="T54" fmla="*/ 74 w 238"/>
                <a:gd name="T55" fmla="*/ 56 h 310"/>
                <a:gd name="T56" fmla="*/ 81 w 238"/>
                <a:gd name="T57" fmla="*/ 50 h 310"/>
                <a:gd name="T58" fmla="*/ 81 w 238"/>
                <a:gd name="T59" fmla="*/ 48 h 310"/>
                <a:gd name="T60" fmla="*/ 69 w 238"/>
                <a:gd name="T61" fmla="*/ 48 h 310"/>
                <a:gd name="T62" fmla="*/ 67 w 238"/>
                <a:gd name="T63" fmla="*/ 40 h 310"/>
                <a:gd name="T64" fmla="*/ 81 w 238"/>
                <a:gd name="T65" fmla="*/ 38 h 310"/>
                <a:gd name="T66" fmla="*/ 110 w 238"/>
                <a:gd name="T67" fmla="*/ 25 h 310"/>
                <a:gd name="T68" fmla="*/ 124 w 238"/>
                <a:gd name="T69" fmla="*/ 58 h 310"/>
                <a:gd name="T70" fmla="*/ 139 w 238"/>
                <a:gd name="T71" fmla="*/ 72 h 310"/>
                <a:gd name="T72" fmla="*/ 193 w 238"/>
                <a:gd name="T73" fmla="*/ 91 h 310"/>
                <a:gd name="T74" fmla="*/ 235 w 238"/>
                <a:gd name="T75" fmla="*/ 96 h 310"/>
                <a:gd name="T76" fmla="*/ 210 w 238"/>
                <a:gd name="T77" fmla="*/ 105 h 310"/>
                <a:gd name="T78" fmla="*/ 187 w 238"/>
                <a:gd name="T79" fmla="*/ 98 h 310"/>
                <a:gd name="T80" fmla="*/ 136 w 238"/>
                <a:gd name="T81" fmla="*/ 76 h 310"/>
                <a:gd name="T82" fmla="*/ 139 w 238"/>
                <a:gd name="T83" fmla="*/ 93 h 310"/>
                <a:gd name="T84" fmla="*/ 140 w 238"/>
                <a:gd name="T85" fmla="*/ 123 h 310"/>
                <a:gd name="T86" fmla="*/ 170 w 238"/>
                <a:gd name="T87" fmla="*/ 129 h 310"/>
                <a:gd name="T88" fmla="*/ 199 w 238"/>
                <a:gd name="T89" fmla="*/ 121 h 310"/>
                <a:gd name="T90" fmla="*/ 212 w 238"/>
                <a:gd name="T91" fmla="*/ 128 h 310"/>
                <a:gd name="T92" fmla="*/ 206 w 238"/>
                <a:gd name="T93" fmla="*/ 144 h 310"/>
                <a:gd name="T94" fmla="*/ 203 w 238"/>
                <a:gd name="T95" fmla="*/ 181 h 310"/>
                <a:gd name="T96" fmla="*/ 199 w 238"/>
                <a:gd name="T97" fmla="*/ 198 h 310"/>
                <a:gd name="T98" fmla="*/ 202 w 238"/>
                <a:gd name="T99" fmla="*/ 214 h 310"/>
                <a:gd name="T100" fmla="*/ 54 w 238"/>
                <a:gd name="T101" fmla="*/ 36 h 310"/>
                <a:gd name="T102" fmla="*/ 34 w 238"/>
                <a:gd name="T103" fmla="*/ 27 h 310"/>
                <a:gd name="T104" fmla="*/ 8 w 238"/>
                <a:gd name="T105" fmla="*/ 6 h 310"/>
                <a:gd name="T106" fmla="*/ 1 w 238"/>
                <a:gd name="T107" fmla="*/ 0 h 310"/>
                <a:gd name="T108" fmla="*/ 3 w 238"/>
                <a:gd name="T109" fmla="*/ 9 h 310"/>
                <a:gd name="T110" fmla="*/ 11 w 238"/>
                <a:gd name="T111" fmla="*/ 17 h 310"/>
                <a:gd name="T112" fmla="*/ 28 w 238"/>
                <a:gd name="T113" fmla="*/ 30 h 310"/>
                <a:gd name="T114" fmla="*/ 54 w 238"/>
                <a:gd name="T115" fmla="*/ 3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8" h="310">
                  <a:moveTo>
                    <a:pt x="213" y="234"/>
                  </a:moveTo>
                  <a:lnTo>
                    <a:pt x="216" y="237"/>
                  </a:lnTo>
                  <a:lnTo>
                    <a:pt x="216" y="237"/>
                  </a:lnTo>
                  <a:lnTo>
                    <a:pt x="219" y="242"/>
                  </a:lnTo>
                  <a:lnTo>
                    <a:pt x="223" y="248"/>
                  </a:lnTo>
                  <a:lnTo>
                    <a:pt x="223" y="248"/>
                  </a:lnTo>
                  <a:lnTo>
                    <a:pt x="225" y="252"/>
                  </a:lnTo>
                  <a:lnTo>
                    <a:pt x="223" y="254"/>
                  </a:lnTo>
                  <a:lnTo>
                    <a:pt x="222" y="252"/>
                  </a:lnTo>
                  <a:lnTo>
                    <a:pt x="219" y="252"/>
                  </a:lnTo>
                  <a:lnTo>
                    <a:pt x="218" y="252"/>
                  </a:lnTo>
                  <a:lnTo>
                    <a:pt x="215" y="254"/>
                  </a:lnTo>
                  <a:lnTo>
                    <a:pt x="215" y="254"/>
                  </a:lnTo>
                  <a:lnTo>
                    <a:pt x="210" y="257"/>
                  </a:lnTo>
                  <a:lnTo>
                    <a:pt x="208" y="260"/>
                  </a:lnTo>
                  <a:lnTo>
                    <a:pt x="208" y="260"/>
                  </a:lnTo>
                  <a:lnTo>
                    <a:pt x="203" y="265"/>
                  </a:lnTo>
                  <a:lnTo>
                    <a:pt x="205" y="267"/>
                  </a:lnTo>
                  <a:lnTo>
                    <a:pt x="205" y="271"/>
                  </a:lnTo>
                  <a:lnTo>
                    <a:pt x="205" y="271"/>
                  </a:lnTo>
                  <a:lnTo>
                    <a:pt x="206" y="275"/>
                  </a:lnTo>
                  <a:lnTo>
                    <a:pt x="205" y="278"/>
                  </a:lnTo>
                  <a:lnTo>
                    <a:pt x="202" y="281"/>
                  </a:lnTo>
                  <a:lnTo>
                    <a:pt x="200" y="284"/>
                  </a:lnTo>
                  <a:lnTo>
                    <a:pt x="200" y="284"/>
                  </a:lnTo>
                  <a:lnTo>
                    <a:pt x="200" y="285"/>
                  </a:lnTo>
                  <a:lnTo>
                    <a:pt x="199" y="288"/>
                  </a:lnTo>
                  <a:lnTo>
                    <a:pt x="193" y="290"/>
                  </a:lnTo>
                  <a:lnTo>
                    <a:pt x="187" y="288"/>
                  </a:lnTo>
                  <a:lnTo>
                    <a:pt x="186" y="287"/>
                  </a:lnTo>
                  <a:lnTo>
                    <a:pt x="185" y="284"/>
                  </a:lnTo>
                  <a:lnTo>
                    <a:pt x="185" y="284"/>
                  </a:lnTo>
                  <a:lnTo>
                    <a:pt x="167" y="278"/>
                  </a:lnTo>
                  <a:lnTo>
                    <a:pt x="167" y="278"/>
                  </a:lnTo>
                  <a:lnTo>
                    <a:pt x="162" y="278"/>
                  </a:lnTo>
                  <a:lnTo>
                    <a:pt x="156" y="280"/>
                  </a:lnTo>
                  <a:lnTo>
                    <a:pt x="146" y="285"/>
                  </a:lnTo>
                  <a:lnTo>
                    <a:pt x="146" y="285"/>
                  </a:lnTo>
                  <a:lnTo>
                    <a:pt x="140" y="287"/>
                  </a:lnTo>
                  <a:lnTo>
                    <a:pt x="134" y="291"/>
                  </a:lnTo>
                  <a:lnTo>
                    <a:pt x="132" y="297"/>
                  </a:lnTo>
                  <a:lnTo>
                    <a:pt x="129" y="304"/>
                  </a:lnTo>
                  <a:lnTo>
                    <a:pt x="126" y="310"/>
                  </a:lnTo>
                  <a:lnTo>
                    <a:pt x="122" y="307"/>
                  </a:lnTo>
                  <a:lnTo>
                    <a:pt x="122" y="307"/>
                  </a:lnTo>
                  <a:lnTo>
                    <a:pt x="117" y="292"/>
                  </a:lnTo>
                  <a:lnTo>
                    <a:pt x="110" y="280"/>
                  </a:lnTo>
                  <a:lnTo>
                    <a:pt x="99" y="254"/>
                  </a:lnTo>
                  <a:lnTo>
                    <a:pt x="99" y="254"/>
                  </a:lnTo>
                  <a:lnTo>
                    <a:pt x="93" y="247"/>
                  </a:lnTo>
                  <a:lnTo>
                    <a:pt x="89" y="238"/>
                  </a:lnTo>
                  <a:lnTo>
                    <a:pt x="80" y="219"/>
                  </a:lnTo>
                  <a:lnTo>
                    <a:pt x="80" y="219"/>
                  </a:lnTo>
                  <a:lnTo>
                    <a:pt x="74" y="205"/>
                  </a:lnTo>
                  <a:lnTo>
                    <a:pt x="71" y="196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6" y="182"/>
                  </a:lnTo>
                  <a:lnTo>
                    <a:pt x="63" y="176"/>
                  </a:lnTo>
                  <a:lnTo>
                    <a:pt x="59" y="162"/>
                  </a:lnTo>
                  <a:lnTo>
                    <a:pt x="59" y="162"/>
                  </a:lnTo>
                  <a:lnTo>
                    <a:pt x="59" y="156"/>
                  </a:lnTo>
                  <a:lnTo>
                    <a:pt x="57" y="151"/>
                  </a:lnTo>
                  <a:lnTo>
                    <a:pt x="54" y="146"/>
                  </a:lnTo>
                  <a:lnTo>
                    <a:pt x="51" y="142"/>
                  </a:lnTo>
                  <a:lnTo>
                    <a:pt x="51" y="142"/>
                  </a:lnTo>
                  <a:lnTo>
                    <a:pt x="51" y="135"/>
                  </a:lnTo>
                  <a:lnTo>
                    <a:pt x="51" y="128"/>
                  </a:lnTo>
                  <a:lnTo>
                    <a:pt x="50" y="121"/>
                  </a:lnTo>
                  <a:lnTo>
                    <a:pt x="47" y="113"/>
                  </a:lnTo>
                  <a:lnTo>
                    <a:pt x="47" y="113"/>
                  </a:lnTo>
                  <a:lnTo>
                    <a:pt x="43" y="91"/>
                  </a:lnTo>
                  <a:lnTo>
                    <a:pt x="39" y="66"/>
                  </a:lnTo>
                  <a:lnTo>
                    <a:pt x="39" y="62"/>
                  </a:lnTo>
                  <a:lnTo>
                    <a:pt x="39" y="62"/>
                  </a:lnTo>
                  <a:lnTo>
                    <a:pt x="39" y="58"/>
                  </a:lnTo>
                  <a:lnTo>
                    <a:pt x="36" y="53"/>
                  </a:lnTo>
                  <a:lnTo>
                    <a:pt x="34" y="50"/>
                  </a:lnTo>
                  <a:lnTo>
                    <a:pt x="33" y="46"/>
                  </a:lnTo>
                  <a:lnTo>
                    <a:pt x="33" y="46"/>
                  </a:lnTo>
                  <a:lnTo>
                    <a:pt x="34" y="46"/>
                  </a:lnTo>
                  <a:lnTo>
                    <a:pt x="36" y="46"/>
                  </a:lnTo>
                  <a:lnTo>
                    <a:pt x="40" y="48"/>
                  </a:lnTo>
                  <a:lnTo>
                    <a:pt x="49" y="53"/>
                  </a:lnTo>
                  <a:lnTo>
                    <a:pt x="49" y="53"/>
                  </a:lnTo>
                  <a:lnTo>
                    <a:pt x="53" y="53"/>
                  </a:lnTo>
                  <a:lnTo>
                    <a:pt x="56" y="53"/>
                  </a:lnTo>
                  <a:lnTo>
                    <a:pt x="59" y="53"/>
                  </a:lnTo>
                  <a:lnTo>
                    <a:pt x="61" y="55"/>
                  </a:lnTo>
                  <a:lnTo>
                    <a:pt x="61" y="55"/>
                  </a:lnTo>
                  <a:lnTo>
                    <a:pt x="61" y="56"/>
                  </a:lnTo>
                  <a:lnTo>
                    <a:pt x="60" y="58"/>
                  </a:lnTo>
                  <a:lnTo>
                    <a:pt x="59" y="58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9" y="63"/>
                  </a:lnTo>
                  <a:lnTo>
                    <a:pt x="61" y="65"/>
                  </a:lnTo>
                  <a:lnTo>
                    <a:pt x="64" y="68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79" y="78"/>
                  </a:lnTo>
                  <a:lnTo>
                    <a:pt x="84" y="79"/>
                  </a:lnTo>
                  <a:lnTo>
                    <a:pt x="84" y="78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3" y="72"/>
                  </a:lnTo>
                  <a:lnTo>
                    <a:pt x="83" y="68"/>
                  </a:lnTo>
                  <a:lnTo>
                    <a:pt x="83" y="63"/>
                  </a:lnTo>
                  <a:lnTo>
                    <a:pt x="80" y="62"/>
                  </a:lnTo>
                  <a:lnTo>
                    <a:pt x="80" y="62"/>
                  </a:lnTo>
                  <a:lnTo>
                    <a:pt x="76" y="58"/>
                  </a:lnTo>
                  <a:lnTo>
                    <a:pt x="74" y="56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7" y="52"/>
                  </a:lnTo>
                  <a:lnTo>
                    <a:pt x="81" y="50"/>
                  </a:lnTo>
                  <a:lnTo>
                    <a:pt x="84" y="49"/>
                  </a:lnTo>
                  <a:lnTo>
                    <a:pt x="83" y="49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76" y="48"/>
                  </a:lnTo>
                  <a:lnTo>
                    <a:pt x="71" y="48"/>
                  </a:lnTo>
                  <a:lnTo>
                    <a:pt x="70" y="48"/>
                  </a:lnTo>
                  <a:lnTo>
                    <a:pt x="69" y="48"/>
                  </a:lnTo>
                  <a:lnTo>
                    <a:pt x="67" y="46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0"/>
                  </a:lnTo>
                  <a:lnTo>
                    <a:pt x="67" y="39"/>
                  </a:lnTo>
                  <a:lnTo>
                    <a:pt x="7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2" y="35"/>
                  </a:lnTo>
                  <a:lnTo>
                    <a:pt x="99" y="30"/>
                  </a:lnTo>
                  <a:lnTo>
                    <a:pt x="110" y="25"/>
                  </a:lnTo>
                  <a:lnTo>
                    <a:pt x="116" y="26"/>
                  </a:lnTo>
                  <a:lnTo>
                    <a:pt x="117" y="33"/>
                  </a:lnTo>
                  <a:lnTo>
                    <a:pt x="123" y="45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27" y="62"/>
                  </a:lnTo>
                  <a:lnTo>
                    <a:pt x="132" y="65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56" y="79"/>
                  </a:lnTo>
                  <a:lnTo>
                    <a:pt x="175" y="86"/>
                  </a:lnTo>
                  <a:lnTo>
                    <a:pt x="193" y="91"/>
                  </a:lnTo>
                  <a:lnTo>
                    <a:pt x="203" y="92"/>
                  </a:lnTo>
                  <a:lnTo>
                    <a:pt x="212" y="92"/>
                  </a:lnTo>
                  <a:lnTo>
                    <a:pt x="212" y="92"/>
                  </a:lnTo>
                  <a:lnTo>
                    <a:pt x="235" y="96"/>
                  </a:lnTo>
                  <a:lnTo>
                    <a:pt x="238" y="98"/>
                  </a:lnTo>
                  <a:lnTo>
                    <a:pt x="236" y="99"/>
                  </a:lnTo>
                  <a:lnTo>
                    <a:pt x="226" y="102"/>
                  </a:lnTo>
                  <a:lnTo>
                    <a:pt x="210" y="105"/>
                  </a:lnTo>
                  <a:lnTo>
                    <a:pt x="210" y="105"/>
                  </a:lnTo>
                  <a:lnTo>
                    <a:pt x="199" y="102"/>
                  </a:lnTo>
                  <a:lnTo>
                    <a:pt x="187" y="98"/>
                  </a:lnTo>
                  <a:lnTo>
                    <a:pt x="187" y="98"/>
                  </a:lnTo>
                  <a:lnTo>
                    <a:pt x="172" y="93"/>
                  </a:lnTo>
                  <a:lnTo>
                    <a:pt x="157" y="89"/>
                  </a:lnTo>
                  <a:lnTo>
                    <a:pt x="146" y="83"/>
                  </a:lnTo>
                  <a:lnTo>
                    <a:pt x="136" y="76"/>
                  </a:lnTo>
                  <a:lnTo>
                    <a:pt x="133" y="76"/>
                  </a:lnTo>
                  <a:lnTo>
                    <a:pt x="133" y="83"/>
                  </a:lnTo>
                  <a:lnTo>
                    <a:pt x="134" y="91"/>
                  </a:lnTo>
                  <a:lnTo>
                    <a:pt x="139" y="93"/>
                  </a:lnTo>
                  <a:lnTo>
                    <a:pt x="142" y="101"/>
                  </a:lnTo>
                  <a:lnTo>
                    <a:pt x="139" y="108"/>
                  </a:lnTo>
                  <a:lnTo>
                    <a:pt x="139" y="116"/>
                  </a:lnTo>
                  <a:lnTo>
                    <a:pt x="140" y="123"/>
                  </a:lnTo>
                  <a:lnTo>
                    <a:pt x="144" y="129"/>
                  </a:lnTo>
                  <a:lnTo>
                    <a:pt x="153" y="135"/>
                  </a:lnTo>
                  <a:lnTo>
                    <a:pt x="162" y="135"/>
                  </a:lnTo>
                  <a:lnTo>
                    <a:pt x="170" y="129"/>
                  </a:lnTo>
                  <a:lnTo>
                    <a:pt x="180" y="123"/>
                  </a:lnTo>
                  <a:lnTo>
                    <a:pt x="187" y="121"/>
                  </a:lnTo>
                  <a:lnTo>
                    <a:pt x="193" y="119"/>
                  </a:lnTo>
                  <a:lnTo>
                    <a:pt x="199" y="121"/>
                  </a:lnTo>
                  <a:lnTo>
                    <a:pt x="203" y="122"/>
                  </a:lnTo>
                  <a:lnTo>
                    <a:pt x="209" y="121"/>
                  </a:lnTo>
                  <a:lnTo>
                    <a:pt x="209" y="121"/>
                  </a:lnTo>
                  <a:lnTo>
                    <a:pt x="212" y="128"/>
                  </a:lnTo>
                  <a:lnTo>
                    <a:pt x="210" y="131"/>
                  </a:lnTo>
                  <a:lnTo>
                    <a:pt x="206" y="136"/>
                  </a:lnTo>
                  <a:lnTo>
                    <a:pt x="205" y="139"/>
                  </a:lnTo>
                  <a:lnTo>
                    <a:pt x="206" y="144"/>
                  </a:lnTo>
                  <a:lnTo>
                    <a:pt x="206" y="149"/>
                  </a:lnTo>
                  <a:lnTo>
                    <a:pt x="205" y="158"/>
                  </a:lnTo>
                  <a:lnTo>
                    <a:pt x="202" y="165"/>
                  </a:lnTo>
                  <a:lnTo>
                    <a:pt x="203" y="181"/>
                  </a:lnTo>
                  <a:lnTo>
                    <a:pt x="203" y="195"/>
                  </a:lnTo>
                  <a:lnTo>
                    <a:pt x="203" y="198"/>
                  </a:lnTo>
                  <a:lnTo>
                    <a:pt x="202" y="198"/>
                  </a:lnTo>
                  <a:lnTo>
                    <a:pt x="199" y="198"/>
                  </a:lnTo>
                  <a:lnTo>
                    <a:pt x="197" y="204"/>
                  </a:lnTo>
                  <a:lnTo>
                    <a:pt x="199" y="205"/>
                  </a:lnTo>
                  <a:lnTo>
                    <a:pt x="203" y="208"/>
                  </a:lnTo>
                  <a:lnTo>
                    <a:pt x="202" y="214"/>
                  </a:lnTo>
                  <a:lnTo>
                    <a:pt x="209" y="225"/>
                  </a:lnTo>
                  <a:lnTo>
                    <a:pt x="213" y="234"/>
                  </a:lnTo>
                  <a:lnTo>
                    <a:pt x="213" y="234"/>
                  </a:lnTo>
                  <a:close/>
                  <a:moveTo>
                    <a:pt x="54" y="36"/>
                  </a:moveTo>
                  <a:lnTo>
                    <a:pt x="54" y="36"/>
                  </a:lnTo>
                  <a:lnTo>
                    <a:pt x="50" y="35"/>
                  </a:lnTo>
                  <a:lnTo>
                    <a:pt x="44" y="33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20" y="17"/>
                  </a:lnTo>
                  <a:lnTo>
                    <a:pt x="13" y="12"/>
                  </a:lnTo>
                  <a:lnTo>
                    <a:pt x="8" y="6"/>
                  </a:lnTo>
                  <a:lnTo>
                    <a:pt x="8" y="6"/>
                  </a:lnTo>
                  <a:lnTo>
                    <a:pt x="6" y="3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1" y="7"/>
                  </a:lnTo>
                  <a:lnTo>
                    <a:pt x="3" y="9"/>
                  </a:lnTo>
                  <a:lnTo>
                    <a:pt x="3" y="9"/>
                  </a:lnTo>
                  <a:lnTo>
                    <a:pt x="7" y="13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8" y="22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8" y="30"/>
                  </a:lnTo>
                  <a:lnTo>
                    <a:pt x="40" y="35"/>
                  </a:lnTo>
                  <a:lnTo>
                    <a:pt x="50" y="38"/>
                  </a:lnTo>
                  <a:lnTo>
                    <a:pt x="54" y="38"/>
                  </a:lnTo>
                  <a:lnTo>
                    <a:pt x="54" y="36"/>
                  </a:lnTo>
                  <a:lnTo>
                    <a:pt x="54" y="3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24" name="Freeform 171"/>
            <p:cNvSpPr>
              <a:spLocks noEditPoints="1"/>
            </p:cNvSpPr>
            <p:nvPr/>
          </p:nvSpPr>
          <p:spPr bwMode="auto">
            <a:xfrm>
              <a:off x="2604732" y="2629412"/>
              <a:ext cx="389544" cy="439204"/>
            </a:xfrm>
            <a:custGeom>
              <a:avLst/>
              <a:gdLst>
                <a:gd name="T0" fmla="*/ 236 w 638"/>
                <a:gd name="T1" fmla="*/ 115 h 665"/>
                <a:gd name="T2" fmla="*/ 245 w 638"/>
                <a:gd name="T3" fmla="*/ 100 h 665"/>
                <a:gd name="T4" fmla="*/ 263 w 638"/>
                <a:gd name="T5" fmla="*/ 63 h 665"/>
                <a:gd name="T6" fmla="*/ 239 w 638"/>
                <a:gd name="T7" fmla="*/ 57 h 665"/>
                <a:gd name="T8" fmla="*/ 226 w 638"/>
                <a:gd name="T9" fmla="*/ 35 h 665"/>
                <a:gd name="T10" fmla="*/ 348 w 638"/>
                <a:gd name="T11" fmla="*/ 59 h 665"/>
                <a:gd name="T12" fmla="*/ 391 w 638"/>
                <a:gd name="T13" fmla="*/ 148 h 665"/>
                <a:gd name="T14" fmla="*/ 378 w 638"/>
                <a:gd name="T15" fmla="*/ 185 h 665"/>
                <a:gd name="T16" fmla="*/ 345 w 638"/>
                <a:gd name="T17" fmla="*/ 212 h 665"/>
                <a:gd name="T18" fmla="*/ 322 w 638"/>
                <a:gd name="T19" fmla="*/ 257 h 665"/>
                <a:gd name="T20" fmla="*/ 298 w 638"/>
                <a:gd name="T21" fmla="*/ 287 h 665"/>
                <a:gd name="T22" fmla="*/ 269 w 638"/>
                <a:gd name="T23" fmla="*/ 311 h 665"/>
                <a:gd name="T24" fmla="*/ 303 w 638"/>
                <a:gd name="T25" fmla="*/ 327 h 665"/>
                <a:gd name="T26" fmla="*/ 332 w 638"/>
                <a:gd name="T27" fmla="*/ 330 h 665"/>
                <a:gd name="T28" fmla="*/ 348 w 638"/>
                <a:gd name="T29" fmla="*/ 360 h 665"/>
                <a:gd name="T30" fmla="*/ 379 w 638"/>
                <a:gd name="T31" fmla="*/ 385 h 665"/>
                <a:gd name="T32" fmla="*/ 415 w 638"/>
                <a:gd name="T33" fmla="*/ 377 h 665"/>
                <a:gd name="T34" fmla="*/ 429 w 638"/>
                <a:gd name="T35" fmla="*/ 381 h 665"/>
                <a:gd name="T36" fmla="*/ 479 w 638"/>
                <a:gd name="T37" fmla="*/ 377 h 665"/>
                <a:gd name="T38" fmla="*/ 517 w 638"/>
                <a:gd name="T39" fmla="*/ 413 h 665"/>
                <a:gd name="T40" fmla="*/ 530 w 638"/>
                <a:gd name="T41" fmla="*/ 371 h 665"/>
                <a:gd name="T42" fmla="*/ 573 w 638"/>
                <a:gd name="T43" fmla="*/ 401 h 665"/>
                <a:gd name="T44" fmla="*/ 610 w 638"/>
                <a:gd name="T45" fmla="*/ 437 h 665"/>
                <a:gd name="T46" fmla="*/ 628 w 638"/>
                <a:gd name="T47" fmla="*/ 486 h 665"/>
                <a:gd name="T48" fmla="*/ 575 w 638"/>
                <a:gd name="T49" fmla="*/ 522 h 665"/>
                <a:gd name="T50" fmla="*/ 515 w 638"/>
                <a:gd name="T51" fmla="*/ 552 h 665"/>
                <a:gd name="T52" fmla="*/ 458 w 638"/>
                <a:gd name="T53" fmla="*/ 586 h 665"/>
                <a:gd name="T54" fmla="*/ 438 w 638"/>
                <a:gd name="T55" fmla="*/ 615 h 665"/>
                <a:gd name="T56" fmla="*/ 405 w 638"/>
                <a:gd name="T57" fmla="*/ 649 h 665"/>
                <a:gd name="T58" fmla="*/ 342 w 638"/>
                <a:gd name="T59" fmla="*/ 633 h 665"/>
                <a:gd name="T60" fmla="*/ 306 w 638"/>
                <a:gd name="T61" fmla="*/ 602 h 665"/>
                <a:gd name="T62" fmla="*/ 289 w 638"/>
                <a:gd name="T63" fmla="*/ 550 h 665"/>
                <a:gd name="T64" fmla="*/ 270 w 638"/>
                <a:gd name="T65" fmla="*/ 487 h 665"/>
                <a:gd name="T66" fmla="*/ 214 w 638"/>
                <a:gd name="T67" fmla="*/ 469 h 665"/>
                <a:gd name="T68" fmla="*/ 212 w 638"/>
                <a:gd name="T69" fmla="*/ 408 h 665"/>
                <a:gd name="T70" fmla="*/ 171 w 638"/>
                <a:gd name="T71" fmla="*/ 401 h 665"/>
                <a:gd name="T72" fmla="*/ 126 w 638"/>
                <a:gd name="T73" fmla="*/ 377 h 665"/>
                <a:gd name="T74" fmla="*/ 81 w 638"/>
                <a:gd name="T75" fmla="*/ 361 h 665"/>
                <a:gd name="T76" fmla="*/ 44 w 638"/>
                <a:gd name="T77" fmla="*/ 338 h 665"/>
                <a:gd name="T78" fmla="*/ 13 w 638"/>
                <a:gd name="T79" fmla="*/ 308 h 665"/>
                <a:gd name="T80" fmla="*/ 20 w 638"/>
                <a:gd name="T81" fmla="*/ 265 h 665"/>
                <a:gd name="T82" fmla="*/ 20 w 638"/>
                <a:gd name="T83" fmla="*/ 228 h 665"/>
                <a:gd name="T84" fmla="*/ 14 w 638"/>
                <a:gd name="T85" fmla="*/ 179 h 665"/>
                <a:gd name="T86" fmla="*/ 83 w 638"/>
                <a:gd name="T87" fmla="*/ 126 h 665"/>
                <a:gd name="T88" fmla="*/ 121 w 638"/>
                <a:gd name="T89" fmla="*/ 131 h 665"/>
                <a:gd name="T90" fmla="*/ 196 w 638"/>
                <a:gd name="T91" fmla="*/ 166 h 665"/>
                <a:gd name="T92" fmla="*/ 200 w 638"/>
                <a:gd name="T93" fmla="*/ 242 h 665"/>
                <a:gd name="T94" fmla="*/ 192 w 638"/>
                <a:gd name="T95" fmla="*/ 262 h 665"/>
                <a:gd name="T96" fmla="*/ 240 w 638"/>
                <a:gd name="T97" fmla="*/ 302 h 665"/>
                <a:gd name="T98" fmla="*/ 269 w 638"/>
                <a:gd name="T99" fmla="*/ 248 h 665"/>
                <a:gd name="T100" fmla="*/ 253 w 638"/>
                <a:gd name="T101" fmla="*/ 171 h 665"/>
                <a:gd name="T102" fmla="*/ 247 w 638"/>
                <a:gd name="T103" fmla="*/ 92 h 665"/>
                <a:gd name="T104" fmla="*/ 266 w 638"/>
                <a:gd name="T105" fmla="*/ 75 h 665"/>
                <a:gd name="T106" fmla="*/ 237 w 638"/>
                <a:gd name="T107" fmla="*/ 85 h 665"/>
                <a:gd name="T108" fmla="*/ 219 w 638"/>
                <a:gd name="T109" fmla="*/ 103 h 665"/>
                <a:gd name="T110" fmla="*/ 150 w 638"/>
                <a:gd name="T111" fmla="*/ 69 h 665"/>
                <a:gd name="T112" fmla="*/ 103 w 638"/>
                <a:gd name="T113" fmla="*/ 36 h 665"/>
                <a:gd name="T114" fmla="*/ 130 w 638"/>
                <a:gd name="T115" fmla="*/ 2 h 665"/>
                <a:gd name="T116" fmla="*/ 230 w 638"/>
                <a:gd name="T117" fmla="*/ 212 h 665"/>
                <a:gd name="T118" fmla="*/ 226 w 638"/>
                <a:gd name="T119" fmla="*/ 216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8" h="665">
                  <a:moveTo>
                    <a:pt x="236" y="178"/>
                  </a:moveTo>
                  <a:lnTo>
                    <a:pt x="235" y="176"/>
                  </a:lnTo>
                  <a:lnTo>
                    <a:pt x="233" y="169"/>
                  </a:lnTo>
                  <a:lnTo>
                    <a:pt x="229" y="162"/>
                  </a:lnTo>
                  <a:lnTo>
                    <a:pt x="226" y="158"/>
                  </a:lnTo>
                  <a:lnTo>
                    <a:pt x="222" y="152"/>
                  </a:lnTo>
                  <a:lnTo>
                    <a:pt x="219" y="149"/>
                  </a:lnTo>
                  <a:lnTo>
                    <a:pt x="220" y="145"/>
                  </a:lnTo>
                  <a:lnTo>
                    <a:pt x="222" y="141"/>
                  </a:lnTo>
                  <a:lnTo>
                    <a:pt x="224" y="138"/>
                  </a:lnTo>
                  <a:lnTo>
                    <a:pt x="227" y="135"/>
                  </a:lnTo>
                  <a:lnTo>
                    <a:pt x="227" y="125"/>
                  </a:lnTo>
                  <a:lnTo>
                    <a:pt x="230" y="122"/>
                  </a:lnTo>
                  <a:lnTo>
                    <a:pt x="236" y="115"/>
                  </a:lnTo>
                  <a:lnTo>
                    <a:pt x="232" y="116"/>
                  </a:lnTo>
                  <a:lnTo>
                    <a:pt x="230" y="108"/>
                  </a:lnTo>
                  <a:lnTo>
                    <a:pt x="232" y="98"/>
                  </a:lnTo>
                  <a:lnTo>
                    <a:pt x="233" y="95"/>
                  </a:lnTo>
                  <a:lnTo>
                    <a:pt x="237" y="93"/>
                  </a:lnTo>
                  <a:lnTo>
                    <a:pt x="240" y="88"/>
                  </a:lnTo>
                  <a:lnTo>
                    <a:pt x="246" y="79"/>
                  </a:lnTo>
                  <a:lnTo>
                    <a:pt x="250" y="75"/>
                  </a:lnTo>
                  <a:lnTo>
                    <a:pt x="253" y="76"/>
                  </a:lnTo>
                  <a:lnTo>
                    <a:pt x="252" y="79"/>
                  </a:lnTo>
                  <a:lnTo>
                    <a:pt x="249" y="85"/>
                  </a:lnTo>
                  <a:lnTo>
                    <a:pt x="245" y="89"/>
                  </a:lnTo>
                  <a:lnTo>
                    <a:pt x="243" y="98"/>
                  </a:lnTo>
                  <a:lnTo>
                    <a:pt x="245" y="100"/>
                  </a:lnTo>
                  <a:lnTo>
                    <a:pt x="249" y="98"/>
                  </a:lnTo>
                  <a:lnTo>
                    <a:pt x="253" y="93"/>
                  </a:lnTo>
                  <a:lnTo>
                    <a:pt x="257" y="89"/>
                  </a:lnTo>
                  <a:lnTo>
                    <a:pt x="260" y="89"/>
                  </a:lnTo>
                  <a:lnTo>
                    <a:pt x="263" y="86"/>
                  </a:lnTo>
                  <a:lnTo>
                    <a:pt x="267" y="88"/>
                  </a:lnTo>
                  <a:lnTo>
                    <a:pt x="269" y="86"/>
                  </a:lnTo>
                  <a:lnTo>
                    <a:pt x="270" y="80"/>
                  </a:lnTo>
                  <a:lnTo>
                    <a:pt x="272" y="78"/>
                  </a:lnTo>
                  <a:lnTo>
                    <a:pt x="273" y="75"/>
                  </a:lnTo>
                  <a:lnTo>
                    <a:pt x="272" y="70"/>
                  </a:lnTo>
                  <a:lnTo>
                    <a:pt x="270" y="69"/>
                  </a:lnTo>
                  <a:lnTo>
                    <a:pt x="267" y="65"/>
                  </a:lnTo>
                  <a:lnTo>
                    <a:pt x="263" y="63"/>
                  </a:lnTo>
                  <a:lnTo>
                    <a:pt x="259" y="65"/>
                  </a:lnTo>
                  <a:lnTo>
                    <a:pt x="256" y="66"/>
                  </a:lnTo>
                  <a:lnTo>
                    <a:pt x="255" y="63"/>
                  </a:lnTo>
                  <a:lnTo>
                    <a:pt x="255" y="60"/>
                  </a:lnTo>
                  <a:lnTo>
                    <a:pt x="252" y="60"/>
                  </a:lnTo>
                  <a:lnTo>
                    <a:pt x="250" y="62"/>
                  </a:lnTo>
                  <a:lnTo>
                    <a:pt x="247" y="60"/>
                  </a:lnTo>
                  <a:lnTo>
                    <a:pt x="246" y="57"/>
                  </a:lnTo>
                  <a:lnTo>
                    <a:pt x="245" y="57"/>
                  </a:lnTo>
                  <a:lnTo>
                    <a:pt x="242" y="60"/>
                  </a:lnTo>
                  <a:lnTo>
                    <a:pt x="240" y="62"/>
                  </a:lnTo>
                  <a:lnTo>
                    <a:pt x="239" y="62"/>
                  </a:lnTo>
                  <a:lnTo>
                    <a:pt x="239" y="60"/>
                  </a:lnTo>
                  <a:lnTo>
                    <a:pt x="239" y="57"/>
                  </a:lnTo>
                  <a:lnTo>
                    <a:pt x="237" y="56"/>
                  </a:lnTo>
                  <a:lnTo>
                    <a:pt x="237" y="55"/>
                  </a:lnTo>
                  <a:lnTo>
                    <a:pt x="235" y="52"/>
                  </a:lnTo>
                  <a:lnTo>
                    <a:pt x="233" y="52"/>
                  </a:lnTo>
                  <a:lnTo>
                    <a:pt x="232" y="52"/>
                  </a:lnTo>
                  <a:lnTo>
                    <a:pt x="229" y="52"/>
                  </a:lnTo>
                  <a:lnTo>
                    <a:pt x="232" y="46"/>
                  </a:lnTo>
                  <a:lnTo>
                    <a:pt x="230" y="46"/>
                  </a:lnTo>
                  <a:lnTo>
                    <a:pt x="229" y="46"/>
                  </a:lnTo>
                  <a:lnTo>
                    <a:pt x="227" y="45"/>
                  </a:lnTo>
                  <a:lnTo>
                    <a:pt x="226" y="43"/>
                  </a:lnTo>
                  <a:lnTo>
                    <a:pt x="226" y="40"/>
                  </a:lnTo>
                  <a:lnTo>
                    <a:pt x="224" y="37"/>
                  </a:lnTo>
                  <a:lnTo>
                    <a:pt x="226" y="35"/>
                  </a:lnTo>
                  <a:lnTo>
                    <a:pt x="227" y="35"/>
                  </a:lnTo>
                  <a:lnTo>
                    <a:pt x="229" y="32"/>
                  </a:lnTo>
                  <a:lnTo>
                    <a:pt x="230" y="29"/>
                  </a:lnTo>
                  <a:lnTo>
                    <a:pt x="242" y="32"/>
                  </a:lnTo>
                  <a:lnTo>
                    <a:pt x="252" y="35"/>
                  </a:lnTo>
                  <a:lnTo>
                    <a:pt x="262" y="37"/>
                  </a:lnTo>
                  <a:lnTo>
                    <a:pt x="277" y="40"/>
                  </a:lnTo>
                  <a:lnTo>
                    <a:pt x="292" y="45"/>
                  </a:lnTo>
                  <a:lnTo>
                    <a:pt x="302" y="49"/>
                  </a:lnTo>
                  <a:lnTo>
                    <a:pt x="312" y="53"/>
                  </a:lnTo>
                  <a:lnTo>
                    <a:pt x="320" y="60"/>
                  </a:lnTo>
                  <a:lnTo>
                    <a:pt x="326" y="59"/>
                  </a:lnTo>
                  <a:lnTo>
                    <a:pt x="335" y="57"/>
                  </a:lnTo>
                  <a:lnTo>
                    <a:pt x="348" y="59"/>
                  </a:lnTo>
                  <a:lnTo>
                    <a:pt x="385" y="76"/>
                  </a:lnTo>
                  <a:lnTo>
                    <a:pt x="386" y="76"/>
                  </a:lnTo>
                  <a:lnTo>
                    <a:pt x="391" y="85"/>
                  </a:lnTo>
                  <a:lnTo>
                    <a:pt x="389" y="90"/>
                  </a:lnTo>
                  <a:lnTo>
                    <a:pt x="388" y="93"/>
                  </a:lnTo>
                  <a:lnTo>
                    <a:pt x="385" y="96"/>
                  </a:lnTo>
                  <a:lnTo>
                    <a:pt x="381" y="99"/>
                  </a:lnTo>
                  <a:lnTo>
                    <a:pt x="376" y="102"/>
                  </a:lnTo>
                  <a:lnTo>
                    <a:pt x="378" y="106"/>
                  </a:lnTo>
                  <a:lnTo>
                    <a:pt x="382" y="112"/>
                  </a:lnTo>
                  <a:lnTo>
                    <a:pt x="386" y="115"/>
                  </a:lnTo>
                  <a:lnTo>
                    <a:pt x="389" y="118"/>
                  </a:lnTo>
                  <a:lnTo>
                    <a:pt x="396" y="129"/>
                  </a:lnTo>
                  <a:lnTo>
                    <a:pt x="391" y="148"/>
                  </a:lnTo>
                  <a:lnTo>
                    <a:pt x="392" y="151"/>
                  </a:lnTo>
                  <a:lnTo>
                    <a:pt x="392" y="153"/>
                  </a:lnTo>
                  <a:lnTo>
                    <a:pt x="391" y="155"/>
                  </a:lnTo>
                  <a:lnTo>
                    <a:pt x="391" y="158"/>
                  </a:lnTo>
                  <a:lnTo>
                    <a:pt x="389" y="159"/>
                  </a:lnTo>
                  <a:lnTo>
                    <a:pt x="388" y="161"/>
                  </a:lnTo>
                  <a:lnTo>
                    <a:pt x="385" y="168"/>
                  </a:lnTo>
                  <a:lnTo>
                    <a:pt x="385" y="169"/>
                  </a:lnTo>
                  <a:lnTo>
                    <a:pt x="385" y="171"/>
                  </a:lnTo>
                  <a:lnTo>
                    <a:pt x="385" y="173"/>
                  </a:lnTo>
                  <a:lnTo>
                    <a:pt x="383" y="178"/>
                  </a:lnTo>
                  <a:lnTo>
                    <a:pt x="381" y="181"/>
                  </a:lnTo>
                  <a:lnTo>
                    <a:pt x="379" y="182"/>
                  </a:lnTo>
                  <a:lnTo>
                    <a:pt x="378" y="185"/>
                  </a:lnTo>
                  <a:lnTo>
                    <a:pt x="376" y="189"/>
                  </a:lnTo>
                  <a:lnTo>
                    <a:pt x="375" y="189"/>
                  </a:lnTo>
                  <a:lnTo>
                    <a:pt x="372" y="189"/>
                  </a:lnTo>
                  <a:lnTo>
                    <a:pt x="372" y="194"/>
                  </a:lnTo>
                  <a:lnTo>
                    <a:pt x="371" y="195"/>
                  </a:lnTo>
                  <a:lnTo>
                    <a:pt x="368" y="199"/>
                  </a:lnTo>
                  <a:lnTo>
                    <a:pt x="366" y="202"/>
                  </a:lnTo>
                  <a:lnTo>
                    <a:pt x="363" y="205"/>
                  </a:lnTo>
                  <a:lnTo>
                    <a:pt x="359" y="206"/>
                  </a:lnTo>
                  <a:lnTo>
                    <a:pt x="353" y="206"/>
                  </a:lnTo>
                  <a:lnTo>
                    <a:pt x="352" y="206"/>
                  </a:lnTo>
                  <a:lnTo>
                    <a:pt x="349" y="208"/>
                  </a:lnTo>
                  <a:lnTo>
                    <a:pt x="348" y="211"/>
                  </a:lnTo>
                  <a:lnTo>
                    <a:pt x="345" y="212"/>
                  </a:lnTo>
                  <a:lnTo>
                    <a:pt x="345" y="215"/>
                  </a:lnTo>
                  <a:lnTo>
                    <a:pt x="343" y="218"/>
                  </a:lnTo>
                  <a:lnTo>
                    <a:pt x="342" y="222"/>
                  </a:lnTo>
                  <a:lnTo>
                    <a:pt x="342" y="226"/>
                  </a:lnTo>
                  <a:lnTo>
                    <a:pt x="340" y="231"/>
                  </a:lnTo>
                  <a:lnTo>
                    <a:pt x="339" y="234"/>
                  </a:lnTo>
                  <a:lnTo>
                    <a:pt x="338" y="235"/>
                  </a:lnTo>
                  <a:lnTo>
                    <a:pt x="338" y="238"/>
                  </a:lnTo>
                  <a:lnTo>
                    <a:pt x="335" y="241"/>
                  </a:lnTo>
                  <a:lnTo>
                    <a:pt x="332" y="244"/>
                  </a:lnTo>
                  <a:lnTo>
                    <a:pt x="330" y="247"/>
                  </a:lnTo>
                  <a:lnTo>
                    <a:pt x="326" y="251"/>
                  </a:lnTo>
                  <a:lnTo>
                    <a:pt x="325" y="254"/>
                  </a:lnTo>
                  <a:lnTo>
                    <a:pt x="322" y="257"/>
                  </a:lnTo>
                  <a:lnTo>
                    <a:pt x="320" y="259"/>
                  </a:lnTo>
                  <a:lnTo>
                    <a:pt x="319" y="261"/>
                  </a:lnTo>
                  <a:lnTo>
                    <a:pt x="318" y="262"/>
                  </a:lnTo>
                  <a:lnTo>
                    <a:pt x="315" y="265"/>
                  </a:lnTo>
                  <a:lnTo>
                    <a:pt x="313" y="267"/>
                  </a:lnTo>
                  <a:lnTo>
                    <a:pt x="310" y="269"/>
                  </a:lnTo>
                  <a:lnTo>
                    <a:pt x="310" y="269"/>
                  </a:lnTo>
                  <a:lnTo>
                    <a:pt x="306" y="274"/>
                  </a:lnTo>
                  <a:lnTo>
                    <a:pt x="305" y="275"/>
                  </a:lnTo>
                  <a:lnTo>
                    <a:pt x="303" y="277"/>
                  </a:lnTo>
                  <a:lnTo>
                    <a:pt x="300" y="278"/>
                  </a:lnTo>
                  <a:lnTo>
                    <a:pt x="299" y="281"/>
                  </a:lnTo>
                  <a:lnTo>
                    <a:pt x="299" y="285"/>
                  </a:lnTo>
                  <a:lnTo>
                    <a:pt x="298" y="287"/>
                  </a:lnTo>
                  <a:lnTo>
                    <a:pt x="296" y="289"/>
                  </a:lnTo>
                  <a:lnTo>
                    <a:pt x="295" y="292"/>
                  </a:lnTo>
                  <a:lnTo>
                    <a:pt x="293" y="294"/>
                  </a:lnTo>
                  <a:lnTo>
                    <a:pt x="290" y="295"/>
                  </a:lnTo>
                  <a:lnTo>
                    <a:pt x="287" y="297"/>
                  </a:lnTo>
                  <a:lnTo>
                    <a:pt x="285" y="298"/>
                  </a:lnTo>
                  <a:lnTo>
                    <a:pt x="282" y="300"/>
                  </a:lnTo>
                  <a:lnTo>
                    <a:pt x="279" y="302"/>
                  </a:lnTo>
                  <a:lnTo>
                    <a:pt x="277" y="305"/>
                  </a:lnTo>
                  <a:lnTo>
                    <a:pt x="275" y="305"/>
                  </a:lnTo>
                  <a:lnTo>
                    <a:pt x="272" y="305"/>
                  </a:lnTo>
                  <a:lnTo>
                    <a:pt x="270" y="305"/>
                  </a:lnTo>
                  <a:lnTo>
                    <a:pt x="269" y="310"/>
                  </a:lnTo>
                  <a:lnTo>
                    <a:pt x="269" y="311"/>
                  </a:lnTo>
                  <a:lnTo>
                    <a:pt x="270" y="318"/>
                  </a:lnTo>
                  <a:lnTo>
                    <a:pt x="270" y="320"/>
                  </a:lnTo>
                  <a:lnTo>
                    <a:pt x="273" y="324"/>
                  </a:lnTo>
                  <a:lnTo>
                    <a:pt x="276" y="330"/>
                  </a:lnTo>
                  <a:lnTo>
                    <a:pt x="279" y="334"/>
                  </a:lnTo>
                  <a:lnTo>
                    <a:pt x="279" y="337"/>
                  </a:lnTo>
                  <a:lnTo>
                    <a:pt x="285" y="337"/>
                  </a:lnTo>
                  <a:lnTo>
                    <a:pt x="287" y="338"/>
                  </a:lnTo>
                  <a:lnTo>
                    <a:pt x="290" y="337"/>
                  </a:lnTo>
                  <a:lnTo>
                    <a:pt x="295" y="335"/>
                  </a:lnTo>
                  <a:lnTo>
                    <a:pt x="296" y="334"/>
                  </a:lnTo>
                  <a:lnTo>
                    <a:pt x="299" y="332"/>
                  </a:lnTo>
                  <a:lnTo>
                    <a:pt x="300" y="328"/>
                  </a:lnTo>
                  <a:lnTo>
                    <a:pt x="303" y="327"/>
                  </a:lnTo>
                  <a:lnTo>
                    <a:pt x="305" y="328"/>
                  </a:lnTo>
                  <a:lnTo>
                    <a:pt x="308" y="328"/>
                  </a:lnTo>
                  <a:lnTo>
                    <a:pt x="309" y="330"/>
                  </a:lnTo>
                  <a:lnTo>
                    <a:pt x="312" y="330"/>
                  </a:lnTo>
                  <a:lnTo>
                    <a:pt x="315" y="330"/>
                  </a:lnTo>
                  <a:lnTo>
                    <a:pt x="315" y="327"/>
                  </a:lnTo>
                  <a:lnTo>
                    <a:pt x="313" y="325"/>
                  </a:lnTo>
                  <a:lnTo>
                    <a:pt x="313" y="324"/>
                  </a:lnTo>
                  <a:lnTo>
                    <a:pt x="316" y="324"/>
                  </a:lnTo>
                  <a:lnTo>
                    <a:pt x="319" y="325"/>
                  </a:lnTo>
                  <a:lnTo>
                    <a:pt x="320" y="327"/>
                  </a:lnTo>
                  <a:lnTo>
                    <a:pt x="326" y="327"/>
                  </a:lnTo>
                  <a:lnTo>
                    <a:pt x="330" y="328"/>
                  </a:lnTo>
                  <a:lnTo>
                    <a:pt x="332" y="330"/>
                  </a:lnTo>
                  <a:lnTo>
                    <a:pt x="336" y="331"/>
                  </a:lnTo>
                  <a:lnTo>
                    <a:pt x="336" y="332"/>
                  </a:lnTo>
                  <a:lnTo>
                    <a:pt x="339" y="338"/>
                  </a:lnTo>
                  <a:lnTo>
                    <a:pt x="343" y="344"/>
                  </a:lnTo>
                  <a:lnTo>
                    <a:pt x="345" y="345"/>
                  </a:lnTo>
                  <a:lnTo>
                    <a:pt x="345" y="348"/>
                  </a:lnTo>
                  <a:lnTo>
                    <a:pt x="345" y="351"/>
                  </a:lnTo>
                  <a:lnTo>
                    <a:pt x="346" y="351"/>
                  </a:lnTo>
                  <a:lnTo>
                    <a:pt x="348" y="353"/>
                  </a:lnTo>
                  <a:lnTo>
                    <a:pt x="351" y="353"/>
                  </a:lnTo>
                  <a:lnTo>
                    <a:pt x="351" y="353"/>
                  </a:lnTo>
                  <a:lnTo>
                    <a:pt x="351" y="355"/>
                  </a:lnTo>
                  <a:lnTo>
                    <a:pt x="349" y="357"/>
                  </a:lnTo>
                  <a:lnTo>
                    <a:pt x="348" y="360"/>
                  </a:lnTo>
                  <a:lnTo>
                    <a:pt x="346" y="361"/>
                  </a:lnTo>
                  <a:lnTo>
                    <a:pt x="345" y="365"/>
                  </a:lnTo>
                  <a:lnTo>
                    <a:pt x="345" y="367"/>
                  </a:lnTo>
                  <a:lnTo>
                    <a:pt x="343" y="370"/>
                  </a:lnTo>
                  <a:lnTo>
                    <a:pt x="342" y="378"/>
                  </a:lnTo>
                  <a:lnTo>
                    <a:pt x="345" y="381"/>
                  </a:lnTo>
                  <a:lnTo>
                    <a:pt x="349" y="385"/>
                  </a:lnTo>
                  <a:lnTo>
                    <a:pt x="355" y="388"/>
                  </a:lnTo>
                  <a:lnTo>
                    <a:pt x="358" y="390"/>
                  </a:lnTo>
                  <a:lnTo>
                    <a:pt x="363" y="391"/>
                  </a:lnTo>
                  <a:lnTo>
                    <a:pt x="366" y="391"/>
                  </a:lnTo>
                  <a:lnTo>
                    <a:pt x="371" y="390"/>
                  </a:lnTo>
                  <a:lnTo>
                    <a:pt x="373" y="388"/>
                  </a:lnTo>
                  <a:lnTo>
                    <a:pt x="379" y="385"/>
                  </a:lnTo>
                  <a:lnTo>
                    <a:pt x="382" y="383"/>
                  </a:lnTo>
                  <a:lnTo>
                    <a:pt x="388" y="383"/>
                  </a:lnTo>
                  <a:lnTo>
                    <a:pt x="393" y="383"/>
                  </a:lnTo>
                  <a:lnTo>
                    <a:pt x="398" y="383"/>
                  </a:lnTo>
                  <a:lnTo>
                    <a:pt x="401" y="380"/>
                  </a:lnTo>
                  <a:lnTo>
                    <a:pt x="408" y="368"/>
                  </a:lnTo>
                  <a:lnTo>
                    <a:pt x="408" y="367"/>
                  </a:lnTo>
                  <a:lnTo>
                    <a:pt x="411" y="365"/>
                  </a:lnTo>
                  <a:lnTo>
                    <a:pt x="414" y="367"/>
                  </a:lnTo>
                  <a:lnTo>
                    <a:pt x="415" y="365"/>
                  </a:lnTo>
                  <a:lnTo>
                    <a:pt x="414" y="370"/>
                  </a:lnTo>
                  <a:lnTo>
                    <a:pt x="414" y="373"/>
                  </a:lnTo>
                  <a:lnTo>
                    <a:pt x="414" y="375"/>
                  </a:lnTo>
                  <a:lnTo>
                    <a:pt x="415" y="377"/>
                  </a:lnTo>
                  <a:lnTo>
                    <a:pt x="415" y="380"/>
                  </a:lnTo>
                  <a:lnTo>
                    <a:pt x="416" y="381"/>
                  </a:lnTo>
                  <a:lnTo>
                    <a:pt x="415" y="384"/>
                  </a:lnTo>
                  <a:lnTo>
                    <a:pt x="414" y="384"/>
                  </a:lnTo>
                  <a:lnTo>
                    <a:pt x="409" y="383"/>
                  </a:lnTo>
                  <a:lnTo>
                    <a:pt x="406" y="383"/>
                  </a:lnTo>
                  <a:lnTo>
                    <a:pt x="406" y="385"/>
                  </a:lnTo>
                  <a:lnTo>
                    <a:pt x="409" y="387"/>
                  </a:lnTo>
                  <a:lnTo>
                    <a:pt x="411" y="387"/>
                  </a:lnTo>
                  <a:lnTo>
                    <a:pt x="414" y="387"/>
                  </a:lnTo>
                  <a:lnTo>
                    <a:pt x="416" y="385"/>
                  </a:lnTo>
                  <a:lnTo>
                    <a:pt x="418" y="384"/>
                  </a:lnTo>
                  <a:lnTo>
                    <a:pt x="426" y="383"/>
                  </a:lnTo>
                  <a:lnTo>
                    <a:pt x="429" y="381"/>
                  </a:lnTo>
                  <a:lnTo>
                    <a:pt x="434" y="383"/>
                  </a:lnTo>
                  <a:lnTo>
                    <a:pt x="436" y="381"/>
                  </a:lnTo>
                  <a:lnTo>
                    <a:pt x="438" y="380"/>
                  </a:lnTo>
                  <a:lnTo>
                    <a:pt x="442" y="377"/>
                  </a:lnTo>
                  <a:lnTo>
                    <a:pt x="449" y="373"/>
                  </a:lnTo>
                  <a:lnTo>
                    <a:pt x="454" y="373"/>
                  </a:lnTo>
                  <a:lnTo>
                    <a:pt x="455" y="375"/>
                  </a:lnTo>
                  <a:lnTo>
                    <a:pt x="459" y="377"/>
                  </a:lnTo>
                  <a:lnTo>
                    <a:pt x="462" y="383"/>
                  </a:lnTo>
                  <a:lnTo>
                    <a:pt x="468" y="383"/>
                  </a:lnTo>
                  <a:lnTo>
                    <a:pt x="471" y="383"/>
                  </a:lnTo>
                  <a:lnTo>
                    <a:pt x="475" y="383"/>
                  </a:lnTo>
                  <a:lnTo>
                    <a:pt x="478" y="381"/>
                  </a:lnTo>
                  <a:lnTo>
                    <a:pt x="479" y="377"/>
                  </a:lnTo>
                  <a:lnTo>
                    <a:pt x="484" y="373"/>
                  </a:lnTo>
                  <a:lnTo>
                    <a:pt x="488" y="374"/>
                  </a:lnTo>
                  <a:lnTo>
                    <a:pt x="492" y="375"/>
                  </a:lnTo>
                  <a:lnTo>
                    <a:pt x="495" y="380"/>
                  </a:lnTo>
                  <a:lnTo>
                    <a:pt x="501" y="384"/>
                  </a:lnTo>
                  <a:lnTo>
                    <a:pt x="502" y="388"/>
                  </a:lnTo>
                  <a:lnTo>
                    <a:pt x="507" y="385"/>
                  </a:lnTo>
                  <a:lnTo>
                    <a:pt x="511" y="381"/>
                  </a:lnTo>
                  <a:lnTo>
                    <a:pt x="517" y="384"/>
                  </a:lnTo>
                  <a:lnTo>
                    <a:pt x="515" y="391"/>
                  </a:lnTo>
                  <a:lnTo>
                    <a:pt x="514" y="395"/>
                  </a:lnTo>
                  <a:lnTo>
                    <a:pt x="515" y="403"/>
                  </a:lnTo>
                  <a:lnTo>
                    <a:pt x="517" y="408"/>
                  </a:lnTo>
                  <a:lnTo>
                    <a:pt x="517" y="413"/>
                  </a:lnTo>
                  <a:lnTo>
                    <a:pt x="522" y="413"/>
                  </a:lnTo>
                  <a:lnTo>
                    <a:pt x="527" y="411"/>
                  </a:lnTo>
                  <a:lnTo>
                    <a:pt x="537" y="407"/>
                  </a:lnTo>
                  <a:lnTo>
                    <a:pt x="542" y="406"/>
                  </a:lnTo>
                  <a:lnTo>
                    <a:pt x="545" y="401"/>
                  </a:lnTo>
                  <a:lnTo>
                    <a:pt x="545" y="395"/>
                  </a:lnTo>
                  <a:lnTo>
                    <a:pt x="544" y="393"/>
                  </a:lnTo>
                  <a:lnTo>
                    <a:pt x="542" y="388"/>
                  </a:lnTo>
                  <a:lnTo>
                    <a:pt x="537" y="387"/>
                  </a:lnTo>
                  <a:lnTo>
                    <a:pt x="530" y="388"/>
                  </a:lnTo>
                  <a:lnTo>
                    <a:pt x="530" y="385"/>
                  </a:lnTo>
                  <a:lnTo>
                    <a:pt x="530" y="381"/>
                  </a:lnTo>
                  <a:lnTo>
                    <a:pt x="531" y="378"/>
                  </a:lnTo>
                  <a:lnTo>
                    <a:pt x="530" y="371"/>
                  </a:lnTo>
                  <a:lnTo>
                    <a:pt x="531" y="367"/>
                  </a:lnTo>
                  <a:lnTo>
                    <a:pt x="532" y="365"/>
                  </a:lnTo>
                  <a:lnTo>
                    <a:pt x="538" y="367"/>
                  </a:lnTo>
                  <a:lnTo>
                    <a:pt x="544" y="368"/>
                  </a:lnTo>
                  <a:lnTo>
                    <a:pt x="548" y="370"/>
                  </a:lnTo>
                  <a:lnTo>
                    <a:pt x="552" y="373"/>
                  </a:lnTo>
                  <a:lnTo>
                    <a:pt x="555" y="378"/>
                  </a:lnTo>
                  <a:lnTo>
                    <a:pt x="557" y="380"/>
                  </a:lnTo>
                  <a:lnTo>
                    <a:pt x="562" y="384"/>
                  </a:lnTo>
                  <a:lnTo>
                    <a:pt x="564" y="387"/>
                  </a:lnTo>
                  <a:lnTo>
                    <a:pt x="564" y="390"/>
                  </a:lnTo>
                  <a:lnTo>
                    <a:pt x="568" y="393"/>
                  </a:lnTo>
                  <a:lnTo>
                    <a:pt x="571" y="397"/>
                  </a:lnTo>
                  <a:lnTo>
                    <a:pt x="573" y="401"/>
                  </a:lnTo>
                  <a:lnTo>
                    <a:pt x="575" y="407"/>
                  </a:lnTo>
                  <a:lnTo>
                    <a:pt x="577" y="410"/>
                  </a:lnTo>
                  <a:lnTo>
                    <a:pt x="577" y="414"/>
                  </a:lnTo>
                  <a:lnTo>
                    <a:pt x="578" y="420"/>
                  </a:lnTo>
                  <a:lnTo>
                    <a:pt x="578" y="428"/>
                  </a:lnTo>
                  <a:lnTo>
                    <a:pt x="580" y="433"/>
                  </a:lnTo>
                  <a:lnTo>
                    <a:pt x="583" y="437"/>
                  </a:lnTo>
                  <a:lnTo>
                    <a:pt x="587" y="437"/>
                  </a:lnTo>
                  <a:lnTo>
                    <a:pt x="591" y="434"/>
                  </a:lnTo>
                  <a:lnTo>
                    <a:pt x="598" y="428"/>
                  </a:lnTo>
                  <a:lnTo>
                    <a:pt x="600" y="431"/>
                  </a:lnTo>
                  <a:lnTo>
                    <a:pt x="605" y="436"/>
                  </a:lnTo>
                  <a:lnTo>
                    <a:pt x="610" y="437"/>
                  </a:lnTo>
                  <a:lnTo>
                    <a:pt x="610" y="437"/>
                  </a:lnTo>
                  <a:lnTo>
                    <a:pt x="614" y="440"/>
                  </a:lnTo>
                  <a:lnTo>
                    <a:pt x="617" y="446"/>
                  </a:lnTo>
                  <a:lnTo>
                    <a:pt x="617" y="453"/>
                  </a:lnTo>
                  <a:lnTo>
                    <a:pt x="617" y="460"/>
                  </a:lnTo>
                  <a:lnTo>
                    <a:pt x="618" y="466"/>
                  </a:lnTo>
                  <a:lnTo>
                    <a:pt x="620" y="470"/>
                  </a:lnTo>
                  <a:lnTo>
                    <a:pt x="624" y="474"/>
                  </a:lnTo>
                  <a:lnTo>
                    <a:pt x="628" y="477"/>
                  </a:lnTo>
                  <a:lnTo>
                    <a:pt x="633" y="477"/>
                  </a:lnTo>
                  <a:lnTo>
                    <a:pt x="636" y="474"/>
                  </a:lnTo>
                  <a:lnTo>
                    <a:pt x="638" y="477"/>
                  </a:lnTo>
                  <a:lnTo>
                    <a:pt x="637" y="481"/>
                  </a:lnTo>
                  <a:lnTo>
                    <a:pt x="631" y="483"/>
                  </a:lnTo>
                  <a:lnTo>
                    <a:pt x="628" y="486"/>
                  </a:lnTo>
                  <a:lnTo>
                    <a:pt x="624" y="489"/>
                  </a:lnTo>
                  <a:lnTo>
                    <a:pt x="623" y="491"/>
                  </a:lnTo>
                  <a:lnTo>
                    <a:pt x="618" y="499"/>
                  </a:lnTo>
                  <a:lnTo>
                    <a:pt x="620" y="503"/>
                  </a:lnTo>
                  <a:lnTo>
                    <a:pt x="623" y="503"/>
                  </a:lnTo>
                  <a:lnTo>
                    <a:pt x="627" y="504"/>
                  </a:lnTo>
                  <a:lnTo>
                    <a:pt x="631" y="507"/>
                  </a:lnTo>
                  <a:lnTo>
                    <a:pt x="633" y="507"/>
                  </a:lnTo>
                  <a:lnTo>
                    <a:pt x="638" y="510"/>
                  </a:lnTo>
                  <a:lnTo>
                    <a:pt x="621" y="529"/>
                  </a:lnTo>
                  <a:lnTo>
                    <a:pt x="593" y="527"/>
                  </a:lnTo>
                  <a:lnTo>
                    <a:pt x="584" y="529"/>
                  </a:lnTo>
                  <a:lnTo>
                    <a:pt x="578" y="524"/>
                  </a:lnTo>
                  <a:lnTo>
                    <a:pt x="575" y="522"/>
                  </a:lnTo>
                  <a:lnTo>
                    <a:pt x="574" y="513"/>
                  </a:lnTo>
                  <a:lnTo>
                    <a:pt x="571" y="510"/>
                  </a:lnTo>
                  <a:lnTo>
                    <a:pt x="564" y="510"/>
                  </a:lnTo>
                  <a:lnTo>
                    <a:pt x="558" y="511"/>
                  </a:lnTo>
                  <a:lnTo>
                    <a:pt x="554" y="514"/>
                  </a:lnTo>
                  <a:lnTo>
                    <a:pt x="552" y="522"/>
                  </a:lnTo>
                  <a:lnTo>
                    <a:pt x="550" y="522"/>
                  </a:lnTo>
                  <a:lnTo>
                    <a:pt x="544" y="523"/>
                  </a:lnTo>
                  <a:lnTo>
                    <a:pt x="544" y="526"/>
                  </a:lnTo>
                  <a:lnTo>
                    <a:pt x="547" y="530"/>
                  </a:lnTo>
                  <a:lnTo>
                    <a:pt x="544" y="534"/>
                  </a:lnTo>
                  <a:lnTo>
                    <a:pt x="535" y="537"/>
                  </a:lnTo>
                  <a:lnTo>
                    <a:pt x="522" y="547"/>
                  </a:lnTo>
                  <a:lnTo>
                    <a:pt x="515" y="552"/>
                  </a:lnTo>
                  <a:lnTo>
                    <a:pt x="509" y="554"/>
                  </a:lnTo>
                  <a:lnTo>
                    <a:pt x="501" y="559"/>
                  </a:lnTo>
                  <a:lnTo>
                    <a:pt x="494" y="563"/>
                  </a:lnTo>
                  <a:lnTo>
                    <a:pt x="487" y="562"/>
                  </a:lnTo>
                  <a:lnTo>
                    <a:pt x="479" y="564"/>
                  </a:lnTo>
                  <a:lnTo>
                    <a:pt x="471" y="567"/>
                  </a:lnTo>
                  <a:lnTo>
                    <a:pt x="471" y="569"/>
                  </a:lnTo>
                  <a:lnTo>
                    <a:pt x="469" y="577"/>
                  </a:lnTo>
                  <a:lnTo>
                    <a:pt x="465" y="577"/>
                  </a:lnTo>
                  <a:lnTo>
                    <a:pt x="459" y="576"/>
                  </a:lnTo>
                  <a:lnTo>
                    <a:pt x="454" y="575"/>
                  </a:lnTo>
                  <a:lnTo>
                    <a:pt x="454" y="579"/>
                  </a:lnTo>
                  <a:lnTo>
                    <a:pt x="458" y="582"/>
                  </a:lnTo>
                  <a:lnTo>
                    <a:pt x="458" y="586"/>
                  </a:lnTo>
                  <a:lnTo>
                    <a:pt x="459" y="589"/>
                  </a:lnTo>
                  <a:lnTo>
                    <a:pt x="459" y="593"/>
                  </a:lnTo>
                  <a:lnTo>
                    <a:pt x="458" y="597"/>
                  </a:lnTo>
                  <a:lnTo>
                    <a:pt x="458" y="602"/>
                  </a:lnTo>
                  <a:lnTo>
                    <a:pt x="462" y="607"/>
                  </a:lnTo>
                  <a:lnTo>
                    <a:pt x="464" y="610"/>
                  </a:lnTo>
                  <a:lnTo>
                    <a:pt x="462" y="612"/>
                  </a:lnTo>
                  <a:lnTo>
                    <a:pt x="458" y="613"/>
                  </a:lnTo>
                  <a:lnTo>
                    <a:pt x="455" y="613"/>
                  </a:lnTo>
                  <a:lnTo>
                    <a:pt x="452" y="610"/>
                  </a:lnTo>
                  <a:lnTo>
                    <a:pt x="448" y="609"/>
                  </a:lnTo>
                  <a:lnTo>
                    <a:pt x="444" y="612"/>
                  </a:lnTo>
                  <a:lnTo>
                    <a:pt x="441" y="613"/>
                  </a:lnTo>
                  <a:lnTo>
                    <a:pt x="438" y="615"/>
                  </a:lnTo>
                  <a:lnTo>
                    <a:pt x="432" y="619"/>
                  </a:lnTo>
                  <a:lnTo>
                    <a:pt x="429" y="625"/>
                  </a:lnTo>
                  <a:lnTo>
                    <a:pt x="428" y="629"/>
                  </a:lnTo>
                  <a:lnTo>
                    <a:pt x="431" y="633"/>
                  </a:lnTo>
                  <a:lnTo>
                    <a:pt x="436" y="636"/>
                  </a:lnTo>
                  <a:lnTo>
                    <a:pt x="436" y="642"/>
                  </a:lnTo>
                  <a:lnTo>
                    <a:pt x="434" y="646"/>
                  </a:lnTo>
                  <a:lnTo>
                    <a:pt x="428" y="650"/>
                  </a:lnTo>
                  <a:lnTo>
                    <a:pt x="422" y="653"/>
                  </a:lnTo>
                  <a:lnTo>
                    <a:pt x="425" y="646"/>
                  </a:lnTo>
                  <a:lnTo>
                    <a:pt x="425" y="639"/>
                  </a:lnTo>
                  <a:lnTo>
                    <a:pt x="419" y="643"/>
                  </a:lnTo>
                  <a:lnTo>
                    <a:pt x="411" y="650"/>
                  </a:lnTo>
                  <a:lnTo>
                    <a:pt x="405" y="649"/>
                  </a:lnTo>
                  <a:lnTo>
                    <a:pt x="398" y="646"/>
                  </a:lnTo>
                  <a:lnTo>
                    <a:pt x="392" y="649"/>
                  </a:lnTo>
                  <a:lnTo>
                    <a:pt x="389" y="656"/>
                  </a:lnTo>
                  <a:lnTo>
                    <a:pt x="385" y="658"/>
                  </a:lnTo>
                  <a:lnTo>
                    <a:pt x="381" y="656"/>
                  </a:lnTo>
                  <a:lnTo>
                    <a:pt x="376" y="650"/>
                  </a:lnTo>
                  <a:lnTo>
                    <a:pt x="373" y="653"/>
                  </a:lnTo>
                  <a:lnTo>
                    <a:pt x="373" y="659"/>
                  </a:lnTo>
                  <a:lnTo>
                    <a:pt x="373" y="665"/>
                  </a:lnTo>
                  <a:lnTo>
                    <a:pt x="368" y="663"/>
                  </a:lnTo>
                  <a:lnTo>
                    <a:pt x="365" y="655"/>
                  </a:lnTo>
                  <a:lnTo>
                    <a:pt x="352" y="648"/>
                  </a:lnTo>
                  <a:lnTo>
                    <a:pt x="346" y="643"/>
                  </a:lnTo>
                  <a:lnTo>
                    <a:pt x="342" y="633"/>
                  </a:lnTo>
                  <a:lnTo>
                    <a:pt x="333" y="633"/>
                  </a:lnTo>
                  <a:lnTo>
                    <a:pt x="330" y="636"/>
                  </a:lnTo>
                  <a:lnTo>
                    <a:pt x="323" y="636"/>
                  </a:lnTo>
                  <a:lnTo>
                    <a:pt x="320" y="638"/>
                  </a:lnTo>
                  <a:lnTo>
                    <a:pt x="316" y="638"/>
                  </a:lnTo>
                  <a:lnTo>
                    <a:pt x="309" y="638"/>
                  </a:lnTo>
                  <a:lnTo>
                    <a:pt x="309" y="635"/>
                  </a:lnTo>
                  <a:lnTo>
                    <a:pt x="306" y="629"/>
                  </a:lnTo>
                  <a:lnTo>
                    <a:pt x="306" y="626"/>
                  </a:lnTo>
                  <a:lnTo>
                    <a:pt x="306" y="625"/>
                  </a:lnTo>
                  <a:lnTo>
                    <a:pt x="306" y="622"/>
                  </a:lnTo>
                  <a:lnTo>
                    <a:pt x="306" y="616"/>
                  </a:lnTo>
                  <a:lnTo>
                    <a:pt x="308" y="606"/>
                  </a:lnTo>
                  <a:lnTo>
                    <a:pt x="306" y="602"/>
                  </a:lnTo>
                  <a:lnTo>
                    <a:pt x="302" y="599"/>
                  </a:lnTo>
                  <a:lnTo>
                    <a:pt x="299" y="595"/>
                  </a:lnTo>
                  <a:lnTo>
                    <a:pt x="296" y="587"/>
                  </a:lnTo>
                  <a:lnTo>
                    <a:pt x="293" y="587"/>
                  </a:lnTo>
                  <a:lnTo>
                    <a:pt x="289" y="595"/>
                  </a:lnTo>
                  <a:lnTo>
                    <a:pt x="283" y="590"/>
                  </a:lnTo>
                  <a:lnTo>
                    <a:pt x="283" y="583"/>
                  </a:lnTo>
                  <a:lnTo>
                    <a:pt x="287" y="577"/>
                  </a:lnTo>
                  <a:lnTo>
                    <a:pt x="289" y="569"/>
                  </a:lnTo>
                  <a:lnTo>
                    <a:pt x="285" y="567"/>
                  </a:lnTo>
                  <a:lnTo>
                    <a:pt x="279" y="564"/>
                  </a:lnTo>
                  <a:lnTo>
                    <a:pt x="279" y="559"/>
                  </a:lnTo>
                  <a:lnTo>
                    <a:pt x="283" y="557"/>
                  </a:lnTo>
                  <a:lnTo>
                    <a:pt x="289" y="550"/>
                  </a:lnTo>
                  <a:lnTo>
                    <a:pt x="290" y="542"/>
                  </a:lnTo>
                  <a:lnTo>
                    <a:pt x="295" y="536"/>
                  </a:lnTo>
                  <a:lnTo>
                    <a:pt x="289" y="517"/>
                  </a:lnTo>
                  <a:lnTo>
                    <a:pt x="279" y="519"/>
                  </a:lnTo>
                  <a:lnTo>
                    <a:pt x="277" y="516"/>
                  </a:lnTo>
                  <a:lnTo>
                    <a:pt x="276" y="513"/>
                  </a:lnTo>
                  <a:lnTo>
                    <a:pt x="277" y="509"/>
                  </a:lnTo>
                  <a:lnTo>
                    <a:pt x="279" y="506"/>
                  </a:lnTo>
                  <a:lnTo>
                    <a:pt x="280" y="501"/>
                  </a:lnTo>
                  <a:lnTo>
                    <a:pt x="279" y="500"/>
                  </a:lnTo>
                  <a:lnTo>
                    <a:pt x="279" y="497"/>
                  </a:lnTo>
                  <a:lnTo>
                    <a:pt x="279" y="493"/>
                  </a:lnTo>
                  <a:lnTo>
                    <a:pt x="273" y="487"/>
                  </a:lnTo>
                  <a:lnTo>
                    <a:pt x="270" y="487"/>
                  </a:lnTo>
                  <a:lnTo>
                    <a:pt x="265" y="484"/>
                  </a:lnTo>
                  <a:lnTo>
                    <a:pt x="259" y="481"/>
                  </a:lnTo>
                  <a:lnTo>
                    <a:pt x="253" y="480"/>
                  </a:lnTo>
                  <a:lnTo>
                    <a:pt x="246" y="477"/>
                  </a:lnTo>
                  <a:lnTo>
                    <a:pt x="245" y="486"/>
                  </a:lnTo>
                  <a:lnTo>
                    <a:pt x="240" y="489"/>
                  </a:lnTo>
                  <a:lnTo>
                    <a:pt x="235" y="487"/>
                  </a:lnTo>
                  <a:lnTo>
                    <a:pt x="232" y="487"/>
                  </a:lnTo>
                  <a:lnTo>
                    <a:pt x="223" y="486"/>
                  </a:lnTo>
                  <a:lnTo>
                    <a:pt x="219" y="484"/>
                  </a:lnTo>
                  <a:lnTo>
                    <a:pt x="214" y="481"/>
                  </a:lnTo>
                  <a:lnTo>
                    <a:pt x="212" y="479"/>
                  </a:lnTo>
                  <a:lnTo>
                    <a:pt x="212" y="471"/>
                  </a:lnTo>
                  <a:lnTo>
                    <a:pt x="214" y="469"/>
                  </a:lnTo>
                  <a:lnTo>
                    <a:pt x="216" y="464"/>
                  </a:lnTo>
                  <a:lnTo>
                    <a:pt x="217" y="460"/>
                  </a:lnTo>
                  <a:lnTo>
                    <a:pt x="217" y="456"/>
                  </a:lnTo>
                  <a:lnTo>
                    <a:pt x="220" y="453"/>
                  </a:lnTo>
                  <a:lnTo>
                    <a:pt x="224" y="451"/>
                  </a:lnTo>
                  <a:lnTo>
                    <a:pt x="226" y="447"/>
                  </a:lnTo>
                  <a:lnTo>
                    <a:pt x="232" y="441"/>
                  </a:lnTo>
                  <a:lnTo>
                    <a:pt x="235" y="434"/>
                  </a:lnTo>
                  <a:lnTo>
                    <a:pt x="232" y="431"/>
                  </a:lnTo>
                  <a:lnTo>
                    <a:pt x="232" y="424"/>
                  </a:lnTo>
                  <a:lnTo>
                    <a:pt x="232" y="416"/>
                  </a:lnTo>
                  <a:lnTo>
                    <a:pt x="229" y="411"/>
                  </a:lnTo>
                  <a:lnTo>
                    <a:pt x="214" y="414"/>
                  </a:lnTo>
                  <a:lnTo>
                    <a:pt x="212" y="408"/>
                  </a:lnTo>
                  <a:lnTo>
                    <a:pt x="212" y="407"/>
                  </a:lnTo>
                  <a:lnTo>
                    <a:pt x="213" y="401"/>
                  </a:lnTo>
                  <a:lnTo>
                    <a:pt x="214" y="393"/>
                  </a:lnTo>
                  <a:lnTo>
                    <a:pt x="214" y="388"/>
                  </a:lnTo>
                  <a:lnTo>
                    <a:pt x="212" y="385"/>
                  </a:lnTo>
                  <a:lnTo>
                    <a:pt x="207" y="383"/>
                  </a:lnTo>
                  <a:lnTo>
                    <a:pt x="203" y="388"/>
                  </a:lnTo>
                  <a:lnTo>
                    <a:pt x="202" y="393"/>
                  </a:lnTo>
                  <a:lnTo>
                    <a:pt x="194" y="400"/>
                  </a:lnTo>
                  <a:lnTo>
                    <a:pt x="190" y="403"/>
                  </a:lnTo>
                  <a:lnTo>
                    <a:pt x="186" y="401"/>
                  </a:lnTo>
                  <a:lnTo>
                    <a:pt x="182" y="398"/>
                  </a:lnTo>
                  <a:lnTo>
                    <a:pt x="177" y="398"/>
                  </a:lnTo>
                  <a:lnTo>
                    <a:pt x="171" y="401"/>
                  </a:lnTo>
                  <a:lnTo>
                    <a:pt x="167" y="404"/>
                  </a:lnTo>
                  <a:lnTo>
                    <a:pt x="161" y="401"/>
                  </a:lnTo>
                  <a:lnTo>
                    <a:pt x="157" y="401"/>
                  </a:lnTo>
                  <a:lnTo>
                    <a:pt x="153" y="400"/>
                  </a:lnTo>
                  <a:lnTo>
                    <a:pt x="151" y="397"/>
                  </a:lnTo>
                  <a:lnTo>
                    <a:pt x="151" y="394"/>
                  </a:lnTo>
                  <a:lnTo>
                    <a:pt x="150" y="391"/>
                  </a:lnTo>
                  <a:lnTo>
                    <a:pt x="151" y="387"/>
                  </a:lnTo>
                  <a:lnTo>
                    <a:pt x="154" y="377"/>
                  </a:lnTo>
                  <a:lnTo>
                    <a:pt x="149" y="375"/>
                  </a:lnTo>
                  <a:lnTo>
                    <a:pt x="143" y="373"/>
                  </a:lnTo>
                  <a:lnTo>
                    <a:pt x="137" y="374"/>
                  </a:lnTo>
                  <a:lnTo>
                    <a:pt x="131" y="374"/>
                  </a:lnTo>
                  <a:lnTo>
                    <a:pt x="126" y="377"/>
                  </a:lnTo>
                  <a:lnTo>
                    <a:pt x="120" y="377"/>
                  </a:lnTo>
                  <a:lnTo>
                    <a:pt x="114" y="375"/>
                  </a:lnTo>
                  <a:lnTo>
                    <a:pt x="111" y="373"/>
                  </a:lnTo>
                  <a:lnTo>
                    <a:pt x="106" y="370"/>
                  </a:lnTo>
                  <a:lnTo>
                    <a:pt x="98" y="368"/>
                  </a:lnTo>
                  <a:lnTo>
                    <a:pt x="94" y="373"/>
                  </a:lnTo>
                  <a:lnTo>
                    <a:pt x="90" y="377"/>
                  </a:lnTo>
                  <a:lnTo>
                    <a:pt x="86" y="378"/>
                  </a:lnTo>
                  <a:lnTo>
                    <a:pt x="81" y="375"/>
                  </a:lnTo>
                  <a:lnTo>
                    <a:pt x="81" y="373"/>
                  </a:lnTo>
                  <a:lnTo>
                    <a:pt x="80" y="368"/>
                  </a:lnTo>
                  <a:lnTo>
                    <a:pt x="83" y="367"/>
                  </a:lnTo>
                  <a:lnTo>
                    <a:pt x="84" y="363"/>
                  </a:lnTo>
                  <a:lnTo>
                    <a:pt x="81" y="361"/>
                  </a:lnTo>
                  <a:lnTo>
                    <a:pt x="77" y="360"/>
                  </a:lnTo>
                  <a:lnTo>
                    <a:pt x="74" y="360"/>
                  </a:lnTo>
                  <a:lnTo>
                    <a:pt x="70" y="358"/>
                  </a:lnTo>
                  <a:lnTo>
                    <a:pt x="71" y="357"/>
                  </a:lnTo>
                  <a:lnTo>
                    <a:pt x="71" y="351"/>
                  </a:lnTo>
                  <a:lnTo>
                    <a:pt x="71" y="347"/>
                  </a:lnTo>
                  <a:lnTo>
                    <a:pt x="70" y="342"/>
                  </a:lnTo>
                  <a:lnTo>
                    <a:pt x="68" y="338"/>
                  </a:lnTo>
                  <a:lnTo>
                    <a:pt x="68" y="337"/>
                  </a:lnTo>
                  <a:lnTo>
                    <a:pt x="63" y="334"/>
                  </a:lnTo>
                  <a:lnTo>
                    <a:pt x="57" y="334"/>
                  </a:lnTo>
                  <a:lnTo>
                    <a:pt x="53" y="335"/>
                  </a:lnTo>
                  <a:lnTo>
                    <a:pt x="47" y="337"/>
                  </a:lnTo>
                  <a:lnTo>
                    <a:pt x="44" y="338"/>
                  </a:lnTo>
                  <a:lnTo>
                    <a:pt x="44" y="338"/>
                  </a:lnTo>
                  <a:lnTo>
                    <a:pt x="44" y="342"/>
                  </a:lnTo>
                  <a:lnTo>
                    <a:pt x="44" y="342"/>
                  </a:lnTo>
                  <a:lnTo>
                    <a:pt x="43" y="344"/>
                  </a:lnTo>
                  <a:lnTo>
                    <a:pt x="43" y="344"/>
                  </a:lnTo>
                  <a:lnTo>
                    <a:pt x="15" y="340"/>
                  </a:lnTo>
                  <a:lnTo>
                    <a:pt x="13" y="338"/>
                  </a:lnTo>
                  <a:lnTo>
                    <a:pt x="7" y="331"/>
                  </a:lnTo>
                  <a:lnTo>
                    <a:pt x="2" y="324"/>
                  </a:lnTo>
                  <a:lnTo>
                    <a:pt x="2" y="320"/>
                  </a:lnTo>
                  <a:lnTo>
                    <a:pt x="1" y="312"/>
                  </a:lnTo>
                  <a:lnTo>
                    <a:pt x="10" y="315"/>
                  </a:lnTo>
                  <a:lnTo>
                    <a:pt x="11" y="311"/>
                  </a:lnTo>
                  <a:lnTo>
                    <a:pt x="13" y="308"/>
                  </a:lnTo>
                  <a:lnTo>
                    <a:pt x="13" y="305"/>
                  </a:lnTo>
                  <a:lnTo>
                    <a:pt x="14" y="301"/>
                  </a:lnTo>
                  <a:lnTo>
                    <a:pt x="14" y="298"/>
                  </a:lnTo>
                  <a:lnTo>
                    <a:pt x="13" y="295"/>
                  </a:lnTo>
                  <a:lnTo>
                    <a:pt x="7" y="294"/>
                  </a:lnTo>
                  <a:lnTo>
                    <a:pt x="7" y="291"/>
                  </a:lnTo>
                  <a:lnTo>
                    <a:pt x="7" y="287"/>
                  </a:lnTo>
                  <a:lnTo>
                    <a:pt x="10" y="284"/>
                  </a:lnTo>
                  <a:lnTo>
                    <a:pt x="10" y="281"/>
                  </a:lnTo>
                  <a:lnTo>
                    <a:pt x="14" y="279"/>
                  </a:lnTo>
                  <a:lnTo>
                    <a:pt x="18" y="278"/>
                  </a:lnTo>
                  <a:lnTo>
                    <a:pt x="20" y="274"/>
                  </a:lnTo>
                  <a:lnTo>
                    <a:pt x="20" y="268"/>
                  </a:lnTo>
                  <a:lnTo>
                    <a:pt x="20" y="265"/>
                  </a:lnTo>
                  <a:lnTo>
                    <a:pt x="20" y="264"/>
                  </a:lnTo>
                  <a:lnTo>
                    <a:pt x="20" y="261"/>
                  </a:lnTo>
                  <a:lnTo>
                    <a:pt x="21" y="259"/>
                  </a:lnTo>
                  <a:lnTo>
                    <a:pt x="23" y="257"/>
                  </a:lnTo>
                  <a:lnTo>
                    <a:pt x="24" y="255"/>
                  </a:lnTo>
                  <a:lnTo>
                    <a:pt x="25" y="252"/>
                  </a:lnTo>
                  <a:lnTo>
                    <a:pt x="27" y="249"/>
                  </a:lnTo>
                  <a:lnTo>
                    <a:pt x="28" y="247"/>
                  </a:lnTo>
                  <a:lnTo>
                    <a:pt x="28" y="245"/>
                  </a:lnTo>
                  <a:lnTo>
                    <a:pt x="24" y="244"/>
                  </a:lnTo>
                  <a:lnTo>
                    <a:pt x="20" y="241"/>
                  </a:lnTo>
                  <a:lnTo>
                    <a:pt x="21" y="237"/>
                  </a:lnTo>
                  <a:lnTo>
                    <a:pt x="20" y="232"/>
                  </a:lnTo>
                  <a:lnTo>
                    <a:pt x="20" y="228"/>
                  </a:lnTo>
                  <a:lnTo>
                    <a:pt x="20" y="221"/>
                  </a:lnTo>
                  <a:lnTo>
                    <a:pt x="20" y="219"/>
                  </a:lnTo>
                  <a:lnTo>
                    <a:pt x="20" y="214"/>
                  </a:lnTo>
                  <a:lnTo>
                    <a:pt x="17" y="208"/>
                  </a:lnTo>
                  <a:lnTo>
                    <a:pt x="17" y="206"/>
                  </a:lnTo>
                  <a:lnTo>
                    <a:pt x="17" y="199"/>
                  </a:lnTo>
                  <a:lnTo>
                    <a:pt x="15" y="196"/>
                  </a:lnTo>
                  <a:lnTo>
                    <a:pt x="13" y="195"/>
                  </a:lnTo>
                  <a:lnTo>
                    <a:pt x="7" y="195"/>
                  </a:lnTo>
                  <a:lnTo>
                    <a:pt x="4" y="196"/>
                  </a:lnTo>
                  <a:lnTo>
                    <a:pt x="1" y="194"/>
                  </a:lnTo>
                  <a:lnTo>
                    <a:pt x="2" y="189"/>
                  </a:lnTo>
                  <a:lnTo>
                    <a:pt x="8" y="184"/>
                  </a:lnTo>
                  <a:lnTo>
                    <a:pt x="14" y="179"/>
                  </a:lnTo>
                  <a:lnTo>
                    <a:pt x="17" y="176"/>
                  </a:lnTo>
                  <a:lnTo>
                    <a:pt x="20" y="169"/>
                  </a:lnTo>
                  <a:lnTo>
                    <a:pt x="20" y="163"/>
                  </a:lnTo>
                  <a:lnTo>
                    <a:pt x="18" y="159"/>
                  </a:lnTo>
                  <a:lnTo>
                    <a:pt x="18" y="159"/>
                  </a:lnTo>
                  <a:lnTo>
                    <a:pt x="13" y="153"/>
                  </a:lnTo>
                  <a:lnTo>
                    <a:pt x="5" y="149"/>
                  </a:lnTo>
                  <a:lnTo>
                    <a:pt x="1" y="145"/>
                  </a:lnTo>
                  <a:lnTo>
                    <a:pt x="0" y="141"/>
                  </a:lnTo>
                  <a:lnTo>
                    <a:pt x="64" y="116"/>
                  </a:lnTo>
                  <a:lnTo>
                    <a:pt x="68" y="123"/>
                  </a:lnTo>
                  <a:lnTo>
                    <a:pt x="73" y="126"/>
                  </a:lnTo>
                  <a:lnTo>
                    <a:pt x="80" y="128"/>
                  </a:lnTo>
                  <a:lnTo>
                    <a:pt x="83" y="126"/>
                  </a:lnTo>
                  <a:lnTo>
                    <a:pt x="84" y="126"/>
                  </a:lnTo>
                  <a:lnTo>
                    <a:pt x="86" y="126"/>
                  </a:lnTo>
                  <a:lnTo>
                    <a:pt x="88" y="125"/>
                  </a:lnTo>
                  <a:lnTo>
                    <a:pt x="94" y="123"/>
                  </a:lnTo>
                  <a:lnTo>
                    <a:pt x="106" y="119"/>
                  </a:lnTo>
                  <a:lnTo>
                    <a:pt x="107" y="118"/>
                  </a:lnTo>
                  <a:lnTo>
                    <a:pt x="108" y="109"/>
                  </a:lnTo>
                  <a:lnTo>
                    <a:pt x="111" y="106"/>
                  </a:lnTo>
                  <a:lnTo>
                    <a:pt x="124" y="105"/>
                  </a:lnTo>
                  <a:lnTo>
                    <a:pt x="130" y="109"/>
                  </a:lnTo>
                  <a:lnTo>
                    <a:pt x="130" y="115"/>
                  </a:lnTo>
                  <a:lnTo>
                    <a:pt x="123" y="122"/>
                  </a:lnTo>
                  <a:lnTo>
                    <a:pt x="121" y="126"/>
                  </a:lnTo>
                  <a:lnTo>
                    <a:pt x="121" y="131"/>
                  </a:lnTo>
                  <a:lnTo>
                    <a:pt x="123" y="136"/>
                  </a:lnTo>
                  <a:lnTo>
                    <a:pt x="131" y="135"/>
                  </a:lnTo>
                  <a:lnTo>
                    <a:pt x="139" y="131"/>
                  </a:lnTo>
                  <a:lnTo>
                    <a:pt x="144" y="129"/>
                  </a:lnTo>
                  <a:lnTo>
                    <a:pt x="153" y="133"/>
                  </a:lnTo>
                  <a:lnTo>
                    <a:pt x="156" y="138"/>
                  </a:lnTo>
                  <a:lnTo>
                    <a:pt x="157" y="143"/>
                  </a:lnTo>
                  <a:lnTo>
                    <a:pt x="156" y="145"/>
                  </a:lnTo>
                  <a:lnTo>
                    <a:pt x="153" y="153"/>
                  </a:lnTo>
                  <a:lnTo>
                    <a:pt x="156" y="156"/>
                  </a:lnTo>
                  <a:lnTo>
                    <a:pt x="163" y="161"/>
                  </a:lnTo>
                  <a:lnTo>
                    <a:pt x="171" y="162"/>
                  </a:lnTo>
                  <a:lnTo>
                    <a:pt x="184" y="165"/>
                  </a:lnTo>
                  <a:lnTo>
                    <a:pt x="196" y="166"/>
                  </a:lnTo>
                  <a:lnTo>
                    <a:pt x="200" y="172"/>
                  </a:lnTo>
                  <a:lnTo>
                    <a:pt x="206" y="179"/>
                  </a:lnTo>
                  <a:lnTo>
                    <a:pt x="207" y="191"/>
                  </a:lnTo>
                  <a:lnTo>
                    <a:pt x="210" y="201"/>
                  </a:lnTo>
                  <a:lnTo>
                    <a:pt x="210" y="205"/>
                  </a:lnTo>
                  <a:lnTo>
                    <a:pt x="200" y="215"/>
                  </a:lnTo>
                  <a:lnTo>
                    <a:pt x="200" y="215"/>
                  </a:lnTo>
                  <a:lnTo>
                    <a:pt x="203" y="226"/>
                  </a:lnTo>
                  <a:lnTo>
                    <a:pt x="206" y="238"/>
                  </a:lnTo>
                  <a:lnTo>
                    <a:pt x="206" y="238"/>
                  </a:lnTo>
                  <a:lnTo>
                    <a:pt x="206" y="239"/>
                  </a:lnTo>
                  <a:lnTo>
                    <a:pt x="204" y="241"/>
                  </a:lnTo>
                  <a:lnTo>
                    <a:pt x="200" y="242"/>
                  </a:lnTo>
                  <a:lnTo>
                    <a:pt x="200" y="242"/>
                  </a:lnTo>
                  <a:lnTo>
                    <a:pt x="196" y="244"/>
                  </a:lnTo>
                  <a:lnTo>
                    <a:pt x="194" y="244"/>
                  </a:lnTo>
                  <a:lnTo>
                    <a:pt x="193" y="245"/>
                  </a:lnTo>
                  <a:lnTo>
                    <a:pt x="193" y="245"/>
                  </a:lnTo>
                  <a:lnTo>
                    <a:pt x="193" y="248"/>
                  </a:lnTo>
                  <a:lnTo>
                    <a:pt x="194" y="249"/>
                  </a:lnTo>
                  <a:lnTo>
                    <a:pt x="196" y="252"/>
                  </a:lnTo>
                  <a:lnTo>
                    <a:pt x="196" y="252"/>
                  </a:lnTo>
                  <a:lnTo>
                    <a:pt x="199" y="254"/>
                  </a:lnTo>
                  <a:lnTo>
                    <a:pt x="197" y="255"/>
                  </a:lnTo>
                  <a:lnTo>
                    <a:pt x="196" y="258"/>
                  </a:lnTo>
                  <a:lnTo>
                    <a:pt x="196" y="258"/>
                  </a:lnTo>
                  <a:lnTo>
                    <a:pt x="194" y="261"/>
                  </a:lnTo>
                  <a:lnTo>
                    <a:pt x="192" y="262"/>
                  </a:lnTo>
                  <a:lnTo>
                    <a:pt x="190" y="264"/>
                  </a:lnTo>
                  <a:lnTo>
                    <a:pt x="192" y="268"/>
                  </a:lnTo>
                  <a:lnTo>
                    <a:pt x="192" y="268"/>
                  </a:lnTo>
                  <a:lnTo>
                    <a:pt x="196" y="282"/>
                  </a:lnTo>
                  <a:lnTo>
                    <a:pt x="199" y="288"/>
                  </a:lnTo>
                  <a:lnTo>
                    <a:pt x="202" y="292"/>
                  </a:lnTo>
                  <a:lnTo>
                    <a:pt x="202" y="292"/>
                  </a:lnTo>
                  <a:lnTo>
                    <a:pt x="214" y="300"/>
                  </a:lnTo>
                  <a:lnTo>
                    <a:pt x="222" y="304"/>
                  </a:lnTo>
                  <a:lnTo>
                    <a:pt x="229" y="305"/>
                  </a:lnTo>
                  <a:lnTo>
                    <a:pt x="229" y="305"/>
                  </a:lnTo>
                  <a:lnTo>
                    <a:pt x="233" y="305"/>
                  </a:lnTo>
                  <a:lnTo>
                    <a:pt x="237" y="304"/>
                  </a:lnTo>
                  <a:lnTo>
                    <a:pt x="240" y="302"/>
                  </a:lnTo>
                  <a:lnTo>
                    <a:pt x="240" y="298"/>
                  </a:lnTo>
                  <a:lnTo>
                    <a:pt x="240" y="298"/>
                  </a:lnTo>
                  <a:lnTo>
                    <a:pt x="239" y="288"/>
                  </a:lnTo>
                  <a:lnTo>
                    <a:pt x="237" y="284"/>
                  </a:lnTo>
                  <a:lnTo>
                    <a:pt x="239" y="282"/>
                  </a:lnTo>
                  <a:lnTo>
                    <a:pt x="239" y="282"/>
                  </a:lnTo>
                  <a:lnTo>
                    <a:pt x="257" y="278"/>
                  </a:lnTo>
                  <a:lnTo>
                    <a:pt x="269" y="275"/>
                  </a:lnTo>
                  <a:lnTo>
                    <a:pt x="272" y="274"/>
                  </a:lnTo>
                  <a:lnTo>
                    <a:pt x="275" y="271"/>
                  </a:lnTo>
                  <a:lnTo>
                    <a:pt x="275" y="271"/>
                  </a:lnTo>
                  <a:lnTo>
                    <a:pt x="275" y="267"/>
                  </a:lnTo>
                  <a:lnTo>
                    <a:pt x="273" y="259"/>
                  </a:lnTo>
                  <a:lnTo>
                    <a:pt x="269" y="248"/>
                  </a:lnTo>
                  <a:lnTo>
                    <a:pt x="269" y="248"/>
                  </a:lnTo>
                  <a:lnTo>
                    <a:pt x="266" y="241"/>
                  </a:lnTo>
                  <a:lnTo>
                    <a:pt x="265" y="231"/>
                  </a:lnTo>
                  <a:lnTo>
                    <a:pt x="265" y="231"/>
                  </a:lnTo>
                  <a:lnTo>
                    <a:pt x="265" y="222"/>
                  </a:lnTo>
                  <a:lnTo>
                    <a:pt x="266" y="218"/>
                  </a:lnTo>
                  <a:lnTo>
                    <a:pt x="266" y="215"/>
                  </a:lnTo>
                  <a:lnTo>
                    <a:pt x="266" y="215"/>
                  </a:lnTo>
                  <a:lnTo>
                    <a:pt x="262" y="202"/>
                  </a:lnTo>
                  <a:lnTo>
                    <a:pt x="260" y="189"/>
                  </a:lnTo>
                  <a:lnTo>
                    <a:pt x="260" y="189"/>
                  </a:lnTo>
                  <a:lnTo>
                    <a:pt x="259" y="179"/>
                  </a:lnTo>
                  <a:lnTo>
                    <a:pt x="253" y="171"/>
                  </a:lnTo>
                  <a:lnTo>
                    <a:pt x="253" y="171"/>
                  </a:lnTo>
                  <a:lnTo>
                    <a:pt x="252" y="169"/>
                  </a:lnTo>
                  <a:lnTo>
                    <a:pt x="249" y="169"/>
                  </a:lnTo>
                  <a:lnTo>
                    <a:pt x="243" y="172"/>
                  </a:lnTo>
                  <a:lnTo>
                    <a:pt x="236" y="178"/>
                  </a:lnTo>
                  <a:lnTo>
                    <a:pt x="236" y="178"/>
                  </a:lnTo>
                  <a:close/>
                  <a:moveTo>
                    <a:pt x="247" y="92"/>
                  </a:moveTo>
                  <a:lnTo>
                    <a:pt x="250" y="89"/>
                  </a:lnTo>
                  <a:lnTo>
                    <a:pt x="252" y="85"/>
                  </a:lnTo>
                  <a:lnTo>
                    <a:pt x="249" y="85"/>
                  </a:lnTo>
                  <a:lnTo>
                    <a:pt x="247" y="86"/>
                  </a:lnTo>
                  <a:lnTo>
                    <a:pt x="247" y="90"/>
                  </a:lnTo>
                  <a:lnTo>
                    <a:pt x="247" y="93"/>
                  </a:lnTo>
                  <a:lnTo>
                    <a:pt x="247" y="92"/>
                  </a:lnTo>
                  <a:lnTo>
                    <a:pt x="247" y="92"/>
                  </a:lnTo>
                  <a:close/>
                  <a:moveTo>
                    <a:pt x="266" y="75"/>
                  </a:moveTo>
                  <a:lnTo>
                    <a:pt x="265" y="73"/>
                  </a:lnTo>
                  <a:lnTo>
                    <a:pt x="263" y="75"/>
                  </a:lnTo>
                  <a:lnTo>
                    <a:pt x="262" y="78"/>
                  </a:lnTo>
                  <a:lnTo>
                    <a:pt x="259" y="80"/>
                  </a:lnTo>
                  <a:lnTo>
                    <a:pt x="256" y="82"/>
                  </a:lnTo>
                  <a:lnTo>
                    <a:pt x="255" y="85"/>
                  </a:lnTo>
                  <a:lnTo>
                    <a:pt x="257" y="86"/>
                  </a:lnTo>
                  <a:lnTo>
                    <a:pt x="260" y="85"/>
                  </a:lnTo>
                  <a:lnTo>
                    <a:pt x="263" y="82"/>
                  </a:lnTo>
                  <a:lnTo>
                    <a:pt x="266" y="79"/>
                  </a:lnTo>
                  <a:lnTo>
                    <a:pt x="267" y="78"/>
                  </a:lnTo>
                  <a:lnTo>
                    <a:pt x="266" y="75"/>
                  </a:lnTo>
                  <a:lnTo>
                    <a:pt x="266" y="75"/>
                  </a:lnTo>
                  <a:close/>
                  <a:moveTo>
                    <a:pt x="227" y="85"/>
                  </a:moveTo>
                  <a:lnTo>
                    <a:pt x="227" y="83"/>
                  </a:lnTo>
                  <a:lnTo>
                    <a:pt x="224" y="82"/>
                  </a:lnTo>
                  <a:lnTo>
                    <a:pt x="223" y="83"/>
                  </a:lnTo>
                  <a:lnTo>
                    <a:pt x="220" y="88"/>
                  </a:lnTo>
                  <a:lnTo>
                    <a:pt x="220" y="93"/>
                  </a:lnTo>
                  <a:lnTo>
                    <a:pt x="224" y="93"/>
                  </a:lnTo>
                  <a:lnTo>
                    <a:pt x="227" y="89"/>
                  </a:lnTo>
                  <a:lnTo>
                    <a:pt x="227" y="85"/>
                  </a:lnTo>
                  <a:lnTo>
                    <a:pt x="227" y="85"/>
                  </a:lnTo>
                  <a:close/>
                  <a:moveTo>
                    <a:pt x="232" y="90"/>
                  </a:moveTo>
                  <a:lnTo>
                    <a:pt x="233" y="89"/>
                  </a:lnTo>
                  <a:lnTo>
                    <a:pt x="236" y="88"/>
                  </a:lnTo>
                  <a:lnTo>
                    <a:pt x="237" y="85"/>
                  </a:lnTo>
                  <a:lnTo>
                    <a:pt x="240" y="80"/>
                  </a:lnTo>
                  <a:lnTo>
                    <a:pt x="240" y="79"/>
                  </a:lnTo>
                  <a:lnTo>
                    <a:pt x="239" y="78"/>
                  </a:lnTo>
                  <a:lnTo>
                    <a:pt x="236" y="79"/>
                  </a:lnTo>
                  <a:lnTo>
                    <a:pt x="235" y="82"/>
                  </a:lnTo>
                  <a:lnTo>
                    <a:pt x="233" y="85"/>
                  </a:lnTo>
                  <a:lnTo>
                    <a:pt x="230" y="88"/>
                  </a:lnTo>
                  <a:lnTo>
                    <a:pt x="230" y="89"/>
                  </a:lnTo>
                  <a:lnTo>
                    <a:pt x="230" y="90"/>
                  </a:lnTo>
                  <a:lnTo>
                    <a:pt x="232" y="90"/>
                  </a:lnTo>
                  <a:lnTo>
                    <a:pt x="232" y="90"/>
                  </a:lnTo>
                  <a:close/>
                  <a:moveTo>
                    <a:pt x="224" y="98"/>
                  </a:moveTo>
                  <a:lnTo>
                    <a:pt x="222" y="100"/>
                  </a:lnTo>
                  <a:lnTo>
                    <a:pt x="219" y="103"/>
                  </a:lnTo>
                  <a:lnTo>
                    <a:pt x="217" y="106"/>
                  </a:lnTo>
                  <a:lnTo>
                    <a:pt x="216" y="112"/>
                  </a:lnTo>
                  <a:lnTo>
                    <a:pt x="217" y="115"/>
                  </a:lnTo>
                  <a:lnTo>
                    <a:pt x="220" y="115"/>
                  </a:lnTo>
                  <a:lnTo>
                    <a:pt x="223" y="113"/>
                  </a:lnTo>
                  <a:lnTo>
                    <a:pt x="224" y="108"/>
                  </a:lnTo>
                  <a:lnTo>
                    <a:pt x="224" y="105"/>
                  </a:lnTo>
                  <a:lnTo>
                    <a:pt x="227" y="100"/>
                  </a:lnTo>
                  <a:lnTo>
                    <a:pt x="227" y="99"/>
                  </a:lnTo>
                  <a:lnTo>
                    <a:pt x="226" y="98"/>
                  </a:lnTo>
                  <a:lnTo>
                    <a:pt x="224" y="98"/>
                  </a:lnTo>
                  <a:lnTo>
                    <a:pt x="224" y="98"/>
                  </a:lnTo>
                  <a:close/>
                  <a:moveTo>
                    <a:pt x="154" y="70"/>
                  </a:moveTo>
                  <a:lnTo>
                    <a:pt x="150" y="69"/>
                  </a:lnTo>
                  <a:lnTo>
                    <a:pt x="149" y="70"/>
                  </a:lnTo>
                  <a:lnTo>
                    <a:pt x="150" y="73"/>
                  </a:lnTo>
                  <a:lnTo>
                    <a:pt x="153" y="76"/>
                  </a:lnTo>
                  <a:lnTo>
                    <a:pt x="153" y="76"/>
                  </a:lnTo>
                  <a:lnTo>
                    <a:pt x="154" y="73"/>
                  </a:lnTo>
                  <a:lnTo>
                    <a:pt x="154" y="70"/>
                  </a:lnTo>
                  <a:lnTo>
                    <a:pt x="154" y="70"/>
                  </a:lnTo>
                  <a:close/>
                  <a:moveTo>
                    <a:pt x="101" y="39"/>
                  </a:moveTo>
                  <a:lnTo>
                    <a:pt x="104" y="40"/>
                  </a:lnTo>
                  <a:lnTo>
                    <a:pt x="106" y="40"/>
                  </a:lnTo>
                  <a:lnTo>
                    <a:pt x="107" y="39"/>
                  </a:lnTo>
                  <a:lnTo>
                    <a:pt x="106" y="35"/>
                  </a:lnTo>
                  <a:lnTo>
                    <a:pt x="104" y="35"/>
                  </a:lnTo>
                  <a:lnTo>
                    <a:pt x="103" y="36"/>
                  </a:lnTo>
                  <a:lnTo>
                    <a:pt x="101" y="39"/>
                  </a:lnTo>
                  <a:lnTo>
                    <a:pt x="101" y="39"/>
                  </a:lnTo>
                  <a:close/>
                  <a:moveTo>
                    <a:pt x="87" y="19"/>
                  </a:moveTo>
                  <a:lnTo>
                    <a:pt x="86" y="17"/>
                  </a:lnTo>
                  <a:lnTo>
                    <a:pt x="84" y="20"/>
                  </a:lnTo>
                  <a:lnTo>
                    <a:pt x="86" y="22"/>
                  </a:lnTo>
                  <a:lnTo>
                    <a:pt x="87" y="22"/>
                  </a:lnTo>
                  <a:lnTo>
                    <a:pt x="88" y="20"/>
                  </a:lnTo>
                  <a:lnTo>
                    <a:pt x="87" y="19"/>
                  </a:lnTo>
                  <a:lnTo>
                    <a:pt x="87" y="19"/>
                  </a:lnTo>
                  <a:close/>
                  <a:moveTo>
                    <a:pt x="124" y="9"/>
                  </a:moveTo>
                  <a:lnTo>
                    <a:pt x="126" y="6"/>
                  </a:lnTo>
                  <a:lnTo>
                    <a:pt x="127" y="3"/>
                  </a:lnTo>
                  <a:lnTo>
                    <a:pt x="130" y="2"/>
                  </a:lnTo>
                  <a:lnTo>
                    <a:pt x="126" y="0"/>
                  </a:lnTo>
                  <a:lnTo>
                    <a:pt x="126" y="2"/>
                  </a:lnTo>
                  <a:lnTo>
                    <a:pt x="123" y="3"/>
                  </a:lnTo>
                  <a:lnTo>
                    <a:pt x="121" y="4"/>
                  </a:lnTo>
                  <a:lnTo>
                    <a:pt x="120" y="6"/>
                  </a:lnTo>
                  <a:lnTo>
                    <a:pt x="117" y="7"/>
                  </a:lnTo>
                  <a:lnTo>
                    <a:pt x="116" y="10"/>
                  </a:lnTo>
                  <a:lnTo>
                    <a:pt x="117" y="12"/>
                  </a:lnTo>
                  <a:lnTo>
                    <a:pt x="121" y="12"/>
                  </a:lnTo>
                  <a:lnTo>
                    <a:pt x="124" y="12"/>
                  </a:lnTo>
                  <a:lnTo>
                    <a:pt x="124" y="9"/>
                  </a:lnTo>
                  <a:lnTo>
                    <a:pt x="124" y="9"/>
                  </a:lnTo>
                  <a:close/>
                  <a:moveTo>
                    <a:pt x="230" y="212"/>
                  </a:moveTo>
                  <a:lnTo>
                    <a:pt x="230" y="212"/>
                  </a:lnTo>
                  <a:lnTo>
                    <a:pt x="230" y="209"/>
                  </a:lnTo>
                  <a:lnTo>
                    <a:pt x="232" y="206"/>
                  </a:lnTo>
                  <a:lnTo>
                    <a:pt x="232" y="204"/>
                  </a:lnTo>
                  <a:lnTo>
                    <a:pt x="232" y="204"/>
                  </a:lnTo>
                  <a:lnTo>
                    <a:pt x="229" y="201"/>
                  </a:lnTo>
                  <a:lnTo>
                    <a:pt x="229" y="201"/>
                  </a:lnTo>
                  <a:lnTo>
                    <a:pt x="224" y="201"/>
                  </a:lnTo>
                  <a:lnTo>
                    <a:pt x="223" y="201"/>
                  </a:lnTo>
                  <a:lnTo>
                    <a:pt x="223" y="202"/>
                  </a:lnTo>
                  <a:lnTo>
                    <a:pt x="223" y="202"/>
                  </a:lnTo>
                  <a:lnTo>
                    <a:pt x="223" y="216"/>
                  </a:lnTo>
                  <a:lnTo>
                    <a:pt x="223" y="216"/>
                  </a:lnTo>
                  <a:lnTo>
                    <a:pt x="223" y="216"/>
                  </a:lnTo>
                  <a:lnTo>
                    <a:pt x="226" y="216"/>
                  </a:lnTo>
                  <a:lnTo>
                    <a:pt x="229" y="216"/>
                  </a:lnTo>
                  <a:lnTo>
                    <a:pt x="229" y="216"/>
                  </a:lnTo>
                  <a:lnTo>
                    <a:pt x="229" y="216"/>
                  </a:lnTo>
                  <a:lnTo>
                    <a:pt x="229" y="215"/>
                  </a:lnTo>
                  <a:lnTo>
                    <a:pt x="230" y="212"/>
                  </a:lnTo>
                  <a:lnTo>
                    <a:pt x="230" y="212"/>
                  </a:lnTo>
                  <a:close/>
                </a:path>
              </a:pathLst>
            </a:custGeom>
            <a:solidFill>
              <a:srgbClr val="FFF27F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25" name="Freeform 172"/>
            <p:cNvSpPr>
              <a:spLocks noEditPoints="1"/>
            </p:cNvSpPr>
            <p:nvPr/>
          </p:nvSpPr>
          <p:spPr bwMode="auto">
            <a:xfrm>
              <a:off x="2834306" y="2407164"/>
              <a:ext cx="544629" cy="629702"/>
            </a:xfrm>
            <a:custGeom>
              <a:avLst/>
              <a:gdLst>
                <a:gd name="T0" fmla="*/ 23 w 891"/>
                <a:gd name="T1" fmla="*/ 459 h 952"/>
                <a:gd name="T2" fmla="*/ 33 w 891"/>
                <a:gd name="T3" fmla="*/ 468 h 952"/>
                <a:gd name="T4" fmla="*/ 55 w 891"/>
                <a:gd name="T5" fmla="*/ 474 h 952"/>
                <a:gd name="T6" fmla="*/ 83 w 891"/>
                <a:gd name="T7" fmla="*/ 472 h 952"/>
                <a:gd name="T8" fmla="*/ 96 w 891"/>
                <a:gd name="T9" fmla="*/ 481 h 952"/>
                <a:gd name="T10" fmla="*/ 115 w 891"/>
                <a:gd name="T11" fmla="*/ 477 h 952"/>
                <a:gd name="T12" fmla="*/ 135 w 891"/>
                <a:gd name="T13" fmla="*/ 482 h 952"/>
                <a:gd name="T14" fmla="*/ 131 w 891"/>
                <a:gd name="T15" fmla="*/ 514 h 952"/>
                <a:gd name="T16" fmla="*/ 136 w 891"/>
                <a:gd name="T17" fmla="*/ 521 h 952"/>
                <a:gd name="T18" fmla="*/ 138 w 891"/>
                <a:gd name="T19" fmla="*/ 531 h 952"/>
                <a:gd name="T20" fmla="*/ 125 w 891"/>
                <a:gd name="T21" fmla="*/ 555 h 952"/>
                <a:gd name="T22" fmla="*/ 118 w 891"/>
                <a:gd name="T23" fmla="*/ 581 h 952"/>
                <a:gd name="T24" fmla="*/ 116 w 891"/>
                <a:gd name="T25" fmla="*/ 600 h 952"/>
                <a:gd name="T26" fmla="*/ 111 w 891"/>
                <a:gd name="T27" fmla="*/ 653 h 952"/>
                <a:gd name="T28" fmla="*/ 78 w 891"/>
                <a:gd name="T29" fmla="*/ 709 h 952"/>
                <a:gd name="T30" fmla="*/ 138 w 891"/>
                <a:gd name="T31" fmla="*/ 731 h 952"/>
                <a:gd name="T32" fmla="*/ 156 w 891"/>
                <a:gd name="T33" fmla="*/ 701 h 952"/>
                <a:gd name="T34" fmla="*/ 207 w 891"/>
                <a:gd name="T35" fmla="*/ 773 h 952"/>
                <a:gd name="T36" fmla="*/ 261 w 891"/>
                <a:gd name="T37" fmla="*/ 817 h 952"/>
                <a:gd name="T38" fmla="*/ 354 w 891"/>
                <a:gd name="T39" fmla="*/ 880 h 952"/>
                <a:gd name="T40" fmla="*/ 377 w 891"/>
                <a:gd name="T41" fmla="*/ 925 h 952"/>
                <a:gd name="T42" fmla="*/ 426 w 891"/>
                <a:gd name="T43" fmla="*/ 931 h 952"/>
                <a:gd name="T44" fmla="*/ 479 w 891"/>
                <a:gd name="T45" fmla="*/ 866 h 952"/>
                <a:gd name="T46" fmla="*/ 532 w 891"/>
                <a:gd name="T47" fmla="*/ 815 h 952"/>
                <a:gd name="T48" fmla="*/ 512 w 891"/>
                <a:gd name="T49" fmla="*/ 749 h 952"/>
                <a:gd name="T50" fmla="*/ 556 w 891"/>
                <a:gd name="T51" fmla="*/ 694 h 952"/>
                <a:gd name="T52" fmla="*/ 608 w 891"/>
                <a:gd name="T53" fmla="*/ 658 h 952"/>
                <a:gd name="T54" fmla="*/ 662 w 891"/>
                <a:gd name="T55" fmla="*/ 637 h 952"/>
                <a:gd name="T56" fmla="*/ 673 w 891"/>
                <a:gd name="T57" fmla="*/ 610 h 952"/>
                <a:gd name="T58" fmla="*/ 679 w 891"/>
                <a:gd name="T59" fmla="*/ 555 h 952"/>
                <a:gd name="T60" fmla="*/ 663 w 891"/>
                <a:gd name="T61" fmla="*/ 521 h 952"/>
                <a:gd name="T62" fmla="*/ 676 w 891"/>
                <a:gd name="T63" fmla="*/ 492 h 952"/>
                <a:gd name="T64" fmla="*/ 698 w 891"/>
                <a:gd name="T65" fmla="*/ 471 h 952"/>
                <a:gd name="T66" fmla="*/ 732 w 891"/>
                <a:gd name="T67" fmla="*/ 452 h 952"/>
                <a:gd name="T68" fmla="*/ 756 w 891"/>
                <a:gd name="T69" fmla="*/ 418 h 952"/>
                <a:gd name="T70" fmla="*/ 772 w 891"/>
                <a:gd name="T71" fmla="*/ 395 h 952"/>
                <a:gd name="T72" fmla="*/ 795 w 891"/>
                <a:gd name="T73" fmla="*/ 396 h 952"/>
                <a:gd name="T74" fmla="*/ 821 w 891"/>
                <a:gd name="T75" fmla="*/ 383 h 952"/>
                <a:gd name="T76" fmla="*/ 832 w 891"/>
                <a:gd name="T77" fmla="*/ 398 h 952"/>
                <a:gd name="T78" fmla="*/ 854 w 891"/>
                <a:gd name="T79" fmla="*/ 373 h 952"/>
                <a:gd name="T80" fmla="*/ 870 w 891"/>
                <a:gd name="T81" fmla="*/ 343 h 952"/>
                <a:gd name="T82" fmla="*/ 868 w 891"/>
                <a:gd name="T83" fmla="*/ 292 h 952"/>
                <a:gd name="T84" fmla="*/ 872 w 891"/>
                <a:gd name="T85" fmla="*/ 267 h 952"/>
                <a:gd name="T86" fmla="*/ 870 w 891"/>
                <a:gd name="T87" fmla="*/ 259 h 952"/>
                <a:gd name="T88" fmla="*/ 883 w 891"/>
                <a:gd name="T89" fmla="*/ 233 h 952"/>
                <a:gd name="T90" fmla="*/ 888 w 891"/>
                <a:gd name="T91" fmla="*/ 194 h 952"/>
                <a:gd name="T92" fmla="*/ 842 w 891"/>
                <a:gd name="T93" fmla="*/ 144 h 952"/>
                <a:gd name="T94" fmla="*/ 765 w 891"/>
                <a:gd name="T95" fmla="*/ 20 h 952"/>
                <a:gd name="T96" fmla="*/ 673 w 891"/>
                <a:gd name="T97" fmla="*/ 116 h 952"/>
                <a:gd name="T98" fmla="*/ 587 w 891"/>
                <a:gd name="T99" fmla="*/ 123 h 952"/>
                <a:gd name="T100" fmla="*/ 530 w 891"/>
                <a:gd name="T101" fmla="*/ 192 h 952"/>
                <a:gd name="T102" fmla="*/ 461 w 891"/>
                <a:gd name="T103" fmla="*/ 272 h 952"/>
                <a:gd name="T104" fmla="*/ 367 w 891"/>
                <a:gd name="T105" fmla="*/ 345 h 952"/>
                <a:gd name="T106" fmla="*/ 265 w 891"/>
                <a:gd name="T107" fmla="*/ 445 h 952"/>
                <a:gd name="T108" fmla="*/ 42 w 891"/>
                <a:gd name="T109" fmla="*/ 416 h 952"/>
                <a:gd name="T110" fmla="*/ 23 w 891"/>
                <a:gd name="T111" fmla="*/ 472 h 952"/>
                <a:gd name="T112" fmla="*/ 76 w 891"/>
                <a:gd name="T113" fmla="*/ 464 h 952"/>
                <a:gd name="T114" fmla="*/ 66 w 891"/>
                <a:gd name="T115" fmla="*/ 472 h 952"/>
                <a:gd name="T116" fmla="*/ 132 w 891"/>
                <a:gd name="T117" fmla="*/ 481 h 952"/>
                <a:gd name="T118" fmla="*/ 131 w 891"/>
                <a:gd name="T119" fmla="*/ 492 h 952"/>
                <a:gd name="T120" fmla="*/ 93 w 891"/>
                <a:gd name="T121" fmla="*/ 521 h 952"/>
                <a:gd name="T122" fmla="*/ 106 w 891"/>
                <a:gd name="T123" fmla="*/ 558 h 952"/>
                <a:gd name="T124" fmla="*/ 109 w 891"/>
                <a:gd name="T125" fmla="*/ 568 h 9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91" h="952">
                  <a:moveTo>
                    <a:pt x="10" y="411"/>
                  </a:moveTo>
                  <a:lnTo>
                    <a:pt x="9" y="412"/>
                  </a:lnTo>
                  <a:lnTo>
                    <a:pt x="10" y="412"/>
                  </a:lnTo>
                  <a:lnTo>
                    <a:pt x="15" y="421"/>
                  </a:lnTo>
                  <a:lnTo>
                    <a:pt x="13" y="426"/>
                  </a:lnTo>
                  <a:lnTo>
                    <a:pt x="12" y="429"/>
                  </a:lnTo>
                  <a:lnTo>
                    <a:pt x="9" y="432"/>
                  </a:lnTo>
                  <a:lnTo>
                    <a:pt x="5" y="435"/>
                  </a:lnTo>
                  <a:lnTo>
                    <a:pt x="0" y="438"/>
                  </a:lnTo>
                  <a:lnTo>
                    <a:pt x="2" y="442"/>
                  </a:lnTo>
                  <a:lnTo>
                    <a:pt x="6" y="448"/>
                  </a:lnTo>
                  <a:lnTo>
                    <a:pt x="10" y="451"/>
                  </a:lnTo>
                  <a:lnTo>
                    <a:pt x="13" y="454"/>
                  </a:lnTo>
                  <a:lnTo>
                    <a:pt x="17" y="459"/>
                  </a:lnTo>
                  <a:lnTo>
                    <a:pt x="17" y="458"/>
                  </a:lnTo>
                  <a:lnTo>
                    <a:pt x="19" y="455"/>
                  </a:lnTo>
                  <a:lnTo>
                    <a:pt x="22" y="454"/>
                  </a:lnTo>
                  <a:lnTo>
                    <a:pt x="22" y="456"/>
                  </a:lnTo>
                  <a:lnTo>
                    <a:pt x="23" y="459"/>
                  </a:lnTo>
                  <a:lnTo>
                    <a:pt x="25" y="458"/>
                  </a:lnTo>
                  <a:lnTo>
                    <a:pt x="25" y="458"/>
                  </a:lnTo>
                  <a:lnTo>
                    <a:pt x="28" y="458"/>
                  </a:lnTo>
                  <a:lnTo>
                    <a:pt x="28" y="458"/>
                  </a:lnTo>
                  <a:lnTo>
                    <a:pt x="28" y="455"/>
                  </a:lnTo>
                  <a:lnTo>
                    <a:pt x="28" y="454"/>
                  </a:lnTo>
                  <a:lnTo>
                    <a:pt x="28" y="451"/>
                  </a:lnTo>
                  <a:lnTo>
                    <a:pt x="28" y="451"/>
                  </a:lnTo>
                  <a:lnTo>
                    <a:pt x="29" y="452"/>
                  </a:lnTo>
                  <a:lnTo>
                    <a:pt x="30" y="454"/>
                  </a:lnTo>
                  <a:lnTo>
                    <a:pt x="30" y="455"/>
                  </a:lnTo>
                  <a:lnTo>
                    <a:pt x="30" y="455"/>
                  </a:lnTo>
                  <a:lnTo>
                    <a:pt x="32" y="455"/>
                  </a:lnTo>
                  <a:lnTo>
                    <a:pt x="33" y="455"/>
                  </a:lnTo>
                  <a:lnTo>
                    <a:pt x="33" y="456"/>
                  </a:lnTo>
                  <a:lnTo>
                    <a:pt x="35" y="458"/>
                  </a:lnTo>
                  <a:lnTo>
                    <a:pt x="33" y="462"/>
                  </a:lnTo>
                  <a:lnTo>
                    <a:pt x="33" y="465"/>
                  </a:lnTo>
                  <a:lnTo>
                    <a:pt x="33" y="468"/>
                  </a:lnTo>
                  <a:lnTo>
                    <a:pt x="33" y="469"/>
                  </a:lnTo>
                  <a:lnTo>
                    <a:pt x="35" y="469"/>
                  </a:lnTo>
                  <a:lnTo>
                    <a:pt x="36" y="469"/>
                  </a:lnTo>
                  <a:lnTo>
                    <a:pt x="36" y="469"/>
                  </a:lnTo>
                  <a:lnTo>
                    <a:pt x="39" y="469"/>
                  </a:lnTo>
                  <a:lnTo>
                    <a:pt x="39" y="469"/>
                  </a:lnTo>
                  <a:lnTo>
                    <a:pt x="39" y="465"/>
                  </a:lnTo>
                  <a:lnTo>
                    <a:pt x="42" y="464"/>
                  </a:lnTo>
                  <a:lnTo>
                    <a:pt x="43" y="465"/>
                  </a:lnTo>
                  <a:lnTo>
                    <a:pt x="46" y="465"/>
                  </a:lnTo>
                  <a:lnTo>
                    <a:pt x="46" y="468"/>
                  </a:lnTo>
                  <a:lnTo>
                    <a:pt x="46" y="469"/>
                  </a:lnTo>
                  <a:lnTo>
                    <a:pt x="48" y="474"/>
                  </a:lnTo>
                  <a:lnTo>
                    <a:pt x="49" y="474"/>
                  </a:lnTo>
                  <a:lnTo>
                    <a:pt x="50" y="475"/>
                  </a:lnTo>
                  <a:lnTo>
                    <a:pt x="52" y="477"/>
                  </a:lnTo>
                  <a:lnTo>
                    <a:pt x="53" y="475"/>
                  </a:lnTo>
                  <a:lnTo>
                    <a:pt x="55" y="475"/>
                  </a:lnTo>
                  <a:lnTo>
                    <a:pt x="55" y="474"/>
                  </a:lnTo>
                  <a:lnTo>
                    <a:pt x="56" y="474"/>
                  </a:lnTo>
                  <a:lnTo>
                    <a:pt x="58" y="472"/>
                  </a:lnTo>
                  <a:lnTo>
                    <a:pt x="58" y="471"/>
                  </a:lnTo>
                  <a:lnTo>
                    <a:pt x="58" y="469"/>
                  </a:lnTo>
                  <a:lnTo>
                    <a:pt x="58" y="467"/>
                  </a:lnTo>
                  <a:lnTo>
                    <a:pt x="60" y="467"/>
                  </a:lnTo>
                  <a:lnTo>
                    <a:pt x="62" y="467"/>
                  </a:lnTo>
                  <a:lnTo>
                    <a:pt x="66" y="465"/>
                  </a:lnTo>
                  <a:lnTo>
                    <a:pt x="68" y="462"/>
                  </a:lnTo>
                  <a:lnTo>
                    <a:pt x="68" y="464"/>
                  </a:lnTo>
                  <a:lnTo>
                    <a:pt x="70" y="465"/>
                  </a:lnTo>
                  <a:lnTo>
                    <a:pt x="73" y="462"/>
                  </a:lnTo>
                  <a:lnTo>
                    <a:pt x="76" y="461"/>
                  </a:lnTo>
                  <a:lnTo>
                    <a:pt x="79" y="459"/>
                  </a:lnTo>
                  <a:lnTo>
                    <a:pt x="80" y="461"/>
                  </a:lnTo>
                  <a:lnTo>
                    <a:pt x="83" y="464"/>
                  </a:lnTo>
                  <a:lnTo>
                    <a:pt x="85" y="467"/>
                  </a:lnTo>
                  <a:lnTo>
                    <a:pt x="85" y="469"/>
                  </a:lnTo>
                  <a:lnTo>
                    <a:pt x="83" y="472"/>
                  </a:lnTo>
                  <a:lnTo>
                    <a:pt x="83" y="474"/>
                  </a:lnTo>
                  <a:lnTo>
                    <a:pt x="85" y="477"/>
                  </a:lnTo>
                  <a:lnTo>
                    <a:pt x="85" y="477"/>
                  </a:lnTo>
                  <a:lnTo>
                    <a:pt x="88" y="478"/>
                  </a:lnTo>
                  <a:lnTo>
                    <a:pt x="89" y="477"/>
                  </a:lnTo>
                  <a:lnTo>
                    <a:pt x="89" y="475"/>
                  </a:lnTo>
                  <a:lnTo>
                    <a:pt x="88" y="474"/>
                  </a:lnTo>
                  <a:lnTo>
                    <a:pt x="88" y="472"/>
                  </a:lnTo>
                  <a:lnTo>
                    <a:pt x="89" y="472"/>
                  </a:lnTo>
                  <a:lnTo>
                    <a:pt x="92" y="472"/>
                  </a:lnTo>
                  <a:lnTo>
                    <a:pt x="92" y="474"/>
                  </a:lnTo>
                  <a:lnTo>
                    <a:pt x="92" y="475"/>
                  </a:lnTo>
                  <a:lnTo>
                    <a:pt x="93" y="477"/>
                  </a:lnTo>
                  <a:lnTo>
                    <a:pt x="95" y="475"/>
                  </a:lnTo>
                  <a:lnTo>
                    <a:pt x="96" y="474"/>
                  </a:lnTo>
                  <a:lnTo>
                    <a:pt x="98" y="475"/>
                  </a:lnTo>
                  <a:lnTo>
                    <a:pt x="96" y="478"/>
                  </a:lnTo>
                  <a:lnTo>
                    <a:pt x="96" y="479"/>
                  </a:lnTo>
                  <a:lnTo>
                    <a:pt x="96" y="481"/>
                  </a:lnTo>
                  <a:lnTo>
                    <a:pt x="98" y="481"/>
                  </a:lnTo>
                  <a:lnTo>
                    <a:pt x="98" y="481"/>
                  </a:lnTo>
                  <a:lnTo>
                    <a:pt x="99" y="481"/>
                  </a:lnTo>
                  <a:lnTo>
                    <a:pt x="99" y="481"/>
                  </a:lnTo>
                  <a:lnTo>
                    <a:pt x="102" y="478"/>
                  </a:lnTo>
                  <a:lnTo>
                    <a:pt x="103" y="477"/>
                  </a:lnTo>
                  <a:lnTo>
                    <a:pt x="103" y="474"/>
                  </a:lnTo>
                  <a:lnTo>
                    <a:pt x="103" y="472"/>
                  </a:lnTo>
                  <a:lnTo>
                    <a:pt x="103" y="474"/>
                  </a:lnTo>
                  <a:lnTo>
                    <a:pt x="105" y="477"/>
                  </a:lnTo>
                  <a:lnTo>
                    <a:pt x="106" y="477"/>
                  </a:lnTo>
                  <a:lnTo>
                    <a:pt x="108" y="478"/>
                  </a:lnTo>
                  <a:lnTo>
                    <a:pt x="108" y="478"/>
                  </a:lnTo>
                  <a:lnTo>
                    <a:pt x="108" y="474"/>
                  </a:lnTo>
                  <a:lnTo>
                    <a:pt x="109" y="474"/>
                  </a:lnTo>
                  <a:lnTo>
                    <a:pt x="111" y="475"/>
                  </a:lnTo>
                  <a:lnTo>
                    <a:pt x="112" y="475"/>
                  </a:lnTo>
                  <a:lnTo>
                    <a:pt x="113" y="478"/>
                  </a:lnTo>
                  <a:lnTo>
                    <a:pt x="115" y="477"/>
                  </a:lnTo>
                  <a:lnTo>
                    <a:pt x="118" y="475"/>
                  </a:lnTo>
                  <a:lnTo>
                    <a:pt x="121" y="475"/>
                  </a:lnTo>
                  <a:lnTo>
                    <a:pt x="126" y="475"/>
                  </a:lnTo>
                  <a:lnTo>
                    <a:pt x="128" y="475"/>
                  </a:lnTo>
                  <a:lnTo>
                    <a:pt x="131" y="477"/>
                  </a:lnTo>
                  <a:lnTo>
                    <a:pt x="132" y="475"/>
                  </a:lnTo>
                  <a:lnTo>
                    <a:pt x="132" y="475"/>
                  </a:lnTo>
                  <a:lnTo>
                    <a:pt x="135" y="477"/>
                  </a:lnTo>
                  <a:lnTo>
                    <a:pt x="136" y="475"/>
                  </a:lnTo>
                  <a:lnTo>
                    <a:pt x="138" y="474"/>
                  </a:lnTo>
                  <a:lnTo>
                    <a:pt x="138" y="477"/>
                  </a:lnTo>
                  <a:lnTo>
                    <a:pt x="138" y="478"/>
                  </a:lnTo>
                  <a:lnTo>
                    <a:pt x="138" y="482"/>
                  </a:lnTo>
                  <a:lnTo>
                    <a:pt x="138" y="484"/>
                  </a:lnTo>
                  <a:lnTo>
                    <a:pt x="138" y="487"/>
                  </a:lnTo>
                  <a:lnTo>
                    <a:pt x="138" y="488"/>
                  </a:lnTo>
                  <a:lnTo>
                    <a:pt x="136" y="487"/>
                  </a:lnTo>
                  <a:lnTo>
                    <a:pt x="136" y="484"/>
                  </a:lnTo>
                  <a:lnTo>
                    <a:pt x="135" y="482"/>
                  </a:lnTo>
                  <a:lnTo>
                    <a:pt x="133" y="484"/>
                  </a:lnTo>
                  <a:lnTo>
                    <a:pt x="132" y="487"/>
                  </a:lnTo>
                  <a:lnTo>
                    <a:pt x="133" y="488"/>
                  </a:lnTo>
                  <a:lnTo>
                    <a:pt x="135" y="489"/>
                  </a:lnTo>
                  <a:lnTo>
                    <a:pt x="135" y="491"/>
                  </a:lnTo>
                  <a:lnTo>
                    <a:pt x="136" y="492"/>
                  </a:lnTo>
                  <a:lnTo>
                    <a:pt x="136" y="495"/>
                  </a:lnTo>
                  <a:lnTo>
                    <a:pt x="138" y="498"/>
                  </a:lnTo>
                  <a:lnTo>
                    <a:pt x="138" y="499"/>
                  </a:lnTo>
                  <a:lnTo>
                    <a:pt x="138" y="502"/>
                  </a:lnTo>
                  <a:lnTo>
                    <a:pt x="135" y="502"/>
                  </a:lnTo>
                  <a:lnTo>
                    <a:pt x="132" y="502"/>
                  </a:lnTo>
                  <a:lnTo>
                    <a:pt x="129" y="504"/>
                  </a:lnTo>
                  <a:lnTo>
                    <a:pt x="128" y="507"/>
                  </a:lnTo>
                  <a:lnTo>
                    <a:pt x="128" y="509"/>
                  </a:lnTo>
                  <a:lnTo>
                    <a:pt x="126" y="512"/>
                  </a:lnTo>
                  <a:lnTo>
                    <a:pt x="128" y="514"/>
                  </a:lnTo>
                  <a:lnTo>
                    <a:pt x="129" y="512"/>
                  </a:lnTo>
                  <a:lnTo>
                    <a:pt x="131" y="514"/>
                  </a:lnTo>
                  <a:lnTo>
                    <a:pt x="132" y="512"/>
                  </a:lnTo>
                  <a:lnTo>
                    <a:pt x="133" y="511"/>
                  </a:lnTo>
                  <a:lnTo>
                    <a:pt x="135" y="509"/>
                  </a:lnTo>
                  <a:lnTo>
                    <a:pt x="136" y="509"/>
                  </a:lnTo>
                  <a:lnTo>
                    <a:pt x="136" y="511"/>
                  </a:lnTo>
                  <a:lnTo>
                    <a:pt x="136" y="512"/>
                  </a:lnTo>
                  <a:lnTo>
                    <a:pt x="136" y="514"/>
                  </a:lnTo>
                  <a:lnTo>
                    <a:pt x="133" y="515"/>
                  </a:lnTo>
                  <a:lnTo>
                    <a:pt x="133" y="517"/>
                  </a:lnTo>
                  <a:lnTo>
                    <a:pt x="133" y="518"/>
                  </a:lnTo>
                  <a:lnTo>
                    <a:pt x="135" y="518"/>
                  </a:lnTo>
                  <a:lnTo>
                    <a:pt x="136" y="517"/>
                  </a:lnTo>
                  <a:lnTo>
                    <a:pt x="136" y="515"/>
                  </a:lnTo>
                  <a:lnTo>
                    <a:pt x="139" y="515"/>
                  </a:lnTo>
                  <a:lnTo>
                    <a:pt x="141" y="517"/>
                  </a:lnTo>
                  <a:lnTo>
                    <a:pt x="139" y="518"/>
                  </a:lnTo>
                  <a:lnTo>
                    <a:pt x="138" y="520"/>
                  </a:lnTo>
                  <a:lnTo>
                    <a:pt x="138" y="520"/>
                  </a:lnTo>
                  <a:lnTo>
                    <a:pt x="136" y="521"/>
                  </a:lnTo>
                  <a:lnTo>
                    <a:pt x="135" y="521"/>
                  </a:lnTo>
                  <a:lnTo>
                    <a:pt x="135" y="522"/>
                  </a:lnTo>
                  <a:lnTo>
                    <a:pt x="135" y="524"/>
                  </a:lnTo>
                  <a:lnTo>
                    <a:pt x="136" y="525"/>
                  </a:lnTo>
                  <a:lnTo>
                    <a:pt x="138" y="524"/>
                  </a:lnTo>
                  <a:lnTo>
                    <a:pt x="139" y="522"/>
                  </a:lnTo>
                  <a:lnTo>
                    <a:pt x="141" y="522"/>
                  </a:lnTo>
                  <a:lnTo>
                    <a:pt x="144" y="522"/>
                  </a:lnTo>
                  <a:lnTo>
                    <a:pt x="142" y="524"/>
                  </a:lnTo>
                  <a:lnTo>
                    <a:pt x="142" y="525"/>
                  </a:lnTo>
                  <a:lnTo>
                    <a:pt x="141" y="525"/>
                  </a:lnTo>
                  <a:lnTo>
                    <a:pt x="141" y="527"/>
                  </a:lnTo>
                  <a:lnTo>
                    <a:pt x="141" y="528"/>
                  </a:lnTo>
                  <a:lnTo>
                    <a:pt x="144" y="530"/>
                  </a:lnTo>
                  <a:lnTo>
                    <a:pt x="144" y="530"/>
                  </a:lnTo>
                  <a:lnTo>
                    <a:pt x="144" y="530"/>
                  </a:lnTo>
                  <a:lnTo>
                    <a:pt x="142" y="531"/>
                  </a:lnTo>
                  <a:lnTo>
                    <a:pt x="141" y="531"/>
                  </a:lnTo>
                  <a:lnTo>
                    <a:pt x="138" y="531"/>
                  </a:lnTo>
                  <a:lnTo>
                    <a:pt x="138" y="535"/>
                  </a:lnTo>
                  <a:lnTo>
                    <a:pt x="136" y="538"/>
                  </a:lnTo>
                  <a:lnTo>
                    <a:pt x="135" y="540"/>
                  </a:lnTo>
                  <a:lnTo>
                    <a:pt x="133" y="542"/>
                  </a:lnTo>
                  <a:lnTo>
                    <a:pt x="133" y="542"/>
                  </a:lnTo>
                  <a:lnTo>
                    <a:pt x="132" y="545"/>
                  </a:lnTo>
                  <a:lnTo>
                    <a:pt x="131" y="548"/>
                  </a:lnTo>
                  <a:lnTo>
                    <a:pt x="131" y="548"/>
                  </a:lnTo>
                  <a:lnTo>
                    <a:pt x="128" y="550"/>
                  </a:lnTo>
                  <a:lnTo>
                    <a:pt x="126" y="550"/>
                  </a:lnTo>
                  <a:lnTo>
                    <a:pt x="125" y="551"/>
                  </a:lnTo>
                  <a:lnTo>
                    <a:pt x="123" y="554"/>
                  </a:lnTo>
                  <a:lnTo>
                    <a:pt x="122" y="558"/>
                  </a:lnTo>
                  <a:lnTo>
                    <a:pt x="121" y="561"/>
                  </a:lnTo>
                  <a:lnTo>
                    <a:pt x="121" y="562"/>
                  </a:lnTo>
                  <a:lnTo>
                    <a:pt x="122" y="561"/>
                  </a:lnTo>
                  <a:lnTo>
                    <a:pt x="122" y="560"/>
                  </a:lnTo>
                  <a:lnTo>
                    <a:pt x="123" y="557"/>
                  </a:lnTo>
                  <a:lnTo>
                    <a:pt x="125" y="555"/>
                  </a:lnTo>
                  <a:lnTo>
                    <a:pt x="126" y="554"/>
                  </a:lnTo>
                  <a:lnTo>
                    <a:pt x="128" y="554"/>
                  </a:lnTo>
                  <a:lnTo>
                    <a:pt x="129" y="554"/>
                  </a:lnTo>
                  <a:lnTo>
                    <a:pt x="129" y="555"/>
                  </a:lnTo>
                  <a:lnTo>
                    <a:pt x="129" y="557"/>
                  </a:lnTo>
                  <a:lnTo>
                    <a:pt x="128" y="558"/>
                  </a:lnTo>
                  <a:lnTo>
                    <a:pt x="126" y="560"/>
                  </a:lnTo>
                  <a:lnTo>
                    <a:pt x="123" y="564"/>
                  </a:lnTo>
                  <a:lnTo>
                    <a:pt x="122" y="568"/>
                  </a:lnTo>
                  <a:lnTo>
                    <a:pt x="122" y="570"/>
                  </a:lnTo>
                  <a:lnTo>
                    <a:pt x="122" y="571"/>
                  </a:lnTo>
                  <a:lnTo>
                    <a:pt x="121" y="578"/>
                  </a:lnTo>
                  <a:lnTo>
                    <a:pt x="122" y="581"/>
                  </a:lnTo>
                  <a:lnTo>
                    <a:pt x="122" y="581"/>
                  </a:lnTo>
                  <a:lnTo>
                    <a:pt x="121" y="584"/>
                  </a:lnTo>
                  <a:lnTo>
                    <a:pt x="119" y="584"/>
                  </a:lnTo>
                  <a:lnTo>
                    <a:pt x="118" y="584"/>
                  </a:lnTo>
                  <a:lnTo>
                    <a:pt x="116" y="584"/>
                  </a:lnTo>
                  <a:lnTo>
                    <a:pt x="118" y="581"/>
                  </a:lnTo>
                  <a:lnTo>
                    <a:pt x="118" y="578"/>
                  </a:lnTo>
                  <a:lnTo>
                    <a:pt x="118" y="574"/>
                  </a:lnTo>
                  <a:lnTo>
                    <a:pt x="118" y="573"/>
                  </a:lnTo>
                  <a:lnTo>
                    <a:pt x="118" y="570"/>
                  </a:lnTo>
                  <a:lnTo>
                    <a:pt x="118" y="568"/>
                  </a:lnTo>
                  <a:lnTo>
                    <a:pt x="116" y="568"/>
                  </a:lnTo>
                  <a:lnTo>
                    <a:pt x="115" y="570"/>
                  </a:lnTo>
                  <a:lnTo>
                    <a:pt x="115" y="573"/>
                  </a:lnTo>
                  <a:lnTo>
                    <a:pt x="113" y="574"/>
                  </a:lnTo>
                  <a:lnTo>
                    <a:pt x="112" y="575"/>
                  </a:lnTo>
                  <a:lnTo>
                    <a:pt x="112" y="580"/>
                  </a:lnTo>
                  <a:lnTo>
                    <a:pt x="113" y="581"/>
                  </a:lnTo>
                  <a:lnTo>
                    <a:pt x="112" y="584"/>
                  </a:lnTo>
                  <a:lnTo>
                    <a:pt x="112" y="587"/>
                  </a:lnTo>
                  <a:lnTo>
                    <a:pt x="115" y="588"/>
                  </a:lnTo>
                  <a:lnTo>
                    <a:pt x="115" y="593"/>
                  </a:lnTo>
                  <a:lnTo>
                    <a:pt x="115" y="593"/>
                  </a:lnTo>
                  <a:lnTo>
                    <a:pt x="115" y="594"/>
                  </a:lnTo>
                  <a:lnTo>
                    <a:pt x="116" y="600"/>
                  </a:lnTo>
                  <a:lnTo>
                    <a:pt x="116" y="604"/>
                  </a:lnTo>
                  <a:lnTo>
                    <a:pt x="116" y="607"/>
                  </a:lnTo>
                  <a:lnTo>
                    <a:pt x="116" y="608"/>
                  </a:lnTo>
                  <a:lnTo>
                    <a:pt x="116" y="610"/>
                  </a:lnTo>
                  <a:lnTo>
                    <a:pt x="115" y="614"/>
                  </a:lnTo>
                  <a:lnTo>
                    <a:pt x="115" y="618"/>
                  </a:lnTo>
                  <a:lnTo>
                    <a:pt x="115" y="621"/>
                  </a:lnTo>
                  <a:lnTo>
                    <a:pt x="115" y="623"/>
                  </a:lnTo>
                  <a:lnTo>
                    <a:pt x="115" y="625"/>
                  </a:lnTo>
                  <a:lnTo>
                    <a:pt x="115" y="628"/>
                  </a:lnTo>
                  <a:lnTo>
                    <a:pt x="116" y="630"/>
                  </a:lnTo>
                  <a:lnTo>
                    <a:pt x="116" y="631"/>
                  </a:lnTo>
                  <a:lnTo>
                    <a:pt x="115" y="634"/>
                  </a:lnTo>
                  <a:lnTo>
                    <a:pt x="115" y="636"/>
                  </a:lnTo>
                  <a:lnTo>
                    <a:pt x="115" y="638"/>
                  </a:lnTo>
                  <a:lnTo>
                    <a:pt x="113" y="643"/>
                  </a:lnTo>
                  <a:lnTo>
                    <a:pt x="112" y="646"/>
                  </a:lnTo>
                  <a:lnTo>
                    <a:pt x="111" y="650"/>
                  </a:lnTo>
                  <a:lnTo>
                    <a:pt x="111" y="653"/>
                  </a:lnTo>
                  <a:lnTo>
                    <a:pt x="111" y="654"/>
                  </a:lnTo>
                  <a:lnTo>
                    <a:pt x="109" y="656"/>
                  </a:lnTo>
                  <a:lnTo>
                    <a:pt x="106" y="657"/>
                  </a:lnTo>
                  <a:lnTo>
                    <a:pt x="106" y="658"/>
                  </a:lnTo>
                  <a:lnTo>
                    <a:pt x="103" y="660"/>
                  </a:lnTo>
                  <a:lnTo>
                    <a:pt x="102" y="661"/>
                  </a:lnTo>
                  <a:lnTo>
                    <a:pt x="96" y="670"/>
                  </a:lnTo>
                  <a:lnTo>
                    <a:pt x="95" y="673"/>
                  </a:lnTo>
                  <a:lnTo>
                    <a:pt x="92" y="680"/>
                  </a:lnTo>
                  <a:lnTo>
                    <a:pt x="89" y="686"/>
                  </a:lnTo>
                  <a:lnTo>
                    <a:pt x="85" y="691"/>
                  </a:lnTo>
                  <a:lnTo>
                    <a:pt x="78" y="694"/>
                  </a:lnTo>
                  <a:lnTo>
                    <a:pt x="73" y="697"/>
                  </a:lnTo>
                  <a:lnTo>
                    <a:pt x="73" y="697"/>
                  </a:lnTo>
                  <a:lnTo>
                    <a:pt x="70" y="701"/>
                  </a:lnTo>
                  <a:lnTo>
                    <a:pt x="70" y="704"/>
                  </a:lnTo>
                  <a:lnTo>
                    <a:pt x="69" y="709"/>
                  </a:lnTo>
                  <a:lnTo>
                    <a:pt x="72" y="709"/>
                  </a:lnTo>
                  <a:lnTo>
                    <a:pt x="78" y="709"/>
                  </a:lnTo>
                  <a:lnTo>
                    <a:pt x="79" y="711"/>
                  </a:lnTo>
                  <a:lnTo>
                    <a:pt x="83" y="713"/>
                  </a:lnTo>
                  <a:lnTo>
                    <a:pt x="86" y="719"/>
                  </a:lnTo>
                  <a:lnTo>
                    <a:pt x="92" y="719"/>
                  </a:lnTo>
                  <a:lnTo>
                    <a:pt x="95" y="719"/>
                  </a:lnTo>
                  <a:lnTo>
                    <a:pt x="99" y="719"/>
                  </a:lnTo>
                  <a:lnTo>
                    <a:pt x="102" y="717"/>
                  </a:lnTo>
                  <a:lnTo>
                    <a:pt x="103" y="713"/>
                  </a:lnTo>
                  <a:lnTo>
                    <a:pt x="108" y="709"/>
                  </a:lnTo>
                  <a:lnTo>
                    <a:pt x="112" y="710"/>
                  </a:lnTo>
                  <a:lnTo>
                    <a:pt x="116" y="711"/>
                  </a:lnTo>
                  <a:lnTo>
                    <a:pt x="119" y="716"/>
                  </a:lnTo>
                  <a:lnTo>
                    <a:pt x="125" y="720"/>
                  </a:lnTo>
                  <a:lnTo>
                    <a:pt x="126" y="724"/>
                  </a:lnTo>
                  <a:lnTo>
                    <a:pt x="131" y="721"/>
                  </a:lnTo>
                  <a:lnTo>
                    <a:pt x="135" y="717"/>
                  </a:lnTo>
                  <a:lnTo>
                    <a:pt x="141" y="720"/>
                  </a:lnTo>
                  <a:lnTo>
                    <a:pt x="139" y="727"/>
                  </a:lnTo>
                  <a:lnTo>
                    <a:pt x="138" y="731"/>
                  </a:lnTo>
                  <a:lnTo>
                    <a:pt x="139" y="739"/>
                  </a:lnTo>
                  <a:lnTo>
                    <a:pt x="141" y="744"/>
                  </a:lnTo>
                  <a:lnTo>
                    <a:pt x="141" y="749"/>
                  </a:lnTo>
                  <a:lnTo>
                    <a:pt x="146" y="749"/>
                  </a:lnTo>
                  <a:lnTo>
                    <a:pt x="151" y="747"/>
                  </a:lnTo>
                  <a:lnTo>
                    <a:pt x="161" y="743"/>
                  </a:lnTo>
                  <a:lnTo>
                    <a:pt x="166" y="742"/>
                  </a:lnTo>
                  <a:lnTo>
                    <a:pt x="169" y="737"/>
                  </a:lnTo>
                  <a:lnTo>
                    <a:pt x="169" y="731"/>
                  </a:lnTo>
                  <a:lnTo>
                    <a:pt x="168" y="729"/>
                  </a:lnTo>
                  <a:lnTo>
                    <a:pt x="166" y="724"/>
                  </a:lnTo>
                  <a:lnTo>
                    <a:pt x="161" y="723"/>
                  </a:lnTo>
                  <a:lnTo>
                    <a:pt x="154" y="724"/>
                  </a:lnTo>
                  <a:lnTo>
                    <a:pt x="154" y="721"/>
                  </a:lnTo>
                  <a:lnTo>
                    <a:pt x="154" y="717"/>
                  </a:lnTo>
                  <a:lnTo>
                    <a:pt x="155" y="714"/>
                  </a:lnTo>
                  <a:lnTo>
                    <a:pt x="154" y="707"/>
                  </a:lnTo>
                  <a:lnTo>
                    <a:pt x="155" y="703"/>
                  </a:lnTo>
                  <a:lnTo>
                    <a:pt x="156" y="701"/>
                  </a:lnTo>
                  <a:lnTo>
                    <a:pt x="162" y="703"/>
                  </a:lnTo>
                  <a:lnTo>
                    <a:pt x="168" y="704"/>
                  </a:lnTo>
                  <a:lnTo>
                    <a:pt x="172" y="706"/>
                  </a:lnTo>
                  <a:lnTo>
                    <a:pt x="176" y="709"/>
                  </a:lnTo>
                  <a:lnTo>
                    <a:pt x="179" y="714"/>
                  </a:lnTo>
                  <a:lnTo>
                    <a:pt x="181" y="716"/>
                  </a:lnTo>
                  <a:lnTo>
                    <a:pt x="186" y="720"/>
                  </a:lnTo>
                  <a:lnTo>
                    <a:pt x="188" y="723"/>
                  </a:lnTo>
                  <a:lnTo>
                    <a:pt x="188" y="726"/>
                  </a:lnTo>
                  <a:lnTo>
                    <a:pt x="192" y="729"/>
                  </a:lnTo>
                  <a:lnTo>
                    <a:pt x="195" y="733"/>
                  </a:lnTo>
                  <a:lnTo>
                    <a:pt x="197" y="737"/>
                  </a:lnTo>
                  <a:lnTo>
                    <a:pt x="199" y="743"/>
                  </a:lnTo>
                  <a:lnTo>
                    <a:pt x="201" y="746"/>
                  </a:lnTo>
                  <a:lnTo>
                    <a:pt x="201" y="750"/>
                  </a:lnTo>
                  <a:lnTo>
                    <a:pt x="202" y="756"/>
                  </a:lnTo>
                  <a:lnTo>
                    <a:pt x="202" y="764"/>
                  </a:lnTo>
                  <a:lnTo>
                    <a:pt x="204" y="769"/>
                  </a:lnTo>
                  <a:lnTo>
                    <a:pt x="207" y="773"/>
                  </a:lnTo>
                  <a:lnTo>
                    <a:pt x="211" y="773"/>
                  </a:lnTo>
                  <a:lnTo>
                    <a:pt x="215" y="770"/>
                  </a:lnTo>
                  <a:lnTo>
                    <a:pt x="222" y="764"/>
                  </a:lnTo>
                  <a:lnTo>
                    <a:pt x="224" y="767"/>
                  </a:lnTo>
                  <a:lnTo>
                    <a:pt x="229" y="772"/>
                  </a:lnTo>
                  <a:lnTo>
                    <a:pt x="234" y="773"/>
                  </a:lnTo>
                  <a:lnTo>
                    <a:pt x="234" y="773"/>
                  </a:lnTo>
                  <a:lnTo>
                    <a:pt x="238" y="776"/>
                  </a:lnTo>
                  <a:lnTo>
                    <a:pt x="241" y="782"/>
                  </a:lnTo>
                  <a:lnTo>
                    <a:pt x="241" y="789"/>
                  </a:lnTo>
                  <a:lnTo>
                    <a:pt x="241" y="796"/>
                  </a:lnTo>
                  <a:lnTo>
                    <a:pt x="242" y="802"/>
                  </a:lnTo>
                  <a:lnTo>
                    <a:pt x="244" y="806"/>
                  </a:lnTo>
                  <a:lnTo>
                    <a:pt x="248" y="810"/>
                  </a:lnTo>
                  <a:lnTo>
                    <a:pt x="252" y="813"/>
                  </a:lnTo>
                  <a:lnTo>
                    <a:pt x="257" y="813"/>
                  </a:lnTo>
                  <a:lnTo>
                    <a:pt x="260" y="810"/>
                  </a:lnTo>
                  <a:lnTo>
                    <a:pt x="262" y="813"/>
                  </a:lnTo>
                  <a:lnTo>
                    <a:pt x="261" y="817"/>
                  </a:lnTo>
                  <a:lnTo>
                    <a:pt x="255" y="819"/>
                  </a:lnTo>
                  <a:lnTo>
                    <a:pt x="252" y="822"/>
                  </a:lnTo>
                  <a:lnTo>
                    <a:pt x="248" y="825"/>
                  </a:lnTo>
                  <a:lnTo>
                    <a:pt x="247" y="827"/>
                  </a:lnTo>
                  <a:lnTo>
                    <a:pt x="242" y="835"/>
                  </a:lnTo>
                  <a:lnTo>
                    <a:pt x="244" y="839"/>
                  </a:lnTo>
                  <a:lnTo>
                    <a:pt x="247" y="839"/>
                  </a:lnTo>
                  <a:lnTo>
                    <a:pt x="251" y="840"/>
                  </a:lnTo>
                  <a:lnTo>
                    <a:pt x="255" y="843"/>
                  </a:lnTo>
                  <a:lnTo>
                    <a:pt x="257" y="843"/>
                  </a:lnTo>
                  <a:lnTo>
                    <a:pt x="321" y="875"/>
                  </a:lnTo>
                  <a:lnTo>
                    <a:pt x="325" y="875"/>
                  </a:lnTo>
                  <a:lnTo>
                    <a:pt x="328" y="873"/>
                  </a:lnTo>
                  <a:lnTo>
                    <a:pt x="334" y="872"/>
                  </a:lnTo>
                  <a:lnTo>
                    <a:pt x="338" y="872"/>
                  </a:lnTo>
                  <a:lnTo>
                    <a:pt x="345" y="873"/>
                  </a:lnTo>
                  <a:lnTo>
                    <a:pt x="348" y="875"/>
                  </a:lnTo>
                  <a:lnTo>
                    <a:pt x="351" y="878"/>
                  </a:lnTo>
                  <a:lnTo>
                    <a:pt x="354" y="880"/>
                  </a:lnTo>
                  <a:lnTo>
                    <a:pt x="355" y="885"/>
                  </a:lnTo>
                  <a:lnTo>
                    <a:pt x="358" y="888"/>
                  </a:lnTo>
                  <a:lnTo>
                    <a:pt x="364" y="889"/>
                  </a:lnTo>
                  <a:lnTo>
                    <a:pt x="370" y="889"/>
                  </a:lnTo>
                  <a:lnTo>
                    <a:pt x="371" y="892"/>
                  </a:lnTo>
                  <a:lnTo>
                    <a:pt x="373" y="893"/>
                  </a:lnTo>
                  <a:lnTo>
                    <a:pt x="373" y="896"/>
                  </a:lnTo>
                  <a:lnTo>
                    <a:pt x="374" y="899"/>
                  </a:lnTo>
                  <a:lnTo>
                    <a:pt x="374" y="903"/>
                  </a:lnTo>
                  <a:lnTo>
                    <a:pt x="376" y="905"/>
                  </a:lnTo>
                  <a:lnTo>
                    <a:pt x="376" y="908"/>
                  </a:lnTo>
                  <a:lnTo>
                    <a:pt x="376" y="909"/>
                  </a:lnTo>
                  <a:lnTo>
                    <a:pt x="374" y="913"/>
                  </a:lnTo>
                  <a:lnTo>
                    <a:pt x="374" y="916"/>
                  </a:lnTo>
                  <a:lnTo>
                    <a:pt x="374" y="916"/>
                  </a:lnTo>
                  <a:lnTo>
                    <a:pt x="373" y="919"/>
                  </a:lnTo>
                  <a:lnTo>
                    <a:pt x="373" y="921"/>
                  </a:lnTo>
                  <a:lnTo>
                    <a:pt x="374" y="922"/>
                  </a:lnTo>
                  <a:lnTo>
                    <a:pt x="377" y="925"/>
                  </a:lnTo>
                  <a:lnTo>
                    <a:pt x="378" y="928"/>
                  </a:lnTo>
                  <a:lnTo>
                    <a:pt x="380" y="931"/>
                  </a:lnTo>
                  <a:lnTo>
                    <a:pt x="381" y="932"/>
                  </a:lnTo>
                  <a:lnTo>
                    <a:pt x="386" y="935"/>
                  </a:lnTo>
                  <a:lnTo>
                    <a:pt x="386" y="935"/>
                  </a:lnTo>
                  <a:lnTo>
                    <a:pt x="387" y="938"/>
                  </a:lnTo>
                  <a:lnTo>
                    <a:pt x="388" y="941"/>
                  </a:lnTo>
                  <a:lnTo>
                    <a:pt x="391" y="942"/>
                  </a:lnTo>
                  <a:lnTo>
                    <a:pt x="391" y="946"/>
                  </a:lnTo>
                  <a:lnTo>
                    <a:pt x="393" y="948"/>
                  </a:lnTo>
                  <a:lnTo>
                    <a:pt x="394" y="949"/>
                  </a:lnTo>
                  <a:lnTo>
                    <a:pt x="396" y="952"/>
                  </a:lnTo>
                  <a:lnTo>
                    <a:pt x="398" y="951"/>
                  </a:lnTo>
                  <a:lnTo>
                    <a:pt x="400" y="949"/>
                  </a:lnTo>
                  <a:lnTo>
                    <a:pt x="404" y="943"/>
                  </a:lnTo>
                  <a:lnTo>
                    <a:pt x="410" y="939"/>
                  </a:lnTo>
                  <a:lnTo>
                    <a:pt x="416" y="933"/>
                  </a:lnTo>
                  <a:lnTo>
                    <a:pt x="421" y="932"/>
                  </a:lnTo>
                  <a:lnTo>
                    <a:pt x="426" y="931"/>
                  </a:lnTo>
                  <a:lnTo>
                    <a:pt x="430" y="931"/>
                  </a:lnTo>
                  <a:lnTo>
                    <a:pt x="433" y="923"/>
                  </a:lnTo>
                  <a:lnTo>
                    <a:pt x="440" y="922"/>
                  </a:lnTo>
                  <a:lnTo>
                    <a:pt x="446" y="922"/>
                  </a:lnTo>
                  <a:lnTo>
                    <a:pt x="453" y="919"/>
                  </a:lnTo>
                  <a:lnTo>
                    <a:pt x="459" y="916"/>
                  </a:lnTo>
                  <a:lnTo>
                    <a:pt x="466" y="905"/>
                  </a:lnTo>
                  <a:lnTo>
                    <a:pt x="471" y="893"/>
                  </a:lnTo>
                  <a:lnTo>
                    <a:pt x="476" y="888"/>
                  </a:lnTo>
                  <a:lnTo>
                    <a:pt x="477" y="885"/>
                  </a:lnTo>
                  <a:lnTo>
                    <a:pt x="480" y="880"/>
                  </a:lnTo>
                  <a:lnTo>
                    <a:pt x="480" y="876"/>
                  </a:lnTo>
                  <a:lnTo>
                    <a:pt x="477" y="873"/>
                  </a:lnTo>
                  <a:lnTo>
                    <a:pt x="471" y="872"/>
                  </a:lnTo>
                  <a:lnTo>
                    <a:pt x="467" y="869"/>
                  </a:lnTo>
                  <a:lnTo>
                    <a:pt x="469" y="866"/>
                  </a:lnTo>
                  <a:lnTo>
                    <a:pt x="471" y="866"/>
                  </a:lnTo>
                  <a:lnTo>
                    <a:pt x="477" y="868"/>
                  </a:lnTo>
                  <a:lnTo>
                    <a:pt x="479" y="866"/>
                  </a:lnTo>
                  <a:lnTo>
                    <a:pt x="480" y="863"/>
                  </a:lnTo>
                  <a:lnTo>
                    <a:pt x="483" y="860"/>
                  </a:lnTo>
                  <a:lnTo>
                    <a:pt x="487" y="859"/>
                  </a:lnTo>
                  <a:lnTo>
                    <a:pt x="492" y="859"/>
                  </a:lnTo>
                  <a:lnTo>
                    <a:pt x="496" y="858"/>
                  </a:lnTo>
                  <a:lnTo>
                    <a:pt x="497" y="858"/>
                  </a:lnTo>
                  <a:lnTo>
                    <a:pt x="502" y="856"/>
                  </a:lnTo>
                  <a:lnTo>
                    <a:pt x="504" y="853"/>
                  </a:lnTo>
                  <a:lnTo>
                    <a:pt x="509" y="852"/>
                  </a:lnTo>
                  <a:lnTo>
                    <a:pt x="512" y="849"/>
                  </a:lnTo>
                  <a:lnTo>
                    <a:pt x="517" y="845"/>
                  </a:lnTo>
                  <a:lnTo>
                    <a:pt x="520" y="842"/>
                  </a:lnTo>
                  <a:lnTo>
                    <a:pt x="524" y="837"/>
                  </a:lnTo>
                  <a:lnTo>
                    <a:pt x="526" y="833"/>
                  </a:lnTo>
                  <a:lnTo>
                    <a:pt x="529" y="830"/>
                  </a:lnTo>
                  <a:lnTo>
                    <a:pt x="532" y="826"/>
                  </a:lnTo>
                  <a:lnTo>
                    <a:pt x="533" y="823"/>
                  </a:lnTo>
                  <a:lnTo>
                    <a:pt x="533" y="819"/>
                  </a:lnTo>
                  <a:lnTo>
                    <a:pt x="532" y="815"/>
                  </a:lnTo>
                  <a:lnTo>
                    <a:pt x="529" y="812"/>
                  </a:lnTo>
                  <a:lnTo>
                    <a:pt x="524" y="809"/>
                  </a:lnTo>
                  <a:lnTo>
                    <a:pt x="522" y="807"/>
                  </a:lnTo>
                  <a:lnTo>
                    <a:pt x="519" y="806"/>
                  </a:lnTo>
                  <a:lnTo>
                    <a:pt x="516" y="803"/>
                  </a:lnTo>
                  <a:lnTo>
                    <a:pt x="513" y="799"/>
                  </a:lnTo>
                  <a:lnTo>
                    <a:pt x="513" y="793"/>
                  </a:lnTo>
                  <a:lnTo>
                    <a:pt x="512" y="790"/>
                  </a:lnTo>
                  <a:lnTo>
                    <a:pt x="510" y="787"/>
                  </a:lnTo>
                  <a:lnTo>
                    <a:pt x="509" y="784"/>
                  </a:lnTo>
                  <a:lnTo>
                    <a:pt x="506" y="780"/>
                  </a:lnTo>
                  <a:lnTo>
                    <a:pt x="503" y="777"/>
                  </a:lnTo>
                  <a:lnTo>
                    <a:pt x="503" y="772"/>
                  </a:lnTo>
                  <a:lnTo>
                    <a:pt x="504" y="767"/>
                  </a:lnTo>
                  <a:lnTo>
                    <a:pt x="504" y="763"/>
                  </a:lnTo>
                  <a:lnTo>
                    <a:pt x="504" y="757"/>
                  </a:lnTo>
                  <a:lnTo>
                    <a:pt x="507" y="754"/>
                  </a:lnTo>
                  <a:lnTo>
                    <a:pt x="510" y="749"/>
                  </a:lnTo>
                  <a:lnTo>
                    <a:pt x="512" y="749"/>
                  </a:lnTo>
                  <a:lnTo>
                    <a:pt x="519" y="734"/>
                  </a:lnTo>
                  <a:lnTo>
                    <a:pt x="520" y="730"/>
                  </a:lnTo>
                  <a:lnTo>
                    <a:pt x="522" y="724"/>
                  </a:lnTo>
                  <a:lnTo>
                    <a:pt x="526" y="719"/>
                  </a:lnTo>
                  <a:lnTo>
                    <a:pt x="529" y="716"/>
                  </a:lnTo>
                  <a:lnTo>
                    <a:pt x="530" y="714"/>
                  </a:lnTo>
                  <a:lnTo>
                    <a:pt x="533" y="711"/>
                  </a:lnTo>
                  <a:lnTo>
                    <a:pt x="539" y="711"/>
                  </a:lnTo>
                  <a:lnTo>
                    <a:pt x="542" y="713"/>
                  </a:lnTo>
                  <a:lnTo>
                    <a:pt x="545" y="709"/>
                  </a:lnTo>
                  <a:lnTo>
                    <a:pt x="549" y="709"/>
                  </a:lnTo>
                  <a:lnTo>
                    <a:pt x="552" y="710"/>
                  </a:lnTo>
                  <a:lnTo>
                    <a:pt x="556" y="711"/>
                  </a:lnTo>
                  <a:lnTo>
                    <a:pt x="557" y="707"/>
                  </a:lnTo>
                  <a:lnTo>
                    <a:pt x="557" y="703"/>
                  </a:lnTo>
                  <a:lnTo>
                    <a:pt x="555" y="701"/>
                  </a:lnTo>
                  <a:lnTo>
                    <a:pt x="553" y="699"/>
                  </a:lnTo>
                  <a:lnTo>
                    <a:pt x="553" y="697"/>
                  </a:lnTo>
                  <a:lnTo>
                    <a:pt x="556" y="694"/>
                  </a:lnTo>
                  <a:lnTo>
                    <a:pt x="559" y="691"/>
                  </a:lnTo>
                  <a:lnTo>
                    <a:pt x="567" y="684"/>
                  </a:lnTo>
                  <a:lnTo>
                    <a:pt x="570" y="683"/>
                  </a:lnTo>
                  <a:lnTo>
                    <a:pt x="575" y="680"/>
                  </a:lnTo>
                  <a:lnTo>
                    <a:pt x="575" y="677"/>
                  </a:lnTo>
                  <a:lnTo>
                    <a:pt x="579" y="674"/>
                  </a:lnTo>
                  <a:lnTo>
                    <a:pt x="582" y="671"/>
                  </a:lnTo>
                  <a:lnTo>
                    <a:pt x="582" y="666"/>
                  </a:lnTo>
                  <a:lnTo>
                    <a:pt x="583" y="657"/>
                  </a:lnTo>
                  <a:lnTo>
                    <a:pt x="585" y="648"/>
                  </a:lnTo>
                  <a:lnTo>
                    <a:pt x="586" y="641"/>
                  </a:lnTo>
                  <a:lnTo>
                    <a:pt x="589" y="640"/>
                  </a:lnTo>
                  <a:lnTo>
                    <a:pt x="593" y="638"/>
                  </a:lnTo>
                  <a:lnTo>
                    <a:pt x="596" y="640"/>
                  </a:lnTo>
                  <a:lnTo>
                    <a:pt x="599" y="641"/>
                  </a:lnTo>
                  <a:lnTo>
                    <a:pt x="602" y="646"/>
                  </a:lnTo>
                  <a:lnTo>
                    <a:pt x="605" y="650"/>
                  </a:lnTo>
                  <a:lnTo>
                    <a:pt x="606" y="654"/>
                  </a:lnTo>
                  <a:lnTo>
                    <a:pt x="608" y="658"/>
                  </a:lnTo>
                  <a:lnTo>
                    <a:pt x="613" y="664"/>
                  </a:lnTo>
                  <a:lnTo>
                    <a:pt x="618" y="668"/>
                  </a:lnTo>
                  <a:lnTo>
                    <a:pt x="620" y="670"/>
                  </a:lnTo>
                  <a:lnTo>
                    <a:pt x="625" y="670"/>
                  </a:lnTo>
                  <a:lnTo>
                    <a:pt x="629" y="671"/>
                  </a:lnTo>
                  <a:lnTo>
                    <a:pt x="632" y="671"/>
                  </a:lnTo>
                  <a:lnTo>
                    <a:pt x="639" y="668"/>
                  </a:lnTo>
                  <a:lnTo>
                    <a:pt x="645" y="666"/>
                  </a:lnTo>
                  <a:lnTo>
                    <a:pt x="648" y="663"/>
                  </a:lnTo>
                  <a:lnTo>
                    <a:pt x="652" y="658"/>
                  </a:lnTo>
                  <a:lnTo>
                    <a:pt x="656" y="654"/>
                  </a:lnTo>
                  <a:lnTo>
                    <a:pt x="662" y="651"/>
                  </a:lnTo>
                  <a:lnTo>
                    <a:pt x="663" y="650"/>
                  </a:lnTo>
                  <a:lnTo>
                    <a:pt x="663" y="650"/>
                  </a:lnTo>
                  <a:lnTo>
                    <a:pt x="663" y="650"/>
                  </a:lnTo>
                  <a:lnTo>
                    <a:pt x="662" y="647"/>
                  </a:lnTo>
                  <a:lnTo>
                    <a:pt x="663" y="643"/>
                  </a:lnTo>
                  <a:lnTo>
                    <a:pt x="663" y="638"/>
                  </a:lnTo>
                  <a:lnTo>
                    <a:pt x="662" y="637"/>
                  </a:lnTo>
                  <a:lnTo>
                    <a:pt x="661" y="634"/>
                  </a:lnTo>
                  <a:lnTo>
                    <a:pt x="659" y="633"/>
                  </a:lnTo>
                  <a:lnTo>
                    <a:pt x="656" y="631"/>
                  </a:lnTo>
                  <a:lnTo>
                    <a:pt x="658" y="630"/>
                  </a:lnTo>
                  <a:lnTo>
                    <a:pt x="658" y="628"/>
                  </a:lnTo>
                  <a:lnTo>
                    <a:pt x="658" y="624"/>
                  </a:lnTo>
                  <a:lnTo>
                    <a:pt x="659" y="621"/>
                  </a:lnTo>
                  <a:lnTo>
                    <a:pt x="659" y="620"/>
                  </a:lnTo>
                  <a:lnTo>
                    <a:pt x="661" y="618"/>
                  </a:lnTo>
                  <a:lnTo>
                    <a:pt x="663" y="617"/>
                  </a:lnTo>
                  <a:lnTo>
                    <a:pt x="665" y="614"/>
                  </a:lnTo>
                  <a:lnTo>
                    <a:pt x="665" y="613"/>
                  </a:lnTo>
                  <a:lnTo>
                    <a:pt x="666" y="610"/>
                  </a:lnTo>
                  <a:lnTo>
                    <a:pt x="666" y="611"/>
                  </a:lnTo>
                  <a:lnTo>
                    <a:pt x="669" y="611"/>
                  </a:lnTo>
                  <a:lnTo>
                    <a:pt x="671" y="613"/>
                  </a:lnTo>
                  <a:lnTo>
                    <a:pt x="672" y="611"/>
                  </a:lnTo>
                  <a:lnTo>
                    <a:pt x="673" y="611"/>
                  </a:lnTo>
                  <a:lnTo>
                    <a:pt x="673" y="610"/>
                  </a:lnTo>
                  <a:lnTo>
                    <a:pt x="675" y="605"/>
                  </a:lnTo>
                  <a:lnTo>
                    <a:pt x="675" y="600"/>
                  </a:lnTo>
                  <a:lnTo>
                    <a:pt x="676" y="597"/>
                  </a:lnTo>
                  <a:lnTo>
                    <a:pt x="678" y="593"/>
                  </a:lnTo>
                  <a:lnTo>
                    <a:pt x="675" y="591"/>
                  </a:lnTo>
                  <a:lnTo>
                    <a:pt x="673" y="593"/>
                  </a:lnTo>
                  <a:lnTo>
                    <a:pt x="672" y="591"/>
                  </a:lnTo>
                  <a:lnTo>
                    <a:pt x="672" y="587"/>
                  </a:lnTo>
                  <a:lnTo>
                    <a:pt x="676" y="583"/>
                  </a:lnTo>
                  <a:lnTo>
                    <a:pt x="679" y="577"/>
                  </a:lnTo>
                  <a:lnTo>
                    <a:pt x="679" y="574"/>
                  </a:lnTo>
                  <a:lnTo>
                    <a:pt x="681" y="567"/>
                  </a:lnTo>
                  <a:lnTo>
                    <a:pt x="681" y="560"/>
                  </a:lnTo>
                  <a:lnTo>
                    <a:pt x="681" y="557"/>
                  </a:lnTo>
                  <a:lnTo>
                    <a:pt x="682" y="552"/>
                  </a:lnTo>
                  <a:lnTo>
                    <a:pt x="682" y="550"/>
                  </a:lnTo>
                  <a:lnTo>
                    <a:pt x="681" y="548"/>
                  </a:lnTo>
                  <a:lnTo>
                    <a:pt x="679" y="552"/>
                  </a:lnTo>
                  <a:lnTo>
                    <a:pt x="679" y="555"/>
                  </a:lnTo>
                  <a:lnTo>
                    <a:pt x="676" y="557"/>
                  </a:lnTo>
                  <a:lnTo>
                    <a:pt x="673" y="555"/>
                  </a:lnTo>
                  <a:lnTo>
                    <a:pt x="671" y="552"/>
                  </a:lnTo>
                  <a:lnTo>
                    <a:pt x="669" y="551"/>
                  </a:lnTo>
                  <a:lnTo>
                    <a:pt x="668" y="550"/>
                  </a:lnTo>
                  <a:lnTo>
                    <a:pt x="665" y="550"/>
                  </a:lnTo>
                  <a:lnTo>
                    <a:pt x="662" y="550"/>
                  </a:lnTo>
                  <a:lnTo>
                    <a:pt x="661" y="550"/>
                  </a:lnTo>
                  <a:lnTo>
                    <a:pt x="661" y="550"/>
                  </a:lnTo>
                  <a:lnTo>
                    <a:pt x="661" y="545"/>
                  </a:lnTo>
                  <a:lnTo>
                    <a:pt x="661" y="542"/>
                  </a:lnTo>
                  <a:lnTo>
                    <a:pt x="663" y="540"/>
                  </a:lnTo>
                  <a:lnTo>
                    <a:pt x="663" y="535"/>
                  </a:lnTo>
                  <a:lnTo>
                    <a:pt x="662" y="534"/>
                  </a:lnTo>
                  <a:lnTo>
                    <a:pt x="661" y="532"/>
                  </a:lnTo>
                  <a:lnTo>
                    <a:pt x="659" y="530"/>
                  </a:lnTo>
                  <a:lnTo>
                    <a:pt x="661" y="527"/>
                  </a:lnTo>
                  <a:lnTo>
                    <a:pt x="662" y="524"/>
                  </a:lnTo>
                  <a:lnTo>
                    <a:pt x="663" y="521"/>
                  </a:lnTo>
                  <a:lnTo>
                    <a:pt x="665" y="521"/>
                  </a:lnTo>
                  <a:lnTo>
                    <a:pt x="666" y="521"/>
                  </a:lnTo>
                  <a:lnTo>
                    <a:pt x="666" y="517"/>
                  </a:lnTo>
                  <a:lnTo>
                    <a:pt x="665" y="517"/>
                  </a:lnTo>
                  <a:lnTo>
                    <a:pt x="663" y="515"/>
                  </a:lnTo>
                  <a:lnTo>
                    <a:pt x="663" y="511"/>
                  </a:lnTo>
                  <a:lnTo>
                    <a:pt x="665" y="508"/>
                  </a:lnTo>
                  <a:lnTo>
                    <a:pt x="668" y="507"/>
                  </a:lnTo>
                  <a:lnTo>
                    <a:pt x="668" y="507"/>
                  </a:lnTo>
                  <a:lnTo>
                    <a:pt x="671" y="504"/>
                  </a:lnTo>
                  <a:lnTo>
                    <a:pt x="669" y="502"/>
                  </a:lnTo>
                  <a:lnTo>
                    <a:pt x="666" y="501"/>
                  </a:lnTo>
                  <a:lnTo>
                    <a:pt x="665" y="499"/>
                  </a:lnTo>
                  <a:lnTo>
                    <a:pt x="668" y="497"/>
                  </a:lnTo>
                  <a:lnTo>
                    <a:pt x="668" y="495"/>
                  </a:lnTo>
                  <a:lnTo>
                    <a:pt x="668" y="494"/>
                  </a:lnTo>
                  <a:lnTo>
                    <a:pt x="668" y="492"/>
                  </a:lnTo>
                  <a:lnTo>
                    <a:pt x="672" y="492"/>
                  </a:lnTo>
                  <a:lnTo>
                    <a:pt x="676" y="492"/>
                  </a:lnTo>
                  <a:lnTo>
                    <a:pt x="679" y="492"/>
                  </a:lnTo>
                  <a:lnTo>
                    <a:pt x="683" y="492"/>
                  </a:lnTo>
                  <a:lnTo>
                    <a:pt x="686" y="494"/>
                  </a:lnTo>
                  <a:lnTo>
                    <a:pt x="688" y="494"/>
                  </a:lnTo>
                  <a:lnTo>
                    <a:pt x="689" y="492"/>
                  </a:lnTo>
                  <a:lnTo>
                    <a:pt x="689" y="488"/>
                  </a:lnTo>
                  <a:lnTo>
                    <a:pt x="692" y="485"/>
                  </a:lnTo>
                  <a:lnTo>
                    <a:pt x="693" y="481"/>
                  </a:lnTo>
                  <a:lnTo>
                    <a:pt x="693" y="479"/>
                  </a:lnTo>
                  <a:lnTo>
                    <a:pt x="696" y="478"/>
                  </a:lnTo>
                  <a:lnTo>
                    <a:pt x="701" y="481"/>
                  </a:lnTo>
                  <a:lnTo>
                    <a:pt x="703" y="484"/>
                  </a:lnTo>
                  <a:lnTo>
                    <a:pt x="706" y="484"/>
                  </a:lnTo>
                  <a:lnTo>
                    <a:pt x="708" y="479"/>
                  </a:lnTo>
                  <a:lnTo>
                    <a:pt x="705" y="477"/>
                  </a:lnTo>
                  <a:lnTo>
                    <a:pt x="701" y="477"/>
                  </a:lnTo>
                  <a:lnTo>
                    <a:pt x="696" y="477"/>
                  </a:lnTo>
                  <a:lnTo>
                    <a:pt x="698" y="474"/>
                  </a:lnTo>
                  <a:lnTo>
                    <a:pt x="698" y="471"/>
                  </a:lnTo>
                  <a:lnTo>
                    <a:pt x="701" y="472"/>
                  </a:lnTo>
                  <a:lnTo>
                    <a:pt x="706" y="472"/>
                  </a:lnTo>
                  <a:lnTo>
                    <a:pt x="711" y="474"/>
                  </a:lnTo>
                  <a:lnTo>
                    <a:pt x="715" y="474"/>
                  </a:lnTo>
                  <a:lnTo>
                    <a:pt x="718" y="472"/>
                  </a:lnTo>
                  <a:lnTo>
                    <a:pt x="718" y="471"/>
                  </a:lnTo>
                  <a:lnTo>
                    <a:pt x="719" y="467"/>
                  </a:lnTo>
                  <a:lnTo>
                    <a:pt x="721" y="467"/>
                  </a:lnTo>
                  <a:lnTo>
                    <a:pt x="724" y="464"/>
                  </a:lnTo>
                  <a:lnTo>
                    <a:pt x="724" y="462"/>
                  </a:lnTo>
                  <a:lnTo>
                    <a:pt x="721" y="461"/>
                  </a:lnTo>
                  <a:lnTo>
                    <a:pt x="719" y="458"/>
                  </a:lnTo>
                  <a:lnTo>
                    <a:pt x="721" y="456"/>
                  </a:lnTo>
                  <a:lnTo>
                    <a:pt x="724" y="456"/>
                  </a:lnTo>
                  <a:lnTo>
                    <a:pt x="725" y="452"/>
                  </a:lnTo>
                  <a:lnTo>
                    <a:pt x="728" y="449"/>
                  </a:lnTo>
                  <a:lnTo>
                    <a:pt x="729" y="449"/>
                  </a:lnTo>
                  <a:lnTo>
                    <a:pt x="731" y="449"/>
                  </a:lnTo>
                  <a:lnTo>
                    <a:pt x="732" y="452"/>
                  </a:lnTo>
                  <a:lnTo>
                    <a:pt x="734" y="452"/>
                  </a:lnTo>
                  <a:lnTo>
                    <a:pt x="736" y="449"/>
                  </a:lnTo>
                  <a:lnTo>
                    <a:pt x="739" y="449"/>
                  </a:lnTo>
                  <a:lnTo>
                    <a:pt x="739" y="446"/>
                  </a:lnTo>
                  <a:lnTo>
                    <a:pt x="738" y="442"/>
                  </a:lnTo>
                  <a:lnTo>
                    <a:pt x="739" y="439"/>
                  </a:lnTo>
                  <a:lnTo>
                    <a:pt x="741" y="436"/>
                  </a:lnTo>
                  <a:lnTo>
                    <a:pt x="742" y="434"/>
                  </a:lnTo>
                  <a:lnTo>
                    <a:pt x="744" y="431"/>
                  </a:lnTo>
                  <a:lnTo>
                    <a:pt x="746" y="429"/>
                  </a:lnTo>
                  <a:lnTo>
                    <a:pt x="749" y="426"/>
                  </a:lnTo>
                  <a:lnTo>
                    <a:pt x="751" y="428"/>
                  </a:lnTo>
                  <a:lnTo>
                    <a:pt x="751" y="429"/>
                  </a:lnTo>
                  <a:lnTo>
                    <a:pt x="752" y="428"/>
                  </a:lnTo>
                  <a:lnTo>
                    <a:pt x="752" y="426"/>
                  </a:lnTo>
                  <a:lnTo>
                    <a:pt x="752" y="425"/>
                  </a:lnTo>
                  <a:lnTo>
                    <a:pt x="754" y="422"/>
                  </a:lnTo>
                  <a:lnTo>
                    <a:pt x="755" y="421"/>
                  </a:lnTo>
                  <a:lnTo>
                    <a:pt x="756" y="418"/>
                  </a:lnTo>
                  <a:lnTo>
                    <a:pt x="756" y="416"/>
                  </a:lnTo>
                  <a:lnTo>
                    <a:pt x="756" y="414"/>
                  </a:lnTo>
                  <a:lnTo>
                    <a:pt x="756" y="411"/>
                  </a:lnTo>
                  <a:lnTo>
                    <a:pt x="758" y="409"/>
                  </a:lnTo>
                  <a:lnTo>
                    <a:pt x="759" y="406"/>
                  </a:lnTo>
                  <a:lnTo>
                    <a:pt x="759" y="405"/>
                  </a:lnTo>
                  <a:lnTo>
                    <a:pt x="764" y="404"/>
                  </a:lnTo>
                  <a:lnTo>
                    <a:pt x="765" y="404"/>
                  </a:lnTo>
                  <a:lnTo>
                    <a:pt x="768" y="402"/>
                  </a:lnTo>
                  <a:lnTo>
                    <a:pt x="768" y="402"/>
                  </a:lnTo>
                  <a:lnTo>
                    <a:pt x="769" y="398"/>
                  </a:lnTo>
                  <a:lnTo>
                    <a:pt x="768" y="396"/>
                  </a:lnTo>
                  <a:lnTo>
                    <a:pt x="767" y="393"/>
                  </a:lnTo>
                  <a:lnTo>
                    <a:pt x="768" y="389"/>
                  </a:lnTo>
                  <a:lnTo>
                    <a:pt x="769" y="391"/>
                  </a:lnTo>
                  <a:lnTo>
                    <a:pt x="769" y="392"/>
                  </a:lnTo>
                  <a:lnTo>
                    <a:pt x="769" y="395"/>
                  </a:lnTo>
                  <a:lnTo>
                    <a:pt x="771" y="396"/>
                  </a:lnTo>
                  <a:lnTo>
                    <a:pt x="772" y="395"/>
                  </a:lnTo>
                  <a:lnTo>
                    <a:pt x="772" y="392"/>
                  </a:lnTo>
                  <a:lnTo>
                    <a:pt x="772" y="389"/>
                  </a:lnTo>
                  <a:lnTo>
                    <a:pt x="774" y="389"/>
                  </a:lnTo>
                  <a:lnTo>
                    <a:pt x="777" y="392"/>
                  </a:lnTo>
                  <a:lnTo>
                    <a:pt x="778" y="393"/>
                  </a:lnTo>
                  <a:lnTo>
                    <a:pt x="777" y="396"/>
                  </a:lnTo>
                  <a:lnTo>
                    <a:pt x="777" y="399"/>
                  </a:lnTo>
                  <a:lnTo>
                    <a:pt x="779" y="398"/>
                  </a:lnTo>
                  <a:lnTo>
                    <a:pt x="779" y="396"/>
                  </a:lnTo>
                  <a:lnTo>
                    <a:pt x="781" y="393"/>
                  </a:lnTo>
                  <a:lnTo>
                    <a:pt x="784" y="395"/>
                  </a:lnTo>
                  <a:lnTo>
                    <a:pt x="785" y="399"/>
                  </a:lnTo>
                  <a:lnTo>
                    <a:pt x="788" y="404"/>
                  </a:lnTo>
                  <a:lnTo>
                    <a:pt x="789" y="404"/>
                  </a:lnTo>
                  <a:lnTo>
                    <a:pt x="791" y="402"/>
                  </a:lnTo>
                  <a:lnTo>
                    <a:pt x="792" y="399"/>
                  </a:lnTo>
                  <a:lnTo>
                    <a:pt x="792" y="398"/>
                  </a:lnTo>
                  <a:lnTo>
                    <a:pt x="794" y="396"/>
                  </a:lnTo>
                  <a:lnTo>
                    <a:pt x="795" y="396"/>
                  </a:lnTo>
                  <a:lnTo>
                    <a:pt x="798" y="396"/>
                  </a:lnTo>
                  <a:lnTo>
                    <a:pt x="802" y="398"/>
                  </a:lnTo>
                  <a:lnTo>
                    <a:pt x="805" y="398"/>
                  </a:lnTo>
                  <a:lnTo>
                    <a:pt x="805" y="398"/>
                  </a:lnTo>
                  <a:lnTo>
                    <a:pt x="807" y="396"/>
                  </a:lnTo>
                  <a:lnTo>
                    <a:pt x="808" y="395"/>
                  </a:lnTo>
                  <a:lnTo>
                    <a:pt x="809" y="393"/>
                  </a:lnTo>
                  <a:lnTo>
                    <a:pt x="811" y="393"/>
                  </a:lnTo>
                  <a:lnTo>
                    <a:pt x="809" y="396"/>
                  </a:lnTo>
                  <a:lnTo>
                    <a:pt x="811" y="398"/>
                  </a:lnTo>
                  <a:lnTo>
                    <a:pt x="812" y="396"/>
                  </a:lnTo>
                  <a:lnTo>
                    <a:pt x="815" y="393"/>
                  </a:lnTo>
                  <a:lnTo>
                    <a:pt x="815" y="392"/>
                  </a:lnTo>
                  <a:lnTo>
                    <a:pt x="817" y="391"/>
                  </a:lnTo>
                  <a:lnTo>
                    <a:pt x="818" y="391"/>
                  </a:lnTo>
                  <a:lnTo>
                    <a:pt x="818" y="389"/>
                  </a:lnTo>
                  <a:lnTo>
                    <a:pt x="818" y="386"/>
                  </a:lnTo>
                  <a:lnTo>
                    <a:pt x="820" y="386"/>
                  </a:lnTo>
                  <a:lnTo>
                    <a:pt x="821" y="383"/>
                  </a:lnTo>
                  <a:lnTo>
                    <a:pt x="824" y="383"/>
                  </a:lnTo>
                  <a:lnTo>
                    <a:pt x="825" y="383"/>
                  </a:lnTo>
                  <a:lnTo>
                    <a:pt x="827" y="383"/>
                  </a:lnTo>
                  <a:lnTo>
                    <a:pt x="827" y="381"/>
                  </a:lnTo>
                  <a:lnTo>
                    <a:pt x="825" y="381"/>
                  </a:lnTo>
                  <a:lnTo>
                    <a:pt x="825" y="379"/>
                  </a:lnTo>
                  <a:lnTo>
                    <a:pt x="828" y="378"/>
                  </a:lnTo>
                  <a:lnTo>
                    <a:pt x="831" y="375"/>
                  </a:lnTo>
                  <a:lnTo>
                    <a:pt x="832" y="373"/>
                  </a:lnTo>
                  <a:lnTo>
                    <a:pt x="834" y="372"/>
                  </a:lnTo>
                  <a:lnTo>
                    <a:pt x="837" y="371"/>
                  </a:lnTo>
                  <a:lnTo>
                    <a:pt x="840" y="372"/>
                  </a:lnTo>
                  <a:lnTo>
                    <a:pt x="838" y="373"/>
                  </a:lnTo>
                  <a:lnTo>
                    <a:pt x="837" y="376"/>
                  </a:lnTo>
                  <a:lnTo>
                    <a:pt x="835" y="378"/>
                  </a:lnTo>
                  <a:lnTo>
                    <a:pt x="834" y="381"/>
                  </a:lnTo>
                  <a:lnTo>
                    <a:pt x="832" y="389"/>
                  </a:lnTo>
                  <a:lnTo>
                    <a:pt x="831" y="393"/>
                  </a:lnTo>
                  <a:lnTo>
                    <a:pt x="832" y="398"/>
                  </a:lnTo>
                  <a:lnTo>
                    <a:pt x="835" y="396"/>
                  </a:lnTo>
                  <a:lnTo>
                    <a:pt x="835" y="393"/>
                  </a:lnTo>
                  <a:lnTo>
                    <a:pt x="837" y="388"/>
                  </a:lnTo>
                  <a:lnTo>
                    <a:pt x="838" y="386"/>
                  </a:lnTo>
                  <a:lnTo>
                    <a:pt x="840" y="382"/>
                  </a:lnTo>
                  <a:lnTo>
                    <a:pt x="841" y="383"/>
                  </a:lnTo>
                  <a:lnTo>
                    <a:pt x="844" y="385"/>
                  </a:lnTo>
                  <a:lnTo>
                    <a:pt x="845" y="383"/>
                  </a:lnTo>
                  <a:lnTo>
                    <a:pt x="847" y="382"/>
                  </a:lnTo>
                  <a:lnTo>
                    <a:pt x="850" y="382"/>
                  </a:lnTo>
                  <a:lnTo>
                    <a:pt x="851" y="381"/>
                  </a:lnTo>
                  <a:lnTo>
                    <a:pt x="851" y="378"/>
                  </a:lnTo>
                  <a:lnTo>
                    <a:pt x="848" y="379"/>
                  </a:lnTo>
                  <a:lnTo>
                    <a:pt x="845" y="379"/>
                  </a:lnTo>
                  <a:lnTo>
                    <a:pt x="847" y="375"/>
                  </a:lnTo>
                  <a:lnTo>
                    <a:pt x="848" y="375"/>
                  </a:lnTo>
                  <a:lnTo>
                    <a:pt x="850" y="373"/>
                  </a:lnTo>
                  <a:lnTo>
                    <a:pt x="852" y="373"/>
                  </a:lnTo>
                  <a:lnTo>
                    <a:pt x="854" y="373"/>
                  </a:lnTo>
                  <a:lnTo>
                    <a:pt x="855" y="372"/>
                  </a:lnTo>
                  <a:lnTo>
                    <a:pt x="855" y="372"/>
                  </a:lnTo>
                  <a:lnTo>
                    <a:pt x="855" y="369"/>
                  </a:lnTo>
                  <a:lnTo>
                    <a:pt x="855" y="368"/>
                  </a:lnTo>
                  <a:lnTo>
                    <a:pt x="857" y="365"/>
                  </a:lnTo>
                  <a:lnTo>
                    <a:pt x="854" y="365"/>
                  </a:lnTo>
                  <a:lnTo>
                    <a:pt x="851" y="363"/>
                  </a:lnTo>
                  <a:lnTo>
                    <a:pt x="851" y="362"/>
                  </a:lnTo>
                  <a:lnTo>
                    <a:pt x="852" y="361"/>
                  </a:lnTo>
                  <a:lnTo>
                    <a:pt x="852" y="362"/>
                  </a:lnTo>
                  <a:lnTo>
                    <a:pt x="855" y="361"/>
                  </a:lnTo>
                  <a:lnTo>
                    <a:pt x="855" y="361"/>
                  </a:lnTo>
                  <a:lnTo>
                    <a:pt x="857" y="359"/>
                  </a:lnTo>
                  <a:lnTo>
                    <a:pt x="858" y="358"/>
                  </a:lnTo>
                  <a:lnTo>
                    <a:pt x="862" y="358"/>
                  </a:lnTo>
                  <a:lnTo>
                    <a:pt x="864" y="355"/>
                  </a:lnTo>
                  <a:lnTo>
                    <a:pt x="865" y="346"/>
                  </a:lnTo>
                  <a:lnTo>
                    <a:pt x="867" y="345"/>
                  </a:lnTo>
                  <a:lnTo>
                    <a:pt x="870" y="343"/>
                  </a:lnTo>
                  <a:lnTo>
                    <a:pt x="867" y="342"/>
                  </a:lnTo>
                  <a:lnTo>
                    <a:pt x="867" y="340"/>
                  </a:lnTo>
                  <a:lnTo>
                    <a:pt x="868" y="339"/>
                  </a:lnTo>
                  <a:lnTo>
                    <a:pt x="868" y="338"/>
                  </a:lnTo>
                  <a:lnTo>
                    <a:pt x="870" y="333"/>
                  </a:lnTo>
                  <a:lnTo>
                    <a:pt x="871" y="328"/>
                  </a:lnTo>
                  <a:lnTo>
                    <a:pt x="871" y="322"/>
                  </a:lnTo>
                  <a:lnTo>
                    <a:pt x="872" y="316"/>
                  </a:lnTo>
                  <a:lnTo>
                    <a:pt x="872" y="313"/>
                  </a:lnTo>
                  <a:lnTo>
                    <a:pt x="872" y="310"/>
                  </a:lnTo>
                  <a:lnTo>
                    <a:pt x="871" y="309"/>
                  </a:lnTo>
                  <a:lnTo>
                    <a:pt x="871" y="308"/>
                  </a:lnTo>
                  <a:lnTo>
                    <a:pt x="872" y="306"/>
                  </a:lnTo>
                  <a:lnTo>
                    <a:pt x="874" y="305"/>
                  </a:lnTo>
                  <a:lnTo>
                    <a:pt x="875" y="302"/>
                  </a:lnTo>
                  <a:lnTo>
                    <a:pt x="875" y="300"/>
                  </a:lnTo>
                  <a:lnTo>
                    <a:pt x="874" y="298"/>
                  </a:lnTo>
                  <a:lnTo>
                    <a:pt x="871" y="293"/>
                  </a:lnTo>
                  <a:lnTo>
                    <a:pt x="868" y="292"/>
                  </a:lnTo>
                  <a:lnTo>
                    <a:pt x="867" y="289"/>
                  </a:lnTo>
                  <a:lnTo>
                    <a:pt x="868" y="287"/>
                  </a:lnTo>
                  <a:lnTo>
                    <a:pt x="871" y="286"/>
                  </a:lnTo>
                  <a:lnTo>
                    <a:pt x="874" y="287"/>
                  </a:lnTo>
                  <a:lnTo>
                    <a:pt x="874" y="289"/>
                  </a:lnTo>
                  <a:lnTo>
                    <a:pt x="877" y="287"/>
                  </a:lnTo>
                  <a:lnTo>
                    <a:pt x="875" y="285"/>
                  </a:lnTo>
                  <a:lnTo>
                    <a:pt x="872" y="282"/>
                  </a:lnTo>
                  <a:lnTo>
                    <a:pt x="870" y="276"/>
                  </a:lnTo>
                  <a:lnTo>
                    <a:pt x="868" y="272"/>
                  </a:lnTo>
                  <a:lnTo>
                    <a:pt x="868" y="269"/>
                  </a:lnTo>
                  <a:lnTo>
                    <a:pt x="870" y="269"/>
                  </a:lnTo>
                  <a:lnTo>
                    <a:pt x="872" y="272"/>
                  </a:lnTo>
                  <a:lnTo>
                    <a:pt x="874" y="273"/>
                  </a:lnTo>
                  <a:lnTo>
                    <a:pt x="877" y="275"/>
                  </a:lnTo>
                  <a:lnTo>
                    <a:pt x="877" y="273"/>
                  </a:lnTo>
                  <a:lnTo>
                    <a:pt x="877" y="270"/>
                  </a:lnTo>
                  <a:lnTo>
                    <a:pt x="874" y="269"/>
                  </a:lnTo>
                  <a:lnTo>
                    <a:pt x="872" y="267"/>
                  </a:lnTo>
                  <a:lnTo>
                    <a:pt x="870" y="266"/>
                  </a:lnTo>
                  <a:lnTo>
                    <a:pt x="867" y="265"/>
                  </a:lnTo>
                  <a:lnTo>
                    <a:pt x="864" y="262"/>
                  </a:lnTo>
                  <a:lnTo>
                    <a:pt x="862" y="259"/>
                  </a:lnTo>
                  <a:lnTo>
                    <a:pt x="861" y="256"/>
                  </a:lnTo>
                  <a:lnTo>
                    <a:pt x="860" y="253"/>
                  </a:lnTo>
                  <a:lnTo>
                    <a:pt x="857" y="252"/>
                  </a:lnTo>
                  <a:lnTo>
                    <a:pt x="852" y="250"/>
                  </a:lnTo>
                  <a:lnTo>
                    <a:pt x="850" y="249"/>
                  </a:lnTo>
                  <a:lnTo>
                    <a:pt x="847" y="245"/>
                  </a:lnTo>
                  <a:lnTo>
                    <a:pt x="845" y="242"/>
                  </a:lnTo>
                  <a:lnTo>
                    <a:pt x="845" y="239"/>
                  </a:lnTo>
                  <a:lnTo>
                    <a:pt x="848" y="242"/>
                  </a:lnTo>
                  <a:lnTo>
                    <a:pt x="851" y="246"/>
                  </a:lnTo>
                  <a:lnTo>
                    <a:pt x="854" y="246"/>
                  </a:lnTo>
                  <a:lnTo>
                    <a:pt x="858" y="247"/>
                  </a:lnTo>
                  <a:lnTo>
                    <a:pt x="862" y="252"/>
                  </a:lnTo>
                  <a:lnTo>
                    <a:pt x="867" y="256"/>
                  </a:lnTo>
                  <a:lnTo>
                    <a:pt x="870" y="259"/>
                  </a:lnTo>
                  <a:lnTo>
                    <a:pt x="872" y="262"/>
                  </a:lnTo>
                  <a:lnTo>
                    <a:pt x="877" y="265"/>
                  </a:lnTo>
                  <a:lnTo>
                    <a:pt x="877" y="262"/>
                  </a:lnTo>
                  <a:lnTo>
                    <a:pt x="878" y="257"/>
                  </a:lnTo>
                  <a:lnTo>
                    <a:pt x="880" y="259"/>
                  </a:lnTo>
                  <a:lnTo>
                    <a:pt x="881" y="260"/>
                  </a:lnTo>
                  <a:lnTo>
                    <a:pt x="884" y="262"/>
                  </a:lnTo>
                  <a:lnTo>
                    <a:pt x="887" y="262"/>
                  </a:lnTo>
                  <a:lnTo>
                    <a:pt x="887" y="259"/>
                  </a:lnTo>
                  <a:lnTo>
                    <a:pt x="888" y="256"/>
                  </a:lnTo>
                  <a:lnTo>
                    <a:pt x="885" y="253"/>
                  </a:lnTo>
                  <a:lnTo>
                    <a:pt x="887" y="250"/>
                  </a:lnTo>
                  <a:lnTo>
                    <a:pt x="888" y="252"/>
                  </a:lnTo>
                  <a:lnTo>
                    <a:pt x="891" y="250"/>
                  </a:lnTo>
                  <a:lnTo>
                    <a:pt x="890" y="247"/>
                  </a:lnTo>
                  <a:lnTo>
                    <a:pt x="885" y="246"/>
                  </a:lnTo>
                  <a:lnTo>
                    <a:pt x="884" y="243"/>
                  </a:lnTo>
                  <a:lnTo>
                    <a:pt x="883" y="243"/>
                  </a:lnTo>
                  <a:lnTo>
                    <a:pt x="883" y="233"/>
                  </a:lnTo>
                  <a:lnTo>
                    <a:pt x="884" y="227"/>
                  </a:lnTo>
                  <a:lnTo>
                    <a:pt x="884" y="223"/>
                  </a:lnTo>
                  <a:lnTo>
                    <a:pt x="877" y="213"/>
                  </a:lnTo>
                  <a:lnTo>
                    <a:pt x="877" y="213"/>
                  </a:lnTo>
                  <a:lnTo>
                    <a:pt x="878" y="209"/>
                  </a:lnTo>
                  <a:lnTo>
                    <a:pt x="878" y="209"/>
                  </a:lnTo>
                  <a:lnTo>
                    <a:pt x="880" y="209"/>
                  </a:lnTo>
                  <a:lnTo>
                    <a:pt x="884" y="212"/>
                  </a:lnTo>
                  <a:lnTo>
                    <a:pt x="884" y="212"/>
                  </a:lnTo>
                  <a:lnTo>
                    <a:pt x="885" y="212"/>
                  </a:lnTo>
                  <a:lnTo>
                    <a:pt x="887" y="212"/>
                  </a:lnTo>
                  <a:lnTo>
                    <a:pt x="887" y="209"/>
                  </a:lnTo>
                  <a:lnTo>
                    <a:pt x="884" y="203"/>
                  </a:lnTo>
                  <a:lnTo>
                    <a:pt x="884" y="203"/>
                  </a:lnTo>
                  <a:lnTo>
                    <a:pt x="883" y="202"/>
                  </a:lnTo>
                  <a:lnTo>
                    <a:pt x="884" y="200"/>
                  </a:lnTo>
                  <a:lnTo>
                    <a:pt x="887" y="197"/>
                  </a:lnTo>
                  <a:lnTo>
                    <a:pt x="888" y="196"/>
                  </a:lnTo>
                  <a:lnTo>
                    <a:pt x="888" y="194"/>
                  </a:lnTo>
                  <a:lnTo>
                    <a:pt x="888" y="193"/>
                  </a:lnTo>
                  <a:lnTo>
                    <a:pt x="884" y="190"/>
                  </a:lnTo>
                  <a:lnTo>
                    <a:pt x="884" y="190"/>
                  </a:lnTo>
                  <a:lnTo>
                    <a:pt x="875" y="186"/>
                  </a:lnTo>
                  <a:lnTo>
                    <a:pt x="868" y="183"/>
                  </a:lnTo>
                  <a:lnTo>
                    <a:pt x="850" y="179"/>
                  </a:lnTo>
                  <a:lnTo>
                    <a:pt x="850" y="179"/>
                  </a:lnTo>
                  <a:lnTo>
                    <a:pt x="842" y="177"/>
                  </a:lnTo>
                  <a:lnTo>
                    <a:pt x="835" y="176"/>
                  </a:lnTo>
                  <a:lnTo>
                    <a:pt x="832" y="174"/>
                  </a:lnTo>
                  <a:lnTo>
                    <a:pt x="831" y="171"/>
                  </a:lnTo>
                  <a:lnTo>
                    <a:pt x="831" y="169"/>
                  </a:lnTo>
                  <a:lnTo>
                    <a:pt x="834" y="164"/>
                  </a:lnTo>
                  <a:lnTo>
                    <a:pt x="834" y="164"/>
                  </a:lnTo>
                  <a:lnTo>
                    <a:pt x="840" y="157"/>
                  </a:lnTo>
                  <a:lnTo>
                    <a:pt x="841" y="153"/>
                  </a:lnTo>
                  <a:lnTo>
                    <a:pt x="842" y="147"/>
                  </a:lnTo>
                  <a:lnTo>
                    <a:pt x="842" y="147"/>
                  </a:lnTo>
                  <a:lnTo>
                    <a:pt x="842" y="144"/>
                  </a:lnTo>
                  <a:lnTo>
                    <a:pt x="845" y="141"/>
                  </a:lnTo>
                  <a:lnTo>
                    <a:pt x="852" y="136"/>
                  </a:lnTo>
                  <a:lnTo>
                    <a:pt x="857" y="133"/>
                  </a:lnTo>
                  <a:lnTo>
                    <a:pt x="858" y="129"/>
                  </a:lnTo>
                  <a:lnTo>
                    <a:pt x="858" y="124"/>
                  </a:lnTo>
                  <a:lnTo>
                    <a:pt x="857" y="120"/>
                  </a:lnTo>
                  <a:lnTo>
                    <a:pt x="857" y="120"/>
                  </a:lnTo>
                  <a:lnTo>
                    <a:pt x="854" y="117"/>
                  </a:lnTo>
                  <a:lnTo>
                    <a:pt x="854" y="113"/>
                  </a:lnTo>
                  <a:lnTo>
                    <a:pt x="852" y="104"/>
                  </a:lnTo>
                  <a:lnTo>
                    <a:pt x="851" y="96"/>
                  </a:lnTo>
                  <a:lnTo>
                    <a:pt x="850" y="93"/>
                  </a:lnTo>
                  <a:lnTo>
                    <a:pt x="848" y="90"/>
                  </a:lnTo>
                  <a:lnTo>
                    <a:pt x="820" y="54"/>
                  </a:lnTo>
                  <a:lnTo>
                    <a:pt x="778" y="0"/>
                  </a:lnTo>
                  <a:lnTo>
                    <a:pt x="778" y="2"/>
                  </a:lnTo>
                  <a:lnTo>
                    <a:pt x="775" y="8"/>
                  </a:lnTo>
                  <a:lnTo>
                    <a:pt x="769" y="14"/>
                  </a:lnTo>
                  <a:lnTo>
                    <a:pt x="765" y="20"/>
                  </a:lnTo>
                  <a:lnTo>
                    <a:pt x="764" y="21"/>
                  </a:lnTo>
                  <a:lnTo>
                    <a:pt x="758" y="28"/>
                  </a:lnTo>
                  <a:lnTo>
                    <a:pt x="752" y="33"/>
                  </a:lnTo>
                  <a:lnTo>
                    <a:pt x="751" y="37"/>
                  </a:lnTo>
                  <a:lnTo>
                    <a:pt x="746" y="38"/>
                  </a:lnTo>
                  <a:lnTo>
                    <a:pt x="742" y="43"/>
                  </a:lnTo>
                  <a:lnTo>
                    <a:pt x="739" y="47"/>
                  </a:lnTo>
                  <a:lnTo>
                    <a:pt x="735" y="50"/>
                  </a:lnTo>
                  <a:lnTo>
                    <a:pt x="734" y="54"/>
                  </a:lnTo>
                  <a:lnTo>
                    <a:pt x="732" y="58"/>
                  </a:lnTo>
                  <a:lnTo>
                    <a:pt x="725" y="70"/>
                  </a:lnTo>
                  <a:lnTo>
                    <a:pt x="718" y="77"/>
                  </a:lnTo>
                  <a:lnTo>
                    <a:pt x="712" y="84"/>
                  </a:lnTo>
                  <a:lnTo>
                    <a:pt x="706" y="88"/>
                  </a:lnTo>
                  <a:lnTo>
                    <a:pt x="699" y="96"/>
                  </a:lnTo>
                  <a:lnTo>
                    <a:pt x="691" y="103"/>
                  </a:lnTo>
                  <a:lnTo>
                    <a:pt x="686" y="107"/>
                  </a:lnTo>
                  <a:lnTo>
                    <a:pt x="679" y="111"/>
                  </a:lnTo>
                  <a:lnTo>
                    <a:pt x="673" y="116"/>
                  </a:lnTo>
                  <a:lnTo>
                    <a:pt x="668" y="118"/>
                  </a:lnTo>
                  <a:lnTo>
                    <a:pt x="668" y="114"/>
                  </a:lnTo>
                  <a:lnTo>
                    <a:pt x="665" y="111"/>
                  </a:lnTo>
                  <a:lnTo>
                    <a:pt x="661" y="107"/>
                  </a:lnTo>
                  <a:lnTo>
                    <a:pt x="652" y="101"/>
                  </a:lnTo>
                  <a:lnTo>
                    <a:pt x="646" y="100"/>
                  </a:lnTo>
                  <a:lnTo>
                    <a:pt x="645" y="106"/>
                  </a:lnTo>
                  <a:lnTo>
                    <a:pt x="643" y="110"/>
                  </a:lnTo>
                  <a:lnTo>
                    <a:pt x="640" y="113"/>
                  </a:lnTo>
                  <a:lnTo>
                    <a:pt x="635" y="113"/>
                  </a:lnTo>
                  <a:lnTo>
                    <a:pt x="629" y="113"/>
                  </a:lnTo>
                  <a:lnTo>
                    <a:pt x="625" y="113"/>
                  </a:lnTo>
                  <a:lnTo>
                    <a:pt x="619" y="114"/>
                  </a:lnTo>
                  <a:lnTo>
                    <a:pt x="616" y="117"/>
                  </a:lnTo>
                  <a:lnTo>
                    <a:pt x="610" y="121"/>
                  </a:lnTo>
                  <a:lnTo>
                    <a:pt x="603" y="123"/>
                  </a:lnTo>
                  <a:lnTo>
                    <a:pt x="598" y="123"/>
                  </a:lnTo>
                  <a:lnTo>
                    <a:pt x="590" y="121"/>
                  </a:lnTo>
                  <a:lnTo>
                    <a:pt x="587" y="123"/>
                  </a:lnTo>
                  <a:lnTo>
                    <a:pt x="592" y="129"/>
                  </a:lnTo>
                  <a:lnTo>
                    <a:pt x="593" y="136"/>
                  </a:lnTo>
                  <a:lnTo>
                    <a:pt x="593" y="140"/>
                  </a:lnTo>
                  <a:lnTo>
                    <a:pt x="590" y="144"/>
                  </a:lnTo>
                  <a:lnTo>
                    <a:pt x="583" y="146"/>
                  </a:lnTo>
                  <a:lnTo>
                    <a:pt x="577" y="149"/>
                  </a:lnTo>
                  <a:lnTo>
                    <a:pt x="573" y="144"/>
                  </a:lnTo>
                  <a:lnTo>
                    <a:pt x="566" y="140"/>
                  </a:lnTo>
                  <a:lnTo>
                    <a:pt x="559" y="140"/>
                  </a:lnTo>
                  <a:lnTo>
                    <a:pt x="556" y="140"/>
                  </a:lnTo>
                  <a:lnTo>
                    <a:pt x="549" y="144"/>
                  </a:lnTo>
                  <a:lnTo>
                    <a:pt x="542" y="150"/>
                  </a:lnTo>
                  <a:lnTo>
                    <a:pt x="537" y="154"/>
                  </a:lnTo>
                  <a:lnTo>
                    <a:pt x="530" y="160"/>
                  </a:lnTo>
                  <a:lnTo>
                    <a:pt x="527" y="167"/>
                  </a:lnTo>
                  <a:lnTo>
                    <a:pt x="530" y="173"/>
                  </a:lnTo>
                  <a:lnTo>
                    <a:pt x="536" y="184"/>
                  </a:lnTo>
                  <a:lnTo>
                    <a:pt x="536" y="190"/>
                  </a:lnTo>
                  <a:lnTo>
                    <a:pt x="530" y="192"/>
                  </a:lnTo>
                  <a:lnTo>
                    <a:pt x="527" y="193"/>
                  </a:lnTo>
                  <a:lnTo>
                    <a:pt x="520" y="197"/>
                  </a:lnTo>
                  <a:lnTo>
                    <a:pt x="514" y="206"/>
                  </a:lnTo>
                  <a:lnTo>
                    <a:pt x="506" y="200"/>
                  </a:lnTo>
                  <a:lnTo>
                    <a:pt x="502" y="203"/>
                  </a:lnTo>
                  <a:lnTo>
                    <a:pt x="497" y="204"/>
                  </a:lnTo>
                  <a:lnTo>
                    <a:pt x="490" y="213"/>
                  </a:lnTo>
                  <a:lnTo>
                    <a:pt x="486" y="220"/>
                  </a:lnTo>
                  <a:lnTo>
                    <a:pt x="482" y="222"/>
                  </a:lnTo>
                  <a:lnTo>
                    <a:pt x="479" y="222"/>
                  </a:lnTo>
                  <a:lnTo>
                    <a:pt x="477" y="232"/>
                  </a:lnTo>
                  <a:lnTo>
                    <a:pt x="479" y="236"/>
                  </a:lnTo>
                  <a:lnTo>
                    <a:pt x="477" y="243"/>
                  </a:lnTo>
                  <a:lnTo>
                    <a:pt x="477" y="243"/>
                  </a:lnTo>
                  <a:lnTo>
                    <a:pt x="474" y="252"/>
                  </a:lnTo>
                  <a:lnTo>
                    <a:pt x="471" y="262"/>
                  </a:lnTo>
                  <a:lnTo>
                    <a:pt x="467" y="266"/>
                  </a:lnTo>
                  <a:lnTo>
                    <a:pt x="463" y="270"/>
                  </a:lnTo>
                  <a:lnTo>
                    <a:pt x="461" y="272"/>
                  </a:lnTo>
                  <a:lnTo>
                    <a:pt x="453" y="275"/>
                  </a:lnTo>
                  <a:lnTo>
                    <a:pt x="447" y="276"/>
                  </a:lnTo>
                  <a:lnTo>
                    <a:pt x="437" y="277"/>
                  </a:lnTo>
                  <a:lnTo>
                    <a:pt x="426" y="277"/>
                  </a:lnTo>
                  <a:lnTo>
                    <a:pt x="417" y="277"/>
                  </a:lnTo>
                  <a:lnTo>
                    <a:pt x="407" y="276"/>
                  </a:lnTo>
                  <a:lnTo>
                    <a:pt x="397" y="273"/>
                  </a:lnTo>
                  <a:lnTo>
                    <a:pt x="390" y="267"/>
                  </a:lnTo>
                  <a:lnTo>
                    <a:pt x="384" y="270"/>
                  </a:lnTo>
                  <a:lnTo>
                    <a:pt x="381" y="277"/>
                  </a:lnTo>
                  <a:lnTo>
                    <a:pt x="380" y="283"/>
                  </a:lnTo>
                  <a:lnTo>
                    <a:pt x="377" y="292"/>
                  </a:lnTo>
                  <a:lnTo>
                    <a:pt x="376" y="295"/>
                  </a:lnTo>
                  <a:lnTo>
                    <a:pt x="376" y="299"/>
                  </a:lnTo>
                  <a:lnTo>
                    <a:pt x="368" y="318"/>
                  </a:lnTo>
                  <a:lnTo>
                    <a:pt x="366" y="323"/>
                  </a:lnTo>
                  <a:lnTo>
                    <a:pt x="366" y="329"/>
                  </a:lnTo>
                  <a:lnTo>
                    <a:pt x="367" y="336"/>
                  </a:lnTo>
                  <a:lnTo>
                    <a:pt x="367" y="345"/>
                  </a:lnTo>
                  <a:lnTo>
                    <a:pt x="367" y="348"/>
                  </a:lnTo>
                  <a:lnTo>
                    <a:pt x="366" y="359"/>
                  </a:lnTo>
                  <a:lnTo>
                    <a:pt x="363" y="371"/>
                  </a:lnTo>
                  <a:lnTo>
                    <a:pt x="361" y="375"/>
                  </a:lnTo>
                  <a:lnTo>
                    <a:pt x="361" y="379"/>
                  </a:lnTo>
                  <a:lnTo>
                    <a:pt x="358" y="388"/>
                  </a:lnTo>
                  <a:lnTo>
                    <a:pt x="351" y="392"/>
                  </a:lnTo>
                  <a:lnTo>
                    <a:pt x="348" y="395"/>
                  </a:lnTo>
                  <a:lnTo>
                    <a:pt x="345" y="398"/>
                  </a:lnTo>
                  <a:lnTo>
                    <a:pt x="341" y="406"/>
                  </a:lnTo>
                  <a:lnTo>
                    <a:pt x="341" y="418"/>
                  </a:lnTo>
                  <a:lnTo>
                    <a:pt x="337" y="421"/>
                  </a:lnTo>
                  <a:lnTo>
                    <a:pt x="334" y="431"/>
                  </a:lnTo>
                  <a:lnTo>
                    <a:pt x="328" y="434"/>
                  </a:lnTo>
                  <a:lnTo>
                    <a:pt x="323" y="438"/>
                  </a:lnTo>
                  <a:lnTo>
                    <a:pt x="311" y="439"/>
                  </a:lnTo>
                  <a:lnTo>
                    <a:pt x="291" y="442"/>
                  </a:lnTo>
                  <a:lnTo>
                    <a:pt x="275" y="444"/>
                  </a:lnTo>
                  <a:lnTo>
                    <a:pt x="265" y="445"/>
                  </a:lnTo>
                  <a:lnTo>
                    <a:pt x="248" y="445"/>
                  </a:lnTo>
                  <a:lnTo>
                    <a:pt x="239" y="445"/>
                  </a:lnTo>
                  <a:lnTo>
                    <a:pt x="225" y="441"/>
                  </a:lnTo>
                  <a:lnTo>
                    <a:pt x="218" y="439"/>
                  </a:lnTo>
                  <a:lnTo>
                    <a:pt x="202" y="436"/>
                  </a:lnTo>
                  <a:lnTo>
                    <a:pt x="195" y="435"/>
                  </a:lnTo>
                  <a:lnTo>
                    <a:pt x="189" y="434"/>
                  </a:lnTo>
                  <a:lnTo>
                    <a:pt x="171" y="434"/>
                  </a:lnTo>
                  <a:lnTo>
                    <a:pt x="161" y="431"/>
                  </a:lnTo>
                  <a:lnTo>
                    <a:pt x="146" y="431"/>
                  </a:lnTo>
                  <a:lnTo>
                    <a:pt x="128" y="428"/>
                  </a:lnTo>
                  <a:lnTo>
                    <a:pt x="118" y="425"/>
                  </a:lnTo>
                  <a:lnTo>
                    <a:pt x="108" y="426"/>
                  </a:lnTo>
                  <a:lnTo>
                    <a:pt x="95" y="424"/>
                  </a:lnTo>
                  <a:lnTo>
                    <a:pt x="85" y="422"/>
                  </a:lnTo>
                  <a:lnTo>
                    <a:pt x="72" y="421"/>
                  </a:lnTo>
                  <a:lnTo>
                    <a:pt x="66" y="419"/>
                  </a:lnTo>
                  <a:lnTo>
                    <a:pt x="56" y="418"/>
                  </a:lnTo>
                  <a:lnTo>
                    <a:pt x="42" y="416"/>
                  </a:lnTo>
                  <a:lnTo>
                    <a:pt x="29" y="414"/>
                  </a:lnTo>
                  <a:lnTo>
                    <a:pt x="10" y="411"/>
                  </a:lnTo>
                  <a:lnTo>
                    <a:pt x="10" y="411"/>
                  </a:lnTo>
                  <a:close/>
                  <a:moveTo>
                    <a:pt x="16" y="474"/>
                  </a:moveTo>
                  <a:lnTo>
                    <a:pt x="16" y="471"/>
                  </a:lnTo>
                  <a:lnTo>
                    <a:pt x="17" y="468"/>
                  </a:lnTo>
                  <a:lnTo>
                    <a:pt x="17" y="467"/>
                  </a:lnTo>
                  <a:lnTo>
                    <a:pt x="19" y="465"/>
                  </a:lnTo>
                  <a:lnTo>
                    <a:pt x="22" y="465"/>
                  </a:lnTo>
                  <a:lnTo>
                    <a:pt x="23" y="464"/>
                  </a:lnTo>
                  <a:lnTo>
                    <a:pt x="25" y="462"/>
                  </a:lnTo>
                  <a:lnTo>
                    <a:pt x="25" y="461"/>
                  </a:lnTo>
                  <a:lnTo>
                    <a:pt x="26" y="464"/>
                  </a:lnTo>
                  <a:lnTo>
                    <a:pt x="26" y="465"/>
                  </a:lnTo>
                  <a:lnTo>
                    <a:pt x="26" y="469"/>
                  </a:lnTo>
                  <a:lnTo>
                    <a:pt x="26" y="471"/>
                  </a:lnTo>
                  <a:lnTo>
                    <a:pt x="25" y="472"/>
                  </a:lnTo>
                  <a:lnTo>
                    <a:pt x="25" y="474"/>
                  </a:lnTo>
                  <a:lnTo>
                    <a:pt x="23" y="472"/>
                  </a:lnTo>
                  <a:lnTo>
                    <a:pt x="22" y="469"/>
                  </a:lnTo>
                  <a:lnTo>
                    <a:pt x="22" y="468"/>
                  </a:lnTo>
                  <a:lnTo>
                    <a:pt x="20" y="468"/>
                  </a:lnTo>
                  <a:lnTo>
                    <a:pt x="20" y="471"/>
                  </a:lnTo>
                  <a:lnTo>
                    <a:pt x="20" y="472"/>
                  </a:lnTo>
                  <a:lnTo>
                    <a:pt x="20" y="474"/>
                  </a:lnTo>
                  <a:lnTo>
                    <a:pt x="19" y="475"/>
                  </a:lnTo>
                  <a:lnTo>
                    <a:pt x="17" y="477"/>
                  </a:lnTo>
                  <a:lnTo>
                    <a:pt x="16" y="477"/>
                  </a:lnTo>
                  <a:lnTo>
                    <a:pt x="16" y="475"/>
                  </a:lnTo>
                  <a:lnTo>
                    <a:pt x="16" y="474"/>
                  </a:lnTo>
                  <a:lnTo>
                    <a:pt x="16" y="474"/>
                  </a:lnTo>
                  <a:close/>
                  <a:moveTo>
                    <a:pt x="72" y="471"/>
                  </a:moveTo>
                  <a:lnTo>
                    <a:pt x="69" y="471"/>
                  </a:lnTo>
                  <a:lnTo>
                    <a:pt x="70" y="468"/>
                  </a:lnTo>
                  <a:lnTo>
                    <a:pt x="72" y="467"/>
                  </a:lnTo>
                  <a:lnTo>
                    <a:pt x="73" y="465"/>
                  </a:lnTo>
                  <a:lnTo>
                    <a:pt x="75" y="465"/>
                  </a:lnTo>
                  <a:lnTo>
                    <a:pt x="76" y="464"/>
                  </a:lnTo>
                  <a:lnTo>
                    <a:pt x="79" y="462"/>
                  </a:lnTo>
                  <a:lnTo>
                    <a:pt x="78" y="464"/>
                  </a:lnTo>
                  <a:lnTo>
                    <a:pt x="79" y="465"/>
                  </a:lnTo>
                  <a:lnTo>
                    <a:pt x="78" y="467"/>
                  </a:lnTo>
                  <a:lnTo>
                    <a:pt x="78" y="469"/>
                  </a:lnTo>
                  <a:lnTo>
                    <a:pt x="76" y="471"/>
                  </a:lnTo>
                  <a:lnTo>
                    <a:pt x="73" y="471"/>
                  </a:lnTo>
                  <a:lnTo>
                    <a:pt x="72" y="471"/>
                  </a:lnTo>
                  <a:lnTo>
                    <a:pt x="72" y="471"/>
                  </a:lnTo>
                  <a:close/>
                  <a:moveTo>
                    <a:pt x="65" y="477"/>
                  </a:moveTo>
                  <a:lnTo>
                    <a:pt x="63" y="475"/>
                  </a:lnTo>
                  <a:lnTo>
                    <a:pt x="62" y="474"/>
                  </a:lnTo>
                  <a:lnTo>
                    <a:pt x="60" y="471"/>
                  </a:lnTo>
                  <a:lnTo>
                    <a:pt x="60" y="469"/>
                  </a:lnTo>
                  <a:lnTo>
                    <a:pt x="63" y="468"/>
                  </a:lnTo>
                  <a:lnTo>
                    <a:pt x="63" y="468"/>
                  </a:lnTo>
                  <a:lnTo>
                    <a:pt x="65" y="471"/>
                  </a:lnTo>
                  <a:lnTo>
                    <a:pt x="66" y="472"/>
                  </a:lnTo>
                  <a:lnTo>
                    <a:pt x="66" y="472"/>
                  </a:lnTo>
                  <a:lnTo>
                    <a:pt x="66" y="475"/>
                  </a:lnTo>
                  <a:lnTo>
                    <a:pt x="66" y="477"/>
                  </a:lnTo>
                  <a:lnTo>
                    <a:pt x="65" y="477"/>
                  </a:lnTo>
                  <a:lnTo>
                    <a:pt x="65" y="477"/>
                  </a:lnTo>
                  <a:close/>
                  <a:moveTo>
                    <a:pt x="123" y="487"/>
                  </a:moveTo>
                  <a:lnTo>
                    <a:pt x="122" y="485"/>
                  </a:lnTo>
                  <a:lnTo>
                    <a:pt x="121" y="485"/>
                  </a:lnTo>
                  <a:lnTo>
                    <a:pt x="119" y="485"/>
                  </a:lnTo>
                  <a:lnTo>
                    <a:pt x="118" y="484"/>
                  </a:lnTo>
                  <a:lnTo>
                    <a:pt x="118" y="481"/>
                  </a:lnTo>
                  <a:lnTo>
                    <a:pt x="121" y="478"/>
                  </a:lnTo>
                  <a:lnTo>
                    <a:pt x="123" y="477"/>
                  </a:lnTo>
                  <a:lnTo>
                    <a:pt x="125" y="477"/>
                  </a:lnTo>
                  <a:lnTo>
                    <a:pt x="126" y="477"/>
                  </a:lnTo>
                  <a:lnTo>
                    <a:pt x="129" y="478"/>
                  </a:lnTo>
                  <a:lnTo>
                    <a:pt x="129" y="478"/>
                  </a:lnTo>
                  <a:lnTo>
                    <a:pt x="132" y="479"/>
                  </a:lnTo>
                  <a:lnTo>
                    <a:pt x="133" y="479"/>
                  </a:lnTo>
                  <a:lnTo>
                    <a:pt x="132" y="481"/>
                  </a:lnTo>
                  <a:lnTo>
                    <a:pt x="131" y="481"/>
                  </a:lnTo>
                  <a:lnTo>
                    <a:pt x="129" y="482"/>
                  </a:lnTo>
                  <a:lnTo>
                    <a:pt x="128" y="484"/>
                  </a:lnTo>
                  <a:lnTo>
                    <a:pt x="126" y="484"/>
                  </a:lnTo>
                  <a:lnTo>
                    <a:pt x="125" y="485"/>
                  </a:lnTo>
                  <a:lnTo>
                    <a:pt x="123" y="487"/>
                  </a:lnTo>
                  <a:lnTo>
                    <a:pt x="123" y="487"/>
                  </a:lnTo>
                  <a:close/>
                  <a:moveTo>
                    <a:pt x="129" y="494"/>
                  </a:moveTo>
                  <a:lnTo>
                    <a:pt x="126" y="492"/>
                  </a:lnTo>
                  <a:lnTo>
                    <a:pt x="126" y="492"/>
                  </a:lnTo>
                  <a:lnTo>
                    <a:pt x="126" y="489"/>
                  </a:lnTo>
                  <a:lnTo>
                    <a:pt x="128" y="488"/>
                  </a:lnTo>
                  <a:lnTo>
                    <a:pt x="128" y="487"/>
                  </a:lnTo>
                  <a:lnTo>
                    <a:pt x="129" y="485"/>
                  </a:lnTo>
                  <a:lnTo>
                    <a:pt x="129" y="485"/>
                  </a:lnTo>
                  <a:lnTo>
                    <a:pt x="132" y="487"/>
                  </a:lnTo>
                  <a:lnTo>
                    <a:pt x="132" y="488"/>
                  </a:lnTo>
                  <a:lnTo>
                    <a:pt x="131" y="491"/>
                  </a:lnTo>
                  <a:lnTo>
                    <a:pt x="131" y="492"/>
                  </a:lnTo>
                  <a:lnTo>
                    <a:pt x="129" y="494"/>
                  </a:lnTo>
                  <a:lnTo>
                    <a:pt x="129" y="494"/>
                  </a:lnTo>
                  <a:close/>
                  <a:moveTo>
                    <a:pt x="86" y="524"/>
                  </a:moveTo>
                  <a:lnTo>
                    <a:pt x="85" y="522"/>
                  </a:lnTo>
                  <a:lnTo>
                    <a:pt x="86" y="522"/>
                  </a:lnTo>
                  <a:lnTo>
                    <a:pt x="85" y="521"/>
                  </a:lnTo>
                  <a:lnTo>
                    <a:pt x="85" y="520"/>
                  </a:lnTo>
                  <a:lnTo>
                    <a:pt x="83" y="518"/>
                  </a:lnTo>
                  <a:lnTo>
                    <a:pt x="83" y="517"/>
                  </a:lnTo>
                  <a:lnTo>
                    <a:pt x="82" y="517"/>
                  </a:lnTo>
                  <a:lnTo>
                    <a:pt x="83" y="515"/>
                  </a:lnTo>
                  <a:lnTo>
                    <a:pt x="83" y="512"/>
                  </a:lnTo>
                  <a:lnTo>
                    <a:pt x="91" y="512"/>
                  </a:lnTo>
                  <a:lnTo>
                    <a:pt x="95" y="514"/>
                  </a:lnTo>
                  <a:lnTo>
                    <a:pt x="98" y="518"/>
                  </a:lnTo>
                  <a:lnTo>
                    <a:pt x="98" y="521"/>
                  </a:lnTo>
                  <a:lnTo>
                    <a:pt x="96" y="522"/>
                  </a:lnTo>
                  <a:lnTo>
                    <a:pt x="95" y="522"/>
                  </a:lnTo>
                  <a:lnTo>
                    <a:pt x="93" y="521"/>
                  </a:lnTo>
                  <a:lnTo>
                    <a:pt x="92" y="520"/>
                  </a:lnTo>
                  <a:lnTo>
                    <a:pt x="92" y="520"/>
                  </a:lnTo>
                  <a:lnTo>
                    <a:pt x="89" y="518"/>
                  </a:lnTo>
                  <a:lnTo>
                    <a:pt x="89" y="521"/>
                  </a:lnTo>
                  <a:lnTo>
                    <a:pt x="88" y="522"/>
                  </a:lnTo>
                  <a:lnTo>
                    <a:pt x="86" y="524"/>
                  </a:lnTo>
                  <a:lnTo>
                    <a:pt x="86" y="524"/>
                  </a:lnTo>
                  <a:close/>
                  <a:moveTo>
                    <a:pt x="105" y="573"/>
                  </a:moveTo>
                  <a:lnTo>
                    <a:pt x="102" y="573"/>
                  </a:lnTo>
                  <a:lnTo>
                    <a:pt x="102" y="571"/>
                  </a:lnTo>
                  <a:lnTo>
                    <a:pt x="102" y="570"/>
                  </a:lnTo>
                  <a:lnTo>
                    <a:pt x="102" y="568"/>
                  </a:lnTo>
                  <a:lnTo>
                    <a:pt x="103" y="568"/>
                  </a:lnTo>
                  <a:lnTo>
                    <a:pt x="103" y="567"/>
                  </a:lnTo>
                  <a:lnTo>
                    <a:pt x="105" y="567"/>
                  </a:lnTo>
                  <a:lnTo>
                    <a:pt x="106" y="565"/>
                  </a:lnTo>
                  <a:lnTo>
                    <a:pt x="106" y="562"/>
                  </a:lnTo>
                  <a:lnTo>
                    <a:pt x="106" y="561"/>
                  </a:lnTo>
                  <a:lnTo>
                    <a:pt x="106" y="558"/>
                  </a:lnTo>
                  <a:lnTo>
                    <a:pt x="106" y="558"/>
                  </a:lnTo>
                  <a:lnTo>
                    <a:pt x="109" y="557"/>
                  </a:lnTo>
                  <a:lnTo>
                    <a:pt x="112" y="557"/>
                  </a:lnTo>
                  <a:lnTo>
                    <a:pt x="113" y="558"/>
                  </a:lnTo>
                  <a:lnTo>
                    <a:pt x="115" y="557"/>
                  </a:lnTo>
                  <a:lnTo>
                    <a:pt x="116" y="557"/>
                  </a:lnTo>
                  <a:lnTo>
                    <a:pt x="116" y="557"/>
                  </a:lnTo>
                  <a:lnTo>
                    <a:pt x="118" y="557"/>
                  </a:lnTo>
                  <a:lnTo>
                    <a:pt x="118" y="558"/>
                  </a:lnTo>
                  <a:lnTo>
                    <a:pt x="116" y="560"/>
                  </a:lnTo>
                  <a:lnTo>
                    <a:pt x="116" y="561"/>
                  </a:lnTo>
                  <a:lnTo>
                    <a:pt x="115" y="562"/>
                  </a:lnTo>
                  <a:lnTo>
                    <a:pt x="115" y="565"/>
                  </a:lnTo>
                  <a:lnTo>
                    <a:pt x="113" y="567"/>
                  </a:lnTo>
                  <a:lnTo>
                    <a:pt x="112" y="570"/>
                  </a:lnTo>
                  <a:lnTo>
                    <a:pt x="112" y="570"/>
                  </a:lnTo>
                  <a:lnTo>
                    <a:pt x="112" y="565"/>
                  </a:lnTo>
                  <a:lnTo>
                    <a:pt x="111" y="567"/>
                  </a:lnTo>
                  <a:lnTo>
                    <a:pt x="109" y="568"/>
                  </a:lnTo>
                  <a:lnTo>
                    <a:pt x="108" y="570"/>
                  </a:lnTo>
                  <a:lnTo>
                    <a:pt x="106" y="571"/>
                  </a:lnTo>
                  <a:lnTo>
                    <a:pt x="105" y="57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26" name="Freeform 173"/>
            <p:cNvSpPr>
              <a:spLocks/>
            </p:cNvSpPr>
            <p:nvPr/>
          </p:nvSpPr>
          <p:spPr bwMode="auto">
            <a:xfrm>
              <a:off x="4600078" y="5296387"/>
              <a:ext cx="357795" cy="383642"/>
            </a:xfrm>
            <a:custGeom>
              <a:avLst/>
              <a:gdLst>
                <a:gd name="T0" fmla="*/ 351 w 586"/>
                <a:gd name="T1" fmla="*/ 578 h 580"/>
                <a:gd name="T2" fmla="*/ 375 w 586"/>
                <a:gd name="T3" fmla="*/ 544 h 580"/>
                <a:gd name="T4" fmla="*/ 425 w 586"/>
                <a:gd name="T5" fmla="*/ 541 h 580"/>
                <a:gd name="T6" fmla="*/ 454 w 586"/>
                <a:gd name="T7" fmla="*/ 538 h 580"/>
                <a:gd name="T8" fmla="*/ 490 w 586"/>
                <a:gd name="T9" fmla="*/ 547 h 580"/>
                <a:gd name="T10" fmla="*/ 500 w 586"/>
                <a:gd name="T11" fmla="*/ 530 h 580"/>
                <a:gd name="T12" fmla="*/ 550 w 586"/>
                <a:gd name="T13" fmla="*/ 523 h 580"/>
                <a:gd name="T14" fmla="*/ 546 w 586"/>
                <a:gd name="T15" fmla="*/ 482 h 580"/>
                <a:gd name="T16" fmla="*/ 541 w 586"/>
                <a:gd name="T17" fmla="*/ 445 h 580"/>
                <a:gd name="T18" fmla="*/ 523 w 586"/>
                <a:gd name="T19" fmla="*/ 431 h 580"/>
                <a:gd name="T20" fmla="*/ 541 w 586"/>
                <a:gd name="T21" fmla="*/ 408 h 580"/>
                <a:gd name="T22" fmla="*/ 553 w 586"/>
                <a:gd name="T23" fmla="*/ 404 h 580"/>
                <a:gd name="T24" fmla="*/ 586 w 586"/>
                <a:gd name="T25" fmla="*/ 399 h 580"/>
                <a:gd name="T26" fmla="*/ 547 w 586"/>
                <a:gd name="T27" fmla="*/ 344 h 580"/>
                <a:gd name="T28" fmla="*/ 515 w 586"/>
                <a:gd name="T29" fmla="*/ 276 h 580"/>
                <a:gd name="T30" fmla="*/ 518 w 586"/>
                <a:gd name="T31" fmla="*/ 239 h 580"/>
                <a:gd name="T32" fmla="*/ 497 w 586"/>
                <a:gd name="T33" fmla="*/ 212 h 580"/>
                <a:gd name="T34" fmla="*/ 464 w 586"/>
                <a:gd name="T35" fmla="*/ 248 h 580"/>
                <a:gd name="T36" fmla="*/ 425 w 586"/>
                <a:gd name="T37" fmla="*/ 212 h 580"/>
                <a:gd name="T38" fmla="*/ 415 w 586"/>
                <a:gd name="T39" fmla="*/ 190 h 580"/>
                <a:gd name="T40" fmla="*/ 432 w 586"/>
                <a:gd name="T41" fmla="*/ 163 h 580"/>
                <a:gd name="T42" fmla="*/ 441 w 586"/>
                <a:gd name="T43" fmla="*/ 130 h 580"/>
                <a:gd name="T44" fmla="*/ 462 w 586"/>
                <a:gd name="T45" fmla="*/ 120 h 580"/>
                <a:gd name="T46" fmla="*/ 483 w 586"/>
                <a:gd name="T47" fmla="*/ 90 h 580"/>
                <a:gd name="T48" fmla="*/ 494 w 586"/>
                <a:gd name="T49" fmla="*/ 63 h 580"/>
                <a:gd name="T50" fmla="*/ 460 w 586"/>
                <a:gd name="T51" fmla="*/ 53 h 580"/>
                <a:gd name="T52" fmla="*/ 430 w 586"/>
                <a:gd name="T53" fmla="*/ 41 h 580"/>
                <a:gd name="T54" fmla="*/ 392 w 586"/>
                <a:gd name="T55" fmla="*/ 33 h 580"/>
                <a:gd name="T56" fmla="*/ 378 w 586"/>
                <a:gd name="T57" fmla="*/ 17 h 580"/>
                <a:gd name="T58" fmla="*/ 365 w 586"/>
                <a:gd name="T59" fmla="*/ 3 h 580"/>
                <a:gd name="T60" fmla="*/ 331 w 586"/>
                <a:gd name="T61" fmla="*/ 20 h 580"/>
                <a:gd name="T62" fmla="*/ 315 w 586"/>
                <a:gd name="T63" fmla="*/ 27 h 580"/>
                <a:gd name="T64" fmla="*/ 319 w 586"/>
                <a:gd name="T65" fmla="*/ 69 h 580"/>
                <a:gd name="T66" fmla="*/ 289 w 586"/>
                <a:gd name="T67" fmla="*/ 76 h 580"/>
                <a:gd name="T68" fmla="*/ 220 w 586"/>
                <a:gd name="T69" fmla="*/ 81 h 580"/>
                <a:gd name="T70" fmla="*/ 172 w 586"/>
                <a:gd name="T71" fmla="*/ 134 h 580"/>
                <a:gd name="T72" fmla="*/ 143 w 586"/>
                <a:gd name="T73" fmla="*/ 143 h 580"/>
                <a:gd name="T74" fmla="*/ 112 w 586"/>
                <a:gd name="T75" fmla="*/ 149 h 580"/>
                <a:gd name="T76" fmla="*/ 67 w 586"/>
                <a:gd name="T77" fmla="*/ 156 h 580"/>
                <a:gd name="T78" fmla="*/ 44 w 586"/>
                <a:gd name="T79" fmla="*/ 159 h 580"/>
                <a:gd name="T80" fmla="*/ 26 w 586"/>
                <a:gd name="T81" fmla="*/ 169 h 580"/>
                <a:gd name="T82" fmla="*/ 10 w 586"/>
                <a:gd name="T83" fmla="*/ 170 h 580"/>
                <a:gd name="T84" fmla="*/ 3 w 586"/>
                <a:gd name="T85" fmla="*/ 189 h 580"/>
                <a:gd name="T86" fmla="*/ 57 w 586"/>
                <a:gd name="T87" fmla="*/ 236 h 580"/>
                <a:gd name="T88" fmla="*/ 6 w 586"/>
                <a:gd name="T89" fmla="*/ 266 h 580"/>
                <a:gd name="T90" fmla="*/ 26 w 586"/>
                <a:gd name="T91" fmla="*/ 329 h 580"/>
                <a:gd name="T92" fmla="*/ 70 w 586"/>
                <a:gd name="T93" fmla="*/ 372 h 580"/>
                <a:gd name="T94" fmla="*/ 83 w 586"/>
                <a:gd name="T95" fmla="*/ 452 h 580"/>
                <a:gd name="T96" fmla="*/ 142 w 586"/>
                <a:gd name="T97" fmla="*/ 472 h 580"/>
                <a:gd name="T98" fmla="*/ 173 w 586"/>
                <a:gd name="T99" fmla="*/ 491 h 580"/>
                <a:gd name="T100" fmla="*/ 210 w 586"/>
                <a:gd name="T101" fmla="*/ 471 h 580"/>
                <a:gd name="T102" fmla="*/ 241 w 586"/>
                <a:gd name="T103" fmla="*/ 467 h 580"/>
                <a:gd name="T104" fmla="*/ 228 w 586"/>
                <a:gd name="T105" fmla="*/ 487 h 580"/>
                <a:gd name="T106" fmla="*/ 253 w 586"/>
                <a:gd name="T107" fmla="*/ 524 h 580"/>
                <a:gd name="T108" fmla="*/ 286 w 586"/>
                <a:gd name="T109" fmla="*/ 563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86" h="580">
                  <a:moveTo>
                    <a:pt x="282" y="571"/>
                  </a:moveTo>
                  <a:lnTo>
                    <a:pt x="299" y="580"/>
                  </a:lnTo>
                  <a:lnTo>
                    <a:pt x="305" y="573"/>
                  </a:lnTo>
                  <a:lnTo>
                    <a:pt x="312" y="576"/>
                  </a:lnTo>
                  <a:lnTo>
                    <a:pt x="326" y="576"/>
                  </a:lnTo>
                  <a:lnTo>
                    <a:pt x="334" y="577"/>
                  </a:lnTo>
                  <a:lnTo>
                    <a:pt x="351" y="578"/>
                  </a:lnTo>
                  <a:lnTo>
                    <a:pt x="362" y="578"/>
                  </a:lnTo>
                  <a:lnTo>
                    <a:pt x="369" y="574"/>
                  </a:lnTo>
                  <a:lnTo>
                    <a:pt x="374" y="567"/>
                  </a:lnTo>
                  <a:lnTo>
                    <a:pt x="375" y="560"/>
                  </a:lnTo>
                  <a:lnTo>
                    <a:pt x="374" y="553"/>
                  </a:lnTo>
                  <a:lnTo>
                    <a:pt x="374" y="550"/>
                  </a:lnTo>
                  <a:lnTo>
                    <a:pt x="375" y="544"/>
                  </a:lnTo>
                  <a:lnTo>
                    <a:pt x="379" y="544"/>
                  </a:lnTo>
                  <a:lnTo>
                    <a:pt x="382" y="541"/>
                  </a:lnTo>
                  <a:lnTo>
                    <a:pt x="384" y="537"/>
                  </a:lnTo>
                  <a:lnTo>
                    <a:pt x="387" y="537"/>
                  </a:lnTo>
                  <a:lnTo>
                    <a:pt x="398" y="535"/>
                  </a:lnTo>
                  <a:lnTo>
                    <a:pt x="414" y="540"/>
                  </a:lnTo>
                  <a:lnTo>
                    <a:pt x="425" y="541"/>
                  </a:lnTo>
                  <a:lnTo>
                    <a:pt x="435" y="546"/>
                  </a:lnTo>
                  <a:lnTo>
                    <a:pt x="441" y="551"/>
                  </a:lnTo>
                  <a:lnTo>
                    <a:pt x="451" y="553"/>
                  </a:lnTo>
                  <a:lnTo>
                    <a:pt x="451" y="553"/>
                  </a:lnTo>
                  <a:lnTo>
                    <a:pt x="452" y="548"/>
                  </a:lnTo>
                  <a:lnTo>
                    <a:pt x="454" y="546"/>
                  </a:lnTo>
                  <a:lnTo>
                    <a:pt x="454" y="538"/>
                  </a:lnTo>
                  <a:lnTo>
                    <a:pt x="457" y="537"/>
                  </a:lnTo>
                  <a:lnTo>
                    <a:pt x="460" y="537"/>
                  </a:lnTo>
                  <a:lnTo>
                    <a:pt x="464" y="538"/>
                  </a:lnTo>
                  <a:lnTo>
                    <a:pt x="465" y="544"/>
                  </a:lnTo>
                  <a:lnTo>
                    <a:pt x="467" y="550"/>
                  </a:lnTo>
                  <a:lnTo>
                    <a:pt x="475" y="550"/>
                  </a:lnTo>
                  <a:lnTo>
                    <a:pt x="490" y="547"/>
                  </a:lnTo>
                  <a:lnTo>
                    <a:pt x="490" y="544"/>
                  </a:lnTo>
                  <a:lnTo>
                    <a:pt x="491" y="541"/>
                  </a:lnTo>
                  <a:lnTo>
                    <a:pt x="491" y="538"/>
                  </a:lnTo>
                  <a:lnTo>
                    <a:pt x="491" y="533"/>
                  </a:lnTo>
                  <a:lnTo>
                    <a:pt x="493" y="531"/>
                  </a:lnTo>
                  <a:lnTo>
                    <a:pt x="495" y="528"/>
                  </a:lnTo>
                  <a:lnTo>
                    <a:pt x="500" y="530"/>
                  </a:lnTo>
                  <a:lnTo>
                    <a:pt x="508" y="537"/>
                  </a:lnTo>
                  <a:lnTo>
                    <a:pt x="514" y="534"/>
                  </a:lnTo>
                  <a:lnTo>
                    <a:pt x="517" y="531"/>
                  </a:lnTo>
                  <a:lnTo>
                    <a:pt x="520" y="530"/>
                  </a:lnTo>
                  <a:lnTo>
                    <a:pt x="528" y="530"/>
                  </a:lnTo>
                  <a:lnTo>
                    <a:pt x="544" y="527"/>
                  </a:lnTo>
                  <a:lnTo>
                    <a:pt x="550" y="523"/>
                  </a:lnTo>
                  <a:lnTo>
                    <a:pt x="551" y="517"/>
                  </a:lnTo>
                  <a:lnTo>
                    <a:pt x="548" y="514"/>
                  </a:lnTo>
                  <a:lnTo>
                    <a:pt x="544" y="505"/>
                  </a:lnTo>
                  <a:lnTo>
                    <a:pt x="544" y="501"/>
                  </a:lnTo>
                  <a:lnTo>
                    <a:pt x="543" y="493"/>
                  </a:lnTo>
                  <a:lnTo>
                    <a:pt x="547" y="488"/>
                  </a:lnTo>
                  <a:lnTo>
                    <a:pt x="546" y="482"/>
                  </a:lnTo>
                  <a:lnTo>
                    <a:pt x="543" y="474"/>
                  </a:lnTo>
                  <a:lnTo>
                    <a:pt x="543" y="470"/>
                  </a:lnTo>
                  <a:lnTo>
                    <a:pt x="544" y="462"/>
                  </a:lnTo>
                  <a:lnTo>
                    <a:pt x="544" y="460"/>
                  </a:lnTo>
                  <a:lnTo>
                    <a:pt x="541" y="455"/>
                  </a:lnTo>
                  <a:lnTo>
                    <a:pt x="543" y="450"/>
                  </a:lnTo>
                  <a:lnTo>
                    <a:pt x="541" y="445"/>
                  </a:lnTo>
                  <a:lnTo>
                    <a:pt x="534" y="442"/>
                  </a:lnTo>
                  <a:lnTo>
                    <a:pt x="527" y="444"/>
                  </a:lnTo>
                  <a:lnTo>
                    <a:pt x="523" y="441"/>
                  </a:lnTo>
                  <a:lnTo>
                    <a:pt x="521" y="438"/>
                  </a:lnTo>
                  <a:lnTo>
                    <a:pt x="520" y="437"/>
                  </a:lnTo>
                  <a:lnTo>
                    <a:pt x="520" y="434"/>
                  </a:lnTo>
                  <a:lnTo>
                    <a:pt x="523" y="431"/>
                  </a:lnTo>
                  <a:lnTo>
                    <a:pt x="526" y="424"/>
                  </a:lnTo>
                  <a:lnTo>
                    <a:pt x="531" y="419"/>
                  </a:lnTo>
                  <a:lnTo>
                    <a:pt x="536" y="417"/>
                  </a:lnTo>
                  <a:lnTo>
                    <a:pt x="541" y="417"/>
                  </a:lnTo>
                  <a:lnTo>
                    <a:pt x="544" y="415"/>
                  </a:lnTo>
                  <a:lnTo>
                    <a:pt x="546" y="412"/>
                  </a:lnTo>
                  <a:lnTo>
                    <a:pt x="541" y="408"/>
                  </a:lnTo>
                  <a:lnTo>
                    <a:pt x="538" y="402"/>
                  </a:lnTo>
                  <a:lnTo>
                    <a:pt x="538" y="398"/>
                  </a:lnTo>
                  <a:lnTo>
                    <a:pt x="540" y="395"/>
                  </a:lnTo>
                  <a:lnTo>
                    <a:pt x="546" y="395"/>
                  </a:lnTo>
                  <a:lnTo>
                    <a:pt x="548" y="397"/>
                  </a:lnTo>
                  <a:lnTo>
                    <a:pt x="550" y="398"/>
                  </a:lnTo>
                  <a:lnTo>
                    <a:pt x="553" y="404"/>
                  </a:lnTo>
                  <a:lnTo>
                    <a:pt x="577" y="409"/>
                  </a:lnTo>
                  <a:lnTo>
                    <a:pt x="577" y="409"/>
                  </a:lnTo>
                  <a:lnTo>
                    <a:pt x="581" y="409"/>
                  </a:lnTo>
                  <a:lnTo>
                    <a:pt x="584" y="407"/>
                  </a:lnTo>
                  <a:lnTo>
                    <a:pt x="586" y="405"/>
                  </a:lnTo>
                  <a:lnTo>
                    <a:pt x="586" y="402"/>
                  </a:lnTo>
                  <a:lnTo>
                    <a:pt x="586" y="399"/>
                  </a:lnTo>
                  <a:lnTo>
                    <a:pt x="584" y="395"/>
                  </a:lnTo>
                  <a:lnTo>
                    <a:pt x="577" y="389"/>
                  </a:lnTo>
                  <a:lnTo>
                    <a:pt x="568" y="382"/>
                  </a:lnTo>
                  <a:lnTo>
                    <a:pt x="566" y="377"/>
                  </a:lnTo>
                  <a:lnTo>
                    <a:pt x="560" y="368"/>
                  </a:lnTo>
                  <a:lnTo>
                    <a:pt x="554" y="354"/>
                  </a:lnTo>
                  <a:lnTo>
                    <a:pt x="547" y="344"/>
                  </a:lnTo>
                  <a:lnTo>
                    <a:pt x="540" y="331"/>
                  </a:lnTo>
                  <a:lnTo>
                    <a:pt x="530" y="316"/>
                  </a:lnTo>
                  <a:lnTo>
                    <a:pt x="521" y="303"/>
                  </a:lnTo>
                  <a:lnTo>
                    <a:pt x="517" y="298"/>
                  </a:lnTo>
                  <a:lnTo>
                    <a:pt x="518" y="288"/>
                  </a:lnTo>
                  <a:lnTo>
                    <a:pt x="518" y="281"/>
                  </a:lnTo>
                  <a:lnTo>
                    <a:pt x="515" y="276"/>
                  </a:lnTo>
                  <a:lnTo>
                    <a:pt x="511" y="271"/>
                  </a:lnTo>
                  <a:lnTo>
                    <a:pt x="513" y="265"/>
                  </a:lnTo>
                  <a:lnTo>
                    <a:pt x="513" y="261"/>
                  </a:lnTo>
                  <a:lnTo>
                    <a:pt x="515" y="256"/>
                  </a:lnTo>
                  <a:lnTo>
                    <a:pt x="518" y="250"/>
                  </a:lnTo>
                  <a:lnTo>
                    <a:pt x="518" y="243"/>
                  </a:lnTo>
                  <a:lnTo>
                    <a:pt x="518" y="239"/>
                  </a:lnTo>
                  <a:lnTo>
                    <a:pt x="517" y="235"/>
                  </a:lnTo>
                  <a:lnTo>
                    <a:pt x="514" y="230"/>
                  </a:lnTo>
                  <a:lnTo>
                    <a:pt x="508" y="220"/>
                  </a:lnTo>
                  <a:lnTo>
                    <a:pt x="508" y="210"/>
                  </a:lnTo>
                  <a:lnTo>
                    <a:pt x="514" y="212"/>
                  </a:lnTo>
                  <a:lnTo>
                    <a:pt x="508" y="210"/>
                  </a:lnTo>
                  <a:lnTo>
                    <a:pt x="497" y="212"/>
                  </a:lnTo>
                  <a:lnTo>
                    <a:pt x="493" y="213"/>
                  </a:lnTo>
                  <a:lnTo>
                    <a:pt x="490" y="216"/>
                  </a:lnTo>
                  <a:lnTo>
                    <a:pt x="488" y="225"/>
                  </a:lnTo>
                  <a:lnTo>
                    <a:pt x="487" y="238"/>
                  </a:lnTo>
                  <a:lnTo>
                    <a:pt x="480" y="240"/>
                  </a:lnTo>
                  <a:lnTo>
                    <a:pt x="473" y="245"/>
                  </a:lnTo>
                  <a:lnTo>
                    <a:pt x="464" y="248"/>
                  </a:lnTo>
                  <a:lnTo>
                    <a:pt x="457" y="246"/>
                  </a:lnTo>
                  <a:lnTo>
                    <a:pt x="451" y="243"/>
                  </a:lnTo>
                  <a:lnTo>
                    <a:pt x="448" y="233"/>
                  </a:lnTo>
                  <a:lnTo>
                    <a:pt x="438" y="232"/>
                  </a:lnTo>
                  <a:lnTo>
                    <a:pt x="432" y="220"/>
                  </a:lnTo>
                  <a:lnTo>
                    <a:pt x="428" y="213"/>
                  </a:lnTo>
                  <a:lnTo>
                    <a:pt x="425" y="212"/>
                  </a:lnTo>
                  <a:lnTo>
                    <a:pt x="418" y="210"/>
                  </a:lnTo>
                  <a:lnTo>
                    <a:pt x="411" y="210"/>
                  </a:lnTo>
                  <a:lnTo>
                    <a:pt x="412" y="208"/>
                  </a:lnTo>
                  <a:lnTo>
                    <a:pt x="412" y="200"/>
                  </a:lnTo>
                  <a:lnTo>
                    <a:pt x="411" y="197"/>
                  </a:lnTo>
                  <a:lnTo>
                    <a:pt x="411" y="195"/>
                  </a:lnTo>
                  <a:lnTo>
                    <a:pt x="415" y="190"/>
                  </a:lnTo>
                  <a:lnTo>
                    <a:pt x="425" y="189"/>
                  </a:lnTo>
                  <a:lnTo>
                    <a:pt x="430" y="182"/>
                  </a:lnTo>
                  <a:lnTo>
                    <a:pt x="434" y="177"/>
                  </a:lnTo>
                  <a:lnTo>
                    <a:pt x="440" y="172"/>
                  </a:lnTo>
                  <a:lnTo>
                    <a:pt x="440" y="167"/>
                  </a:lnTo>
                  <a:lnTo>
                    <a:pt x="438" y="165"/>
                  </a:lnTo>
                  <a:lnTo>
                    <a:pt x="432" y="163"/>
                  </a:lnTo>
                  <a:lnTo>
                    <a:pt x="425" y="162"/>
                  </a:lnTo>
                  <a:lnTo>
                    <a:pt x="418" y="159"/>
                  </a:lnTo>
                  <a:lnTo>
                    <a:pt x="418" y="156"/>
                  </a:lnTo>
                  <a:lnTo>
                    <a:pt x="420" y="150"/>
                  </a:lnTo>
                  <a:lnTo>
                    <a:pt x="432" y="142"/>
                  </a:lnTo>
                  <a:lnTo>
                    <a:pt x="435" y="133"/>
                  </a:lnTo>
                  <a:lnTo>
                    <a:pt x="441" y="130"/>
                  </a:lnTo>
                  <a:lnTo>
                    <a:pt x="442" y="124"/>
                  </a:lnTo>
                  <a:lnTo>
                    <a:pt x="442" y="120"/>
                  </a:lnTo>
                  <a:lnTo>
                    <a:pt x="445" y="116"/>
                  </a:lnTo>
                  <a:lnTo>
                    <a:pt x="450" y="114"/>
                  </a:lnTo>
                  <a:lnTo>
                    <a:pt x="457" y="117"/>
                  </a:lnTo>
                  <a:lnTo>
                    <a:pt x="460" y="120"/>
                  </a:lnTo>
                  <a:lnTo>
                    <a:pt x="462" y="120"/>
                  </a:lnTo>
                  <a:lnTo>
                    <a:pt x="462" y="117"/>
                  </a:lnTo>
                  <a:lnTo>
                    <a:pt x="464" y="113"/>
                  </a:lnTo>
                  <a:lnTo>
                    <a:pt x="470" y="109"/>
                  </a:lnTo>
                  <a:lnTo>
                    <a:pt x="475" y="107"/>
                  </a:lnTo>
                  <a:lnTo>
                    <a:pt x="483" y="104"/>
                  </a:lnTo>
                  <a:lnTo>
                    <a:pt x="481" y="97"/>
                  </a:lnTo>
                  <a:lnTo>
                    <a:pt x="483" y="90"/>
                  </a:lnTo>
                  <a:lnTo>
                    <a:pt x="484" y="84"/>
                  </a:lnTo>
                  <a:lnTo>
                    <a:pt x="487" y="81"/>
                  </a:lnTo>
                  <a:lnTo>
                    <a:pt x="487" y="77"/>
                  </a:lnTo>
                  <a:lnTo>
                    <a:pt x="487" y="73"/>
                  </a:lnTo>
                  <a:lnTo>
                    <a:pt x="490" y="70"/>
                  </a:lnTo>
                  <a:lnTo>
                    <a:pt x="494" y="66"/>
                  </a:lnTo>
                  <a:lnTo>
                    <a:pt x="494" y="63"/>
                  </a:lnTo>
                  <a:lnTo>
                    <a:pt x="491" y="61"/>
                  </a:lnTo>
                  <a:lnTo>
                    <a:pt x="487" y="63"/>
                  </a:lnTo>
                  <a:lnTo>
                    <a:pt x="478" y="63"/>
                  </a:lnTo>
                  <a:lnTo>
                    <a:pt x="475" y="64"/>
                  </a:lnTo>
                  <a:lnTo>
                    <a:pt x="467" y="63"/>
                  </a:lnTo>
                  <a:lnTo>
                    <a:pt x="462" y="59"/>
                  </a:lnTo>
                  <a:lnTo>
                    <a:pt x="460" y="53"/>
                  </a:lnTo>
                  <a:lnTo>
                    <a:pt x="455" y="46"/>
                  </a:lnTo>
                  <a:lnTo>
                    <a:pt x="450" y="39"/>
                  </a:lnTo>
                  <a:lnTo>
                    <a:pt x="445" y="33"/>
                  </a:lnTo>
                  <a:lnTo>
                    <a:pt x="442" y="31"/>
                  </a:lnTo>
                  <a:lnTo>
                    <a:pt x="438" y="33"/>
                  </a:lnTo>
                  <a:lnTo>
                    <a:pt x="438" y="39"/>
                  </a:lnTo>
                  <a:lnTo>
                    <a:pt x="430" y="41"/>
                  </a:lnTo>
                  <a:lnTo>
                    <a:pt x="421" y="44"/>
                  </a:lnTo>
                  <a:lnTo>
                    <a:pt x="417" y="46"/>
                  </a:lnTo>
                  <a:lnTo>
                    <a:pt x="414" y="46"/>
                  </a:lnTo>
                  <a:lnTo>
                    <a:pt x="411" y="44"/>
                  </a:lnTo>
                  <a:lnTo>
                    <a:pt x="411" y="40"/>
                  </a:lnTo>
                  <a:lnTo>
                    <a:pt x="402" y="39"/>
                  </a:lnTo>
                  <a:lnTo>
                    <a:pt x="392" y="33"/>
                  </a:lnTo>
                  <a:lnTo>
                    <a:pt x="385" y="31"/>
                  </a:lnTo>
                  <a:lnTo>
                    <a:pt x="388" y="27"/>
                  </a:lnTo>
                  <a:lnTo>
                    <a:pt x="389" y="23"/>
                  </a:lnTo>
                  <a:lnTo>
                    <a:pt x="389" y="17"/>
                  </a:lnTo>
                  <a:lnTo>
                    <a:pt x="385" y="17"/>
                  </a:lnTo>
                  <a:lnTo>
                    <a:pt x="381" y="17"/>
                  </a:lnTo>
                  <a:lnTo>
                    <a:pt x="378" y="17"/>
                  </a:lnTo>
                  <a:lnTo>
                    <a:pt x="374" y="16"/>
                  </a:lnTo>
                  <a:lnTo>
                    <a:pt x="372" y="13"/>
                  </a:lnTo>
                  <a:lnTo>
                    <a:pt x="372" y="13"/>
                  </a:lnTo>
                  <a:lnTo>
                    <a:pt x="374" y="7"/>
                  </a:lnTo>
                  <a:lnTo>
                    <a:pt x="372" y="6"/>
                  </a:lnTo>
                  <a:lnTo>
                    <a:pt x="371" y="4"/>
                  </a:lnTo>
                  <a:lnTo>
                    <a:pt x="365" y="3"/>
                  </a:lnTo>
                  <a:lnTo>
                    <a:pt x="357" y="3"/>
                  </a:lnTo>
                  <a:lnTo>
                    <a:pt x="351" y="3"/>
                  </a:lnTo>
                  <a:lnTo>
                    <a:pt x="346" y="3"/>
                  </a:lnTo>
                  <a:lnTo>
                    <a:pt x="335" y="0"/>
                  </a:lnTo>
                  <a:lnTo>
                    <a:pt x="332" y="4"/>
                  </a:lnTo>
                  <a:lnTo>
                    <a:pt x="331" y="14"/>
                  </a:lnTo>
                  <a:lnTo>
                    <a:pt x="331" y="20"/>
                  </a:lnTo>
                  <a:lnTo>
                    <a:pt x="328" y="20"/>
                  </a:lnTo>
                  <a:lnTo>
                    <a:pt x="324" y="20"/>
                  </a:lnTo>
                  <a:lnTo>
                    <a:pt x="322" y="16"/>
                  </a:lnTo>
                  <a:lnTo>
                    <a:pt x="319" y="11"/>
                  </a:lnTo>
                  <a:lnTo>
                    <a:pt x="316" y="11"/>
                  </a:lnTo>
                  <a:lnTo>
                    <a:pt x="316" y="16"/>
                  </a:lnTo>
                  <a:lnTo>
                    <a:pt x="315" y="27"/>
                  </a:lnTo>
                  <a:lnTo>
                    <a:pt x="316" y="36"/>
                  </a:lnTo>
                  <a:lnTo>
                    <a:pt x="324" y="46"/>
                  </a:lnTo>
                  <a:lnTo>
                    <a:pt x="328" y="54"/>
                  </a:lnTo>
                  <a:lnTo>
                    <a:pt x="329" y="60"/>
                  </a:lnTo>
                  <a:lnTo>
                    <a:pt x="326" y="67"/>
                  </a:lnTo>
                  <a:lnTo>
                    <a:pt x="322" y="66"/>
                  </a:lnTo>
                  <a:lnTo>
                    <a:pt x="319" y="69"/>
                  </a:lnTo>
                  <a:lnTo>
                    <a:pt x="319" y="74"/>
                  </a:lnTo>
                  <a:lnTo>
                    <a:pt x="319" y="79"/>
                  </a:lnTo>
                  <a:lnTo>
                    <a:pt x="316" y="83"/>
                  </a:lnTo>
                  <a:lnTo>
                    <a:pt x="312" y="86"/>
                  </a:lnTo>
                  <a:lnTo>
                    <a:pt x="306" y="81"/>
                  </a:lnTo>
                  <a:lnTo>
                    <a:pt x="292" y="74"/>
                  </a:lnTo>
                  <a:lnTo>
                    <a:pt x="289" y="76"/>
                  </a:lnTo>
                  <a:lnTo>
                    <a:pt x="278" y="87"/>
                  </a:lnTo>
                  <a:lnTo>
                    <a:pt x="255" y="80"/>
                  </a:lnTo>
                  <a:lnTo>
                    <a:pt x="252" y="70"/>
                  </a:lnTo>
                  <a:lnTo>
                    <a:pt x="229" y="66"/>
                  </a:lnTo>
                  <a:lnTo>
                    <a:pt x="228" y="69"/>
                  </a:lnTo>
                  <a:lnTo>
                    <a:pt x="210" y="67"/>
                  </a:lnTo>
                  <a:lnTo>
                    <a:pt x="220" y="81"/>
                  </a:lnTo>
                  <a:lnTo>
                    <a:pt x="205" y="106"/>
                  </a:lnTo>
                  <a:lnTo>
                    <a:pt x="202" y="112"/>
                  </a:lnTo>
                  <a:lnTo>
                    <a:pt x="196" y="117"/>
                  </a:lnTo>
                  <a:lnTo>
                    <a:pt x="188" y="120"/>
                  </a:lnTo>
                  <a:lnTo>
                    <a:pt x="186" y="123"/>
                  </a:lnTo>
                  <a:lnTo>
                    <a:pt x="180" y="122"/>
                  </a:lnTo>
                  <a:lnTo>
                    <a:pt x="172" y="134"/>
                  </a:lnTo>
                  <a:lnTo>
                    <a:pt x="172" y="140"/>
                  </a:lnTo>
                  <a:lnTo>
                    <a:pt x="170" y="143"/>
                  </a:lnTo>
                  <a:lnTo>
                    <a:pt x="166" y="143"/>
                  </a:lnTo>
                  <a:lnTo>
                    <a:pt x="163" y="142"/>
                  </a:lnTo>
                  <a:lnTo>
                    <a:pt x="149" y="137"/>
                  </a:lnTo>
                  <a:lnTo>
                    <a:pt x="146" y="140"/>
                  </a:lnTo>
                  <a:lnTo>
                    <a:pt x="143" y="143"/>
                  </a:lnTo>
                  <a:lnTo>
                    <a:pt x="137" y="140"/>
                  </a:lnTo>
                  <a:lnTo>
                    <a:pt x="132" y="139"/>
                  </a:lnTo>
                  <a:lnTo>
                    <a:pt x="126" y="139"/>
                  </a:lnTo>
                  <a:lnTo>
                    <a:pt x="120" y="139"/>
                  </a:lnTo>
                  <a:lnTo>
                    <a:pt x="116" y="142"/>
                  </a:lnTo>
                  <a:lnTo>
                    <a:pt x="113" y="146"/>
                  </a:lnTo>
                  <a:lnTo>
                    <a:pt x="112" y="149"/>
                  </a:lnTo>
                  <a:lnTo>
                    <a:pt x="107" y="147"/>
                  </a:lnTo>
                  <a:lnTo>
                    <a:pt x="102" y="143"/>
                  </a:lnTo>
                  <a:lnTo>
                    <a:pt x="97" y="143"/>
                  </a:lnTo>
                  <a:lnTo>
                    <a:pt x="92" y="144"/>
                  </a:lnTo>
                  <a:lnTo>
                    <a:pt x="79" y="153"/>
                  </a:lnTo>
                  <a:lnTo>
                    <a:pt x="73" y="156"/>
                  </a:lnTo>
                  <a:lnTo>
                    <a:pt x="67" y="156"/>
                  </a:lnTo>
                  <a:lnTo>
                    <a:pt x="61" y="159"/>
                  </a:lnTo>
                  <a:lnTo>
                    <a:pt x="54" y="162"/>
                  </a:lnTo>
                  <a:lnTo>
                    <a:pt x="51" y="163"/>
                  </a:lnTo>
                  <a:lnTo>
                    <a:pt x="47" y="162"/>
                  </a:lnTo>
                  <a:lnTo>
                    <a:pt x="46" y="159"/>
                  </a:lnTo>
                  <a:lnTo>
                    <a:pt x="46" y="159"/>
                  </a:lnTo>
                  <a:lnTo>
                    <a:pt x="44" y="159"/>
                  </a:lnTo>
                  <a:lnTo>
                    <a:pt x="41" y="159"/>
                  </a:lnTo>
                  <a:lnTo>
                    <a:pt x="39" y="159"/>
                  </a:lnTo>
                  <a:lnTo>
                    <a:pt x="34" y="159"/>
                  </a:lnTo>
                  <a:lnTo>
                    <a:pt x="29" y="159"/>
                  </a:lnTo>
                  <a:lnTo>
                    <a:pt x="26" y="162"/>
                  </a:lnTo>
                  <a:lnTo>
                    <a:pt x="26" y="165"/>
                  </a:lnTo>
                  <a:lnTo>
                    <a:pt x="26" y="169"/>
                  </a:lnTo>
                  <a:lnTo>
                    <a:pt x="24" y="173"/>
                  </a:lnTo>
                  <a:lnTo>
                    <a:pt x="21" y="180"/>
                  </a:lnTo>
                  <a:lnTo>
                    <a:pt x="19" y="183"/>
                  </a:lnTo>
                  <a:lnTo>
                    <a:pt x="16" y="183"/>
                  </a:lnTo>
                  <a:lnTo>
                    <a:pt x="14" y="179"/>
                  </a:lnTo>
                  <a:lnTo>
                    <a:pt x="13" y="172"/>
                  </a:lnTo>
                  <a:lnTo>
                    <a:pt x="10" y="170"/>
                  </a:lnTo>
                  <a:lnTo>
                    <a:pt x="6" y="173"/>
                  </a:lnTo>
                  <a:lnTo>
                    <a:pt x="3" y="176"/>
                  </a:lnTo>
                  <a:lnTo>
                    <a:pt x="1" y="182"/>
                  </a:lnTo>
                  <a:lnTo>
                    <a:pt x="1" y="186"/>
                  </a:lnTo>
                  <a:lnTo>
                    <a:pt x="1" y="189"/>
                  </a:lnTo>
                  <a:lnTo>
                    <a:pt x="3" y="189"/>
                  </a:lnTo>
                  <a:lnTo>
                    <a:pt x="3" y="189"/>
                  </a:lnTo>
                  <a:lnTo>
                    <a:pt x="7" y="189"/>
                  </a:lnTo>
                  <a:lnTo>
                    <a:pt x="13" y="189"/>
                  </a:lnTo>
                  <a:lnTo>
                    <a:pt x="23" y="203"/>
                  </a:lnTo>
                  <a:lnTo>
                    <a:pt x="29" y="202"/>
                  </a:lnTo>
                  <a:lnTo>
                    <a:pt x="47" y="213"/>
                  </a:lnTo>
                  <a:lnTo>
                    <a:pt x="41" y="226"/>
                  </a:lnTo>
                  <a:lnTo>
                    <a:pt x="57" y="236"/>
                  </a:lnTo>
                  <a:lnTo>
                    <a:pt x="51" y="240"/>
                  </a:lnTo>
                  <a:lnTo>
                    <a:pt x="39" y="252"/>
                  </a:lnTo>
                  <a:lnTo>
                    <a:pt x="30" y="255"/>
                  </a:lnTo>
                  <a:lnTo>
                    <a:pt x="26" y="253"/>
                  </a:lnTo>
                  <a:lnTo>
                    <a:pt x="8" y="252"/>
                  </a:lnTo>
                  <a:lnTo>
                    <a:pt x="0" y="253"/>
                  </a:lnTo>
                  <a:lnTo>
                    <a:pt x="6" y="266"/>
                  </a:lnTo>
                  <a:lnTo>
                    <a:pt x="3" y="282"/>
                  </a:lnTo>
                  <a:lnTo>
                    <a:pt x="1" y="299"/>
                  </a:lnTo>
                  <a:lnTo>
                    <a:pt x="0" y="305"/>
                  </a:lnTo>
                  <a:lnTo>
                    <a:pt x="1" y="319"/>
                  </a:lnTo>
                  <a:lnTo>
                    <a:pt x="7" y="328"/>
                  </a:lnTo>
                  <a:lnTo>
                    <a:pt x="16" y="328"/>
                  </a:lnTo>
                  <a:lnTo>
                    <a:pt x="26" y="329"/>
                  </a:lnTo>
                  <a:lnTo>
                    <a:pt x="34" y="338"/>
                  </a:lnTo>
                  <a:lnTo>
                    <a:pt x="40" y="344"/>
                  </a:lnTo>
                  <a:lnTo>
                    <a:pt x="51" y="352"/>
                  </a:lnTo>
                  <a:lnTo>
                    <a:pt x="54" y="355"/>
                  </a:lnTo>
                  <a:lnTo>
                    <a:pt x="63" y="358"/>
                  </a:lnTo>
                  <a:lnTo>
                    <a:pt x="70" y="365"/>
                  </a:lnTo>
                  <a:lnTo>
                    <a:pt x="70" y="372"/>
                  </a:lnTo>
                  <a:lnTo>
                    <a:pt x="67" y="381"/>
                  </a:lnTo>
                  <a:lnTo>
                    <a:pt x="66" y="388"/>
                  </a:lnTo>
                  <a:lnTo>
                    <a:pt x="73" y="398"/>
                  </a:lnTo>
                  <a:lnTo>
                    <a:pt x="76" y="409"/>
                  </a:lnTo>
                  <a:lnTo>
                    <a:pt x="76" y="428"/>
                  </a:lnTo>
                  <a:lnTo>
                    <a:pt x="74" y="447"/>
                  </a:lnTo>
                  <a:lnTo>
                    <a:pt x="83" y="452"/>
                  </a:lnTo>
                  <a:lnTo>
                    <a:pt x="89" y="452"/>
                  </a:lnTo>
                  <a:lnTo>
                    <a:pt x="97" y="452"/>
                  </a:lnTo>
                  <a:lnTo>
                    <a:pt x="112" y="454"/>
                  </a:lnTo>
                  <a:lnTo>
                    <a:pt x="119" y="460"/>
                  </a:lnTo>
                  <a:lnTo>
                    <a:pt x="127" y="471"/>
                  </a:lnTo>
                  <a:lnTo>
                    <a:pt x="136" y="471"/>
                  </a:lnTo>
                  <a:lnTo>
                    <a:pt x="142" y="472"/>
                  </a:lnTo>
                  <a:lnTo>
                    <a:pt x="145" y="472"/>
                  </a:lnTo>
                  <a:lnTo>
                    <a:pt x="149" y="475"/>
                  </a:lnTo>
                  <a:lnTo>
                    <a:pt x="152" y="482"/>
                  </a:lnTo>
                  <a:lnTo>
                    <a:pt x="156" y="485"/>
                  </a:lnTo>
                  <a:lnTo>
                    <a:pt x="165" y="482"/>
                  </a:lnTo>
                  <a:lnTo>
                    <a:pt x="170" y="485"/>
                  </a:lnTo>
                  <a:lnTo>
                    <a:pt x="173" y="491"/>
                  </a:lnTo>
                  <a:lnTo>
                    <a:pt x="177" y="491"/>
                  </a:lnTo>
                  <a:lnTo>
                    <a:pt x="179" y="490"/>
                  </a:lnTo>
                  <a:lnTo>
                    <a:pt x="180" y="484"/>
                  </a:lnTo>
                  <a:lnTo>
                    <a:pt x="182" y="481"/>
                  </a:lnTo>
                  <a:lnTo>
                    <a:pt x="188" y="478"/>
                  </a:lnTo>
                  <a:lnTo>
                    <a:pt x="200" y="477"/>
                  </a:lnTo>
                  <a:lnTo>
                    <a:pt x="210" y="471"/>
                  </a:lnTo>
                  <a:lnTo>
                    <a:pt x="220" y="458"/>
                  </a:lnTo>
                  <a:lnTo>
                    <a:pt x="229" y="450"/>
                  </a:lnTo>
                  <a:lnTo>
                    <a:pt x="235" y="450"/>
                  </a:lnTo>
                  <a:lnTo>
                    <a:pt x="239" y="451"/>
                  </a:lnTo>
                  <a:lnTo>
                    <a:pt x="245" y="455"/>
                  </a:lnTo>
                  <a:lnTo>
                    <a:pt x="243" y="461"/>
                  </a:lnTo>
                  <a:lnTo>
                    <a:pt x="241" y="467"/>
                  </a:lnTo>
                  <a:lnTo>
                    <a:pt x="238" y="471"/>
                  </a:lnTo>
                  <a:lnTo>
                    <a:pt x="235" y="472"/>
                  </a:lnTo>
                  <a:lnTo>
                    <a:pt x="230" y="477"/>
                  </a:lnTo>
                  <a:lnTo>
                    <a:pt x="223" y="482"/>
                  </a:lnTo>
                  <a:lnTo>
                    <a:pt x="223" y="485"/>
                  </a:lnTo>
                  <a:lnTo>
                    <a:pt x="225" y="487"/>
                  </a:lnTo>
                  <a:lnTo>
                    <a:pt x="228" y="487"/>
                  </a:lnTo>
                  <a:lnTo>
                    <a:pt x="239" y="491"/>
                  </a:lnTo>
                  <a:lnTo>
                    <a:pt x="242" y="497"/>
                  </a:lnTo>
                  <a:lnTo>
                    <a:pt x="242" y="503"/>
                  </a:lnTo>
                  <a:lnTo>
                    <a:pt x="241" y="510"/>
                  </a:lnTo>
                  <a:lnTo>
                    <a:pt x="243" y="513"/>
                  </a:lnTo>
                  <a:lnTo>
                    <a:pt x="249" y="517"/>
                  </a:lnTo>
                  <a:lnTo>
                    <a:pt x="253" y="524"/>
                  </a:lnTo>
                  <a:lnTo>
                    <a:pt x="249" y="530"/>
                  </a:lnTo>
                  <a:lnTo>
                    <a:pt x="249" y="533"/>
                  </a:lnTo>
                  <a:lnTo>
                    <a:pt x="253" y="537"/>
                  </a:lnTo>
                  <a:lnTo>
                    <a:pt x="263" y="547"/>
                  </a:lnTo>
                  <a:lnTo>
                    <a:pt x="282" y="554"/>
                  </a:lnTo>
                  <a:lnTo>
                    <a:pt x="286" y="556"/>
                  </a:lnTo>
                  <a:lnTo>
                    <a:pt x="286" y="563"/>
                  </a:lnTo>
                  <a:lnTo>
                    <a:pt x="282" y="57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27" name="Freeform 174"/>
            <p:cNvSpPr>
              <a:spLocks noEditPoints="1"/>
            </p:cNvSpPr>
            <p:nvPr/>
          </p:nvSpPr>
          <p:spPr bwMode="auto">
            <a:xfrm>
              <a:off x="4302119" y="5022545"/>
              <a:ext cx="529976" cy="441850"/>
            </a:xfrm>
            <a:custGeom>
              <a:avLst/>
              <a:gdLst>
                <a:gd name="T0" fmla="*/ 409 w 867"/>
                <a:gd name="T1" fmla="*/ 586 h 669"/>
                <a:gd name="T2" fmla="*/ 363 w 867"/>
                <a:gd name="T3" fmla="*/ 593 h 669"/>
                <a:gd name="T4" fmla="*/ 330 w 867"/>
                <a:gd name="T5" fmla="*/ 613 h 669"/>
                <a:gd name="T6" fmla="*/ 285 w 867"/>
                <a:gd name="T7" fmla="*/ 597 h 669"/>
                <a:gd name="T8" fmla="*/ 237 w 867"/>
                <a:gd name="T9" fmla="*/ 586 h 669"/>
                <a:gd name="T10" fmla="*/ 211 w 867"/>
                <a:gd name="T11" fmla="*/ 543 h 669"/>
                <a:gd name="T12" fmla="*/ 210 w 867"/>
                <a:gd name="T13" fmla="*/ 500 h 669"/>
                <a:gd name="T14" fmla="*/ 176 w 867"/>
                <a:gd name="T15" fmla="*/ 477 h 669"/>
                <a:gd name="T16" fmla="*/ 134 w 867"/>
                <a:gd name="T17" fmla="*/ 485 h 669"/>
                <a:gd name="T18" fmla="*/ 136 w 867"/>
                <a:gd name="T19" fmla="*/ 517 h 669"/>
                <a:gd name="T20" fmla="*/ 87 w 867"/>
                <a:gd name="T21" fmla="*/ 524 h 669"/>
                <a:gd name="T22" fmla="*/ 58 w 867"/>
                <a:gd name="T23" fmla="*/ 348 h 669"/>
                <a:gd name="T24" fmla="*/ 15 w 867"/>
                <a:gd name="T25" fmla="*/ 116 h 669"/>
                <a:gd name="T26" fmla="*/ 21 w 867"/>
                <a:gd name="T27" fmla="*/ 57 h 669"/>
                <a:gd name="T28" fmla="*/ 18 w 867"/>
                <a:gd name="T29" fmla="*/ 44 h 669"/>
                <a:gd name="T30" fmla="*/ 53 w 867"/>
                <a:gd name="T31" fmla="*/ 37 h 669"/>
                <a:gd name="T32" fmla="*/ 83 w 867"/>
                <a:gd name="T33" fmla="*/ 69 h 669"/>
                <a:gd name="T34" fmla="*/ 94 w 867"/>
                <a:gd name="T35" fmla="*/ 46 h 669"/>
                <a:gd name="T36" fmla="*/ 123 w 867"/>
                <a:gd name="T37" fmla="*/ 50 h 669"/>
                <a:gd name="T38" fmla="*/ 141 w 867"/>
                <a:gd name="T39" fmla="*/ 54 h 669"/>
                <a:gd name="T40" fmla="*/ 164 w 867"/>
                <a:gd name="T41" fmla="*/ 62 h 669"/>
                <a:gd name="T42" fmla="*/ 206 w 867"/>
                <a:gd name="T43" fmla="*/ 53 h 669"/>
                <a:gd name="T44" fmla="*/ 243 w 867"/>
                <a:gd name="T45" fmla="*/ 27 h 669"/>
                <a:gd name="T46" fmla="*/ 280 w 867"/>
                <a:gd name="T47" fmla="*/ 26 h 669"/>
                <a:gd name="T48" fmla="*/ 295 w 867"/>
                <a:gd name="T49" fmla="*/ 23 h 669"/>
                <a:gd name="T50" fmla="*/ 327 w 867"/>
                <a:gd name="T51" fmla="*/ 10 h 669"/>
                <a:gd name="T52" fmla="*/ 342 w 867"/>
                <a:gd name="T53" fmla="*/ 26 h 669"/>
                <a:gd name="T54" fmla="*/ 379 w 867"/>
                <a:gd name="T55" fmla="*/ 86 h 669"/>
                <a:gd name="T56" fmla="*/ 405 w 867"/>
                <a:gd name="T57" fmla="*/ 93 h 669"/>
                <a:gd name="T58" fmla="*/ 386 w 867"/>
                <a:gd name="T59" fmla="*/ 117 h 669"/>
                <a:gd name="T60" fmla="*/ 433 w 867"/>
                <a:gd name="T61" fmla="*/ 175 h 669"/>
                <a:gd name="T62" fmla="*/ 472 w 867"/>
                <a:gd name="T63" fmla="*/ 150 h 669"/>
                <a:gd name="T64" fmla="*/ 508 w 867"/>
                <a:gd name="T65" fmla="*/ 120 h 669"/>
                <a:gd name="T66" fmla="*/ 542 w 867"/>
                <a:gd name="T67" fmla="*/ 130 h 669"/>
                <a:gd name="T68" fmla="*/ 591 w 867"/>
                <a:gd name="T69" fmla="*/ 113 h 669"/>
                <a:gd name="T70" fmla="*/ 630 w 867"/>
                <a:gd name="T71" fmla="*/ 112 h 669"/>
                <a:gd name="T72" fmla="*/ 668 w 867"/>
                <a:gd name="T73" fmla="*/ 109 h 669"/>
                <a:gd name="T74" fmla="*/ 749 w 867"/>
                <a:gd name="T75" fmla="*/ 130 h 669"/>
                <a:gd name="T76" fmla="*/ 794 w 867"/>
                <a:gd name="T77" fmla="*/ 183 h 669"/>
                <a:gd name="T78" fmla="*/ 824 w 867"/>
                <a:gd name="T79" fmla="*/ 256 h 669"/>
                <a:gd name="T80" fmla="*/ 859 w 867"/>
                <a:gd name="T81" fmla="*/ 289 h 669"/>
                <a:gd name="T82" fmla="*/ 830 w 867"/>
                <a:gd name="T83" fmla="*/ 314 h 669"/>
                <a:gd name="T84" fmla="*/ 860 w 867"/>
                <a:gd name="T85" fmla="*/ 359 h 669"/>
                <a:gd name="T86" fmla="*/ 846 w 867"/>
                <a:gd name="T87" fmla="*/ 389 h 669"/>
                <a:gd name="T88" fmla="*/ 863 w 867"/>
                <a:gd name="T89" fmla="*/ 417 h 669"/>
                <a:gd name="T90" fmla="*/ 819 w 867"/>
                <a:gd name="T91" fmla="*/ 418 h 669"/>
                <a:gd name="T92" fmla="*/ 803 w 867"/>
                <a:gd name="T93" fmla="*/ 430 h 669"/>
                <a:gd name="T94" fmla="*/ 806 w 867"/>
                <a:gd name="T95" fmla="*/ 483 h 669"/>
                <a:gd name="T96" fmla="*/ 764 w 867"/>
                <a:gd name="T97" fmla="*/ 501 h 669"/>
                <a:gd name="T98" fmla="*/ 688 w 867"/>
                <a:gd name="T99" fmla="*/ 526 h 669"/>
                <a:gd name="T100" fmla="*/ 653 w 867"/>
                <a:gd name="T101" fmla="*/ 557 h 669"/>
                <a:gd name="T102" fmla="*/ 607 w 867"/>
                <a:gd name="T103" fmla="*/ 553 h 669"/>
                <a:gd name="T104" fmla="*/ 565 w 867"/>
                <a:gd name="T105" fmla="*/ 567 h 669"/>
                <a:gd name="T106" fmla="*/ 532 w 867"/>
                <a:gd name="T107" fmla="*/ 573 h 669"/>
                <a:gd name="T108" fmla="*/ 512 w 867"/>
                <a:gd name="T109" fmla="*/ 583 h 669"/>
                <a:gd name="T110" fmla="*/ 492 w 867"/>
                <a:gd name="T111" fmla="*/ 587 h 669"/>
                <a:gd name="T112" fmla="*/ 499 w 867"/>
                <a:gd name="T113" fmla="*/ 603 h 669"/>
                <a:gd name="T114" fmla="*/ 517 w 867"/>
                <a:gd name="T115" fmla="*/ 669 h 669"/>
                <a:gd name="T116" fmla="*/ 137 w 867"/>
                <a:gd name="T117" fmla="*/ 491 h 669"/>
                <a:gd name="T118" fmla="*/ 143 w 867"/>
                <a:gd name="T119" fmla="*/ 490 h 669"/>
                <a:gd name="T120" fmla="*/ 136 w 867"/>
                <a:gd name="T121" fmla="*/ 488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7" h="669">
                  <a:moveTo>
                    <a:pt x="486" y="667"/>
                  </a:moveTo>
                  <a:lnTo>
                    <a:pt x="479" y="657"/>
                  </a:lnTo>
                  <a:lnTo>
                    <a:pt x="476" y="634"/>
                  </a:lnTo>
                  <a:lnTo>
                    <a:pt x="454" y="613"/>
                  </a:lnTo>
                  <a:lnTo>
                    <a:pt x="439" y="601"/>
                  </a:lnTo>
                  <a:lnTo>
                    <a:pt x="428" y="590"/>
                  </a:lnTo>
                  <a:lnTo>
                    <a:pt x="419" y="587"/>
                  </a:lnTo>
                  <a:lnTo>
                    <a:pt x="409" y="586"/>
                  </a:lnTo>
                  <a:lnTo>
                    <a:pt x="401" y="587"/>
                  </a:lnTo>
                  <a:lnTo>
                    <a:pt x="396" y="594"/>
                  </a:lnTo>
                  <a:lnTo>
                    <a:pt x="393" y="596"/>
                  </a:lnTo>
                  <a:lnTo>
                    <a:pt x="391" y="597"/>
                  </a:lnTo>
                  <a:lnTo>
                    <a:pt x="385" y="599"/>
                  </a:lnTo>
                  <a:lnTo>
                    <a:pt x="376" y="597"/>
                  </a:lnTo>
                  <a:lnTo>
                    <a:pt x="370" y="597"/>
                  </a:lnTo>
                  <a:lnTo>
                    <a:pt x="363" y="593"/>
                  </a:lnTo>
                  <a:lnTo>
                    <a:pt x="358" y="591"/>
                  </a:lnTo>
                  <a:lnTo>
                    <a:pt x="356" y="593"/>
                  </a:lnTo>
                  <a:lnTo>
                    <a:pt x="355" y="596"/>
                  </a:lnTo>
                  <a:lnTo>
                    <a:pt x="353" y="603"/>
                  </a:lnTo>
                  <a:lnTo>
                    <a:pt x="349" y="609"/>
                  </a:lnTo>
                  <a:lnTo>
                    <a:pt x="348" y="613"/>
                  </a:lnTo>
                  <a:lnTo>
                    <a:pt x="343" y="614"/>
                  </a:lnTo>
                  <a:lnTo>
                    <a:pt x="330" y="613"/>
                  </a:lnTo>
                  <a:lnTo>
                    <a:pt x="323" y="611"/>
                  </a:lnTo>
                  <a:lnTo>
                    <a:pt x="317" y="606"/>
                  </a:lnTo>
                  <a:lnTo>
                    <a:pt x="310" y="601"/>
                  </a:lnTo>
                  <a:lnTo>
                    <a:pt x="305" y="600"/>
                  </a:lnTo>
                  <a:lnTo>
                    <a:pt x="300" y="603"/>
                  </a:lnTo>
                  <a:lnTo>
                    <a:pt x="295" y="603"/>
                  </a:lnTo>
                  <a:lnTo>
                    <a:pt x="287" y="601"/>
                  </a:lnTo>
                  <a:lnTo>
                    <a:pt x="285" y="597"/>
                  </a:lnTo>
                  <a:lnTo>
                    <a:pt x="280" y="590"/>
                  </a:lnTo>
                  <a:lnTo>
                    <a:pt x="274" y="590"/>
                  </a:lnTo>
                  <a:lnTo>
                    <a:pt x="270" y="591"/>
                  </a:lnTo>
                  <a:lnTo>
                    <a:pt x="266" y="587"/>
                  </a:lnTo>
                  <a:lnTo>
                    <a:pt x="262" y="586"/>
                  </a:lnTo>
                  <a:lnTo>
                    <a:pt x="259" y="584"/>
                  </a:lnTo>
                  <a:lnTo>
                    <a:pt x="247" y="586"/>
                  </a:lnTo>
                  <a:lnTo>
                    <a:pt x="237" y="586"/>
                  </a:lnTo>
                  <a:lnTo>
                    <a:pt x="230" y="584"/>
                  </a:lnTo>
                  <a:lnTo>
                    <a:pt x="226" y="580"/>
                  </a:lnTo>
                  <a:lnTo>
                    <a:pt x="226" y="574"/>
                  </a:lnTo>
                  <a:lnTo>
                    <a:pt x="229" y="564"/>
                  </a:lnTo>
                  <a:lnTo>
                    <a:pt x="230" y="557"/>
                  </a:lnTo>
                  <a:lnTo>
                    <a:pt x="227" y="548"/>
                  </a:lnTo>
                  <a:lnTo>
                    <a:pt x="217" y="544"/>
                  </a:lnTo>
                  <a:lnTo>
                    <a:pt x="211" y="543"/>
                  </a:lnTo>
                  <a:lnTo>
                    <a:pt x="197" y="544"/>
                  </a:lnTo>
                  <a:lnTo>
                    <a:pt x="190" y="540"/>
                  </a:lnTo>
                  <a:lnTo>
                    <a:pt x="196" y="536"/>
                  </a:lnTo>
                  <a:lnTo>
                    <a:pt x="201" y="526"/>
                  </a:lnTo>
                  <a:lnTo>
                    <a:pt x="203" y="520"/>
                  </a:lnTo>
                  <a:lnTo>
                    <a:pt x="209" y="511"/>
                  </a:lnTo>
                  <a:lnTo>
                    <a:pt x="210" y="506"/>
                  </a:lnTo>
                  <a:lnTo>
                    <a:pt x="210" y="500"/>
                  </a:lnTo>
                  <a:lnTo>
                    <a:pt x="206" y="500"/>
                  </a:lnTo>
                  <a:lnTo>
                    <a:pt x="201" y="498"/>
                  </a:lnTo>
                  <a:lnTo>
                    <a:pt x="200" y="498"/>
                  </a:lnTo>
                  <a:lnTo>
                    <a:pt x="196" y="495"/>
                  </a:lnTo>
                  <a:lnTo>
                    <a:pt x="191" y="493"/>
                  </a:lnTo>
                  <a:lnTo>
                    <a:pt x="187" y="487"/>
                  </a:lnTo>
                  <a:lnTo>
                    <a:pt x="183" y="481"/>
                  </a:lnTo>
                  <a:lnTo>
                    <a:pt x="176" y="477"/>
                  </a:lnTo>
                  <a:lnTo>
                    <a:pt x="167" y="477"/>
                  </a:lnTo>
                  <a:lnTo>
                    <a:pt x="158" y="484"/>
                  </a:lnTo>
                  <a:lnTo>
                    <a:pt x="156" y="484"/>
                  </a:lnTo>
                  <a:lnTo>
                    <a:pt x="151" y="485"/>
                  </a:lnTo>
                  <a:lnTo>
                    <a:pt x="151" y="485"/>
                  </a:lnTo>
                  <a:lnTo>
                    <a:pt x="141" y="485"/>
                  </a:lnTo>
                  <a:lnTo>
                    <a:pt x="136" y="485"/>
                  </a:lnTo>
                  <a:lnTo>
                    <a:pt x="134" y="485"/>
                  </a:lnTo>
                  <a:lnTo>
                    <a:pt x="134" y="488"/>
                  </a:lnTo>
                  <a:lnTo>
                    <a:pt x="134" y="488"/>
                  </a:lnTo>
                  <a:lnTo>
                    <a:pt x="136" y="493"/>
                  </a:lnTo>
                  <a:lnTo>
                    <a:pt x="140" y="500"/>
                  </a:lnTo>
                  <a:lnTo>
                    <a:pt x="141" y="501"/>
                  </a:lnTo>
                  <a:lnTo>
                    <a:pt x="141" y="506"/>
                  </a:lnTo>
                  <a:lnTo>
                    <a:pt x="140" y="511"/>
                  </a:lnTo>
                  <a:lnTo>
                    <a:pt x="136" y="517"/>
                  </a:lnTo>
                  <a:lnTo>
                    <a:pt x="123" y="526"/>
                  </a:lnTo>
                  <a:lnTo>
                    <a:pt x="114" y="530"/>
                  </a:lnTo>
                  <a:lnTo>
                    <a:pt x="107" y="528"/>
                  </a:lnTo>
                  <a:lnTo>
                    <a:pt x="103" y="528"/>
                  </a:lnTo>
                  <a:lnTo>
                    <a:pt x="97" y="531"/>
                  </a:lnTo>
                  <a:lnTo>
                    <a:pt x="93" y="531"/>
                  </a:lnTo>
                  <a:lnTo>
                    <a:pt x="90" y="526"/>
                  </a:lnTo>
                  <a:lnTo>
                    <a:pt x="87" y="524"/>
                  </a:lnTo>
                  <a:lnTo>
                    <a:pt x="83" y="528"/>
                  </a:lnTo>
                  <a:lnTo>
                    <a:pt x="83" y="533"/>
                  </a:lnTo>
                  <a:lnTo>
                    <a:pt x="80" y="537"/>
                  </a:lnTo>
                  <a:lnTo>
                    <a:pt x="77" y="537"/>
                  </a:lnTo>
                  <a:lnTo>
                    <a:pt x="77" y="528"/>
                  </a:lnTo>
                  <a:lnTo>
                    <a:pt x="73" y="485"/>
                  </a:lnTo>
                  <a:lnTo>
                    <a:pt x="67" y="435"/>
                  </a:lnTo>
                  <a:lnTo>
                    <a:pt x="58" y="348"/>
                  </a:lnTo>
                  <a:lnTo>
                    <a:pt x="57" y="338"/>
                  </a:lnTo>
                  <a:lnTo>
                    <a:pt x="45" y="275"/>
                  </a:lnTo>
                  <a:lnTo>
                    <a:pt x="35" y="216"/>
                  </a:lnTo>
                  <a:lnTo>
                    <a:pt x="34" y="210"/>
                  </a:lnTo>
                  <a:lnTo>
                    <a:pt x="34" y="206"/>
                  </a:lnTo>
                  <a:lnTo>
                    <a:pt x="24" y="157"/>
                  </a:lnTo>
                  <a:lnTo>
                    <a:pt x="20" y="139"/>
                  </a:lnTo>
                  <a:lnTo>
                    <a:pt x="15" y="116"/>
                  </a:lnTo>
                  <a:lnTo>
                    <a:pt x="8" y="87"/>
                  </a:lnTo>
                  <a:lnTo>
                    <a:pt x="2" y="70"/>
                  </a:lnTo>
                  <a:lnTo>
                    <a:pt x="0" y="62"/>
                  </a:lnTo>
                  <a:lnTo>
                    <a:pt x="2" y="70"/>
                  </a:lnTo>
                  <a:lnTo>
                    <a:pt x="14" y="67"/>
                  </a:lnTo>
                  <a:lnTo>
                    <a:pt x="15" y="63"/>
                  </a:lnTo>
                  <a:lnTo>
                    <a:pt x="15" y="57"/>
                  </a:lnTo>
                  <a:lnTo>
                    <a:pt x="21" y="57"/>
                  </a:lnTo>
                  <a:lnTo>
                    <a:pt x="27" y="59"/>
                  </a:lnTo>
                  <a:lnTo>
                    <a:pt x="27" y="60"/>
                  </a:lnTo>
                  <a:lnTo>
                    <a:pt x="28" y="59"/>
                  </a:lnTo>
                  <a:lnTo>
                    <a:pt x="30" y="56"/>
                  </a:lnTo>
                  <a:lnTo>
                    <a:pt x="30" y="51"/>
                  </a:lnTo>
                  <a:lnTo>
                    <a:pt x="28" y="49"/>
                  </a:lnTo>
                  <a:lnTo>
                    <a:pt x="22" y="46"/>
                  </a:lnTo>
                  <a:lnTo>
                    <a:pt x="18" y="44"/>
                  </a:lnTo>
                  <a:lnTo>
                    <a:pt x="18" y="41"/>
                  </a:lnTo>
                  <a:lnTo>
                    <a:pt x="20" y="39"/>
                  </a:lnTo>
                  <a:lnTo>
                    <a:pt x="28" y="34"/>
                  </a:lnTo>
                  <a:lnTo>
                    <a:pt x="30" y="37"/>
                  </a:lnTo>
                  <a:lnTo>
                    <a:pt x="40" y="41"/>
                  </a:lnTo>
                  <a:lnTo>
                    <a:pt x="44" y="41"/>
                  </a:lnTo>
                  <a:lnTo>
                    <a:pt x="48" y="34"/>
                  </a:lnTo>
                  <a:lnTo>
                    <a:pt x="53" y="37"/>
                  </a:lnTo>
                  <a:lnTo>
                    <a:pt x="50" y="56"/>
                  </a:lnTo>
                  <a:lnTo>
                    <a:pt x="51" y="60"/>
                  </a:lnTo>
                  <a:lnTo>
                    <a:pt x="54" y="63"/>
                  </a:lnTo>
                  <a:lnTo>
                    <a:pt x="58" y="63"/>
                  </a:lnTo>
                  <a:lnTo>
                    <a:pt x="64" y="60"/>
                  </a:lnTo>
                  <a:lnTo>
                    <a:pt x="71" y="62"/>
                  </a:lnTo>
                  <a:lnTo>
                    <a:pt x="75" y="66"/>
                  </a:lnTo>
                  <a:lnTo>
                    <a:pt x="83" y="69"/>
                  </a:lnTo>
                  <a:lnTo>
                    <a:pt x="84" y="69"/>
                  </a:lnTo>
                  <a:lnTo>
                    <a:pt x="87" y="66"/>
                  </a:lnTo>
                  <a:lnTo>
                    <a:pt x="87" y="64"/>
                  </a:lnTo>
                  <a:lnTo>
                    <a:pt x="88" y="57"/>
                  </a:lnTo>
                  <a:lnTo>
                    <a:pt x="88" y="50"/>
                  </a:lnTo>
                  <a:lnTo>
                    <a:pt x="90" y="47"/>
                  </a:lnTo>
                  <a:lnTo>
                    <a:pt x="91" y="44"/>
                  </a:lnTo>
                  <a:lnTo>
                    <a:pt x="94" y="46"/>
                  </a:lnTo>
                  <a:lnTo>
                    <a:pt x="97" y="46"/>
                  </a:lnTo>
                  <a:lnTo>
                    <a:pt x="98" y="49"/>
                  </a:lnTo>
                  <a:lnTo>
                    <a:pt x="98" y="50"/>
                  </a:lnTo>
                  <a:lnTo>
                    <a:pt x="101" y="50"/>
                  </a:lnTo>
                  <a:lnTo>
                    <a:pt x="105" y="50"/>
                  </a:lnTo>
                  <a:lnTo>
                    <a:pt x="110" y="49"/>
                  </a:lnTo>
                  <a:lnTo>
                    <a:pt x="118" y="50"/>
                  </a:lnTo>
                  <a:lnTo>
                    <a:pt x="123" y="50"/>
                  </a:lnTo>
                  <a:lnTo>
                    <a:pt x="127" y="54"/>
                  </a:lnTo>
                  <a:lnTo>
                    <a:pt x="127" y="56"/>
                  </a:lnTo>
                  <a:lnTo>
                    <a:pt x="130" y="57"/>
                  </a:lnTo>
                  <a:lnTo>
                    <a:pt x="131" y="54"/>
                  </a:lnTo>
                  <a:lnTo>
                    <a:pt x="133" y="51"/>
                  </a:lnTo>
                  <a:lnTo>
                    <a:pt x="138" y="50"/>
                  </a:lnTo>
                  <a:lnTo>
                    <a:pt x="140" y="51"/>
                  </a:lnTo>
                  <a:lnTo>
                    <a:pt x="141" y="54"/>
                  </a:lnTo>
                  <a:lnTo>
                    <a:pt x="144" y="57"/>
                  </a:lnTo>
                  <a:lnTo>
                    <a:pt x="150" y="59"/>
                  </a:lnTo>
                  <a:lnTo>
                    <a:pt x="153" y="59"/>
                  </a:lnTo>
                  <a:lnTo>
                    <a:pt x="156" y="57"/>
                  </a:lnTo>
                  <a:lnTo>
                    <a:pt x="157" y="56"/>
                  </a:lnTo>
                  <a:lnTo>
                    <a:pt x="158" y="56"/>
                  </a:lnTo>
                  <a:lnTo>
                    <a:pt x="161" y="59"/>
                  </a:lnTo>
                  <a:lnTo>
                    <a:pt x="164" y="62"/>
                  </a:lnTo>
                  <a:lnTo>
                    <a:pt x="173" y="62"/>
                  </a:lnTo>
                  <a:lnTo>
                    <a:pt x="183" y="63"/>
                  </a:lnTo>
                  <a:lnTo>
                    <a:pt x="187" y="59"/>
                  </a:lnTo>
                  <a:lnTo>
                    <a:pt x="194" y="51"/>
                  </a:lnTo>
                  <a:lnTo>
                    <a:pt x="200" y="50"/>
                  </a:lnTo>
                  <a:lnTo>
                    <a:pt x="201" y="50"/>
                  </a:lnTo>
                  <a:lnTo>
                    <a:pt x="204" y="51"/>
                  </a:lnTo>
                  <a:lnTo>
                    <a:pt x="206" y="53"/>
                  </a:lnTo>
                  <a:lnTo>
                    <a:pt x="213" y="53"/>
                  </a:lnTo>
                  <a:lnTo>
                    <a:pt x="216" y="50"/>
                  </a:lnTo>
                  <a:lnTo>
                    <a:pt x="214" y="41"/>
                  </a:lnTo>
                  <a:lnTo>
                    <a:pt x="226" y="40"/>
                  </a:lnTo>
                  <a:lnTo>
                    <a:pt x="239" y="36"/>
                  </a:lnTo>
                  <a:lnTo>
                    <a:pt x="243" y="33"/>
                  </a:lnTo>
                  <a:lnTo>
                    <a:pt x="243" y="31"/>
                  </a:lnTo>
                  <a:lnTo>
                    <a:pt x="243" y="27"/>
                  </a:lnTo>
                  <a:lnTo>
                    <a:pt x="244" y="27"/>
                  </a:lnTo>
                  <a:lnTo>
                    <a:pt x="253" y="24"/>
                  </a:lnTo>
                  <a:lnTo>
                    <a:pt x="257" y="23"/>
                  </a:lnTo>
                  <a:lnTo>
                    <a:pt x="259" y="29"/>
                  </a:lnTo>
                  <a:lnTo>
                    <a:pt x="262" y="31"/>
                  </a:lnTo>
                  <a:lnTo>
                    <a:pt x="269" y="29"/>
                  </a:lnTo>
                  <a:lnTo>
                    <a:pt x="276" y="27"/>
                  </a:lnTo>
                  <a:lnTo>
                    <a:pt x="280" y="26"/>
                  </a:lnTo>
                  <a:lnTo>
                    <a:pt x="283" y="27"/>
                  </a:lnTo>
                  <a:lnTo>
                    <a:pt x="287" y="31"/>
                  </a:lnTo>
                  <a:lnTo>
                    <a:pt x="290" y="33"/>
                  </a:lnTo>
                  <a:lnTo>
                    <a:pt x="302" y="26"/>
                  </a:lnTo>
                  <a:lnTo>
                    <a:pt x="302" y="24"/>
                  </a:lnTo>
                  <a:lnTo>
                    <a:pt x="302" y="24"/>
                  </a:lnTo>
                  <a:lnTo>
                    <a:pt x="297" y="23"/>
                  </a:lnTo>
                  <a:lnTo>
                    <a:pt x="295" y="23"/>
                  </a:lnTo>
                  <a:lnTo>
                    <a:pt x="293" y="21"/>
                  </a:lnTo>
                  <a:lnTo>
                    <a:pt x="293" y="19"/>
                  </a:lnTo>
                  <a:lnTo>
                    <a:pt x="296" y="17"/>
                  </a:lnTo>
                  <a:lnTo>
                    <a:pt x="300" y="17"/>
                  </a:lnTo>
                  <a:lnTo>
                    <a:pt x="306" y="19"/>
                  </a:lnTo>
                  <a:lnTo>
                    <a:pt x="309" y="19"/>
                  </a:lnTo>
                  <a:lnTo>
                    <a:pt x="315" y="16"/>
                  </a:lnTo>
                  <a:lnTo>
                    <a:pt x="327" y="10"/>
                  </a:lnTo>
                  <a:lnTo>
                    <a:pt x="327" y="6"/>
                  </a:lnTo>
                  <a:lnTo>
                    <a:pt x="326" y="1"/>
                  </a:lnTo>
                  <a:lnTo>
                    <a:pt x="327" y="0"/>
                  </a:lnTo>
                  <a:lnTo>
                    <a:pt x="333" y="0"/>
                  </a:lnTo>
                  <a:lnTo>
                    <a:pt x="336" y="0"/>
                  </a:lnTo>
                  <a:lnTo>
                    <a:pt x="340" y="3"/>
                  </a:lnTo>
                  <a:lnTo>
                    <a:pt x="339" y="9"/>
                  </a:lnTo>
                  <a:lnTo>
                    <a:pt x="342" y="26"/>
                  </a:lnTo>
                  <a:lnTo>
                    <a:pt x="348" y="43"/>
                  </a:lnTo>
                  <a:lnTo>
                    <a:pt x="359" y="53"/>
                  </a:lnTo>
                  <a:lnTo>
                    <a:pt x="376" y="67"/>
                  </a:lnTo>
                  <a:lnTo>
                    <a:pt x="383" y="73"/>
                  </a:lnTo>
                  <a:lnTo>
                    <a:pt x="382" y="76"/>
                  </a:lnTo>
                  <a:lnTo>
                    <a:pt x="379" y="79"/>
                  </a:lnTo>
                  <a:lnTo>
                    <a:pt x="378" y="82"/>
                  </a:lnTo>
                  <a:lnTo>
                    <a:pt x="379" y="86"/>
                  </a:lnTo>
                  <a:lnTo>
                    <a:pt x="382" y="87"/>
                  </a:lnTo>
                  <a:lnTo>
                    <a:pt x="388" y="86"/>
                  </a:lnTo>
                  <a:lnTo>
                    <a:pt x="389" y="83"/>
                  </a:lnTo>
                  <a:lnTo>
                    <a:pt x="393" y="83"/>
                  </a:lnTo>
                  <a:lnTo>
                    <a:pt x="393" y="87"/>
                  </a:lnTo>
                  <a:lnTo>
                    <a:pt x="399" y="90"/>
                  </a:lnTo>
                  <a:lnTo>
                    <a:pt x="403" y="92"/>
                  </a:lnTo>
                  <a:lnTo>
                    <a:pt x="405" y="93"/>
                  </a:lnTo>
                  <a:lnTo>
                    <a:pt x="405" y="96"/>
                  </a:lnTo>
                  <a:lnTo>
                    <a:pt x="402" y="97"/>
                  </a:lnTo>
                  <a:lnTo>
                    <a:pt x="399" y="100"/>
                  </a:lnTo>
                  <a:lnTo>
                    <a:pt x="395" y="103"/>
                  </a:lnTo>
                  <a:lnTo>
                    <a:pt x="392" y="103"/>
                  </a:lnTo>
                  <a:lnTo>
                    <a:pt x="388" y="107"/>
                  </a:lnTo>
                  <a:lnTo>
                    <a:pt x="386" y="112"/>
                  </a:lnTo>
                  <a:lnTo>
                    <a:pt x="386" y="117"/>
                  </a:lnTo>
                  <a:lnTo>
                    <a:pt x="386" y="126"/>
                  </a:lnTo>
                  <a:lnTo>
                    <a:pt x="388" y="126"/>
                  </a:lnTo>
                  <a:lnTo>
                    <a:pt x="396" y="127"/>
                  </a:lnTo>
                  <a:lnTo>
                    <a:pt x="405" y="132"/>
                  </a:lnTo>
                  <a:lnTo>
                    <a:pt x="419" y="149"/>
                  </a:lnTo>
                  <a:lnTo>
                    <a:pt x="429" y="163"/>
                  </a:lnTo>
                  <a:lnTo>
                    <a:pt x="431" y="170"/>
                  </a:lnTo>
                  <a:lnTo>
                    <a:pt x="433" y="175"/>
                  </a:lnTo>
                  <a:lnTo>
                    <a:pt x="438" y="179"/>
                  </a:lnTo>
                  <a:lnTo>
                    <a:pt x="452" y="178"/>
                  </a:lnTo>
                  <a:lnTo>
                    <a:pt x="451" y="170"/>
                  </a:lnTo>
                  <a:lnTo>
                    <a:pt x="458" y="168"/>
                  </a:lnTo>
                  <a:lnTo>
                    <a:pt x="461" y="166"/>
                  </a:lnTo>
                  <a:lnTo>
                    <a:pt x="468" y="162"/>
                  </a:lnTo>
                  <a:lnTo>
                    <a:pt x="471" y="153"/>
                  </a:lnTo>
                  <a:lnTo>
                    <a:pt x="472" y="150"/>
                  </a:lnTo>
                  <a:lnTo>
                    <a:pt x="478" y="147"/>
                  </a:lnTo>
                  <a:lnTo>
                    <a:pt x="478" y="146"/>
                  </a:lnTo>
                  <a:lnTo>
                    <a:pt x="476" y="143"/>
                  </a:lnTo>
                  <a:lnTo>
                    <a:pt x="475" y="140"/>
                  </a:lnTo>
                  <a:lnTo>
                    <a:pt x="475" y="137"/>
                  </a:lnTo>
                  <a:lnTo>
                    <a:pt x="478" y="136"/>
                  </a:lnTo>
                  <a:lnTo>
                    <a:pt x="484" y="133"/>
                  </a:lnTo>
                  <a:lnTo>
                    <a:pt x="508" y="120"/>
                  </a:lnTo>
                  <a:lnTo>
                    <a:pt x="522" y="115"/>
                  </a:lnTo>
                  <a:lnTo>
                    <a:pt x="525" y="110"/>
                  </a:lnTo>
                  <a:lnTo>
                    <a:pt x="535" y="107"/>
                  </a:lnTo>
                  <a:lnTo>
                    <a:pt x="538" y="109"/>
                  </a:lnTo>
                  <a:lnTo>
                    <a:pt x="541" y="113"/>
                  </a:lnTo>
                  <a:lnTo>
                    <a:pt x="541" y="119"/>
                  </a:lnTo>
                  <a:lnTo>
                    <a:pt x="541" y="125"/>
                  </a:lnTo>
                  <a:lnTo>
                    <a:pt x="542" y="130"/>
                  </a:lnTo>
                  <a:lnTo>
                    <a:pt x="545" y="133"/>
                  </a:lnTo>
                  <a:lnTo>
                    <a:pt x="551" y="130"/>
                  </a:lnTo>
                  <a:lnTo>
                    <a:pt x="557" y="129"/>
                  </a:lnTo>
                  <a:lnTo>
                    <a:pt x="560" y="116"/>
                  </a:lnTo>
                  <a:lnTo>
                    <a:pt x="564" y="109"/>
                  </a:lnTo>
                  <a:lnTo>
                    <a:pt x="571" y="109"/>
                  </a:lnTo>
                  <a:lnTo>
                    <a:pt x="581" y="113"/>
                  </a:lnTo>
                  <a:lnTo>
                    <a:pt x="591" y="113"/>
                  </a:lnTo>
                  <a:lnTo>
                    <a:pt x="595" y="115"/>
                  </a:lnTo>
                  <a:lnTo>
                    <a:pt x="595" y="116"/>
                  </a:lnTo>
                  <a:lnTo>
                    <a:pt x="595" y="120"/>
                  </a:lnTo>
                  <a:lnTo>
                    <a:pt x="598" y="122"/>
                  </a:lnTo>
                  <a:lnTo>
                    <a:pt x="602" y="122"/>
                  </a:lnTo>
                  <a:lnTo>
                    <a:pt x="617" y="116"/>
                  </a:lnTo>
                  <a:lnTo>
                    <a:pt x="625" y="113"/>
                  </a:lnTo>
                  <a:lnTo>
                    <a:pt x="630" y="112"/>
                  </a:lnTo>
                  <a:lnTo>
                    <a:pt x="637" y="113"/>
                  </a:lnTo>
                  <a:lnTo>
                    <a:pt x="645" y="119"/>
                  </a:lnTo>
                  <a:lnTo>
                    <a:pt x="653" y="122"/>
                  </a:lnTo>
                  <a:lnTo>
                    <a:pt x="655" y="122"/>
                  </a:lnTo>
                  <a:lnTo>
                    <a:pt x="663" y="120"/>
                  </a:lnTo>
                  <a:lnTo>
                    <a:pt x="664" y="117"/>
                  </a:lnTo>
                  <a:lnTo>
                    <a:pt x="665" y="113"/>
                  </a:lnTo>
                  <a:lnTo>
                    <a:pt x="668" y="109"/>
                  </a:lnTo>
                  <a:lnTo>
                    <a:pt x="673" y="106"/>
                  </a:lnTo>
                  <a:lnTo>
                    <a:pt x="683" y="103"/>
                  </a:lnTo>
                  <a:lnTo>
                    <a:pt x="713" y="96"/>
                  </a:lnTo>
                  <a:lnTo>
                    <a:pt x="721" y="93"/>
                  </a:lnTo>
                  <a:lnTo>
                    <a:pt x="731" y="93"/>
                  </a:lnTo>
                  <a:lnTo>
                    <a:pt x="739" y="116"/>
                  </a:lnTo>
                  <a:lnTo>
                    <a:pt x="746" y="123"/>
                  </a:lnTo>
                  <a:lnTo>
                    <a:pt x="749" y="130"/>
                  </a:lnTo>
                  <a:lnTo>
                    <a:pt x="749" y="133"/>
                  </a:lnTo>
                  <a:lnTo>
                    <a:pt x="754" y="136"/>
                  </a:lnTo>
                  <a:lnTo>
                    <a:pt x="767" y="139"/>
                  </a:lnTo>
                  <a:lnTo>
                    <a:pt x="767" y="147"/>
                  </a:lnTo>
                  <a:lnTo>
                    <a:pt x="773" y="152"/>
                  </a:lnTo>
                  <a:lnTo>
                    <a:pt x="789" y="165"/>
                  </a:lnTo>
                  <a:lnTo>
                    <a:pt x="794" y="175"/>
                  </a:lnTo>
                  <a:lnTo>
                    <a:pt x="794" y="183"/>
                  </a:lnTo>
                  <a:lnTo>
                    <a:pt x="796" y="188"/>
                  </a:lnTo>
                  <a:lnTo>
                    <a:pt x="800" y="195"/>
                  </a:lnTo>
                  <a:lnTo>
                    <a:pt x="807" y="202"/>
                  </a:lnTo>
                  <a:lnTo>
                    <a:pt x="807" y="212"/>
                  </a:lnTo>
                  <a:lnTo>
                    <a:pt x="813" y="215"/>
                  </a:lnTo>
                  <a:lnTo>
                    <a:pt x="817" y="225"/>
                  </a:lnTo>
                  <a:lnTo>
                    <a:pt x="819" y="248"/>
                  </a:lnTo>
                  <a:lnTo>
                    <a:pt x="824" y="256"/>
                  </a:lnTo>
                  <a:lnTo>
                    <a:pt x="829" y="268"/>
                  </a:lnTo>
                  <a:lnTo>
                    <a:pt x="842" y="273"/>
                  </a:lnTo>
                  <a:lnTo>
                    <a:pt x="852" y="279"/>
                  </a:lnTo>
                  <a:lnTo>
                    <a:pt x="862" y="279"/>
                  </a:lnTo>
                  <a:lnTo>
                    <a:pt x="867" y="281"/>
                  </a:lnTo>
                  <a:lnTo>
                    <a:pt x="867" y="285"/>
                  </a:lnTo>
                  <a:lnTo>
                    <a:pt x="863" y="286"/>
                  </a:lnTo>
                  <a:lnTo>
                    <a:pt x="859" y="289"/>
                  </a:lnTo>
                  <a:lnTo>
                    <a:pt x="859" y="294"/>
                  </a:lnTo>
                  <a:lnTo>
                    <a:pt x="863" y="294"/>
                  </a:lnTo>
                  <a:lnTo>
                    <a:pt x="863" y="298"/>
                  </a:lnTo>
                  <a:lnTo>
                    <a:pt x="862" y="301"/>
                  </a:lnTo>
                  <a:lnTo>
                    <a:pt x="857" y="304"/>
                  </a:lnTo>
                  <a:lnTo>
                    <a:pt x="849" y="308"/>
                  </a:lnTo>
                  <a:lnTo>
                    <a:pt x="836" y="311"/>
                  </a:lnTo>
                  <a:lnTo>
                    <a:pt x="830" y="314"/>
                  </a:lnTo>
                  <a:lnTo>
                    <a:pt x="830" y="315"/>
                  </a:lnTo>
                  <a:lnTo>
                    <a:pt x="832" y="318"/>
                  </a:lnTo>
                  <a:lnTo>
                    <a:pt x="834" y="322"/>
                  </a:lnTo>
                  <a:lnTo>
                    <a:pt x="837" y="334"/>
                  </a:lnTo>
                  <a:lnTo>
                    <a:pt x="845" y="338"/>
                  </a:lnTo>
                  <a:lnTo>
                    <a:pt x="849" y="349"/>
                  </a:lnTo>
                  <a:lnTo>
                    <a:pt x="857" y="355"/>
                  </a:lnTo>
                  <a:lnTo>
                    <a:pt x="860" y="359"/>
                  </a:lnTo>
                  <a:lnTo>
                    <a:pt x="859" y="365"/>
                  </a:lnTo>
                  <a:lnTo>
                    <a:pt x="859" y="367"/>
                  </a:lnTo>
                  <a:lnTo>
                    <a:pt x="857" y="371"/>
                  </a:lnTo>
                  <a:lnTo>
                    <a:pt x="857" y="375"/>
                  </a:lnTo>
                  <a:lnTo>
                    <a:pt x="855" y="382"/>
                  </a:lnTo>
                  <a:lnTo>
                    <a:pt x="852" y="385"/>
                  </a:lnTo>
                  <a:lnTo>
                    <a:pt x="849" y="388"/>
                  </a:lnTo>
                  <a:lnTo>
                    <a:pt x="846" y="389"/>
                  </a:lnTo>
                  <a:lnTo>
                    <a:pt x="846" y="392"/>
                  </a:lnTo>
                  <a:lnTo>
                    <a:pt x="846" y="398"/>
                  </a:lnTo>
                  <a:lnTo>
                    <a:pt x="847" y="400"/>
                  </a:lnTo>
                  <a:lnTo>
                    <a:pt x="850" y="404"/>
                  </a:lnTo>
                  <a:lnTo>
                    <a:pt x="856" y="410"/>
                  </a:lnTo>
                  <a:lnTo>
                    <a:pt x="860" y="410"/>
                  </a:lnTo>
                  <a:lnTo>
                    <a:pt x="863" y="412"/>
                  </a:lnTo>
                  <a:lnTo>
                    <a:pt x="863" y="417"/>
                  </a:lnTo>
                  <a:lnTo>
                    <a:pt x="862" y="420"/>
                  </a:lnTo>
                  <a:lnTo>
                    <a:pt x="862" y="420"/>
                  </a:lnTo>
                  <a:lnTo>
                    <a:pt x="846" y="417"/>
                  </a:lnTo>
                  <a:lnTo>
                    <a:pt x="843" y="417"/>
                  </a:lnTo>
                  <a:lnTo>
                    <a:pt x="837" y="417"/>
                  </a:lnTo>
                  <a:lnTo>
                    <a:pt x="833" y="417"/>
                  </a:lnTo>
                  <a:lnTo>
                    <a:pt x="822" y="414"/>
                  </a:lnTo>
                  <a:lnTo>
                    <a:pt x="819" y="418"/>
                  </a:lnTo>
                  <a:lnTo>
                    <a:pt x="817" y="428"/>
                  </a:lnTo>
                  <a:lnTo>
                    <a:pt x="817" y="434"/>
                  </a:lnTo>
                  <a:lnTo>
                    <a:pt x="814" y="434"/>
                  </a:lnTo>
                  <a:lnTo>
                    <a:pt x="810" y="434"/>
                  </a:lnTo>
                  <a:lnTo>
                    <a:pt x="809" y="430"/>
                  </a:lnTo>
                  <a:lnTo>
                    <a:pt x="806" y="425"/>
                  </a:lnTo>
                  <a:lnTo>
                    <a:pt x="803" y="425"/>
                  </a:lnTo>
                  <a:lnTo>
                    <a:pt x="803" y="430"/>
                  </a:lnTo>
                  <a:lnTo>
                    <a:pt x="802" y="441"/>
                  </a:lnTo>
                  <a:lnTo>
                    <a:pt x="803" y="450"/>
                  </a:lnTo>
                  <a:lnTo>
                    <a:pt x="810" y="460"/>
                  </a:lnTo>
                  <a:lnTo>
                    <a:pt x="814" y="468"/>
                  </a:lnTo>
                  <a:lnTo>
                    <a:pt x="816" y="474"/>
                  </a:lnTo>
                  <a:lnTo>
                    <a:pt x="813" y="481"/>
                  </a:lnTo>
                  <a:lnTo>
                    <a:pt x="809" y="480"/>
                  </a:lnTo>
                  <a:lnTo>
                    <a:pt x="806" y="483"/>
                  </a:lnTo>
                  <a:lnTo>
                    <a:pt x="806" y="488"/>
                  </a:lnTo>
                  <a:lnTo>
                    <a:pt x="806" y="493"/>
                  </a:lnTo>
                  <a:lnTo>
                    <a:pt x="803" y="497"/>
                  </a:lnTo>
                  <a:lnTo>
                    <a:pt x="799" y="500"/>
                  </a:lnTo>
                  <a:lnTo>
                    <a:pt x="793" y="495"/>
                  </a:lnTo>
                  <a:lnTo>
                    <a:pt x="779" y="488"/>
                  </a:lnTo>
                  <a:lnTo>
                    <a:pt x="776" y="490"/>
                  </a:lnTo>
                  <a:lnTo>
                    <a:pt x="764" y="501"/>
                  </a:lnTo>
                  <a:lnTo>
                    <a:pt x="741" y="494"/>
                  </a:lnTo>
                  <a:lnTo>
                    <a:pt x="737" y="484"/>
                  </a:lnTo>
                  <a:lnTo>
                    <a:pt x="716" y="480"/>
                  </a:lnTo>
                  <a:lnTo>
                    <a:pt x="714" y="483"/>
                  </a:lnTo>
                  <a:lnTo>
                    <a:pt x="697" y="481"/>
                  </a:lnTo>
                  <a:lnTo>
                    <a:pt x="707" y="495"/>
                  </a:lnTo>
                  <a:lnTo>
                    <a:pt x="691" y="520"/>
                  </a:lnTo>
                  <a:lnTo>
                    <a:pt x="688" y="526"/>
                  </a:lnTo>
                  <a:lnTo>
                    <a:pt x="683" y="531"/>
                  </a:lnTo>
                  <a:lnTo>
                    <a:pt x="674" y="534"/>
                  </a:lnTo>
                  <a:lnTo>
                    <a:pt x="671" y="537"/>
                  </a:lnTo>
                  <a:lnTo>
                    <a:pt x="667" y="536"/>
                  </a:lnTo>
                  <a:lnTo>
                    <a:pt x="658" y="548"/>
                  </a:lnTo>
                  <a:lnTo>
                    <a:pt x="658" y="554"/>
                  </a:lnTo>
                  <a:lnTo>
                    <a:pt x="657" y="557"/>
                  </a:lnTo>
                  <a:lnTo>
                    <a:pt x="653" y="557"/>
                  </a:lnTo>
                  <a:lnTo>
                    <a:pt x="650" y="556"/>
                  </a:lnTo>
                  <a:lnTo>
                    <a:pt x="635" y="551"/>
                  </a:lnTo>
                  <a:lnTo>
                    <a:pt x="633" y="554"/>
                  </a:lnTo>
                  <a:lnTo>
                    <a:pt x="630" y="557"/>
                  </a:lnTo>
                  <a:lnTo>
                    <a:pt x="624" y="554"/>
                  </a:lnTo>
                  <a:lnTo>
                    <a:pt x="617" y="553"/>
                  </a:lnTo>
                  <a:lnTo>
                    <a:pt x="612" y="553"/>
                  </a:lnTo>
                  <a:lnTo>
                    <a:pt x="607" y="553"/>
                  </a:lnTo>
                  <a:lnTo>
                    <a:pt x="602" y="556"/>
                  </a:lnTo>
                  <a:lnTo>
                    <a:pt x="600" y="560"/>
                  </a:lnTo>
                  <a:lnTo>
                    <a:pt x="598" y="563"/>
                  </a:lnTo>
                  <a:lnTo>
                    <a:pt x="594" y="561"/>
                  </a:lnTo>
                  <a:lnTo>
                    <a:pt x="588" y="557"/>
                  </a:lnTo>
                  <a:lnTo>
                    <a:pt x="584" y="557"/>
                  </a:lnTo>
                  <a:lnTo>
                    <a:pt x="577" y="558"/>
                  </a:lnTo>
                  <a:lnTo>
                    <a:pt x="565" y="567"/>
                  </a:lnTo>
                  <a:lnTo>
                    <a:pt x="560" y="570"/>
                  </a:lnTo>
                  <a:lnTo>
                    <a:pt x="552" y="570"/>
                  </a:lnTo>
                  <a:lnTo>
                    <a:pt x="548" y="573"/>
                  </a:lnTo>
                  <a:lnTo>
                    <a:pt x="541" y="576"/>
                  </a:lnTo>
                  <a:lnTo>
                    <a:pt x="538" y="577"/>
                  </a:lnTo>
                  <a:lnTo>
                    <a:pt x="534" y="576"/>
                  </a:lnTo>
                  <a:lnTo>
                    <a:pt x="532" y="573"/>
                  </a:lnTo>
                  <a:lnTo>
                    <a:pt x="532" y="573"/>
                  </a:lnTo>
                  <a:lnTo>
                    <a:pt x="531" y="573"/>
                  </a:lnTo>
                  <a:lnTo>
                    <a:pt x="528" y="573"/>
                  </a:lnTo>
                  <a:lnTo>
                    <a:pt x="525" y="573"/>
                  </a:lnTo>
                  <a:lnTo>
                    <a:pt x="521" y="573"/>
                  </a:lnTo>
                  <a:lnTo>
                    <a:pt x="515" y="573"/>
                  </a:lnTo>
                  <a:lnTo>
                    <a:pt x="512" y="576"/>
                  </a:lnTo>
                  <a:lnTo>
                    <a:pt x="512" y="579"/>
                  </a:lnTo>
                  <a:lnTo>
                    <a:pt x="512" y="583"/>
                  </a:lnTo>
                  <a:lnTo>
                    <a:pt x="511" y="587"/>
                  </a:lnTo>
                  <a:lnTo>
                    <a:pt x="508" y="594"/>
                  </a:lnTo>
                  <a:lnTo>
                    <a:pt x="505" y="597"/>
                  </a:lnTo>
                  <a:lnTo>
                    <a:pt x="502" y="597"/>
                  </a:lnTo>
                  <a:lnTo>
                    <a:pt x="501" y="593"/>
                  </a:lnTo>
                  <a:lnTo>
                    <a:pt x="499" y="586"/>
                  </a:lnTo>
                  <a:lnTo>
                    <a:pt x="496" y="584"/>
                  </a:lnTo>
                  <a:lnTo>
                    <a:pt x="492" y="587"/>
                  </a:lnTo>
                  <a:lnTo>
                    <a:pt x="489" y="590"/>
                  </a:lnTo>
                  <a:lnTo>
                    <a:pt x="488" y="596"/>
                  </a:lnTo>
                  <a:lnTo>
                    <a:pt x="488" y="600"/>
                  </a:lnTo>
                  <a:lnTo>
                    <a:pt x="488" y="603"/>
                  </a:lnTo>
                  <a:lnTo>
                    <a:pt x="489" y="603"/>
                  </a:lnTo>
                  <a:lnTo>
                    <a:pt x="489" y="603"/>
                  </a:lnTo>
                  <a:lnTo>
                    <a:pt x="494" y="603"/>
                  </a:lnTo>
                  <a:lnTo>
                    <a:pt x="499" y="603"/>
                  </a:lnTo>
                  <a:lnTo>
                    <a:pt x="509" y="617"/>
                  </a:lnTo>
                  <a:lnTo>
                    <a:pt x="515" y="616"/>
                  </a:lnTo>
                  <a:lnTo>
                    <a:pt x="534" y="627"/>
                  </a:lnTo>
                  <a:lnTo>
                    <a:pt x="528" y="640"/>
                  </a:lnTo>
                  <a:lnTo>
                    <a:pt x="544" y="650"/>
                  </a:lnTo>
                  <a:lnTo>
                    <a:pt x="538" y="654"/>
                  </a:lnTo>
                  <a:lnTo>
                    <a:pt x="525" y="666"/>
                  </a:lnTo>
                  <a:lnTo>
                    <a:pt x="517" y="669"/>
                  </a:lnTo>
                  <a:lnTo>
                    <a:pt x="512" y="667"/>
                  </a:lnTo>
                  <a:lnTo>
                    <a:pt x="495" y="666"/>
                  </a:lnTo>
                  <a:lnTo>
                    <a:pt x="486" y="667"/>
                  </a:lnTo>
                  <a:lnTo>
                    <a:pt x="486" y="667"/>
                  </a:lnTo>
                  <a:lnTo>
                    <a:pt x="486" y="667"/>
                  </a:lnTo>
                  <a:close/>
                  <a:moveTo>
                    <a:pt x="136" y="488"/>
                  </a:moveTo>
                  <a:lnTo>
                    <a:pt x="136" y="488"/>
                  </a:lnTo>
                  <a:lnTo>
                    <a:pt x="137" y="491"/>
                  </a:lnTo>
                  <a:lnTo>
                    <a:pt x="138" y="493"/>
                  </a:lnTo>
                  <a:lnTo>
                    <a:pt x="138" y="493"/>
                  </a:lnTo>
                  <a:lnTo>
                    <a:pt x="138" y="494"/>
                  </a:lnTo>
                  <a:lnTo>
                    <a:pt x="138" y="494"/>
                  </a:lnTo>
                  <a:lnTo>
                    <a:pt x="140" y="494"/>
                  </a:lnTo>
                  <a:lnTo>
                    <a:pt x="140" y="494"/>
                  </a:lnTo>
                  <a:lnTo>
                    <a:pt x="143" y="490"/>
                  </a:lnTo>
                  <a:lnTo>
                    <a:pt x="143" y="490"/>
                  </a:lnTo>
                  <a:lnTo>
                    <a:pt x="144" y="488"/>
                  </a:lnTo>
                  <a:lnTo>
                    <a:pt x="144" y="487"/>
                  </a:lnTo>
                  <a:lnTo>
                    <a:pt x="144" y="487"/>
                  </a:lnTo>
                  <a:lnTo>
                    <a:pt x="143" y="487"/>
                  </a:lnTo>
                  <a:lnTo>
                    <a:pt x="143" y="487"/>
                  </a:lnTo>
                  <a:lnTo>
                    <a:pt x="138" y="487"/>
                  </a:lnTo>
                  <a:lnTo>
                    <a:pt x="137" y="487"/>
                  </a:lnTo>
                  <a:lnTo>
                    <a:pt x="136" y="488"/>
                  </a:lnTo>
                  <a:lnTo>
                    <a:pt x="136" y="488"/>
                  </a:lnTo>
                  <a:close/>
                </a:path>
              </a:pathLst>
            </a:custGeom>
            <a:solidFill>
              <a:srgbClr val="DCDD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28" name="Freeform 175"/>
            <p:cNvSpPr>
              <a:spLocks noEditPoints="1"/>
            </p:cNvSpPr>
            <p:nvPr/>
          </p:nvSpPr>
          <p:spPr bwMode="auto">
            <a:xfrm>
              <a:off x="4302119" y="5022545"/>
              <a:ext cx="529976" cy="441850"/>
            </a:xfrm>
            <a:custGeom>
              <a:avLst/>
              <a:gdLst>
                <a:gd name="T0" fmla="*/ 409 w 867"/>
                <a:gd name="T1" fmla="*/ 586 h 669"/>
                <a:gd name="T2" fmla="*/ 363 w 867"/>
                <a:gd name="T3" fmla="*/ 593 h 669"/>
                <a:gd name="T4" fmla="*/ 330 w 867"/>
                <a:gd name="T5" fmla="*/ 613 h 669"/>
                <a:gd name="T6" fmla="*/ 285 w 867"/>
                <a:gd name="T7" fmla="*/ 597 h 669"/>
                <a:gd name="T8" fmla="*/ 237 w 867"/>
                <a:gd name="T9" fmla="*/ 586 h 669"/>
                <a:gd name="T10" fmla="*/ 211 w 867"/>
                <a:gd name="T11" fmla="*/ 543 h 669"/>
                <a:gd name="T12" fmla="*/ 210 w 867"/>
                <a:gd name="T13" fmla="*/ 500 h 669"/>
                <a:gd name="T14" fmla="*/ 176 w 867"/>
                <a:gd name="T15" fmla="*/ 477 h 669"/>
                <a:gd name="T16" fmla="*/ 134 w 867"/>
                <a:gd name="T17" fmla="*/ 485 h 669"/>
                <a:gd name="T18" fmla="*/ 136 w 867"/>
                <a:gd name="T19" fmla="*/ 517 h 669"/>
                <a:gd name="T20" fmla="*/ 87 w 867"/>
                <a:gd name="T21" fmla="*/ 524 h 669"/>
                <a:gd name="T22" fmla="*/ 58 w 867"/>
                <a:gd name="T23" fmla="*/ 348 h 669"/>
                <a:gd name="T24" fmla="*/ 15 w 867"/>
                <a:gd name="T25" fmla="*/ 116 h 669"/>
                <a:gd name="T26" fmla="*/ 21 w 867"/>
                <a:gd name="T27" fmla="*/ 57 h 669"/>
                <a:gd name="T28" fmla="*/ 18 w 867"/>
                <a:gd name="T29" fmla="*/ 44 h 669"/>
                <a:gd name="T30" fmla="*/ 53 w 867"/>
                <a:gd name="T31" fmla="*/ 37 h 669"/>
                <a:gd name="T32" fmla="*/ 83 w 867"/>
                <a:gd name="T33" fmla="*/ 69 h 669"/>
                <a:gd name="T34" fmla="*/ 94 w 867"/>
                <a:gd name="T35" fmla="*/ 46 h 669"/>
                <a:gd name="T36" fmla="*/ 123 w 867"/>
                <a:gd name="T37" fmla="*/ 50 h 669"/>
                <a:gd name="T38" fmla="*/ 141 w 867"/>
                <a:gd name="T39" fmla="*/ 54 h 669"/>
                <a:gd name="T40" fmla="*/ 164 w 867"/>
                <a:gd name="T41" fmla="*/ 62 h 669"/>
                <a:gd name="T42" fmla="*/ 206 w 867"/>
                <a:gd name="T43" fmla="*/ 53 h 669"/>
                <a:gd name="T44" fmla="*/ 243 w 867"/>
                <a:gd name="T45" fmla="*/ 27 h 669"/>
                <a:gd name="T46" fmla="*/ 280 w 867"/>
                <a:gd name="T47" fmla="*/ 26 h 669"/>
                <a:gd name="T48" fmla="*/ 295 w 867"/>
                <a:gd name="T49" fmla="*/ 23 h 669"/>
                <a:gd name="T50" fmla="*/ 327 w 867"/>
                <a:gd name="T51" fmla="*/ 10 h 669"/>
                <a:gd name="T52" fmla="*/ 342 w 867"/>
                <a:gd name="T53" fmla="*/ 26 h 669"/>
                <a:gd name="T54" fmla="*/ 379 w 867"/>
                <a:gd name="T55" fmla="*/ 86 h 669"/>
                <a:gd name="T56" fmla="*/ 405 w 867"/>
                <a:gd name="T57" fmla="*/ 93 h 669"/>
                <a:gd name="T58" fmla="*/ 386 w 867"/>
                <a:gd name="T59" fmla="*/ 117 h 669"/>
                <a:gd name="T60" fmla="*/ 433 w 867"/>
                <a:gd name="T61" fmla="*/ 175 h 669"/>
                <a:gd name="T62" fmla="*/ 472 w 867"/>
                <a:gd name="T63" fmla="*/ 150 h 669"/>
                <a:gd name="T64" fmla="*/ 508 w 867"/>
                <a:gd name="T65" fmla="*/ 120 h 669"/>
                <a:gd name="T66" fmla="*/ 542 w 867"/>
                <a:gd name="T67" fmla="*/ 130 h 669"/>
                <a:gd name="T68" fmla="*/ 591 w 867"/>
                <a:gd name="T69" fmla="*/ 113 h 669"/>
                <a:gd name="T70" fmla="*/ 630 w 867"/>
                <a:gd name="T71" fmla="*/ 112 h 669"/>
                <a:gd name="T72" fmla="*/ 668 w 867"/>
                <a:gd name="T73" fmla="*/ 109 h 669"/>
                <a:gd name="T74" fmla="*/ 749 w 867"/>
                <a:gd name="T75" fmla="*/ 130 h 669"/>
                <a:gd name="T76" fmla="*/ 794 w 867"/>
                <a:gd name="T77" fmla="*/ 183 h 669"/>
                <a:gd name="T78" fmla="*/ 824 w 867"/>
                <a:gd name="T79" fmla="*/ 256 h 669"/>
                <a:gd name="T80" fmla="*/ 859 w 867"/>
                <a:gd name="T81" fmla="*/ 289 h 669"/>
                <a:gd name="T82" fmla="*/ 830 w 867"/>
                <a:gd name="T83" fmla="*/ 314 h 669"/>
                <a:gd name="T84" fmla="*/ 860 w 867"/>
                <a:gd name="T85" fmla="*/ 359 h 669"/>
                <a:gd name="T86" fmla="*/ 846 w 867"/>
                <a:gd name="T87" fmla="*/ 389 h 669"/>
                <a:gd name="T88" fmla="*/ 863 w 867"/>
                <a:gd name="T89" fmla="*/ 417 h 669"/>
                <a:gd name="T90" fmla="*/ 819 w 867"/>
                <a:gd name="T91" fmla="*/ 418 h 669"/>
                <a:gd name="T92" fmla="*/ 803 w 867"/>
                <a:gd name="T93" fmla="*/ 430 h 669"/>
                <a:gd name="T94" fmla="*/ 806 w 867"/>
                <a:gd name="T95" fmla="*/ 483 h 669"/>
                <a:gd name="T96" fmla="*/ 764 w 867"/>
                <a:gd name="T97" fmla="*/ 501 h 669"/>
                <a:gd name="T98" fmla="*/ 688 w 867"/>
                <a:gd name="T99" fmla="*/ 526 h 669"/>
                <a:gd name="T100" fmla="*/ 653 w 867"/>
                <a:gd name="T101" fmla="*/ 557 h 669"/>
                <a:gd name="T102" fmla="*/ 607 w 867"/>
                <a:gd name="T103" fmla="*/ 553 h 669"/>
                <a:gd name="T104" fmla="*/ 565 w 867"/>
                <a:gd name="T105" fmla="*/ 567 h 669"/>
                <a:gd name="T106" fmla="*/ 532 w 867"/>
                <a:gd name="T107" fmla="*/ 573 h 669"/>
                <a:gd name="T108" fmla="*/ 512 w 867"/>
                <a:gd name="T109" fmla="*/ 583 h 669"/>
                <a:gd name="T110" fmla="*/ 492 w 867"/>
                <a:gd name="T111" fmla="*/ 587 h 669"/>
                <a:gd name="T112" fmla="*/ 499 w 867"/>
                <a:gd name="T113" fmla="*/ 603 h 669"/>
                <a:gd name="T114" fmla="*/ 517 w 867"/>
                <a:gd name="T115" fmla="*/ 669 h 669"/>
                <a:gd name="T116" fmla="*/ 138 w 867"/>
                <a:gd name="T117" fmla="*/ 493 h 669"/>
                <a:gd name="T118" fmla="*/ 144 w 867"/>
                <a:gd name="T119" fmla="*/ 487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67" h="669">
                  <a:moveTo>
                    <a:pt x="486" y="667"/>
                  </a:moveTo>
                  <a:lnTo>
                    <a:pt x="479" y="657"/>
                  </a:lnTo>
                  <a:lnTo>
                    <a:pt x="476" y="634"/>
                  </a:lnTo>
                  <a:lnTo>
                    <a:pt x="454" y="613"/>
                  </a:lnTo>
                  <a:lnTo>
                    <a:pt x="439" y="601"/>
                  </a:lnTo>
                  <a:lnTo>
                    <a:pt x="428" y="590"/>
                  </a:lnTo>
                  <a:lnTo>
                    <a:pt x="419" y="587"/>
                  </a:lnTo>
                  <a:lnTo>
                    <a:pt x="409" y="586"/>
                  </a:lnTo>
                  <a:lnTo>
                    <a:pt x="401" y="587"/>
                  </a:lnTo>
                  <a:lnTo>
                    <a:pt x="396" y="594"/>
                  </a:lnTo>
                  <a:lnTo>
                    <a:pt x="393" y="596"/>
                  </a:lnTo>
                  <a:lnTo>
                    <a:pt x="391" y="597"/>
                  </a:lnTo>
                  <a:lnTo>
                    <a:pt x="385" y="599"/>
                  </a:lnTo>
                  <a:lnTo>
                    <a:pt x="376" y="597"/>
                  </a:lnTo>
                  <a:lnTo>
                    <a:pt x="370" y="597"/>
                  </a:lnTo>
                  <a:lnTo>
                    <a:pt x="363" y="593"/>
                  </a:lnTo>
                  <a:lnTo>
                    <a:pt x="358" y="591"/>
                  </a:lnTo>
                  <a:lnTo>
                    <a:pt x="356" y="593"/>
                  </a:lnTo>
                  <a:lnTo>
                    <a:pt x="355" y="596"/>
                  </a:lnTo>
                  <a:lnTo>
                    <a:pt x="353" y="603"/>
                  </a:lnTo>
                  <a:lnTo>
                    <a:pt x="349" y="609"/>
                  </a:lnTo>
                  <a:lnTo>
                    <a:pt x="348" y="613"/>
                  </a:lnTo>
                  <a:lnTo>
                    <a:pt x="343" y="614"/>
                  </a:lnTo>
                  <a:lnTo>
                    <a:pt x="330" y="613"/>
                  </a:lnTo>
                  <a:lnTo>
                    <a:pt x="323" y="611"/>
                  </a:lnTo>
                  <a:lnTo>
                    <a:pt x="317" y="606"/>
                  </a:lnTo>
                  <a:lnTo>
                    <a:pt x="310" y="601"/>
                  </a:lnTo>
                  <a:lnTo>
                    <a:pt x="305" y="600"/>
                  </a:lnTo>
                  <a:lnTo>
                    <a:pt x="300" y="603"/>
                  </a:lnTo>
                  <a:lnTo>
                    <a:pt x="295" y="603"/>
                  </a:lnTo>
                  <a:lnTo>
                    <a:pt x="287" y="601"/>
                  </a:lnTo>
                  <a:lnTo>
                    <a:pt x="285" y="597"/>
                  </a:lnTo>
                  <a:lnTo>
                    <a:pt x="280" y="590"/>
                  </a:lnTo>
                  <a:lnTo>
                    <a:pt x="274" y="590"/>
                  </a:lnTo>
                  <a:lnTo>
                    <a:pt x="270" y="591"/>
                  </a:lnTo>
                  <a:lnTo>
                    <a:pt x="266" y="587"/>
                  </a:lnTo>
                  <a:lnTo>
                    <a:pt x="262" y="586"/>
                  </a:lnTo>
                  <a:lnTo>
                    <a:pt x="259" y="584"/>
                  </a:lnTo>
                  <a:lnTo>
                    <a:pt x="247" y="586"/>
                  </a:lnTo>
                  <a:lnTo>
                    <a:pt x="237" y="586"/>
                  </a:lnTo>
                  <a:lnTo>
                    <a:pt x="230" y="584"/>
                  </a:lnTo>
                  <a:lnTo>
                    <a:pt x="226" y="580"/>
                  </a:lnTo>
                  <a:lnTo>
                    <a:pt x="226" y="574"/>
                  </a:lnTo>
                  <a:lnTo>
                    <a:pt x="229" y="564"/>
                  </a:lnTo>
                  <a:lnTo>
                    <a:pt x="230" y="557"/>
                  </a:lnTo>
                  <a:lnTo>
                    <a:pt x="227" y="548"/>
                  </a:lnTo>
                  <a:lnTo>
                    <a:pt x="217" y="544"/>
                  </a:lnTo>
                  <a:lnTo>
                    <a:pt x="211" y="543"/>
                  </a:lnTo>
                  <a:lnTo>
                    <a:pt x="197" y="544"/>
                  </a:lnTo>
                  <a:lnTo>
                    <a:pt x="190" y="540"/>
                  </a:lnTo>
                  <a:lnTo>
                    <a:pt x="196" y="536"/>
                  </a:lnTo>
                  <a:lnTo>
                    <a:pt x="201" y="526"/>
                  </a:lnTo>
                  <a:lnTo>
                    <a:pt x="203" y="520"/>
                  </a:lnTo>
                  <a:lnTo>
                    <a:pt x="209" y="511"/>
                  </a:lnTo>
                  <a:lnTo>
                    <a:pt x="210" y="506"/>
                  </a:lnTo>
                  <a:lnTo>
                    <a:pt x="210" y="500"/>
                  </a:lnTo>
                  <a:lnTo>
                    <a:pt x="206" y="500"/>
                  </a:lnTo>
                  <a:lnTo>
                    <a:pt x="201" y="498"/>
                  </a:lnTo>
                  <a:lnTo>
                    <a:pt x="200" y="498"/>
                  </a:lnTo>
                  <a:lnTo>
                    <a:pt x="196" y="495"/>
                  </a:lnTo>
                  <a:lnTo>
                    <a:pt x="191" y="493"/>
                  </a:lnTo>
                  <a:lnTo>
                    <a:pt x="187" y="487"/>
                  </a:lnTo>
                  <a:lnTo>
                    <a:pt x="183" y="481"/>
                  </a:lnTo>
                  <a:lnTo>
                    <a:pt x="176" y="477"/>
                  </a:lnTo>
                  <a:lnTo>
                    <a:pt x="167" y="477"/>
                  </a:lnTo>
                  <a:lnTo>
                    <a:pt x="158" y="484"/>
                  </a:lnTo>
                  <a:lnTo>
                    <a:pt x="156" y="484"/>
                  </a:lnTo>
                  <a:lnTo>
                    <a:pt x="151" y="485"/>
                  </a:lnTo>
                  <a:lnTo>
                    <a:pt x="151" y="485"/>
                  </a:lnTo>
                  <a:lnTo>
                    <a:pt x="141" y="485"/>
                  </a:lnTo>
                  <a:lnTo>
                    <a:pt x="136" y="485"/>
                  </a:lnTo>
                  <a:lnTo>
                    <a:pt x="134" y="485"/>
                  </a:lnTo>
                  <a:lnTo>
                    <a:pt x="134" y="488"/>
                  </a:lnTo>
                  <a:lnTo>
                    <a:pt x="134" y="488"/>
                  </a:lnTo>
                  <a:lnTo>
                    <a:pt x="136" y="493"/>
                  </a:lnTo>
                  <a:lnTo>
                    <a:pt x="140" y="500"/>
                  </a:lnTo>
                  <a:lnTo>
                    <a:pt x="141" y="501"/>
                  </a:lnTo>
                  <a:lnTo>
                    <a:pt x="141" y="506"/>
                  </a:lnTo>
                  <a:lnTo>
                    <a:pt x="140" y="511"/>
                  </a:lnTo>
                  <a:lnTo>
                    <a:pt x="136" y="517"/>
                  </a:lnTo>
                  <a:lnTo>
                    <a:pt x="123" y="526"/>
                  </a:lnTo>
                  <a:lnTo>
                    <a:pt x="114" y="530"/>
                  </a:lnTo>
                  <a:lnTo>
                    <a:pt x="107" y="528"/>
                  </a:lnTo>
                  <a:lnTo>
                    <a:pt x="103" y="528"/>
                  </a:lnTo>
                  <a:lnTo>
                    <a:pt x="97" y="531"/>
                  </a:lnTo>
                  <a:lnTo>
                    <a:pt x="93" y="531"/>
                  </a:lnTo>
                  <a:lnTo>
                    <a:pt x="90" y="526"/>
                  </a:lnTo>
                  <a:lnTo>
                    <a:pt x="87" y="524"/>
                  </a:lnTo>
                  <a:lnTo>
                    <a:pt x="83" y="528"/>
                  </a:lnTo>
                  <a:lnTo>
                    <a:pt x="83" y="533"/>
                  </a:lnTo>
                  <a:lnTo>
                    <a:pt x="80" y="537"/>
                  </a:lnTo>
                  <a:lnTo>
                    <a:pt x="77" y="537"/>
                  </a:lnTo>
                  <a:lnTo>
                    <a:pt x="77" y="528"/>
                  </a:lnTo>
                  <a:lnTo>
                    <a:pt x="73" y="485"/>
                  </a:lnTo>
                  <a:lnTo>
                    <a:pt x="67" y="435"/>
                  </a:lnTo>
                  <a:lnTo>
                    <a:pt x="58" y="348"/>
                  </a:lnTo>
                  <a:lnTo>
                    <a:pt x="57" y="338"/>
                  </a:lnTo>
                  <a:lnTo>
                    <a:pt x="45" y="275"/>
                  </a:lnTo>
                  <a:lnTo>
                    <a:pt x="35" y="216"/>
                  </a:lnTo>
                  <a:lnTo>
                    <a:pt x="34" y="210"/>
                  </a:lnTo>
                  <a:lnTo>
                    <a:pt x="34" y="206"/>
                  </a:lnTo>
                  <a:lnTo>
                    <a:pt x="24" y="157"/>
                  </a:lnTo>
                  <a:lnTo>
                    <a:pt x="20" y="139"/>
                  </a:lnTo>
                  <a:lnTo>
                    <a:pt x="15" y="116"/>
                  </a:lnTo>
                  <a:lnTo>
                    <a:pt x="8" y="87"/>
                  </a:lnTo>
                  <a:lnTo>
                    <a:pt x="2" y="70"/>
                  </a:lnTo>
                  <a:lnTo>
                    <a:pt x="0" y="62"/>
                  </a:lnTo>
                  <a:lnTo>
                    <a:pt x="2" y="70"/>
                  </a:lnTo>
                  <a:lnTo>
                    <a:pt x="14" y="67"/>
                  </a:lnTo>
                  <a:lnTo>
                    <a:pt x="15" y="63"/>
                  </a:lnTo>
                  <a:lnTo>
                    <a:pt x="15" y="57"/>
                  </a:lnTo>
                  <a:lnTo>
                    <a:pt x="21" y="57"/>
                  </a:lnTo>
                  <a:lnTo>
                    <a:pt x="27" y="59"/>
                  </a:lnTo>
                  <a:lnTo>
                    <a:pt x="27" y="60"/>
                  </a:lnTo>
                  <a:lnTo>
                    <a:pt x="28" y="59"/>
                  </a:lnTo>
                  <a:lnTo>
                    <a:pt x="30" y="56"/>
                  </a:lnTo>
                  <a:lnTo>
                    <a:pt x="30" y="51"/>
                  </a:lnTo>
                  <a:lnTo>
                    <a:pt x="28" y="49"/>
                  </a:lnTo>
                  <a:lnTo>
                    <a:pt x="22" y="46"/>
                  </a:lnTo>
                  <a:lnTo>
                    <a:pt x="18" y="44"/>
                  </a:lnTo>
                  <a:lnTo>
                    <a:pt x="18" y="41"/>
                  </a:lnTo>
                  <a:lnTo>
                    <a:pt x="20" y="39"/>
                  </a:lnTo>
                  <a:lnTo>
                    <a:pt x="28" y="34"/>
                  </a:lnTo>
                  <a:lnTo>
                    <a:pt x="30" y="37"/>
                  </a:lnTo>
                  <a:lnTo>
                    <a:pt x="40" y="41"/>
                  </a:lnTo>
                  <a:lnTo>
                    <a:pt x="44" y="41"/>
                  </a:lnTo>
                  <a:lnTo>
                    <a:pt x="48" y="34"/>
                  </a:lnTo>
                  <a:lnTo>
                    <a:pt x="53" y="37"/>
                  </a:lnTo>
                  <a:lnTo>
                    <a:pt x="50" y="56"/>
                  </a:lnTo>
                  <a:lnTo>
                    <a:pt x="51" y="60"/>
                  </a:lnTo>
                  <a:lnTo>
                    <a:pt x="54" y="63"/>
                  </a:lnTo>
                  <a:lnTo>
                    <a:pt x="58" y="63"/>
                  </a:lnTo>
                  <a:lnTo>
                    <a:pt x="64" y="60"/>
                  </a:lnTo>
                  <a:lnTo>
                    <a:pt x="71" y="62"/>
                  </a:lnTo>
                  <a:lnTo>
                    <a:pt x="75" y="66"/>
                  </a:lnTo>
                  <a:lnTo>
                    <a:pt x="83" y="69"/>
                  </a:lnTo>
                  <a:lnTo>
                    <a:pt x="84" y="69"/>
                  </a:lnTo>
                  <a:lnTo>
                    <a:pt x="87" y="66"/>
                  </a:lnTo>
                  <a:lnTo>
                    <a:pt x="87" y="64"/>
                  </a:lnTo>
                  <a:lnTo>
                    <a:pt x="88" y="57"/>
                  </a:lnTo>
                  <a:lnTo>
                    <a:pt x="88" y="50"/>
                  </a:lnTo>
                  <a:lnTo>
                    <a:pt x="90" y="47"/>
                  </a:lnTo>
                  <a:lnTo>
                    <a:pt x="91" y="44"/>
                  </a:lnTo>
                  <a:lnTo>
                    <a:pt x="94" y="46"/>
                  </a:lnTo>
                  <a:lnTo>
                    <a:pt x="97" y="46"/>
                  </a:lnTo>
                  <a:lnTo>
                    <a:pt x="98" y="49"/>
                  </a:lnTo>
                  <a:lnTo>
                    <a:pt x="98" y="50"/>
                  </a:lnTo>
                  <a:lnTo>
                    <a:pt x="101" y="50"/>
                  </a:lnTo>
                  <a:lnTo>
                    <a:pt x="105" y="50"/>
                  </a:lnTo>
                  <a:lnTo>
                    <a:pt x="110" y="49"/>
                  </a:lnTo>
                  <a:lnTo>
                    <a:pt x="118" y="50"/>
                  </a:lnTo>
                  <a:lnTo>
                    <a:pt x="123" y="50"/>
                  </a:lnTo>
                  <a:lnTo>
                    <a:pt x="127" y="54"/>
                  </a:lnTo>
                  <a:lnTo>
                    <a:pt x="127" y="56"/>
                  </a:lnTo>
                  <a:lnTo>
                    <a:pt x="130" y="57"/>
                  </a:lnTo>
                  <a:lnTo>
                    <a:pt x="131" y="54"/>
                  </a:lnTo>
                  <a:lnTo>
                    <a:pt x="133" y="51"/>
                  </a:lnTo>
                  <a:lnTo>
                    <a:pt x="138" y="50"/>
                  </a:lnTo>
                  <a:lnTo>
                    <a:pt x="140" y="51"/>
                  </a:lnTo>
                  <a:lnTo>
                    <a:pt x="141" y="54"/>
                  </a:lnTo>
                  <a:lnTo>
                    <a:pt x="144" y="57"/>
                  </a:lnTo>
                  <a:lnTo>
                    <a:pt x="150" y="59"/>
                  </a:lnTo>
                  <a:lnTo>
                    <a:pt x="153" y="59"/>
                  </a:lnTo>
                  <a:lnTo>
                    <a:pt x="156" y="57"/>
                  </a:lnTo>
                  <a:lnTo>
                    <a:pt x="157" y="56"/>
                  </a:lnTo>
                  <a:lnTo>
                    <a:pt x="158" y="56"/>
                  </a:lnTo>
                  <a:lnTo>
                    <a:pt x="161" y="59"/>
                  </a:lnTo>
                  <a:lnTo>
                    <a:pt x="164" y="62"/>
                  </a:lnTo>
                  <a:lnTo>
                    <a:pt x="173" y="62"/>
                  </a:lnTo>
                  <a:lnTo>
                    <a:pt x="183" y="63"/>
                  </a:lnTo>
                  <a:lnTo>
                    <a:pt x="187" y="59"/>
                  </a:lnTo>
                  <a:lnTo>
                    <a:pt x="194" y="51"/>
                  </a:lnTo>
                  <a:lnTo>
                    <a:pt x="200" y="50"/>
                  </a:lnTo>
                  <a:lnTo>
                    <a:pt x="201" y="50"/>
                  </a:lnTo>
                  <a:lnTo>
                    <a:pt x="204" y="51"/>
                  </a:lnTo>
                  <a:lnTo>
                    <a:pt x="206" y="53"/>
                  </a:lnTo>
                  <a:lnTo>
                    <a:pt x="213" y="53"/>
                  </a:lnTo>
                  <a:lnTo>
                    <a:pt x="216" y="50"/>
                  </a:lnTo>
                  <a:lnTo>
                    <a:pt x="214" y="41"/>
                  </a:lnTo>
                  <a:lnTo>
                    <a:pt x="226" y="40"/>
                  </a:lnTo>
                  <a:lnTo>
                    <a:pt x="239" y="36"/>
                  </a:lnTo>
                  <a:lnTo>
                    <a:pt x="243" y="33"/>
                  </a:lnTo>
                  <a:lnTo>
                    <a:pt x="243" y="31"/>
                  </a:lnTo>
                  <a:lnTo>
                    <a:pt x="243" y="27"/>
                  </a:lnTo>
                  <a:lnTo>
                    <a:pt x="244" y="27"/>
                  </a:lnTo>
                  <a:lnTo>
                    <a:pt x="253" y="24"/>
                  </a:lnTo>
                  <a:lnTo>
                    <a:pt x="257" y="23"/>
                  </a:lnTo>
                  <a:lnTo>
                    <a:pt x="259" y="29"/>
                  </a:lnTo>
                  <a:lnTo>
                    <a:pt x="262" y="31"/>
                  </a:lnTo>
                  <a:lnTo>
                    <a:pt x="269" y="29"/>
                  </a:lnTo>
                  <a:lnTo>
                    <a:pt x="276" y="27"/>
                  </a:lnTo>
                  <a:lnTo>
                    <a:pt x="280" y="26"/>
                  </a:lnTo>
                  <a:lnTo>
                    <a:pt x="283" y="27"/>
                  </a:lnTo>
                  <a:lnTo>
                    <a:pt x="287" y="31"/>
                  </a:lnTo>
                  <a:lnTo>
                    <a:pt x="290" y="33"/>
                  </a:lnTo>
                  <a:lnTo>
                    <a:pt x="302" y="26"/>
                  </a:lnTo>
                  <a:lnTo>
                    <a:pt x="302" y="24"/>
                  </a:lnTo>
                  <a:lnTo>
                    <a:pt x="302" y="24"/>
                  </a:lnTo>
                  <a:lnTo>
                    <a:pt x="297" y="23"/>
                  </a:lnTo>
                  <a:lnTo>
                    <a:pt x="295" y="23"/>
                  </a:lnTo>
                  <a:lnTo>
                    <a:pt x="293" y="21"/>
                  </a:lnTo>
                  <a:lnTo>
                    <a:pt x="293" y="19"/>
                  </a:lnTo>
                  <a:lnTo>
                    <a:pt x="296" y="17"/>
                  </a:lnTo>
                  <a:lnTo>
                    <a:pt x="300" y="17"/>
                  </a:lnTo>
                  <a:lnTo>
                    <a:pt x="306" y="19"/>
                  </a:lnTo>
                  <a:lnTo>
                    <a:pt x="309" y="19"/>
                  </a:lnTo>
                  <a:lnTo>
                    <a:pt x="315" y="16"/>
                  </a:lnTo>
                  <a:lnTo>
                    <a:pt x="327" y="10"/>
                  </a:lnTo>
                  <a:lnTo>
                    <a:pt x="327" y="6"/>
                  </a:lnTo>
                  <a:lnTo>
                    <a:pt x="326" y="1"/>
                  </a:lnTo>
                  <a:lnTo>
                    <a:pt x="327" y="0"/>
                  </a:lnTo>
                  <a:lnTo>
                    <a:pt x="333" y="0"/>
                  </a:lnTo>
                  <a:lnTo>
                    <a:pt x="336" y="0"/>
                  </a:lnTo>
                  <a:lnTo>
                    <a:pt x="340" y="3"/>
                  </a:lnTo>
                  <a:lnTo>
                    <a:pt x="339" y="9"/>
                  </a:lnTo>
                  <a:lnTo>
                    <a:pt x="342" y="26"/>
                  </a:lnTo>
                  <a:lnTo>
                    <a:pt x="348" y="43"/>
                  </a:lnTo>
                  <a:lnTo>
                    <a:pt x="359" y="53"/>
                  </a:lnTo>
                  <a:lnTo>
                    <a:pt x="376" y="67"/>
                  </a:lnTo>
                  <a:lnTo>
                    <a:pt x="383" y="73"/>
                  </a:lnTo>
                  <a:lnTo>
                    <a:pt x="382" y="76"/>
                  </a:lnTo>
                  <a:lnTo>
                    <a:pt x="379" y="79"/>
                  </a:lnTo>
                  <a:lnTo>
                    <a:pt x="378" y="82"/>
                  </a:lnTo>
                  <a:lnTo>
                    <a:pt x="379" y="86"/>
                  </a:lnTo>
                  <a:lnTo>
                    <a:pt x="382" y="87"/>
                  </a:lnTo>
                  <a:lnTo>
                    <a:pt x="388" y="86"/>
                  </a:lnTo>
                  <a:lnTo>
                    <a:pt x="389" y="83"/>
                  </a:lnTo>
                  <a:lnTo>
                    <a:pt x="393" y="83"/>
                  </a:lnTo>
                  <a:lnTo>
                    <a:pt x="393" y="87"/>
                  </a:lnTo>
                  <a:lnTo>
                    <a:pt x="399" y="90"/>
                  </a:lnTo>
                  <a:lnTo>
                    <a:pt x="403" y="92"/>
                  </a:lnTo>
                  <a:lnTo>
                    <a:pt x="405" y="93"/>
                  </a:lnTo>
                  <a:lnTo>
                    <a:pt x="405" y="96"/>
                  </a:lnTo>
                  <a:lnTo>
                    <a:pt x="402" y="97"/>
                  </a:lnTo>
                  <a:lnTo>
                    <a:pt x="399" y="100"/>
                  </a:lnTo>
                  <a:lnTo>
                    <a:pt x="395" y="103"/>
                  </a:lnTo>
                  <a:lnTo>
                    <a:pt x="392" y="103"/>
                  </a:lnTo>
                  <a:lnTo>
                    <a:pt x="388" y="107"/>
                  </a:lnTo>
                  <a:lnTo>
                    <a:pt x="386" y="112"/>
                  </a:lnTo>
                  <a:lnTo>
                    <a:pt x="386" y="117"/>
                  </a:lnTo>
                  <a:lnTo>
                    <a:pt x="386" y="126"/>
                  </a:lnTo>
                  <a:lnTo>
                    <a:pt x="388" y="126"/>
                  </a:lnTo>
                  <a:lnTo>
                    <a:pt x="396" y="127"/>
                  </a:lnTo>
                  <a:lnTo>
                    <a:pt x="405" y="132"/>
                  </a:lnTo>
                  <a:lnTo>
                    <a:pt x="419" y="149"/>
                  </a:lnTo>
                  <a:lnTo>
                    <a:pt x="429" y="163"/>
                  </a:lnTo>
                  <a:lnTo>
                    <a:pt x="431" y="170"/>
                  </a:lnTo>
                  <a:lnTo>
                    <a:pt x="433" y="175"/>
                  </a:lnTo>
                  <a:lnTo>
                    <a:pt x="438" y="179"/>
                  </a:lnTo>
                  <a:lnTo>
                    <a:pt x="452" y="178"/>
                  </a:lnTo>
                  <a:lnTo>
                    <a:pt x="451" y="170"/>
                  </a:lnTo>
                  <a:lnTo>
                    <a:pt x="458" y="168"/>
                  </a:lnTo>
                  <a:lnTo>
                    <a:pt x="461" y="166"/>
                  </a:lnTo>
                  <a:lnTo>
                    <a:pt x="468" y="162"/>
                  </a:lnTo>
                  <a:lnTo>
                    <a:pt x="471" y="153"/>
                  </a:lnTo>
                  <a:lnTo>
                    <a:pt x="472" y="150"/>
                  </a:lnTo>
                  <a:lnTo>
                    <a:pt x="478" y="147"/>
                  </a:lnTo>
                  <a:lnTo>
                    <a:pt x="478" y="146"/>
                  </a:lnTo>
                  <a:lnTo>
                    <a:pt x="476" y="143"/>
                  </a:lnTo>
                  <a:lnTo>
                    <a:pt x="475" y="140"/>
                  </a:lnTo>
                  <a:lnTo>
                    <a:pt x="475" y="137"/>
                  </a:lnTo>
                  <a:lnTo>
                    <a:pt x="478" y="136"/>
                  </a:lnTo>
                  <a:lnTo>
                    <a:pt x="484" y="133"/>
                  </a:lnTo>
                  <a:lnTo>
                    <a:pt x="508" y="120"/>
                  </a:lnTo>
                  <a:lnTo>
                    <a:pt x="522" y="115"/>
                  </a:lnTo>
                  <a:lnTo>
                    <a:pt x="525" y="110"/>
                  </a:lnTo>
                  <a:lnTo>
                    <a:pt x="535" y="107"/>
                  </a:lnTo>
                  <a:lnTo>
                    <a:pt x="538" y="109"/>
                  </a:lnTo>
                  <a:lnTo>
                    <a:pt x="541" y="113"/>
                  </a:lnTo>
                  <a:lnTo>
                    <a:pt x="541" y="119"/>
                  </a:lnTo>
                  <a:lnTo>
                    <a:pt x="541" y="125"/>
                  </a:lnTo>
                  <a:lnTo>
                    <a:pt x="542" y="130"/>
                  </a:lnTo>
                  <a:lnTo>
                    <a:pt x="545" y="133"/>
                  </a:lnTo>
                  <a:lnTo>
                    <a:pt x="551" y="130"/>
                  </a:lnTo>
                  <a:lnTo>
                    <a:pt x="557" y="129"/>
                  </a:lnTo>
                  <a:lnTo>
                    <a:pt x="560" y="116"/>
                  </a:lnTo>
                  <a:lnTo>
                    <a:pt x="564" y="109"/>
                  </a:lnTo>
                  <a:lnTo>
                    <a:pt x="571" y="109"/>
                  </a:lnTo>
                  <a:lnTo>
                    <a:pt x="581" y="113"/>
                  </a:lnTo>
                  <a:lnTo>
                    <a:pt x="591" y="113"/>
                  </a:lnTo>
                  <a:lnTo>
                    <a:pt x="595" y="115"/>
                  </a:lnTo>
                  <a:lnTo>
                    <a:pt x="595" y="116"/>
                  </a:lnTo>
                  <a:lnTo>
                    <a:pt x="595" y="120"/>
                  </a:lnTo>
                  <a:lnTo>
                    <a:pt x="598" y="122"/>
                  </a:lnTo>
                  <a:lnTo>
                    <a:pt x="602" y="122"/>
                  </a:lnTo>
                  <a:lnTo>
                    <a:pt x="617" y="116"/>
                  </a:lnTo>
                  <a:lnTo>
                    <a:pt x="625" y="113"/>
                  </a:lnTo>
                  <a:lnTo>
                    <a:pt x="630" y="112"/>
                  </a:lnTo>
                  <a:lnTo>
                    <a:pt x="637" y="113"/>
                  </a:lnTo>
                  <a:lnTo>
                    <a:pt x="645" y="119"/>
                  </a:lnTo>
                  <a:lnTo>
                    <a:pt x="653" y="122"/>
                  </a:lnTo>
                  <a:lnTo>
                    <a:pt x="655" y="122"/>
                  </a:lnTo>
                  <a:lnTo>
                    <a:pt x="663" y="120"/>
                  </a:lnTo>
                  <a:lnTo>
                    <a:pt x="664" y="117"/>
                  </a:lnTo>
                  <a:lnTo>
                    <a:pt x="665" y="113"/>
                  </a:lnTo>
                  <a:lnTo>
                    <a:pt x="668" y="109"/>
                  </a:lnTo>
                  <a:lnTo>
                    <a:pt x="673" y="106"/>
                  </a:lnTo>
                  <a:lnTo>
                    <a:pt x="683" y="103"/>
                  </a:lnTo>
                  <a:lnTo>
                    <a:pt x="713" y="96"/>
                  </a:lnTo>
                  <a:lnTo>
                    <a:pt x="721" y="93"/>
                  </a:lnTo>
                  <a:lnTo>
                    <a:pt x="731" y="93"/>
                  </a:lnTo>
                  <a:lnTo>
                    <a:pt x="739" y="116"/>
                  </a:lnTo>
                  <a:lnTo>
                    <a:pt x="746" y="123"/>
                  </a:lnTo>
                  <a:lnTo>
                    <a:pt x="749" y="130"/>
                  </a:lnTo>
                  <a:lnTo>
                    <a:pt x="749" y="133"/>
                  </a:lnTo>
                  <a:lnTo>
                    <a:pt x="754" y="136"/>
                  </a:lnTo>
                  <a:lnTo>
                    <a:pt x="767" y="139"/>
                  </a:lnTo>
                  <a:lnTo>
                    <a:pt x="767" y="147"/>
                  </a:lnTo>
                  <a:lnTo>
                    <a:pt x="773" y="152"/>
                  </a:lnTo>
                  <a:lnTo>
                    <a:pt x="789" y="165"/>
                  </a:lnTo>
                  <a:lnTo>
                    <a:pt x="794" y="175"/>
                  </a:lnTo>
                  <a:lnTo>
                    <a:pt x="794" y="183"/>
                  </a:lnTo>
                  <a:lnTo>
                    <a:pt x="796" y="188"/>
                  </a:lnTo>
                  <a:lnTo>
                    <a:pt x="800" y="195"/>
                  </a:lnTo>
                  <a:lnTo>
                    <a:pt x="807" y="202"/>
                  </a:lnTo>
                  <a:lnTo>
                    <a:pt x="807" y="212"/>
                  </a:lnTo>
                  <a:lnTo>
                    <a:pt x="813" y="215"/>
                  </a:lnTo>
                  <a:lnTo>
                    <a:pt x="817" y="225"/>
                  </a:lnTo>
                  <a:lnTo>
                    <a:pt x="819" y="248"/>
                  </a:lnTo>
                  <a:lnTo>
                    <a:pt x="824" y="256"/>
                  </a:lnTo>
                  <a:lnTo>
                    <a:pt x="829" y="268"/>
                  </a:lnTo>
                  <a:lnTo>
                    <a:pt x="842" y="273"/>
                  </a:lnTo>
                  <a:lnTo>
                    <a:pt x="852" y="279"/>
                  </a:lnTo>
                  <a:lnTo>
                    <a:pt x="862" y="279"/>
                  </a:lnTo>
                  <a:lnTo>
                    <a:pt x="867" y="281"/>
                  </a:lnTo>
                  <a:lnTo>
                    <a:pt x="867" y="285"/>
                  </a:lnTo>
                  <a:lnTo>
                    <a:pt x="863" y="286"/>
                  </a:lnTo>
                  <a:lnTo>
                    <a:pt x="859" y="289"/>
                  </a:lnTo>
                  <a:lnTo>
                    <a:pt x="859" y="294"/>
                  </a:lnTo>
                  <a:lnTo>
                    <a:pt x="863" y="294"/>
                  </a:lnTo>
                  <a:lnTo>
                    <a:pt x="863" y="298"/>
                  </a:lnTo>
                  <a:lnTo>
                    <a:pt x="862" y="301"/>
                  </a:lnTo>
                  <a:lnTo>
                    <a:pt x="857" y="304"/>
                  </a:lnTo>
                  <a:lnTo>
                    <a:pt x="849" y="308"/>
                  </a:lnTo>
                  <a:lnTo>
                    <a:pt x="836" y="311"/>
                  </a:lnTo>
                  <a:lnTo>
                    <a:pt x="830" y="314"/>
                  </a:lnTo>
                  <a:lnTo>
                    <a:pt x="830" y="315"/>
                  </a:lnTo>
                  <a:lnTo>
                    <a:pt x="832" y="318"/>
                  </a:lnTo>
                  <a:lnTo>
                    <a:pt x="834" y="322"/>
                  </a:lnTo>
                  <a:lnTo>
                    <a:pt x="837" y="334"/>
                  </a:lnTo>
                  <a:lnTo>
                    <a:pt x="845" y="338"/>
                  </a:lnTo>
                  <a:lnTo>
                    <a:pt x="849" y="349"/>
                  </a:lnTo>
                  <a:lnTo>
                    <a:pt x="857" y="355"/>
                  </a:lnTo>
                  <a:lnTo>
                    <a:pt x="860" y="359"/>
                  </a:lnTo>
                  <a:lnTo>
                    <a:pt x="859" y="365"/>
                  </a:lnTo>
                  <a:lnTo>
                    <a:pt x="859" y="367"/>
                  </a:lnTo>
                  <a:lnTo>
                    <a:pt x="857" y="371"/>
                  </a:lnTo>
                  <a:lnTo>
                    <a:pt x="857" y="375"/>
                  </a:lnTo>
                  <a:lnTo>
                    <a:pt x="855" y="382"/>
                  </a:lnTo>
                  <a:lnTo>
                    <a:pt x="852" y="385"/>
                  </a:lnTo>
                  <a:lnTo>
                    <a:pt x="849" y="388"/>
                  </a:lnTo>
                  <a:lnTo>
                    <a:pt x="846" y="389"/>
                  </a:lnTo>
                  <a:lnTo>
                    <a:pt x="846" y="392"/>
                  </a:lnTo>
                  <a:lnTo>
                    <a:pt x="846" y="398"/>
                  </a:lnTo>
                  <a:lnTo>
                    <a:pt x="847" y="400"/>
                  </a:lnTo>
                  <a:lnTo>
                    <a:pt x="850" y="404"/>
                  </a:lnTo>
                  <a:lnTo>
                    <a:pt x="856" y="410"/>
                  </a:lnTo>
                  <a:lnTo>
                    <a:pt x="860" y="410"/>
                  </a:lnTo>
                  <a:lnTo>
                    <a:pt x="863" y="412"/>
                  </a:lnTo>
                  <a:lnTo>
                    <a:pt x="863" y="417"/>
                  </a:lnTo>
                  <a:lnTo>
                    <a:pt x="862" y="420"/>
                  </a:lnTo>
                  <a:lnTo>
                    <a:pt x="862" y="420"/>
                  </a:lnTo>
                  <a:lnTo>
                    <a:pt x="846" y="417"/>
                  </a:lnTo>
                  <a:lnTo>
                    <a:pt x="843" y="417"/>
                  </a:lnTo>
                  <a:lnTo>
                    <a:pt x="837" y="417"/>
                  </a:lnTo>
                  <a:lnTo>
                    <a:pt x="833" y="417"/>
                  </a:lnTo>
                  <a:lnTo>
                    <a:pt x="822" y="414"/>
                  </a:lnTo>
                  <a:lnTo>
                    <a:pt x="819" y="418"/>
                  </a:lnTo>
                  <a:lnTo>
                    <a:pt x="817" y="428"/>
                  </a:lnTo>
                  <a:lnTo>
                    <a:pt x="817" y="434"/>
                  </a:lnTo>
                  <a:lnTo>
                    <a:pt x="814" y="434"/>
                  </a:lnTo>
                  <a:lnTo>
                    <a:pt x="810" y="434"/>
                  </a:lnTo>
                  <a:lnTo>
                    <a:pt x="809" y="430"/>
                  </a:lnTo>
                  <a:lnTo>
                    <a:pt x="806" y="425"/>
                  </a:lnTo>
                  <a:lnTo>
                    <a:pt x="803" y="425"/>
                  </a:lnTo>
                  <a:lnTo>
                    <a:pt x="803" y="430"/>
                  </a:lnTo>
                  <a:lnTo>
                    <a:pt x="802" y="441"/>
                  </a:lnTo>
                  <a:lnTo>
                    <a:pt x="803" y="450"/>
                  </a:lnTo>
                  <a:lnTo>
                    <a:pt x="810" y="460"/>
                  </a:lnTo>
                  <a:lnTo>
                    <a:pt x="814" y="468"/>
                  </a:lnTo>
                  <a:lnTo>
                    <a:pt x="816" y="474"/>
                  </a:lnTo>
                  <a:lnTo>
                    <a:pt x="813" y="481"/>
                  </a:lnTo>
                  <a:lnTo>
                    <a:pt x="809" y="480"/>
                  </a:lnTo>
                  <a:lnTo>
                    <a:pt x="806" y="483"/>
                  </a:lnTo>
                  <a:lnTo>
                    <a:pt x="806" y="488"/>
                  </a:lnTo>
                  <a:lnTo>
                    <a:pt x="806" y="493"/>
                  </a:lnTo>
                  <a:lnTo>
                    <a:pt x="803" y="497"/>
                  </a:lnTo>
                  <a:lnTo>
                    <a:pt x="799" y="500"/>
                  </a:lnTo>
                  <a:lnTo>
                    <a:pt x="793" y="495"/>
                  </a:lnTo>
                  <a:lnTo>
                    <a:pt x="779" y="488"/>
                  </a:lnTo>
                  <a:lnTo>
                    <a:pt x="776" y="490"/>
                  </a:lnTo>
                  <a:lnTo>
                    <a:pt x="764" y="501"/>
                  </a:lnTo>
                  <a:lnTo>
                    <a:pt x="741" y="494"/>
                  </a:lnTo>
                  <a:lnTo>
                    <a:pt x="737" y="484"/>
                  </a:lnTo>
                  <a:lnTo>
                    <a:pt x="716" y="480"/>
                  </a:lnTo>
                  <a:lnTo>
                    <a:pt x="714" y="483"/>
                  </a:lnTo>
                  <a:lnTo>
                    <a:pt x="697" y="481"/>
                  </a:lnTo>
                  <a:lnTo>
                    <a:pt x="707" y="495"/>
                  </a:lnTo>
                  <a:lnTo>
                    <a:pt x="691" y="520"/>
                  </a:lnTo>
                  <a:lnTo>
                    <a:pt x="688" y="526"/>
                  </a:lnTo>
                  <a:lnTo>
                    <a:pt x="683" y="531"/>
                  </a:lnTo>
                  <a:lnTo>
                    <a:pt x="674" y="534"/>
                  </a:lnTo>
                  <a:lnTo>
                    <a:pt x="671" y="537"/>
                  </a:lnTo>
                  <a:lnTo>
                    <a:pt x="667" y="536"/>
                  </a:lnTo>
                  <a:lnTo>
                    <a:pt x="658" y="548"/>
                  </a:lnTo>
                  <a:lnTo>
                    <a:pt x="658" y="554"/>
                  </a:lnTo>
                  <a:lnTo>
                    <a:pt x="657" y="557"/>
                  </a:lnTo>
                  <a:lnTo>
                    <a:pt x="653" y="557"/>
                  </a:lnTo>
                  <a:lnTo>
                    <a:pt x="650" y="556"/>
                  </a:lnTo>
                  <a:lnTo>
                    <a:pt x="635" y="551"/>
                  </a:lnTo>
                  <a:lnTo>
                    <a:pt x="633" y="554"/>
                  </a:lnTo>
                  <a:lnTo>
                    <a:pt x="630" y="557"/>
                  </a:lnTo>
                  <a:lnTo>
                    <a:pt x="624" y="554"/>
                  </a:lnTo>
                  <a:lnTo>
                    <a:pt x="617" y="553"/>
                  </a:lnTo>
                  <a:lnTo>
                    <a:pt x="612" y="553"/>
                  </a:lnTo>
                  <a:lnTo>
                    <a:pt x="607" y="553"/>
                  </a:lnTo>
                  <a:lnTo>
                    <a:pt x="602" y="556"/>
                  </a:lnTo>
                  <a:lnTo>
                    <a:pt x="600" y="560"/>
                  </a:lnTo>
                  <a:lnTo>
                    <a:pt x="598" y="563"/>
                  </a:lnTo>
                  <a:lnTo>
                    <a:pt x="594" y="561"/>
                  </a:lnTo>
                  <a:lnTo>
                    <a:pt x="588" y="557"/>
                  </a:lnTo>
                  <a:lnTo>
                    <a:pt x="584" y="557"/>
                  </a:lnTo>
                  <a:lnTo>
                    <a:pt x="577" y="558"/>
                  </a:lnTo>
                  <a:lnTo>
                    <a:pt x="565" y="567"/>
                  </a:lnTo>
                  <a:lnTo>
                    <a:pt x="560" y="570"/>
                  </a:lnTo>
                  <a:lnTo>
                    <a:pt x="552" y="570"/>
                  </a:lnTo>
                  <a:lnTo>
                    <a:pt x="548" y="573"/>
                  </a:lnTo>
                  <a:lnTo>
                    <a:pt x="541" y="576"/>
                  </a:lnTo>
                  <a:lnTo>
                    <a:pt x="538" y="577"/>
                  </a:lnTo>
                  <a:lnTo>
                    <a:pt x="534" y="576"/>
                  </a:lnTo>
                  <a:lnTo>
                    <a:pt x="532" y="573"/>
                  </a:lnTo>
                  <a:lnTo>
                    <a:pt x="532" y="573"/>
                  </a:lnTo>
                  <a:lnTo>
                    <a:pt x="531" y="573"/>
                  </a:lnTo>
                  <a:lnTo>
                    <a:pt x="528" y="573"/>
                  </a:lnTo>
                  <a:lnTo>
                    <a:pt x="525" y="573"/>
                  </a:lnTo>
                  <a:lnTo>
                    <a:pt x="521" y="573"/>
                  </a:lnTo>
                  <a:lnTo>
                    <a:pt x="515" y="573"/>
                  </a:lnTo>
                  <a:lnTo>
                    <a:pt x="512" y="576"/>
                  </a:lnTo>
                  <a:lnTo>
                    <a:pt x="512" y="579"/>
                  </a:lnTo>
                  <a:lnTo>
                    <a:pt x="512" y="583"/>
                  </a:lnTo>
                  <a:lnTo>
                    <a:pt x="511" y="587"/>
                  </a:lnTo>
                  <a:lnTo>
                    <a:pt x="508" y="594"/>
                  </a:lnTo>
                  <a:lnTo>
                    <a:pt x="505" y="597"/>
                  </a:lnTo>
                  <a:lnTo>
                    <a:pt x="502" y="597"/>
                  </a:lnTo>
                  <a:lnTo>
                    <a:pt x="501" y="593"/>
                  </a:lnTo>
                  <a:lnTo>
                    <a:pt x="499" y="586"/>
                  </a:lnTo>
                  <a:lnTo>
                    <a:pt x="496" y="584"/>
                  </a:lnTo>
                  <a:lnTo>
                    <a:pt x="492" y="587"/>
                  </a:lnTo>
                  <a:lnTo>
                    <a:pt x="489" y="590"/>
                  </a:lnTo>
                  <a:lnTo>
                    <a:pt x="488" y="596"/>
                  </a:lnTo>
                  <a:lnTo>
                    <a:pt x="488" y="600"/>
                  </a:lnTo>
                  <a:lnTo>
                    <a:pt x="488" y="603"/>
                  </a:lnTo>
                  <a:lnTo>
                    <a:pt x="489" y="603"/>
                  </a:lnTo>
                  <a:lnTo>
                    <a:pt x="489" y="603"/>
                  </a:lnTo>
                  <a:lnTo>
                    <a:pt x="494" y="603"/>
                  </a:lnTo>
                  <a:lnTo>
                    <a:pt x="499" y="603"/>
                  </a:lnTo>
                  <a:lnTo>
                    <a:pt x="509" y="617"/>
                  </a:lnTo>
                  <a:lnTo>
                    <a:pt x="515" y="616"/>
                  </a:lnTo>
                  <a:lnTo>
                    <a:pt x="534" y="627"/>
                  </a:lnTo>
                  <a:lnTo>
                    <a:pt x="528" y="640"/>
                  </a:lnTo>
                  <a:lnTo>
                    <a:pt x="544" y="650"/>
                  </a:lnTo>
                  <a:lnTo>
                    <a:pt x="538" y="654"/>
                  </a:lnTo>
                  <a:lnTo>
                    <a:pt x="525" y="666"/>
                  </a:lnTo>
                  <a:lnTo>
                    <a:pt x="517" y="669"/>
                  </a:lnTo>
                  <a:lnTo>
                    <a:pt x="512" y="667"/>
                  </a:lnTo>
                  <a:lnTo>
                    <a:pt x="495" y="666"/>
                  </a:lnTo>
                  <a:lnTo>
                    <a:pt x="486" y="667"/>
                  </a:lnTo>
                  <a:close/>
                  <a:moveTo>
                    <a:pt x="136" y="488"/>
                  </a:moveTo>
                  <a:lnTo>
                    <a:pt x="136" y="488"/>
                  </a:lnTo>
                  <a:lnTo>
                    <a:pt x="137" y="491"/>
                  </a:lnTo>
                  <a:lnTo>
                    <a:pt x="138" y="493"/>
                  </a:lnTo>
                  <a:lnTo>
                    <a:pt x="138" y="493"/>
                  </a:lnTo>
                  <a:lnTo>
                    <a:pt x="138" y="494"/>
                  </a:lnTo>
                  <a:lnTo>
                    <a:pt x="138" y="494"/>
                  </a:lnTo>
                  <a:lnTo>
                    <a:pt x="140" y="494"/>
                  </a:lnTo>
                  <a:lnTo>
                    <a:pt x="140" y="494"/>
                  </a:lnTo>
                  <a:lnTo>
                    <a:pt x="143" y="490"/>
                  </a:lnTo>
                  <a:lnTo>
                    <a:pt x="143" y="490"/>
                  </a:lnTo>
                  <a:lnTo>
                    <a:pt x="144" y="488"/>
                  </a:lnTo>
                  <a:lnTo>
                    <a:pt x="144" y="487"/>
                  </a:lnTo>
                  <a:lnTo>
                    <a:pt x="144" y="487"/>
                  </a:lnTo>
                  <a:lnTo>
                    <a:pt x="143" y="487"/>
                  </a:lnTo>
                  <a:lnTo>
                    <a:pt x="143" y="487"/>
                  </a:lnTo>
                  <a:lnTo>
                    <a:pt x="138" y="487"/>
                  </a:lnTo>
                  <a:lnTo>
                    <a:pt x="137" y="487"/>
                  </a:lnTo>
                  <a:lnTo>
                    <a:pt x="136" y="488"/>
                  </a:lnTo>
                  <a:lnTo>
                    <a:pt x="136" y="48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29" name="Freeform 176"/>
            <p:cNvSpPr>
              <a:spLocks/>
            </p:cNvSpPr>
            <p:nvPr/>
          </p:nvSpPr>
          <p:spPr bwMode="auto">
            <a:xfrm>
              <a:off x="4302119" y="5022545"/>
              <a:ext cx="529976" cy="441850"/>
            </a:xfrm>
            <a:custGeom>
              <a:avLst/>
              <a:gdLst>
                <a:gd name="T0" fmla="*/ 409 w 867"/>
                <a:gd name="T1" fmla="*/ 586 h 669"/>
                <a:gd name="T2" fmla="*/ 363 w 867"/>
                <a:gd name="T3" fmla="*/ 593 h 669"/>
                <a:gd name="T4" fmla="*/ 330 w 867"/>
                <a:gd name="T5" fmla="*/ 613 h 669"/>
                <a:gd name="T6" fmla="*/ 285 w 867"/>
                <a:gd name="T7" fmla="*/ 597 h 669"/>
                <a:gd name="T8" fmla="*/ 237 w 867"/>
                <a:gd name="T9" fmla="*/ 586 h 669"/>
                <a:gd name="T10" fmla="*/ 211 w 867"/>
                <a:gd name="T11" fmla="*/ 543 h 669"/>
                <a:gd name="T12" fmla="*/ 210 w 867"/>
                <a:gd name="T13" fmla="*/ 500 h 669"/>
                <a:gd name="T14" fmla="*/ 176 w 867"/>
                <a:gd name="T15" fmla="*/ 477 h 669"/>
                <a:gd name="T16" fmla="*/ 134 w 867"/>
                <a:gd name="T17" fmla="*/ 485 h 669"/>
                <a:gd name="T18" fmla="*/ 136 w 867"/>
                <a:gd name="T19" fmla="*/ 517 h 669"/>
                <a:gd name="T20" fmla="*/ 87 w 867"/>
                <a:gd name="T21" fmla="*/ 524 h 669"/>
                <a:gd name="T22" fmla="*/ 58 w 867"/>
                <a:gd name="T23" fmla="*/ 348 h 669"/>
                <a:gd name="T24" fmla="*/ 15 w 867"/>
                <a:gd name="T25" fmla="*/ 116 h 669"/>
                <a:gd name="T26" fmla="*/ 21 w 867"/>
                <a:gd name="T27" fmla="*/ 57 h 669"/>
                <a:gd name="T28" fmla="*/ 18 w 867"/>
                <a:gd name="T29" fmla="*/ 44 h 669"/>
                <a:gd name="T30" fmla="*/ 53 w 867"/>
                <a:gd name="T31" fmla="*/ 37 h 669"/>
                <a:gd name="T32" fmla="*/ 83 w 867"/>
                <a:gd name="T33" fmla="*/ 69 h 669"/>
                <a:gd name="T34" fmla="*/ 94 w 867"/>
                <a:gd name="T35" fmla="*/ 46 h 669"/>
                <a:gd name="T36" fmla="*/ 123 w 867"/>
                <a:gd name="T37" fmla="*/ 50 h 669"/>
                <a:gd name="T38" fmla="*/ 141 w 867"/>
                <a:gd name="T39" fmla="*/ 54 h 669"/>
                <a:gd name="T40" fmla="*/ 164 w 867"/>
                <a:gd name="T41" fmla="*/ 62 h 669"/>
                <a:gd name="T42" fmla="*/ 206 w 867"/>
                <a:gd name="T43" fmla="*/ 53 h 669"/>
                <a:gd name="T44" fmla="*/ 243 w 867"/>
                <a:gd name="T45" fmla="*/ 27 h 669"/>
                <a:gd name="T46" fmla="*/ 280 w 867"/>
                <a:gd name="T47" fmla="*/ 26 h 669"/>
                <a:gd name="T48" fmla="*/ 295 w 867"/>
                <a:gd name="T49" fmla="*/ 23 h 669"/>
                <a:gd name="T50" fmla="*/ 327 w 867"/>
                <a:gd name="T51" fmla="*/ 10 h 669"/>
                <a:gd name="T52" fmla="*/ 342 w 867"/>
                <a:gd name="T53" fmla="*/ 26 h 669"/>
                <a:gd name="T54" fmla="*/ 379 w 867"/>
                <a:gd name="T55" fmla="*/ 86 h 669"/>
                <a:gd name="T56" fmla="*/ 405 w 867"/>
                <a:gd name="T57" fmla="*/ 93 h 669"/>
                <a:gd name="T58" fmla="*/ 386 w 867"/>
                <a:gd name="T59" fmla="*/ 117 h 669"/>
                <a:gd name="T60" fmla="*/ 433 w 867"/>
                <a:gd name="T61" fmla="*/ 175 h 669"/>
                <a:gd name="T62" fmla="*/ 472 w 867"/>
                <a:gd name="T63" fmla="*/ 150 h 669"/>
                <a:gd name="T64" fmla="*/ 508 w 867"/>
                <a:gd name="T65" fmla="*/ 120 h 669"/>
                <a:gd name="T66" fmla="*/ 542 w 867"/>
                <a:gd name="T67" fmla="*/ 130 h 669"/>
                <a:gd name="T68" fmla="*/ 591 w 867"/>
                <a:gd name="T69" fmla="*/ 113 h 669"/>
                <a:gd name="T70" fmla="*/ 630 w 867"/>
                <a:gd name="T71" fmla="*/ 112 h 669"/>
                <a:gd name="T72" fmla="*/ 668 w 867"/>
                <a:gd name="T73" fmla="*/ 109 h 669"/>
                <a:gd name="T74" fmla="*/ 749 w 867"/>
                <a:gd name="T75" fmla="*/ 130 h 669"/>
                <a:gd name="T76" fmla="*/ 794 w 867"/>
                <a:gd name="T77" fmla="*/ 183 h 669"/>
                <a:gd name="T78" fmla="*/ 824 w 867"/>
                <a:gd name="T79" fmla="*/ 256 h 669"/>
                <a:gd name="T80" fmla="*/ 859 w 867"/>
                <a:gd name="T81" fmla="*/ 289 h 669"/>
                <a:gd name="T82" fmla="*/ 830 w 867"/>
                <a:gd name="T83" fmla="*/ 314 h 669"/>
                <a:gd name="T84" fmla="*/ 860 w 867"/>
                <a:gd name="T85" fmla="*/ 359 h 669"/>
                <a:gd name="T86" fmla="*/ 846 w 867"/>
                <a:gd name="T87" fmla="*/ 389 h 669"/>
                <a:gd name="T88" fmla="*/ 863 w 867"/>
                <a:gd name="T89" fmla="*/ 417 h 669"/>
                <a:gd name="T90" fmla="*/ 819 w 867"/>
                <a:gd name="T91" fmla="*/ 418 h 669"/>
                <a:gd name="T92" fmla="*/ 803 w 867"/>
                <a:gd name="T93" fmla="*/ 430 h 669"/>
                <a:gd name="T94" fmla="*/ 806 w 867"/>
                <a:gd name="T95" fmla="*/ 483 h 669"/>
                <a:gd name="T96" fmla="*/ 764 w 867"/>
                <a:gd name="T97" fmla="*/ 501 h 669"/>
                <a:gd name="T98" fmla="*/ 688 w 867"/>
                <a:gd name="T99" fmla="*/ 526 h 669"/>
                <a:gd name="T100" fmla="*/ 653 w 867"/>
                <a:gd name="T101" fmla="*/ 557 h 669"/>
                <a:gd name="T102" fmla="*/ 607 w 867"/>
                <a:gd name="T103" fmla="*/ 553 h 669"/>
                <a:gd name="T104" fmla="*/ 565 w 867"/>
                <a:gd name="T105" fmla="*/ 567 h 669"/>
                <a:gd name="T106" fmla="*/ 532 w 867"/>
                <a:gd name="T107" fmla="*/ 573 h 669"/>
                <a:gd name="T108" fmla="*/ 512 w 867"/>
                <a:gd name="T109" fmla="*/ 583 h 669"/>
                <a:gd name="T110" fmla="*/ 492 w 867"/>
                <a:gd name="T111" fmla="*/ 587 h 669"/>
                <a:gd name="T112" fmla="*/ 499 w 867"/>
                <a:gd name="T113" fmla="*/ 603 h 669"/>
                <a:gd name="T114" fmla="*/ 517 w 867"/>
                <a:gd name="T115" fmla="*/ 669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67" h="669">
                  <a:moveTo>
                    <a:pt x="486" y="667"/>
                  </a:moveTo>
                  <a:lnTo>
                    <a:pt x="479" y="657"/>
                  </a:lnTo>
                  <a:lnTo>
                    <a:pt x="476" y="634"/>
                  </a:lnTo>
                  <a:lnTo>
                    <a:pt x="454" y="613"/>
                  </a:lnTo>
                  <a:lnTo>
                    <a:pt x="439" y="601"/>
                  </a:lnTo>
                  <a:lnTo>
                    <a:pt x="428" y="590"/>
                  </a:lnTo>
                  <a:lnTo>
                    <a:pt x="419" y="587"/>
                  </a:lnTo>
                  <a:lnTo>
                    <a:pt x="409" y="586"/>
                  </a:lnTo>
                  <a:lnTo>
                    <a:pt x="401" y="587"/>
                  </a:lnTo>
                  <a:lnTo>
                    <a:pt x="396" y="594"/>
                  </a:lnTo>
                  <a:lnTo>
                    <a:pt x="393" y="596"/>
                  </a:lnTo>
                  <a:lnTo>
                    <a:pt x="391" y="597"/>
                  </a:lnTo>
                  <a:lnTo>
                    <a:pt x="385" y="599"/>
                  </a:lnTo>
                  <a:lnTo>
                    <a:pt x="376" y="597"/>
                  </a:lnTo>
                  <a:lnTo>
                    <a:pt x="370" y="597"/>
                  </a:lnTo>
                  <a:lnTo>
                    <a:pt x="363" y="593"/>
                  </a:lnTo>
                  <a:lnTo>
                    <a:pt x="358" y="591"/>
                  </a:lnTo>
                  <a:lnTo>
                    <a:pt x="356" y="593"/>
                  </a:lnTo>
                  <a:lnTo>
                    <a:pt x="355" y="596"/>
                  </a:lnTo>
                  <a:lnTo>
                    <a:pt x="353" y="603"/>
                  </a:lnTo>
                  <a:lnTo>
                    <a:pt x="349" y="609"/>
                  </a:lnTo>
                  <a:lnTo>
                    <a:pt x="348" y="613"/>
                  </a:lnTo>
                  <a:lnTo>
                    <a:pt x="343" y="614"/>
                  </a:lnTo>
                  <a:lnTo>
                    <a:pt x="330" y="613"/>
                  </a:lnTo>
                  <a:lnTo>
                    <a:pt x="323" y="611"/>
                  </a:lnTo>
                  <a:lnTo>
                    <a:pt x="317" y="606"/>
                  </a:lnTo>
                  <a:lnTo>
                    <a:pt x="310" y="601"/>
                  </a:lnTo>
                  <a:lnTo>
                    <a:pt x="305" y="600"/>
                  </a:lnTo>
                  <a:lnTo>
                    <a:pt x="300" y="603"/>
                  </a:lnTo>
                  <a:lnTo>
                    <a:pt x="295" y="603"/>
                  </a:lnTo>
                  <a:lnTo>
                    <a:pt x="287" y="601"/>
                  </a:lnTo>
                  <a:lnTo>
                    <a:pt x="285" y="597"/>
                  </a:lnTo>
                  <a:lnTo>
                    <a:pt x="280" y="590"/>
                  </a:lnTo>
                  <a:lnTo>
                    <a:pt x="274" y="590"/>
                  </a:lnTo>
                  <a:lnTo>
                    <a:pt x="270" y="591"/>
                  </a:lnTo>
                  <a:lnTo>
                    <a:pt x="266" y="587"/>
                  </a:lnTo>
                  <a:lnTo>
                    <a:pt x="262" y="586"/>
                  </a:lnTo>
                  <a:lnTo>
                    <a:pt x="259" y="584"/>
                  </a:lnTo>
                  <a:lnTo>
                    <a:pt x="247" y="586"/>
                  </a:lnTo>
                  <a:lnTo>
                    <a:pt x="237" y="586"/>
                  </a:lnTo>
                  <a:lnTo>
                    <a:pt x="230" y="584"/>
                  </a:lnTo>
                  <a:lnTo>
                    <a:pt x="226" y="580"/>
                  </a:lnTo>
                  <a:lnTo>
                    <a:pt x="226" y="574"/>
                  </a:lnTo>
                  <a:lnTo>
                    <a:pt x="229" y="564"/>
                  </a:lnTo>
                  <a:lnTo>
                    <a:pt x="230" y="557"/>
                  </a:lnTo>
                  <a:lnTo>
                    <a:pt x="227" y="548"/>
                  </a:lnTo>
                  <a:lnTo>
                    <a:pt x="217" y="544"/>
                  </a:lnTo>
                  <a:lnTo>
                    <a:pt x="211" y="543"/>
                  </a:lnTo>
                  <a:lnTo>
                    <a:pt x="197" y="544"/>
                  </a:lnTo>
                  <a:lnTo>
                    <a:pt x="190" y="540"/>
                  </a:lnTo>
                  <a:lnTo>
                    <a:pt x="196" y="536"/>
                  </a:lnTo>
                  <a:lnTo>
                    <a:pt x="201" y="526"/>
                  </a:lnTo>
                  <a:lnTo>
                    <a:pt x="203" y="520"/>
                  </a:lnTo>
                  <a:lnTo>
                    <a:pt x="209" y="511"/>
                  </a:lnTo>
                  <a:lnTo>
                    <a:pt x="210" y="506"/>
                  </a:lnTo>
                  <a:lnTo>
                    <a:pt x="210" y="500"/>
                  </a:lnTo>
                  <a:lnTo>
                    <a:pt x="206" y="500"/>
                  </a:lnTo>
                  <a:lnTo>
                    <a:pt x="201" y="498"/>
                  </a:lnTo>
                  <a:lnTo>
                    <a:pt x="200" y="498"/>
                  </a:lnTo>
                  <a:lnTo>
                    <a:pt x="196" y="495"/>
                  </a:lnTo>
                  <a:lnTo>
                    <a:pt x="191" y="493"/>
                  </a:lnTo>
                  <a:lnTo>
                    <a:pt x="187" y="487"/>
                  </a:lnTo>
                  <a:lnTo>
                    <a:pt x="183" y="481"/>
                  </a:lnTo>
                  <a:lnTo>
                    <a:pt x="176" y="477"/>
                  </a:lnTo>
                  <a:lnTo>
                    <a:pt x="167" y="477"/>
                  </a:lnTo>
                  <a:lnTo>
                    <a:pt x="158" y="484"/>
                  </a:lnTo>
                  <a:lnTo>
                    <a:pt x="156" y="484"/>
                  </a:lnTo>
                  <a:lnTo>
                    <a:pt x="151" y="485"/>
                  </a:lnTo>
                  <a:lnTo>
                    <a:pt x="151" y="485"/>
                  </a:lnTo>
                  <a:lnTo>
                    <a:pt x="141" y="485"/>
                  </a:lnTo>
                  <a:lnTo>
                    <a:pt x="136" y="485"/>
                  </a:lnTo>
                  <a:lnTo>
                    <a:pt x="134" y="485"/>
                  </a:lnTo>
                  <a:lnTo>
                    <a:pt x="134" y="488"/>
                  </a:lnTo>
                  <a:lnTo>
                    <a:pt x="134" y="488"/>
                  </a:lnTo>
                  <a:lnTo>
                    <a:pt x="136" y="493"/>
                  </a:lnTo>
                  <a:lnTo>
                    <a:pt x="140" y="500"/>
                  </a:lnTo>
                  <a:lnTo>
                    <a:pt x="141" y="501"/>
                  </a:lnTo>
                  <a:lnTo>
                    <a:pt x="141" y="506"/>
                  </a:lnTo>
                  <a:lnTo>
                    <a:pt x="140" y="511"/>
                  </a:lnTo>
                  <a:lnTo>
                    <a:pt x="136" y="517"/>
                  </a:lnTo>
                  <a:lnTo>
                    <a:pt x="123" y="526"/>
                  </a:lnTo>
                  <a:lnTo>
                    <a:pt x="114" y="530"/>
                  </a:lnTo>
                  <a:lnTo>
                    <a:pt x="107" y="528"/>
                  </a:lnTo>
                  <a:lnTo>
                    <a:pt x="103" y="528"/>
                  </a:lnTo>
                  <a:lnTo>
                    <a:pt x="97" y="531"/>
                  </a:lnTo>
                  <a:lnTo>
                    <a:pt x="93" y="531"/>
                  </a:lnTo>
                  <a:lnTo>
                    <a:pt x="90" y="526"/>
                  </a:lnTo>
                  <a:lnTo>
                    <a:pt x="87" y="524"/>
                  </a:lnTo>
                  <a:lnTo>
                    <a:pt x="83" y="528"/>
                  </a:lnTo>
                  <a:lnTo>
                    <a:pt x="83" y="533"/>
                  </a:lnTo>
                  <a:lnTo>
                    <a:pt x="80" y="537"/>
                  </a:lnTo>
                  <a:lnTo>
                    <a:pt x="77" y="537"/>
                  </a:lnTo>
                  <a:lnTo>
                    <a:pt x="77" y="528"/>
                  </a:lnTo>
                  <a:lnTo>
                    <a:pt x="73" y="485"/>
                  </a:lnTo>
                  <a:lnTo>
                    <a:pt x="67" y="435"/>
                  </a:lnTo>
                  <a:lnTo>
                    <a:pt x="58" y="348"/>
                  </a:lnTo>
                  <a:lnTo>
                    <a:pt x="57" y="338"/>
                  </a:lnTo>
                  <a:lnTo>
                    <a:pt x="45" y="275"/>
                  </a:lnTo>
                  <a:lnTo>
                    <a:pt x="35" y="216"/>
                  </a:lnTo>
                  <a:lnTo>
                    <a:pt x="34" y="210"/>
                  </a:lnTo>
                  <a:lnTo>
                    <a:pt x="34" y="206"/>
                  </a:lnTo>
                  <a:lnTo>
                    <a:pt x="24" y="157"/>
                  </a:lnTo>
                  <a:lnTo>
                    <a:pt x="20" y="139"/>
                  </a:lnTo>
                  <a:lnTo>
                    <a:pt x="15" y="116"/>
                  </a:lnTo>
                  <a:lnTo>
                    <a:pt x="8" y="87"/>
                  </a:lnTo>
                  <a:lnTo>
                    <a:pt x="2" y="70"/>
                  </a:lnTo>
                  <a:lnTo>
                    <a:pt x="0" y="62"/>
                  </a:lnTo>
                  <a:lnTo>
                    <a:pt x="2" y="70"/>
                  </a:lnTo>
                  <a:lnTo>
                    <a:pt x="14" y="67"/>
                  </a:lnTo>
                  <a:lnTo>
                    <a:pt x="15" y="63"/>
                  </a:lnTo>
                  <a:lnTo>
                    <a:pt x="15" y="57"/>
                  </a:lnTo>
                  <a:lnTo>
                    <a:pt x="21" y="57"/>
                  </a:lnTo>
                  <a:lnTo>
                    <a:pt x="27" y="59"/>
                  </a:lnTo>
                  <a:lnTo>
                    <a:pt x="27" y="60"/>
                  </a:lnTo>
                  <a:lnTo>
                    <a:pt x="28" y="59"/>
                  </a:lnTo>
                  <a:lnTo>
                    <a:pt x="30" y="56"/>
                  </a:lnTo>
                  <a:lnTo>
                    <a:pt x="30" y="51"/>
                  </a:lnTo>
                  <a:lnTo>
                    <a:pt x="28" y="49"/>
                  </a:lnTo>
                  <a:lnTo>
                    <a:pt x="22" y="46"/>
                  </a:lnTo>
                  <a:lnTo>
                    <a:pt x="18" y="44"/>
                  </a:lnTo>
                  <a:lnTo>
                    <a:pt x="18" y="41"/>
                  </a:lnTo>
                  <a:lnTo>
                    <a:pt x="20" y="39"/>
                  </a:lnTo>
                  <a:lnTo>
                    <a:pt x="28" y="34"/>
                  </a:lnTo>
                  <a:lnTo>
                    <a:pt x="30" y="37"/>
                  </a:lnTo>
                  <a:lnTo>
                    <a:pt x="40" y="41"/>
                  </a:lnTo>
                  <a:lnTo>
                    <a:pt x="44" y="41"/>
                  </a:lnTo>
                  <a:lnTo>
                    <a:pt x="48" y="34"/>
                  </a:lnTo>
                  <a:lnTo>
                    <a:pt x="53" y="37"/>
                  </a:lnTo>
                  <a:lnTo>
                    <a:pt x="50" y="56"/>
                  </a:lnTo>
                  <a:lnTo>
                    <a:pt x="51" y="60"/>
                  </a:lnTo>
                  <a:lnTo>
                    <a:pt x="54" y="63"/>
                  </a:lnTo>
                  <a:lnTo>
                    <a:pt x="58" y="63"/>
                  </a:lnTo>
                  <a:lnTo>
                    <a:pt x="64" y="60"/>
                  </a:lnTo>
                  <a:lnTo>
                    <a:pt x="71" y="62"/>
                  </a:lnTo>
                  <a:lnTo>
                    <a:pt x="75" y="66"/>
                  </a:lnTo>
                  <a:lnTo>
                    <a:pt x="83" y="69"/>
                  </a:lnTo>
                  <a:lnTo>
                    <a:pt x="84" y="69"/>
                  </a:lnTo>
                  <a:lnTo>
                    <a:pt x="87" y="66"/>
                  </a:lnTo>
                  <a:lnTo>
                    <a:pt x="87" y="64"/>
                  </a:lnTo>
                  <a:lnTo>
                    <a:pt x="88" y="57"/>
                  </a:lnTo>
                  <a:lnTo>
                    <a:pt x="88" y="50"/>
                  </a:lnTo>
                  <a:lnTo>
                    <a:pt x="90" y="47"/>
                  </a:lnTo>
                  <a:lnTo>
                    <a:pt x="91" y="44"/>
                  </a:lnTo>
                  <a:lnTo>
                    <a:pt x="94" y="46"/>
                  </a:lnTo>
                  <a:lnTo>
                    <a:pt x="97" y="46"/>
                  </a:lnTo>
                  <a:lnTo>
                    <a:pt x="98" y="49"/>
                  </a:lnTo>
                  <a:lnTo>
                    <a:pt x="98" y="50"/>
                  </a:lnTo>
                  <a:lnTo>
                    <a:pt x="101" y="50"/>
                  </a:lnTo>
                  <a:lnTo>
                    <a:pt x="105" y="50"/>
                  </a:lnTo>
                  <a:lnTo>
                    <a:pt x="110" y="49"/>
                  </a:lnTo>
                  <a:lnTo>
                    <a:pt x="118" y="50"/>
                  </a:lnTo>
                  <a:lnTo>
                    <a:pt x="123" y="50"/>
                  </a:lnTo>
                  <a:lnTo>
                    <a:pt x="127" y="54"/>
                  </a:lnTo>
                  <a:lnTo>
                    <a:pt x="127" y="56"/>
                  </a:lnTo>
                  <a:lnTo>
                    <a:pt x="130" y="57"/>
                  </a:lnTo>
                  <a:lnTo>
                    <a:pt x="131" y="54"/>
                  </a:lnTo>
                  <a:lnTo>
                    <a:pt x="133" y="51"/>
                  </a:lnTo>
                  <a:lnTo>
                    <a:pt x="138" y="50"/>
                  </a:lnTo>
                  <a:lnTo>
                    <a:pt x="140" y="51"/>
                  </a:lnTo>
                  <a:lnTo>
                    <a:pt x="141" y="54"/>
                  </a:lnTo>
                  <a:lnTo>
                    <a:pt x="144" y="57"/>
                  </a:lnTo>
                  <a:lnTo>
                    <a:pt x="150" y="59"/>
                  </a:lnTo>
                  <a:lnTo>
                    <a:pt x="153" y="59"/>
                  </a:lnTo>
                  <a:lnTo>
                    <a:pt x="156" y="57"/>
                  </a:lnTo>
                  <a:lnTo>
                    <a:pt x="157" y="56"/>
                  </a:lnTo>
                  <a:lnTo>
                    <a:pt x="158" y="56"/>
                  </a:lnTo>
                  <a:lnTo>
                    <a:pt x="161" y="59"/>
                  </a:lnTo>
                  <a:lnTo>
                    <a:pt x="164" y="62"/>
                  </a:lnTo>
                  <a:lnTo>
                    <a:pt x="173" y="62"/>
                  </a:lnTo>
                  <a:lnTo>
                    <a:pt x="183" y="63"/>
                  </a:lnTo>
                  <a:lnTo>
                    <a:pt x="187" y="59"/>
                  </a:lnTo>
                  <a:lnTo>
                    <a:pt x="194" y="51"/>
                  </a:lnTo>
                  <a:lnTo>
                    <a:pt x="200" y="50"/>
                  </a:lnTo>
                  <a:lnTo>
                    <a:pt x="201" y="50"/>
                  </a:lnTo>
                  <a:lnTo>
                    <a:pt x="204" y="51"/>
                  </a:lnTo>
                  <a:lnTo>
                    <a:pt x="206" y="53"/>
                  </a:lnTo>
                  <a:lnTo>
                    <a:pt x="213" y="53"/>
                  </a:lnTo>
                  <a:lnTo>
                    <a:pt x="216" y="50"/>
                  </a:lnTo>
                  <a:lnTo>
                    <a:pt x="214" y="41"/>
                  </a:lnTo>
                  <a:lnTo>
                    <a:pt x="226" y="40"/>
                  </a:lnTo>
                  <a:lnTo>
                    <a:pt x="239" y="36"/>
                  </a:lnTo>
                  <a:lnTo>
                    <a:pt x="243" y="33"/>
                  </a:lnTo>
                  <a:lnTo>
                    <a:pt x="243" y="31"/>
                  </a:lnTo>
                  <a:lnTo>
                    <a:pt x="243" y="27"/>
                  </a:lnTo>
                  <a:lnTo>
                    <a:pt x="244" y="27"/>
                  </a:lnTo>
                  <a:lnTo>
                    <a:pt x="253" y="24"/>
                  </a:lnTo>
                  <a:lnTo>
                    <a:pt x="257" y="23"/>
                  </a:lnTo>
                  <a:lnTo>
                    <a:pt x="259" y="29"/>
                  </a:lnTo>
                  <a:lnTo>
                    <a:pt x="262" y="31"/>
                  </a:lnTo>
                  <a:lnTo>
                    <a:pt x="269" y="29"/>
                  </a:lnTo>
                  <a:lnTo>
                    <a:pt x="276" y="27"/>
                  </a:lnTo>
                  <a:lnTo>
                    <a:pt x="280" y="26"/>
                  </a:lnTo>
                  <a:lnTo>
                    <a:pt x="283" y="27"/>
                  </a:lnTo>
                  <a:lnTo>
                    <a:pt x="287" y="31"/>
                  </a:lnTo>
                  <a:lnTo>
                    <a:pt x="290" y="33"/>
                  </a:lnTo>
                  <a:lnTo>
                    <a:pt x="302" y="26"/>
                  </a:lnTo>
                  <a:lnTo>
                    <a:pt x="302" y="24"/>
                  </a:lnTo>
                  <a:lnTo>
                    <a:pt x="302" y="24"/>
                  </a:lnTo>
                  <a:lnTo>
                    <a:pt x="297" y="23"/>
                  </a:lnTo>
                  <a:lnTo>
                    <a:pt x="295" y="23"/>
                  </a:lnTo>
                  <a:lnTo>
                    <a:pt x="293" y="21"/>
                  </a:lnTo>
                  <a:lnTo>
                    <a:pt x="293" y="19"/>
                  </a:lnTo>
                  <a:lnTo>
                    <a:pt x="296" y="17"/>
                  </a:lnTo>
                  <a:lnTo>
                    <a:pt x="300" y="17"/>
                  </a:lnTo>
                  <a:lnTo>
                    <a:pt x="306" y="19"/>
                  </a:lnTo>
                  <a:lnTo>
                    <a:pt x="309" y="19"/>
                  </a:lnTo>
                  <a:lnTo>
                    <a:pt x="315" y="16"/>
                  </a:lnTo>
                  <a:lnTo>
                    <a:pt x="327" y="10"/>
                  </a:lnTo>
                  <a:lnTo>
                    <a:pt x="327" y="6"/>
                  </a:lnTo>
                  <a:lnTo>
                    <a:pt x="326" y="1"/>
                  </a:lnTo>
                  <a:lnTo>
                    <a:pt x="327" y="0"/>
                  </a:lnTo>
                  <a:lnTo>
                    <a:pt x="333" y="0"/>
                  </a:lnTo>
                  <a:lnTo>
                    <a:pt x="336" y="0"/>
                  </a:lnTo>
                  <a:lnTo>
                    <a:pt x="340" y="3"/>
                  </a:lnTo>
                  <a:lnTo>
                    <a:pt x="339" y="9"/>
                  </a:lnTo>
                  <a:lnTo>
                    <a:pt x="342" y="26"/>
                  </a:lnTo>
                  <a:lnTo>
                    <a:pt x="348" y="43"/>
                  </a:lnTo>
                  <a:lnTo>
                    <a:pt x="359" y="53"/>
                  </a:lnTo>
                  <a:lnTo>
                    <a:pt x="376" y="67"/>
                  </a:lnTo>
                  <a:lnTo>
                    <a:pt x="383" y="73"/>
                  </a:lnTo>
                  <a:lnTo>
                    <a:pt x="382" y="76"/>
                  </a:lnTo>
                  <a:lnTo>
                    <a:pt x="379" y="79"/>
                  </a:lnTo>
                  <a:lnTo>
                    <a:pt x="378" y="82"/>
                  </a:lnTo>
                  <a:lnTo>
                    <a:pt x="379" y="86"/>
                  </a:lnTo>
                  <a:lnTo>
                    <a:pt x="382" y="87"/>
                  </a:lnTo>
                  <a:lnTo>
                    <a:pt x="388" y="86"/>
                  </a:lnTo>
                  <a:lnTo>
                    <a:pt x="389" y="83"/>
                  </a:lnTo>
                  <a:lnTo>
                    <a:pt x="393" y="83"/>
                  </a:lnTo>
                  <a:lnTo>
                    <a:pt x="393" y="87"/>
                  </a:lnTo>
                  <a:lnTo>
                    <a:pt x="399" y="90"/>
                  </a:lnTo>
                  <a:lnTo>
                    <a:pt x="403" y="92"/>
                  </a:lnTo>
                  <a:lnTo>
                    <a:pt x="405" y="93"/>
                  </a:lnTo>
                  <a:lnTo>
                    <a:pt x="405" y="96"/>
                  </a:lnTo>
                  <a:lnTo>
                    <a:pt x="402" y="97"/>
                  </a:lnTo>
                  <a:lnTo>
                    <a:pt x="399" y="100"/>
                  </a:lnTo>
                  <a:lnTo>
                    <a:pt x="395" y="103"/>
                  </a:lnTo>
                  <a:lnTo>
                    <a:pt x="392" y="103"/>
                  </a:lnTo>
                  <a:lnTo>
                    <a:pt x="388" y="107"/>
                  </a:lnTo>
                  <a:lnTo>
                    <a:pt x="386" y="112"/>
                  </a:lnTo>
                  <a:lnTo>
                    <a:pt x="386" y="117"/>
                  </a:lnTo>
                  <a:lnTo>
                    <a:pt x="386" y="126"/>
                  </a:lnTo>
                  <a:lnTo>
                    <a:pt x="388" y="126"/>
                  </a:lnTo>
                  <a:lnTo>
                    <a:pt x="396" y="127"/>
                  </a:lnTo>
                  <a:lnTo>
                    <a:pt x="405" y="132"/>
                  </a:lnTo>
                  <a:lnTo>
                    <a:pt x="419" y="149"/>
                  </a:lnTo>
                  <a:lnTo>
                    <a:pt x="429" y="163"/>
                  </a:lnTo>
                  <a:lnTo>
                    <a:pt x="431" y="170"/>
                  </a:lnTo>
                  <a:lnTo>
                    <a:pt x="433" y="175"/>
                  </a:lnTo>
                  <a:lnTo>
                    <a:pt x="438" y="179"/>
                  </a:lnTo>
                  <a:lnTo>
                    <a:pt x="452" y="178"/>
                  </a:lnTo>
                  <a:lnTo>
                    <a:pt x="451" y="170"/>
                  </a:lnTo>
                  <a:lnTo>
                    <a:pt x="458" y="168"/>
                  </a:lnTo>
                  <a:lnTo>
                    <a:pt x="461" y="166"/>
                  </a:lnTo>
                  <a:lnTo>
                    <a:pt x="468" y="162"/>
                  </a:lnTo>
                  <a:lnTo>
                    <a:pt x="471" y="153"/>
                  </a:lnTo>
                  <a:lnTo>
                    <a:pt x="472" y="150"/>
                  </a:lnTo>
                  <a:lnTo>
                    <a:pt x="478" y="147"/>
                  </a:lnTo>
                  <a:lnTo>
                    <a:pt x="478" y="146"/>
                  </a:lnTo>
                  <a:lnTo>
                    <a:pt x="476" y="143"/>
                  </a:lnTo>
                  <a:lnTo>
                    <a:pt x="475" y="140"/>
                  </a:lnTo>
                  <a:lnTo>
                    <a:pt x="475" y="137"/>
                  </a:lnTo>
                  <a:lnTo>
                    <a:pt x="478" y="136"/>
                  </a:lnTo>
                  <a:lnTo>
                    <a:pt x="484" y="133"/>
                  </a:lnTo>
                  <a:lnTo>
                    <a:pt x="508" y="120"/>
                  </a:lnTo>
                  <a:lnTo>
                    <a:pt x="522" y="115"/>
                  </a:lnTo>
                  <a:lnTo>
                    <a:pt x="525" y="110"/>
                  </a:lnTo>
                  <a:lnTo>
                    <a:pt x="535" y="107"/>
                  </a:lnTo>
                  <a:lnTo>
                    <a:pt x="538" y="109"/>
                  </a:lnTo>
                  <a:lnTo>
                    <a:pt x="541" y="113"/>
                  </a:lnTo>
                  <a:lnTo>
                    <a:pt x="541" y="119"/>
                  </a:lnTo>
                  <a:lnTo>
                    <a:pt x="541" y="125"/>
                  </a:lnTo>
                  <a:lnTo>
                    <a:pt x="542" y="130"/>
                  </a:lnTo>
                  <a:lnTo>
                    <a:pt x="545" y="133"/>
                  </a:lnTo>
                  <a:lnTo>
                    <a:pt x="551" y="130"/>
                  </a:lnTo>
                  <a:lnTo>
                    <a:pt x="557" y="129"/>
                  </a:lnTo>
                  <a:lnTo>
                    <a:pt x="560" y="116"/>
                  </a:lnTo>
                  <a:lnTo>
                    <a:pt x="564" y="109"/>
                  </a:lnTo>
                  <a:lnTo>
                    <a:pt x="571" y="109"/>
                  </a:lnTo>
                  <a:lnTo>
                    <a:pt x="581" y="113"/>
                  </a:lnTo>
                  <a:lnTo>
                    <a:pt x="591" y="113"/>
                  </a:lnTo>
                  <a:lnTo>
                    <a:pt x="595" y="115"/>
                  </a:lnTo>
                  <a:lnTo>
                    <a:pt x="595" y="116"/>
                  </a:lnTo>
                  <a:lnTo>
                    <a:pt x="595" y="120"/>
                  </a:lnTo>
                  <a:lnTo>
                    <a:pt x="598" y="122"/>
                  </a:lnTo>
                  <a:lnTo>
                    <a:pt x="602" y="122"/>
                  </a:lnTo>
                  <a:lnTo>
                    <a:pt x="617" y="116"/>
                  </a:lnTo>
                  <a:lnTo>
                    <a:pt x="625" y="113"/>
                  </a:lnTo>
                  <a:lnTo>
                    <a:pt x="630" y="112"/>
                  </a:lnTo>
                  <a:lnTo>
                    <a:pt x="637" y="113"/>
                  </a:lnTo>
                  <a:lnTo>
                    <a:pt x="645" y="119"/>
                  </a:lnTo>
                  <a:lnTo>
                    <a:pt x="653" y="122"/>
                  </a:lnTo>
                  <a:lnTo>
                    <a:pt x="655" y="122"/>
                  </a:lnTo>
                  <a:lnTo>
                    <a:pt x="663" y="120"/>
                  </a:lnTo>
                  <a:lnTo>
                    <a:pt x="664" y="117"/>
                  </a:lnTo>
                  <a:lnTo>
                    <a:pt x="665" y="113"/>
                  </a:lnTo>
                  <a:lnTo>
                    <a:pt x="668" y="109"/>
                  </a:lnTo>
                  <a:lnTo>
                    <a:pt x="673" y="106"/>
                  </a:lnTo>
                  <a:lnTo>
                    <a:pt x="683" y="103"/>
                  </a:lnTo>
                  <a:lnTo>
                    <a:pt x="713" y="96"/>
                  </a:lnTo>
                  <a:lnTo>
                    <a:pt x="721" y="93"/>
                  </a:lnTo>
                  <a:lnTo>
                    <a:pt x="731" y="93"/>
                  </a:lnTo>
                  <a:lnTo>
                    <a:pt x="739" y="116"/>
                  </a:lnTo>
                  <a:lnTo>
                    <a:pt x="746" y="123"/>
                  </a:lnTo>
                  <a:lnTo>
                    <a:pt x="749" y="130"/>
                  </a:lnTo>
                  <a:lnTo>
                    <a:pt x="749" y="133"/>
                  </a:lnTo>
                  <a:lnTo>
                    <a:pt x="754" y="136"/>
                  </a:lnTo>
                  <a:lnTo>
                    <a:pt x="767" y="139"/>
                  </a:lnTo>
                  <a:lnTo>
                    <a:pt x="767" y="147"/>
                  </a:lnTo>
                  <a:lnTo>
                    <a:pt x="773" y="152"/>
                  </a:lnTo>
                  <a:lnTo>
                    <a:pt x="789" y="165"/>
                  </a:lnTo>
                  <a:lnTo>
                    <a:pt x="794" y="175"/>
                  </a:lnTo>
                  <a:lnTo>
                    <a:pt x="794" y="183"/>
                  </a:lnTo>
                  <a:lnTo>
                    <a:pt x="796" y="188"/>
                  </a:lnTo>
                  <a:lnTo>
                    <a:pt x="800" y="195"/>
                  </a:lnTo>
                  <a:lnTo>
                    <a:pt x="807" y="202"/>
                  </a:lnTo>
                  <a:lnTo>
                    <a:pt x="807" y="212"/>
                  </a:lnTo>
                  <a:lnTo>
                    <a:pt x="813" y="215"/>
                  </a:lnTo>
                  <a:lnTo>
                    <a:pt x="817" y="225"/>
                  </a:lnTo>
                  <a:lnTo>
                    <a:pt x="819" y="248"/>
                  </a:lnTo>
                  <a:lnTo>
                    <a:pt x="824" y="256"/>
                  </a:lnTo>
                  <a:lnTo>
                    <a:pt x="829" y="268"/>
                  </a:lnTo>
                  <a:lnTo>
                    <a:pt x="842" y="273"/>
                  </a:lnTo>
                  <a:lnTo>
                    <a:pt x="852" y="279"/>
                  </a:lnTo>
                  <a:lnTo>
                    <a:pt x="862" y="279"/>
                  </a:lnTo>
                  <a:lnTo>
                    <a:pt x="867" y="281"/>
                  </a:lnTo>
                  <a:lnTo>
                    <a:pt x="867" y="285"/>
                  </a:lnTo>
                  <a:lnTo>
                    <a:pt x="863" y="286"/>
                  </a:lnTo>
                  <a:lnTo>
                    <a:pt x="859" y="289"/>
                  </a:lnTo>
                  <a:lnTo>
                    <a:pt x="859" y="294"/>
                  </a:lnTo>
                  <a:lnTo>
                    <a:pt x="863" y="294"/>
                  </a:lnTo>
                  <a:lnTo>
                    <a:pt x="863" y="298"/>
                  </a:lnTo>
                  <a:lnTo>
                    <a:pt x="862" y="301"/>
                  </a:lnTo>
                  <a:lnTo>
                    <a:pt x="857" y="304"/>
                  </a:lnTo>
                  <a:lnTo>
                    <a:pt x="849" y="308"/>
                  </a:lnTo>
                  <a:lnTo>
                    <a:pt x="836" y="311"/>
                  </a:lnTo>
                  <a:lnTo>
                    <a:pt x="830" y="314"/>
                  </a:lnTo>
                  <a:lnTo>
                    <a:pt x="830" y="315"/>
                  </a:lnTo>
                  <a:lnTo>
                    <a:pt x="832" y="318"/>
                  </a:lnTo>
                  <a:lnTo>
                    <a:pt x="834" y="322"/>
                  </a:lnTo>
                  <a:lnTo>
                    <a:pt x="837" y="334"/>
                  </a:lnTo>
                  <a:lnTo>
                    <a:pt x="845" y="338"/>
                  </a:lnTo>
                  <a:lnTo>
                    <a:pt x="849" y="349"/>
                  </a:lnTo>
                  <a:lnTo>
                    <a:pt x="857" y="355"/>
                  </a:lnTo>
                  <a:lnTo>
                    <a:pt x="860" y="359"/>
                  </a:lnTo>
                  <a:lnTo>
                    <a:pt x="859" y="365"/>
                  </a:lnTo>
                  <a:lnTo>
                    <a:pt x="859" y="367"/>
                  </a:lnTo>
                  <a:lnTo>
                    <a:pt x="857" y="371"/>
                  </a:lnTo>
                  <a:lnTo>
                    <a:pt x="857" y="375"/>
                  </a:lnTo>
                  <a:lnTo>
                    <a:pt x="855" y="382"/>
                  </a:lnTo>
                  <a:lnTo>
                    <a:pt x="852" y="385"/>
                  </a:lnTo>
                  <a:lnTo>
                    <a:pt x="849" y="388"/>
                  </a:lnTo>
                  <a:lnTo>
                    <a:pt x="846" y="389"/>
                  </a:lnTo>
                  <a:lnTo>
                    <a:pt x="846" y="392"/>
                  </a:lnTo>
                  <a:lnTo>
                    <a:pt x="846" y="398"/>
                  </a:lnTo>
                  <a:lnTo>
                    <a:pt x="847" y="400"/>
                  </a:lnTo>
                  <a:lnTo>
                    <a:pt x="850" y="404"/>
                  </a:lnTo>
                  <a:lnTo>
                    <a:pt x="856" y="410"/>
                  </a:lnTo>
                  <a:lnTo>
                    <a:pt x="860" y="410"/>
                  </a:lnTo>
                  <a:lnTo>
                    <a:pt x="863" y="412"/>
                  </a:lnTo>
                  <a:lnTo>
                    <a:pt x="863" y="417"/>
                  </a:lnTo>
                  <a:lnTo>
                    <a:pt x="862" y="420"/>
                  </a:lnTo>
                  <a:lnTo>
                    <a:pt x="862" y="420"/>
                  </a:lnTo>
                  <a:lnTo>
                    <a:pt x="846" y="417"/>
                  </a:lnTo>
                  <a:lnTo>
                    <a:pt x="843" y="417"/>
                  </a:lnTo>
                  <a:lnTo>
                    <a:pt x="837" y="417"/>
                  </a:lnTo>
                  <a:lnTo>
                    <a:pt x="833" y="417"/>
                  </a:lnTo>
                  <a:lnTo>
                    <a:pt x="822" y="414"/>
                  </a:lnTo>
                  <a:lnTo>
                    <a:pt x="819" y="418"/>
                  </a:lnTo>
                  <a:lnTo>
                    <a:pt x="817" y="428"/>
                  </a:lnTo>
                  <a:lnTo>
                    <a:pt x="817" y="434"/>
                  </a:lnTo>
                  <a:lnTo>
                    <a:pt x="814" y="434"/>
                  </a:lnTo>
                  <a:lnTo>
                    <a:pt x="810" y="434"/>
                  </a:lnTo>
                  <a:lnTo>
                    <a:pt x="809" y="430"/>
                  </a:lnTo>
                  <a:lnTo>
                    <a:pt x="806" y="425"/>
                  </a:lnTo>
                  <a:lnTo>
                    <a:pt x="803" y="425"/>
                  </a:lnTo>
                  <a:lnTo>
                    <a:pt x="803" y="430"/>
                  </a:lnTo>
                  <a:lnTo>
                    <a:pt x="802" y="441"/>
                  </a:lnTo>
                  <a:lnTo>
                    <a:pt x="803" y="450"/>
                  </a:lnTo>
                  <a:lnTo>
                    <a:pt x="810" y="460"/>
                  </a:lnTo>
                  <a:lnTo>
                    <a:pt x="814" y="468"/>
                  </a:lnTo>
                  <a:lnTo>
                    <a:pt x="816" y="474"/>
                  </a:lnTo>
                  <a:lnTo>
                    <a:pt x="813" y="481"/>
                  </a:lnTo>
                  <a:lnTo>
                    <a:pt x="809" y="480"/>
                  </a:lnTo>
                  <a:lnTo>
                    <a:pt x="806" y="483"/>
                  </a:lnTo>
                  <a:lnTo>
                    <a:pt x="806" y="488"/>
                  </a:lnTo>
                  <a:lnTo>
                    <a:pt x="806" y="493"/>
                  </a:lnTo>
                  <a:lnTo>
                    <a:pt x="803" y="497"/>
                  </a:lnTo>
                  <a:lnTo>
                    <a:pt x="799" y="500"/>
                  </a:lnTo>
                  <a:lnTo>
                    <a:pt x="793" y="495"/>
                  </a:lnTo>
                  <a:lnTo>
                    <a:pt x="779" y="488"/>
                  </a:lnTo>
                  <a:lnTo>
                    <a:pt x="776" y="490"/>
                  </a:lnTo>
                  <a:lnTo>
                    <a:pt x="764" y="501"/>
                  </a:lnTo>
                  <a:lnTo>
                    <a:pt x="741" y="494"/>
                  </a:lnTo>
                  <a:lnTo>
                    <a:pt x="737" y="484"/>
                  </a:lnTo>
                  <a:lnTo>
                    <a:pt x="716" y="480"/>
                  </a:lnTo>
                  <a:lnTo>
                    <a:pt x="714" y="483"/>
                  </a:lnTo>
                  <a:lnTo>
                    <a:pt x="697" y="481"/>
                  </a:lnTo>
                  <a:lnTo>
                    <a:pt x="707" y="495"/>
                  </a:lnTo>
                  <a:lnTo>
                    <a:pt x="691" y="520"/>
                  </a:lnTo>
                  <a:lnTo>
                    <a:pt x="688" y="526"/>
                  </a:lnTo>
                  <a:lnTo>
                    <a:pt x="683" y="531"/>
                  </a:lnTo>
                  <a:lnTo>
                    <a:pt x="674" y="534"/>
                  </a:lnTo>
                  <a:lnTo>
                    <a:pt x="671" y="537"/>
                  </a:lnTo>
                  <a:lnTo>
                    <a:pt x="667" y="536"/>
                  </a:lnTo>
                  <a:lnTo>
                    <a:pt x="658" y="548"/>
                  </a:lnTo>
                  <a:lnTo>
                    <a:pt x="658" y="554"/>
                  </a:lnTo>
                  <a:lnTo>
                    <a:pt x="657" y="557"/>
                  </a:lnTo>
                  <a:lnTo>
                    <a:pt x="653" y="557"/>
                  </a:lnTo>
                  <a:lnTo>
                    <a:pt x="650" y="556"/>
                  </a:lnTo>
                  <a:lnTo>
                    <a:pt x="635" y="551"/>
                  </a:lnTo>
                  <a:lnTo>
                    <a:pt x="633" y="554"/>
                  </a:lnTo>
                  <a:lnTo>
                    <a:pt x="630" y="557"/>
                  </a:lnTo>
                  <a:lnTo>
                    <a:pt x="624" y="554"/>
                  </a:lnTo>
                  <a:lnTo>
                    <a:pt x="617" y="553"/>
                  </a:lnTo>
                  <a:lnTo>
                    <a:pt x="612" y="553"/>
                  </a:lnTo>
                  <a:lnTo>
                    <a:pt x="607" y="553"/>
                  </a:lnTo>
                  <a:lnTo>
                    <a:pt x="602" y="556"/>
                  </a:lnTo>
                  <a:lnTo>
                    <a:pt x="600" y="560"/>
                  </a:lnTo>
                  <a:lnTo>
                    <a:pt x="598" y="563"/>
                  </a:lnTo>
                  <a:lnTo>
                    <a:pt x="594" y="561"/>
                  </a:lnTo>
                  <a:lnTo>
                    <a:pt x="588" y="557"/>
                  </a:lnTo>
                  <a:lnTo>
                    <a:pt x="584" y="557"/>
                  </a:lnTo>
                  <a:lnTo>
                    <a:pt x="577" y="558"/>
                  </a:lnTo>
                  <a:lnTo>
                    <a:pt x="565" y="567"/>
                  </a:lnTo>
                  <a:lnTo>
                    <a:pt x="560" y="570"/>
                  </a:lnTo>
                  <a:lnTo>
                    <a:pt x="552" y="570"/>
                  </a:lnTo>
                  <a:lnTo>
                    <a:pt x="548" y="573"/>
                  </a:lnTo>
                  <a:lnTo>
                    <a:pt x="541" y="576"/>
                  </a:lnTo>
                  <a:lnTo>
                    <a:pt x="538" y="577"/>
                  </a:lnTo>
                  <a:lnTo>
                    <a:pt x="534" y="576"/>
                  </a:lnTo>
                  <a:lnTo>
                    <a:pt x="532" y="573"/>
                  </a:lnTo>
                  <a:lnTo>
                    <a:pt x="532" y="573"/>
                  </a:lnTo>
                  <a:lnTo>
                    <a:pt x="531" y="573"/>
                  </a:lnTo>
                  <a:lnTo>
                    <a:pt x="528" y="573"/>
                  </a:lnTo>
                  <a:lnTo>
                    <a:pt x="525" y="573"/>
                  </a:lnTo>
                  <a:lnTo>
                    <a:pt x="521" y="573"/>
                  </a:lnTo>
                  <a:lnTo>
                    <a:pt x="515" y="573"/>
                  </a:lnTo>
                  <a:lnTo>
                    <a:pt x="512" y="576"/>
                  </a:lnTo>
                  <a:lnTo>
                    <a:pt x="512" y="579"/>
                  </a:lnTo>
                  <a:lnTo>
                    <a:pt x="512" y="583"/>
                  </a:lnTo>
                  <a:lnTo>
                    <a:pt x="511" y="587"/>
                  </a:lnTo>
                  <a:lnTo>
                    <a:pt x="508" y="594"/>
                  </a:lnTo>
                  <a:lnTo>
                    <a:pt x="505" y="597"/>
                  </a:lnTo>
                  <a:lnTo>
                    <a:pt x="502" y="597"/>
                  </a:lnTo>
                  <a:lnTo>
                    <a:pt x="501" y="593"/>
                  </a:lnTo>
                  <a:lnTo>
                    <a:pt x="499" y="586"/>
                  </a:lnTo>
                  <a:lnTo>
                    <a:pt x="496" y="584"/>
                  </a:lnTo>
                  <a:lnTo>
                    <a:pt x="492" y="587"/>
                  </a:lnTo>
                  <a:lnTo>
                    <a:pt x="489" y="590"/>
                  </a:lnTo>
                  <a:lnTo>
                    <a:pt x="488" y="596"/>
                  </a:lnTo>
                  <a:lnTo>
                    <a:pt x="488" y="600"/>
                  </a:lnTo>
                  <a:lnTo>
                    <a:pt x="488" y="603"/>
                  </a:lnTo>
                  <a:lnTo>
                    <a:pt x="489" y="603"/>
                  </a:lnTo>
                  <a:lnTo>
                    <a:pt x="489" y="603"/>
                  </a:lnTo>
                  <a:lnTo>
                    <a:pt x="494" y="603"/>
                  </a:lnTo>
                  <a:lnTo>
                    <a:pt x="499" y="603"/>
                  </a:lnTo>
                  <a:lnTo>
                    <a:pt x="509" y="617"/>
                  </a:lnTo>
                  <a:lnTo>
                    <a:pt x="515" y="616"/>
                  </a:lnTo>
                  <a:lnTo>
                    <a:pt x="534" y="627"/>
                  </a:lnTo>
                  <a:lnTo>
                    <a:pt x="528" y="640"/>
                  </a:lnTo>
                  <a:lnTo>
                    <a:pt x="544" y="650"/>
                  </a:lnTo>
                  <a:lnTo>
                    <a:pt x="538" y="654"/>
                  </a:lnTo>
                  <a:lnTo>
                    <a:pt x="525" y="666"/>
                  </a:lnTo>
                  <a:lnTo>
                    <a:pt x="517" y="669"/>
                  </a:lnTo>
                  <a:lnTo>
                    <a:pt x="512" y="667"/>
                  </a:lnTo>
                  <a:lnTo>
                    <a:pt x="495" y="666"/>
                  </a:lnTo>
                  <a:lnTo>
                    <a:pt x="486" y="667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30" name="Freeform 177"/>
            <p:cNvSpPr>
              <a:spLocks/>
            </p:cNvSpPr>
            <p:nvPr/>
          </p:nvSpPr>
          <p:spPr bwMode="auto">
            <a:xfrm>
              <a:off x="4385157" y="5344011"/>
              <a:ext cx="4885" cy="5292"/>
            </a:xfrm>
            <a:custGeom>
              <a:avLst/>
              <a:gdLst>
                <a:gd name="T0" fmla="*/ 0 w 8"/>
                <a:gd name="T1" fmla="*/ 1 h 7"/>
                <a:gd name="T2" fmla="*/ 0 w 8"/>
                <a:gd name="T3" fmla="*/ 1 h 7"/>
                <a:gd name="T4" fmla="*/ 1 w 8"/>
                <a:gd name="T5" fmla="*/ 4 h 7"/>
                <a:gd name="T6" fmla="*/ 2 w 8"/>
                <a:gd name="T7" fmla="*/ 6 h 7"/>
                <a:gd name="T8" fmla="*/ 2 w 8"/>
                <a:gd name="T9" fmla="*/ 6 h 7"/>
                <a:gd name="T10" fmla="*/ 2 w 8"/>
                <a:gd name="T11" fmla="*/ 7 h 7"/>
                <a:gd name="T12" fmla="*/ 2 w 8"/>
                <a:gd name="T13" fmla="*/ 7 h 7"/>
                <a:gd name="T14" fmla="*/ 4 w 8"/>
                <a:gd name="T15" fmla="*/ 7 h 7"/>
                <a:gd name="T16" fmla="*/ 4 w 8"/>
                <a:gd name="T17" fmla="*/ 7 h 7"/>
                <a:gd name="T18" fmla="*/ 7 w 8"/>
                <a:gd name="T19" fmla="*/ 3 h 7"/>
                <a:gd name="T20" fmla="*/ 7 w 8"/>
                <a:gd name="T21" fmla="*/ 3 h 7"/>
                <a:gd name="T22" fmla="*/ 8 w 8"/>
                <a:gd name="T23" fmla="*/ 1 h 7"/>
                <a:gd name="T24" fmla="*/ 8 w 8"/>
                <a:gd name="T25" fmla="*/ 0 h 7"/>
                <a:gd name="T26" fmla="*/ 8 w 8"/>
                <a:gd name="T27" fmla="*/ 0 h 7"/>
                <a:gd name="T28" fmla="*/ 7 w 8"/>
                <a:gd name="T29" fmla="*/ 0 h 7"/>
                <a:gd name="T30" fmla="*/ 7 w 8"/>
                <a:gd name="T31" fmla="*/ 0 h 7"/>
                <a:gd name="T32" fmla="*/ 2 w 8"/>
                <a:gd name="T33" fmla="*/ 0 h 7"/>
                <a:gd name="T34" fmla="*/ 1 w 8"/>
                <a:gd name="T35" fmla="*/ 0 h 7"/>
                <a:gd name="T36" fmla="*/ 0 w 8"/>
                <a:gd name="T37" fmla="*/ 1 h 7"/>
                <a:gd name="T38" fmla="*/ 0 w 8"/>
                <a:gd name="T3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" h="7">
                  <a:moveTo>
                    <a:pt x="0" y="1"/>
                  </a:moveTo>
                  <a:lnTo>
                    <a:pt x="0" y="1"/>
                  </a:lnTo>
                  <a:lnTo>
                    <a:pt x="1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7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7" y="3"/>
                  </a:lnTo>
                  <a:lnTo>
                    <a:pt x="7" y="3"/>
                  </a:lnTo>
                  <a:lnTo>
                    <a:pt x="8" y="1"/>
                  </a:lnTo>
                  <a:lnTo>
                    <a:pt x="8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31" name="Freeform 178"/>
            <p:cNvSpPr>
              <a:spLocks/>
            </p:cNvSpPr>
            <p:nvPr/>
          </p:nvSpPr>
          <p:spPr bwMode="auto">
            <a:xfrm>
              <a:off x="4101852" y="4957723"/>
              <a:ext cx="7327" cy="5292"/>
            </a:xfrm>
            <a:custGeom>
              <a:avLst/>
              <a:gdLst>
                <a:gd name="T0" fmla="*/ 1 w 12"/>
                <a:gd name="T1" fmla="*/ 0 h 9"/>
                <a:gd name="T2" fmla="*/ 1 w 12"/>
                <a:gd name="T3" fmla="*/ 0 h 9"/>
                <a:gd name="T4" fmla="*/ 0 w 12"/>
                <a:gd name="T5" fmla="*/ 4 h 9"/>
                <a:gd name="T6" fmla="*/ 0 w 12"/>
                <a:gd name="T7" fmla="*/ 7 h 9"/>
                <a:gd name="T8" fmla="*/ 0 w 12"/>
                <a:gd name="T9" fmla="*/ 7 h 9"/>
                <a:gd name="T10" fmla="*/ 0 w 12"/>
                <a:gd name="T11" fmla="*/ 9 h 9"/>
                <a:gd name="T12" fmla="*/ 0 w 12"/>
                <a:gd name="T13" fmla="*/ 9 h 9"/>
                <a:gd name="T14" fmla="*/ 1 w 12"/>
                <a:gd name="T15" fmla="*/ 9 h 9"/>
                <a:gd name="T16" fmla="*/ 1 w 12"/>
                <a:gd name="T17" fmla="*/ 9 h 9"/>
                <a:gd name="T18" fmla="*/ 4 w 12"/>
                <a:gd name="T19" fmla="*/ 9 h 9"/>
                <a:gd name="T20" fmla="*/ 8 w 12"/>
                <a:gd name="T21" fmla="*/ 7 h 9"/>
                <a:gd name="T22" fmla="*/ 8 w 12"/>
                <a:gd name="T23" fmla="*/ 7 h 9"/>
                <a:gd name="T24" fmla="*/ 11 w 12"/>
                <a:gd name="T25" fmla="*/ 7 h 9"/>
                <a:gd name="T26" fmla="*/ 11 w 12"/>
                <a:gd name="T27" fmla="*/ 6 h 9"/>
                <a:gd name="T28" fmla="*/ 12 w 12"/>
                <a:gd name="T29" fmla="*/ 4 h 9"/>
                <a:gd name="T30" fmla="*/ 12 w 12"/>
                <a:gd name="T31" fmla="*/ 4 h 9"/>
                <a:gd name="T32" fmla="*/ 11 w 12"/>
                <a:gd name="T33" fmla="*/ 4 h 9"/>
                <a:gd name="T34" fmla="*/ 11 w 12"/>
                <a:gd name="T35" fmla="*/ 4 h 9"/>
                <a:gd name="T36" fmla="*/ 7 w 12"/>
                <a:gd name="T37" fmla="*/ 2 h 9"/>
                <a:gd name="T38" fmla="*/ 4 w 12"/>
                <a:gd name="T39" fmla="*/ 0 h 9"/>
                <a:gd name="T40" fmla="*/ 1 w 12"/>
                <a:gd name="T41" fmla="*/ 0 h 9"/>
                <a:gd name="T42" fmla="*/ 1 w 12"/>
                <a:gd name="T4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" h="9">
                  <a:moveTo>
                    <a:pt x="1" y="0"/>
                  </a:moveTo>
                  <a:lnTo>
                    <a:pt x="1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4" y="9"/>
                  </a:lnTo>
                  <a:lnTo>
                    <a:pt x="8" y="7"/>
                  </a:lnTo>
                  <a:lnTo>
                    <a:pt x="8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7" y="2"/>
                  </a:lnTo>
                  <a:lnTo>
                    <a:pt x="4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15D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32" name="Freeform 179"/>
            <p:cNvSpPr>
              <a:spLocks/>
            </p:cNvSpPr>
            <p:nvPr/>
          </p:nvSpPr>
          <p:spPr bwMode="auto">
            <a:xfrm>
              <a:off x="4101852" y="4957723"/>
              <a:ext cx="3663" cy="5292"/>
            </a:xfrm>
            <a:custGeom>
              <a:avLst/>
              <a:gdLst>
                <a:gd name="T0" fmla="*/ 1 w 7"/>
                <a:gd name="T1" fmla="*/ 0 h 9"/>
                <a:gd name="T2" fmla="*/ 0 w 7"/>
                <a:gd name="T3" fmla="*/ 4 h 9"/>
                <a:gd name="T4" fmla="*/ 0 w 7"/>
                <a:gd name="T5" fmla="*/ 7 h 9"/>
                <a:gd name="T6" fmla="*/ 0 w 7"/>
                <a:gd name="T7" fmla="*/ 9 h 9"/>
                <a:gd name="T8" fmla="*/ 1 w 7"/>
                <a:gd name="T9" fmla="*/ 9 h 9"/>
                <a:gd name="T10" fmla="*/ 4 w 7"/>
                <a:gd name="T11" fmla="*/ 9 h 9"/>
                <a:gd name="T12" fmla="*/ 7 w 7"/>
                <a:gd name="T13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9">
                  <a:moveTo>
                    <a:pt x="1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0" y="9"/>
                  </a:lnTo>
                  <a:lnTo>
                    <a:pt x="1" y="9"/>
                  </a:lnTo>
                  <a:lnTo>
                    <a:pt x="4" y="9"/>
                  </a:lnTo>
                  <a:lnTo>
                    <a:pt x="7" y="7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33" name="Freeform 180"/>
            <p:cNvSpPr>
              <a:spLocks/>
            </p:cNvSpPr>
            <p:nvPr/>
          </p:nvSpPr>
          <p:spPr bwMode="auto">
            <a:xfrm>
              <a:off x="4101852" y="4957723"/>
              <a:ext cx="3663" cy="0"/>
            </a:xfrm>
            <a:custGeom>
              <a:avLst/>
              <a:gdLst>
                <a:gd name="T0" fmla="*/ 6 w 6"/>
                <a:gd name="T1" fmla="*/ 2 h 2"/>
                <a:gd name="T2" fmla="*/ 6 w 6"/>
                <a:gd name="T3" fmla="*/ 2 h 2"/>
                <a:gd name="T4" fmla="*/ 3 w 6"/>
                <a:gd name="T5" fmla="*/ 0 h 2"/>
                <a:gd name="T6" fmla="*/ 0 w 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6" y="2"/>
                  </a:moveTo>
                  <a:lnTo>
                    <a:pt x="6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34" name="Freeform 181"/>
            <p:cNvSpPr>
              <a:spLocks/>
            </p:cNvSpPr>
            <p:nvPr/>
          </p:nvSpPr>
          <p:spPr bwMode="auto">
            <a:xfrm>
              <a:off x="4212976" y="4638903"/>
              <a:ext cx="540966" cy="501381"/>
            </a:xfrm>
            <a:custGeom>
              <a:avLst/>
              <a:gdLst>
                <a:gd name="T0" fmla="*/ 877 w 887"/>
                <a:gd name="T1" fmla="*/ 422 h 759"/>
                <a:gd name="T2" fmla="*/ 880 w 887"/>
                <a:gd name="T3" fmla="*/ 474 h 759"/>
                <a:gd name="T4" fmla="*/ 880 w 887"/>
                <a:gd name="T5" fmla="*/ 536 h 759"/>
                <a:gd name="T6" fmla="*/ 874 w 887"/>
                <a:gd name="T7" fmla="*/ 589 h 759"/>
                <a:gd name="T8" fmla="*/ 876 w 887"/>
                <a:gd name="T9" fmla="*/ 616 h 759"/>
                <a:gd name="T10" fmla="*/ 861 w 887"/>
                <a:gd name="T11" fmla="*/ 676 h 759"/>
                <a:gd name="T12" fmla="*/ 801 w 887"/>
                <a:gd name="T13" fmla="*/ 702 h 759"/>
                <a:gd name="T14" fmla="*/ 744 w 887"/>
                <a:gd name="T15" fmla="*/ 700 h 759"/>
                <a:gd name="T16" fmla="*/ 705 w 887"/>
                <a:gd name="T17" fmla="*/ 709 h 759"/>
                <a:gd name="T18" fmla="*/ 684 w 887"/>
                <a:gd name="T19" fmla="*/ 687 h 759"/>
                <a:gd name="T20" fmla="*/ 625 w 887"/>
                <a:gd name="T21" fmla="*/ 723 h 759"/>
                <a:gd name="T22" fmla="*/ 599 w 887"/>
                <a:gd name="T23" fmla="*/ 750 h 759"/>
                <a:gd name="T24" fmla="*/ 545 w 887"/>
                <a:gd name="T25" fmla="*/ 707 h 759"/>
                <a:gd name="T26" fmla="*/ 548 w 887"/>
                <a:gd name="T27" fmla="*/ 680 h 759"/>
                <a:gd name="T28" fmla="*/ 538 w 887"/>
                <a:gd name="T29" fmla="*/ 663 h 759"/>
                <a:gd name="T30" fmla="*/ 525 w 887"/>
                <a:gd name="T31" fmla="*/ 647 h 759"/>
                <a:gd name="T32" fmla="*/ 476 w 887"/>
                <a:gd name="T33" fmla="*/ 580 h 759"/>
                <a:gd name="T34" fmla="*/ 444 w 887"/>
                <a:gd name="T35" fmla="*/ 597 h 759"/>
                <a:gd name="T36" fmla="*/ 439 w 887"/>
                <a:gd name="T37" fmla="*/ 613 h 759"/>
                <a:gd name="T38" fmla="*/ 406 w 887"/>
                <a:gd name="T39" fmla="*/ 603 h 759"/>
                <a:gd name="T40" fmla="*/ 363 w 887"/>
                <a:gd name="T41" fmla="*/ 621 h 759"/>
                <a:gd name="T42" fmla="*/ 336 w 887"/>
                <a:gd name="T43" fmla="*/ 639 h 759"/>
                <a:gd name="T44" fmla="*/ 301 w 887"/>
                <a:gd name="T45" fmla="*/ 639 h 759"/>
                <a:gd name="T46" fmla="*/ 278 w 887"/>
                <a:gd name="T47" fmla="*/ 637 h 759"/>
                <a:gd name="T48" fmla="*/ 247 w 887"/>
                <a:gd name="T49" fmla="*/ 630 h 759"/>
                <a:gd name="T50" fmla="*/ 235 w 887"/>
                <a:gd name="T51" fmla="*/ 644 h 759"/>
                <a:gd name="T52" fmla="*/ 202 w 887"/>
                <a:gd name="T53" fmla="*/ 643 h 759"/>
                <a:gd name="T54" fmla="*/ 177 w 887"/>
                <a:gd name="T55" fmla="*/ 614 h 759"/>
                <a:gd name="T56" fmla="*/ 177 w 887"/>
                <a:gd name="T57" fmla="*/ 639 h 759"/>
                <a:gd name="T58" fmla="*/ 148 w 887"/>
                <a:gd name="T59" fmla="*/ 642 h 759"/>
                <a:gd name="T60" fmla="*/ 66 w 887"/>
                <a:gd name="T61" fmla="*/ 487 h 759"/>
                <a:gd name="T62" fmla="*/ 88 w 887"/>
                <a:gd name="T63" fmla="*/ 485 h 759"/>
                <a:gd name="T64" fmla="*/ 116 w 887"/>
                <a:gd name="T65" fmla="*/ 457 h 759"/>
                <a:gd name="T66" fmla="*/ 108 w 887"/>
                <a:gd name="T67" fmla="*/ 444 h 759"/>
                <a:gd name="T68" fmla="*/ 65 w 887"/>
                <a:gd name="T69" fmla="*/ 444 h 759"/>
                <a:gd name="T70" fmla="*/ 25 w 887"/>
                <a:gd name="T71" fmla="*/ 398 h 759"/>
                <a:gd name="T72" fmla="*/ 39 w 887"/>
                <a:gd name="T73" fmla="*/ 374 h 759"/>
                <a:gd name="T74" fmla="*/ 35 w 887"/>
                <a:gd name="T75" fmla="*/ 332 h 759"/>
                <a:gd name="T76" fmla="*/ 26 w 887"/>
                <a:gd name="T77" fmla="*/ 298 h 759"/>
                <a:gd name="T78" fmla="*/ 32 w 887"/>
                <a:gd name="T79" fmla="*/ 242 h 759"/>
                <a:gd name="T80" fmla="*/ 48 w 887"/>
                <a:gd name="T81" fmla="*/ 188 h 759"/>
                <a:gd name="T82" fmla="*/ 66 w 887"/>
                <a:gd name="T83" fmla="*/ 177 h 759"/>
                <a:gd name="T84" fmla="*/ 134 w 887"/>
                <a:gd name="T85" fmla="*/ 156 h 759"/>
                <a:gd name="T86" fmla="*/ 185 w 887"/>
                <a:gd name="T87" fmla="*/ 162 h 759"/>
                <a:gd name="T88" fmla="*/ 151 w 887"/>
                <a:gd name="T89" fmla="*/ 116 h 759"/>
                <a:gd name="T90" fmla="*/ 215 w 887"/>
                <a:gd name="T91" fmla="*/ 1 h 759"/>
                <a:gd name="T92" fmla="*/ 520 w 887"/>
                <a:gd name="T93" fmla="*/ 241 h 759"/>
                <a:gd name="T94" fmla="*/ 708 w 887"/>
                <a:gd name="T95" fmla="*/ 301 h 759"/>
                <a:gd name="T96" fmla="*/ 762 w 887"/>
                <a:gd name="T97" fmla="*/ 295 h 759"/>
                <a:gd name="T98" fmla="*/ 774 w 887"/>
                <a:gd name="T99" fmla="*/ 322 h 759"/>
                <a:gd name="T100" fmla="*/ 765 w 887"/>
                <a:gd name="T101" fmla="*/ 355 h 759"/>
                <a:gd name="T102" fmla="*/ 775 w 887"/>
                <a:gd name="T103" fmla="*/ 369 h 759"/>
                <a:gd name="T104" fmla="*/ 765 w 887"/>
                <a:gd name="T105" fmla="*/ 395 h 759"/>
                <a:gd name="T106" fmla="*/ 749 w 887"/>
                <a:gd name="T107" fmla="*/ 424 h 759"/>
                <a:gd name="T108" fmla="*/ 767 w 887"/>
                <a:gd name="T109" fmla="*/ 441 h 759"/>
                <a:gd name="T110" fmla="*/ 790 w 887"/>
                <a:gd name="T111" fmla="*/ 444 h 759"/>
                <a:gd name="T112" fmla="*/ 817 w 887"/>
                <a:gd name="T113" fmla="*/ 408 h 759"/>
                <a:gd name="T114" fmla="*/ 854 w 887"/>
                <a:gd name="T115" fmla="*/ 410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87" h="759">
                  <a:moveTo>
                    <a:pt x="874" y="401"/>
                  </a:moveTo>
                  <a:lnTo>
                    <a:pt x="874" y="401"/>
                  </a:lnTo>
                  <a:lnTo>
                    <a:pt x="876" y="410"/>
                  </a:lnTo>
                  <a:lnTo>
                    <a:pt x="880" y="407"/>
                  </a:lnTo>
                  <a:lnTo>
                    <a:pt x="883" y="411"/>
                  </a:lnTo>
                  <a:lnTo>
                    <a:pt x="881" y="414"/>
                  </a:lnTo>
                  <a:lnTo>
                    <a:pt x="877" y="420"/>
                  </a:lnTo>
                  <a:lnTo>
                    <a:pt x="877" y="422"/>
                  </a:lnTo>
                  <a:lnTo>
                    <a:pt x="874" y="427"/>
                  </a:lnTo>
                  <a:lnTo>
                    <a:pt x="867" y="432"/>
                  </a:lnTo>
                  <a:lnTo>
                    <a:pt x="870" y="437"/>
                  </a:lnTo>
                  <a:lnTo>
                    <a:pt x="877" y="435"/>
                  </a:lnTo>
                  <a:lnTo>
                    <a:pt x="877" y="440"/>
                  </a:lnTo>
                  <a:lnTo>
                    <a:pt x="876" y="454"/>
                  </a:lnTo>
                  <a:lnTo>
                    <a:pt x="877" y="468"/>
                  </a:lnTo>
                  <a:lnTo>
                    <a:pt x="880" y="474"/>
                  </a:lnTo>
                  <a:lnTo>
                    <a:pt x="881" y="478"/>
                  </a:lnTo>
                  <a:lnTo>
                    <a:pt x="880" y="490"/>
                  </a:lnTo>
                  <a:lnTo>
                    <a:pt x="878" y="501"/>
                  </a:lnTo>
                  <a:lnTo>
                    <a:pt x="881" y="513"/>
                  </a:lnTo>
                  <a:lnTo>
                    <a:pt x="886" y="517"/>
                  </a:lnTo>
                  <a:lnTo>
                    <a:pt x="886" y="523"/>
                  </a:lnTo>
                  <a:lnTo>
                    <a:pt x="883" y="530"/>
                  </a:lnTo>
                  <a:lnTo>
                    <a:pt x="880" y="536"/>
                  </a:lnTo>
                  <a:lnTo>
                    <a:pt x="877" y="541"/>
                  </a:lnTo>
                  <a:lnTo>
                    <a:pt x="877" y="548"/>
                  </a:lnTo>
                  <a:lnTo>
                    <a:pt x="881" y="556"/>
                  </a:lnTo>
                  <a:lnTo>
                    <a:pt x="880" y="561"/>
                  </a:lnTo>
                  <a:lnTo>
                    <a:pt x="880" y="568"/>
                  </a:lnTo>
                  <a:lnTo>
                    <a:pt x="876" y="577"/>
                  </a:lnTo>
                  <a:lnTo>
                    <a:pt x="873" y="583"/>
                  </a:lnTo>
                  <a:lnTo>
                    <a:pt x="874" y="589"/>
                  </a:lnTo>
                  <a:lnTo>
                    <a:pt x="878" y="587"/>
                  </a:lnTo>
                  <a:lnTo>
                    <a:pt x="883" y="590"/>
                  </a:lnTo>
                  <a:lnTo>
                    <a:pt x="887" y="594"/>
                  </a:lnTo>
                  <a:lnTo>
                    <a:pt x="884" y="600"/>
                  </a:lnTo>
                  <a:lnTo>
                    <a:pt x="881" y="604"/>
                  </a:lnTo>
                  <a:lnTo>
                    <a:pt x="881" y="609"/>
                  </a:lnTo>
                  <a:lnTo>
                    <a:pt x="880" y="613"/>
                  </a:lnTo>
                  <a:lnTo>
                    <a:pt x="876" y="616"/>
                  </a:lnTo>
                  <a:lnTo>
                    <a:pt x="868" y="620"/>
                  </a:lnTo>
                  <a:lnTo>
                    <a:pt x="868" y="627"/>
                  </a:lnTo>
                  <a:lnTo>
                    <a:pt x="870" y="634"/>
                  </a:lnTo>
                  <a:lnTo>
                    <a:pt x="871" y="640"/>
                  </a:lnTo>
                  <a:lnTo>
                    <a:pt x="865" y="640"/>
                  </a:lnTo>
                  <a:lnTo>
                    <a:pt x="864" y="642"/>
                  </a:lnTo>
                  <a:lnTo>
                    <a:pt x="870" y="673"/>
                  </a:lnTo>
                  <a:lnTo>
                    <a:pt x="861" y="676"/>
                  </a:lnTo>
                  <a:lnTo>
                    <a:pt x="831" y="683"/>
                  </a:lnTo>
                  <a:lnTo>
                    <a:pt x="821" y="686"/>
                  </a:lnTo>
                  <a:lnTo>
                    <a:pt x="817" y="689"/>
                  </a:lnTo>
                  <a:lnTo>
                    <a:pt x="814" y="693"/>
                  </a:lnTo>
                  <a:lnTo>
                    <a:pt x="812" y="697"/>
                  </a:lnTo>
                  <a:lnTo>
                    <a:pt x="811" y="700"/>
                  </a:lnTo>
                  <a:lnTo>
                    <a:pt x="804" y="702"/>
                  </a:lnTo>
                  <a:lnTo>
                    <a:pt x="801" y="702"/>
                  </a:lnTo>
                  <a:lnTo>
                    <a:pt x="794" y="699"/>
                  </a:lnTo>
                  <a:lnTo>
                    <a:pt x="784" y="693"/>
                  </a:lnTo>
                  <a:lnTo>
                    <a:pt x="778" y="692"/>
                  </a:lnTo>
                  <a:lnTo>
                    <a:pt x="774" y="693"/>
                  </a:lnTo>
                  <a:lnTo>
                    <a:pt x="765" y="696"/>
                  </a:lnTo>
                  <a:lnTo>
                    <a:pt x="749" y="702"/>
                  </a:lnTo>
                  <a:lnTo>
                    <a:pt x="747" y="702"/>
                  </a:lnTo>
                  <a:lnTo>
                    <a:pt x="744" y="700"/>
                  </a:lnTo>
                  <a:lnTo>
                    <a:pt x="744" y="696"/>
                  </a:lnTo>
                  <a:lnTo>
                    <a:pt x="744" y="695"/>
                  </a:lnTo>
                  <a:lnTo>
                    <a:pt x="738" y="693"/>
                  </a:lnTo>
                  <a:lnTo>
                    <a:pt x="729" y="693"/>
                  </a:lnTo>
                  <a:lnTo>
                    <a:pt x="719" y="689"/>
                  </a:lnTo>
                  <a:lnTo>
                    <a:pt x="712" y="689"/>
                  </a:lnTo>
                  <a:lnTo>
                    <a:pt x="708" y="696"/>
                  </a:lnTo>
                  <a:lnTo>
                    <a:pt x="705" y="709"/>
                  </a:lnTo>
                  <a:lnTo>
                    <a:pt x="699" y="710"/>
                  </a:lnTo>
                  <a:lnTo>
                    <a:pt x="694" y="713"/>
                  </a:lnTo>
                  <a:lnTo>
                    <a:pt x="691" y="710"/>
                  </a:lnTo>
                  <a:lnTo>
                    <a:pt x="689" y="705"/>
                  </a:lnTo>
                  <a:lnTo>
                    <a:pt x="689" y="699"/>
                  </a:lnTo>
                  <a:lnTo>
                    <a:pt x="689" y="693"/>
                  </a:lnTo>
                  <a:lnTo>
                    <a:pt x="686" y="689"/>
                  </a:lnTo>
                  <a:lnTo>
                    <a:pt x="684" y="687"/>
                  </a:lnTo>
                  <a:lnTo>
                    <a:pt x="674" y="690"/>
                  </a:lnTo>
                  <a:lnTo>
                    <a:pt x="671" y="695"/>
                  </a:lnTo>
                  <a:lnTo>
                    <a:pt x="655" y="700"/>
                  </a:lnTo>
                  <a:lnTo>
                    <a:pt x="632" y="713"/>
                  </a:lnTo>
                  <a:lnTo>
                    <a:pt x="626" y="716"/>
                  </a:lnTo>
                  <a:lnTo>
                    <a:pt x="623" y="717"/>
                  </a:lnTo>
                  <a:lnTo>
                    <a:pt x="623" y="720"/>
                  </a:lnTo>
                  <a:lnTo>
                    <a:pt x="625" y="723"/>
                  </a:lnTo>
                  <a:lnTo>
                    <a:pt x="626" y="726"/>
                  </a:lnTo>
                  <a:lnTo>
                    <a:pt x="626" y="727"/>
                  </a:lnTo>
                  <a:lnTo>
                    <a:pt x="621" y="730"/>
                  </a:lnTo>
                  <a:lnTo>
                    <a:pt x="619" y="733"/>
                  </a:lnTo>
                  <a:lnTo>
                    <a:pt x="616" y="742"/>
                  </a:lnTo>
                  <a:lnTo>
                    <a:pt x="609" y="746"/>
                  </a:lnTo>
                  <a:lnTo>
                    <a:pt x="606" y="748"/>
                  </a:lnTo>
                  <a:lnTo>
                    <a:pt x="599" y="750"/>
                  </a:lnTo>
                  <a:lnTo>
                    <a:pt x="601" y="758"/>
                  </a:lnTo>
                  <a:lnTo>
                    <a:pt x="586" y="759"/>
                  </a:lnTo>
                  <a:lnTo>
                    <a:pt x="582" y="755"/>
                  </a:lnTo>
                  <a:lnTo>
                    <a:pt x="579" y="750"/>
                  </a:lnTo>
                  <a:lnTo>
                    <a:pt x="578" y="743"/>
                  </a:lnTo>
                  <a:lnTo>
                    <a:pt x="568" y="729"/>
                  </a:lnTo>
                  <a:lnTo>
                    <a:pt x="553" y="712"/>
                  </a:lnTo>
                  <a:lnTo>
                    <a:pt x="545" y="707"/>
                  </a:lnTo>
                  <a:lnTo>
                    <a:pt x="536" y="706"/>
                  </a:lnTo>
                  <a:lnTo>
                    <a:pt x="535" y="706"/>
                  </a:lnTo>
                  <a:lnTo>
                    <a:pt x="533" y="697"/>
                  </a:lnTo>
                  <a:lnTo>
                    <a:pt x="535" y="692"/>
                  </a:lnTo>
                  <a:lnTo>
                    <a:pt x="536" y="687"/>
                  </a:lnTo>
                  <a:lnTo>
                    <a:pt x="540" y="683"/>
                  </a:lnTo>
                  <a:lnTo>
                    <a:pt x="543" y="683"/>
                  </a:lnTo>
                  <a:lnTo>
                    <a:pt x="548" y="680"/>
                  </a:lnTo>
                  <a:lnTo>
                    <a:pt x="550" y="677"/>
                  </a:lnTo>
                  <a:lnTo>
                    <a:pt x="553" y="676"/>
                  </a:lnTo>
                  <a:lnTo>
                    <a:pt x="553" y="673"/>
                  </a:lnTo>
                  <a:lnTo>
                    <a:pt x="550" y="672"/>
                  </a:lnTo>
                  <a:lnTo>
                    <a:pt x="548" y="670"/>
                  </a:lnTo>
                  <a:lnTo>
                    <a:pt x="542" y="667"/>
                  </a:lnTo>
                  <a:lnTo>
                    <a:pt x="542" y="663"/>
                  </a:lnTo>
                  <a:lnTo>
                    <a:pt x="538" y="663"/>
                  </a:lnTo>
                  <a:lnTo>
                    <a:pt x="535" y="666"/>
                  </a:lnTo>
                  <a:lnTo>
                    <a:pt x="530" y="667"/>
                  </a:lnTo>
                  <a:lnTo>
                    <a:pt x="527" y="666"/>
                  </a:lnTo>
                  <a:lnTo>
                    <a:pt x="526" y="662"/>
                  </a:lnTo>
                  <a:lnTo>
                    <a:pt x="527" y="659"/>
                  </a:lnTo>
                  <a:lnTo>
                    <a:pt x="530" y="656"/>
                  </a:lnTo>
                  <a:lnTo>
                    <a:pt x="532" y="653"/>
                  </a:lnTo>
                  <a:lnTo>
                    <a:pt x="525" y="647"/>
                  </a:lnTo>
                  <a:lnTo>
                    <a:pt x="507" y="633"/>
                  </a:lnTo>
                  <a:lnTo>
                    <a:pt x="496" y="623"/>
                  </a:lnTo>
                  <a:lnTo>
                    <a:pt x="490" y="606"/>
                  </a:lnTo>
                  <a:lnTo>
                    <a:pt x="487" y="589"/>
                  </a:lnTo>
                  <a:lnTo>
                    <a:pt x="489" y="583"/>
                  </a:lnTo>
                  <a:lnTo>
                    <a:pt x="485" y="580"/>
                  </a:lnTo>
                  <a:lnTo>
                    <a:pt x="482" y="580"/>
                  </a:lnTo>
                  <a:lnTo>
                    <a:pt x="476" y="580"/>
                  </a:lnTo>
                  <a:lnTo>
                    <a:pt x="474" y="581"/>
                  </a:lnTo>
                  <a:lnTo>
                    <a:pt x="474" y="586"/>
                  </a:lnTo>
                  <a:lnTo>
                    <a:pt x="474" y="590"/>
                  </a:lnTo>
                  <a:lnTo>
                    <a:pt x="463" y="596"/>
                  </a:lnTo>
                  <a:lnTo>
                    <a:pt x="457" y="599"/>
                  </a:lnTo>
                  <a:lnTo>
                    <a:pt x="454" y="599"/>
                  </a:lnTo>
                  <a:lnTo>
                    <a:pt x="447" y="597"/>
                  </a:lnTo>
                  <a:lnTo>
                    <a:pt x="444" y="597"/>
                  </a:lnTo>
                  <a:lnTo>
                    <a:pt x="442" y="599"/>
                  </a:lnTo>
                  <a:lnTo>
                    <a:pt x="442" y="601"/>
                  </a:lnTo>
                  <a:lnTo>
                    <a:pt x="443" y="603"/>
                  </a:lnTo>
                  <a:lnTo>
                    <a:pt x="446" y="603"/>
                  </a:lnTo>
                  <a:lnTo>
                    <a:pt x="450" y="604"/>
                  </a:lnTo>
                  <a:lnTo>
                    <a:pt x="450" y="604"/>
                  </a:lnTo>
                  <a:lnTo>
                    <a:pt x="450" y="606"/>
                  </a:lnTo>
                  <a:lnTo>
                    <a:pt x="439" y="613"/>
                  </a:lnTo>
                  <a:lnTo>
                    <a:pt x="436" y="611"/>
                  </a:lnTo>
                  <a:lnTo>
                    <a:pt x="432" y="607"/>
                  </a:lnTo>
                  <a:lnTo>
                    <a:pt x="429" y="606"/>
                  </a:lnTo>
                  <a:lnTo>
                    <a:pt x="424" y="607"/>
                  </a:lnTo>
                  <a:lnTo>
                    <a:pt x="417" y="609"/>
                  </a:lnTo>
                  <a:lnTo>
                    <a:pt x="409" y="611"/>
                  </a:lnTo>
                  <a:lnTo>
                    <a:pt x="407" y="609"/>
                  </a:lnTo>
                  <a:lnTo>
                    <a:pt x="406" y="603"/>
                  </a:lnTo>
                  <a:lnTo>
                    <a:pt x="400" y="604"/>
                  </a:lnTo>
                  <a:lnTo>
                    <a:pt x="393" y="607"/>
                  </a:lnTo>
                  <a:lnTo>
                    <a:pt x="391" y="607"/>
                  </a:lnTo>
                  <a:lnTo>
                    <a:pt x="391" y="611"/>
                  </a:lnTo>
                  <a:lnTo>
                    <a:pt x="391" y="613"/>
                  </a:lnTo>
                  <a:lnTo>
                    <a:pt x="387" y="616"/>
                  </a:lnTo>
                  <a:lnTo>
                    <a:pt x="373" y="620"/>
                  </a:lnTo>
                  <a:lnTo>
                    <a:pt x="363" y="621"/>
                  </a:lnTo>
                  <a:lnTo>
                    <a:pt x="363" y="630"/>
                  </a:lnTo>
                  <a:lnTo>
                    <a:pt x="361" y="633"/>
                  </a:lnTo>
                  <a:lnTo>
                    <a:pt x="354" y="633"/>
                  </a:lnTo>
                  <a:lnTo>
                    <a:pt x="353" y="631"/>
                  </a:lnTo>
                  <a:lnTo>
                    <a:pt x="350" y="630"/>
                  </a:lnTo>
                  <a:lnTo>
                    <a:pt x="348" y="630"/>
                  </a:lnTo>
                  <a:lnTo>
                    <a:pt x="343" y="631"/>
                  </a:lnTo>
                  <a:lnTo>
                    <a:pt x="336" y="639"/>
                  </a:lnTo>
                  <a:lnTo>
                    <a:pt x="331" y="643"/>
                  </a:lnTo>
                  <a:lnTo>
                    <a:pt x="321" y="642"/>
                  </a:lnTo>
                  <a:lnTo>
                    <a:pt x="313" y="642"/>
                  </a:lnTo>
                  <a:lnTo>
                    <a:pt x="310" y="639"/>
                  </a:lnTo>
                  <a:lnTo>
                    <a:pt x="307" y="636"/>
                  </a:lnTo>
                  <a:lnTo>
                    <a:pt x="305" y="636"/>
                  </a:lnTo>
                  <a:lnTo>
                    <a:pt x="303" y="637"/>
                  </a:lnTo>
                  <a:lnTo>
                    <a:pt x="301" y="639"/>
                  </a:lnTo>
                  <a:lnTo>
                    <a:pt x="298" y="639"/>
                  </a:lnTo>
                  <a:lnTo>
                    <a:pt x="293" y="637"/>
                  </a:lnTo>
                  <a:lnTo>
                    <a:pt x="290" y="634"/>
                  </a:lnTo>
                  <a:lnTo>
                    <a:pt x="288" y="631"/>
                  </a:lnTo>
                  <a:lnTo>
                    <a:pt x="287" y="630"/>
                  </a:lnTo>
                  <a:lnTo>
                    <a:pt x="281" y="631"/>
                  </a:lnTo>
                  <a:lnTo>
                    <a:pt x="280" y="634"/>
                  </a:lnTo>
                  <a:lnTo>
                    <a:pt x="278" y="637"/>
                  </a:lnTo>
                  <a:lnTo>
                    <a:pt x="275" y="636"/>
                  </a:lnTo>
                  <a:lnTo>
                    <a:pt x="275" y="634"/>
                  </a:lnTo>
                  <a:lnTo>
                    <a:pt x="271" y="630"/>
                  </a:lnTo>
                  <a:lnTo>
                    <a:pt x="267" y="630"/>
                  </a:lnTo>
                  <a:lnTo>
                    <a:pt x="258" y="629"/>
                  </a:lnTo>
                  <a:lnTo>
                    <a:pt x="254" y="630"/>
                  </a:lnTo>
                  <a:lnTo>
                    <a:pt x="250" y="630"/>
                  </a:lnTo>
                  <a:lnTo>
                    <a:pt x="247" y="630"/>
                  </a:lnTo>
                  <a:lnTo>
                    <a:pt x="245" y="629"/>
                  </a:lnTo>
                  <a:lnTo>
                    <a:pt x="244" y="626"/>
                  </a:lnTo>
                  <a:lnTo>
                    <a:pt x="241" y="626"/>
                  </a:lnTo>
                  <a:lnTo>
                    <a:pt x="240" y="624"/>
                  </a:lnTo>
                  <a:lnTo>
                    <a:pt x="238" y="627"/>
                  </a:lnTo>
                  <a:lnTo>
                    <a:pt x="237" y="630"/>
                  </a:lnTo>
                  <a:lnTo>
                    <a:pt x="237" y="637"/>
                  </a:lnTo>
                  <a:lnTo>
                    <a:pt x="235" y="644"/>
                  </a:lnTo>
                  <a:lnTo>
                    <a:pt x="235" y="646"/>
                  </a:lnTo>
                  <a:lnTo>
                    <a:pt x="232" y="649"/>
                  </a:lnTo>
                  <a:lnTo>
                    <a:pt x="231" y="649"/>
                  </a:lnTo>
                  <a:lnTo>
                    <a:pt x="224" y="646"/>
                  </a:lnTo>
                  <a:lnTo>
                    <a:pt x="220" y="642"/>
                  </a:lnTo>
                  <a:lnTo>
                    <a:pt x="212" y="640"/>
                  </a:lnTo>
                  <a:lnTo>
                    <a:pt x="207" y="643"/>
                  </a:lnTo>
                  <a:lnTo>
                    <a:pt x="202" y="643"/>
                  </a:lnTo>
                  <a:lnTo>
                    <a:pt x="200" y="640"/>
                  </a:lnTo>
                  <a:lnTo>
                    <a:pt x="198" y="636"/>
                  </a:lnTo>
                  <a:lnTo>
                    <a:pt x="201" y="617"/>
                  </a:lnTo>
                  <a:lnTo>
                    <a:pt x="197" y="614"/>
                  </a:lnTo>
                  <a:lnTo>
                    <a:pt x="192" y="621"/>
                  </a:lnTo>
                  <a:lnTo>
                    <a:pt x="188" y="621"/>
                  </a:lnTo>
                  <a:lnTo>
                    <a:pt x="178" y="617"/>
                  </a:lnTo>
                  <a:lnTo>
                    <a:pt x="177" y="614"/>
                  </a:lnTo>
                  <a:lnTo>
                    <a:pt x="168" y="619"/>
                  </a:lnTo>
                  <a:lnTo>
                    <a:pt x="167" y="621"/>
                  </a:lnTo>
                  <a:lnTo>
                    <a:pt x="167" y="624"/>
                  </a:lnTo>
                  <a:lnTo>
                    <a:pt x="171" y="626"/>
                  </a:lnTo>
                  <a:lnTo>
                    <a:pt x="175" y="629"/>
                  </a:lnTo>
                  <a:lnTo>
                    <a:pt x="178" y="631"/>
                  </a:lnTo>
                  <a:lnTo>
                    <a:pt x="178" y="636"/>
                  </a:lnTo>
                  <a:lnTo>
                    <a:pt x="177" y="639"/>
                  </a:lnTo>
                  <a:lnTo>
                    <a:pt x="175" y="640"/>
                  </a:lnTo>
                  <a:lnTo>
                    <a:pt x="175" y="639"/>
                  </a:lnTo>
                  <a:lnTo>
                    <a:pt x="168" y="637"/>
                  </a:lnTo>
                  <a:lnTo>
                    <a:pt x="164" y="637"/>
                  </a:lnTo>
                  <a:lnTo>
                    <a:pt x="164" y="643"/>
                  </a:lnTo>
                  <a:lnTo>
                    <a:pt x="161" y="647"/>
                  </a:lnTo>
                  <a:lnTo>
                    <a:pt x="151" y="650"/>
                  </a:lnTo>
                  <a:lnTo>
                    <a:pt x="148" y="642"/>
                  </a:lnTo>
                  <a:lnTo>
                    <a:pt x="135" y="617"/>
                  </a:lnTo>
                  <a:lnTo>
                    <a:pt x="119" y="597"/>
                  </a:lnTo>
                  <a:lnTo>
                    <a:pt x="118" y="596"/>
                  </a:lnTo>
                  <a:lnTo>
                    <a:pt x="101" y="563"/>
                  </a:lnTo>
                  <a:lnTo>
                    <a:pt x="99" y="561"/>
                  </a:lnTo>
                  <a:lnTo>
                    <a:pt x="78" y="520"/>
                  </a:lnTo>
                  <a:lnTo>
                    <a:pt x="71" y="501"/>
                  </a:lnTo>
                  <a:lnTo>
                    <a:pt x="66" y="487"/>
                  </a:lnTo>
                  <a:lnTo>
                    <a:pt x="66" y="481"/>
                  </a:lnTo>
                  <a:lnTo>
                    <a:pt x="68" y="477"/>
                  </a:lnTo>
                  <a:lnTo>
                    <a:pt x="69" y="475"/>
                  </a:lnTo>
                  <a:lnTo>
                    <a:pt x="72" y="477"/>
                  </a:lnTo>
                  <a:lnTo>
                    <a:pt x="76" y="477"/>
                  </a:lnTo>
                  <a:lnTo>
                    <a:pt x="79" y="478"/>
                  </a:lnTo>
                  <a:lnTo>
                    <a:pt x="82" y="481"/>
                  </a:lnTo>
                  <a:lnTo>
                    <a:pt x="88" y="485"/>
                  </a:lnTo>
                  <a:lnTo>
                    <a:pt x="92" y="485"/>
                  </a:lnTo>
                  <a:lnTo>
                    <a:pt x="96" y="485"/>
                  </a:lnTo>
                  <a:lnTo>
                    <a:pt x="101" y="483"/>
                  </a:lnTo>
                  <a:lnTo>
                    <a:pt x="108" y="478"/>
                  </a:lnTo>
                  <a:lnTo>
                    <a:pt x="111" y="474"/>
                  </a:lnTo>
                  <a:lnTo>
                    <a:pt x="115" y="468"/>
                  </a:lnTo>
                  <a:lnTo>
                    <a:pt x="115" y="462"/>
                  </a:lnTo>
                  <a:lnTo>
                    <a:pt x="116" y="457"/>
                  </a:lnTo>
                  <a:lnTo>
                    <a:pt x="119" y="454"/>
                  </a:lnTo>
                  <a:lnTo>
                    <a:pt x="126" y="450"/>
                  </a:lnTo>
                  <a:lnTo>
                    <a:pt x="128" y="447"/>
                  </a:lnTo>
                  <a:lnTo>
                    <a:pt x="128" y="442"/>
                  </a:lnTo>
                  <a:lnTo>
                    <a:pt x="124" y="441"/>
                  </a:lnTo>
                  <a:lnTo>
                    <a:pt x="115" y="441"/>
                  </a:lnTo>
                  <a:lnTo>
                    <a:pt x="109" y="442"/>
                  </a:lnTo>
                  <a:lnTo>
                    <a:pt x="108" y="444"/>
                  </a:lnTo>
                  <a:lnTo>
                    <a:pt x="104" y="448"/>
                  </a:lnTo>
                  <a:lnTo>
                    <a:pt x="98" y="450"/>
                  </a:lnTo>
                  <a:lnTo>
                    <a:pt x="88" y="450"/>
                  </a:lnTo>
                  <a:lnTo>
                    <a:pt x="81" y="448"/>
                  </a:lnTo>
                  <a:lnTo>
                    <a:pt x="76" y="445"/>
                  </a:lnTo>
                  <a:lnTo>
                    <a:pt x="69" y="441"/>
                  </a:lnTo>
                  <a:lnTo>
                    <a:pt x="69" y="441"/>
                  </a:lnTo>
                  <a:lnTo>
                    <a:pt x="65" y="444"/>
                  </a:lnTo>
                  <a:lnTo>
                    <a:pt x="56" y="452"/>
                  </a:lnTo>
                  <a:lnTo>
                    <a:pt x="33" y="455"/>
                  </a:lnTo>
                  <a:lnTo>
                    <a:pt x="10" y="460"/>
                  </a:lnTo>
                  <a:lnTo>
                    <a:pt x="0" y="458"/>
                  </a:lnTo>
                  <a:lnTo>
                    <a:pt x="3" y="455"/>
                  </a:lnTo>
                  <a:lnTo>
                    <a:pt x="18" y="421"/>
                  </a:lnTo>
                  <a:lnTo>
                    <a:pt x="25" y="402"/>
                  </a:lnTo>
                  <a:lnTo>
                    <a:pt x="25" y="398"/>
                  </a:lnTo>
                  <a:lnTo>
                    <a:pt x="31" y="397"/>
                  </a:lnTo>
                  <a:lnTo>
                    <a:pt x="35" y="397"/>
                  </a:lnTo>
                  <a:lnTo>
                    <a:pt x="38" y="398"/>
                  </a:lnTo>
                  <a:lnTo>
                    <a:pt x="41" y="398"/>
                  </a:lnTo>
                  <a:lnTo>
                    <a:pt x="42" y="392"/>
                  </a:lnTo>
                  <a:lnTo>
                    <a:pt x="45" y="387"/>
                  </a:lnTo>
                  <a:lnTo>
                    <a:pt x="43" y="379"/>
                  </a:lnTo>
                  <a:lnTo>
                    <a:pt x="39" y="374"/>
                  </a:lnTo>
                  <a:lnTo>
                    <a:pt x="41" y="359"/>
                  </a:lnTo>
                  <a:lnTo>
                    <a:pt x="42" y="352"/>
                  </a:lnTo>
                  <a:lnTo>
                    <a:pt x="39" y="346"/>
                  </a:lnTo>
                  <a:lnTo>
                    <a:pt x="39" y="349"/>
                  </a:lnTo>
                  <a:lnTo>
                    <a:pt x="35" y="354"/>
                  </a:lnTo>
                  <a:lnTo>
                    <a:pt x="33" y="351"/>
                  </a:lnTo>
                  <a:lnTo>
                    <a:pt x="35" y="339"/>
                  </a:lnTo>
                  <a:lnTo>
                    <a:pt x="35" y="332"/>
                  </a:lnTo>
                  <a:lnTo>
                    <a:pt x="31" y="329"/>
                  </a:lnTo>
                  <a:lnTo>
                    <a:pt x="31" y="329"/>
                  </a:lnTo>
                  <a:lnTo>
                    <a:pt x="23" y="328"/>
                  </a:lnTo>
                  <a:lnTo>
                    <a:pt x="22" y="324"/>
                  </a:lnTo>
                  <a:lnTo>
                    <a:pt x="25" y="321"/>
                  </a:lnTo>
                  <a:lnTo>
                    <a:pt x="29" y="318"/>
                  </a:lnTo>
                  <a:lnTo>
                    <a:pt x="29" y="311"/>
                  </a:lnTo>
                  <a:lnTo>
                    <a:pt x="26" y="298"/>
                  </a:lnTo>
                  <a:lnTo>
                    <a:pt x="26" y="291"/>
                  </a:lnTo>
                  <a:lnTo>
                    <a:pt x="29" y="285"/>
                  </a:lnTo>
                  <a:lnTo>
                    <a:pt x="31" y="279"/>
                  </a:lnTo>
                  <a:lnTo>
                    <a:pt x="32" y="261"/>
                  </a:lnTo>
                  <a:lnTo>
                    <a:pt x="28" y="253"/>
                  </a:lnTo>
                  <a:lnTo>
                    <a:pt x="25" y="251"/>
                  </a:lnTo>
                  <a:lnTo>
                    <a:pt x="25" y="246"/>
                  </a:lnTo>
                  <a:lnTo>
                    <a:pt x="32" y="242"/>
                  </a:lnTo>
                  <a:lnTo>
                    <a:pt x="45" y="235"/>
                  </a:lnTo>
                  <a:lnTo>
                    <a:pt x="36" y="220"/>
                  </a:lnTo>
                  <a:lnTo>
                    <a:pt x="46" y="215"/>
                  </a:lnTo>
                  <a:lnTo>
                    <a:pt x="53" y="212"/>
                  </a:lnTo>
                  <a:lnTo>
                    <a:pt x="52" y="208"/>
                  </a:lnTo>
                  <a:lnTo>
                    <a:pt x="45" y="196"/>
                  </a:lnTo>
                  <a:lnTo>
                    <a:pt x="45" y="190"/>
                  </a:lnTo>
                  <a:lnTo>
                    <a:pt x="48" y="188"/>
                  </a:lnTo>
                  <a:lnTo>
                    <a:pt x="52" y="192"/>
                  </a:lnTo>
                  <a:lnTo>
                    <a:pt x="61" y="196"/>
                  </a:lnTo>
                  <a:lnTo>
                    <a:pt x="68" y="198"/>
                  </a:lnTo>
                  <a:lnTo>
                    <a:pt x="69" y="196"/>
                  </a:lnTo>
                  <a:lnTo>
                    <a:pt x="69" y="193"/>
                  </a:lnTo>
                  <a:lnTo>
                    <a:pt x="63" y="188"/>
                  </a:lnTo>
                  <a:lnTo>
                    <a:pt x="63" y="182"/>
                  </a:lnTo>
                  <a:lnTo>
                    <a:pt x="66" y="177"/>
                  </a:lnTo>
                  <a:lnTo>
                    <a:pt x="75" y="176"/>
                  </a:lnTo>
                  <a:lnTo>
                    <a:pt x="86" y="169"/>
                  </a:lnTo>
                  <a:lnTo>
                    <a:pt x="95" y="165"/>
                  </a:lnTo>
                  <a:lnTo>
                    <a:pt x="114" y="160"/>
                  </a:lnTo>
                  <a:lnTo>
                    <a:pt x="116" y="156"/>
                  </a:lnTo>
                  <a:lnTo>
                    <a:pt x="124" y="155"/>
                  </a:lnTo>
                  <a:lnTo>
                    <a:pt x="129" y="155"/>
                  </a:lnTo>
                  <a:lnTo>
                    <a:pt x="134" y="156"/>
                  </a:lnTo>
                  <a:lnTo>
                    <a:pt x="144" y="162"/>
                  </a:lnTo>
                  <a:lnTo>
                    <a:pt x="148" y="156"/>
                  </a:lnTo>
                  <a:lnTo>
                    <a:pt x="161" y="156"/>
                  </a:lnTo>
                  <a:lnTo>
                    <a:pt x="161" y="166"/>
                  </a:lnTo>
                  <a:lnTo>
                    <a:pt x="168" y="165"/>
                  </a:lnTo>
                  <a:lnTo>
                    <a:pt x="178" y="166"/>
                  </a:lnTo>
                  <a:lnTo>
                    <a:pt x="184" y="167"/>
                  </a:lnTo>
                  <a:lnTo>
                    <a:pt x="185" y="162"/>
                  </a:lnTo>
                  <a:lnTo>
                    <a:pt x="177" y="147"/>
                  </a:lnTo>
                  <a:lnTo>
                    <a:pt x="168" y="140"/>
                  </a:lnTo>
                  <a:lnTo>
                    <a:pt x="168" y="136"/>
                  </a:lnTo>
                  <a:lnTo>
                    <a:pt x="169" y="129"/>
                  </a:lnTo>
                  <a:lnTo>
                    <a:pt x="175" y="126"/>
                  </a:lnTo>
                  <a:lnTo>
                    <a:pt x="179" y="117"/>
                  </a:lnTo>
                  <a:lnTo>
                    <a:pt x="154" y="117"/>
                  </a:lnTo>
                  <a:lnTo>
                    <a:pt x="151" y="116"/>
                  </a:lnTo>
                  <a:lnTo>
                    <a:pt x="147" y="114"/>
                  </a:lnTo>
                  <a:lnTo>
                    <a:pt x="144" y="110"/>
                  </a:lnTo>
                  <a:lnTo>
                    <a:pt x="148" y="106"/>
                  </a:lnTo>
                  <a:lnTo>
                    <a:pt x="161" y="100"/>
                  </a:lnTo>
                  <a:lnTo>
                    <a:pt x="175" y="92"/>
                  </a:lnTo>
                  <a:lnTo>
                    <a:pt x="181" y="94"/>
                  </a:lnTo>
                  <a:lnTo>
                    <a:pt x="201" y="86"/>
                  </a:lnTo>
                  <a:lnTo>
                    <a:pt x="215" y="1"/>
                  </a:lnTo>
                  <a:lnTo>
                    <a:pt x="215" y="0"/>
                  </a:lnTo>
                  <a:lnTo>
                    <a:pt x="277" y="24"/>
                  </a:lnTo>
                  <a:lnTo>
                    <a:pt x="280" y="34"/>
                  </a:lnTo>
                  <a:lnTo>
                    <a:pt x="410" y="83"/>
                  </a:lnTo>
                  <a:lnTo>
                    <a:pt x="409" y="93"/>
                  </a:lnTo>
                  <a:lnTo>
                    <a:pt x="467" y="126"/>
                  </a:lnTo>
                  <a:lnTo>
                    <a:pt x="499" y="159"/>
                  </a:lnTo>
                  <a:lnTo>
                    <a:pt x="520" y="241"/>
                  </a:lnTo>
                  <a:lnTo>
                    <a:pt x="609" y="248"/>
                  </a:lnTo>
                  <a:lnTo>
                    <a:pt x="623" y="306"/>
                  </a:lnTo>
                  <a:lnTo>
                    <a:pt x="665" y="301"/>
                  </a:lnTo>
                  <a:lnTo>
                    <a:pt x="682" y="304"/>
                  </a:lnTo>
                  <a:lnTo>
                    <a:pt x="688" y="302"/>
                  </a:lnTo>
                  <a:lnTo>
                    <a:pt x="695" y="302"/>
                  </a:lnTo>
                  <a:lnTo>
                    <a:pt x="704" y="304"/>
                  </a:lnTo>
                  <a:lnTo>
                    <a:pt x="708" y="301"/>
                  </a:lnTo>
                  <a:lnTo>
                    <a:pt x="734" y="306"/>
                  </a:lnTo>
                  <a:lnTo>
                    <a:pt x="742" y="305"/>
                  </a:lnTo>
                  <a:lnTo>
                    <a:pt x="748" y="301"/>
                  </a:lnTo>
                  <a:lnTo>
                    <a:pt x="748" y="295"/>
                  </a:lnTo>
                  <a:lnTo>
                    <a:pt x="749" y="291"/>
                  </a:lnTo>
                  <a:lnTo>
                    <a:pt x="754" y="289"/>
                  </a:lnTo>
                  <a:lnTo>
                    <a:pt x="758" y="292"/>
                  </a:lnTo>
                  <a:lnTo>
                    <a:pt x="762" y="295"/>
                  </a:lnTo>
                  <a:lnTo>
                    <a:pt x="767" y="298"/>
                  </a:lnTo>
                  <a:lnTo>
                    <a:pt x="770" y="302"/>
                  </a:lnTo>
                  <a:lnTo>
                    <a:pt x="777" y="311"/>
                  </a:lnTo>
                  <a:lnTo>
                    <a:pt x="781" y="315"/>
                  </a:lnTo>
                  <a:lnTo>
                    <a:pt x="784" y="319"/>
                  </a:lnTo>
                  <a:lnTo>
                    <a:pt x="782" y="321"/>
                  </a:lnTo>
                  <a:lnTo>
                    <a:pt x="780" y="321"/>
                  </a:lnTo>
                  <a:lnTo>
                    <a:pt x="774" y="322"/>
                  </a:lnTo>
                  <a:lnTo>
                    <a:pt x="770" y="326"/>
                  </a:lnTo>
                  <a:lnTo>
                    <a:pt x="768" y="335"/>
                  </a:lnTo>
                  <a:lnTo>
                    <a:pt x="761" y="341"/>
                  </a:lnTo>
                  <a:lnTo>
                    <a:pt x="759" y="344"/>
                  </a:lnTo>
                  <a:lnTo>
                    <a:pt x="761" y="346"/>
                  </a:lnTo>
                  <a:lnTo>
                    <a:pt x="765" y="348"/>
                  </a:lnTo>
                  <a:lnTo>
                    <a:pt x="767" y="351"/>
                  </a:lnTo>
                  <a:lnTo>
                    <a:pt x="765" y="355"/>
                  </a:lnTo>
                  <a:lnTo>
                    <a:pt x="762" y="357"/>
                  </a:lnTo>
                  <a:lnTo>
                    <a:pt x="759" y="359"/>
                  </a:lnTo>
                  <a:lnTo>
                    <a:pt x="757" y="364"/>
                  </a:lnTo>
                  <a:lnTo>
                    <a:pt x="759" y="367"/>
                  </a:lnTo>
                  <a:lnTo>
                    <a:pt x="762" y="368"/>
                  </a:lnTo>
                  <a:lnTo>
                    <a:pt x="767" y="368"/>
                  </a:lnTo>
                  <a:lnTo>
                    <a:pt x="772" y="369"/>
                  </a:lnTo>
                  <a:lnTo>
                    <a:pt x="775" y="369"/>
                  </a:lnTo>
                  <a:lnTo>
                    <a:pt x="775" y="372"/>
                  </a:lnTo>
                  <a:lnTo>
                    <a:pt x="775" y="372"/>
                  </a:lnTo>
                  <a:lnTo>
                    <a:pt x="772" y="374"/>
                  </a:lnTo>
                  <a:lnTo>
                    <a:pt x="768" y="375"/>
                  </a:lnTo>
                  <a:lnTo>
                    <a:pt x="765" y="378"/>
                  </a:lnTo>
                  <a:lnTo>
                    <a:pt x="765" y="382"/>
                  </a:lnTo>
                  <a:lnTo>
                    <a:pt x="764" y="387"/>
                  </a:lnTo>
                  <a:lnTo>
                    <a:pt x="765" y="395"/>
                  </a:lnTo>
                  <a:lnTo>
                    <a:pt x="771" y="402"/>
                  </a:lnTo>
                  <a:lnTo>
                    <a:pt x="771" y="407"/>
                  </a:lnTo>
                  <a:lnTo>
                    <a:pt x="768" y="410"/>
                  </a:lnTo>
                  <a:lnTo>
                    <a:pt x="767" y="414"/>
                  </a:lnTo>
                  <a:lnTo>
                    <a:pt x="762" y="417"/>
                  </a:lnTo>
                  <a:lnTo>
                    <a:pt x="759" y="421"/>
                  </a:lnTo>
                  <a:lnTo>
                    <a:pt x="754" y="421"/>
                  </a:lnTo>
                  <a:lnTo>
                    <a:pt x="749" y="424"/>
                  </a:lnTo>
                  <a:lnTo>
                    <a:pt x="747" y="427"/>
                  </a:lnTo>
                  <a:lnTo>
                    <a:pt x="751" y="432"/>
                  </a:lnTo>
                  <a:lnTo>
                    <a:pt x="755" y="434"/>
                  </a:lnTo>
                  <a:lnTo>
                    <a:pt x="761" y="435"/>
                  </a:lnTo>
                  <a:lnTo>
                    <a:pt x="764" y="434"/>
                  </a:lnTo>
                  <a:lnTo>
                    <a:pt x="765" y="434"/>
                  </a:lnTo>
                  <a:lnTo>
                    <a:pt x="767" y="437"/>
                  </a:lnTo>
                  <a:lnTo>
                    <a:pt x="767" y="441"/>
                  </a:lnTo>
                  <a:lnTo>
                    <a:pt x="765" y="444"/>
                  </a:lnTo>
                  <a:lnTo>
                    <a:pt x="765" y="445"/>
                  </a:lnTo>
                  <a:lnTo>
                    <a:pt x="768" y="445"/>
                  </a:lnTo>
                  <a:lnTo>
                    <a:pt x="771" y="444"/>
                  </a:lnTo>
                  <a:lnTo>
                    <a:pt x="772" y="444"/>
                  </a:lnTo>
                  <a:lnTo>
                    <a:pt x="775" y="445"/>
                  </a:lnTo>
                  <a:lnTo>
                    <a:pt x="782" y="451"/>
                  </a:lnTo>
                  <a:lnTo>
                    <a:pt x="790" y="444"/>
                  </a:lnTo>
                  <a:lnTo>
                    <a:pt x="785" y="437"/>
                  </a:lnTo>
                  <a:lnTo>
                    <a:pt x="785" y="434"/>
                  </a:lnTo>
                  <a:lnTo>
                    <a:pt x="791" y="428"/>
                  </a:lnTo>
                  <a:lnTo>
                    <a:pt x="795" y="422"/>
                  </a:lnTo>
                  <a:lnTo>
                    <a:pt x="798" y="418"/>
                  </a:lnTo>
                  <a:lnTo>
                    <a:pt x="804" y="415"/>
                  </a:lnTo>
                  <a:lnTo>
                    <a:pt x="808" y="407"/>
                  </a:lnTo>
                  <a:lnTo>
                    <a:pt x="817" y="408"/>
                  </a:lnTo>
                  <a:lnTo>
                    <a:pt x="821" y="402"/>
                  </a:lnTo>
                  <a:lnTo>
                    <a:pt x="825" y="399"/>
                  </a:lnTo>
                  <a:lnTo>
                    <a:pt x="835" y="395"/>
                  </a:lnTo>
                  <a:lnTo>
                    <a:pt x="841" y="398"/>
                  </a:lnTo>
                  <a:lnTo>
                    <a:pt x="847" y="397"/>
                  </a:lnTo>
                  <a:lnTo>
                    <a:pt x="851" y="397"/>
                  </a:lnTo>
                  <a:lnTo>
                    <a:pt x="853" y="402"/>
                  </a:lnTo>
                  <a:lnTo>
                    <a:pt x="854" y="410"/>
                  </a:lnTo>
                  <a:lnTo>
                    <a:pt x="855" y="412"/>
                  </a:lnTo>
                  <a:lnTo>
                    <a:pt x="858" y="411"/>
                  </a:lnTo>
                  <a:lnTo>
                    <a:pt x="860" y="408"/>
                  </a:lnTo>
                  <a:lnTo>
                    <a:pt x="864" y="405"/>
                  </a:lnTo>
                  <a:lnTo>
                    <a:pt x="868" y="402"/>
                  </a:lnTo>
                  <a:lnTo>
                    <a:pt x="874" y="401"/>
                  </a:lnTo>
                  <a:close/>
                </a:path>
              </a:pathLst>
            </a:custGeom>
            <a:solidFill>
              <a:srgbClr val="FFD200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35" name="Freeform 182"/>
            <p:cNvSpPr>
              <a:spLocks noEditPoints="1"/>
            </p:cNvSpPr>
            <p:nvPr/>
          </p:nvSpPr>
          <p:spPr bwMode="auto">
            <a:xfrm>
              <a:off x="3969968" y="4392843"/>
              <a:ext cx="380996" cy="582078"/>
            </a:xfrm>
            <a:custGeom>
              <a:avLst/>
              <a:gdLst>
                <a:gd name="T0" fmla="*/ 218 w 625"/>
                <a:gd name="T1" fmla="*/ 229 h 879"/>
                <a:gd name="T2" fmla="*/ 198 w 625"/>
                <a:gd name="T3" fmla="*/ 291 h 879"/>
                <a:gd name="T4" fmla="*/ 139 w 625"/>
                <a:gd name="T5" fmla="*/ 305 h 879"/>
                <a:gd name="T6" fmla="*/ 154 w 625"/>
                <a:gd name="T7" fmla="*/ 334 h 879"/>
                <a:gd name="T8" fmla="*/ 123 w 625"/>
                <a:gd name="T9" fmla="*/ 364 h 879"/>
                <a:gd name="T10" fmla="*/ 69 w 625"/>
                <a:gd name="T11" fmla="*/ 395 h 879"/>
                <a:gd name="T12" fmla="*/ 32 w 625"/>
                <a:gd name="T13" fmla="*/ 467 h 879"/>
                <a:gd name="T14" fmla="*/ 40 w 625"/>
                <a:gd name="T15" fmla="*/ 537 h 879"/>
                <a:gd name="T16" fmla="*/ 35 w 625"/>
                <a:gd name="T17" fmla="*/ 593 h 879"/>
                <a:gd name="T18" fmla="*/ 6 w 625"/>
                <a:gd name="T19" fmla="*/ 619 h 879"/>
                <a:gd name="T20" fmla="*/ 20 w 625"/>
                <a:gd name="T21" fmla="*/ 657 h 879"/>
                <a:gd name="T22" fmla="*/ 58 w 625"/>
                <a:gd name="T23" fmla="*/ 666 h 879"/>
                <a:gd name="T24" fmla="*/ 92 w 625"/>
                <a:gd name="T25" fmla="*/ 697 h 879"/>
                <a:gd name="T26" fmla="*/ 95 w 625"/>
                <a:gd name="T27" fmla="*/ 664 h 879"/>
                <a:gd name="T28" fmla="*/ 113 w 625"/>
                <a:gd name="T29" fmla="*/ 676 h 879"/>
                <a:gd name="T30" fmla="*/ 121 w 625"/>
                <a:gd name="T31" fmla="*/ 709 h 879"/>
                <a:gd name="T32" fmla="*/ 102 w 625"/>
                <a:gd name="T33" fmla="*/ 730 h 879"/>
                <a:gd name="T34" fmla="*/ 126 w 625"/>
                <a:gd name="T35" fmla="*/ 740 h 879"/>
                <a:gd name="T36" fmla="*/ 132 w 625"/>
                <a:gd name="T37" fmla="*/ 716 h 879"/>
                <a:gd name="T38" fmla="*/ 172 w 625"/>
                <a:gd name="T39" fmla="*/ 763 h 879"/>
                <a:gd name="T40" fmla="*/ 219 w 625"/>
                <a:gd name="T41" fmla="*/ 766 h 879"/>
                <a:gd name="T42" fmla="*/ 205 w 625"/>
                <a:gd name="T43" fmla="*/ 792 h 879"/>
                <a:gd name="T44" fmla="*/ 152 w 625"/>
                <a:gd name="T45" fmla="*/ 819 h 879"/>
                <a:gd name="T46" fmla="*/ 182 w 625"/>
                <a:gd name="T47" fmla="*/ 842 h 879"/>
                <a:gd name="T48" fmla="*/ 234 w 625"/>
                <a:gd name="T49" fmla="*/ 871 h 879"/>
                <a:gd name="T50" fmla="*/ 262 w 625"/>
                <a:gd name="T51" fmla="*/ 858 h 879"/>
                <a:gd name="T52" fmla="*/ 318 w 625"/>
                <a:gd name="T53" fmla="*/ 851 h 879"/>
                <a:gd name="T54" fmla="*/ 371 w 625"/>
                <a:gd name="T55" fmla="*/ 836 h 879"/>
                <a:gd name="T56" fmla="*/ 401 w 625"/>
                <a:gd name="T57" fmla="*/ 825 h 879"/>
                <a:gd name="T58" fmla="*/ 443 w 625"/>
                <a:gd name="T59" fmla="*/ 758 h 879"/>
                <a:gd name="T60" fmla="*/ 433 w 625"/>
                <a:gd name="T61" fmla="*/ 709 h 879"/>
                <a:gd name="T62" fmla="*/ 423 w 625"/>
                <a:gd name="T63" fmla="*/ 669 h 879"/>
                <a:gd name="T64" fmla="*/ 443 w 625"/>
                <a:gd name="T65" fmla="*/ 606 h 879"/>
                <a:gd name="T66" fmla="*/ 459 w 625"/>
                <a:gd name="T67" fmla="*/ 567 h 879"/>
                <a:gd name="T68" fmla="*/ 493 w 625"/>
                <a:gd name="T69" fmla="*/ 534 h 879"/>
                <a:gd name="T70" fmla="*/ 559 w 625"/>
                <a:gd name="T71" fmla="*/ 536 h 879"/>
                <a:gd name="T72" fmla="*/ 572 w 625"/>
                <a:gd name="T73" fmla="*/ 497 h 879"/>
                <a:gd name="T74" fmla="*/ 579 w 625"/>
                <a:gd name="T75" fmla="*/ 464 h 879"/>
                <a:gd name="T76" fmla="*/ 608 w 625"/>
                <a:gd name="T77" fmla="*/ 238 h 879"/>
                <a:gd name="T78" fmla="*/ 613 w 625"/>
                <a:gd name="T79" fmla="*/ 137 h 879"/>
                <a:gd name="T80" fmla="*/ 513 w 625"/>
                <a:gd name="T81" fmla="*/ 179 h 879"/>
                <a:gd name="T82" fmla="*/ 381 w 625"/>
                <a:gd name="T83" fmla="*/ 140 h 879"/>
                <a:gd name="T84" fmla="*/ 295 w 625"/>
                <a:gd name="T85" fmla="*/ 41 h 879"/>
                <a:gd name="T86" fmla="*/ 278 w 625"/>
                <a:gd name="T87" fmla="*/ 0 h 879"/>
                <a:gd name="T88" fmla="*/ 201 w 625"/>
                <a:gd name="T89" fmla="*/ 102 h 879"/>
                <a:gd name="T90" fmla="*/ 164 w 625"/>
                <a:gd name="T91" fmla="*/ 156 h 879"/>
                <a:gd name="T92" fmla="*/ 169 w 625"/>
                <a:gd name="T93" fmla="*/ 198 h 879"/>
                <a:gd name="T94" fmla="*/ 125 w 625"/>
                <a:gd name="T95" fmla="*/ 316 h 879"/>
                <a:gd name="T96" fmla="*/ 123 w 625"/>
                <a:gd name="T97" fmla="*/ 309 h 879"/>
                <a:gd name="T98" fmla="*/ 219 w 625"/>
                <a:gd name="T99" fmla="*/ 851 h 879"/>
                <a:gd name="T100" fmla="*/ 228 w 625"/>
                <a:gd name="T101" fmla="*/ 858 h 879"/>
                <a:gd name="T102" fmla="*/ 218 w 625"/>
                <a:gd name="T103" fmla="*/ 859 h 879"/>
                <a:gd name="T104" fmla="*/ 152 w 625"/>
                <a:gd name="T105" fmla="*/ 347 h 879"/>
                <a:gd name="T106" fmla="*/ 155 w 625"/>
                <a:gd name="T107" fmla="*/ 339 h 879"/>
                <a:gd name="T108" fmla="*/ 95 w 625"/>
                <a:gd name="T109" fmla="*/ 381 h 879"/>
                <a:gd name="T110" fmla="*/ 91 w 625"/>
                <a:gd name="T111" fmla="*/ 374 h 879"/>
                <a:gd name="T112" fmla="*/ 95 w 625"/>
                <a:gd name="T113" fmla="*/ 381 h 879"/>
                <a:gd name="T114" fmla="*/ 101 w 625"/>
                <a:gd name="T115" fmla="*/ 372 h 879"/>
                <a:gd name="T116" fmla="*/ 98 w 625"/>
                <a:gd name="T117" fmla="*/ 365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25" h="879">
                  <a:moveTo>
                    <a:pt x="199" y="173"/>
                  </a:moveTo>
                  <a:lnTo>
                    <a:pt x="205" y="175"/>
                  </a:lnTo>
                  <a:lnTo>
                    <a:pt x="212" y="176"/>
                  </a:lnTo>
                  <a:lnTo>
                    <a:pt x="214" y="178"/>
                  </a:lnTo>
                  <a:lnTo>
                    <a:pt x="215" y="185"/>
                  </a:lnTo>
                  <a:lnTo>
                    <a:pt x="215" y="190"/>
                  </a:lnTo>
                  <a:lnTo>
                    <a:pt x="215" y="200"/>
                  </a:lnTo>
                  <a:lnTo>
                    <a:pt x="222" y="210"/>
                  </a:lnTo>
                  <a:lnTo>
                    <a:pt x="218" y="229"/>
                  </a:lnTo>
                  <a:lnTo>
                    <a:pt x="225" y="243"/>
                  </a:lnTo>
                  <a:lnTo>
                    <a:pt x="234" y="263"/>
                  </a:lnTo>
                  <a:lnTo>
                    <a:pt x="234" y="275"/>
                  </a:lnTo>
                  <a:lnTo>
                    <a:pt x="229" y="285"/>
                  </a:lnTo>
                  <a:lnTo>
                    <a:pt x="218" y="294"/>
                  </a:lnTo>
                  <a:lnTo>
                    <a:pt x="209" y="295"/>
                  </a:lnTo>
                  <a:lnTo>
                    <a:pt x="205" y="294"/>
                  </a:lnTo>
                  <a:lnTo>
                    <a:pt x="201" y="292"/>
                  </a:lnTo>
                  <a:lnTo>
                    <a:pt x="198" y="291"/>
                  </a:lnTo>
                  <a:lnTo>
                    <a:pt x="189" y="294"/>
                  </a:lnTo>
                  <a:lnTo>
                    <a:pt x="174" y="284"/>
                  </a:lnTo>
                  <a:lnTo>
                    <a:pt x="168" y="282"/>
                  </a:lnTo>
                  <a:lnTo>
                    <a:pt x="166" y="282"/>
                  </a:lnTo>
                  <a:lnTo>
                    <a:pt x="166" y="285"/>
                  </a:lnTo>
                  <a:lnTo>
                    <a:pt x="168" y="291"/>
                  </a:lnTo>
                  <a:lnTo>
                    <a:pt x="166" y="295"/>
                  </a:lnTo>
                  <a:lnTo>
                    <a:pt x="155" y="305"/>
                  </a:lnTo>
                  <a:lnTo>
                    <a:pt x="139" y="305"/>
                  </a:lnTo>
                  <a:lnTo>
                    <a:pt x="136" y="305"/>
                  </a:lnTo>
                  <a:lnTo>
                    <a:pt x="133" y="309"/>
                  </a:lnTo>
                  <a:lnTo>
                    <a:pt x="138" y="315"/>
                  </a:lnTo>
                  <a:lnTo>
                    <a:pt x="138" y="325"/>
                  </a:lnTo>
                  <a:lnTo>
                    <a:pt x="143" y="329"/>
                  </a:lnTo>
                  <a:lnTo>
                    <a:pt x="148" y="328"/>
                  </a:lnTo>
                  <a:lnTo>
                    <a:pt x="152" y="325"/>
                  </a:lnTo>
                  <a:lnTo>
                    <a:pt x="154" y="329"/>
                  </a:lnTo>
                  <a:lnTo>
                    <a:pt x="154" y="334"/>
                  </a:lnTo>
                  <a:lnTo>
                    <a:pt x="148" y="335"/>
                  </a:lnTo>
                  <a:lnTo>
                    <a:pt x="135" y="329"/>
                  </a:lnTo>
                  <a:lnTo>
                    <a:pt x="125" y="325"/>
                  </a:lnTo>
                  <a:lnTo>
                    <a:pt x="121" y="328"/>
                  </a:lnTo>
                  <a:lnTo>
                    <a:pt x="118" y="331"/>
                  </a:lnTo>
                  <a:lnTo>
                    <a:pt x="115" y="335"/>
                  </a:lnTo>
                  <a:lnTo>
                    <a:pt x="116" y="341"/>
                  </a:lnTo>
                  <a:lnTo>
                    <a:pt x="121" y="354"/>
                  </a:lnTo>
                  <a:lnTo>
                    <a:pt x="123" y="364"/>
                  </a:lnTo>
                  <a:lnTo>
                    <a:pt x="101" y="381"/>
                  </a:lnTo>
                  <a:lnTo>
                    <a:pt x="98" y="385"/>
                  </a:lnTo>
                  <a:lnTo>
                    <a:pt x="78" y="375"/>
                  </a:lnTo>
                  <a:lnTo>
                    <a:pt x="72" y="387"/>
                  </a:lnTo>
                  <a:lnTo>
                    <a:pt x="86" y="391"/>
                  </a:lnTo>
                  <a:lnTo>
                    <a:pt x="93" y="394"/>
                  </a:lnTo>
                  <a:lnTo>
                    <a:pt x="92" y="400"/>
                  </a:lnTo>
                  <a:lnTo>
                    <a:pt x="82" y="397"/>
                  </a:lnTo>
                  <a:lnTo>
                    <a:pt x="69" y="395"/>
                  </a:lnTo>
                  <a:lnTo>
                    <a:pt x="59" y="411"/>
                  </a:lnTo>
                  <a:lnTo>
                    <a:pt x="70" y="418"/>
                  </a:lnTo>
                  <a:lnTo>
                    <a:pt x="63" y="431"/>
                  </a:lnTo>
                  <a:lnTo>
                    <a:pt x="50" y="435"/>
                  </a:lnTo>
                  <a:lnTo>
                    <a:pt x="42" y="438"/>
                  </a:lnTo>
                  <a:lnTo>
                    <a:pt x="32" y="444"/>
                  </a:lnTo>
                  <a:lnTo>
                    <a:pt x="23" y="463"/>
                  </a:lnTo>
                  <a:lnTo>
                    <a:pt x="32" y="467"/>
                  </a:lnTo>
                  <a:lnTo>
                    <a:pt x="32" y="467"/>
                  </a:lnTo>
                  <a:lnTo>
                    <a:pt x="40" y="471"/>
                  </a:lnTo>
                  <a:lnTo>
                    <a:pt x="45" y="468"/>
                  </a:lnTo>
                  <a:lnTo>
                    <a:pt x="50" y="470"/>
                  </a:lnTo>
                  <a:lnTo>
                    <a:pt x="52" y="474"/>
                  </a:lnTo>
                  <a:lnTo>
                    <a:pt x="50" y="483"/>
                  </a:lnTo>
                  <a:lnTo>
                    <a:pt x="53" y="494"/>
                  </a:lnTo>
                  <a:lnTo>
                    <a:pt x="52" y="507"/>
                  </a:lnTo>
                  <a:lnTo>
                    <a:pt x="45" y="528"/>
                  </a:lnTo>
                  <a:lnTo>
                    <a:pt x="40" y="537"/>
                  </a:lnTo>
                  <a:lnTo>
                    <a:pt x="40" y="538"/>
                  </a:lnTo>
                  <a:lnTo>
                    <a:pt x="36" y="550"/>
                  </a:lnTo>
                  <a:lnTo>
                    <a:pt x="35" y="559"/>
                  </a:lnTo>
                  <a:lnTo>
                    <a:pt x="36" y="570"/>
                  </a:lnTo>
                  <a:lnTo>
                    <a:pt x="46" y="579"/>
                  </a:lnTo>
                  <a:lnTo>
                    <a:pt x="48" y="581"/>
                  </a:lnTo>
                  <a:lnTo>
                    <a:pt x="48" y="587"/>
                  </a:lnTo>
                  <a:lnTo>
                    <a:pt x="43" y="589"/>
                  </a:lnTo>
                  <a:lnTo>
                    <a:pt x="35" y="593"/>
                  </a:lnTo>
                  <a:lnTo>
                    <a:pt x="29" y="600"/>
                  </a:lnTo>
                  <a:lnTo>
                    <a:pt x="27" y="612"/>
                  </a:lnTo>
                  <a:lnTo>
                    <a:pt x="26" y="622"/>
                  </a:lnTo>
                  <a:lnTo>
                    <a:pt x="23" y="627"/>
                  </a:lnTo>
                  <a:lnTo>
                    <a:pt x="19" y="630"/>
                  </a:lnTo>
                  <a:lnTo>
                    <a:pt x="17" y="630"/>
                  </a:lnTo>
                  <a:lnTo>
                    <a:pt x="13" y="624"/>
                  </a:lnTo>
                  <a:lnTo>
                    <a:pt x="6" y="617"/>
                  </a:lnTo>
                  <a:lnTo>
                    <a:pt x="6" y="619"/>
                  </a:lnTo>
                  <a:lnTo>
                    <a:pt x="3" y="623"/>
                  </a:lnTo>
                  <a:lnTo>
                    <a:pt x="0" y="627"/>
                  </a:lnTo>
                  <a:lnTo>
                    <a:pt x="2" y="636"/>
                  </a:lnTo>
                  <a:lnTo>
                    <a:pt x="3" y="646"/>
                  </a:lnTo>
                  <a:lnTo>
                    <a:pt x="2" y="656"/>
                  </a:lnTo>
                  <a:lnTo>
                    <a:pt x="3" y="663"/>
                  </a:lnTo>
                  <a:lnTo>
                    <a:pt x="7" y="663"/>
                  </a:lnTo>
                  <a:lnTo>
                    <a:pt x="17" y="660"/>
                  </a:lnTo>
                  <a:lnTo>
                    <a:pt x="20" y="657"/>
                  </a:lnTo>
                  <a:lnTo>
                    <a:pt x="25" y="660"/>
                  </a:lnTo>
                  <a:lnTo>
                    <a:pt x="29" y="667"/>
                  </a:lnTo>
                  <a:lnTo>
                    <a:pt x="30" y="677"/>
                  </a:lnTo>
                  <a:lnTo>
                    <a:pt x="38" y="679"/>
                  </a:lnTo>
                  <a:lnTo>
                    <a:pt x="45" y="680"/>
                  </a:lnTo>
                  <a:lnTo>
                    <a:pt x="49" y="679"/>
                  </a:lnTo>
                  <a:lnTo>
                    <a:pt x="50" y="673"/>
                  </a:lnTo>
                  <a:lnTo>
                    <a:pt x="55" y="669"/>
                  </a:lnTo>
                  <a:lnTo>
                    <a:pt x="58" y="666"/>
                  </a:lnTo>
                  <a:lnTo>
                    <a:pt x="63" y="664"/>
                  </a:lnTo>
                  <a:lnTo>
                    <a:pt x="70" y="669"/>
                  </a:lnTo>
                  <a:lnTo>
                    <a:pt x="76" y="676"/>
                  </a:lnTo>
                  <a:lnTo>
                    <a:pt x="83" y="677"/>
                  </a:lnTo>
                  <a:lnTo>
                    <a:pt x="85" y="682"/>
                  </a:lnTo>
                  <a:lnTo>
                    <a:pt x="86" y="685"/>
                  </a:lnTo>
                  <a:lnTo>
                    <a:pt x="83" y="690"/>
                  </a:lnTo>
                  <a:lnTo>
                    <a:pt x="83" y="695"/>
                  </a:lnTo>
                  <a:lnTo>
                    <a:pt x="92" y="697"/>
                  </a:lnTo>
                  <a:lnTo>
                    <a:pt x="96" y="696"/>
                  </a:lnTo>
                  <a:lnTo>
                    <a:pt x="102" y="693"/>
                  </a:lnTo>
                  <a:lnTo>
                    <a:pt x="102" y="689"/>
                  </a:lnTo>
                  <a:lnTo>
                    <a:pt x="99" y="685"/>
                  </a:lnTo>
                  <a:lnTo>
                    <a:pt x="98" y="675"/>
                  </a:lnTo>
                  <a:lnTo>
                    <a:pt x="98" y="675"/>
                  </a:lnTo>
                  <a:lnTo>
                    <a:pt x="98" y="670"/>
                  </a:lnTo>
                  <a:lnTo>
                    <a:pt x="96" y="666"/>
                  </a:lnTo>
                  <a:lnTo>
                    <a:pt x="95" y="664"/>
                  </a:lnTo>
                  <a:lnTo>
                    <a:pt x="95" y="662"/>
                  </a:lnTo>
                  <a:lnTo>
                    <a:pt x="95" y="662"/>
                  </a:lnTo>
                  <a:lnTo>
                    <a:pt x="98" y="660"/>
                  </a:lnTo>
                  <a:lnTo>
                    <a:pt x="99" y="659"/>
                  </a:lnTo>
                  <a:lnTo>
                    <a:pt x="103" y="660"/>
                  </a:lnTo>
                  <a:lnTo>
                    <a:pt x="106" y="663"/>
                  </a:lnTo>
                  <a:lnTo>
                    <a:pt x="106" y="663"/>
                  </a:lnTo>
                  <a:lnTo>
                    <a:pt x="109" y="669"/>
                  </a:lnTo>
                  <a:lnTo>
                    <a:pt x="113" y="676"/>
                  </a:lnTo>
                  <a:lnTo>
                    <a:pt x="112" y="685"/>
                  </a:lnTo>
                  <a:lnTo>
                    <a:pt x="111" y="689"/>
                  </a:lnTo>
                  <a:lnTo>
                    <a:pt x="109" y="693"/>
                  </a:lnTo>
                  <a:lnTo>
                    <a:pt x="111" y="697"/>
                  </a:lnTo>
                  <a:lnTo>
                    <a:pt x="115" y="699"/>
                  </a:lnTo>
                  <a:lnTo>
                    <a:pt x="119" y="702"/>
                  </a:lnTo>
                  <a:lnTo>
                    <a:pt x="122" y="705"/>
                  </a:lnTo>
                  <a:lnTo>
                    <a:pt x="122" y="706"/>
                  </a:lnTo>
                  <a:lnTo>
                    <a:pt x="121" y="709"/>
                  </a:lnTo>
                  <a:lnTo>
                    <a:pt x="121" y="710"/>
                  </a:lnTo>
                  <a:lnTo>
                    <a:pt x="119" y="710"/>
                  </a:lnTo>
                  <a:lnTo>
                    <a:pt x="115" y="710"/>
                  </a:lnTo>
                  <a:lnTo>
                    <a:pt x="109" y="712"/>
                  </a:lnTo>
                  <a:lnTo>
                    <a:pt x="106" y="715"/>
                  </a:lnTo>
                  <a:lnTo>
                    <a:pt x="106" y="720"/>
                  </a:lnTo>
                  <a:lnTo>
                    <a:pt x="105" y="725"/>
                  </a:lnTo>
                  <a:lnTo>
                    <a:pt x="103" y="729"/>
                  </a:lnTo>
                  <a:lnTo>
                    <a:pt x="102" y="730"/>
                  </a:lnTo>
                  <a:lnTo>
                    <a:pt x="98" y="736"/>
                  </a:lnTo>
                  <a:lnTo>
                    <a:pt x="96" y="739"/>
                  </a:lnTo>
                  <a:lnTo>
                    <a:pt x="101" y="740"/>
                  </a:lnTo>
                  <a:lnTo>
                    <a:pt x="103" y="740"/>
                  </a:lnTo>
                  <a:lnTo>
                    <a:pt x="106" y="742"/>
                  </a:lnTo>
                  <a:lnTo>
                    <a:pt x="111" y="740"/>
                  </a:lnTo>
                  <a:lnTo>
                    <a:pt x="116" y="739"/>
                  </a:lnTo>
                  <a:lnTo>
                    <a:pt x="123" y="740"/>
                  </a:lnTo>
                  <a:lnTo>
                    <a:pt x="126" y="740"/>
                  </a:lnTo>
                  <a:lnTo>
                    <a:pt x="132" y="739"/>
                  </a:lnTo>
                  <a:lnTo>
                    <a:pt x="133" y="736"/>
                  </a:lnTo>
                  <a:lnTo>
                    <a:pt x="133" y="732"/>
                  </a:lnTo>
                  <a:lnTo>
                    <a:pt x="131" y="730"/>
                  </a:lnTo>
                  <a:lnTo>
                    <a:pt x="126" y="729"/>
                  </a:lnTo>
                  <a:lnTo>
                    <a:pt x="121" y="725"/>
                  </a:lnTo>
                  <a:lnTo>
                    <a:pt x="121" y="720"/>
                  </a:lnTo>
                  <a:lnTo>
                    <a:pt x="122" y="716"/>
                  </a:lnTo>
                  <a:lnTo>
                    <a:pt x="132" y="716"/>
                  </a:lnTo>
                  <a:lnTo>
                    <a:pt x="139" y="716"/>
                  </a:lnTo>
                  <a:lnTo>
                    <a:pt x="146" y="720"/>
                  </a:lnTo>
                  <a:lnTo>
                    <a:pt x="149" y="720"/>
                  </a:lnTo>
                  <a:lnTo>
                    <a:pt x="155" y="732"/>
                  </a:lnTo>
                  <a:lnTo>
                    <a:pt x="159" y="739"/>
                  </a:lnTo>
                  <a:lnTo>
                    <a:pt x="164" y="748"/>
                  </a:lnTo>
                  <a:lnTo>
                    <a:pt x="165" y="755"/>
                  </a:lnTo>
                  <a:lnTo>
                    <a:pt x="166" y="759"/>
                  </a:lnTo>
                  <a:lnTo>
                    <a:pt x="172" y="763"/>
                  </a:lnTo>
                  <a:lnTo>
                    <a:pt x="178" y="763"/>
                  </a:lnTo>
                  <a:lnTo>
                    <a:pt x="185" y="766"/>
                  </a:lnTo>
                  <a:lnTo>
                    <a:pt x="191" y="770"/>
                  </a:lnTo>
                  <a:lnTo>
                    <a:pt x="195" y="769"/>
                  </a:lnTo>
                  <a:lnTo>
                    <a:pt x="199" y="770"/>
                  </a:lnTo>
                  <a:lnTo>
                    <a:pt x="204" y="768"/>
                  </a:lnTo>
                  <a:lnTo>
                    <a:pt x="208" y="766"/>
                  </a:lnTo>
                  <a:lnTo>
                    <a:pt x="217" y="765"/>
                  </a:lnTo>
                  <a:lnTo>
                    <a:pt x="219" y="766"/>
                  </a:lnTo>
                  <a:lnTo>
                    <a:pt x="221" y="766"/>
                  </a:lnTo>
                  <a:lnTo>
                    <a:pt x="224" y="770"/>
                  </a:lnTo>
                  <a:lnTo>
                    <a:pt x="222" y="776"/>
                  </a:lnTo>
                  <a:lnTo>
                    <a:pt x="219" y="781"/>
                  </a:lnTo>
                  <a:lnTo>
                    <a:pt x="218" y="782"/>
                  </a:lnTo>
                  <a:lnTo>
                    <a:pt x="217" y="785"/>
                  </a:lnTo>
                  <a:lnTo>
                    <a:pt x="212" y="789"/>
                  </a:lnTo>
                  <a:lnTo>
                    <a:pt x="209" y="791"/>
                  </a:lnTo>
                  <a:lnTo>
                    <a:pt x="205" y="792"/>
                  </a:lnTo>
                  <a:lnTo>
                    <a:pt x="204" y="792"/>
                  </a:lnTo>
                  <a:lnTo>
                    <a:pt x="196" y="791"/>
                  </a:lnTo>
                  <a:lnTo>
                    <a:pt x="189" y="789"/>
                  </a:lnTo>
                  <a:lnTo>
                    <a:pt x="188" y="789"/>
                  </a:lnTo>
                  <a:lnTo>
                    <a:pt x="182" y="789"/>
                  </a:lnTo>
                  <a:lnTo>
                    <a:pt x="176" y="795"/>
                  </a:lnTo>
                  <a:lnTo>
                    <a:pt x="172" y="802"/>
                  </a:lnTo>
                  <a:lnTo>
                    <a:pt x="159" y="811"/>
                  </a:lnTo>
                  <a:lnTo>
                    <a:pt x="152" y="819"/>
                  </a:lnTo>
                  <a:lnTo>
                    <a:pt x="151" y="828"/>
                  </a:lnTo>
                  <a:lnTo>
                    <a:pt x="152" y="835"/>
                  </a:lnTo>
                  <a:lnTo>
                    <a:pt x="154" y="836"/>
                  </a:lnTo>
                  <a:lnTo>
                    <a:pt x="155" y="842"/>
                  </a:lnTo>
                  <a:lnTo>
                    <a:pt x="155" y="848"/>
                  </a:lnTo>
                  <a:lnTo>
                    <a:pt x="162" y="849"/>
                  </a:lnTo>
                  <a:lnTo>
                    <a:pt x="168" y="849"/>
                  </a:lnTo>
                  <a:lnTo>
                    <a:pt x="175" y="845"/>
                  </a:lnTo>
                  <a:lnTo>
                    <a:pt x="182" y="842"/>
                  </a:lnTo>
                  <a:lnTo>
                    <a:pt x="194" y="842"/>
                  </a:lnTo>
                  <a:lnTo>
                    <a:pt x="198" y="842"/>
                  </a:lnTo>
                  <a:lnTo>
                    <a:pt x="202" y="842"/>
                  </a:lnTo>
                  <a:lnTo>
                    <a:pt x="217" y="846"/>
                  </a:lnTo>
                  <a:lnTo>
                    <a:pt x="231" y="855"/>
                  </a:lnTo>
                  <a:lnTo>
                    <a:pt x="234" y="855"/>
                  </a:lnTo>
                  <a:lnTo>
                    <a:pt x="235" y="859"/>
                  </a:lnTo>
                  <a:lnTo>
                    <a:pt x="235" y="864"/>
                  </a:lnTo>
                  <a:lnTo>
                    <a:pt x="234" y="871"/>
                  </a:lnTo>
                  <a:lnTo>
                    <a:pt x="232" y="875"/>
                  </a:lnTo>
                  <a:lnTo>
                    <a:pt x="231" y="878"/>
                  </a:lnTo>
                  <a:lnTo>
                    <a:pt x="234" y="879"/>
                  </a:lnTo>
                  <a:lnTo>
                    <a:pt x="244" y="879"/>
                  </a:lnTo>
                  <a:lnTo>
                    <a:pt x="245" y="876"/>
                  </a:lnTo>
                  <a:lnTo>
                    <a:pt x="251" y="869"/>
                  </a:lnTo>
                  <a:lnTo>
                    <a:pt x="252" y="866"/>
                  </a:lnTo>
                  <a:lnTo>
                    <a:pt x="258" y="861"/>
                  </a:lnTo>
                  <a:lnTo>
                    <a:pt x="262" y="858"/>
                  </a:lnTo>
                  <a:lnTo>
                    <a:pt x="268" y="855"/>
                  </a:lnTo>
                  <a:lnTo>
                    <a:pt x="272" y="855"/>
                  </a:lnTo>
                  <a:lnTo>
                    <a:pt x="284" y="859"/>
                  </a:lnTo>
                  <a:lnTo>
                    <a:pt x="288" y="851"/>
                  </a:lnTo>
                  <a:lnTo>
                    <a:pt x="291" y="851"/>
                  </a:lnTo>
                  <a:lnTo>
                    <a:pt x="297" y="854"/>
                  </a:lnTo>
                  <a:lnTo>
                    <a:pt x="304" y="855"/>
                  </a:lnTo>
                  <a:lnTo>
                    <a:pt x="305" y="844"/>
                  </a:lnTo>
                  <a:lnTo>
                    <a:pt x="318" y="851"/>
                  </a:lnTo>
                  <a:lnTo>
                    <a:pt x="323" y="854"/>
                  </a:lnTo>
                  <a:lnTo>
                    <a:pt x="328" y="854"/>
                  </a:lnTo>
                  <a:lnTo>
                    <a:pt x="331" y="855"/>
                  </a:lnTo>
                  <a:lnTo>
                    <a:pt x="333" y="855"/>
                  </a:lnTo>
                  <a:lnTo>
                    <a:pt x="345" y="851"/>
                  </a:lnTo>
                  <a:lnTo>
                    <a:pt x="353" y="849"/>
                  </a:lnTo>
                  <a:lnTo>
                    <a:pt x="368" y="841"/>
                  </a:lnTo>
                  <a:lnTo>
                    <a:pt x="371" y="838"/>
                  </a:lnTo>
                  <a:lnTo>
                    <a:pt x="371" y="836"/>
                  </a:lnTo>
                  <a:lnTo>
                    <a:pt x="371" y="832"/>
                  </a:lnTo>
                  <a:lnTo>
                    <a:pt x="371" y="829"/>
                  </a:lnTo>
                  <a:lnTo>
                    <a:pt x="373" y="826"/>
                  </a:lnTo>
                  <a:lnTo>
                    <a:pt x="376" y="825"/>
                  </a:lnTo>
                  <a:lnTo>
                    <a:pt x="380" y="825"/>
                  </a:lnTo>
                  <a:lnTo>
                    <a:pt x="388" y="826"/>
                  </a:lnTo>
                  <a:lnTo>
                    <a:pt x="391" y="828"/>
                  </a:lnTo>
                  <a:lnTo>
                    <a:pt x="398" y="829"/>
                  </a:lnTo>
                  <a:lnTo>
                    <a:pt x="401" y="825"/>
                  </a:lnTo>
                  <a:lnTo>
                    <a:pt x="414" y="791"/>
                  </a:lnTo>
                  <a:lnTo>
                    <a:pt x="421" y="772"/>
                  </a:lnTo>
                  <a:lnTo>
                    <a:pt x="423" y="768"/>
                  </a:lnTo>
                  <a:lnTo>
                    <a:pt x="429" y="766"/>
                  </a:lnTo>
                  <a:lnTo>
                    <a:pt x="433" y="768"/>
                  </a:lnTo>
                  <a:lnTo>
                    <a:pt x="436" y="768"/>
                  </a:lnTo>
                  <a:lnTo>
                    <a:pt x="439" y="768"/>
                  </a:lnTo>
                  <a:lnTo>
                    <a:pt x="440" y="762"/>
                  </a:lnTo>
                  <a:lnTo>
                    <a:pt x="443" y="758"/>
                  </a:lnTo>
                  <a:lnTo>
                    <a:pt x="441" y="750"/>
                  </a:lnTo>
                  <a:lnTo>
                    <a:pt x="437" y="743"/>
                  </a:lnTo>
                  <a:lnTo>
                    <a:pt x="439" y="729"/>
                  </a:lnTo>
                  <a:lnTo>
                    <a:pt x="440" y="722"/>
                  </a:lnTo>
                  <a:lnTo>
                    <a:pt x="437" y="717"/>
                  </a:lnTo>
                  <a:lnTo>
                    <a:pt x="436" y="719"/>
                  </a:lnTo>
                  <a:lnTo>
                    <a:pt x="431" y="723"/>
                  </a:lnTo>
                  <a:lnTo>
                    <a:pt x="431" y="720"/>
                  </a:lnTo>
                  <a:lnTo>
                    <a:pt x="433" y="709"/>
                  </a:lnTo>
                  <a:lnTo>
                    <a:pt x="433" y="703"/>
                  </a:lnTo>
                  <a:lnTo>
                    <a:pt x="429" y="699"/>
                  </a:lnTo>
                  <a:lnTo>
                    <a:pt x="427" y="699"/>
                  </a:lnTo>
                  <a:lnTo>
                    <a:pt x="421" y="699"/>
                  </a:lnTo>
                  <a:lnTo>
                    <a:pt x="420" y="695"/>
                  </a:lnTo>
                  <a:lnTo>
                    <a:pt x="421" y="690"/>
                  </a:lnTo>
                  <a:lnTo>
                    <a:pt x="426" y="689"/>
                  </a:lnTo>
                  <a:lnTo>
                    <a:pt x="427" y="680"/>
                  </a:lnTo>
                  <a:lnTo>
                    <a:pt x="423" y="669"/>
                  </a:lnTo>
                  <a:lnTo>
                    <a:pt x="423" y="660"/>
                  </a:lnTo>
                  <a:lnTo>
                    <a:pt x="426" y="654"/>
                  </a:lnTo>
                  <a:lnTo>
                    <a:pt x="429" y="650"/>
                  </a:lnTo>
                  <a:lnTo>
                    <a:pt x="430" y="632"/>
                  </a:lnTo>
                  <a:lnTo>
                    <a:pt x="426" y="624"/>
                  </a:lnTo>
                  <a:lnTo>
                    <a:pt x="421" y="622"/>
                  </a:lnTo>
                  <a:lnTo>
                    <a:pt x="423" y="617"/>
                  </a:lnTo>
                  <a:lnTo>
                    <a:pt x="430" y="612"/>
                  </a:lnTo>
                  <a:lnTo>
                    <a:pt x="443" y="606"/>
                  </a:lnTo>
                  <a:lnTo>
                    <a:pt x="434" y="591"/>
                  </a:lnTo>
                  <a:lnTo>
                    <a:pt x="444" y="584"/>
                  </a:lnTo>
                  <a:lnTo>
                    <a:pt x="450" y="581"/>
                  </a:lnTo>
                  <a:lnTo>
                    <a:pt x="450" y="579"/>
                  </a:lnTo>
                  <a:lnTo>
                    <a:pt x="443" y="566"/>
                  </a:lnTo>
                  <a:lnTo>
                    <a:pt x="443" y="560"/>
                  </a:lnTo>
                  <a:lnTo>
                    <a:pt x="446" y="557"/>
                  </a:lnTo>
                  <a:lnTo>
                    <a:pt x="450" y="563"/>
                  </a:lnTo>
                  <a:lnTo>
                    <a:pt x="459" y="567"/>
                  </a:lnTo>
                  <a:lnTo>
                    <a:pt x="466" y="569"/>
                  </a:lnTo>
                  <a:lnTo>
                    <a:pt x="467" y="567"/>
                  </a:lnTo>
                  <a:lnTo>
                    <a:pt x="467" y="564"/>
                  </a:lnTo>
                  <a:lnTo>
                    <a:pt x="461" y="557"/>
                  </a:lnTo>
                  <a:lnTo>
                    <a:pt x="461" y="551"/>
                  </a:lnTo>
                  <a:lnTo>
                    <a:pt x="464" y="548"/>
                  </a:lnTo>
                  <a:lnTo>
                    <a:pt x="473" y="546"/>
                  </a:lnTo>
                  <a:lnTo>
                    <a:pt x="483" y="540"/>
                  </a:lnTo>
                  <a:lnTo>
                    <a:pt x="493" y="534"/>
                  </a:lnTo>
                  <a:lnTo>
                    <a:pt x="512" y="530"/>
                  </a:lnTo>
                  <a:lnTo>
                    <a:pt x="514" y="526"/>
                  </a:lnTo>
                  <a:lnTo>
                    <a:pt x="520" y="526"/>
                  </a:lnTo>
                  <a:lnTo>
                    <a:pt x="527" y="526"/>
                  </a:lnTo>
                  <a:lnTo>
                    <a:pt x="532" y="526"/>
                  </a:lnTo>
                  <a:lnTo>
                    <a:pt x="542" y="531"/>
                  </a:lnTo>
                  <a:lnTo>
                    <a:pt x="546" y="527"/>
                  </a:lnTo>
                  <a:lnTo>
                    <a:pt x="559" y="527"/>
                  </a:lnTo>
                  <a:lnTo>
                    <a:pt x="559" y="536"/>
                  </a:lnTo>
                  <a:lnTo>
                    <a:pt x="566" y="536"/>
                  </a:lnTo>
                  <a:lnTo>
                    <a:pt x="576" y="537"/>
                  </a:lnTo>
                  <a:lnTo>
                    <a:pt x="582" y="537"/>
                  </a:lnTo>
                  <a:lnTo>
                    <a:pt x="582" y="533"/>
                  </a:lnTo>
                  <a:lnTo>
                    <a:pt x="573" y="517"/>
                  </a:lnTo>
                  <a:lnTo>
                    <a:pt x="566" y="511"/>
                  </a:lnTo>
                  <a:lnTo>
                    <a:pt x="565" y="507"/>
                  </a:lnTo>
                  <a:lnTo>
                    <a:pt x="567" y="500"/>
                  </a:lnTo>
                  <a:lnTo>
                    <a:pt x="572" y="497"/>
                  </a:lnTo>
                  <a:lnTo>
                    <a:pt x="577" y="487"/>
                  </a:lnTo>
                  <a:lnTo>
                    <a:pt x="552" y="487"/>
                  </a:lnTo>
                  <a:lnTo>
                    <a:pt x="549" y="485"/>
                  </a:lnTo>
                  <a:lnTo>
                    <a:pt x="545" y="484"/>
                  </a:lnTo>
                  <a:lnTo>
                    <a:pt x="542" y="480"/>
                  </a:lnTo>
                  <a:lnTo>
                    <a:pt x="545" y="475"/>
                  </a:lnTo>
                  <a:lnTo>
                    <a:pt x="559" y="470"/>
                  </a:lnTo>
                  <a:lnTo>
                    <a:pt x="573" y="461"/>
                  </a:lnTo>
                  <a:lnTo>
                    <a:pt x="579" y="464"/>
                  </a:lnTo>
                  <a:lnTo>
                    <a:pt x="598" y="455"/>
                  </a:lnTo>
                  <a:lnTo>
                    <a:pt x="613" y="371"/>
                  </a:lnTo>
                  <a:lnTo>
                    <a:pt x="615" y="347"/>
                  </a:lnTo>
                  <a:lnTo>
                    <a:pt x="602" y="339"/>
                  </a:lnTo>
                  <a:lnTo>
                    <a:pt x="605" y="324"/>
                  </a:lnTo>
                  <a:lnTo>
                    <a:pt x="605" y="302"/>
                  </a:lnTo>
                  <a:lnTo>
                    <a:pt x="595" y="295"/>
                  </a:lnTo>
                  <a:lnTo>
                    <a:pt x="612" y="249"/>
                  </a:lnTo>
                  <a:lnTo>
                    <a:pt x="608" y="238"/>
                  </a:lnTo>
                  <a:lnTo>
                    <a:pt x="585" y="212"/>
                  </a:lnTo>
                  <a:lnTo>
                    <a:pt x="582" y="205"/>
                  </a:lnTo>
                  <a:lnTo>
                    <a:pt x="602" y="198"/>
                  </a:lnTo>
                  <a:lnTo>
                    <a:pt x="596" y="175"/>
                  </a:lnTo>
                  <a:lnTo>
                    <a:pt x="596" y="172"/>
                  </a:lnTo>
                  <a:lnTo>
                    <a:pt x="600" y="170"/>
                  </a:lnTo>
                  <a:lnTo>
                    <a:pt x="615" y="168"/>
                  </a:lnTo>
                  <a:lnTo>
                    <a:pt x="625" y="160"/>
                  </a:lnTo>
                  <a:lnTo>
                    <a:pt x="613" y="137"/>
                  </a:lnTo>
                  <a:lnTo>
                    <a:pt x="613" y="137"/>
                  </a:lnTo>
                  <a:lnTo>
                    <a:pt x="596" y="143"/>
                  </a:lnTo>
                  <a:lnTo>
                    <a:pt x="587" y="153"/>
                  </a:lnTo>
                  <a:lnTo>
                    <a:pt x="580" y="155"/>
                  </a:lnTo>
                  <a:lnTo>
                    <a:pt x="572" y="155"/>
                  </a:lnTo>
                  <a:lnTo>
                    <a:pt x="566" y="159"/>
                  </a:lnTo>
                  <a:lnTo>
                    <a:pt x="557" y="166"/>
                  </a:lnTo>
                  <a:lnTo>
                    <a:pt x="543" y="168"/>
                  </a:lnTo>
                  <a:lnTo>
                    <a:pt x="513" y="179"/>
                  </a:lnTo>
                  <a:lnTo>
                    <a:pt x="496" y="168"/>
                  </a:lnTo>
                  <a:lnTo>
                    <a:pt x="454" y="146"/>
                  </a:lnTo>
                  <a:lnTo>
                    <a:pt x="436" y="140"/>
                  </a:lnTo>
                  <a:lnTo>
                    <a:pt x="423" y="140"/>
                  </a:lnTo>
                  <a:lnTo>
                    <a:pt x="414" y="140"/>
                  </a:lnTo>
                  <a:lnTo>
                    <a:pt x="417" y="150"/>
                  </a:lnTo>
                  <a:lnTo>
                    <a:pt x="410" y="152"/>
                  </a:lnTo>
                  <a:lnTo>
                    <a:pt x="403" y="152"/>
                  </a:lnTo>
                  <a:lnTo>
                    <a:pt x="381" y="140"/>
                  </a:lnTo>
                  <a:lnTo>
                    <a:pt x="347" y="126"/>
                  </a:lnTo>
                  <a:lnTo>
                    <a:pt x="338" y="106"/>
                  </a:lnTo>
                  <a:lnTo>
                    <a:pt x="330" y="103"/>
                  </a:lnTo>
                  <a:lnTo>
                    <a:pt x="308" y="96"/>
                  </a:lnTo>
                  <a:lnTo>
                    <a:pt x="291" y="92"/>
                  </a:lnTo>
                  <a:lnTo>
                    <a:pt x="275" y="89"/>
                  </a:lnTo>
                  <a:lnTo>
                    <a:pt x="278" y="76"/>
                  </a:lnTo>
                  <a:lnTo>
                    <a:pt x="285" y="56"/>
                  </a:lnTo>
                  <a:lnTo>
                    <a:pt x="295" y="41"/>
                  </a:lnTo>
                  <a:lnTo>
                    <a:pt x="300" y="37"/>
                  </a:lnTo>
                  <a:lnTo>
                    <a:pt x="301" y="34"/>
                  </a:lnTo>
                  <a:lnTo>
                    <a:pt x="298" y="29"/>
                  </a:lnTo>
                  <a:lnTo>
                    <a:pt x="292" y="27"/>
                  </a:lnTo>
                  <a:lnTo>
                    <a:pt x="290" y="24"/>
                  </a:lnTo>
                  <a:lnTo>
                    <a:pt x="291" y="19"/>
                  </a:lnTo>
                  <a:lnTo>
                    <a:pt x="290" y="11"/>
                  </a:lnTo>
                  <a:lnTo>
                    <a:pt x="287" y="6"/>
                  </a:lnTo>
                  <a:lnTo>
                    <a:pt x="278" y="0"/>
                  </a:lnTo>
                  <a:lnTo>
                    <a:pt x="242" y="34"/>
                  </a:lnTo>
                  <a:lnTo>
                    <a:pt x="218" y="59"/>
                  </a:lnTo>
                  <a:lnTo>
                    <a:pt x="215" y="63"/>
                  </a:lnTo>
                  <a:lnTo>
                    <a:pt x="214" y="66"/>
                  </a:lnTo>
                  <a:lnTo>
                    <a:pt x="214" y="72"/>
                  </a:lnTo>
                  <a:lnTo>
                    <a:pt x="208" y="77"/>
                  </a:lnTo>
                  <a:lnTo>
                    <a:pt x="195" y="93"/>
                  </a:lnTo>
                  <a:lnTo>
                    <a:pt x="199" y="99"/>
                  </a:lnTo>
                  <a:lnTo>
                    <a:pt x="201" y="102"/>
                  </a:lnTo>
                  <a:lnTo>
                    <a:pt x="199" y="107"/>
                  </a:lnTo>
                  <a:lnTo>
                    <a:pt x="199" y="113"/>
                  </a:lnTo>
                  <a:lnTo>
                    <a:pt x="198" y="119"/>
                  </a:lnTo>
                  <a:lnTo>
                    <a:pt x="198" y="125"/>
                  </a:lnTo>
                  <a:lnTo>
                    <a:pt x="195" y="132"/>
                  </a:lnTo>
                  <a:lnTo>
                    <a:pt x="192" y="140"/>
                  </a:lnTo>
                  <a:lnTo>
                    <a:pt x="182" y="147"/>
                  </a:lnTo>
                  <a:lnTo>
                    <a:pt x="168" y="152"/>
                  </a:lnTo>
                  <a:lnTo>
                    <a:pt x="164" y="156"/>
                  </a:lnTo>
                  <a:lnTo>
                    <a:pt x="161" y="160"/>
                  </a:lnTo>
                  <a:lnTo>
                    <a:pt x="161" y="169"/>
                  </a:lnTo>
                  <a:lnTo>
                    <a:pt x="165" y="173"/>
                  </a:lnTo>
                  <a:lnTo>
                    <a:pt x="171" y="175"/>
                  </a:lnTo>
                  <a:lnTo>
                    <a:pt x="172" y="179"/>
                  </a:lnTo>
                  <a:lnTo>
                    <a:pt x="172" y="182"/>
                  </a:lnTo>
                  <a:lnTo>
                    <a:pt x="168" y="188"/>
                  </a:lnTo>
                  <a:lnTo>
                    <a:pt x="166" y="190"/>
                  </a:lnTo>
                  <a:lnTo>
                    <a:pt x="169" y="198"/>
                  </a:lnTo>
                  <a:lnTo>
                    <a:pt x="172" y="198"/>
                  </a:lnTo>
                  <a:lnTo>
                    <a:pt x="176" y="195"/>
                  </a:lnTo>
                  <a:lnTo>
                    <a:pt x="199" y="173"/>
                  </a:lnTo>
                  <a:lnTo>
                    <a:pt x="199" y="173"/>
                  </a:lnTo>
                  <a:close/>
                  <a:moveTo>
                    <a:pt x="129" y="315"/>
                  </a:moveTo>
                  <a:lnTo>
                    <a:pt x="128" y="316"/>
                  </a:lnTo>
                  <a:lnTo>
                    <a:pt x="128" y="316"/>
                  </a:lnTo>
                  <a:lnTo>
                    <a:pt x="125" y="316"/>
                  </a:lnTo>
                  <a:lnTo>
                    <a:pt x="125" y="316"/>
                  </a:lnTo>
                  <a:lnTo>
                    <a:pt x="123" y="315"/>
                  </a:lnTo>
                  <a:lnTo>
                    <a:pt x="123" y="315"/>
                  </a:lnTo>
                  <a:lnTo>
                    <a:pt x="122" y="315"/>
                  </a:lnTo>
                  <a:lnTo>
                    <a:pt x="122" y="315"/>
                  </a:lnTo>
                  <a:lnTo>
                    <a:pt x="121" y="311"/>
                  </a:lnTo>
                  <a:lnTo>
                    <a:pt x="122" y="309"/>
                  </a:lnTo>
                  <a:lnTo>
                    <a:pt x="122" y="308"/>
                  </a:lnTo>
                  <a:lnTo>
                    <a:pt x="122" y="308"/>
                  </a:lnTo>
                  <a:lnTo>
                    <a:pt x="123" y="309"/>
                  </a:lnTo>
                  <a:lnTo>
                    <a:pt x="123" y="309"/>
                  </a:lnTo>
                  <a:lnTo>
                    <a:pt x="126" y="309"/>
                  </a:lnTo>
                  <a:lnTo>
                    <a:pt x="126" y="309"/>
                  </a:lnTo>
                  <a:lnTo>
                    <a:pt x="129" y="311"/>
                  </a:lnTo>
                  <a:lnTo>
                    <a:pt x="129" y="311"/>
                  </a:lnTo>
                  <a:lnTo>
                    <a:pt x="129" y="314"/>
                  </a:lnTo>
                  <a:lnTo>
                    <a:pt x="129" y="315"/>
                  </a:lnTo>
                  <a:lnTo>
                    <a:pt x="129" y="315"/>
                  </a:lnTo>
                  <a:close/>
                  <a:moveTo>
                    <a:pt x="219" y="851"/>
                  </a:moveTo>
                  <a:lnTo>
                    <a:pt x="219" y="851"/>
                  </a:lnTo>
                  <a:lnTo>
                    <a:pt x="221" y="851"/>
                  </a:lnTo>
                  <a:lnTo>
                    <a:pt x="224" y="852"/>
                  </a:lnTo>
                  <a:lnTo>
                    <a:pt x="229" y="856"/>
                  </a:lnTo>
                  <a:lnTo>
                    <a:pt x="229" y="856"/>
                  </a:lnTo>
                  <a:lnTo>
                    <a:pt x="229" y="856"/>
                  </a:lnTo>
                  <a:lnTo>
                    <a:pt x="229" y="856"/>
                  </a:lnTo>
                  <a:lnTo>
                    <a:pt x="229" y="856"/>
                  </a:lnTo>
                  <a:lnTo>
                    <a:pt x="228" y="858"/>
                  </a:lnTo>
                  <a:lnTo>
                    <a:pt x="225" y="859"/>
                  </a:lnTo>
                  <a:lnTo>
                    <a:pt x="225" y="859"/>
                  </a:lnTo>
                  <a:lnTo>
                    <a:pt x="222" y="859"/>
                  </a:lnTo>
                  <a:lnTo>
                    <a:pt x="219" y="861"/>
                  </a:lnTo>
                  <a:lnTo>
                    <a:pt x="219" y="861"/>
                  </a:lnTo>
                  <a:lnTo>
                    <a:pt x="218" y="861"/>
                  </a:lnTo>
                  <a:lnTo>
                    <a:pt x="218" y="861"/>
                  </a:lnTo>
                  <a:lnTo>
                    <a:pt x="218" y="859"/>
                  </a:lnTo>
                  <a:lnTo>
                    <a:pt x="218" y="859"/>
                  </a:lnTo>
                  <a:lnTo>
                    <a:pt x="218" y="855"/>
                  </a:lnTo>
                  <a:lnTo>
                    <a:pt x="219" y="851"/>
                  </a:lnTo>
                  <a:lnTo>
                    <a:pt x="219" y="851"/>
                  </a:lnTo>
                  <a:close/>
                  <a:moveTo>
                    <a:pt x="158" y="345"/>
                  </a:moveTo>
                  <a:lnTo>
                    <a:pt x="158" y="345"/>
                  </a:lnTo>
                  <a:lnTo>
                    <a:pt x="154" y="348"/>
                  </a:lnTo>
                  <a:lnTo>
                    <a:pt x="154" y="348"/>
                  </a:lnTo>
                  <a:lnTo>
                    <a:pt x="152" y="347"/>
                  </a:lnTo>
                  <a:lnTo>
                    <a:pt x="152" y="347"/>
                  </a:lnTo>
                  <a:lnTo>
                    <a:pt x="151" y="347"/>
                  </a:lnTo>
                  <a:lnTo>
                    <a:pt x="151" y="347"/>
                  </a:lnTo>
                  <a:lnTo>
                    <a:pt x="149" y="342"/>
                  </a:lnTo>
                  <a:lnTo>
                    <a:pt x="149" y="341"/>
                  </a:lnTo>
                  <a:lnTo>
                    <a:pt x="149" y="339"/>
                  </a:lnTo>
                  <a:lnTo>
                    <a:pt x="149" y="339"/>
                  </a:lnTo>
                  <a:lnTo>
                    <a:pt x="151" y="339"/>
                  </a:lnTo>
                  <a:lnTo>
                    <a:pt x="151" y="339"/>
                  </a:lnTo>
                  <a:lnTo>
                    <a:pt x="155" y="339"/>
                  </a:lnTo>
                  <a:lnTo>
                    <a:pt x="155" y="339"/>
                  </a:lnTo>
                  <a:lnTo>
                    <a:pt x="156" y="341"/>
                  </a:lnTo>
                  <a:lnTo>
                    <a:pt x="156" y="341"/>
                  </a:lnTo>
                  <a:lnTo>
                    <a:pt x="158" y="341"/>
                  </a:lnTo>
                  <a:lnTo>
                    <a:pt x="158" y="342"/>
                  </a:lnTo>
                  <a:lnTo>
                    <a:pt x="158" y="345"/>
                  </a:lnTo>
                  <a:lnTo>
                    <a:pt x="158" y="345"/>
                  </a:lnTo>
                  <a:close/>
                  <a:moveTo>
                    <a:pt x="95" y="381"/>
                  </a:moveTo>
                  <a:lnTo>
                    <a:pt x="95" y="381"/>
                  </a:lnTo>
                  <a:lnTo>
                    <a:pt x="92" y="379"/>
                  </a:lnTo>
                  <a:lnTo>
                    <a:pt x="92" y="379"/>
                  </a:lnTo>
                  <a:lnTo>
                    <a:pt x="92" y="379"/>
                  </a:lnTo>
                  <a:lnTo>
                    <a:pt x="92" y="379"/>
                  </a:lnTo>
                  <a:lnTo>
                    <a:pt x="89" y="378"/>
                  </a:lnTo>
                  <a:lnTo>
                    <a:pt x="89" y="378"/>
                  </a:lnTo>
                  <a:lnTo>
                    <a:pt x="89" y="375"/>
                  </a:lnTo>
                  <a:lnTo>
                    <a:pt x="91" y="374"/>
                  </a:lnTo>
                  <a:lnTo>
                    <a:pt x="91" y="374"/>
                  </a:lnTo>
                  <a:lnTo>
                    <a:pt x="92" y="374"/>
                  </a:lnTo>
                  <a:lnTo>
                    <a:pt x="92" y="374"/>
                  </a:lnTo>
                  <a:lnTo>
                    <a:pt x="95" y="375"/>
                  </a:lnTo>
                  <a:lnTo>
                    <a:pt x="95" y="375"/>
                  </a:lnTo>
                  <a:lnTo>
                    <a:pt x="96" y="375"/>
                  </a:lnTo>
                  <a:lnTo>
                    <a:pt x="96" y="375"/>
                  </a:lnTo>
                  <a:lnTo>
                    <a:pt x="96" y="377"/>
                  </a:lnTo>
                  <a:lnTo>
                    <a:pt x="96" y="379"/>
                  </a:lnTo>
                  <a:lnTo>
                    <a:pt x="95" y="381"/>
                  </a:lnTo>
                  <a:lnTo>
                    <a:pt x="95" y="381"/>
                  </a:lnTo>
                  <a:close/>
                  <a:moveTo>
                    <a:pt x="105" y="365"/>
                  </a:moveTo>
                  <a:lnTo>
                    <a:pt x="105" y="365"/>
                  </a:lnTo>
                  <a:lnTo>
                    <a:pt x="106" y="368"/>
                  </a:lnTo>
                  <a:lnTo>
                    <a:pt x="103" y="369"/>
                  </a:lnTo>
                  <a:lnTo>
                    <a:pt x="103" y="369"/>
                  </a:lnTo>
                  <a:lnTo>
                    <a:pt x="102" y="371"/>
                  </a:lnTo>
                  <a:lnTo>
                    <a:pt x="102" y="371"/>
                  </a:lnTo>
                  <a:lnTo>
                    <a:pt x="101" y="372"/>
                  </a:lnTo>
                  <a:lnTo>
                    <a:pt x="101" y="372"/>
                  </a:lnTo>
                  <a:lnTo>
                    <a:pt x="98" y="372"/>
                  </a:lnTo>
                  <a:lnTo>
                    <a:pt x="95" y="371"/>
                  </a:lnTo>
                  <a:lnTo>
                    <a:pt x="95" y="369"/>
                  </a:lnTo>
                  <a:lnTo>
                    <a:pt x="95" y="369"/>
                  </a:lnTo>
                  <a:lnTo>
                    <a:pt x="95" y="368"/>
                  </a:lnTo>
                  <a:lnTo>
                    <a:pt x="95" y="368"/>
                  </a:lnTo>
                  <a:lnTo>
                    <a:pt x="98" y="365"/>
                  </a:lnTo>
                  <a:lnTo>
                    <a:pt x="98" y="365"/>
                  </a:lnTo>
                  <a:lnTo>
                    <a:pt x="99" y="364"/>
                  </a:lnTo>
                  <a:lnTo>
                    <a:pt x="99" y="364"/>
                  </a:lnTo>
                  <a:lnTo>
                    <a:pt x="101" y="364"/>
                  </a:lnTo>
                  <a:lnTo>
                    <a:pt x="102" y="364"/>
                  </a:lnTo>
                  <a:lnTo>
                    <a:pt x="105" y="365"/>
                  </a:lnTo>
                  <a:lnTo>
                    <a:pt x="105" y="365"/>
                  </a:lnTo>
                  <a:close/>
                </a:path>
              </a:pathLst>
            </a:custGeom>
            <a:solidFill>
              <a:srgbClr val="DCDD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36" name="Freeform 183"/>
            <p:cNvSpPr>
              <a:spLocks noEditPoints="1"/>
            </p:cNvSpPr>
            <p:nvPr/>
          </p:nvSpPr>
          <p:spPr bwMode="auto">
            <a:xfrm>
              <a:off x="3969968" y="4392843"/>
              <a:ext cx="380996" cy="582078"/>
            </a:xfrm>
            <a:custGeom>
              <a:avLst/>
              <a:gdLst>
                <a:gd name="T0" fmla="*/ 218 w 625"/>
                <a:gd name="T1" fmla="*/ 229 h 879"/>
                <a:gd name="T2" fmla="*/ 198 w 625"/>
                <a:gd name="T3" fmla="*/ 291 h 879"/>
                <a:gd name="T4" fmla="*/ 139 w 625"/>
                <a:gd name="T5" fmla="*/ 305 h 879"/>
                <a:gd name="T6" fmla="*/ 154 w 625"/>
                <a:gd name="T7" fmla="*/ 334 h 879"/>
                <a:gd name="T8" fmla="*/ 123 w 625"/>
                <a:gd name="T9" fmla="*/ 364 h 879"/>
                <a:gd name="T10" fmla="*/ 69 w 625"/>
                <a:gd name="T11" fmla="*/ 395 h 879"/>
                <a:gd name="T12" fmla="*/ 32 w 625"/>
                <a:gd name="T13" fmla="*/ 467 h 879"/>
                <a:gd name="T14" fmla="*/ 40 w 625"/>
                <a:gd name="T15" fmla="*/ 537 h 879"/>
                <a:gd name="T16" fmla="*/ 35 w 625"/>
                <a:gd name="T17" fmla="*/ 593 h 879"/>
                <a:gd name="T18" fmla="*/ 6 w 625"/>
                <a:gd name="T19" fmla="*/ 619 h 879"/>
                <a:gd name="T20" fmla="*/ 20 w 625"/>
                <a:gd name="T21" fmla="*/ 657 h 879"/>
                <a:gd name="T22" fmla="*/ 58 w 625"/>
                <a:gd name="T23" fmla="*/ 666 h 879"/>
                <a:gd name="T24" fmla="*/ 92 w 625"/>
                <a:gd name="T25" fmla="*/ 697 h 879"/>
                <a:gd name="T26" fmla="*/ 95 w 625"/>
                <a:gd name="T27" fmla="*/ 664 h 879"/>
                <a:gd name="T28" fmla="*/ 113 w 625"/>
                <a:gd name="T29" fmla="*/ 676 h 879"/>
                <a:gd name="T30" fmla="*/ 121 w 625"/>
                <a:gd name="T31" fmla="*/ 709 h 879"/>
                <a:gd name="T32" fmla="*/ 102 w 625"/>
                <a:gd name="T33" fmla="*/ 730 h 879"/>
                <a:gd name="T34" fmla="*/ 126 w 625"/>
                <a:gd name="T35" fmla="*/ 740 h 879"/>
                <a:gd name="T36" fmla="*/ 132 w 625"/>
                <a:gd name="T37" fmla="*/ 716 h 879"/>
                <a:gd name="T38" fmla="*/ 172 w 625"/>
                <a:gd name="T39" fmla="*/ 763 h 879"/>
                <a:gd name="T40" fmla="*/ 219 w 625"/>
                <a:gd name="T41" fmla="*/ 766 h 879"/>
                <a:gd name="T42" fmla="*/ 205 w 625"/>
                <a:gd name="T43" fmla="*/ 792 h 879"/>
                <a:gd name="T44" fmla="*/ 152 w 625"/>
                <a:gd name="T45" fmla="*/ 819 h 879"/>
                <a:gd name="T46" fmla="*/ 182 w 625"/>
                <a:gd name="T47" fmla="*/ 842 h 879"/>
                <a:gd name="T48" fmla="*/ 234 w 625"/>
                <a:gd name="T49" fmla="*/ 871 h 879"/>
                <a:gd name="T50" fmla="*/ 262 w 625"/>
                <a:gd name="T51" fmla="*/ 858 h 879"/>
                <a:gd name="T52" fmla="*/ 318 w 625"/>
                <a:gd name="T53" fmla="*/ 851 h 879"/>
                <a:gd name="T54" fmla="*/ 371 w 625"/>
                <a:gd name="T55" fmla="*/ 836 h 879"/>
                <a:gd name="T56" fmla="*/ 401 w 625"/>
                <a:gd name="T57" fmla="*/ 825 h 879"/>
                <a:gd name="T58" fmla="*/ 443 w 625"/>
                <a:gd name="T59" fmla="*/ 758 h 879"/>
                <a:gd name="T60" fmla="*/ 433 w 625"/>
                <a:gd name="T61" fmla="*/ 709 h 879"/>
                <a:gd name="T62" fmla="*/ 423 w 625"/>
                <a:gd name="T63" fmla="*/ 669 h 879"/>
                <a:gd name="T64" fmla="*/ 443 w 625"/>
                <a:gd name="T65" fmla="*/ 606 h 879"/>
                <a:gd name="T66" fmla="*/ 459 w 625"/>
                <a:gd name="T67" fmla="*/ 567 h 879"/>
                <a:gd name="T68" fmla="*/ 493 w 625"/>
                <a:gd name="T69" fmla="*/ 534 h 879"/>
                <a:gd name="T70" fmla="*/ 559 w 625"/>
                <a:gd name="T71" fmla="*/ 536 h 879"/>
                <a:gd name="T72" fmla="*/ 572 w 625"/>
                <a:gd name="T73" fmla="*/ 497 h 879"/>
                <a:gd name="T74" fmla="*/ 579 w 625"/>
                <a:gd name="T75" fmla="*/ 464 h 879"/>
                <a:gd name="T76" fmla="*/ 608 w 625"/>
                <a:gd name="T77" fmla="*/ 238 h 879"/>
                <a:gd name="T78" fmla="*/ 613 w 625"/>
                <a:gd name="T79" fmla="*/ 137 h 879"/>
                <a:gd name="T80" fmla="*/ 513 w 625"/>
                <a:gd name="T81" fmla="*/ 179 h 879"/>
                <a:gd name="T82" fmla="*/ 381 w 625"/>
                <a:gd name="T83" fmla="*/ 140 h 879"/>
                <a:gd name="T84" fmla="*/ 295 w 625"/>
                <a:gd name="T85" fmla="*/ 41 h 879"/>
                <a:gd name="T86" fmla="*/ 278 w 625"/>
                <a:gd name="T87" fmla="*/ 0 h 879"/>
                <a:gd name="T88" fmla="*/ 201 w 625"/>
                <a:gd name="T89" fmla="*/ 102 h 879"/>
                <a:gd name="T90" fmla="*/ 164 w 625"/>
                <a:gd name="T91" fmla="*/ 156 h 879"/>
                <a:gd name="T92" fmla="*/ 169 w 625"/>
                <a:gd name="T93" fmla="*/ 198 h 879"/>
                <a:gd name="T94" fmla="*/ 126 w 625"/>
                <a:gd name="T95" fmla="*/ 309 h 879"/>
                <a:gd name="T96" fmla="*/ 122 w 625"/>
                <a:gd name="T97" fmla="*/ 315 h 879"/>
                <a:gd name="T98" fmla="*/ 218 w 625"/>
                <a:gd name="T99" fmla="*/ 855 h 879"/>
                <a:gd name="T100" fmla="*/ 225 w 625"/>
                <a:gd name="T101" fmla="*/ 859 h 879"/>
                <a:gd name="T102" fmla="*/ 219 w 625"/>
                <a:gd name="T103" fmla="*/ 851 h 879"/>
                <a:gd name="T104" fmla="*/ 155 w 625"/>
                <a:gd name="T105" fmla="*/ 339 h 879"/>
                <a:gd name="T106" fmla="*/ 152 w 625"/>
                <a:gd name="T107" fmla="*/ 347 h 879"/>
                <a:gd name="T108" fmla="*/ 96 w 625"/>
                <a:gd name="T109" fmla="*/ 377 h 879"/>
                <a:gd name="T110" fmla="*/ 89 w 625"/>
                <a:gd name="T111" fmla="*/ 375 h 879"/>
                <a:gd name="T112" fmla="*/ 105 w 625"/>
                <a:gd name="T113" fmla="*/ 365 h 879"/>
                <a:gd name="T114" fmla="*/ 95 w 625"/>
                <a:gd name="T115" fmla="*/ 368 h 879"/>
                <a:gd name="T116" fmla="*/ 103 w 625"/>
                <a:gd name="T117" fmla="*/ 369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25" h="879">
                  <a:moveTo>
                    <a:pt x="199" y="173"/>
                  </a:moveTo>
                  <a:lnTo>
                    <a:pt x="205" y="175"/>
                  </a:lnTo>
                  <a:lnTo>
                    <a:pt x="212" y="176"/>
                  </a:lnTo>
                  <a:lnTo>
                    <a:pt x="214" y="178"/>
                  </a:lnTo>
                  <a:lnTo>
                    <a:pt x="215" y="185"/>
                  </a:lnTo>
                  <a:lnTo>
                    <a:pt x="215" y="190"/>
                  </a:lnTo>
                  <a:lnTo>
                    <a:pt x="215" y="200"/>
                  </a:lnTo>
                  <a:lnTo>
                    <a:pt x="222" y="210"/>
                  </a:lnTo>
                  <a:lnTo>
                    <a:pt x="218" y="229"/>
                  </a:lnTo>
                  <a:lnTo>
                    <a:pt x="225" y="243"/>
                  </a:lnTo>
                  <a:lnTo>
                    <a:pt x="234" y="263"/>
                  </a:lnTo>
                  <a:lnTo>
                    <a:pt x="234" y="275"/>
                  </a:lnTo>
                  <a:lnTo>
                    <a:pt x="229" y="285"/>
                  </a:lnTo>
                  <a:lnTo>
                    <a:pt x="218" y="294"/>
                  </a:lnTo>
                  <a:lnTo>
                    <a:pt x="209" y="295"/>
                  </a:lnTo>
                  <a:lnTo>
                    <a:pt x="205" y="294"/>
                  </a:lnTo>
                  <a:lnTo>
                    <a:pt x="201" y="292"/>
                  </a:lnTo>
                  <a:lnTo>
                    <a:pt x="198" y="291"/>
                  </a:lnTo>
                  <a:lnTo>
                    <a:pt x="189" y="294"/>
                  </a:lnTo>
                  <a:lnTo>
                    <a:pt x="174" y="284"/>
                  </a:lnTo>
                  <a:lnTo>
                    <a:pt x="168" y="282"/>
                  </a:lnTo>
                  <a:lnTo>
                    <a:pt x="166" y="282"/>
                  </a:lnTo>
                  <a:lnTo>
                    <a:pt x="166" y="285"/>
                  </a:lnTo>
                  <a:lnTo>
                    <a:pt x="168" y="291"/>
                  </a:lnTo>
                  <a:lnTo>
                    <a:pt x="166" y="295"/>
                  </a:lnTo>
                  <a:lnTo>
                    <a:pt x="155" y="305"/>
                  </a:lnTo>
                  <a:lnTo>
                    <a:pt x="139" y="305"/>
                  </a:lnTo>
                  <a:lnTo>
                    <a:pt x="136" y="305"/>
                  </a:lnTo>
                  <a:lnTo>
                    <a:pt x="133" y="309"/>
                  </a:lnTo>
                  <a:lnTo>
                    <a:pt x="138" y="315"/>
                  </a:lnTo>
                  <a:lnTo>
                    <a:pt x="138" y="325"/>
                  </a:lnTo>
                  <a:lnTo>
                    <a:pt x="143" y="329"/>
                  </a:lnTo>
                  <a:lnTo>
                    <a:pt x="148" y="328"/>
                  </a:lnTo>
                  <a:lnTo>
                    <a:pt x="152" y="325"/>
                  </a:lnTo>
                  <a:lnTo>
                    <a:pt x="154" y="329"/>
                  </a:lnTo>
                  <a:lnTo>
                    <a:pt x="154" y="334"/>
                  </a:lnTo>
                  <a:lnTo>
                    <a:pt x="148" y="335"/>
                  </a:lnTo>
                  <a:lnTo>
                    <a:pt x="135" y="329"/>
                  </a:lnTo>
                  <a:lnTo>
                    <a:pt x="125" y="325"/>
                  </a:lnTo>
                  <a:lnTo>
                    <a:pt x="121" y="328"/>
                  </a:lnTo>
                  <a:lnTo>
                    <a:pt x="118" y="331"/>
                  </a:lnTo>
                  <a:lnTo>
                    <a:pt x="115" y="335"/>
                  </a:lnTo>
                  <a:lnTo>
                    <a:pt x="116" y="341"/>
                  </a:lnTo>
                  <a:lnTo>
                    <a:pt x="121" y="354"/>
                  </a:lnTo>
                  <a:lnTo>
                    <a:pt x="123" y="364"/>
                  </a:lnTo>
                  <a:lnTo>
                    <a:pt x="101" y="381"/>
                  </a:lnTo>
                  <a:lnTo>
                    <a:pt x="98" y="385"/>
                  </a:lnTo>
                  <a:lnTo>
                    <a:pt x="78" y="375"/>
                  </a:lnTo>
                  <a:lnTo>
                    <a:pt x="72" y="387"/>
                  </a:lnTo>
                  <a:lnTo>
                    <a:pt x="86" y="391"/>
                  </a:lnTo>
                  <a:lnTo>
                    <a:pt x="93" y="394"/>
                  </a:lnTo>
                  <a:lnTo>
                    <a:pt x="92" y="400"/>
                  </a:lnTo>
                  <a:lnTo>
                    <a:pt x="82" y="397"/>
                  </a:lnTo>
                  <a:lnTo>
                    <a:pt x="69" y="395"/>
                  </a:lnTo>
                  <a:lnTo>
                    <a:pt x="59" y="411"/>
                  </a:lnTo>
                  <a:lnTo>
                    <a:pt x="70" y="418"/>
                  </a:lnTo>
                  <a:lnTo>
                    <a:pt x="63" y="431"/>
                  </a:lnTo>
                  <a:lnTo>
                    <a:pt x="50" y="435"/>
                  </a:lnTo>
                  <a:lnTo>
                    <a:pt x="42" y="438"/>
                  </a:lnTo>
                  <a:lnTo>
                    <a:pt x="32" y="444"/>
                  </a:lnTo>
                  <a:lnTo>
                    <a:pt x="23" y="463"/>
                  </a:lnTo>
                  <a:lnTo>
                    <a:pt x="32" y="467"/>
                  </a:lnTo>
                  <a:lnTo>
                    <a:pt x="32" y="467"/>
                  </a:lnTo>
                  <a:lnTo>
                    <a:pt x="40" y="471"/>
                  </a:lnTo>
                  <a:lnTo>
                    <a:pt x="45" y="468"/>
                  </a:lnTo>
                  <a:lnTo>
                    <a:pt x="50" y="470"/>
                  </a:lnTo>
                  <a:lnTo>
                    <a:pt x="52" y="474"/>
                  </a:lnTo>
                  <a:lnTo>
                    <a:pt x="50" y="483"/>
                  </a:lnTo>
                  <a:lnTo>
                    <a:pt x="53" y="494"/>
                  </a:lnTo>
                  <a:lnTo>
                    <a:pt x="52" y="507"/>
                  </a:lnTo>
                  <a:lnTo>
                    <a:pt x="45" y="528"/>
                  </a:lnTo>
                  <a:lnTo>
                    <a:pt x="40" y="537"/>
                  </a:lnTo>
                  <a:lnTo>
                    <a:pt x="40" y="538"/>
                  </a:lnTo>
                  <a:lnTo>
                    <a:pt x="36" y="550"/>
                  </a:lnTo>
                  <a:lnTo>
                    <a:pt x="35" y="559"/>
                  </a:lnTo>
                  <a:lnTo>
                    <a:pt x="36" y="570"/>
                  </a:lnTo>
                  <a:lnTo>
                    <a:pt x="46" y="579"/>
                  </a:lnTo>
                  <a:lnTo>
                    <a:pt x="48" y="581"/>
                  </a:lnTo>
                  <a:lnTo>
                    <a:pt x="48" y="587"/>
                  </a:lnTo>
                  <a:lnTo>
                    <a:pt x="43" y="589"/>
                  </a:lnTo>
                  <a:lnTo>
                    <a:pt x="35" y="593"/>
                  </a:lnTo>
                  <a:lnTo>
                    <a:pt x="29" y="600"/>
                  </a:lnTo>
                  <a:lnTo>
                    <a:pt x="27" y="612"/>
                  </a:lnTo>
                  <a:lnTo>
                    <a:pt x="26" y="622"/>
                  </a:lnTo>
                  <a:lnTo>
                    <a:pt x="23" y="627"/>
                  </a:lnTo>
                  <a:lnTo>
                    <a:pt x="19" y="630"/>
                  </a:lnTo>
                  <a:lnTo>
                    <a:pt x="17" y="630"/>
                  </a:lnTo>
                  <a:lnTo>
                    <a:pt x="13" y="624"/>
                  </a:lnTo>
                  <a:lnTo>
                    <a:pt x="6" y="617"/>
                  </a:lnTo>
                  <a:lnTo>
                    <a:pt x="6" y="619"/>
                  </a:lnTo>
                  <a:lnTo>
                    <a:pt x="3" y="623"/>
                  </a:lnTo>
                  <a:lnTo>
                    <a:pt x="0" y="627"/>
                  </a:lnTo>
                  <a:lnTo>
                    <a:pt x="2" y="636"/>
                  </a:lnTo>
                  <a:lnTo>
                    <a:pt x="3" y="646"/>
                  </a:lnTo>
                  <a:lnTo>
                    <a:pt x="2" y="656"/>
                  </a:lnTo>
                  <a:lnTo>
                    <a:pt x="3" y="663"/>
                  </a:lnTo>
                  <a:lnTo>
                    <a:pt x="7" y="663"/>
                  </a:lnTo>
                  <a:lnTo>
                    <a:pt x="17" y="660"/>
                  </a:lnTo>
                  <a:lnTo>
                    <a:pt x="20" y="657"/>
                  </a:lnTo>
                  <a:lnTo>
                    <a:pt x="25" y="660"/>
                  </a:lnTo>
                  <a:lnTo>
                    <a:pt x="29" y="667"/>
                  </a:lnTo>
                  <a:lnTo>
                    <a:pt x="30" y="677"/>
                  </a:lnTo>
                  <a:lnTo>
                    <a:pt x="38" y="679"/>
                  </a:lnTo>
                  <a:lnTo>
                    <a:pt x="45" y="680"/>
                  </a:lnTo>
                  <a:lnTo>
                    <a:pt x="49" y="679"/>
                  </a:lnTo>
                  <a:lnTo>
                    <a:pt x="50" y="673"/>
                  </a:lnTo>
                  <a:lnTo>
                    <a:pt x="55" y="669"/>
                  </a:lnTo>
                  <a:lnTo>
                    <a:pt x="58" y="666"/>
                  </a:lnTo>
                  <a:lnTo>
                    <a:pt x="63" y="664"/>
                  </a:lnTo>
                  <a:lnTo>
                    <a:pt x="70" y="669"/>
                  </a:lnTo>
                  <a:lnTo>
                    <a:pt x="76" y="676"/>
                  </a:lnTo>
                  <a:lnTo>
                    <a:pt x="83" y="677"/>
                  </a:lnTo>
                  <a:lnTo>
                    <a:pt x="85" y="682"/>
                  </a:lnTo>
                  <a:lnTo>
                    <a:pt x="86" y="685"/>
                  </a:lnTo>
                  <a:lnTo>
                    <a:pt x="83" y="690"/>
                  </a:lnTo>
                  <a:lnTo>
                    <a:pt x="83" y="695"/>
                  </a:lnTo>
                  <a:lnTo>
                    <a:pt x="92" y="697"/>
                  </a:lnTo>
                  <a:lnTo>
                    <a:pt x="96" y="696"/>
                  </a:lnTo>
                  <a:lnTo>
                    <a:pt x="102" y="693"/>
                  </a:lnTo>
                  <a:lnTo>
                    <a:pt x="102" y="689"/>
                  </a:lnTo>
                  <a:lnTo>
                    <a:pt x="99" y="685"/>
                  </a:lnTo>
                  <a:lnTo>
                    <a:pt x="98" y="675"/>
                  </a:lnTo>
                  <a:lnTo>
                    <a:pt x="98" y="675"/>
                  </a:lnTo>
                  <a:lnTo>
                    <a:pt x="98" y="670"/>
                  </a:lnTo>
                  <a:lnTo>
                    <a:pt x="96" y="666"/>
                  </a:lnTo>
                  <a:lnTo>
                    <a:pt x="95" y="664"/>
                  </a:lnTo>
                  <a:lnTo>
                    <a:pt x="95" y="662"/>
                  </a:lnTo>
                  <a:lnTo>
                    <a:pt x="95" y="662"/>
                  </a:lnTo>
                  <a:lnTo>
                    <a:pt x="98" y="660"/>
                  </a:lnTo>
                  <a:lnTo>
                    <a:pt x="99" y="659"/>
                  </a:lnTo>
                  <a:lnTo>
                    <a:pt x="103" y="660"/>
                  </a:lnTo>
                  <a:lnTo>
                    <a:pt x="106" y="663"/>
                  </a:lnTo>
                  <a:lnTo>
                    <a:pt x="106" y="663"/>
                  </a:lnTo>
                  <a:lnTo>
                    <a:pt x="109" y="669"/>
                  </a:lnTo>
                  <a:lnTo>
                    <a:pt x="113" y="676"/>
                  </a:lnTo>
                  <a:lnTo>
                    <a:pt x="112" y="685"/>
                  </a:lnTo>
                  <a:lnTo>
                    <a:pt x="111" y="689"/>
                  </a:lnTo>
                  <a:lnTo>
                    <a:pt x="109" y="693"/>
                  </a:lnTo>
                  <a:lnTo>
                    <a:pt x="111" y="697"/>
                  </a:lnTo>
                  <a:lnTo>
                    <a:pt x="115" y="699"/>
                  </a:lnTo>
                  <a:lnTo>
                    <a:pt x="119" y="702"/>
                  </a:lnTo>
                  <a:lnTo>
                    <a:pt x="122" y="705"/>
                  </a:lnTo>
                  <a:lnTo>
                    <a:pt x="122" y="706"/>
                  </a:lnTo>
                  <a:lnTo>
                    <a:pt x="121" y="709"/>
                  </a:lnTo>
                  <a:lnTo>
                    <a:pt x="121" y="710"/>
                  </a:lnTo>
                  <a:lnTo>
                    <a:pt x="119" y="710"/>
                  </a:lnTo>
                  <a:lnTo>
                    <a:pt x="115" y="710"/>
                  </a:lnTo>
                  <a:lnTo>
                    <a:pt x="109" y="712"/>
                  </a:lnTo>
                  <a:lnTo>
                    <a:pt x="106" y="715"/>
                  </a:lnTo>
                  <a:lnTo>
                    <a:pt x="106" y="720"/>
                  </a:lnTo>
                  <a:lnTo>
                    <a:pt x="105" y="725"/>
                  </a:lnTo>
                  <a:lnTo>
                    <a:pt x="103" y="729"/>
                  </a:lnTo>
                  <a:lnTo>
                    <a:pt x="102" y="730"/>
                  </a:lnTo>
                  <a:lnTo>
                    <a:pt x="98" y="736"/>
                  </a:lnTo>
                  <a:lnTo>
                    <a:pt x="96" y="739"/>
                  </a:lnTo>
                  <a:lnTo>
                    <a:pt x="101" y="740"/>
                  </a:lnTo>
                  <a:lnTo>
                    <a:pt x="103" y="740"/>
                  </a:lnTo>
                  <a:lnTo>
                    <a:pt x="106" y="742"/>
                  </a:lnTo>
                  <a:lnTo>
                    <a:pt x="111" y="740"/>
                  </a:lnTo>
                  <a:lnTo>
                    <a:pt x="116" y="739"/>
                  </a:lnTo>
                  <a:lnTo>
                    <a:pt x="123" y="740"/>
                  </a:lnTo>
                  <a:lnTo>
                    <a:pt x="126" y="740"/>
                  </a:lnTo>
                  <a:lnTo>
                    <a:pt x="132" y="739"/>
                  </a:lnTo>
                  <a:lnTo>
                    <a:pt x="133" y="736"/>
                  </a:lnTo>
                  <a:lnTo>
                    <a:pt x="133" y="732"/>
                  </a:lnTo>
                  <a:lnTo>
                    <a:pt x="131" y="730"/>
                  </a:lnTo>
                  <a:lnTo>
                    <a:pt x="126" y="729"/>
                  </a:lnTo>
                  <a:lnTo>
                    <a:pt x="121" y="725"/>
                  </a:lnTo>
                  <a:lnTo>
                    <a:pt x="121" y="720"/>
                  </a:lnTo>
                  <a:lnTo>
                    <a:pt x="122" y="716"/>
                  </a:lnTo>
                  <a:lnTo>
                    <a:pt x="132" y="716"/>
                  </a:lnTo>
                  <a:lnTo>
                    <a:pt x="139" y="716"/>
                  </a:lnTo>
                  <a:lnTo>
                    <a:pt x="146" y="720"/>
                  </a:lnTo>
                  <a:lnTo>
                    <a:pt x="149" y="720"/>
                  </a:lnTo>
                  <a:lnTo>
                    <a:pt x="155" y="732"/>
                  </a:lnTo>
                  <a:lnTo>
                    <a:pt x="159" y="739"/>
                  </a:lnTo>
                  <a:lnTo>
                    <a:pt x="164" y="748"/>
                  </a:lnTo>
                  <a:lnTo>
                    <a:pt x="165" y="755"/>
                  </a:lnTo>
                  <a:lnTo>
                    <a:pt x="166" y="759"/>
                  </a:lnTo>
                  <a:lnTo>
                    <a:pt x="172" y="763"/>
                  </a:lnTo>
                  <a:lnTo>
                    <a:pt x="178" y="763"/>
                  </a:lnTo>
                  <a:lnTo>
                    <a:pt x="185" y="766"/>
                  </a:lnTo>
                  <a:lnTo>
                    <a:pt x="191" y="770"/>
                  </a:lnTo>
                  <a:lnTo>
                    <a:pt x="195" y="769"/>
                  </a:lnTo>
                  <a:lnTo>
                    <a:pt x="199" y="770"/>
                  </a:lnTo>
                  <a:lnTo>
                    <a:pt x="204" y="768"/>
                  </a:lnTo>
                  <a:lnTo>
                    <a:pt x="208" y="766"/>
                  </a:lnTo>
                  <a:lnTo>
                    <a:pt x="217" y="765"/>
                  </a:lnTo>
                  <a:lnTo>
                    <a:pt x="219" y="766"/>
                  </a:lnTo>
                  <a:lnTo>
                    <a:pt x="221" y="766"/>
                  </a:lnTo>
                  <a:lnTo>
                    <a:pt x="224" y="770"/>
                  </a:lnTo>
                  <a:lnTo>
                    <a:pt x="222" y="776"/>
                  </a:lnTo>
                  <a:lnTo>
                    <a:pt x="219" y="781"/>
                  </a:lnTo>
                  <a:lnTo>
                    <a:pt x="218" y="782"/>
                  </a:lnTo>
                  <a:lnTo>
                    <a:pt x="217" y="785"/>
                  </a:lnTo>
                  <a:lnTo>
                    <a:pt x="212" y="789"/>
                  </a:lnTo>
                  <a:lnTo>
                    <a:pt x="209" y="791"/>
                  </a:lnTo>
                  <a:lnTo>
                    <a:pt x="205" y="792"/>
                  </a:lnTo>
                  <a:lnTo>
                    <a:pt x="204" y="792"/>
                  </a:lnTo>
                  <a:lnTo>
                    <a:pt x="196" y="791"/>
                  </a:lnTo>
                  <a:lnTo>
                    <a:pt x="189" y="789"/>
                  </a:lnTo>
                  <a:lnTo>
                    <a:pt x="188" y="789"/>
                  </a:lnTo>
                  <a:lnTo>
                    <a:pt x="182" y="789"/>
                  </a:lnTo>
                  <a:lnTo>
                    <a:pt x="176" y="795"/>
                  </a:lnTo>
                  <a:lnTo>
                    <a:pt x="172" y="802"/>
                  </a:lnTo>
                  <a:lnTo>
                    <a:pt x="159" y="811"/>
                  </a:lnTo>
                  <a:lnTo>
                    <a:pt x="152" y="819"/>
                  </a:lnTo>
                  <a:lnTo>
                    <a:pt x="151" y="828"/>
                  </a:lnTo>
                  <a:lnTo>
                    <a:pt x="152" y="835"/>
                  </a:lnTo>
                  <a:lnTo>
                    <a:pt x="154" y="836"/>
                  </a:lnTo>
                  <a:lnTo>
                    <a:pt x="155" y="842"/>
                  </a:lnTo>
                  <a:lnTo>
                    <a:pt x="155" y="848"/>
                  </a:lnTo>
                  <a:lnTo>
                    <a:pt x="162" y="849"/>
                  </a:lnTo>
                  <a:lnTo>
                    <a:pt x="168" y="849"/>
                  </a:lnTo>
                  <a:lnTo>
                    <a:pt x="175" y="845"/>
                  </a:lnTo>
                  <a:lnTo>
                    <a:pt x="182" y="842"/>
                  </a:lnTo>
                  <a:lnTo>
                    <a:pt x="194" y="842"/>
                  </a:lnTo>
                  <a:lnTo>
                    <a:pt x="198" y="842"/>
                  </a:lnTo>
                  <a:lnTo>
                    <a:pt x="202" y="842"/>
                  </a:lnTo>
                  <a:lnTo>
                    <a:pt x="217" y="846"/>
                  </a:lnTo>
                  <a:lnTo>
                    <a:pt x="231" y="855"/>
                  </a:lnTo>
                  <a:lnTo>
                    <a:pt x="234" y="855"/>
                  </a:lnTo>
                  <a:lnTo>
                    <a:pt x="235" y="859"/>
                  </a:lnTo>
                  <a:lnTo>
                    <a:pt x="235" y="864"/>
                  </a:lnTo>
                  <a:lnTo>
                    <a:pt x="234" y="871"/>
                  </a:lnTo>
                  <a:lnTo>
                    <a:pt x="232" y="875"/>
                  </a:lnTo>
                  <a:lnTo>
                    <a:pt x="231" y="878"/>
                  </a:lnTo>
                  <a:lnTo>
                    <a:pt x="234" y="879"/>
                  </a:lnTo>
                  <a:lnTo>
                    <a:pt x="244" y="879"/>
                  </a:lnTo>
                  <a:lnTo>
                    <a:pt x="245" y="876"/>
                  </a:lnTo>
                  <a:lnTo>
                    <a:pt x="251" y="869"/>
                  </a:lnTo>
                  <a:lnTo>
                    <a:pt x="252" y="866"/>
                  </a:lnTo>
                  <a:lnTo>
                    <a:pt x="258" y="861"/>
                  </a:lnTo>
                  <a:lnTo>
                    <a:pt x="262" y="858"/>
                  </a:lnTo>
                  <a:lnTo>
                    <a:pt x="268" y="855"/>
                  </a:lnTo>
                  <a:lnTo>
                    <a:pt x="272" y="855"/>
                  </a:lnTo>
                  <a:lnTo>
                    <a:pt x="284" y="859"/>
                  </a:lnTo>
                  <a:lnTo>
                    <a:pt x="288" y="851"/>
                  </a:lnTo>
                  <a:lnTo>
                    <a:pt x="291" y="851"/>
                  </a:lnTo>
                  <a:lnTo>
                    <a:pt x="297" y="854"/>
                  </a:lnTo>
                  <a:lnTo>
                    <a:pt x="304" y="855"/>
                  </a:lnTo>
                  <a:lnTo>
                    <a:pt x="305" y="844"/>
                  </a:lnTo>
                  <a:lnTo>
                    <a:pt x="318" y="851"/>
                  </a:lnTo>
                  <a:lnTo>
                    <a:pt x="323" y="854"/>
                  </a:lnTo>
                  <a:lnTo>
                    <a:pt x="328" y="854"/>
                  </a:lnTo>
                  <a:lnTo>
                    <a:pt x="331" y="855"/>
                  </a:lnTo>
                  <a:lnTo>
                    <a:pt x="333" y="855"/>
                  </a:lnTo>
                  <a:lnTo>
                    <a:pt x="345" y="851"/>
                  </a:lnTo>
                  <a:lnTo>
                    <a:pt x="353" y="849"/>
                  </a:lnTo>
                  <a:lnTo>
                    <a:pt x="368" y="841"/>
                  </a:lnTo>
                  <a:lnTo>
                    <a:pt x="371" y="838"/>
                  </a:lnTo>
                  <a:lnTo>
                    <a:pt x="371" y="836"/>
                  </a:lnTo>
                  <a:lnTo>
                    <a:pt x="371" y="832"/>
                  </a:lnTo>
                  <a:lnTo>
                    <a:pt x="371" y="829"/>
                  </a:lnTo>
                  <a:lnTo>
                    <a:pt x="373" y="826"/>
                  </a:lnTo>
                  <a:lnTo>
                    <a:pt x="376" y="825"/>
                  </a:lnTo>
                  <a:lnTo>
                    <a:pt x="380" y="825"/>
                  </a:lnTo>
                  <a:lnTo>
                    <a:pt x="388" y="826"/>
                  </a:lnTo>
                  <a:lnTo>
                    <a:pt x="391" y="828"/>
                  </a:lnTo>
                  <a:lnTo>
                    <a:pt x="398" y="829"/>
                  </a:lnTo>
                  <a:lnTo>
                    <a:pt x="401" y="825"/>
                  </a:lnTo>
                  <a:lnTo>
                    <a:pt x="414" y="791"/>
                  </a:lnTo>
                  <a:lnTo>
                    <a:pt x="421" y="772"/>
                  </a:lnTo>
                  <a:lnTo>
                    <a:pt x="423" y="768"/>
                  </a:lnTo>
                  <a:lnTo>
                    <a:pt x="429" y="766"/>
                  </a:lnTo>
                  <a:lnTo>
                    <a:pt x="433" y="768"/>
                  </a:lnTo>
                  <a:lnTo>
                    <a:pt x="436" y="768"/>
                  </a:lnTo>
                  <a:lnTo>
                    <a:pt x="439" y="768"/>
                  </a:lnTo>
                  <a:lnTo>
                    <a:pt x="440" y="762"/>
                  </a:lnTo>
                  <a:lnTo>
                    <a:pt x="443" y="758"/>
                  </a:lnTo>
                  <a:lnTo>
                    <a:pt x="441" y="750"/>
                  </a:lnTo>
                  <a:lnTo>
                    <a:pt x="437" y="743"/>
                  </a:lnTo>
                  <a:lnTo>
                    <a:pt x="439" y="729"/>
                  </a:lnTo>
                  <a:lnTo>
                    <a:pt x="440" y="722"/>
                  </a:lnTo>
                  <a:lnTo>
                    <a:pt x="437" y="717"/>
                  </a:lnTo>
                  <a:lnTo>
                    <a:pt x="436" y="719"/>
                  </a:lnTo>
                  <a:lnTo>
                    <a:pt x="431" y="723"/>
                  </a:lnTo>
                  <a:lnTo>
                    <a:pt x="431" y="720"/>
                  </a:lnTo>
                  <a:lnTo>
                    <a:pt x="433" y="709"/>
                  </a:lnTo>
                  <a:lnTo>
                    <a:pt x="433" y="703"/>
                  </a:lnTo>
                  <a:lnTo>
                    <a:pt x="429" y="699"/>
                  </a:lnTo>
                  <a:lnTo>
                    <a:pt x="427" y="699"/>
                  </a:lnTo>
                  <a:lnTo>
                    <a:pt x="421" y="699"/>
                  </a:lnTo>
                  <a:lnTo>
                    <a:pt x="420" y="695"/>
                  </a:lnTo>
                  <a:lnTo>
                    <a:pt x="421" y="690"/>
                  </a:lnTo>
                  <a:lnTo>
                    <a:pt x="426" y="689"/>
                  </a:lnTo>
                  <a:lnTo>
                    <a:pt x="427" y="680"/>
                  </a:lnTo>
                  <a:lnTo>
                    <a:pt x="423" y="669"/>
                  </a:lnTo>
                  <a:lnTo>
                    <a:pt x="423" y="660"/>
                  </a:lnTo>
                  <a:lnTo>
                    <a:pt x="426" y="654"/>
                  </a:lnTo>
                  <a:lnTo>
                    <a:pt x="429" y="650"/>
                  </a:lnTo>
                  <a:lnTo>
                    <a:pt x="430" y="632"/>
                  </a:lnTo>
                  <a:lnTo>
                    <a:pt x="426" y="624"/>
                  </a:lnTo>
                  <a:lnTo>
                    <a:pt x="421" y="622"/>
                  </a:lnTo>
                  <a:lnTo>
                    <a:pt x="423" y="617"/>
                  </a:lnTo>
                  <a:lnTo>
                    <a:pt x="430" y="612"/>
                  </a:lnTo>
                  <a:lnTo>
                    <a:pt x="443" y="606"/>
                  </a:lnTo>
                  <a:lnTo>
                    <a:pt x="434" y="591"/>
                  </a:lnTo>
                  <a:lnTo>
                    <a:pt x="444" y="584"/>
                  </a:lnTo>
                  <a:lnTo>
                    <a:pt x="450" y="581"/>
                  </a:lnTo>
                  <a:lnTo>
                    <a:pt x="450" y="579"/>
                  </a:lnTo>
                  <a:lnTo>
                    <a:pt x="443" y="566"/>
                  </a:lnTo>
                  <a:lnTo>
                    <a:pt x="443" y="560"/>
                  </a:lnTo>
                  <a:lnTo>
                    <a:pt x="446" y="557"/>
                  </a:lnTo>
                  <a:lnTo>
                    <a:pt x="450" y="563"/>
                  </a:lnTo>
                  <a:lnTo>
                    <a:pt x="459" y="567"/>
                  </a:lnTo>
                  <a:lnTo>
                    <a:pt x="466" y="569"/>
                  </a:lnTo>
                  <a:lnTo>
                    <a:pt x="467" y="567"/>
                  </a:lnTo>
                  <a:lnTo>
                    <a:pt x="467" y="564"/>
                  </a:lnTo>
                  <a:lnTo>
                    <a:pt x="461" y="557"/>
                  </a:lnTo>
                  <a:lnTo>
                    <a:pt x="461" y="551"/>
                  </a:lnTo>
                  <a:lnTo>
                    <a:pt x="464" y="548"/>
                  </a:lnTo>
                  <a:lnTo>
                    <a:pt x="473" y="546"/>
                  </a:lnTo>
                  <a:lnTo>
                    <a:pt x="483" y="540"/>
                  </a:lnTo>
                  <a:lnTo>
                    <a:pt x="493" y="534"/>
                  </a:lnTo>
                  <a:lnTo>
                    <a:pt x="512" y="530"/>
                  </a:lnTo>
                  <a:lnTo>
                    <a:pt x="514" y="526"/>
                  </a:lnTo>
                  <a:lnTo>
                    <a:pt x="520" y="526"/>
                  </a:lnTo>
                  <a:lnTo>
                    <a:pt x="527" y="526"/>
                  </a:lnTo>
                  <a:lnTo>
                    <a:pt x="532" y="526"/>
                  </a:lnTo>
                  <a:lnTo>
                    <a:pt x="542" y="531"/>
                  </a:lnTo>
                  <a:lnTo>
                    <a:pt x="546" y="527"/>
                  </a:lnTo>
                  <a:lnTo>
                    <a:pt x="559" y="527"/>
                  </a:lnTo>
                  <a:lnTo>
                    <a:pt x="559" y="536"/>
                  </a:lnTo>
                  <a:lnTo>
                    <a:pt x="566" y="536"/>
                  </a:lnTo>
                  <a:lnTo>
                    <a:pt x="576" y="537"/>
                  </a:lnTo>
                  <a:lnTo>
                    <a:pt x="582" y="537"/>
                  </a:lnTo>
                  <a:lnTo>
                    <a:pt x="582" y="533"/>
                  </a:lnTo>
                  <a:lnTo>
                    <a:pt x="573" y="517"/>
                  </a:lnTo>
                  <a:lnTo>
                    <a:pt x="566" y="511"/>
                  </a:lnTo>
                  <a:lnTo>
                    <a:pt x="565" y="507"/>
                  </a:lnTo>
                  <a:lnTo>
                    <a:pt x="567" y="500"/>
                  </a:lnTo>
                  <a:lnTo>
                    <a:pt x="572" y="497"/>
                  </a:lnTo>
                  <a:lnTo>
                    <a:pt x="577" y="487"/>
                  </a:lnTo>
                  <a:lnTo>
                    <a:pt x="552" y="487"/>
                  </a:lnTo>
                  <a:lnTo>
                    <a:pt x="549" y="485"/>
                  </a:lnTo>
                  <a:lnTo>
                    <a:pt x="545" y="484"/>
                  </a:lnTo>
                  <a:lnTo>
                    <a:pt x="542" y="480"/>
                  </a:lnTo>
                  <a:lnTo>
                    <a:pt x="545" y="475"/>
                  </a:lnTo>
                  <a:lnTo>
                    <a:pt x="559" y="470"/>
                  </a:lnTo>
                  <a:lnTo>
                    <a:pt x="573" y="461"/>
                  </a:lnTo>
                  <a:lnTo>
                    <a:pt x="579" y="464"/>
                  </a:lnTo>
                  <a:lnTo>
                    <a:pt x="598" y="455"/>
                  </a:lnTo>
                  <a:lnTo>
                    <a:pt x="613" y="371"/>
                  </a:lnTo>
                  <a:lnTo>
                    <a:pt x="615" y="347"/>
                  </a:lnTo>
                  <a:lnTo>
                    <a:pt x="602" y="339"/>
                  </a:lnTo>
                  <a:lnTo>
                    <a:pt x="605" y="324"/>
                  </a:lnTo>
                  <a:lnTo>
                    <a:pt x="605" y="302"/>
                  </a:lnTo>
                  <a:lnTo>
                    <a:pt x="595" y="295"/>
                  </a:lnTo>
                  <a:lnTo>
                    <a:pt x="612" y="249"/>
                  </a:lnTo>
                  <a:lnTo>
                    <a:pt x="608" y="238"/>
                  </a:lnTo>
                  <a:lnTo>
                    <a:pt x="585" y="212"/>
                  </a:lnTo>
                  <a:lnTo>
                    <a:pt x="582" y="205"/>
                  </a:lnTo>
                  <a:lnTo>
                    <a:pt x="602" y="198"/>
                  </a:lnTo>
                  <a:lnTo>
                    <a:pt x="596" y="175"/>
                  </a:lnTo>
                  <a:lnTo>
                    <a:pt x="596" y="172"/>
                  </a:lnTo>
                  <a:lnTo>
                    <a:pt x="600" y="170"/>
                  </a:lnTo>
                  <a:lnTo>
                    <a:pt x="615" y="168"/>
                  </a:lnTo>
                  <a:lnTo>
                    <a:pt x="625" y="160"/>
                  </a:lnTo>
                  <a:lnTo>
                    <a:pt x="613" y="137"/>
                  </a:lnTo>
                  <a:lnTo>
                    <a:pt x="613" y="137"/>
                  </a:lnTo>
                  <a:lnTo>
                    <a:pt x="596" y="143"/>
                  </a:lnTo>
                  <a:lnTo>
                    <a:pt x="587" y="153"/>
                  </a:lnTo>
                  <a:lnTo>
                    <a:pt x="580" y="155"/>
                  </a:lnTo>
                  <a:lnTo>
                    <a:pt x="572" y="155"/>
                  </a:lnTo>
                  <a:lnTo>
                    <a:pt x="566" y="159"/>
                  </a:lnTo>
                  <a:lnTo>
                    <a:pt x="557" y="166"/>
                  </a:lnTo>
                  <a:lnTo>
                    <a:pt x="543" y="168"/>
                  </a:lnTo>
                  <a:lnTo>
                    <a:pt x="513" y="179"/>
                  </a:lnTo>
                  <a:lnTo>
                    <a:pt x="496" y="168"/>
                  </a:lnTo>
                  <a:lnTo>
                    <a:pt x="454" y="146"/>
                  </a:lnTo>
                  <a:lnTo>
                    <a:pt x="436" y="140"/>
                  </a:lnTo>
                  <a:lnTo>
                    <a:pt x="423" y="140"/>
                  </a:lnTo>
                  <a:lnTo>
                    <a:pt x="414" y="140"/>
                  </a:lnTo>
                  <a:lnTo>
                    <a:pt x="417" y="150"/>
                  </a:lnTo>
                  <a:lnTo>
                    <a:pt x="410" y="152"/>
                  </a:lnTo>
                  <a:lnTo>
                    <a:pt x="403" y="152"/>
                  </a:lnTo>
                  <a:lnTo>
                    <a:pt x="381" y="140"/>
                  </a:lnTo>
                  <a:lnTo>
                    <a:pt x="347" y="126"/>
                  </a:lnTo>
                  <a:lnTo>
                    <a:pt x="338" y="106"/>
                  </a:lnTo>
                  <a:lnTo>
                    <a:pt x="330" y="103"/>
                  </a:lnTo>
                  <a:lnTo>
                    <a:pt x="308" y="96"/>
                  </a:lnTo>
                  <a:lnTo>
                    <a:pt x="291" y="92"/>
                  </a:lnTo>
                  <a:lnTo>
                    <a:pt x="275" y="89"/>
                  </a:lnTo>
                  <a:lnTo>
                    <a:pt x="278" y="76"/>
                  </a:lnTo>
                  <a:lnTo>
                    <a:pt x="285" y="56"/>
                  </a:lnTo>
                  <a:lnTo>
                    <a:pt x="295" y="41"/>
                  </a:lnTo>
                  <a:lnTo>
                    <a:pt x="300" y="37"/>
                  </a:lnTo>
                  <a:lnTo>
                    <a:pt x="301" y="34"/>
                  </a:lnTo>
                  <a:lnTo>
                    <a:pt x="298" y="29"/>
                  </a:lnTo>
                  <a:lnTo>
                    <a:pt x="292" y="27"/>
                  </a:lnTo>
                  <a:lnTo>
                    <a:pt x="290" y="24"/>
                  </a:lnTo>
                  <a:lnTo>
                    <a:pt x="291" y="19"/>
                  </a:lnTo>
                  <a:lnTo>
                    <a:pt x="290" y="11"/>
                  </a:lnTo>
                  <a:lnTo>
                    <a:pt x="287" y="6"/>
                  </a:lnTo>
                  <a:lnTo>
                    <a:pt x="278" y="0"/>
                  </a:lnTo>
                  <a:lnTo>
                    <a:pt x="242" y="34"/>
                  </a:lnTo>
                  <a:lnTo>
                    <a:pt x="218" y="59"/>
                  </a:lnTo>
                  <a:lnTo>
                    <a:pt x="215" y="63"/>
                  </a:lnTo>
                  <a:lnTo>
                    <a:pt x="214" y="66"/>
                  </a:lnTo>
                  <a:lnTo>
                    <a:pt x="214" y="72"/>
                  </a:lnTo>
                  <a:lnTo>
                    <a:pt x="208" y="77"/>
                  </a:lnTo>
                  <a:lnTo>
                    <a:pt x="195" y="93"/>
                  </a:lnTo>
                  <a:lnTo>
                    <a:pt x="199" y="99"/>
                  </a:lnTo>
                  <a:lnTo>
                    <a:pt x="201" y="102"/>
                  </a:lnTo>
                  <a:lnTo>
                    <a:pt x="199" y="107"/>
                  </a:lnTo>
                  <a:lnTo>
                    <a:pt x="199" y="113"/>
                  </a:lnTo>
                  <a:lnTo>
                    <a:pt x="198" y="119"/>
                  </a:lnTo>
                  <a:lnTo>
                    <a:pt x="198" y="125"/>
                  </a:lnTo>
                  <a:lnTo>
                    <a:pt x="195" y="132"/>
                  </a:lnTo>
                  <a:lnTo>
                    <a:pt x="192" y="140"/>
                  </a:lnTo>
                  <a:lnTo>
                    <a:pt x="182" y="147"/>
                  </a:lnTo>
                  <a:lnTo>
                    <a:pt x="168" y="152"/>
                  </a:lnTo>
                  <a:lnTo>
                    <a:pt x="164" y="156"/>
                  </a:lnTo>
                  <a:lnTo>
                    <a:pt x="161" y="160"/>
                  </a:lnTo>
                  <a:lnTo>
                    <a:pt x="161" y="169"/>
                  </a:lnTo>
                  <a:lnTo>
                    <a:pt x="165" y="173"/>
                  </a:lnTo>
                  <a:lnTo>
                    <a:pt x="171" y="175"/>
                  </a:lnTo>
                  <a:lnTo>
                    <a:pt x="172" y="179"/>
                  </a:lnTo>
                  <a:lnTo>
                    <a:pt x="172" y="182"/>
                  </a:lnTo>
                  <a:lnTo>
                    <a:pt x="168" y="188"/>
                  </a:lnTo>
                  <a:lnTo>
                    <a:pt x="166" y="190"/>
                  </a:lnTo>
                  <a:lnTo>
                    <a:pt x="169" y="198"/>
                  </a:lnTo>
                  <a:lnTo>
                    <a:pt x="172" y="198"/>
                  </a:lnTo>
                  <a:lnTo>
                    <a:pt x="176" y="195"/>
                  </a:lnTo>
                  <a:lnTo>
                    <a:pt x="199" y="173"/>
                  </a:lnTo>
                  <a:close/>
                  <a:moveTo>
                    <a:pt x="129" y="315"/>
                  </a:moveTo>
                  <a:lnTo>
                    <a:pt x="129" y="315"/>
                  </a:lnTo>
                  <a:lnTo>
                    <a:pt x="129" y="314"/>
                  </a:lnTo>
                  <a:lnTo>
                    <a:pt x="129" y="311"/>
                  </a:lnTo>
                  <a:lnTo>
                    <a:pt x="129" y="311"/>
                  </a:lnTo>
                  <a:lnTo>
                    <a:pt x="126" y="309"/>
                  </a:lnTo>
                  <a:lnTo>
                    <a:pt x="126" y="309"/>
                  </a:lnTo>
                  <a:lnTo>
                    <a:pt x="123" y="309"/>
                  </a:lnTo>
                  <a:lnTo>
                    <a:pt x="123" y="309"/>
                  </a:lnTo>
                  <a:lnTo>
                    <a:pt x="122" y="308"/>
                  </a:lnTo>
                  <a:lnTo>
                    <a:pt x="122" y="308"/>
                  </a:lnTo>
                  <a:lnTo>
                    <a:pt x="122" y="309"/>
                  </a:lnTo>
                  <a:lnTo>
                    <a:pt x="121" y="311"/>
                  </a:lnTo>
                  <a:lnTo>
                    <a:pt x="122" y="315"/>
                  </a:lnTo>
                  <a:lnTo>
                    <a:pt x="122" y="315"/>
                  </a:lnTo>
                  <a:lnTo>
                    <a:pt x="123" y="315"/>
                  </a:lnTo>
                  <a:lnTo>
                    <a:pt x="123" y="315"/>
                  </a:lnTo>
                  <a:lnTo>
                    <a:pt x="125" y="316"/>
                  </a:lnTo>
                  <a:lnTo>
                    <a:pt x="125" y="316"/>
                  </a:lnTo>
                  <a:lnTo>
                    <a:pt x="128" y="316"/>
                  </a:lnTo>
                  <a:lnTo>
                    <a:pt x="129" y="315"/>
                  </a:lnTo>
                  <a:close/>
                  <a:moveTo>
                    <a:pt x="219" y="851"/>
                  </a:moveTo>
                  <a:lnTo>
                    <a:pt x="219" y="851"/>
                  </a:lnTo>
                  <a:lnTo>
                    <a:pt x="218" y="855"/>
                  </a:lnTo>
                  <a:lnTo>
                    <a:pt x="218" y="859"/>
                  </a:lnTo>
                  <a:lnTo>
                    <a:pt x="218" y="859"/>
                  </a:lnTo>
                  <a:lnTo>
                    <a:pt x="218" y="861"/>
                  </a:lnTo>
                  <a:lnTo>
                    <a:pt x="218" y="861"/>
                  </a:lnTo>
                  <a:lnTo>
                    <a:pt x="219" y="861"/>
                  </a:lnTo>
                  <a:lnTo>
                    <a:pt x="219" y="861"/>
                  </a:lnTo>
                  <a:lnTo>
                    <a:pt x="222" y="859"/>
                  </a:lnTo>
                  <a:lnTo>
                    <a:pt x="225" y="859"/>
                  </a:lnTo>
                  <a:lnTo>
                    <a:pt x="225" y="859"/>
                  </a:lnTo>
                  <a:lnTo>
                    <a:pt x="228" y="858"/>
                  </a:lnTo>
                  <a:lnTo>
                    <a:pt x="229" y="856"/>
                  </a:lnTo>
                  <a:lnTo>
                    <a:pt x="229" y="856"/>
                  </a:lnTo>
                  <a:lnTo>
                    <a:pt x="229" y="856"/>
                  </a:lnTo>
                  <a:lnTo>
                    <a:pt x="229" y="856"/>
                  </a:lnTo>
                  <a:lnTo>
                    <a:pt x="229" y="856"/>
                  </a:lnTo>
                  <a:lnTo>
                    <a:pt x="224" y="852"/>
                  </a:lnTo>
                  <a:lnTo>
                    <a:pt x="221" y="851"/>
                  </a:lnTo>
                  <a:lnTo>
                    <a:pt x="219" y="851"/>
                  </a:lnTo>
                  <a:lnTo>
                    <a:pt x="219" y="851"/>
                  </a:lnTo>
                  <a:close/>
                  <a:moveTo>
                    <a:pt x="158" y="345"/>
                  </a:moveTo>
                  <a:lnTo>
                    <a:pt x="158" y="345"/>
                  </a:lnTo>
                  <a:lnTo>
                    <a:pt x="158" y="342"/>
                  </a:lnTo>
                  <a:lnTo>
                    <a:pt x="158" y="341"/>
                  </a:lnTo>
                  <a:lnTo>
                    <a:pt x="156" y="341"/>
                  </a:lnTo>
                  <a:lnTo>
                    <a:pt x="156" y="341"/>
                  </a:lnTo>
                  <a:lnTo>
                    <a:pt x="155" y="339"/>
                  </a:lnTo>
                  <a:lnTo>
                    <a:pt x="155" y="339"/>
                  </a:lnTo>
                  <a:lnTo>
                    <a:pt x="151" y="339"/>
                  </a:lnTo>
                  <a:lnTo>
                    <a:pt x="151" y="339"/>
                  </a:lnTo>
                  <a:lnTo>
                    <a:pt x="149" y="339"/>
                  </a:lnTo>
                  <a:lnTo>
                    <a:pt x="149" y="339"/>
                  </a:lnTo>
                  <a:lnTo>
                    <a:pt x="149" y="341"/>
                  </a:lnTo>
                  <a:lnTo>
                    <a:pt x="149" y="342"/>
                  </a:lnTo>
                  <a:lnTo>
                    <a:pt x="151" y="347"/>
                  </a:lnTo>
                  <a:lnTo>
                    <a:pt x="151" y="347"/>
                  </a:lnTo>
                  <a:lnTo>
                    <a:pt x="152" y="347"/>
                  </a:lnTo>
                  <a:lnTo>
                    <a:pt x="152" y="347"/>
                  </a:lnTo>
                  <a:lnTo>
                    <a:pt x="154" y="348"/>
                  </a:lnTo>
                  <a:lnTo>
                    <a:pt x="154" y="348"/>
                  </a:lnTo>
                  <a:lnTo>
                    <a:pt x="158" y="345"/>
                  </a:lnTo>
                  <a:lnTo>
                    <a:pt x="158" y="345"/>
                  </a:lnTo>
                  <a:close/>
                  <a:moveTo>
                    <a:pt x="95" y="381"/>
                  </a:moveTo>
                  <a:lnTo>
                    <a:pt x="96" y="379"/>
                  </a:lnTo>
                  <a:lnTo>
                    <a:pt x="96" y="379"/>
                  </a:lnTo>
                  <a:lnTo>
                    <a:pt x="96" y="377"/>
                  </a:lnTo>
                  <a:lnTo>
                    <a:pt x="96" y="375"/>
                  </a:lnTo>
                  <a:lnTo>
                    <a:pt x="96" y="375"/>
                  </a:lnTo>
                  <a:lnTo>
                    <a:pt x="95" y="375"/>
                  </a:lnTo>
                  <a:lnTo>
                    <a:pt x="95" y="375"/>
                  </a:lnTo>
                  <a:lnTo>
                    <a:pt x="92" y="374"/>
                  </a:lnTo>
                  <a:lnTo>
                    <a:pt x="92" y="374"/>
                  </a:lnTo>
                  <a:lnTo>
                    <a:pt x="91" y="374"/>
                  </a:lnTo>
                  <a:lnTo>
                    <a:pt x="91" y="374"/>
                  </a:lnTo>
                  <a:lnTo>
                    <a:pt x="89" y="375"/>
                  </a:lnTo>
                  <a:lnTo>
                    <a:pt x="89" y="378"/>
                  </a:lnTo>
                  <a:lnTo>
                    <a:pt x="89" y="378"/>
                  </a:lnTo>
                  <a:lnTo>
                    <a:pt x="92" y="379"/>
                  </a:lnTo>
                  <a:lnTo>
                    <a:pt x="92" y="379"/>
                  </a:lnTo>
                  <a:lnTo>
                    <a:pt x="92" y="379"/>
                  </a:lnTo>
                  <a:lnTo>
                    <a:pt x="92" y="379"/>
                  </a:lnTo>
                  <a:lnTo>
                    <a:pt x="95" y="381"/>
                  </a:lnTo>
                  <a:lnTo>
                    <a:pt x="95" y="381"/>
                  </a:lnTo>
                  <a:close/>
                  <a:moveTo>
                    <a:pt x="105" y="365"/>
                  </a:moveTo>
                  <a:lnTo>
                    <a:pt x="105" y="365"/>
                  </a:lnTo>
                  <a:lnTo>
                    <a:pt x="102" y="364"/>
                  </a:lnTo>
                  <a:lnTo>
                    <a:pt x="101" y="364"/>
                  </a:lnTo>
                  <a:lnTo>
                    <a:pt x="99" y="364"/>
                  </a:lnTo>
                  <a:lnTo>
                    <a:pt x="99" y="364"/>
                  </a:lnTo>
                  <a:lnTo>
                    <a:pt x="98" y="365"/>
                  </a:lnTo>
                  <a:lnTo>
                    <a:pt x="98" y="365"/>
                  </a:lnTo>
                  <a:lnTo>
                    <a:pt x="95" y="368"/>
                  </a:lnTo>
                  <a:lnTo>
                    <a:pt x="95" y="368"/>
                  </a:lnTo>
                  <a:lnTo>
                    <a:pt x="95" y="369"/>
                  </a:lnTo>
                  <a:lnTo>
                    <a:pt x="95" y="369"/>
                  </a:lnTo>
                  <a:lnTo>
                    <a:pt x="95" y="371"/>
                  </a:lnTo>
                  <a:lnTo>
                    <a:pt x="98" y="372"/>
                  </a:lnTo>
                  <a:lnTo>
                    <a:pt x="101" y="372"/>
                  </a:lnTo>
                  <a:lnTo>
                    <a:pt x="101" y="372"/>
                  </a:lnTo>
                  <a:lnTo>
                    <a:pt x="102" y="371"/>
                  </a:lnTo>
                  <a:lnTo>
                    <a:pt x="102" y="371"/>
                  </a:lnTo>
                  <a:lnTo>
                    <a:pt x="103" y="369"/>
                  </a:lnTo>
                  <a:lnTo>
                    <a:pt x="103" y="369"/>
                  </a:lnTo>
                  <a:lnTo>
                    <a:pt x="106" y="368"/>
                  </a:lnTo>
                  <a:lnTo>
                    <a:pt x="105" y="365"/>
                  </a:lnTo>
                  <a:lnTo>
                    <a:pt x="105" y="365"/>
                  </a:lnTo>
                  <a:close/>
                </a:path>
              </a:pathLst>
            </a:custGeom>
            <a:solidFill>
              <a:srgbClr val="FFF27F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37" name="Freeform 184"/>
            <p:cNvSpPr>
              <a:spLocks/>
            </p:cNvSpPr>
            <p:nvPr/>
          </p:nvSpPr>
          <p:spPr bwMode="auto">
            <a:xfrm>
              <a:off x="3969968" y="4392843"/>
              <a:ext cx="380996" cy="582078"/>
            </a:xfrm>
            <a:custGeom>
              <a:avLst/>
              <a:gdLst>
                <a:gd name="T0" fmla="*/ 215 w 625"/>
                <a:gd name="T1" fmla="*/ 200 h 879"/>
                <a:gd name="T2" fmla="*/ 218 w 625"/>
                <a:gd name="T3" fmla="*/ 294 h 879"/>
                <a:gd name="T4" fmla="*/ 168 w 625"/>
                <a:gd name="T5" fmla="*/ 282 h 879"/>
                <a:gd name="T6" fmla="*/ 136 w 625"/>
                <a:gd name="T7" fmla="*/ 305 h 879"/>
                <a:gd name="T8" fmla="*/ 154 w 625"/>
                <a:gd name="T9" fmla="*/ 329 h 879"/>
                <a:gd name="T10" fmla="*/ 115 w 625"/>
                <a:gd name="T11" fmla="*/ 335 h 879"/>
                <a:gd name="T12" fmla="*/ 72 w 625"/>
                <a:gd name="T13" fmla="*/ 387 h 879"/>
                <a:gd name="T14" fmla="*/ 70 w 625"/>
                <a:gd name="T15" fmla="*/ 418 h 879"/>
                <a:gd name="T16" fmla="*/ 32 w 625"/>
                <a:gd name="T17" fmla="*/ 467 h 879"/>
                <a:gd name="T18" fmla="*/ 52 w 625"/>
                <a:gd name="T19" fmla="*/ 507 h 879"/>
                <a:gd name="T20" fmla="*/ 46 w 625"/>
                <a:gd name="T21" fmla="*/ 579 h 879"/>
                <a:gd name="T22" fmla="*/ 26 w 625"/>
                <a:gd name="T23" fmla="*/ 622 h 879"/>
                <a:gd name="T24" fmla="*/ 3 w 625"/>
                <a:gd name="T25" fmla="*/ 623 h 879"/>
                <a:gd name="T26" fmla="*/ 17 w 625"/>
                <a:gd name="T27" fmla="*/ 660 h 879"/>
                <a:gd name="T28" fmla="*/ 49 w 625"/>
                <a:gd name="T29" fmla="*/ 679 h 879"/>
                <a:gd name="T30" fmla="*/ 83 w 625"/>
                <a:gd name="T31" fmla="*/ 677 h 879"/>
                <a:gd name="T32" fmla="*/ 102 w 625"/>
                <a:gd name="T33" fmla="*/ 693 h 879"/>
                <a:gd name="T34" fmla="*/ 95 w 625"/>
                <a:gd name="T35" fmla="*/ 664 h 879"/>
                <a:gd name="T36" fmla="*/ 106 w 625"/>
                <a:gd name="T37" fmla="*/ 663 h 879"/>
                <a:gd name="T38" fmla="*/ 115 w 625"/>
                <a:gd name="T39" fmla="*/ 699 h 879"/>
                <a:gd name="T40" fmla="*/ 115 w 625"/>
                <a:gd name="T41" fmla="*/ 710 h 879"/>
                <a:gd name="T42" fmla="*/ 98 w 625"/>
                <a:gd name="T43" fmla="*/ 736 h 879"/>
                <a:gd name="T44" fmla="*/ 123 w 625"/>
                <a:gd name="T45" fmla="*/ 740 h 879"/>
                <a:gd name="T46" fmla="*/ 121 w 625"/>
                <a:gd name="T47" fmla="*/ 725 h 879"/>
                <a:gd name="T48" fmla="*/ 155 w 625"/>
                <a:gd name="T49" fmla="*/ 732 h 879"/>
                <a:gd name="T50" fmla="*/ 185 w 625"/>
                <a:gd name="T51" fmla="*/ 766 h 879"/>
                <a:gd name="T52" fmla="*/ 219 w 625"/>
                <a:gd name="T53" fmla="*/ 766 h 879"/>
                <a:gd name="T54" fmla="*/ 212 w 625"/>
                <a:gd name="T55" fmla="*/ 789 h 879"/>
                <a:gd name="T56" fmla="*/ 182 w 625"/>
                <a:gd name="T57" fmla="*/ 789 h 879"/>
                <a:gd name="T58" fmla="*/ 154 w 625"/>
                <a:gd name="T59" fmla="*/ 836 h 879"/>
                <a:gd name="T60" fmla="*/ 194 w 625"/>
                <a:gd name="T61" fmla="*/ 842 h 879"/>
                <a:gd name="T62" fmla="*/ 235 w 625"/>
                <a:gd name="T63" fmla="*/ 864 h 879"/>
                <a:gd name="T64" fmla="*/ 251 w 625"/>
                <a:gd name="T65" fmla="*/ 869 h 879"/>
                <a:gd name="T66" fmla="*/ 288 w 625"/>
                <a:gd name="T67" fmla="*/ 851 h 879"/>
                <a:gd name="T68" fmla="*/ 328 w 625"/>
                <a:gd name="T69" fmla="*/ 854 h 879"/>
                <a:gd name="T70" fmla="*/ 371 w 625"/>
                <a:gd name="T71" fmla="*/ 836 h 879"/>
                <a:gd name="T72" fmla="*/ 391 w 625"/>
                <a:gd name="T73" fmla="*/ 828 h 879"/>
                <a:gd name="T74" fmla="*/ 433 w 625"/>
                <a:gd name="T75" fmla="*/ 768 h 879"/>
                <a:gd name="T76" fmla="*/ 439 w 625"/>
                <a:gd name="T77" fmla="*/ 729 h 879"/>
                <a:gd name="T78" fmla="*/ 433 w 625"/>
                <a:gd name="T79" fmla="*/ 703 h 879"/>
                <a:gd name="T80" fmla="*/ 427 w 625"/>
                <a:gd name="T81" fmla="*/ 680 h 879"/>
                <a:gd name="T82" fmla="*/ 421 w 625"/>
                <a:gd name="T83" fmla="*/ 622 h 879"/>
                <a:gd name="T84" fmla="*/ 450 w 625"/>
                <a:gd name="T85" fmla="*/ 579 h 879"/>
                <a:gd name="T86" fmla="*/ 467 w 625"/>
                <a:gd name="T87" fmla="*/ 567 h 879"/>
                <a:gd name="T88" fmla="*/ 493 w 625"/>
                <a:gd name="T89" fmla="*/ 534 h 879"/>
                <a:gd name="T90" fmla="*/ 546 w 625"/>
                <a:gd name="T91" fmla="*/ 527 h 879"/>
                <a:gd name="T92" fmla="*/ 573 w 625"/>
                <a:gd name="T93" fmla="*/ 517 h 879"/>
                <a:gd name="T94" fmla="*/ 549 w 625"/>
                <a:gd name="T95" fmla="*/ 485 h 879"/>
                <a:gd name="T96" fmla="*/ 598 w 625"/>
                <a:gd name="T97" fmla="*/ 455 h 879"/>
                <a:gd name="T98" fmla="*/ 612 w 625"/>
                <a:gd name="T99" fmla="*/ 249 h 879"/>
                <a:gd name="T100" fmla="*/ 600 w 625"/>
                <a:gd name="T101" fmla="*/ 170 h 879"/>
                <a:gd name="T102" fmla="*/ 580 w 625"/>
                <a:gd name="T103" fmla="*/ 155 h 879"/>
                <a:gd name="T104" fmla="*/ 454 w 625"/>
                <a:gd name="T105" fmla="*/ 146 h 879"/>
                <a:gd name="T106" fmla="*/ 381 w 625"/>
                <a:gd name="T107" fmla="*/ 140 h 879"/>
                <a:gd name="T108" fmla="*/ 278 w 625"/>
                <a:gd name="T109" fmla="*/ 76 h 879"/>
                <a:gd name="T110" fmla="*/ 290 w 625"/>
                <a:gd name="T111" fmla="*/ 24 h 879"/>
                <a:gd name="T112" fmla="*/ 215 w 625"/>
                <a:gd name="T113" fmla="*/ 63 h 879"/>
                <a:gd name="T114" fmla="*/ 199 w 625"/>
                <a:gd name="T115" fmla="*/ 107 h 879"/>
                <a:gd name="T116" fmla="*/ 168 w 625"/>
                <a:gd name="T117" fmla="*/ 152 h 879"/>
                <a:gd name="T118" fmla="*/ 172 w 625"/>
                <a:gd name="T119" fmla="*/ 182 h 8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25" h="879">
                  <a:moveTo>
                    <a:pt x="199" y="173"/>
                  </a:moveTo>
                  <a:lnTo>
                    <a:pt x="205" y="175"/>
                  </a:lnTo>
                  <a:lnTo>
                    <a:pt x="212" y="176"/>
                  </a:lnTo>
                  <a:lnTo>
                    <a:pt x="214" y="178"/>
                  </a:lnTo>
                  <a:lnTo>
                    <a:pt x="215" y="185"/>
                  </a:lnTo>
                  <a:lnTo>
                    <a:pt x="215" y="190"/>
                  </a:lnTo>
                  <a:lnTo>
                    <a:pt x="215" y="200"/>
                  </a:lnTo>
                  <a:lnTo>
                    <a:pt x="222" y="210"/>
                  </a:lnTo>
                  <a:lnTo>
                    <a:pt x="218" y="229"/>
                  </a:lnTo>
                  <a:lnTo>
                    <a:pt x="225" y="243"/>
                  </a:lnTo>
                  <a:lnTo>
                    <a:pt x="234" y="263"/>
                  </a:lnTo>
                  <a:lnTo>
                    <a:pt x="234" y="275"/>
                  </a:lnTo>
                  <a:lnTo>
                    <a:pt x="229" y="285"/>
                  </a:lnTo>
                  <a:lnTo>
                    <a:pt x="218" y="294"/>
                  </a:lnTo>
                  <a:lnTo>
                    <a:pt x="209" y="295"/>
                  </a:lnTo>
                  <a:lnTo>
                    <a:pt x="205" y="294"/>
                  </a:lnTo>
                  <a:lnTo>
                    <a:pt x="201" y="292"/>
                  </a:lnTo>
                  <a:lnTo>
                    <a:pt x="198" y="291"/>
                  </a:lnTo>
                  <a:lnTo>
                    <a:pt x="189" y="294"/>
                  </a:lnTo>
                  <a:lnTo>
                    <a:pt x="174" y="284"/>
                  </a:lnTo>
                  <a:lnTo>
                    <a:pt x="168" y="282"/>
                  </a:lnTo>
                  <a:lnTo>
                    <a:pt x="166" y="282"/>
                  </a:lnTo>
                  <a:lnTo>
                    <a:pt x="166" y="285"/>
                  </a:lnTo>
                  <a:lnTo>
                    <a:pt x="168" y="291"/>
                  </a:lnTo>
                  <a:lnTo>
                    <a:pt x="166" y="295"/>
                  </a:lnTo>
                  <a:lnTo>
                    <a:pt x="155" y="305"/>
                  </a:lnTo>
                  <a:lnTo>
                    <a:pt x="139" y="305"/>
                  </a:lnTo>
                  <a:lnTo>
                    <a:pt x="136" y="305"/>
                  </a:lnTo>
                  <a:lnTo>
                    <a:pt x="133" y="309"/>
                  </a:lnTo>
                  <a:lnTo>
                    <a:pt x="138" y="315"/>
                  </a:lnTo>
                  <a:lnTo>
                    <a:pt x="138" y="325"/>
                  </a:lnTo>
                  <a:lnTo>
                    <a:pt x="143" y="329"/>
                  </a:lnTo>
                  <a:lnTo>
                    <a:pt x="148" y="328"/>
                  </a:lnTo>
                  <a:lnTo>
                    <a:pt x="152" y="325"/>
                  </a:lnTo>
                  <a:lnTo>
                    <a:pt x="154" y="329"/>
                  </a:lnTo>
                  <a:lnTo>
                    <a:pt x="154" y="334"/>
                  </a:lnTo>
                  <a:lnTo>
                    <a:pt x="148" y="335"/>
                  </a:lnTo>
                  <a:lnTo>
                    <a:pt x="135" y="329"/>
                  </a:lnTo>
                  <a:lnTo>
                    <a:pt x="125" y="325"/>
                  </a:lnTo>
                  <a:lnTo>
                    <a:pt x="121" y="328"/>
                  </a:lnTo>
                  <a:lnTo>
                    <a:pt x="118" y="331"/>
                  </a:lnTo>
                  <a:lnTo>
                    <a:pt x="115" y="335"/>
                  </a:lnTo>
                  <a:lnTo>
                    <a:pt x="116" y="341"/>
                  </a:lnTo>
                  <a:lnTo>
                    <a:pt x="121" y="354"/>
                  </a:lnTo>
                  <a:lnTo>
                    <a:pt x="123" y="364"/>
                  </a:lnTo>
                  <a:lnTo>
                    <a:pt x="101" y="381"/>
                  </a:lnTo>
                  <a:lnTo>
                    <a:pt x="98" y="385"/>
                  </a:lnTo>
                  <a:lnTo>
                    <a:pt x="78" y="375"/>
                  </a:lnTo>
                  <a:lnTo>
                    <a:pt x="72" y="387"/>
                  </a:lnTo>
                  <a:lnTo>
                    <a:pt x="86" y="391"/>
                  </a:lnTo>
                  <a:lnTo>
                    <a:pt x="93" y="394"/>
                  </a:lnTo>
                  <a:lnTo>
                    <a:pt x="92" y="400"/>
                  </a:lnTo>
                  <a:lnTo>
                    <a:pt x="82" y="397"/>
                  </a:lnTo>
                  <a:lnTo>
                    <a:pt x="69" y="395"/>
                  </a:lnTo>
                  <a:lnTo>
                    <a:pt x="59" y="411"/>
                  </a:lnTo>
                  <a:lnTo>
                    <a:pt x="70" y="418"/>
                  </a:lnTo>
                  <a:lnTo>
                    <a:pt x="63" y="431"/>
                  </a:lnTo>
                  <a:lnTo>
                    <a:pt x="50" y="435"/>
                  </a:lnTo>
                  <a:lnTo>
                    <a:pt x="42" y="438"/>
                  </a:lnTo>
                  <a:lnTo>
                    <a:pt x="32" y="444"/>
                  </a:lnTo>
                  <a:lnTo>
                    <a:pt x="23" y="463"/>
                  </a:lnTo>
                  <a:lnTo>
                    <a:pt x="32" y="467"/>
                  </a:lnTo>
                  <a:lnTo>
                    <a:pt x="32" y="467"/>
                  </a:lnTo>
                  <a:lnTo>
                    <a:pt x="40" y="471"/>
                  </a:lnTo>
                  <a:lnTo>
                    <a:pt x="45" y="468"/>
                  </a:lnTo>
                  <a:lnTo>
                    <a:pt x="50" y="470"/>
                  </a:lnTo>
                  <a:lnTo>
                    <a:pt x="52" y="474"/>
                  </a:lnTo>
                  <a:lnTo>
                    <a:pt x="50" y="483"/>
                  </a:lnTo>
                  <a:lnTo>
                    <a:pt x="53" y="494"/>
                  </a:lnTo>
                  <a:lnTo>
                    <a:pt x="52" y="507"/>
                  </a:lnTo>
                  <a:lnTo>
                    <a:pt x="45" y="528"/>
                  </a:lnTo>
                  <a:lnTo>
                    <a:pt x="40" y="537"/>
                  </a:lnTo>
                  <a:lnTo>
                    <a:pt x="40" y="538"/>
                  </a:lnTo>
                  <a:lnTo>
                    <a:pt x="36" y="550"/>
                  </a:lnTo>
                  <a:lnTo>
                    <a:pt x="35" y="559"/>
                  </a:lnTo>
                  <a:lnTo>
                    <a:pt x="36" y="570"/>
                  </a:lnTo>
                  <a:lnTo>
                    <a:pt x="46" y="579"/>
                  </a:lnTo>
                  <a:lnTo>
                    <a:pt x="48" y="581"/>
                  </a:lnTo>
                  <a:lnTo>
                    <a:pt x="48" y="587"/>
                  </a:lnTo>
                  <a:lnTo>
                    <a:pt x="43" y="589"/>
                  </a:lnTo>
                  <a:lnTo>
                    <a:pt x="35" y="593"/>
                  </a:lnTo>
                  <a:lnTo>
                    <a:pt x="29" y="600"/>
                  </a:lnTo>
                  <a:lnTo>
                    <a:pt x="27" y="612"/>
                  </a:lnTo>
                  <a:lnTo>
                    <a:pt x="26" y="622"/>
                  </a:lnTo>
                  <a:lnTo>
                    <a:pt x="23" y="627"/>
                  </a:lnTo>
                  <a:lnTo>
                    <a:pt x="19" y="630"/>
                  </a:lnTo>
                  <a:lnTo>
                    <a:pt x="17" y="630"/>
                  </a:lnTo>
                  <a:lnTo>
                    <a:pt x="13" y="624"/>
                  </a:lnTo>
                  <a:lnTo>
                    <a:pt x="6" y="617"/>
                  </a:lnTo>
                  <a:lnTo>
                    <a:pt x="6" y="619"/>
                  </a:lnTo>
                  <a:lnTo>
                    <a:pt x="3" y="623"/>
                  </a:lnTo>
                  <a:lnTo>
                    <a:pt x="0" y="627"/>
                  </a:lnTo>
                  <a:lnTo>
                    <a:pt x="2" y="636"/>
                  </a:lnTo>
                  <a:lnTo>
                    <a:pt x="3" y="646"/>
                  </a:lnTo>
                  <a:lnTo>
                    <a:pt x="2" y="656"/>
                  </a:lnTo>
                  <a:lnTo>
                    <a:pt x="3" y="663"/>
                  </a:lnTo>
                  <a:lnTo>
                    <a:pt x="7" y="663"/>
                  </a:lnTo>
                  <a:lnTo>
                    <a:pt x="17" y="660"/>
                  </a:lnTo>
                  <a:lnTo>
                    <a:pt x="20" y="657"/>
                  </a:lnTo>
                  <a:lnTo>
                    <a:pt x="25" y="660"/>
                  </a:lnTo>
                  <a:lnTo>
                    <a:pt x="29" y="667"/>
                  </a:lnTo>
                  <a:lnTo>
                    <a:pt x="30" y="677"/>
                  </a:lnTo>
                  <a:lnTo>
                    <a:pt x="38" y="679"/>
                  </a:lnTo>
                  <a:lnTo>
                    <a:pt x="45" y="680"/>
                  </a:lnTo>
                  <a:lnTo>
                    <a:pt x="49" y="679"/>
                  </a:lnTo>
                  <a:lnTo>
                    <a:pt x="50" y="673"/>
                  </a:lnTo>
                  <a:lnTo>
                    <a:pt x="55" y="669"/>
                  </a:lnTo>
                  <a:lnTo>
                    <a:pt x="58" y="666"/>
                  </a:lnTo>
                  <a:lnTo>
                    <a:pt x="63" y="664"/>
                  </a:lnTo>
                  <a:lnTo>
                    <a:pt x="70" y="669"/>
                  </a:lnTo>
                  <a:lnTo>
                    <a:pt x="76" y="676"/>
                  </a:lnTo>
                  <a:lnTo>
                    <a:pt x="83" y="677"/>
                  </a:lnTo>
                  <a:lnTo>
                    <a:pt x="85" y="682"/>
                  </a:lnTo>
                  <a:lnTo>
                    <a:pt x="86" y="685"/>
                  </a:lnTo>
                  <a:lnTo>
                    <a:pt x="83" y="690"/>
                  </a:lnTo>
                  <a:lnTo>
                    <a:pt x="83" y="695"/>
                  </a:lnTo>
                  <a:lnTo>
                    <a:pt x="92" y="697"/>
                  </a:lnTo>
                  <a:lnTo>
                    <a:pt x="96" y="696"/>
                  </a:lnTo>
                  <a:lnTo>
                    <a:pt x="102" y="693"/>
                  </a:lnTo>
                  <a:lnTo>
                    <a:pt x="102" y="689"/>
                  </a:lnTo>
                  <a:lnTo>
                    <a:pt x="99" y="685"/>
                  </a:lnTo>
                  <a:lnTo>
                    <a:pt x="98" y="675"/>
                  </a:lnTo>
                  <a:lnTo>
                    <a:pt x="98" y="675"/>
                  </a:lnTo>
                  <a:lnTo>
                    <a:pt x="98" y="670"/>
                  </a:lnTo>
                  <a:lnTo>
                    <a:pt x="96" y="666"/>
                  </a:lnTo>
                  <a:lnTo>
                    <a:pt x="95" y="664"/>
                  </a:lnTo>
                  <a:lnTo>
                    <a:pt x="95" y="662"/>
                  </a:lnTo>
                  <a:lnTo>
                    <a:pt x="95" y="662"/>
                  </a:lnTo>
                  <a:lnTo>
                    <a:pt x="98" y="660"/>
                  </a:lnTo>
                  <a:lnTo>
                    <a:pt x="99" y="659"/>
                  </a:lnTo>
                  <a:lnTo>
                    <a:pt x="103" y="660"/>
                  </a:lnTo>
                  <a:lnTo>
                    <a:pt x="106" y="663"/>
                  </a:lnTo>
                  <a:lnTo>
                    <a:pt x="106" y="663"/>
                  </a:lnTo>
                  <a:lnTo>
                    <a:pt x="109" y="669"/>
                  </a:lnTo>
                  <a:lnTo>
                    <a:pt x="113" y="676"/>
                  </a:lnTo>
                  <a:lnTo>
                    <a:pt x="112" y="685"/>
                  </a:lnTo>
                  <a:lnTo>
                    <a:pt x="111" y="689"/>
                  </a:lnTo>
                  <a:lnTo>
                    <a:pt x="109" y="693"/>
                  </a:lnTo>
                  <a:lnTo>
                    <a:pt x="111" y="697"/>
                  </a:lnTo>
                  <a:lnTo>
                    <a:pt x="115" y="699"/>
                  </a:lnTo>
                  <a:lnTo>
                    <a:pt x="119" y="702"/>
                  </a:lnTo>
                  <a:lnTo>
                    <a:pt x="122" y="705"/>
                  </a:lnTo>
                  <a:lnTo>
                    <a:pt x="122" y="706"/>
                  </a:lnTo>
                  <a:lnTo>
                    <a:pt x="121" y="709"/>
                  </a:lnTo>
                  <a:lnTo>
                    <a:pt x="121" y="710"/>
                  </a:lnTo>
                  <a:lnTo>
                    <a:pt x="119" y="710"/>
                  </a:lnTo>
                  <a:lnTo>
                    <a:pt x="115" y="710"/>
                  </a:lnTo>
                  <a:lnTo>
                    <a:pt x="109" y="712"/>
                  </a:lnTo>
                  <a:lnTo>
                    <a:pt x="106" y="715"/>
                  </a:lnTo>
                  <a:lnTo>
                    <a:pt x="106" y="720"/>
                  </a:lnTo>
                  <a:lnTo>
                    <a:pt x="105" y="725"/>
                  </a:lnTo>
                  <a:lnTo>
                    <a:pt x="103" y="729"/>
                  </a:lnTo>
                  <a:lnTo>
                    <a:pt x="102" y="730"/>
                  </a:lnTo>
                  <a:lnTo>
                    <a:pt x="98" y="736"/>
                  </a:lnTo>
                  <a:lnTo>
                    <a:pt x="96" y="739"/>
                  </a:lnTo>
                  <a:lnTo>
                    <a:pt x="101" y="740"/>
                  </a:lnTo>
                  <a:lnTo>
                    <a:pt x="103" y="740"/>
                  </a:lnTo>
                  <a:lnTo>
                    <a:pt x="106" y="742"/>
                  </a:lnTo>
                  <a:lnTo>
                    <a:pt x="111" y="740"/>
                  </a:lnTo>
                  <a:lnTo>
                    <a:pt x="116" y="739"/>
                  </a:lnTo>
                  <a:lnTo>
                    <a:pt x="123" y="740"/>
                  </a:lnTo>
                  <a:lnTo>
                    <a:pt x="126" y="740"/>
                  </a:lnTo>
                  <a:lnTo>
                    <a:pt x="132" y="739"/>
                  </a:lnTo>
                  <a:lnTo>
                    <a:pt x="133" y="736"/>
                  </a:lnTo>
                  <a:lnTo>
                    <a:pt x="133" y="732"/>
                  </a:lnTo>
                  <a:lnTo>
                    <a:pt x="131" y="730"/>
                  </a:lnTo>
                  <a:lnTo>
                    <a:pt x="126" y="729"/>
                  </a:lnTo>
                  <a:lnTo>
                    <a:pt x="121" y="725"/>
                  </a:lnTo>
                  <a:lnTo>
                    <a:pt x="121" y="720"/>
                  </a:lnTo>
                  <a:lnTo>
                    <a:pt x="122" y="716"/>
                  </a:lnTo>
                  <a:lnTo>
                    <a:pt x="132" y="716"/>
                  </a:lnTo>
                  <a:lnTo>
                    <a:pt x="139" y="716"/>
                  </a:lnTo>
                  <a:lnTo>
                    <a:pt x="146" y="720"/>
                  </a:lnTo>
                  <a:lnTo>
                    <a:pt x="149" y="720"/>
                  </a:lnTo>
                  <a:lnTo>
                    <a:pt x="155" y="732"/>
                  </a:lnTo>
                  <a:lnTo>
                    <a:pt x="159" y="739"/>
                  </a:lnTo>
                  <a:lnTo>
                    <a:pt x="164" y="748"/>
                  </a:lnTo>
                  <a:lnTo>
                    <a:pt x="165" y="755"/>
                  </a:lnTo>
                  <a:lnTo>
                    <a:pt x="166" y="759"/>
                  </a:lnTo>
                  <a:lnTo>
                    <a:pt x="172" y="763"/>
                  </a:lnTo>
                  <a:lnTo>
                    <a:pt x="178" y="763"/>
                  </a:lnTo>
                  <a:lnTo>
                    <a:pt x="185" y="766"/>
                  </a:lnTo>
                  <a:lnTo>
                    <a:pt x="191" y="770"/>
                  </a:lnTo>
                  <a:lnTo>
                    <a:pt x="195" y="769"/>
                  </a:lnTo>
                  <a:lnTo>
                    <a:pt x="199" y="770"/>
                  </a:lnTo>
                  <a:lnTo>
                    <a:pt x="204" y="768"/>
                  </a:lnTo>
                  <a:lnTo>
                    <a:pt x="208" y="766"/>
                  </a:lnTo>
                  <a:lnTo>
                    <a:pt x="217" y="765"/>
                  </a:lnTo>
                  <a:lnTo>
                    <a:pt x="219" y="766"/>
                  </a:lnTo>
                  <a:lnTo>
                    <a:pt x="221" y="766"/>
                  </a:lnTo>
                  <a:lnTo>
                    <a:pt x="224" y="770"/>
                  </a:lnTo>
                  <a:lnTo>
                    <a:pt x="222" y="776"/>
                  </a:lnTo>
                  <a:lnTo>
                    <a:pt x="219" y="781"/>
                  </a:lnTo>
                  <a:lnTo>
                    <a:pt x="218" y="782"/>
                  </a:lnTo>
                  <a:lnTo>
                    <a:pt x="217" y="785"/>
                  </a:lnTo>
                  <a:lnTo>
                    <a:pt x="212" y="789"/>
                  </a:lnTo>
                  <a:lnTo>
                    <a:pt x="209" y="791"/>
                  </a:lnTo>
                  <a:lnTo>
                    <a:pt x="205" y="792"/>
                  </a:lnTo>
                  <a:lnTo>
                    <a:pt x="204" y="792"/>
                  </a:lnTo>
                  <a:lnTo>
                    <a:pt x="196" y="791"/>
                  </a:lnTo>
                  <a:lnTo>
                    <a:pt x="189" y="789"/>
                  </a:lnTo>
                  <a:lnTo>
                    <a:pt x="188" y="789"/>
                  </a:lnTo>
                  <a:lnTo>
                    <a:pt x="182" y="789"/>
                  </a:lnTo>
                  <a:lnTo>
                    <a:pt x="176" y="795"/>
                  </a:lnTo>
                  <a:lnTo>
                    <a:pt x="172" y="802"/>
                  </a:lnTo>
                  <a:lnTo>
                    <a:pt x="159" y="811"/>
                  </a:lnTo>
                  <a:lnTo>
                    <a:pt x="152" y="819"/>
                  </a:lnTo>
                  <a:lnTo>
                    <a:pt x="151" y="828"/>
                  </a:lnTo>
                  <a:lnTo>
                    <a:pt x="152" y="835"/>
                  </a:lnTo>
                  <a:lnTo>
                    <a:pt x="154" y="836"/>
                  </a:lnTo>
                  <a:lnTo>
                    <a:pt x="155" y="842"/>
                  </a:lnTo>
                  <a:lnTo>
                    <a:pt x="155" y="848"/>
                  </a:lnTo>
                  <a:lnTo>
                    <a:pt x="162" y="849"/>
                  </a:lnTo>
                  <a:lnTo>
                    <a:pt x="168" y="849"/>
                  </a:lnTo>
                  <a:lnTo>
                    <a:pt x="175" y="845"/>
                  </a:lnTo>
                  <a:lnTo>
                    <a:pt x="182" y="842"/>
                  </a:lnTo>
                  <a:lnTo>
                    <a:pt x="194" y="842"/>
                  </a:lnTo>
                  <a:lnTo>
                    <a:pt x="198" y="842"/>
                  </a:lnTo>
                  <a:lnTo>
                    <a:pt x="202" y="842"/>
                  </a:lnTo>
                  <a:lnTo>
                    <a:pt x="217" y="846"/>
                  </a:lnTo>
                  <a:lnTo>
                    <a:pt x="231" y="855"/>
                  </a:lnTo>
                  <a:lnTo>
                    <a:pt x="234" y="855"/>
                  </a:lnTo>
                  <a:lnTo>
                    <a:pt x="235" y="859"/>
                  </a:lnTo>
                  <a:lnTo>
                    <a:pt x="235" y="864"/>
                  </a:lnTo>
                  <a:lnTo>
                    <a:pt x="234" y="871"/>
                  </a:lnTo>
                  <a:lnTo>
                    <a:pt x="232" y="875"/>
                  </a:lnTo>
                  <a:lnTo>
                    <a:pt x="231" y="878"/>
                  </a:lnTo>
                  <a:lnTo>
                    <a:pt x="234" y="879"/>
                  </a:lnTo>
                  <a:lnTo>
                    <a:pt x="244" y="879"/>
                  </a:lnTo>
                  <a:lnTo>
                    <a:pt x="245" y="876"/>
                  </a:lnTo>
                  <a:lnTo>
                    <a:pt x="251" y="869"/>
                  </a:lnTo>
                  <a:lnTo>
                    <a:pt x="252" y="866"/>
                  </a:lnTo>
                  <a:lnTo>
                    <a:pt x="258" y="861"/>
                  </a:lnTo>
                  <a:lnTo>
                    <a:pt x="262" y="858"/>
                  </a:lnTo>
                  <a:lnTo>
                    <a:pt x="268" y="855"/>
                  </a:lnTo>
                  <a:lnTo>
                    <a:pt x="272" y="855"/>
                  </a:lnTo>
                  <a:lnTo>
                    <a:pt x="284" y="859"/>
                  </a:lnTo>
                  <a:lnTo>
                    <a:pt x="288" y="851"/>
                  </a:lnTo>
                  <a:lnTo>
                    <a:pt x="291" y="851"/>
                  </a:lnTo>
                  <a:lnTo>
                    <a:pt x="297" y="854"/>
                  </a:lnTo>
                  <a:lnTo>
                    <a:pt x="304" y="855"/>
                  </a:lnTo>
                  <a:lnTo>
                    <a:pt x="305" y="844"/>
                  </a:lnTo>
                  <a:lnTo>
                    <a:pt x="318" y="851"/>
                  </a:lnTo>
                  <a:lnTo>
                    <a:pt x="323" y="854"/>
                  </a:lnTo>
                  <a:lnTo>
                    <a:pt x="328" y="854"/>
                  </a:lnTo>
                  <a:lnTo>
                    <a:pt x="331" y="855"/>
                  </a:lnTo>
                  <a:lnTo>
                    <a:pt x="333" y="855"/>
                  </a:lnTo>
                  <a:lnTo>
                    <a:pt x="345" y="851"/>
                  </a:lnTo>
                  <a:lnTo>
                    <a:pt x="353" y="849"/>
                  </a:lnTo>
                  <a:lnTo>
                    <a:pt x="368" y="841"/>
                  </a:lnTo>
                  <a:lnTo>
                    <a:pt x="371" y="838"/>
                  </a:lnTo>
                  <a:lnTo>
                    <a:pt x="371" y="836"/>
                  </a:lnTo>
                  <a:lnTo>
                    <a:pt x="371" y="832"/>
                  </a:lnTo>
                  <a:lnTo>
                    <a:pt x="371" y="829"/>
                  </a:lnTo>
                  <a:lnTo>
                    <a:pt x="373" y="826"/>
                  </a:lnTo>
                  <a:lnTo>
                    <a:pt x="376" y="825"/>
                  </a:lnTo>
                  <a:lnTo>
                    <a:pt x="380" y="825"/>
                  </a:lnTo>
                  <a:lnTo>
                    <a:pt x="388" y="826"/>
                  </a:lnTo>
                  <a:lnTo>
                    <a:pt x="391" y="828"/>
                  </a:lnTo>
                  <a:lnTo>
                    <a:pt x="398" y="829"/>
                  </a:lnTo>
                  <a:lnTo>
                    <a:pt x="401" y="825"/>
                  </a:lnTo>
                  <a:lnTo>
                    <a:pt x="414" y="791"/>
                  </a:lnTo>
                  <a:lnTo>
                    <a:pt x="421" y="772"/>
                  </a:lnTo>
                  <a:lnTo>
                    <a:pt x="423" y="768"/>
                  </a:lnTo>
                  <a:lnTo>
                    <a:pt x="429" y="766"/>
                  </a:lnTo>
                  <a:lnTo>
                    <a:pt x="433" y="768"/>
                  </a:lnTo>
                  <a:lnTo>
                    <a:pt x="436" y="768"/>
                  </a:lnTo>
                  <a:lnTo>
                    <a:pt x="439" y="768"/>
                  </a:lnTo>
                  <a:lnTo>
                    <a:pt x="440" y="762"/>
                  </a:lnTo>
                  <a:lnTo>
                    <a:pt x="443" y="758"/>
                  </a:lnTo>
                  <a:lnTo>
                    <a:pt x="441" y="750"/>
                  </a:lnTo>
                  <a:lnTo>
                    <a:pt x="437" y="743"/>
                  </a:lnTo>
                  <a:lnTo>
                    <a:pt x="439" y="729"/>
                  </a:lnTo>
                  <a:lnTo>
                    <a:pt x="440" y="722"/>
                  </a:lnTo>
                  <a:lnTo>
                    <a:pt x="437" y="717"/>
                  </a:lnTo>
                  <a:lnTo>
                    <a:pt x="436" y="719"/>
                  </a:lnTo>
                  <a:lnTo>
                    <a:pt x="431" y="723"/>
                  </a:lnTo>
                  <a:lnTo>
                    <a:pt x="431" y="720"/>
                  </a:lnTo>
                  <a:lnTo>
                    <a:pt x="433" y="709"/>
                  </a:lnTo>
                  <a:lnTo>
                    <a:pt x="433" y="703"/>
                  </a:lnTo>
                  <a:lnTo>
                    <a:pt x="429" y="699"/>
                  </a:lnTo>
                  <a:lnTo>
                    <a:pt x="427" y="699"/>
                  </a:lnTo>
                  <a:lnTo>
                    <a:pt x="421" y="699"/>
                  </a:lnTo>
                  <a:lnTo>
                    <a:pt x="420" y="695"/>
                  </a:lnTo>
                  <a:lnTo>
                    <a:pt x="421" y="690"/>
                  </a:lnTo>
                  <a:lnTo>
                    <a:pt x="426" y="689"/>
                  </a:lnTo>
                  <a:lnTo>
                    <a:pt x="427" y="680"/>
                  </a:lnTo>
                  <a:lnTo>
                    <a:pt x="423" y="669"/>
                  </a:lnTo>
                  <a:lnTo>
                    <a:pt x="423" y="660"/>
                  </a:lnTo>
                  <a:lnTo>
                    <a:pt x="426" y="654"/>
                  </a:lnTo>
                  <a:lnTo>
                    <a:pt x="429" y="650"/>
                  </a:lnTo>
                  <a:lnTo>
                    <a:pt x="430" y="632"/>
                  </a:lnTo>
                  <a:lnTo>
                    <a:pt x="426" y="624"/>
                  </a:lnTo>
                  <a:lnTo>
                    <a:pt x="421" y="622"/>
                  </a:lnTo>
                  <a:lnTo>
                    <a:pt x="423" y="617"/>
                  </a:lnTo>
                  <a:lnTo>
                    <a:pt x="430" y="612"/>
                  </a:lnTo>
                  <a:lnTo>
                    <a:pt x="443" y="606"/>
                  </a:lnTo>
                  <a:lnTo>
                    <a:pt x="434" y="591"/>
                  </a:lnTo>
                  <a:lnTo>
                    <a:pt x="444" y="584"/>
                  </a:lnTo>
                  <a:lnTo>
                    <a:pt x="450" y="581"/>
                  </a:lnTo>
                  <a:lnTo>
                    <a:pt x="450" y="579"/>
                  </a:lnTo>
                  <a:lnTo>
                    <a:pt x="443" y="566"/>
                  </a:lnTo>
                  <a:lnTo>
                    <a:pt x="443" y="560"/>
                  </a:lnTo>
                  <a:lnTo>
                    <a:pt x="446" y="557"/>
                  </a:lnTo>
                  <a:lnTo>
                    <a:pt x="450" y="563"/>
                  </a:lnTo>
                  <a:lnTo>
                    <a:pt x="459" y="567"/>
                  </a:lnTo>
                  <a:lnTo>
                    <a:pt x="466" y="569"/>
                  </a:lnTo>
                  <a:lnTo>
                    <a:pt x="467" y="567"/>
                  </a:lnTo>
                  <a:lnTo>
                    <a:pt x="467" y="564"/>
                  </a:lnTo>
                  <a:lnTo>
                    <a:pt x="461" y="557"/>
                  </a:lnTo>
                  <a:lnTo>
                    <a:pt x="461" y="551"/>
                  </a:lnTo>
                  <a:lnTo>
                    <a:pt x="464" y="548"/>
                  </a:lnTo>
                  <a:lnTo>
                    <a:pt x="473" y="546"/>
                  </a:lnTo>
                  <a:lnTo>
                    <a:pt x="483" y="540"/>
                  </a:lnTo>
                  <a:lnTo>
                    <a:pt x="493" y="534"/>
                  </a:lnTo>
                  <a:lnTo>
                    <a:pt x="512" y="530"/>
                  </a:lnTo>
                  <a:lnTo>
                    <a:pt x="514" y="526"/>
                  </a:lnTo>
                  <a:lnTo>
                    <a:pt x="520" y="526"/>
                  </a:lnTo>
                  <a:lnTo>
                    <a:pt x="527" y="526"/>
                  </a:lnTo>
                  <a:lnTo>
                    <a:pt x="532" y="526"/>
                  </a:lnTo>
                  <a:lnTo>
                    <a:pt x="542" y="531"/>
                  </a:lnTo>
                  <a:lnTo>
                    <a:pt x="546" y="527"/>
                  </a:lnTo>
                  <a:lnTo>
                    <a:pt x="559" y="527"/>
                  </a:lnTo>
                  <a:lnTo>
                    <a:pt x="559" y="536"/>
                  </a:lnTo>
                  <a:lnTo>
                    <a:pt x="566" y="536"/>
                  </a:lnTo>
                  <a:lnTo>
                    <a:pt x="576" y="537"/>
                  </a:lnTo>
                  <a:lnTo>
                    <a:pt x="582" y="537"/>
                  </a:lnTo>
                  <a:lnTo>
                    <a:pt x="582" y="533"/>
                  </a:lnTo>
                  <a:lnTo>
                    <a:pt x="573" y="517"/>
                  </a:lnTo>
                  <a:lnTo>
                    <a:pt x="566" y="511"/>
                  </a:lnTo>
                  <a:lnTo>
                    <a:pt x="565" y="507"/>
                  </a:lnTo>
                  <a:lnTo>
                    <a:pt x="567" y="500"/>
                  </a:lnTo>
                  <a:lnTo>
                    <a:pt x="572" y="497"/>
                  </a:lnTo>
                  <a:lnTo>
                    <a:pt x="577" y="487"/>
                  </a:lnTo>
                  <a:lnTo>
                    <a:pt x="552" y="487"/>
                  </a:lnTo>
                  <a:lnTo>
                    <a:pt x="549" y="485"/>
                  </a:lnTo>
                  <a:lnTo>
                    <a:pt x="545" y="484"/>
                  </a:lnTo>
                  <a:lnTo>
                    <a:pt x="542" y="480"/>
                  </a:lnTo>
                  <a:lnTo>
                    <a:pt x="545" y="475"/>
                  </a:lnTo>
                  <a:lnTo>
                    <a:pt x="559" y="470"/>
                  </a:lnTo>
                  <a:lnTo>
                    <a:pt x="573" y="461"/>
                  </a:lnTo>
                  <a:lnTo>
                    <a:pt x="579" y="464"/>
                  </a:lnTo>
                  <a:lnTo>
                    <a:pt x="598" y="455"/>
                  </a:lnTo>
                  <a:lnTo>
                    <a:pt x="613" y="371"/>
                  </a:lnTo>
                  <a:lnTo>
                    <a:pt x="615" y="347"/>
                  </a:lnTo>
                  <a:lnTo>
                    <a:pt x="602" y="339"/>
                  </a:lnTo>
                  <a:lnTo>
                    <a:pt x="605" y="324"/>
                  </a:lnTo>
                  <a:lnTo>
                    <a:pt x="605" y="302"/>
                  </a:lnTo>
                  <a:lnTo>
                    <a:pt x="595" y="295"/>
                  </a:lnTo>
                  <a:lnTo>
                    <a:pt x="612" y="249"/>
                  </a:lnTo>
                  <a:lnTo>
                    <a:pt x="608" y="238"/>
                  </a:lnTo>
                  <a:lnTo>
                    <a:pt x="585" y="212"/>
                  </a:lnTo>
                  <a:lnTo>
                    <a:pt x="582" y="205"/>
                  </a:lnTo>
                  <a:lnTo>
                    <a:pt x="602" y="198"/>
                  </a:lnTo>
                  <a:lnTo>
                    <a:pt x="596" y="175"/>
                  </a:lnTo>
                  <a:lnTo>
                    <a:pt x="596" y="172"/>
                  </a:lnTo>
                  <a:lnTo>
                    <a:pt x="600" y="170"/>
                  </a:lnTo>
                  <a:lnTo>
                    <a:pt x="615" y="168"/>
                  </a:lnTo>
                  <a:lnTo>
                    <a:pt x="625" y="160"/>
                  </a:lnTo>
                  <a:lnTo>
                    <a:pt x="613" y="137"/>
                  </a:lnTo>
                  <a:lnTo>
                    <a:pt x="613" y="137"/>
                  </a:lnTo>
                  <a:lnTo>
                    <a:pt x="596" y="143"/>
                  </a:lnTo>
                  <a:lnTo>
                    <a:pt x="587" y="153"/>
                  </a:lnTo>
                  <a:lnTo>
                    <a:pt x="580" y="155"/>
                  </a:lnTo>
                  <a:lnTo>
                    <a:pt x="572" y="155"/>
                  </a:lnTo>
                  <a:lnTo>
                    <a:pt x="566" y="159"/>
                  </a:lnTo>
                  <a:lnTo>
                    <a:pt x="557" y="166"/>
                  </a:lnTo>
                  <a:lnTo>
                    <a:pt x="543" y="168"/>
                  </a:lnTo>
                  <a:lnTo>
                    <a:pt x="513" y="179"/>
                  </a:lnTo>
                  <a:lnTo>
                    <a:pt x="496" y="168"/>
                  </a:lnTo>
                  <a:lnTo>
                    <a:pt x="454" y="146"/>
                  </a:lnTo>
                  <a:lnTo>
                    <a:pt x="436" y="140"/>
                  </a:lnTo>
                  <a:lnTo>
                    <a:pt x="423" y="140"/>
                  </a:lnTo>
                  <a:lnTo>
                    <a:pt x="414" y="140"/>
                  </a:lnTo>
                  <a:lnTo>
                    <a:pt x="417" y="150"/>
                  </a:lnTo>
                  <a:lnTo>
                    <a:pt x="410" y="152"/>
                  </a:lnTo>
                  <a:lnTo>
                    <a:pt x="403" y="152"/>
                  </a:lnTo>
                  <a:lnTo>
                    <a:pt x="381" y="140"/>
                  </a:lnTo>
                  <a:lnTo>
                    <a:pt x="347" y="126"/>
                  </a:lnTo>
                  <a:lnTo>
                    <a:pt x="338" y="106"/>
                  </a:lnTo>
                  <a:lnTo>
                    <a:pt x="330" y="103"/>
                  </a:lnTo>
                  <a:lnTo>
                    <a:pt x="308" y="96"/>
                  </a:lnTo>
                  <a:lnTo>
                    <a:pt x="291" y="92"/>
                  </a:lnTo>
                  <a:lnTo>
                    <a:pt x="275" y="89"/>
                  </a:lnTo>
                  <a:lnTo>
                    <a:pt x="278" y="76"/>
                  </a:lnTo>
                  <a:lnTo>
                    <a:pt x="285" y="56"/>
                  </a:lnTo>
                  <a:lnTo>
                    <a:pt x="295" y="41"/>
                  </a:lnTo>
                  <a:lnTo>
                    <a:pt x="300" y="37"/>
                  </a:lnTo>
                  <a:lnTo>
                    <a:pt x="301" y="34"/>
                  </a:lnTo>
                  <a:lnTo>
                    <a:pt x="298" y="29"/>
                  </a:lnTo>
                  <a:lnTo>
                    <a:pt x="292" y="27"/>
                  </a:lnTo>
                  <a:lnTo>
                    <a:pt x="290" y="24"/>
                  </a:lnTo>
                  <a:lnTo>
                    <a:pt x="291" y="19"/>
                  </a:lnTo>
                  <a:lnTo>
                    <a:pt x="290" y="11"/>
                  </a:lnTo>
                  <a:lnTo>
                    <a:pt x="287" y="6"/>
                  </a:lnTo>
                  <a:lnTo>
                    <a:pt x="278" y="0"/>
                  </a:lnTo>
                  <a:lnTo>
                    <a:pt x="242" y="34"/>
                  </a:lnTo>
                  <a:lnTo>
                    <a:pt x="218" y="59"/>
                  </a:lnTo>
                  <a:lnTo>
                    <a:pt x="215" y="63"/>
                  </a:lnTo>
                  <a:lnTo>
                    <a:pt x="214" y="66"/>
                  </a:lnTo>
                  <a:lnTo>
                    <a:pt x="214" y="72"/>
                  </a:lnTo>
                  <a:lnTo>
                    <a:pt x="208" y="77"/>
                  </a:lnTo>
                  <a:lnTo>
                    <a:pt x="195" y="93"/>
                  </a:lnTo>
                  <a:lnTo>
                    <a:pt x="199" y="99"/>
                  </a:lnTo>
                  <a:lnTo>
                    <a:pt x="201" y="102"/>
                  </a:lnTo>
                  <a:lnTo>
                    <a:pt x="199" y="107"/>
                  </a:lnTo>
                  <a:lnTo>
                    <a:pt x="199" y="113"/>
                  </a:lnTo>
                  <a:lnTo>
                    <a:pt x="198" y="119"/>
                  </a:lnTo>
                  <a:lnTo>
                    <a:pt x="198" y="125"/>
                  </a:lnTo>
                  <a:lnTo>
                    <a:pt x="195" y="132"/>
                  </a:lnTo>
                  <a:lnTo>
                    <a:pt x="192" y="140"/>
                  </a:lnTo>
                  <a:lnTo>
                    <a:pt x="182" y="147"/>
                  </a:lnTo>
                  <a:lnTo>
                    <a:pt x="168" y="152"/>
                  </a:lnTo>
                  <a:lnTo>
                    <a:pt x="164" y="156"/>
                  </a:lnTo>
                  <a:lnTo>
                    <a:pt x="161" y="160"/>
                  </a:lnTo>
                  <a:lnTo>
                    <a:pt x="161" y="169"/>
                  </a:lnTo>
                  <a:lnTo>
                    <a:pt x="165" y="173"/>
                  </a:lnTo>
                  <a:lnTo>
                    <a:pt x="171" y="175"/>
                  </a:lnTo>
                  <a:lnTo>
                    <a:pt x="172" y="179"/>
                  </a:lnTo>
                  <a:lnTo>
                    <a:pt x="172" y="182"/>
                  </a:lnTo>
                  <a:lnTo>
                    <a:pt x="168" y="188"/>
                  </a:lnTo>
                  <a:lnTo>
                    <a:pt x="166" y="190"/>
                  </a:lnTo>
                  <a:lnTo>
                    <a:pt x="169" y="198"/>
                  </a:lnTo>
                  <a:lnTo>
                    <a:pt x="172" y="198"/>
                  </a:lnTo>
                  <a:lnTo>
                    <a:pt x="176" y="195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38" name="Freeform 185"/>
            <p:cNvSpPr>
              <a:spLocks/>
            </p:cNvSpPr>
            <p:nvPr/>
          </p:nvSpPr>
          <p:spPr bwMode="auto">
            <a:xfrm>
              <a:off x="4043237" y="4596570"/>
              <a:ext cx="4885" cy="6615"/>
            </a:xfrm>
            <a:custGeom>
              <a:avLst/>
              <a:gdLst>
                <a:gd name="T0" fmla="*/ 8 w 8"/>
                <a:gd name="T1" fmla="*/ 7 h 8"/>
                <a:gd name="T2" fmla="*/ 8 w 8"/>
                <a:gd name="T3" fmla="*/ 7 h 8"/>
                <a:gd name="T4" fmla="*/ 8 w 8"/>
                <a:gd name="T5" fmla="*/ 6 h 8"/>
                <a:gd name="T6" fmla="*/ 8 w 8"/>
                <a:gd name="T7" fmla="*/ 3 h 8"/>
                <a:gd name="T8" fmla="*/ 8 w 8"/>
                <a:gd name="T9" fmla="*/ 3 h 8"/>
                <a:gd name="T10" fmla="*/ 5 w 8"/>
                <a:gd name="T11" fmla="*/ 1 h 8"/>
                <a:gd name="T12" fmla="*/ 5 w 8"/>
                <a:gd name="T13" fmla="*/ 1 h 8"/>
                <a:gd name="T14" fmla="*/ 2 w 8"/>
                <a:gd name="T15" fmla="*/ 1 h 8"/>
                <a:gd name="T16" fmla="*/ 2 w 8"/>
                <a:gd name="T17" fmla="*/ 1 h 8"/>
                <a:gd name="T18" fmla="*/ 1 w 8"/>
                <a:gd name="T19" fmla="*/ 0 h 8"/>
                <a:gd name="T20" fmla="*/ 1 w 8"/>
                <a:gd name="T21" fmla="*/ 0 h 8"/>
                <a:gd name="T22" fmla="*/ 1 w 8"/>
                <a:gd name="T23" fmla="*/ 1 h 8"/>
                <a:gd name="T24" fmla="*/ 0 w 8"/>
                <a:gd name="T25" fmla="*/ 3 h 8"/>
                <a:gd name="T26" fmla="*/ 1 w 8"/>
                <a:gd name="T27" fmla="*/ 7 h 8"/>
                <a:gd name="T28" fmla="*/ 1 w 8"/>
                <a:gd name="T29" fmla="*/ 7 h 8"/>
                <a:gd name="T30" fmla="*/ 2 w 8"/>
                <a:gd name="T31" fmla="*/ 7 h 8"/>
                <a:gd name="T32" fmla="*/ 2 w 8"/>
                <a:gd name="T33" fmla="*/ 7 h 8"/>
                <a:gd name="T34" fmla="*/ 4 w 8"/>
                <a:gd name="T35" fmla="*/ 8 h 8"/>
                <a:gd name="T36" fmla="*/ 4 w 8"/>
                <a:gd name="T37" fmla="*/ 8 h 8"/>
                <a:gd name="T38" fmla="*/ 7 w 8"/>
                <a:gd name="T3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" h="8">
                  <a:moveTo>
                    <a:pt x="8" y="7"/>
                  </a:moveTo>
                  <a:lnTo>
                    <a:pt x="8" y="7"/>
                  </a:lnTo>
                  <a:lnTo>
                    <a:pt x="8" y="6"/>
                  </a:lnTo>
                  <a:lnTo>
                    <a:pt x="8" y="3"/>
                  </a:lnTo>
                  <a:lnTo>
                    <a:pt x="8" y="3"/>
                  </a:lnTo>
                  <a:lnTo>
                    <a:pt x="5" y="1"/>
                  </a:lnTo>
                  <a:lnTo>
                    <a:pt x="5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3"/>
                  </a:lnTo>
                  <a:lnTo>
                    <a:pt x="1" y="7"/>
                  </a:lnTo>
                  <a:lnTo>
                    <a:pt x="1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4" y="8"/>
                  </a:lnTo>
                  <a:lnTo>
                    <a:pt x="4" y="8"/>
                  </a:lnTo>
                  <a:lnTo>
                    <a:pt x="7" y="8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39" name="Freeform 186"/>
            <p:cNvSpPr>
              <a:spLocks/>
            </p:cNvSpPr>
            <p:nvPr/>
          </p:nvSpPr>
          <p:spPr bwMode="auto">
            <a:xfrm>
              <a:off x="4101852" y="4956400"/>
              <a:ext cx="7327" cy="6615"/>
            </a:xfrm>
            <a:custGeom>
              <a:avLst/>
              <a:gdLst>
                <a:gd name="T0" fmla="*/ 1 w 11"/>
                <a:gd name="T1" fmla="*/ 0 h 10"/>
                <a:gd name="T2" fmla="*/ 1 w 11"/>
                <a:gd name="T3" fmla="*/ 0 h 10"/>
                <a:gd name="T4" fmla="*/ 0 w 11"/>
                <a:gd name="T5" fmla="*/ 4 h 10"/>
                <a:gd name="T6" fmla="*/ 0 w 11"/>
                <a:gd name="T7" fmla="*/ 8 h 10"/>
                <a:gd name="T8" fmla="*/ 0 w 11"/>
                <a:gd name="T9" fmla="*/ 8 h 10"/>
                <a:gd name="T10" fmla="*/ 0 w 11"/>
                <a:gd name="T11" fmla="*/ 10 h 10"/>
                <a:gd name="T12" fmla="*/ 0 w 11"/>
                <a:gd name="T13" fmla="*/ 10 h 10"/>
                <a:gd name="T14" fmla="*/ 1 w 11"/>
                <a:gd name="T15" fmla="*/ 10 h 10"/>
                <a:gd name="T16" fmla="*/ 1 w 11"/>
                <a:gd name="T17" fmla="*/ 10 h 10"/>
                <a:gd name="T18" fmla="*/ 4 w 11"/>
                <a:gd name="T19" fmla="*/ 8 h 10"/>
                <a:gd name="T20" fmla="*/ 7 w 11"/>
                <a:gd name="T21" fmla="*/ 8 h 10"/>
                <a:gd name="T22" fmla="*/ 7 w 11"/>
                <a:gd name="T23" fmla="*/ 8 h 10"/>
                <a:gd name="T24" fmla="*/ 10 w 11"/>
                <a:gd name="T25" fmla="*/ 7 h 10"/>
                <a:gd name="T26" fmla="*/ 11 w 11"/>
                <a:gd name="T27" fmla="*/ 5 h 10"/>
                <a:gd name="T28" fmla="*/ 11 w 11"/>
                <a:gd name="T29" fmla="*/ 5 h 10"/>
                <a:gd name="T30" fmla="*/ 11 w 11"/>
                <a:gd name="T31" fmla="*/ 5 h 10"/>
                <a:gd name="T32" fmla="*/ 11 w 11"/>
                <a:gd name="T33" fmla="*/ 5 h 10"/>
                <a:gd name="T34" fmla="*/ 11 w 11"/>
                <a:gd name="T35" fmla="*/ 5 h 10"/>
                <a:gd name="T36" fmla="*/ 6 w 11"/>
                <a:gd name="T37" fmla="*/ 1 h 10"/>
                <a:gd name="T38" fmla="*/ 3 w 11"/>
                <a:gd name="T39" fmla="*/ 0 h 10"/>
                <a:gd name="T40" fmla="*/ 1 w 11"/>
                <a:gd name="T41" fmla="*/ 0 h 10"/>
                <a:gd name="T42" fmla="*/ 1 w 11"/>
                <a:gd name="T4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" h="10">
                  <a:moveTo>
                    <a:pt x="1" y="0"/>
                  </a:moveTo>
                  <a:lnTo>
                    <a:pt x="1" y="0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4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10" y="7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6" y="1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40" name="Freeform 187"/>
            <p:cNvSpPr>
              <a:spLocks/>
            </p:cNvSpPr>
            <p:nvPr/>
          </p:nvSpPr>
          <p:spPr bwMode="auto">
            <a:xfrm>
              <a:off x="4060333" y="4617737"/>
              <a:ext cx="4885" cy="5292"/>
            </a:xfrm>
            <a:custGeom>
              <a:avLst/>
              <a:gdLst>
                <a:gd name="T0" fmla="*/ 9 w 9"/>
                <a:gd name="T1" fmla="*/ 6 h 9"/>
                <a:gd name="T2" fmla="*/ 9 w 9"/>
                <a:gd name="T3" fmla="*/ 6 h 9"/>
                <a:gd name="T4" fmla="*/ 9 w 9"/>
                <a:gd name="T5" fmla="*/ 3 h 9"/>
                <a:gd name="T6" fmla="*/ 9 w 9"/>
                <a:gd name="T7" fmla="*/ 2 h 9"/>
                <a:gd name="T8" fmla="*/ 7 w 9"/>
                <a:gd name="T9" fmla="*/ 2 h 9"/>
                <a:gd name="T10" fmla="*/ 7 w 9"/>
                <a:gd name="T11" fmla="*/ 2 h 9"/>
                <a:gd name="T12" fmla="*/ 6 w 9"/>
                <a:gd name="T13" fmla="*/ 0 h 9"/>
                <a:gd name="T14" fmla="*/ 6 w 9"/>
                <a:gd name="T15" fmla="*/ 0 h 9"/>
                <a:gd name="T16" fmla="*/ 2 w 9"/>
                <a:gd name="T17" fmla="*/ 0 h 9"/>
                <a:gd name="T18" fmla="*/ 2 w 9"/>
                <a:gd name="T19" fmla="*/ 0 h 9"/>
                <a:gd name="T20" fmla="*/ 0 w 9"/>
                <a:gd name="T21" fmla="*/ 0 h 9"/>
                <a:gd name="T22" fmla="*/ 0 w 9"/>
                <a:gd name="T23" fmla="*/ 0 h 9"/>
                <a:gd name="T24" fmla="*/ 0 w 9"/>
                <a:gd name="T25" fmla="*/ 2 h 9"/>
                <a:gd name="T26" fmla="*/ 0 w 9"/>
                <a:gd name="T27" fmla="*/ 3 h 9"/>
                <a:gd name="T28" fmla="*/ 2 w 9"/>
                <a:gd name="T29" fmla="*/ 8 h 9"/>
                <a:gd name="T30" fmla="*/ 2 w 9"/>
                <a:gd name="T31" fmla="*/ 8 h 9"/>
                <a:gd name="T32" fmla="*/ 3 w 9"/>
                <a:gd name="T33" fmla="*/ 8 h 9"/>
                <a:gd name="T34" fmla="*/ 3 w 9"/>
                <a:gd name="T35" fmla="*/ 8 h 9"/>
                <a:gd name="T36" fmla="*/ 5 w 9"/>
                <a:gd name="T37" fmla="*/ 9 h 9"/>
                <a:gd name="T38" fmla="*/ 5 w 9"/>
                <a:gd name="T39" fmla="*/ 9 h 9"/>
                <a:gd name="T40" fmla="*/ 9 w 9"/>
                <a:gd name="T41" fmla="*/ 6 h 9"/>
                <a:gd name="T42" fmla="*/ 9 w 9"/>
                <a:gd name="T4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" h="9">
                  <a:moveTo>
                    <a:pt x="9" y="6"/>
                  </a:moveTo>
                  <a:lnTo>
                    <a:pt x="9" y="6"/>
                  </a:lnTo>
                  <a:lnTo>
                    <a:pt x="9" y="3"/>
                  </a:lnTo>
                  <a:lnTo>
                    <a:pt x="9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2" y="8"/>
                  </a:lnTo>
                  <a:lnTo>
                    <a:pt x="2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5" y="9"/>
                  </a:lnTo>
                  <a:lnTo>
                    <a:pt x="5" y="9"/>
                  </a:lnTo>
                  <a:lnTo>
                    <a:pt x="9" y="6"/>
                  </a:lnTo>
                  <a:lnTo>
                    <a:pt x="9" y="6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41" name="Freeform 188"/>
            <p:cNvSpPr>
              <a:spLocks/>
            </p:cNvSpPr>
            <p:nvPr/>
          </p:nvSpPr>
          <p:spPr bwMode="auto">
            <a:xfrm>
              <a:off x="4023699" y="4640226"/>
              <a:ext cx="4885" cy="5292"/>
            </a:xfrm>
            <a:custGeom>
              <a:avLst/>
              <a:gdLst>
                <a:gd name="T0" fmla="*/ 6 w 7"/>
                <a:gd name="T1" fmla="*/ 7 h 7"/>
                <a:gd name="T2" fmla="*/ 7 w 7"/>
                <a:gd name="T3" fmla="*/ 5 h 7"/>
                <a:gd name="T4" fmla="*/ 7 w 7"/>
                <a:gd name="T5" fmla="*/ 5 h 7"/>
                <a:gd name="T6" fmla="*/ 7 w 7"/>
                <a:gd name="T7" fmla="*/ 3 h 7"/>
                <a:gd name="T8" fmla="*/ 7 w 7"/>
                <a:gd name="T9" fmla="*/ 1 h 7"/>
                <a:gd name="T10" fmla="*/ 7 w 7"/>
                <a:gd name="T11" fmla="*/ 1 h 7"/>
                <a:gd name="T12" fmla="*/ 6 w 7"/>
                <a:gd name="T13" fmla="*/ 1 h 7"/>
                <a:gd name="T14" fmla="*/ 6 w 7"/>
                <a:gd name="T15" fmla="*/ 1 h 7"/>
                <a:gd name="T16" fmla="*/ 3 w 7"/>
                <a:gd name="T17" fmla="*/ 0 h 7"/>
                <a:gd name="T18" fmla="*/ 3 w 7"/>
                <a:gd name="T19" fmla="*/ 0 h 7"/>
                <a:gd name="T20" fmla="*/ 2 w 7"/>
                <a:gd name="T21" fmla="*/ 0 h 7"/>
                <a:gd name="T22" fmla="*/ 2 w 7"/>
                <a:gd name="T23" fmla="*/ 0 h 7"/>
                <a:gd name="T24" fmla="*/ 0 w 7"/>
                <a:gd name="T25" fmla="*/ 1 h 7"/>
                <a:gd name="T26" fmla="*/ 0 w 7"/>
                <a:gd name="T27" fmla="*/ 4 h 7"/>
                <a:gd name="T28" fmla="*/ 0 w 7"/>
                <a:gd name="T29" fmla="*/ 4 h 7"/>
                <a:gd name="T30" fmla="*/ 3 w 7"/>
                <a:gd name="T31" fmla="*/ 5 h 7"/>
                <a:gd name="T32" fmla="*/ 3 w 7"/>
                <a:gd name="T33" fmla="*/ 5 h 7"/>
                <a:gd name="T34" fmla="*/ 3 w 7"/>
                <a:gd name="T35" fmla="*/ 5 h 7"/>
                <a:gd name="T36" fmla="*/ 3 w 7"/>
                <a:gd name="T37" fmla="*/ 5 h 7"/>
                <a:gd name="T38" fmla="*/ 6 w 7"/>
                <a:gd name="T39" fmla="*/ 7 h 7"/>
                <a:gd name="T40" fmla="*/ 6 w 7"/>
                <a:gd name="T4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" h="7">
                  <a:moveTo>
                    <a:pt x="6" y="7"/>
                  </a:moveTo>
                  <a:lnTo>
                    <a:pt x="7" y="5"/>
                  </a:lnTo>
                  <a:lnTo>
                    <a:pt x="7" y="5"/>
                  </a:lnTo>
                  <a:lnTo>
                    <a:pt x="7" y="3"/>
                  </a:lnTo>
                  <a:lnTo>
                    <a:pt x="7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0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6" y="7"/>
                  </a:lnTo>
                  <a:lnTo>
                    <a:pt x="6" y="7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42" name="Freeform 189"/>
            <p:cNvSpPr>
              <a:spLocks/>
            </p:cNvSpPr>
            <p:nvPr/>
          </p:nvSpPr>
          <p:spPr bwMode="auto">
            <a:xfrm>
              <a:off x="4027362" y="4633612"/>
              <a:ext cx="7327" cy="6615"/>
            </a:xfrm>
            <a:custGeom>
              <a:avLst/>
              <a:gdLst>
                <a:gd name="T0" fmla="*/ 10 w 11"/>
                <a:gd name="T1" fmla="*/ 1 h 8"/>
                <a:gd name="T2" fmla="*/ 10 w 11"/>
                <a:gd name="T3" fmla="*/ 1 h 8"/>
                <a:gd name="T4" fmla="*/ 7 w 11"/>
                <a:gd name="T5" fmla="*/ 0 h 8"/>
                <a:gd name="T6" fmla="*/ 6 w 11"/>
                <a:gd name="T7" fmla="*/ 0 h 8"/>
                <a:gd name="T8" fmla="*/ 4 w 11"/>
                <a:gd name="T9" fmla="*/ 0 h 8"/>
                <a:gd name="T10" fmla="*/ 4 w 11"/>
                <a:gd name="T11" fmla="*/ 0 h 8"/>
                <a:gd name="T12" fmla="*/ 3 w 11"/>
                <a:gd name="T13" fmla="*/ 1 h 8"/>
                <a:gd name="T14" fmla="*/ 3 w 11"/>
                <a:gd name="T15" fmla="*/ 1 h 8"/>
                <a:gd name="T16" fmla="*/ 0 w 11"/>
                <a:gd name="T17" fmla="*/ 4 h 8"/>
                <a:gd name="T18" fmla="*/ 0 w 11"/>
                <a:gd name="T19" fmla="*/ 4 h 8"/>
                <a:gd name="T20" fmla="*/ 0 w 11"/>
                <a:gd name="T21" fmla="*/ 5 h 8"/>
                <a:gd name="T22" fmla="*/ 0 w 11"/>
                <a:gd name="T23" fmla="*/ 5 h 8"/>
                <a:gd name="T24" fmla="*/ 0 w 11"/>
                <a:gd name="T25" fmla="*/ 7 h 8"/>
                <a:gd name="T26" fmla="*/ 3 w 11"/>
                <a:gd name="T27" fmla="*/ 8 h 8"/>
                <a:gd name="T28" fmla="*/ 6 w 11"/>
                <a:gd name="T29" fmla="*/ 8 h 8"/>
                <a:gd name="T30" fmla="*/ 6 w 11"/>
                <a:gd name="T31" fmla="*/ 8 h 8"/>
                <a:gd name="T32" fmla="*/ 7 w 11"/>
                <a:gd name="T33" fmla="*/ 7 h 8"/>
                <a:gd name="T34" fmla="*/ 7 w 11"/>
                <a:gd name="T35" fmla="*/ 7 h 8"/>
                <a:gd name="T36" fmla="*/ 8 w 11"/>
                <a:gd name="T37" fmla="*/ 5 h 8"/>
                <a:gd name="T38" fmla="*/ 8 w 11"/>
                <a:gd name="T39" fmla="*/ 5 h 8"/>
                <a:gd name="T40" fmla="*/ 11 w 11"/>
                <a:gd name="T41" fmla="*/ 4 h 8"/>
                <a:gd name="T42" fmla="*/ 10 w 11"/>
                <a:gd name="T43" fmla="*/ 1 h 8"/>
                <a:gd name="T44" fmla="*/ 10 w 11"/>
                <a:gd name="T4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" h="8">
                  <a:moveTo>
                    <a:pt x="10" y="1"/>
                  </a:moveTo>
                  <a:lnTo>
                    <a:pt x="10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3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5"/>
                  </a:lnTo>
                  <a:lnTo>
                    <a:pt x="8" y="5"/>
                  </a:lnTo>
                  <a:lnTo>
                    <a:pt x="11" y="4"/>
                  </a:lnTo>
                  <a:lnTo>
                    <a:pt x="10" y="1"/>
                  </a:lnTo>
                  <a:lnTo>
                    <a:pt x="10" y="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43" name="Freeform 190"/>
            <p:cNvSpPr>
              <a:spLocks noEditPoints="1"/>
            </p:cNvSpPr>
            <p:nvPr/>
          </p:nvSpPr>
          <p:spPr bwMode="auto">
            <a:xfrm>
              <a:off x="3767259" y="4216897"/>
              <a:ext cx="581264" cy="486829"/>
            </a:xfrm>
            <a:custGeom>
              <a:avLst/>
              <a:gdLst>
                <a:gd name="T0" fmla="*/ 337 w 951"/>
                <a:gd name="T1" fmla="*/ 51 h 734"/>
                <a:gd name="T2" fmla="*/ 434 w 951"/>
                <a:gd name="T3" fmla="*/ 61 h 734"/>
                <a:gd name="T4" fmla="*/ 589 w 951"/>
                <a:gd name="T5" fmla="*/ 22 h 734"/>
                <a:gd name="T6" fmla="*/ 619 w 951"/>
                <a:gd name="T7" fmla="*/ 12 h 734"/>
                <a:gd name="T8" fmla="*/ 656 w 951"/>
                <a:gd name="T9" fmla="*/ 34 h 734"/>
                <a:gd name="T10" fmla="*/ 728 w 951"/>
                <a:gd name="T11" fmla="*/ 98 h 734"/>
                <a:gd name="T12" fmla="*/ 781 w 951"/>
                <a:gd name="T13" fmla="*/ 214 h 734"/>
                <a:gd name="T14" fmla="*/ 812 w 951"/>
                <a:gd name="T15" fmla="*/ 247 h 734"/>
                <a:gd name="T16" fmla="*/ 804 w 951"/>
                <a:gd name="T17" fmla="*/ 287 h 734"/>
                <a:gd name="T18" fmla="*/ 863 w 951"/>
                <a:gd name="T19" fmla="*/ 332 h 734"/>
                <a:gd name="T20" fmla="*/ 911 w 951"/>
                <a:gd name="T21" fmla="*/ 422 h 734"/>
                <a:gd name="T22" fmla="*/ 767 w 951"/>
                <a:gd name="T23" fmla="*/ 406 h 734"/>
                <a:gd name="T24" fmla="*/ 671 w 951"/>
                <a:gd name="T25" fmla="*/ 372 h 734"/>
                <a:gd name="T26" fmla="*/ 632 w 951"/>
                <a:gd name="T27" fmla="*/ 305 h 734"/>
                <a:gd name="T28" fmla="*/ 609 w 951"/>
                <a:gd name="T29" fmla="*/ 267 h 734"/>
                <a:gd name="T30" fmla="*/ 530 w 951"/>
                <a:gd name="T31" fmla="*/ 366 h 734"/>
                <a:gd name="T32" fmla="*/ 513 w 951"/>
                <a:gd name="T33" fmla="*/ 413 h 734"/>
                <a:gd name="T34" fmla="*/ 503 w 951"/>
                <a:gd name="T35" fmla="*/ 449 h 734"/>
                <a:gd name="T36" fmla="*/ 543 w 951"/>
                <a:gd name="T37" fmla="*/ 442 h 734"/>
                <a:gd name="T38" fmla="*/ 566 w 951"/>
                <a:gd name="T39" fmla="*/ 531 h 734"/>
                <a:gd name="T40" fmla="*/ 520 w 951"/>
                <a:gd name="T41" fmla="*/ 560 h 734"/>
                <a:gd name="T42" fmla="*/ 472 w 951"/>
                <a:gd name="T43" fmla="*/ 572 h 734"/>
                <a:gd name="T44" fmla="*/ 486 w 951"/>
                <a:gd name="T45" fmla="*/ 595 h 734"/>
                <a:gd name="T46" fmla="*/ 447 w 951"/>
                <a:gd name="T47" fmla="*/ 607 h 734"/>
                <a:gd name="T48" fmla="*/ 424 w 951"/>
                <a:gd name="T49" fmla="*/ 661 h 734"/>
                <a:gd name="T50" fmla="*/ 374 w 951"/>
                <a:gd name="T51" fmla="*/ 706 h 734"/>
                <a:gd name="T52" fmla="*/ 308 w 951"/>
                <a:gd name="T53" fmla="*/ 719 h 734"/>
                <a:gd name="T54" fmla="*/ 273 w 951"/>
                <a:gd name="T55" fmla="*/ 667 h 734"/>
                <a:gd name="T56" fmla="*/ 247 w 951"/>
                <a:gd name="T57" fmla="*/ 645 h 734"/>
                <a:gd name="T58" fmla="*/ 232 w 951"/>
                <a:gd name="T59" fmla="*/ 664 h 734"/>
                <a:gd name="T60" fmla="*/ 204 w 951"/>
                <a:gd name="T61" fmla="*/ 624 h 734"/>
                <a:gd name="T62" fmla="*/ 187 w 951"/>
                <a:gd name="T63" fmla="*/ 584 h 734"/>
                <a:gd name="T64" fmla="*/ 172 w 951"/>
                <a:gd name="T65" fmla="*/ 565 h 734"/>
                <a:gd name="T66" fmla="*/ 135 w 951"/>
                <a:gd name="T67" fmla="*/ 511 h 734"/>
                <a:gd name="T68" fmla="*/ 119 w 951"/>
                <a:gd name="T69" fmla="*/ 479 h 734"/>
                <a:gd name="T70" fmla="*/ 102 w 951"/>
                <a:gd name="T71" fmla="*/ 461 h 734"/>
                <a:gd name="T72" fmla="*/ 73 w 951"/>
                <a:gd name="T73" fmla="*/ 438 h 734"/>
                <a:gd name="T74" fmla="*/ 38 w 951"/>
                <a:gd name="T75" fmla="*/ 415 h 734"/>
                <a:gd name="T76" fmla="*/ 35 w 951"/>
                <a:gd name="T77" fmla="*/ 376 h 734"/>
                <a:gd name="T78" fmla="*/ 9 w 951"/>
                <a:gd name="T79" fmla="*/ 349 h 734"/>
                <a:gd name="T80" fmla="*/ 18 w 951"/>
                <a:gd name="T81" fmla="*/ 302 h 734"/>
                <a:gd name="T82" fmla="*/ 52 w 951"/>
                <a:gd name="T83" fmla="*/ 279 h 734"/>
                <a:gd name="T84" fmla="*/ 65 w 951"/>
                <a:gd name="T85" fmla="*/ 217 h 734"/>
                <a:gd name="T86" fmla="*/ 95 w 951"/>
                <a:gd name="T87" fmla="*/ 170 h 734"/>
                <a:gd name="T88" fmla="*/ 139 w 951"/>
                <a:gd name="T89" fmla="*/ 154 h 734"/>
                <a:gd name="T90" fmla="*/ 157 w 951"/>
                <a:gd name="T91" fmla="*/ 167 h 734"/>
                <a:gd name="T92" fmla="*/ 215 w 951"/>
                <a:gd name="T93" fmla="*/ 161 h 734"/>
                <a:gd name="T94" fmla="*/ 247 w 951"/>
                <a:gd name="T95" fmla="*/ 64 h 734"/>
                <a:gd name="T96" fmla="*/ 459 w 951"/>
                <a:gd name="T97" fmla="*/ 577 h 734"/>
                <a:gd name="T98" fmla="*/ 453 w 951"/>
                <a:gd name="T99" fmla="*/ 581 h 734"/>
                <a:gd name="T100" fmla="*/ 436 w 951"/>
                <a:gd name="T101" fmla="*/ 633 h 734"/>
                <a:gd name="T102" fmla="*/ 427 w 951"/>
                <a:gd name="T103" fmla="*/ 635 h 734"/>
                <a:gd name="T104" fmla="*/ 434 w 951"/>
                <a:gd name="T105" fmla="*/ 637 h 734"/>
                <a:gd name="T106" fmla="*/ 489 w 951"/>
                <a:gd name="T107" fmla="*/ 613 h 734"/>
                <a:gd name="T108" fmla="*/ 483 w 951"/>
                <a:gd name="T109" fmla="*/ 607 h 734"/>
                <a:gd name="T110" fmla="*/ 485 w 951"/>
                <a:gd name="T111" fmla="*/ 614 h 734"/>
                <a:gd name="T112" fmla="*/ 429 w 951"/>
                <a:gd name="T113" fmla="*/ 644 h 734"/>
                <a:gd name="T114" fmla="*/ 422 w 951"/>
                <a:gd name="T115" fmla="*/ 640 h 734"/>
                <a:gd name="T116" fmla="*/ 426 w 951"/>
                <a:gd name="T117" fmla="*/ 647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51" h="734">
                  <a:moveTo>
                    <a:pt x="247" y="64"/>
                  </a:moveTo>
                  <a:lnTo>
                    <a:pt x="273" y="87"/>
                  </a:lnTo>
                  <a:lnTo>
                    <a:pt x="278" y="88"/>
                  </a:lnTo>
                  <a:lnTo>
                    <a:pt x="297" y="93"/>
                  </a:lnTo>
                  <a:lnTo>
                    <a:pt x="311" y="94"/>
                  </a:lnTo>
                  <a:lnTo>
                    <a:pt x="327" y="57"/>
                  </a:lnTo>
                  <a:lnTo>
                    <a:pt x="330" y="53"/>
                  </a:lnTo>
                  <a:lnTo>
                    <a:pt x="337" y="51"/>
                  </a:lnTo>
                  <a:lnTo>
                    <a:pt x="354" y="54"/>
                  </a:lnTo>
                  <a:lnTo>
                    <a:pt x="356" y="70"/>
                  </a:lnTo>
                  <a:lnTo>
                    <a:pt x="376" y="64"/>
                  </a:lnTo>
                  <a:lnTo>
                    <a:pt x="396" y="65"/>
                  </a:lnTo>
                  <a:lnTo>
                    <a:pt x="404" y="67"/>
                  </a:lnTo>
                  <a:lnTo>
                    <a:pt x="416" y="58"/>
                  </a:lnTo>
                  <a:lnTo>
                    <a:pt x="423" y="57"/>
                  </a:lnTo>
                  <a:lnTo>
                    <a:pt x="434" y="61"/>
                  </a:lnTo>
                  <a:lnTo>
                    <a:pt x="457" y="68"/>
                  </a:lnTo>
                  <a:lnTo>
                    <a:pt x="467" y="70"/>
                  </a:lnTo>
                  <a:lnTo>
                    <a:pt x="479" y="65"/>
                  </a:lnTo>
                  <a:lnTo>
                    <a:pt x="489" y="57"/>
                  </a:lnTo>
                  <a:lnTo>
                    <a:pt x="510" y="31"/>
                  </a:lnTo>
                  <a:lnTo>
                    <a:pt x="525" y="43"/>
                  </a:lnTo>
                  <a:lnTo>
                    <a:pt x="586" y="33"/>
                  </a:lnTo>
                  <a:lnTo>
                    <a:pt x="589" y="22"/>
                  </a:lnTo>
                  <a:lnTo>
                    <a:pt x="588" y="17"/>
                  </a:lnTo>
                  <a:lnTo>
                    <a:pt x="575" y="7"/>
                  </a:lnTo>
                  <a:lnTo>
                    <a:pt x="575" y="5"/>
                  </a:lnTo>
                  <a:lnTo>
                    <a:pt x="575" y="4"/>
                  </a:lnTo>
                  <a:lnTo>
                    <a:pt x="582" y="1"/>
                  </a:lnTo>
                  <a:lnTo>
                    <a:pt x="606" y="0"/>
                  </a:lnTo>
                  <a:lnTo>
                    <a:pt x="612" y="7"/>
                  </a:lnTo>
                  <a:lnTo>
                    <a:pt x="619" y="12"/>
                  </a:lnTo>
                  <a:lnTo>
                    <a:pt x="619" y="18"/>
                  </a:lnTo>
                  <a:lnTo>
                    <a:pt x="616" y="24"/>
                  </a:lnTo>
                  <a:lnTo>
                    <a:pt x="615" y="28"/>
                  </a:lnTo>
                  <a:lnTo>
                    <a:pt x="622" y="30"/>
                  </a:lnTo>
                  <a:lnTo>
                    <a:pt x="631" y="31"/>
                  </a:lnTo>
                  <a:lnTo>
                    <a:pt x="641" y="28"/>
                  </a:lnTo>
                  <a:lnTo>
                    <a:pt x="649" y="30"/>
                  </a:lnTo>
                  <a:lnTo>
                    <a:pt x="656" y="34"/>
                  </a:lnTo>
                  <a:lnTo>
                    <a:pt x="664" y="48"/>
                  </a:lnTo>
                  <a:lnTo>
                    <a:pt x="668" y="55"/>
                  </a:lnTo>
                  <a:lnTo>
                    <a:pt x="678" y="65"/>
                  </a:lnTo>
                  <a:lnTo>
                    <a:pt x="689" y="70"/>
                  </a:lnTo>
                  <a:lnTo>
                    <a:pt x="702" y="70"/>
                  </a:lnTo>
                  <a:lnTo>
                    <a:pt x="721" y="90"/>
                  </a:lnTo>
                  <a:lnTo>
                    <a:pt x="732" y="87"/>
                  </a:lnTo>
                  <a:lnTo>
                    <a:pt x="728" y="98"/>
                  </a:lnTo>
                  <a:lnTo>
                    <a:pt x="745" y="120"/>
                  </a:lnTo>
                  <a:lnTo>
                    <a:pt x="748" y="130"/>
                  </a:lnTo>
                  <a:lnTo>
                    <a:pt x="757" y="137"/>
                  </a:lnTo>
                  <a:lnTo>
                    <a:pt x="757" y="153"/>
                  </a:lnTo>
                  <a:lnTo>
                    <a:pt x="771" y="161"/>
                  </a:lnTo>
                  <a:lnTo>
                    <a:pt x="772" y="173"/>
                  </a:lnTo>
                  <a:lnTo>
                    <a:pt x="785" y="207"/>
                  </a:lnTo>
                  <a:lnTo>
                    <a:pt x="781" y="214"/>
                  </a:lnTo>
                  <a:lnTo>
                    <a:pt x="780" y="219"/>
                  </a:lnTo>
                  <a:lnTo>
                    <a:pt x="782" y="224"/>
                  </a:lnTo>
                  <a:lnTo>
                    <a:pt x="782" y="232"/>
                  </a:lnTo>
                  <a:lnTo>
                    <a:pt x="781" y="234"/>
                  </a:lnTo>
                  <a:lnTo>
                    <a:pt x="787" y="242"/>
                  </a:lnTo>
                  <a:lnTo>
                    <a:pt x="795" y="244"/>
                  </a:lnTo>
                  <a:lnTo>
                    <a:pt x="807" y="244"/>
                  </a:lnTo>
                  <a:lnTo>
                    <a:pt x="812" y="247"/>
                  </a:lnTo>
                  <a:lnTo>
                    <a:pt x="814" y="252"/>
                  </a:lnTo>
                  <a:lnTo>
                    <a:pt x="812" y="257"/>
                  </a:lnTo>
                  <a:lnTo>
                    <a:pt x="810" y="259"/>
                  </a:lnTo>
                  <a:lnTo>
                    <a:pt x="805" y="262"/>
                  </a:lnTo>
                  <a:lnTo>
                    <a:pt x="805" y="262"/>
                  </a:lnTo>
                  <a:lnTo>
                    <a:pt x="815" y="287"/>
                  </a:lnTo>
                  <a:lnTo>
                    <a:pt x="815" y="289"/>
                  </a:lnTo>
                  <a:lnTo>
                    <a:pt x="804" y="287"/>
                  </a:lnTo>
                  <a:lnTo>
                    <a:pt x="800" y="287"/>
                  </a:lnTo>
                  <a:lnTo>
                    <a:pt x="800" y="290"/>
                  </a:lnTo>
                  <a:lnTo>
                    <a:pt x="800" y="293"/>
                  </a:lnTo>
                  <a:lnTo>
                    <a:pt x="802" y="296"/>
                  </a:lnTo>
                  <a:lnTo>
                    <a:pt x="811" y="302"/>
                  </a:lnTo>
                  <a:lnTo>
                    <a:pt x="833" y="322"/>
                  </a:lnTo>
                  <a:lnTo>
                    <a:pt x="853" y="316"/>
                  </a:lnTo>
                  <a:lnTo>
                    <a:pt x="863" y="332"/>
                  </a:lnTo>
                  <a:lnTo>
                    <a:pt x="876" y="338"/>
                  </a:lnTo>
                  <a:lnTo>
                    <a:pt x="878" y="352"/>
                  </a:lnTo>
                  <a:lnTo>
                    <a:pt x="933" y="376"/>
                  </a:lnTo>
                  <a:lnTo>
                    <a:pt x="951" y="393"/>
                  </a:lnTo>
                  <a:lnTo>
                    <a:pt x="946" y="403"/>
                  </a:lnTo>
                  <a:lnTo>
                    <a:pt x="927" y="411"/>
                  </a:lnTo>
                  <a:lnTo>
                    <a:pt x="918" y="421"/>
                  </a:lnTo>
                  <a:lnTo>
                    <a:pt x="911" y="422"/>
                  </a:lnTo>
                  <a:lnTo>
                    <a:pt x="903" y="421"/>
                  </a:lnTo>
                  <a:lnTo>
                    <a:pt x="897" y="425"/>
                  </a:lnTo>
                  <a:lnTo>
                    <a:pt x="890" y="432"/>
                  </a:lnTo>
                  <a:lnTo>
                    <a:pt x="874" y="434"/>
                  </a:lnTo>
                  <a:lnTo>
                    <a:pt x="844" y="445"/>
                  </a:lnTo>
                  <a:lnTo>
                    <a:pt x="828" y="435"/>
                  </a:lnTo>
                  <a:lnTo>
                    <a:pt x="785" y="413"/>
                  </a:lnTo>
                  <a:lnTo>
                    <a:pt x="767" y="406"/>
                  </a:lnTo>
                  <a:lnTo>
                    <a:pt x="755" y="406"/>
                  </a:lnTo>
                  <a:lnTo>
                    <a:pt x="747" y="408"/>
                  </a:lnTo>
                  <a:lnTo>
                    <a:pt x="748" y="416"/>
                  </a:lnTo>
                  <a:lnTo>
                    <a:pt x="741" y="419"/>
                  </a:lnTo>
                  <a:lnTo>
                    <a:pt x="734" y="419"/>
                  </a:lnTo>
                  <a:lnTo>
                    <a:pt x="712" y="408"/>
                  </a:lnTo>
                  <a:lnTo>
                    <a:pt x="679" y="392"/>
                  </a:lnTo>
                  <a:lnTo>
                    <a:pt x="671" y="372"/>
                  </a:lnTo>
                  <a:lnTo>
                    <a:pt x="661" y="371"/>
                  </a:lnTo>
                  <a:lnTo>
                    <a:pt x="639" y="363"/>
                  </a:lnTo>
                  <a:lnTo>
                    <a:pt x="622" y="359"/>
                  </a:lnTo>
                  <a:lnTo>
                    <a:pt x="608" y="356"/>
                  </a:lnTo>
                  <a:lnTo>
                    <a:pt x="609" y="342"/>
                  </a:lnTo>
                  <a:lnTo>
                    <a:pt x="616" y="323"/>
                  </a:lnTo>
                  <a:lnTo>
                    <a:pt x="626" y="307"/>
                  </a:lnTo>
                  <a:lnTo>
                    <a:pt x="632" y="305"/>
                  </a:lnTo>
                  <a:lnTo>
                    <a:pt x="632" y="302"/>
                  </a:lnTo>
                  <a:lnTo>
                    <a:pt x="629" y="295"/>
                  </a:lnTo>
                  <a:lnTo>
                    <a:pt x="623" y="295"/>
                  </a:lnTo>
                  <a:lnTo>
                    <a:pt x="622" y="290"/>
                  </a:lnTo>
                  <a:lnTo>
                    <a:pt x="622" y="285"/>
                  </a:lnTo>
                  <a:lnTo>
                    <a:pt x="621" y="277"/>
                  </a:lnTo>
                  <a:lnTo>
                    <a:pt x="618" y="272"/>
                  </a:lnTo>
                  <a:lnTo>
                    <a:pt x="609" y="267"/>
                  </a:lnTo>
                  <a:lnTo>
                    <a:pt x="573" y="302"/>
                  </a:lnTo>
                  <a:lnTo>
                    <a:pt x="549" y="325"/>
                  </a:lnTo>
                  <a:lnTo>
                    <a:pt x="546" y="329"/>
                  </a:lnTo>
                  <a:lnTo>
                    <a:pt x="546" y="332"/>
                  </a:lnTo>
                  <a:lnTo>
                    <a:pt x="545" y="339"/>
                  </a:lnTo>
                  <a:lnTo>
                    <a:pt x="539" y="345"/>
                  </a:lnTo>
                  <a:lnTo>
                    <a:pt x="527" y="360"/>
                  </a:lnTo>
                  <a:lnTo>
                    <a:pt x="530" y="366"/>
                  </a:lnTo>
                  <a:lnTo>
                    <a:pt x="532" y="369"/>
                  </a:lnTo>
                  <a:lnTo>
                    <a:pt x="532" y="375"/>
                  </a:lnTo>
                  <a:lnTo>
                    <a:pt x="530" y="381"/>
                  </a:lnTo>
                  <a:lnTo>
                    <a:pt x="530" y="386"/>
                  </a:lnTo>
                  <a:lnTo>
                    <a:pt x="530" y="392"/>
                  </a:lnTo>
                  <a:lnTo>
                    <a:pt x="527" y="398"/>
                  </a:lnTo>
                  <a:lnTo>
                    <a:pt x="523" y="406"/>
                  </a:lnTo>
                  <a:lnTo>
                    <a:pt x="513" y="413"/>
                  </a:lnTo>
                  <a:lnTo>
                    <a:pt x="500" y="418"/>
                  </a:lnTo>
                  <a:lnTo>
                    <a:pt x="495" y="422"/>
                  </a:lnTo>
                  <a:lnTo>
                    <a:pt x="492" y="428"/>
                  </a:lnTo>
                  <a:lnTo>
                    <a:pt x="492" y="435"/>
                  </a:lnTo>
                  <a:lnTo>
                    <a:pt x="496" y="441"/>
                  </a:lnTo>
                  <a:lnTo>
                    <a:pt x="502" y="442"/>
                  </a:lnTo>
                  <a:lnTo>
                    <a:pt x="505" y="445"/>
                  </a:lnTo>
                  <a:lnTo>
                    <a:pt x="503" y="449"/>
                  </a:lnTo>
                  <a:lnTo>
                    <a:pt x="499" y="454"/>
                  </a:lnTo>
                  <a:lnTo>
                    <a:pt x="499" y="456"/>
                  </a:lnTo>
                  <a:lnTo>
                    <a:pt x="502" y="464"/>
                  </a:lnTo>
                  <a:lnTo>
                    <a:pt x="503" y="464"/>
                  </a:lnTo>
                  <a:lnTo>
                    <a:pt x="507" y="462"/>
                  </a:lnTo>
                  <a:lnTo>
                    <a:pt x="530" y="441"/>
                  </a:lnTo>
                  <a:lnTo>
                    <a:pt x="536" y="442"/>
                  </a:lnTo>
                  <a:lnTo>
                    <a:pt x="543" y="442"/>
                  </a:lnTo>
                  <a:lnTo>
                    <a:pt x="546" y="445"/>
                  </a:lnTo>
                  <a:lnTo>
                    <a:pt x="546" y="452"/>
                  </a:lnTo>
                  <a:lnTo>
                    <a:pt x="548" y="456"/>
                  </a:lnTo>
                  <a:lnTo>
                    <a:pt x="548" y="466"/>
                  </a:lnTo>
                  <a:lnTo>
                    <a:pt x="553" y="476"/>
                  </a:lnTo>
                  <a:lnTo>
                    <a:pt x="549" y="495"/>
                  </a:lnTo>
                  <a:lnTo>
                    <a:pt x="556" y="511"/>
                  </a:lnTo>
                  <a:lnTo>
                    <a:pt x="566" y="531"/>
                  </a:lnTo>
                  <a:lnTo>
                    <a:pt x="565" y="541"/>
                  </a:lnTo>
                  <a:lnTo>
                    <a:pt x="562" y="552"/>
                  </a:lnTo>
                  <a:lnTo>
                    <a:pt x="549" y="561"/>
                  </a:lnTo>
                  <a:lnTo>
                    <a:pt x="542" y="562"/>
                  </a:lnTo>
                  <a:lnTo>
                    <a:pt x="538" y="561"/>
                  </a:lnTo>
                  <a:lnTo>
                    <a:pt x="533" y="558"/>
                  </a:lnTo>
                  <a:lnTo>
                    <a:pt x="529" y="558"/>
                  </a:lnTo>
                  <a:lnTo>
                    <a:pt x="520" y="560"/>
                  </a:lnTo>
                  <a:lnTo>
                    <a:pt x="505" y="550"/>
                  </a:lnTo>
                  <a:lnTo>
                    <a:pt x="499" y="550"/>
                  </a:lnTo>
                  <a:lnTo>
                    <a:pt x="497" y="550"/>
                  </a:lnTo>
                  <a:lnTo>
                    <a:pt x="497" y="552"/>
                  </a:lnTo>
                  <a:lnTo>
                    <a:pt x="500" y="557"/>
                  </a:lnTo>
                  <a:lnTo>
                    <a:pt x="497" y="561"/>
                  </a:lnTo>
                  <a:lnTo>
                    <a:pt x="487" y="571"/>
                  </a:lnTo>
                  <a:lnTo>
                    <a:pt x="472" y="572"/>
                  </a:lnTo>
                  <a:lnTo>
                    <a:pt x="467" y="572"/>
                  </a:lnTo>
                  <a:lnTo>
                    <a:pt x="464" y="575"/>
                  </a:lnTo>
                  <a:lnTo>
                    <a:pt x="470" y="582"/>
                  </a:lnTo>
                  <a:lnTo>
                    <a:pt x="469" y="591"/>
                  </a:lnTo>
                  <a:lnTo>
                    <a:pt x="474" y="595"/>
                  </a:lnTo>
                  <a:lnTo>
                    <a:pt x="480" y="594"/>
                  </a:lnTo>
                  <a:lnTo>
                    <a:pt x="483" y="592"/>
                  </a:lnTo>
                  <a:lnTo>
                    <a:pt x="486" y="595"/>
                  </a:lnTo>
                  <a:lnTo>
                    <a:pt x="485" y="600"/>
                  </a:lnTo>
                  <a:lnTo>
                    <a:pt x="479" y="601"/>
                  </a:lnTo>
                  <a:lnTo>
                    <a:pt x="466" y="597"/>
                  </a:lnTo>
                  <a:lnTo>
                    <a:pt x="457" y="592"/>
                  </a:lnTo>
                  <a:lnTo>
                    <a:pt x="452" y="595"/>
                  </a:lnTo>
                  <a:lnTo>
                    <a:pt x="449" y="597"/>
                  </a:lnTo>
                  <a:lnTo>
                    <a:pt x="446" y="603"/>
                  </a:lnTo>
                  <a:lnTo>
                    <a:pt x="447" y="607"/>
                  </a:lnTo>
                  <a:lnTo>
                    <a:pt x="453" y="621"/>
                  </a:lnTo>
                  <a:lnTo>
                    <a:pt x="456" y="631"/>
                  </a:lnTo>
                  <a:lnTo>
                    <a:pt x="433" y="648"/>
                  </a:lnTo>
                  <a:lnTo>
                    <a:pt x="429" y="651"/>
                  </a:lnTo>
                  <a:lnTo>
                    <a:pt x="409" y="643"/>
                  </a:lnTo>
                  <a:lnTo>
                    <a:pt x="403" y="654"/>
                  </a:lnTo>
                  <a:lnTo>
                    <a:pt x="417" y="658"/>
                  </a:lnTo>
                  <a:lnTo>
                    <a:pt x="424" y="661"/>
                  </a:lnTo>
                  <a:lnTo>
                    <a:pt x="423" y="666"/>
                  </a:lnTo>
                  <a:lnTo>
                    <a:pt x="413" y="664"/>
                  </a:lnTo>
                  <a:lnTo>
                    <a:pt x="401" y="661"/>
                  </a:lnTo>
                  <a:lnTo>
                    <a:pt x="390" y="678"/>
                  </a:lnTo>
                  <a:lnTo>
                    <a:pt x="403" y="686"/>
                  </a:lnTo>
                  <a:lnTo>
                    <a:pt x="394" y="697"/>
                  </a:lnTo>
                  <a:lnTo>
                    <a:pt x="383" y="703"/>
                  </a:lnTo>
                  <a:lnTo>
                    <a:pt x="374" y="706"/>
                  </a:lnTo>
                  <a:lnTo>
                    <a:pt x="364" y="711"/>
                  </a:lnTo>
                  <a:lnTo>
                    <a:pt x="356" y="730"/>
                  </a:lnTo>
                  <a:lnTo>
                    <a:pt x="348" y="731"/>
                  </a:lnTo>
                  <a:lnTo>
                    <a:pt x="340" y="734"/>
                  </a:lnTo>
                  <a:lnTo>
                    <a:pt x="331" y="734"/>
                  </a:lnTo>
                  <a:lnTo>
                    <a:pt x="321" y="733"/>
                  </a:lnTo>
                  <a:lnTo>
                    <a:pt x="316" y="729"/>
                  </a:lnTo>
                  <a:lnTo>
                    <a:pt x="308" y="719"/>
                  </a:lnTo>
                  <a:lnTo>
                    <a:pt x="303" y="703"/>
                  </a:lnTo>
                  <a:lnTo>
                    <a:pt x="301" y="694"/>
                  </a:lnTo>
                  <a:lnTo>
                    <a:pt x="297" y="690"/>
                  </a:lnTo>
                  <a:lnTo>
                    <a:pt x="291" y="686"/>
                  </a:lnTo>
                  <a:lnTo>
                    <a:pt x="284" y="680"/>
                  </a:lnTo>
                  <a:lnTo>
                    <a:pt x="277" y="674"/>
                  </a:lnTo>
                  <a:lnTo>
                    <a:pt x="275" y="670"/>
                  </a:lnTo>
                  <a:lnTo>
                    <a:pt x="273" y="667"/>
                  </a:lnTo>
                  <a:lnTo>
                    <a:pt x="270" y="666"/>
                  </a:lnTo>
                  <a:lnTo>
                    <a:pt x="264" y="667"/>
                  </a:lnTo>
                  <a:lnTo>
                    <a:pt x="263" y="667"/>
                  </a:lnTo>
                  <a:lnTo>
                    <a:pt x="260" y="666"/>
                  </a:lnTo>
                  <a:lnTo>
                    <a:pt x="255" y="663"/>
                  </a:lnTo>
                  <a:lnTo>
                    <a:pt x="254" y="656"/>
                  </a:lnTo>
                  <a:lnTo>
                    <a:pt x="251" y="650"/>
                  </a:lnTo>
                  <a:lnTo>
                    <a:pt x="247" y="645"/>
                  </a:lnTo>
                  <a:lnTo>
                    <a:pt x="244" y="645"/>
                  </a:lnTo>
                  <a:lnTo>
                    <a:pt x="244" y="645"/>
                  </a:lnTo>
                  <a:lnTo>
                    <a:pt x="240" y="648"/>
                  </a:lnTo>
                  <a:lnTo>
                    <a:pt x="238" y="653"/>
                  </a:lnTo>
                  <a:lnTo>
                    <a:pt x="238" y="657"/>
                  </a:lnTo>
                  <a:lnTo>
                    <a:pt x="237" y="663"/>
                  </a:lnTo>
                  <a:lnTo>
                    <a:pt x="235" y="664"/>
                  </a:lnTo>
                  <a:lnTo>
                    <a:pt x="232" y="664"/>
                  </a:lnTo>
                  <a:lnTo>
                    <a:pt x="228" y="663"/>
                  </a:lnTo>
                  <a:lnTo>
                    <a:pt x="228" y="657"/>
                  </a:lnTo>
                  <a:lnTo>
                    <a:pt x="228" y="653"/>
                  </a:lnTo>
                  <a:lnTo>
                    <a:pt x="225" y="648"/>
                  </a:lnTo>
                  <a:lnTo>
                    <a:pt x="218" y="645"/>
                  </a:lnTo>
                  <a:lnTo>
                    <a:pt x="212" y="647"/>
                  </a:lnTo>
                  <a:lnTo>
                    <a:pt x="218" y="645"/>
                  </a:lnTo>
                  <a:lnTo>
                    <a:pt x="204" y="624"/>
                  </a:lnTo>
                  <a:lnTo>
                    <a:pt x="197" y="625"/>
                  </a:lnTo>
                  <a:lnTo>
                    <a:pt x="191" y="614"/>
                  </a:lnTo>
                  <a:lnTo>
                    <a:pt x="200" y="610"/>
                  </a:lnTo>
                  <a:lnTo>
                    <a:pt x="198" y="604"/>
                  </a:lnTo>
                  <a:lnTo>
                    <a:pt x="197" y="597"/>
                  </a:lnTo>
                  <a:lnTo>
                    <a:pt x="194" y="594"/>
                  </a:lnTo>
                  <a:lnTo>
                    <a:pt x="188" y="588"/>
                  </a:lnTo>
                  <a:lnTo>
                    <a:pt x="187" y="584"/>
                  </a:lnTo>
                  <a:lnTo>
                    <a:pt x="187" y="582"/>
                  </a:lnTo>
                  <a:lnTo>
                    <a:pt x="189" y="578"/>
                  </a:lnTo>
                  <a:lnTo>
                    <a:pt x="195" y="574"/>
                  </a:lnTo>
                  <a:lnTo>
                    <a:pt x="195" y="571"/>
                  </a:lnTo>
                  <a:lnTo>
                    <a:pt x="195" y="568"/>
                  </a:lnTo>
                  <a:lnTo>
                    <a:pt x="192" y="565"/>
                  </a:lnTo>
                  <a:lnTo>
                    <a:pt x="179" y="565"/>
                  </a:lnTo>
                  <a:lnTo>
                    <a:pt x="172" y="565"/>
                  </a:lnTo>
                  <a:lnTo>
                    <a:pt x="169" y="564"/>
                  </a:lnTo>
                  <a:lnTo>
                    <a:pt x="168" y="554"/>
                  </a:lnTo>
                  <a:lnTo>
                    <a:pt x="159" y="554"/>
                  </a:lnTo>
                  <a:lnTo>
                    <a:pt x="154" y="551"/>
                  </a:lnTo>
                  <a:lnTo>
                    <a:pt x="148" y="544"/>
                  </a:lnTo>
                  <a:lnTo>
                    <a:pt x="137" y="522"/>
                  </a:lnTo>
                  <a:lnTo>
                    <a:pt x="135" y="517"/>
                  </a:lnTo>
                  <a:lnTo>
                    <a:pt x="135" y="511"/>
                  </a:lnTo>
                  <a:lnTo>
                    <a:pt x="139" y="505"/>
                  </a:lnTo>
                  <a:lnTo>
                    <a:pt x="139" y="499"/>
                  </a:lnTo>
                  <a:lnTo>
                    <a:pt x="138" y="495"/>
                  </a:lnTo>
                  <a:lnTo>
                    <a:pt x="132" y="492"/>
                  </a:lnTo>
                  <a:lnTo>
                    <a:pt x="129" y="491"/>
                  </a:lnTo>
                  <a:lnTo>
                    <a:pt x="119" y="485"/>
                  </a:lnTo>
                  <a:lnTo>
                    <a:pt x="119" y="482"/>
                  </a:lnTo>
                  <a:lnTo>
                    <a:pt x="119" y="479"/>
                  </a:lnTo>
                  <a:lnTo>
                    <a:pt x="118" y="478"/>
                  </a:lnTo>
                  <a:lnTo>
                    <a:pt x="115" y="476"/>
                  </a:lnTo>
                  <a:lnTo>
                    <a:pt x="112" y="476"/>
                  </a:lnTo>
                  <a:lnTo>
                    <a:pt x="105" y="474"/>
                  </a:lnTo>
                  <a:lnTo>
                    <a:pt x="104" y="471"/>
                  </a:lnTo>
                  <a:lnTo>
                    <a:pt x="104" y="468"/>
                  </a:lnTo>
                  <a:lnTo>
                    <a:pt x="105" y="464"/>
                  </a:lnTo>
                  <a:lnTo>
                    <a:pt x="102" y="461"/>
                  </a:lnTo>
                  <a:lnTo>
                    <a:pt x="96" y="458"/>
                  </a:lnTo>
                  <a:lnTo>
                    <a:pt x="89" y="458"/>
                  </a:lnTo>
                  <a:lnTo>
                    <a:pt x="81" y="461"/>
                  </a:lnTo>
                  <a:lnTo>
                    <a:pt x="78" y="461"/>
                  </a:lnTo>
                  <a:lnTo>
                    <a:pt x="76" y="459"/>
                  </a:lnTo>
                  <a:lnTo>
                    <a:pt x="75" y="455"/>
                  </a:lnTo>
                  <a:lnTo>
                    <a:pt x="75" y="451"/>
                  </a:lnTo>
                  <a:lnTo>
                    <a:pt x="73" y="438"/>
                  </a:lnTo>
                  <a:lnTo>
                    <a:pt x="71" y="435"/>
                  </a:lnTo>
                  <a:lnTo>
                    <a:pt x="68" y="434"/>
                  </a:lnTo>
                  <a:lnTo>
                    <a:pt x="59" y="435"/>
                  </a:lnTo>
                  <a:lnTo>
                    <a:pt x="51" y="436"/>
                  </a:lnTo>
                  <a:lnTo>
                    <a:pt x="46" y="435"/>
                  </a:lnTo>
                  <a:lnTo>
                    <a:pt x="43" y="434"/>
                  </a:lnTo>
                  <a:lnTo>
                    <a:pt x="41" y="428"/>
                  </a:lnTo>
                  <a:lnTo>
                    <a:pt x="38" y="415"/>
                  </a:lnTo>
                  <a:lnTo>
                    <a:pt x="36" y="403"/>
                  </a:lnTo>
                  <a:lnTo>
                    <a:pt x="36" y="395"/>
                  </a:lnTo>
                  <a:lnTo>
                    <a:pt x="38" y="392"/>
                  </a:lnTo>
                  <a:lnTo>
                    <a:pt x="39" y="388"/>
                  </a:lnTo>
                  <a:lnTo>
                    <a:pt x="41" y="383"/>
                  </a:lnTo>
                  <a:lnTo>
                    <a:pt x="42" y="382"/>
                  </a:lnTo>
                  <a:lnTo>
                    <a:pt x="41" y="381"/>
                  </a:lnTo>
                  <a:lnTo>
                    <a:pt x="35" y="376"/>
                  </a:lnTo>
                  <a:lnTo>
                    <a:pt x="10" y="362"/>
                  </a:lnTo>
                  <a:lnTo>
                    <a:pt x="5" y="358"/>
                  </a:lnTo>
                  <a:lnTo>
                    <a:pt x="2" y="353"/>
                  </a:lnTo>
                  <a:lnTo>
                    <a:pt x="0" y="352"/>
                  </a:lnTo>
                  <a:lnTo>
                    <a:pt x="3" y="349"/>
                  </a:lnTo>
                  <a:lnTo>
                    <a:pt x="5" y="349"/>
                  </a:lnTo>
                  <a:lnTo>
                    <a:pt x="6" y="349"/>
                  </a:lnTo>
                  <a:lnTo>
                    <a:pt x="9" y="349"/>
                  </a:lnTo>
                  <a:lnTo>
                    <a:pt x="10" y="349"/>
                  </a:lnTo>
                  <a:lnTo>
                    <a:pt x="10" y="348"/>
                  </a:lnTo>
                  <a:lnTo>
                    <a:pt x="10" y="346"/>
                  </a:lnTo>
                  <a:lnTo>
                    <a:pt x="8" y="342"/>
                  </a:lnTo>
                  <a:lnTo>
                    <a:pt x="8" y="336"/>
                  </a:lnTo>
                  <a:lnTo>
                    <a:pt x="8" y="326"/>
                  </a:lnTo>
                  <a:lnTo>
                    <a:pt x="9" y="316"/>
                  </a:lnTo>
                  <a:lnTo>
                    <a:pt x="18" y="302"/>
                  </a:lnTo>
                  <a:lnTo>
                    <a:pt x="23" y="290"/>
                  </a:lnTo>
                  <a:lnTo>
                    <a:pt x="25" y="282"/>
                  </a:lnTo>
                  <a:lnTo>
                    <a:pt x="26" y="282"/>
                  </a:lnTo>
                  <a:lnTo>
                    <a:pt x="32" y="286"/>
                  </a:lnTo>
                  <a:lnTo>
                    <a:pt x="41" y="289"/>
                  </a:lnTo>
                  <a:lnTo>
                    <a:pt x="43" y="289"/>
                  </a:lnTo>
                  <a:lnTo>
                    <a:pt x="48" y="286"/>
                  </a:lnTo>
                  <a:lnTo>
                    <a:pt x="52" y="279"/>
                  </a:lnTo>
                  <a:lnTo>
                    <a:pt x="52" y="276"/>
                  </a:lnTo>
                  <a:lnTo>
                    <a:pt x="52" y="273"/>
                  </a:lnTo>
                  <a:lnTo>
                    <a:pt x="46" y="266"/>
                  </a:lnTo>
                  <a:lnTo>
                    <a:pt x="48" y="260"/>
                  </a:lnTo>
                  <a:lnTo>
                    <a:pt x="52" y="247"/>
                  </a:lnTo>
                  <a:lnTo>
                    <a:pt x="61" y="229"/>
                  </a:lnTo>
                  <a:lnTo>
                    <a:pt x="63" y="223"/>
                  </a:lnTo>
                  <a:lnTo>
                    <a:pt x="65" y="217"/>
                  </a:lnTo>
                  <a:lnTo>
                    <a:pt x="63" y="212"/>
                  </a:lnTo>
                  <a:lnTo>
                    <a:pt x="65" y="207"/>
                  </a:lnTo>
                  <a:lnTo>
                    <a:pt x="65" y="202"/>
                  </a:lnTo>
                  <a:lnTo>
                    <a:pt x="68" y="193"/>
                  </a:lnTo>
                  <a:lnTo>
                    <a:pt x="75" y="184"/>
                  </a:lnTo>
                  <a:lnTo>
                    <a:pt x="92" y="174"/>
                  </a:lnTo>
                  <a:lnTo>
                    <a:pt x="96" y="171"/>
                  </a:lnTo>
                  <a:lnTo>
                    <a:pt x="95" y="170"/>
                  </a:lnTo>
                  <a:lnTo>
                    <a:pt x="95" y="167"/>
                  </a:lnTo>
                  <a:lnTo>
                    <a:pt x="92" y="164"/>
                  </a:lnTo>
                  <a:lnTo>
                    <a:pt x="89" y="160"/>
                  </a:lnTo>
                  <a:lnTo>
                    <a:pt x="88" y="156"/>
                  </a:lnTo>
                  <a:lnTo>
                    <a:pt x="89" y="154"/>
                  </a:lnTo>
                  <a:lnTo>
                    <a:pt x="96" y="153"/>
                  </a:lnTo>
                  <a:lnTo>
                    <a:pt x="114" y="154"/>
                  </a:lnTo>
                  <a:lnTo>
                    <a:pt x="139" y="154"/>
                  </a:lnTo>
                  <a:lnTo>
                    <a:pt x="145" y="154"/>
                  </a:lnTo>
                  <a:lnTo>
                    <a:pt x="147" y="156"/>
                  </a:lnTo>
                  <a:lnTo>
                    <a:pt x="147" y="160"/>
                  </a:lnTo>
                  <a:lnTo>
                    <a:pt x="145" y="166"/>
                  </a:lnTo>
                  <a:lnTo>
                    <a:pt x="145" y="170"/>
                  </a:lnTo>
                  <a:lnTo>
                    <a:pt x="147" y="170"/>
                  </a:lnTo>
                  <a:lnTo>
                    <a:pt x="155" y="170"/>
                  </a:lnTo>
                  <a:lnTo>
                    <a:pt x="157" y="167"/>
                  </a:lnTo>
                  <a:lnTo>
                    <a:pt x="162" y="163"/>
                  </a:lnTo>
                  <a:lnTo>
                    <a:pt x="171" y="159"/>
                  </a:lnTo>
                  <a:lnTo>
                    <a:pt x="177" y="160"/>
                  </a:lnTo>
                  <a:lnTo>
                    <a:pt x="181" y="160"/>
                  </a:lnTo>
                  <a:lnTo>
                    <a:pt x="195" y="157"/>
                  </a:lnTo>
                  <a:lnTo>
                    <a:pt x="198" y="157"/>
                  </a:lnTo>
                  <a:lnTo>
                    <a:pt x="207" y="160"/>
                  </a:lnTo>
                  <a:lnTo>
                    <a:pt x="215" y="161"/>
                  </a:lnTo>
                  <a:lnTo>
                    <a:pt x="218" y="161"/>
                  </a:lnTo>
                  <a:lnTo>
                    <a:pt x="220" y="156"/>
                  </a:lnTo>
                  <a:lnTo>
                    <a:pt x="220" y="150"/>
                  </a:lnTo>
                  <a:lnTo>
                    <a:pt x="225" y="120"/>
                  </a:lnTo>
                  <a:lnTo>
                    <a:pt x="227" y="108"/>
                  </a:lnTo>
                  <a:lnTo>
                    <a:pt x="231" y="97"/>
                  </a:lnTo>
                  <a:lnTo>
                    <a:pt x="248" y="64"/>
                  </a:lnTo>
                  <a:lnTo>
                    <a:pt x="247" y="64"/>
                  </a:lnTo>
                  <a:lnTo>
                    <a:pt x="247" y="64"/>
                  </a:lnTo>
                  <a:close/>
                  <a:moveTo>
                    <a:pt x="460" y="582"/>
                  </a:moveTo>
                  <a:lnTo>
                    <a:pt x="460" y="582"/>
                  </a:lnTo>
                  <a:lnTo>
                    <a:pt x="462" y="580"/>
                  </a:lnTo>
                  <a:lnTo>
                    <a:pt x="460" y="577"/>
                  </a:lnTo>
                  <a:lnTo>
                    <a:pt x="460" y="577"/>
                  </a:lnTo>
                  <a:lnTo>
                    <a:pt x="459" y="577"/>
                  </a:lnTo>
                  <a:lnTo>
                    <a:pt x="459" y="577"/>
                  </a:lnTo>
                  <a:lnTo>
                    <a:pt x="456" y="575"/>
                  </a:lnTo>
                  <a:lnTo>
                    <a:pt x="456" y="575"/>
                  </a:lnTo>
                  <a:lnTo>
                    <a:pt x="454" y="575"/>
                  </a:lnTo>
                  <a:lnTo>
                    <a:pt x="454" y="575"/>
                  </a:lnTo>
                  <a:lnTo>
                    <a:pt x="453" y="577"/>
                  </a:lnTo>
                  <a:lnTo>
                    <a:pt x="453" y="578"/>
                  </a:lnTo>
                  <a:lnTo>
                    <a:pt x="453" y="581"/>
                  </a:lnTo>
                  <a:lnTo>
                    <a:pt x="453" y="581"/>
                  </a:lnTo>
                  <a:lnTo>
                    <a:pt x="456" y="582"/>
                  </a:lnTo>
                  <a:lnTo>
                    <a:pt x="456" y="582"/>
                  </a:lnTo>
                  <a:lnTo>
                    <a:pt x="456" y="582"/>
                  </a:lnTo>
                  <a:lnTo>
                    <a:pt x="456" y="582"/>
                  </a:lnTo>
                  <a:lnTo>
                    <a:pt x="459" y="584"/>
                  </a:lnTo>
                  <a:lnTo>
                    <a:pt x="460" y="582"/>
                  </a:lnTo>
                  <a:lnTo>
                    <a:pt x="460" y="582"/>
                  </a:lnTo>
                  <a:close/>
                  <a:moveTo>
                    <a:pt x="436" y="633"/>
                  </a:moveTo>
                  <a:lnTo>
                    <a:pt x="436" y="633"/>
                  </a:lnTo>
                  <a:lnTo>
                    <a:pt x="433" y="630"/>
                  </a:lnTo>
                  <a:lnTo>
                    <a:pt x="432" y="630"/>
                  </a:lnTo>
                  <a:lnTo>
                    <a:pt x="430" y="631"/>
                  </a:lnTo>
                  <a:lnTo>
                    <a:pt x="430" y="631"/>
                  </a:lnTo>
                  <a:lnTo>
                    <a:pt x="429" y="633"/>
                  </a:lnTo>
                  <a:lnTo>
                    <a:pt x="429" y="633"/>
                  </a:lnTo>
                  <a:lnTo>
                    <a:pt x="427" y="635"/>
                  </a:lnTo>
                  <a:lnTo>
                    <a:pt x="427" y="635"/>
                  </a:lnTo>
                  <a:lnTo>
                    <a:pt x="426" y="637"/>
                  </a:lnTo>
                  <a:lnTo>
                    <a:pt x="426" y="637"/>
                  </a:lnTo>
                  <a:lnTo>
                    <a:pt x="427" y="638"/>
                  </a:lnTo>
                  <a:lnTo>
                    <a:pt x="429" y="640"/>
                  </a:lnTo>
                  <a:lnTo>
                    <a:pt x="433" y="640"/>
                  </a:lnTo>
                  <a:lnTo>
                    <a:pt x="433" y="640"/>
                  </a:lnTo>
                  <a:lnTo>
                    <a:pt x="434" y="637"/>
                  </a:lnTo>
                  <a:lnTo>
                    <a:pt x="434" y="637"/>
                  </a:lnTo>
                  <a:lnTo>
                    <a:pt x="436" y="637"/>
                  </a:lnTo>
                  <a:lnTo>
                    <a:pt x="436" y="637"/>
                  </a:lnTo>
                  <a:lnTo>
                    <a:pt x="437" y="634"/>
                  </a:lnTo>
                  <a:lnTo>
                    <a:pt x="436" y="633"/>
                  </a:lnTo>
                  <a:lnTo>
                    <a:pt x="436" y="633"/>
                  </a:lnTo>
                  <a:close/>
                  <a:moveTo>
                    <a:pt x="489" y="613"/>
                  </a:moveTo>
                  <a:lnTo>
                    <a:pt x="489" y="613"/>
                  </a:lnTo>
                  <a:lnTo>
                    <a:pt x="490" y="610"/>
                  </a:lnTo>
                  <a:lnTo>
                    <a:pt x="490" y="608"/>
                  </a:lnTo>
                  <a:lnTo>
                    <a:pt x="489" y="607"/>
                  </a:lnTo>
                  <a:lnTo>
                    <a:pt x="489" y="607"/>
                  </a:lnTo>
                  <a:lnTo>
                    <a:pt x="486" y="607"/>
                  </a:lnTo>
                  <a:lnTo>
                    <a:pt x="486" y="607"/>
                  </a:lnTo>
                  <a:lnTo>
                    <a:pt x="483" y="607"/>
                  </a:lnTo>
                  <a:lnTo>
                    <a:pt x="483" y="607"/>
                  </a:lnTo>
                  <a:lnTo>
                    <a:pt x="482" y="605"/>
                  </a:lnTo>
                  <a:lnTo>
                    <a:pt x="482" y="605"/>
                  </a:lnTo>
                  <a:lnTo>
                    <a:pt x="480" y="607"/>
                  </a:lnTo>
                  <a:lnTo>
                    <a:pt x="480" y="610"/>
                  </a:lnTo>
                  <a:lnTo>
                    <a:pt x="482" y="613"/>
                  </a:lnTo>
                  <a:lnTo>
                    <a:pt x="482" y="613"/>
                  </a:lnTo>
                  <a:lnTo>
                    <a:pt x="485" y="614"/>
                  </a:lnTo>
                  <a:lnTo>
                    <a:pt x="485" y="614"/>
                  </a:lnTo>
                  <a:lnTo>
                    <a:pt x="486" y="614"/>
                  </a:lnTo>
                  <a:lnTo>
                    <a:pt x="486" y="614"/>
                  </a:lnTo>
                  <a:lnTo>
                    <a:pt x="489" y="613"/>
                  </a:lnTo>
                  <a:lnTo>
                    <a:pt x="489" y="613"/>
                  </a:lnTo>
                  <a:close/>
                  <a:moveTo>
                    <a:pt x="426" y="647"/>
                  </a:moveTo>
                  <a:lnTo>
                    <a:pt x="427" y="645"/>
                  </a:lnTo>
                  <a:lnTo>
                    <a:pt x="427" y="645"/>
                  </a:lnTo>
                  <a:lnTo>
                    <a:pt x="429" y="644"/>
                  </a:lnTo>
                  <a:lnTo>
                    <a:pt x="427" y="641"/>
                  </a:lnTo>
                  <a:lnTo>
                    <a:pt x="427" y="641"/>
                  </a:lnTo>
                  <a:lnTo>
                    <a:pt x="426" y="641"/>
                  </a:lnTo>
                  <a:lnTo>
                    <a:pt x="426" y="641"/>
                  </a:lnTo>
                  <a:lnTo>
                    <a:pt x="423" y="640"/>
                  </a:lnTo>
                  <a:lnTo>
                    <a:pt x="423" y="640"/>
                  </a:lnTo>
                  <a:lnTo>
                    <a:pt x="422" y="640"/>
                  </a:lnTo>
                  <a:lnTo>
                    <a:pt x="422" y="640"/>
                  </a:lnTo>
                  <a:lnTo>
                    <a:pt x="420" y="643"/>
                  </a:lnTo>
                  <a:lnTo>
                    <a:pt x="422" y="645"/>
                  </a:lnTo>
                  <a:lnTo>
                    <a:pt x="422" y="645"/>
                  </a:lnTo>
                  <a:lnTo>
                    <a:pt x="423" y="645"/>
                  </a:lnTo>
                  <a:lnTo>
                    <a:pt x="423" y="645"/>
                  </a:lnTo>
                  <a:lnTo>
                    <a:pt x="424" y="647"/>
                  </a:lnTo>
                  <a:lnTo>
                    <a:pt x="424" y="647"/>
                  </a:lnTo>
                  <a:lnTo>
                    <a:pt x="426" y="647"/>
                  </a:lnTo>
                  <a:lnTo>
                    <a:pt x="426" y="64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44" name="Freeform 191"/>
            <p:cNvSpPr>
              <a:spLocks noEditPoints="1"/>
            </p:cNvSpPr>
            <p:nvPr/>
          </p:nvSpPr>
          <p:spPr bwMode="auto">
            <a:xfrm>
              <a:off x="3767259" y="4216897"/>
              <a:ext cx="581264" cy="486829"/>
            </a:xfrm>
            <a:custGeom>
              <a:avLst/>
              <a:gdLst>
                <a:gd name="T0" fmla="*/ 337 w 951"/>
                <a:gd name="T1" fmla="*/ 51 h 734"/>
                <a:gd name="T2" fmla="*/ 434 w 951"/>
                <a:gd name="T3" fmla="*/ 61 h 734"/>
                <a:gd name="T4" fmla="*/ 589 w 951"/>
                <a:gd name="T5" fmla="*/ 22 h 734"/>
                <a:gd name="T6" fmla="*/ 619 w 951"/>
                <a:gd name="T7" fmla="*/ 12 h 734"/>
                <a:gd name="T8" fmla="*/ 656 w 951"/>
                <a:gd name="T9" fmla="*/ 34 h 734"/>
                <a:gd name="T10" fmla="*/ 728 w 951"/>
                <a:gd name="T11" fmla="*/ 98 h 734"/>
                <a:gd name="T12" fmla="*/ 781 w 951"/>
                <a:gd name="T13" fmla="*/ 214 h 734"/>
                <a:gd name="T14" fmla="*/ 812 w 951"/>
                <a:gd name="T15" fmla="*/ 247 h 734"/>
                <a:gd name="T16" fmla="*/ 804 w 951"/>
                <a:gd name="T17" fmla="*/ 287 h 734"/>
                <a:gd name="T18" fmla="*/ 863 w 951"/>
                <a:gd name="T19" fmla="*/ 332 h 734"/>
                <a:gd name="T20" fmla="*/ 911 w 951"/>
                <a:gd name="T21" fmla="*/ 422 h 734"/>
                <a:gd name="T22" fmla="*/ 767 w 951"/>
                <a:gd name="T23" fmla="*/ 406 h 734"/>
                <a:gd name="T24" fmla="*/ 671 w 951"/>
                <a:gd name="T25" fmla="*/ 372 h 734"/>
                <a:gd name="T26" fmla="*/ 632 w 951"/>
                <a:gd name="T27" fmla="*/ 305 h 734"/>
                <a:gd name="T28" fmla="*/ 609 w 951"/>
                <a:gd name="T29" fmla="*/ 267 h 734"/>
                <a:gd name="T30" fmla="*/ 530 w 951"/>
                <a:gd name="T31" fmla="*/ 366 h 734"/>
                <a:gd name="T32" fmla="*/ 513 w 951"/>
                <a:gd name="T33" fmla="*/ 413 h 734"/>
                <a:gd name="T34" fmla="*/ 503 w 951"/>
                <a:gd name="T35" fmla="*/ 449 h 734"/>
                <a:gd name="T36" fmla="*/ 543 w 951"/>
                <a:gd name="T37" fmla="*/ 442 h 734"/>
                <a:gd name="T38" fmla="*/ 566 w 951"/>
                <a:gd name="T39" fmla="*/ 531 h 734"/>
                <a:gd name="T40" fmla="*/ 520 w 951"/>
                <a:gd name="T41" fmla="*/ 560 h 734"/>
                <a:gd name="T42" fmla="*/ 472 w 951"/>
                <a:gd name="T43" fmla="*/ 572 h 734"/>
                <a:gd name="T44" fmla="*/ 486 w 951"/>
                <a:gd name="T45" fmla="*/ 595 h 734"/>
                <a:gd name="T46" fmla="*/ 447 w 951"/>
                <a:gd name="T47" fmla="*/ 607 h 734"/>
                <a:gd name="T48" fmla="*/ 424 w 951"/>
                <a:gd name="T49" fmla="*/ 661 h 734"/>
                <a:gd name="T50" fmla="*/ 374 w 951"/>
                <a:gd name="T51" fmla="*/ 706 h 734"/>
                <a:gd name="T52" fmla="*/ 308 w 951"/>
                <a:gd name="T53" fmla="*/ 719 h 734"/>
                <a:gd name="T54" fmla="*/ 273 w 951"/>
                <a:gd name="T55" fmla="*/ 667 h 734"/>
                <a:gd name="T56" fmla="*/ 247 w 951"/>
                <a:gd name="T57" fmla="*/ 645 h 734"/>
                <a:gd name="T58" fmla="*/ 232 w 951"/>
                <a:gd name="T59" fmla="*/ 664 h 734"/>
                <a:gd name="T60" fmla="*/ 204 w 951"/>
                <a:gd name="T61" fmla="*/ 624 h 734"/>
                <a:gd name="T62" fmla="*/ 187 w 951"/>
                <a:gd name="T63" fmla="*/ 584 h 734"/>
                <a:gd name="T64" fmla="*/ 172 w 951"/>
                <a:gd name="T65" fmla="*/ 565 h 734"/>
                <a:gd name="T66" fmla="*/ 135 w 951"/>
                <a:gd name="T67" fmla="*/ 511 h 734"/>
                <a:gd name="T68" fmla="*/ 119 w 951"/>
                <a:gd name="T69" fmla="*/ 479 h 734"/>
                <a:gd name="T70" fmla="*/ 102 w 951"/>
                <a:gd name="T71" fmla="*/ 461 h 734"/>
                <a:gd name="T72" fmla="*/ 73 w 951"/>
                <a:gd name="T73" fmla="*/ 438 h 734"/>
                <a:gd name="T74" fmla="*/ 38 w 951"/>
                <a:gd name="T75" fmla="*/ 415 h 734"/>
                <a:gd name="T76" fmla="*/ 35 w 951"/>
                <a:gd name="T77" fmla="*/ 376 h 734"/>
                <a:gd name="T78" fmla="*/ 9 w 951"/>
                <a:gd name="T79" fmla="*/ 349 h 734"/>
                <a:gd name="T80" fmla="*/ 18 w 951"/>
                <a:gd name="T81" fmla="*/ 302 h 734"/>
                <a:gd name="T82" fmla="*/ 52 w 951"/>
                <a:gd name="T83" fmla="*/ 279 h 734"/>
                <a:gd name="T84" fmla="*/ 65 w 951"/>
                <a:gd name="T85" fmla="*/ 217 h 734"/>
                <a:gd name="T86" fmla="*/ 95 w 951"/>
                <a:gd name="T87" fmla="*/ 170 h 734"/>
                <a:gd name="T88" fmla="*/ 139 w 951"/>
                <a:gd name="T89" fmla="*/ 154 h 734"/>
                <a:gd name="T90" fmla="*/ 157 w 951"/>
                <a:gd name="T91" fmla="*/ 167 h 734"/>
                <a:gd name="T92" fmla="*/ 215 w 951"/>
                <a:gd name="T93" fmla="*/ 161 h 734"/>
                <a:gd name="T94" fmla="*/ 247 w 951"/>
                <a:gd name="T95" fmla="*/ 64 h 734"/>
                <a:gd name="T96" fmla="*/ 456 w 951"/>
                <a:gd name="T97" fmla="*/ 575 h 734"/>
                <a:gd name="T98" fmla="*/ 456 w 951"/>
                <a:gd name="T99" fmla="*/ 582 h 734"/>
                <a:gd name="T100" fmla="*/ 433 w 951"/>
                <a:gd name="T101" fmla="*/ 630 h 734"/>
                <a:gd name="T102" fmla="*/ 426 w 951"/>
                <a:gd name="T103" fmla="*/ 637 h 734"/>
                <a:gd name="T104" fmla="*/ 436 w 951"/>
                <a:gd name="T105" fmla="*/ 637 h 734"/>
                <a:gd name="T106" fmla="*/ 490 w 951"/>
                <a:gd name="T107" fmla="*/ 608 h 734"/>
                <a:gd name="T108" fmla="*/ 482 w 951"/>
                <a:gd name="T109" fmla="*/ 605 h 734"/>
                <a:gd name="T110" fmla="*/ 486 w 951"/>
                <a:gd name="T111" fmla="*/ 614 h 734"/>
                <a:gd name="T112" fmla="*/ 427 w 951"/>
                <a:gd name="T113" fmla="*/ 641 h 734"/>
                <a:gd name="T114" fmla="*/ 422 w 951"/>
                <a:gd name="T115" fmla="*/ 645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51" h="734">
                  <a:moveTo>
                    <a:pt x="247" y="64"/>
                  </a:moveTo>
                  <a:lnTo>
                    <a:pt x="273" y="87"/>
                  </a:lnTo>
                  <a:lnTo>
                    <a:pt x="278" y="88"/>
                  </a:lnTo>
                  <a:lnTo>
                    <a:pt x="297" y="93"/>
                  </a:lnTo>
                  <a:lnTo>
                    <a:pt x="311" y="94"/>
                  </a:lnTo>
                  <a:lnTo>
                    <a:pt x="327" y="57"/>
                  </a:lnTo>
                  <a:lnTo>
                    <a:pt x="330" y="53"/>
                  </a:lnTo>
                  <a:lnTo>
                    <a:pt x="337" y="51"/>
                  </a:lnTo>
                  <a:lnTo>
                    <a:pt x="354" y="54"/>
                  </a:lnTo>
                  <a:lnTo>
                    <a:pt x="356" y="70"/>
                  </a:lnTo>
                  <a:lnTo>
                    <a:pt x="376" y="64"/>
                  </a:lnTo>
                  <a:lnTo>
                    <a:pt x="396" y="65"/>
                  </a:lnTo>
                  <a:lnTo>
                    <a:pt x="404" y="67"/>
                  </a:lnTo>
                  <a:lnTo>
                    <a:pt x="416" y="58"/>
                  </a:lnTo>
                  <a:lnTo>
                    <a:pt x="423" y="57"/>
                  </a:lnTo>
                  <a:lnTo>
                    <a:pt x="434" y="61"/>
                  </a:lnTo>
                  <a:lnTo>
                    <a:pt x="457" y="68"/>
                  </a:lnTo>
                  <a:lnTo>
                    <a:pt x="467" y="70"/>
                  </a:lnTo>
                  <a:lnTo>
                    <a:pt x="479" y="65"/>
                  </a:lnTo>
                  <a:lnTo>
                    <a:pt x="489" y="57"/>
                  </a:lnTo>
                  <a:lnTo>
                    <a:pt x="510" y="31"/>
                  </a:lnTo>
                  <a:lnTo>
                    <a:pt x="525" y="43"/>
                  </a:lnTo>
                  <a:lnTo>
                    <a:pt x="586" y="33"/>
                  </a:lnTo>
                  <a:lnTo>
                    <a:pt x="589" y="22"/>
                  </a:lnTo>
                  <a:lnTo>
                    <a:pt x="588" y="17"/>
                  </a:lnTo>
                  <a:lnTo>
                    <a:pt x="575" y="7"/>
                  </a:lnTo>
                  <a:lnTo>
                    <a:pt x="575" y="5"/>
                  </a:lnTo>
                  <a:lnTo>
                    <a:pt x="575" y="4"/>
                  </a:lnTo>
                  <a:lnTo>
                    <a:pt x="582" y="1"/>
                  </a:lnTo>
                  <a:lnTo>
                    <a:pt x="606" y="0"/>
                  </a:lnTo>
                  <a:lnTo>
                    <a:pt x="612" y="7"/>
                  </a:lnTo>
                  <a:lnTo>
                    <a:pt x="619" y="12"/>
                  </a:lnTo>
                  <a:lnTo>
                    <a:pt x="619" y="18"/>
                  </a:lnTo>
                  <a:lnTo>
                    <a:pt x="616" y="24"/>
                  </a:lnTo>
                  <a:lnTo>
                    <a:pt x="615" y="28"/>
                  </a:lnTo>
                  <a:lnTo>
                    <a:pt x="622" y="30"/>
                  </a:lnTo>
                  <a:lnTo>
                    <a:pt x="631" y="31"/>
                  </a:lnTo>
                  <a:lnTo>
                    <a:pt x="641" y="28"/>
                  </a:lnTo>
                  <a:lnTo>
                    <a:pt x="649" y="30"/>
                  </a:lnTo>
                  <a:lnTo>
                    <a:pt x="656" y="34"/>
                  </a:lnTo>
                  <a:lnTo>
                    <a:pt x="664" y="48"/>
                  </a:lnTo>
                  <a:lnTo>
                    <a:pt x="668" y="55"/>
                  </a:lnTo>
                  <a:lnTo>
                    <a:pt x="678" y="65"/>
                  </a:lnTo>
                  <a:lnTo>
                    <a:pt x="689" y="70"/>
                  </a:lnTo>
                  <a:lnTo>
                    <a:pt x="702" y="70"/>
                  </a:lnTo>
                  <a:lnTo>
                    <a:pt x="721" y="90"/>
                  </a:lnTo>
                  <a:lnTo>
                    <a:pt x="732" y="87"/>
                  </a:lnTo>
                  <a:lnTo>
                    <a:pt x="728" y="98"/>
                  </a:lnTo>
                  <a:lnTo>
                    <a:pt x="745" y="120"/>
                  </a:lnTo>
                  <a:lnTo>
                    <a:pt x="748" y="130"/>
                  </a:lnTo>
                  <a:lnTo>
                    <a:pt x="757" y="137"/>
                  </a:lnTo>
                  <a:lnTo>
                    <a:pt x="757" y="153"/>
                  </a:lnTo>
                  <a:lnTo>
                    <a:pt x="771" y="161"/>
                  </a:lnTo>
                  <a:lnTo>
                    <a:pt x="772" y="173"/>
                  </a:lnTo>
                  <a:lnTo>
                    <a:pt x="785" y="207"/>
                  </a:lnTo>
                  <a:lnTo>
                    <a:pt x="781" y="214"/>
                  </a:lnTo>
                  <a:lnTo>
                    <a:pt x="780" y="219"/>
                  </a:lnTo>
                  <a:lnTo>
                    <a:pt x="782" y="224"/>
                  </a:lnTo>
                  <a:lnTo>
                    <a:pt x="782" y="232"/>
                  </a:lnTo>
                  <a:lnTo>
                    <a:pt x="781" y="234"/>
                  </a:lnTo>
                  <a:lnTo>
                    <a:pt x="787" y="242"/>
                  </a:lnTo>
                  <a:lnTo>
                    <a:pt x="795" y="244"/>
                  </a:lnTo>
                  <a:lnTo>
                    <a:pt x="807" y="244"/>
                  </a:lnTo>
                  <a:lnTo>
                    <a:pt x="812" y="247"/>
                  </a:lnTo>
                  <a:lnTo>
                    <a:pt x="814" y="252"/>
                  </a:lnTo>
                  <a:lnTo>
                    <a:pt x="812" y="257"/>
                  </a:lnTo>
                  <a:lnTo>
                    <a:pt x="810" y="259"/>
                  </a:lnTo>
                  <a:lnTo>
                    <a:pt x="805" y="262"/>
                  </a:lnTo>
                  <a:lnTo>
                    <a:pt x="805" y="262"/>
                  </a:lnTo>
                  <a:lnTo>
                    <a:pt x="815" y="287"/>
                  </a:lnTo>
                  <a:lnTo>
                    <a:pt x="815" y="289"/>
                  </a:lnTo>
                  <a:lnTo>
                    <a:pt x="804" y="287"/>
                  </a:lnTo>
                  <a:lnTo>
                    <a:pt x="800" y="287"/>
                  </a:lnTo>
                  <a:lnTo>
                    <a:pt x="800" y="290"/>
                  </a:lnTo>
                  <a:lnTo>
                    <a:pt x="800" y="293"/>
                  </a:lnTo>
                  <a:lnTo>
                    <a:pt x="802" y="296"/>
                  </a:lnTo>
                  <a:lnTo>
                    <a:pt x="811" y="302"/>
                  </a:lnTo>
                  <a:lnTo>
                    <a:pt x="833" y="322"/>
                  </a:lnTo>
                  <a:lnTo>
                    <a:pt x="853" y="316"/>
                  </a:lnTo>
                  <a:lnTo>
                    <a:pt x="863" y="332"/>
                  </a:lnTo>
                  <a:lnTo>
                    <a:pt x="876" y="338"/>
                  </a:lnTo>
                  <a:lnTo>
                    <a:pt x="878" y="352"/>
                  </a:lnTo>
                  <a:lnTo>
                    <a:pt x="933" y="376"/>
                  </a:lnTo>
                  <a:lnTo>
                    <a:pt x="951" y="393"/>
                  </a:lnTo>
                  <a:lnTo>
                    <a:pt x="946" y="403"/>
                  </a:lnTo>
                  <a:lnTo>
                    <a:pt x="927" y="411"/>
                  </a:lnTo>
                  <a:lnTo>
                    <a:pt x="918" y="421"/>
                  </a:lnTo>
                  <a:lnTo>
                    <a:pt x="911" y="422"/>
                  </a:lnTo>
                  <a:lnTo>
                    <a:pt x="903" y="421"/>
                  </a:lnTo>
                  <a:lnTo>
                    <a:pt x="897" y="425"/>
                  </a:lnTo>
                  <a:lnTo>
                    <a:pt x="890" y="432"/>
                  </a:lnTo>
                  <a:lnTo>
                    <a:pt x="874" y="434"/>
                  </a:lnTo>
                  <a:lnTo>
                    <a:pt x="844" y="445"/>
                  </a:lnTo>
                  <a:lnTo>
                    <a:pt x="828" y="435"/>
                  </a:lnTo>
                  <a:lnTo>
                    <a:pt x="785" y="413"/>
                  </a:lnTo>
                  <a:lnTo>
                    <a:pt x="767" y="406"/>
                  </a:lnTo>
                  <a:lnTo>
                    <a:pt x="755" y="406"/>
                  </a:lnTo>
                  <a:lnTo>
                    <a:pt x="747" y="408"/>
                  </a:lnTo>
                  <a:lnTo>
                    <a:pt x="748" y="416"/>
                  </a:lnTo>
                  <a:lnTo>
                    <a:pt x="741" y="419"/>
                  </a:lnTo>
                  <a:lnTo>
                    <a:pt x="734" y="419"/>
                  </a:lnTo>
                  <a:lnTo>
                    <a:pt x="712" y="408"/>
                  </a:lnTo>
                  <a:lnTo>
                    <a:pt x="679" y="392"/>
                  </a:lnTo>
                  <a:lnTo>
                    <a:pt x="671" y="372"/>
                  </a:lnTo>
                  <a:lnTo>
                    <a:pt x="661" y="371"/>
                  </a:lnTo>
                  <a:lnTo>
                    <a:pt x="639" y="363"/>
                  </a:lnTo>
                  <a:lnTo>
                    <a:pt x="622" y="359"/>
                  </a:lnTo>
                  <a:lnTo>
                    <a:pt x="608" y="356"/>
                  </a:lnTo>
                  <a:lnTo>
                    <a:pt x="609" y="342"/>
                  </a:lnTo>
                  <a:lnTo>
                    <a:pt x="616" y="323"/>
                  </a:lnTo>
                  <a:lnTo>
                    <a:pt x="626" y="307"/>
                  </a:lnTo>
                  <a:lnTo>
                    <a:pt x="632" y="305"/>
                  </a:lnTo>
                  <a:lnTo>
                    <a:pt x="632" y="302"/>
                  </a:lnTo>
                  <a:lnTo>
                    <a:pt x="629" y="295"/>
                  </a:lnTo>
                  <a:lnTo>
                    <a:pt x="623" y="295"/>
                  </a:lnTo>
                  <a:lnTo>
                    <a:pt x="622" y="290"/>
                  </a:lnTo>
                  <a:lnTo>
                    <a:pt x="622" y="285"/>
                  </a:lnTo>
                  <a:lnTo>
                    <a:pt x="621" y="277"/>
                  </a:lnTo>
                  <a:lnTo>
                    <a:pt x="618" y="272"/>
                  </a:lnTo>
                  <a:lnTo>
                    <a:pt x="609" y="267"/>
                  </a:lnTo>
                  <a:lnTo>
                    <a:pt x="573" y="302"/>
                  </a:lnTo>
                  <a:lnTo>
                    <a:pt x="549" y="325"/>
                  </a:lnTo>
                  <a:lnTo>
                    <a:pt x="546" y="329"/>
                  </a:lnTo>
                  <a:lnTo>
                    <a:pt x="546" y="332"/>
                  </a:lnTo>
                  <a:lnTo>
                    <a:pt x="545" y="339"/>
                  </a:lnTo>
                  <a:lnTo>
                    <a:pt x="539" y="345"/>
                  </a:lnTo>
                  <a:lnTo>
                    <a:pt x="527" y="360"/>
                  </a:lnTo>
                  <a:lnTo>
                    <a:pt x="530" y="366"/>
                  </a:lnTo>
                  <a:lnTo>
                    <a:pt x="532" y="369"/>
                  </a:lnTo>
                  <a:lnTo>
                    <a:pt x="532" y="375"/>
                  </a:lnTo>
                  <a:lnTo>
                    <a:pt x="530" y="381"/>
                  </a:lnTo>
                  <a:lnTo>
                    <a:pt x="530" y="386"/>
                  </a:lnTo>
                  <a:lnTo>
                    <a:pt x="530" y="392"/>
                  </a:lnTo>
                  <a:lnTo>
                    <a:pt x="527" y="398"/>
                  </a:lnTo>
                  <a:lnTo>
                    <a:pt x="523" y="406"/>
                  </a:lnTo>
                  <a:lnTo>
                    <a:pt x="513" y="413"/>
                  </a:lnTo>
                  <a:lnTo>
                    <a:pt x="500" y="418"/>
                  </a:lnTo>
                  <a:lnTo>
                    <a:pt x="495" y="422"/>
                  </a:lnTo>
                  <a:lnTo>
                    <a:pt x="492" y="428"/>
                  </a:lnTo>
                  <a:lnTo>
                    <a:pt x="492" y="435"/>
                  </a:lnTo>
                  <a:lnTo>
                    <a:pt x="496" y="441"/>
                  </a:lnTo>
                  <a:lnTo>
                    <a:pt x="502" y="442"/>
                  </a:lnTo>
                  <a:lnTo>
                    <a:pt x="505" y="445"/>
                  </a:lnTo>
                  <a:lnTo>
                    <a:pt x="503" y="449"/>
                  </a:lnTo>
                  <a:lnTo>
                    <a:pt x="499" y="454"/>
                  </a:lnTo>
                  <a:lnTo>
                    <a:pt x="499" y="456"/>
                  </a:lnTo>
                  <a:lnTo>
                    <a:pt x="502" y="464"/>
                  </a:lnTo>
                  <a:lnTo>
                    <a:pt x="503" y="464"/>
                  </a:lnTo>
                  <a:lnTo>
                    <a:pt x="507" y="462"/>
                  </a:lnTo>
                  <a:lnTo>
                    <a:pt x="530" y="441"/>
                  </a:lnTo>
                  <a:lnTo>
                    <a:pt x="536" y="442"/>
                  </a:lnTo>
                  <a:lnTo>
                    <a:pt x="543" y="442"/>
                  </a:lnTo>
                  <a:lnTo>
                    <a:pt x="546" y="445"/>
                  </a:lnTo>
                  <a:lnTo>
                    <a:pt x="546" y="452"/>
                  </a:lnTo>
                  <a:lnTo>
                    <a:pt x="548" y="456"/>
                  </a:lnTo>
                  <a:lnTo>
                    <a:pt x="548" y="466"/>
                  </a:lnTo>
                  <a:lnTo>
                    <a:pt x="553" y="476"/>
                  </a:lnTo>
                  <a:lnTo>
                    <a:pt x="549" y="495"/>
                  </a:lnTo>
                  <a:lnTo>
                    <a:pt x="556" y="511"/>
                  </a:lnTo>
                  <a:lnTo>
                    <a:pt x="566" y="531"/>
                  </a:lnTo>
                  <a:lnTo>
                    <a:pt x="565" y="541"/>
                  </a:lnTo>
                  <a:lnTo>
                    <a:pt x="562" y="552"/>
                  </a:lnTo>
                  <a:lnTo>
                    <a:pt x="549" y="561"/>
                  </a:lnTo>
                  <a:lnTo>
                    <a:pt x="542" y="562"/>
                  </a:lnTo>
                  <a:lnTo>
                    <a:pt x="538" y="561"/>
                  </a:lnTo>
                  <a:lnTo>
                    <a:pt x="533" y="558"/>
                  </a:lnTo>
                  <a:lnTo>
                    <a:pt x="529" y="558"/>
                  </a:lnTo>
                  <a:lnTo>
                    <a:pt x="520" y="560"/>
                  </a:lnTo>
                  <a:lnTo>
                    <a:pt x="505" y="550"/>
                  </a:lnTo>
                  <a:lnTo>
                    <a:pt x="499" y="550"/>
                  </a:lnTo>
                  <a:lnTo>
                    <a:pt x="497" y="550"/>
                  </a:lnTo>
                  <a:lnTo>
                    <a:pt x="497" y="552"/>
                  </a:lnTo>
                  <a:lnTo>
                    <a:pt x="500" y="557"/>
                  </a:lnTo>
                  <a:lnTo>
                    <a:pt x="497" y="561"/>
                  </a:lnTo>
                  <a:lnTo>
                    <a:pt x="487" y="571"/>
                  </a:lnTo>
                  <a:lnTo>
                    <a:pt x="472" y="572"/>
                  </a:lnTo>
                  <a:lnTo>
                    <a:pt x="467" y="572"/>
                  </a:lnTo>
                  <a:lnTo>
                    <a:pt x="464" y="575"/>
                  </a:lnTo>
                  <a:lnTo>
                    <a:pt x="470" y="582"/>
                  </a:lnTo>
                  <a:lnTo>
                    <a:pt x="469" y="591"/>
                  </a:lnTo>
                  <a:lnTo>
                    <a:pt x="474" y="595"/>
                  </a:lnTo>
                  <a:lnTo>
                    <a:pt x="480" y="594"/>
                  </a:lnTo>
                  <a:lnTo>
                    <a:pt x="483" y="592"/>
                  </a:lnTo>
                  <a:lnTo>
                    <a:pt x="486" y="595"/>
                  </a:lnTo>
                  <a:lnTo>
                    <a:pt x="485" y="600"/>
                  </a:lnTo>
                  <a:lnTo>
                    <a:pt x="479" y="601"/>
                  </a:lnTo>
                  <a:lnTo>
                    <a:pt x="466" y="597"/>
                  </a:lnTo>
                  <a:lnTo>
                    <a:pt x="457" y="592"/>
                  </a:lnTo>
                  <a:lnTo>
                    <a:pt x="452" y="595"/>
                  </a:lnTo>
                  <a:lnTo>
                    <a:pt x="449" y="597"/>
                  </a:lnTo>
                  <a:lnTo>
                    <a:pt x="446" y="603"/>
                  </a:lnTo>
                  <a:lnTo>
                    <a:pt x="447" y="607"/>
                  </a:lnTo>
                  <a:lnTo>
                    <a:pt x="453" y="621"/>
                  </a:lnTo>
                  <a:lnTo>
                    <a:pt x="456" y="631"/>
                  </a:lnTo>
                  <a:lnTo>
                    <a:pt x="433" y="648"/>
                  </a:lnTo>
                  <a:lnTo>
                    <a:pt x="429" y="651"/>
                  </a:lnTo>
                  <a:lnTo>
                    <a:pt x="409" y="643"/>
                  </a:lnTo>
                  <a:lnTo>
                    <a:pt x="403" y="654"/>
                  </a:lnTo>
                  <a:lnTo>
                    <a:pt x="417" y="658"/>
                  </a:lnTo>
                  <a:lnTo>
                    <a:pt x="424" y="661"/>
                  </a:lnTo>
                  <a:lnTo>
                    <a:pt x="423" y="666"/>
                  </a:lnTo>
                  <a:lnTo>
                    <a:pt x="413" y="664"/>
                  </a:lnTo>
                  <a:lnTo>
                    <a:pt x="401" y="661"/>
                  </a:lnTo>
                  <a:lnTo>
                    <a:pt x="390" y="678"/>
                  </a:lnTo>
                  <a:lnTo>
                    <a:pt x="403" y="686"/>
                  </a:lnTo>
                  <a:lnTo>
                    <a:pt x="394" y="697"/>
                  </a:lnTo>
                  <a:lnTo>
                    <a:pt x="383" y="703"/>
                  </a:lnTo>
                  <a:lnTo>
                    <a:pt x="374" y="706"/>
                  </a:lnTo>
                  <a:lnTo>
                    <a:pt x="364" y="711"/>
                  </a:lnTo>
                  <a:lnTo>
                    <a:pt x="356" y="730"/>
                  </a:lnTo>
                  <a:lnTo>
                    <a:pt x="348" y="731"/>
                  </a:lnTo>
                  <a:lnTo>
                    <a:pt x="340" y="734"/>
                  </a:lnTo>
                  <a:lnTo>
                    <a:pt x="331" y="734"/>
                  </a:lnTo>
                  <a:lnTo>
                    <a:pt x="321" y="733"/>
                  </a:lnTo>
                  <a:lnTo>
                    <a:pt x="316" y="729"/>
                  </a:lnTo>
                  <a:lnTo>
                    <a:pt x="308" y="719"/>
                  </a:lnTo>
                  <a:lnTo>
                    <a:pt x="303" y="703"/>
                  </a:lnTo>
                  <a:lnTo>
                    <a:pt x="301" y="694"/>
                  </a:lnTo>
                  <a:lnTo>
                    <a:pt x="297" y="690"/>
                  </a:lnTo>
                  <a:lnTo>
                    <a:pt x="291" y="686"/>
                  </a:lnTo>
                  <a:lnTo>
                    <a:pt x="284" y="680"/>
                  </a:lnTo>
                  <a:lnTo>
                    <a:pt x="277" y="674"/>
                  </a:lnTo>
                  <a:lnTo>
                    <a:pt x="275" y="670"/>
                  </a:lnTo>
                  <a:lnTo>
                    <a:pt x="273" y="667"/>
                  </a:lnTo>
                  <a:lnTo>
                    <a:pt x="270" y="666"/>
                  </a:lnTo>
                  <a:lnTo>
                    <a:pt x="264" y="667"/>
                  </a:lnTo>
                  <a:lnTo>
                    <a:pt x="263" y="667"/>
                  </a:lnTo>
                  <a:lnTo>
                    <a:pt x="260" y="666"/>
                  </a:lnTo>
                  <a:lnTo>
                    <a:pt x="255" y="663"/>
                  </a:lnTo>
                  <a:lnTo>
                    <a:pt x="254" y="656"/>
                  </a:lnTo>
                  <a:lnTo>
                    <a:pt x="251" y="650"/>
                  </a:lnTo>
                  <a:lnTo>
                    <a:pt x="247" y="645"/>
                  </a:lnTo>
                  <a:lnTo>
                    <a:pt x="244" y="645"/>
                  </a:lnTo>
                  <a:lnTo>
                    <a:pt x="244" y="645"/>
                  </a:lnTo>
                  <a:lnTo>
                    <a:pt x="240" y="648"/>
                  </a:lnTo>
                  <a:lnTo>
                    <a:pt x="238" y="653"/>
                  </a:lnTo>
                  <a:lnTo>
                    <a:pt x="238" y="657"/>
                  </a:lnTo>
                  <a:lnTo>
                    <a:pt x="237" y="663"/>
                  </a:lnTo>
                  <a:lnTo>
                    <a:pt x="235" y="664"/>
                  </a:lnTo>
                  <a:lnTo>
                    <a:pt x="232" y="664"/>
                  </a:lnTo>
                  <a:lnTo>
                    <a:pt x="228" y="663"/>
                  </a:lnTo>
                  <a:lnTo>
                    <a:pt x="228" y="657"/>
                  </a:lnTo>
                  <a:lnTo>
                    <a:pt x="228" y="653"/>
                  </a:lnTo>
                  <a:lnTo>
                    <a:pt x="225" y="648"/>
                  </a:lnTo>
                  <a:lnTo>
                    <a:pt x="218" y="645"/>
                  </a:lnTo>
                  <a:lnTo>
                    <a:pt x="212" y="647"/>
                  </a:lnTo>
                  <a:lnTo>
                    <a:pt x="218" y="645"/>
                  </a:lnTo>
                  <a:lnTo>
                    <a:pt x="204" y="624"/>
                  </a:lnTo>
                  <a:lnTo>
                    <a:pt x="197" y="625"/>
                  </a:lnTo>
                  <a:lnTo>
                    <a:pt x="191" y="614"/>
                  </a:lnTo>
                  <a:lnTo>
                    <a:pt x="200" y="610"/>
                  </a:lnTo>
                  <a:lnTo>
                    <a:pt x="198" y="604"/>
                  </a:lnTo>
                  <a:lnTo>
                    <a:pt x="197" y="597"/>
                  </a:lnTo>
                  <a:lnTo>
                    <a:pt x="194" y="594"/>
                  </a:lnTo>
                  <a:lnTo>
                    <a:pt x="188" y="588"/>
                  </a:lnTo>
                  <a:lnTo>
                    <a:pt x="187" y="584"/>
                  </a:lnTo>
                  <a:lnTo>
                    <a:pt x="187" y="582"/>
                  </a:lnTo>
                  <a:lnTo>
                    <a:pt x="189" y="578"/>
                  </a:lnTo>
                  <a:lnTo>
                    <a:pt x="195" y="574"/>
                  </a:lnTo>
                  <a:lnTo>
                    <a:pt x="195" y="571"/>
                  </a:lnTo>
                  <a:lnTo>
                    <a:pt x="195" y="568"/>
                  </a:lnTo>
                  <a:lnTo>
                    <a:pt x="192" y="565"/>
                  </a:lnTo>
                  <a:lnTo>
                    <a:pt x="179" y="565"/>
                  </a:lnTo>
                  <a:lnTo>
                    <a:pt x="172" y="565"/>
                  </a:lnTo>
                  <a:lnTo>
                    <a:pt x="169" y="564"/>
                  </a:lnTo>
                  <a:lnTo>
                    <a:pt x="168" y="554"/>
                  </a:lnTo>
                  <a:lnTo>
                    <a:pt x="159" y="554"/>
                  </a:lnTo>
                  <a:lnTo>
                    <a:pt x="154" y="551"/>
                  </a:lnTo>
                  <a:lnTo>
                    <a:pt x="148" y="544"/>
                  </a:lnTo>
                  <a:lnTo>
                    <a:pt x="137" y="522"/>
                  </a:lnTo>
                  <a:lnTo>
                    <a:pt x="135" y="517"/>
                  </a:lnTo>
                  <a:lnTo>
                    <a:pt x="135" y="511"/>
                  </a:lnTo>
                  <a:lnTo>
                    <a:pt x="139" y="505"/>
                  </a:lnTo>
                  <a:lnTo>
                    <a:pt x="139" y="499"/>
                  </a:lnTo>
                  <a:lnTo>
                    <a:pt x="138" y="495"/>
                  </a:lnTo>
                  <a:lnTo>
                    <a:pt x="132" y="492"/>
                  </a:lnTo>
                  <a:lnTo>
                    <a:pt x="129" y="491"/>
                  </a:lnTo>
                  <a:lnTo>
                    <a:pt x="119" y="485"/>
                  </a:lnTo>
                  <a:lnTo>
                    <a:pt x="119" y="482"/>
                  </a:lnTo>
                  <a:lnTo>
                    <a:pt x="119" y="479"/>
                  </a:lnTo>
                  <a:lnTo>
                    <a:pt x="118" y="478"/>
                  </a:lnTo>
                  <a:lnTo>
                    <a:pt x="115" y="476"/>
                  </a:lnTo>
                  <a:lnTo>
                    <a:pt x="112" y="476"/>
                  </a:lnTo>
                  <a:lnTo>
                    <a:pt x="105" y="474"/>
                  </a:lnTo>
                  <a:lnTo>
                    <a:pt x="104" y="471"/>
                  </a:lnTo>
                  <a:lnTo>
                    <a:pt x="104" y="468"/>
                  </a:lnTo>
                  <a:lnTo>
                    <a:pt x="105" y="464"/>
                  </a:lnTo>
                  <a:lnTo>
                    <a:pt x="102" y="461"/>
                  </a:lnTo>
                  <a:lnTo>
                    <a:pt x="96" y="458"/>
                  </a:lnTo>
                  <a:lnTo>
                    <a:pt x="89" y="458"/>
                  </a:lnTo>
                  <a:lnTo>
                    <a:pt x="81" y="461"/>
                  </a:lnTo>
                  <a:lnTo>
                    <a:pt x="78" y="461"/>
                  </a:lnTo>
                  <a:lnTo>
                    <a:pt x="76" y="459"/>
                  </a:lnTo>
                  <a:lnTo>
                    <a:pt x="75" y="455"/>
                  </a:lnTo>
                  <a:lnTo>
                    <a:pt x="75" y="451"/>
                  </a:lnTo>
                  <a:lnTo>
                    <a:pt x="73" y="438"/>
                  </a:lnTo>
                  <a:lnTo>
                    <a:pt x="71" y="435"/>
                  </a:lnTo>
                  <a:lnTo>
                    <a:pt x="68" y="434"/>
                  </a:lnTo>
                  <a:lnTo>
                    <a:pt x="59" y="435"/>
                  </a:lnTo>
                  <a:lnTo>
                    <a:pt x="51" y="436"/>
                  </a:lnTo>
                  <a:lnTo>
                    <a:pt x="46" y="435"/>
                  </a:lnTo>
                  <a:lnTo>
                    <a:pt x="43" y="434"/>
                  </a:lnTo>
                  <a:lnTo>
                    <a:pt x="41" y="428"/>
                  </a:lnTo>
                  <a:lnTo>
                    <a:pt x="38" y="415"/>
                  </a:lnTo>
                  <a:lnTo>
                    <a:pt x="36" y="403"/>
                  </a:lnTo>
                  <a:lnTo>
                    <a:pt x="36" y="395"/>
                  </a:lnTo>
                  <a:lnTo>
                    <a:pt x="38" y="392"/>
                  </a:lnTo>
                  <a:lnTo>
                    <a:pt x="39" y="388"/>
                  </a:lnTo>
                  <a:lnTo>
                    <a:pt x="41" y="383"/>
                  </a:lnTo>
                  <a:lnTo>
                    <a:pt x="42" y="382"/>
                  </a:lnTo>
                  <a:lnTo>
                    <a:pt x="41" y="381"/>
                  </a:lnTo>
                  <a:lnTo>
                    <a:pt x="35" y="376"/>
                  </a:lnTo>
                  <a:lnTo>
                    <a:pt x="10" y="362"/>
                  </a:lnTo>
                  <a:lnTo>
                    <a:pt x="5" y="358"/>
                  </a:lnTo>
                  <a:lnTo>
                    <a:pt x="2" y="353"/>
                  </a:lnTo>
                  <a:lnTo>
                    <a:pt x="0" y="352"/>
                  </a:lnTo>
                  <a:lnTo>
                    <a:pt x="3" y="349"/>
                  </a:lnTo>
                  <a:lnTo>
                    <a:pt x="5" y="349"/>
                  </a:lnTo>
                  <a:lnTo>
                    <a:pt x="6" y="349"/>
                  </a:lnTo>
                  <a:lnTo>
                    <a:pt x="9" y="349"/>
                  </a:lnTo>
                  <a:lnTo>
                    <a:pt x="10" y="349"/>
                  </a:lnTo>
                  <a:lnTo>
                    <a:pt x="10" y="348"/>
                  </a:lnTo>
                  <a:lnTo>
                    <a:pt x="10" y="346"/>
                  </a:lnTo>
                  <a:lnTo>
                    <a:pt x="8" y="342"/>
                  </a:lnTo>
                  <a:lnTo>
                    <a:pt x="8" y="336"/>
                  </a:lnTo>
                  <a:lnTo>
                    <a:pt x="8" y="326"/>
                  </a:lnTo>
                  <a:lnTo>
                    <a:pt x="9" y="316"/>
                  </a:lnTo>
                  <a:lnTo>
                    <a:pt x="18" y="302"/>
                  </a:lnTo>
                  <a:lnTo>
                    <a:pt x="23" y="290"/>
                  </a:lnTo>
                  <a:lnTo>
                    <a:pt x="25" y="282"/>
                  </a:lnTo>
                  <a:lnTo>
                    <a:pt x="26" y="282"/>
                  </a:lnTo>
                  <a:lnTo>
                    <a:pt x="32" y="286"/>
                  </a:lnTo>
                  <a:lnTo>
                    <a:pt x="41" y="289"/>
                  </a:lnTo>
                  <a:lnTo>
                    <a:pt x="43" y="289"/>
                  </a:lnTo>
                  <a:lnTo>
                    <a:pt x="48" y="286"/>
                  </a:lnTo>
                  <a:lnTo>
                    <a:pt x="52" y="279"/>
                  </a:lnTo>
                  <a:lnTo>
                    <a:pt x="52" y="276"/>
                  </a:lnTo>
                  <a:lnTo>
                    <a:pt x="52" y="273"/>
                  </a:lnTo>
                  <a:lnTo>
                    <a:pt x="46" y="266"/>
                  </a:lnTo>
                  <a:lnTo>
                    <a:pt x="48" y="260"/>
                  </a:lnTo>
                  <a:lnTo>
                    <a:pt x="52" y="247"/>
                  </a:lnTo>
                  <a:lnTo>
                    <a:pt x="61" y="229"/>
                  </a:lnTo>
                  <a:lnTo>
                    <a:pt x="63" y="223"/>
                  </a:lnTo>
                  <a:lnTo>
                    <a:pt x="65" y="217"/>
                  </a:lnTo>
                  <a:lnTo>
                    <a:pt x="63" y="212"/>
                  </a:lnTo>
                  <a:lnTo>
                    <a:pt x="65" y="207"/>
                  </a:lnTo>
                  <a:lnTo>
                    <a:pt x="65" y="202"/>
                  </a:lnTo>
                  <a:lnTo>
                    <a:pt x="68" y="193"/>
                  </a:lnTo>
                  <a:lnTo>
                    <a:pt x="75" y="184"/>
                  </a:lnTo>
                  <a:lnTo>
                    <a:pt x="92" y="174"/>
                  </a:lnTo>
                  <a:lnTo>
                    <a:pt x="96" y="171"/>
                  </a:lnTo>
                  <a:lnTo>
                    <a:pt x="95" y="170"/>
                  </a:lnTo>
                  <a:lnTo>
                    <a:pt x="95" y="167"/>
                  </a:lnTo>
                  <a:lnTo>
                    <a:pt x="92" y="164"/>
                  </a:lnTo>
                  <a:lnTo>
                    <a:pt x="89" y="160"/>
                  </a:lnTo>
                  <a:lnTo>
                    <a:pt x="88" y="156"/>
                  </a:lnTo>
                  <a:lnTo>
                    <a:pt x="89" y="154"/>
                  </a:lnTo>
                  <a:lnTo>
                    <a:pt x="96" y="153"/>
                  </a:lnTo>
                  <a:lnTo>
                    <a:pt x="114" y="154"/>
                  </a:lnTo>
                  <a:lnTo>
                    <a:pt x="139" y="154"/>
                  </a:lnTo>
                  <a:lnTo>
                    <a:pt x="145" y="154"/>
                  </a:lnTo>
                  <a:lnTo>
                    <a:pt x="147" y="156"/>
                  </a:lnTo>
                  <a:lnTo>
                    <a:pt x="147" y="160"/>
                  </a:lnTo>
                  <a:lnTo>
                    <a:pt x="145" y="166"/>
                  </a:lnTo>
                  <a:lnTo>
                    <a:pt x="145" y="170"/>
                  </a:lnTo>
                  <a:lnTo>
                    <a:pt x="147" y="170"/>
                  </a:lnTo>
                  <a:lnTo>
                    <a:pt x="155" y="170"/>
                  </a:lnTo>
                  <a:lnTo>
                    <a:pt x="157" y="167"/>
                  </a:lnTo>
                  <a:lnTo>
                    <a:pt x="162" y="163"/>
                  </a:lnTo>
                  <a:lnTo>
                    <a:pt x="171" y="159"/>
                  </a:lnTo>
                  <a:lnTo>
                    <a:pt x="177" y="160"/>
                  </a:lnTo>
                  <a:lnTo>
                    <a:pt x="181" y="160"/>
                  </a:lnTo>
                  <a:lnTo>
                    <a:pt x="195" y="157"/>
                  </a:lnTo>
                  <a:lnTo>
                    <a:pt x="198" y="157"/>
                  </a:lnTo>
                  <a:lnTo>
                    <a:pt x="207" y="160"/>
                  </a:lnTo>
                  <a:lnTo>
                    <a:pt x="215" y="161"/>
                  </a:lnTo>
                  <a:lnTo>
                    <a:pt x="218" y="161"/>
                  </a:lnTo>
                  <a:lnTo>
                    <a:pt x="220" y="156"/>
                  </a:lnTo>
                  <a:lnTo>
                    <a:pt x="220" y="150"/>
                  </a:lnTo>
                  <a:lnTo>
                    <a:pt x="225" y="120"/>
                  </a:lnTo>
                  <a:lnTo>
                    <a:pt x="227" y="108"/>
                  </a:lnTo>
                  <a:lnTo>
                    <a:pt x="231" y="97"/>
                  </a:lnTo>
                  <a:lnTo>
                    <a:pt x="248" y="64"/>
                  </a:lnTo>
                  <a:lnTo>
                    <a:pt x="247" y="64"/>
                  </a:lnTo>
                  <a:close/>
                  <a:moveTo>
                    <a:pt x="460" y="582"/>
                  </a:moveTo>
                  <a:lnTo>
                    <a:pt x="460" y="582"/>
                  </a:lnTo>
                  <a:lnTo>
                    <a:pt x="462" y="580"/>
                  </a:lnTo>
                  <a:lnTo>
                    <a:pt x="460" y="577"/>
                  </a:lnTo>
                  <a:lnTo>
                    <a:pt x="460" y="577"/>
                  </a:lnTo>
                  <a:lnTo>
                    <a:pt x="459" y="577"/>
                  </a:lnTo>
                  <a:lnTo>
                    <a:pt x="459" y="577"/>
                  </a:lnTo>
                  <a:lnTo>
                    <a:pt x="456" y="575"/>
                  </a:lnTo>
                  <a:lnTo>
                    <a:pt x="456" y="575"/>
                  </a:lnTo>
                  <a:lnTo>
                    <a:pt x="454" y="575"/>
                  </a:lnTo>
                  <a:lnTo>
                    <a:pt x="454" y="575"/>
                  </a:lnTo>
                  <a:lnTo>
                    <a:pt x="453" y="577"/>
                  </a:lnTo>
                  <a:lnTo>
                    <a:pt x="453" y="578"/>
                  </a:lnTo>
                  <a:lnTo>
                    <a:pt x="453" y="581"/>
                  </a:lnTo>
                  <a:lnTo>
                    <a:pt x="453" y="581"/>
                  </a:lnTo>
                  <a:lnTo>
                    <a:pt x="456" y="582"/>
                  </a:lnTo>
                  <a:lnTo>
                    <a:pt x="456" y="582"/>
                  </a:lnTo>
                  <a:lnTo>
                    <a:pt x="456" y="582"/>
                  </a:lnTo>
                  <a:lnTo>
                    <a:pt x="456" y="582"/>
                  </a:lnTo>
                  <a:lnTo>
                    <a:pt x="459" y="584"/>
                  </a:lnTo>
                  <a:lnTo>
                    <a:pt x="460" y="582"/>
                  </a:lnTo>
                  <a:close/>
                  <a:moveTo>
                    <a:pt x="436" y="633"/>
                  </a:moveTo>
                  <a:lnTo>
                    <a:pt x="436" y="633"/>
                  </a:lnTo>
                  <a:lnTo>
                    <a:pt x="433" y="630"/>
                  </a:lnTo>
                  <a:lnTo>
                    <a:pt x="432" y="630"/>
                  </a:lnTo>
                  <a:lnTo>
                    <a:pt x="430" y="631"/>
                  </a:lnTo>
                  <a:lnTo>
                    <a:pt x="430" y="631"/>
                  </a:lnTo>
                  <a:lnTo>
                    <a:pt x="429" y="633"/>
                  </a:lnTo>
                  <a:lnTo>
                    <a:pt x="429" y="633"/>
                  </a:lnTo>
                  <a:lnTo>
                    <a:pt x="427" y="635"/>
                  </a:lnTo>
                  <a:lnTo>
                    <a:pt x="427" y="635"/>
                  </a:lnTo>
                  <a:lnTo>
                    <a:pt x="426" y="637"/>
                  </a:lnTo>
                  <a:lnTo>
                    <a:pt x="426" y="637"/>
                  </a:lnTo>
                  <a:lnTo>
                    <a:pt x="427" y="638"/>
                  </a:lnTo>
                  <a:lnTo>
                    <a:pt x="429" y="640"/>
                  </a:lnTo>
                  <a:lnTo>
                    <a:pt x="433" y="640"/>
                  </a:lnTo>
                  <a:lnTo>
                    <a:pt x="433" y="640"/>
                  </a:lnTo>
                  <a:lnTo>
                    <a:pt x="434" y="637"/>
                  </a:lnTo>
                  <a:lnTo>
                    <a:pt x="434" y="637"/>
                  </a:lnTo>
                  <a:lnTo>
                    <a:pt x="436" y="637"/>
                  </a:lnTo>
                  <a:lnTo>
                    <a:pt x="436" y="637"/>
                  </a:lnTo>
                  <a:lnTo>
                    <a:pt x="437" y="634"/>
                  </a:lnTo>
                  <a:lnTo>
                    <a:pt x="436" y="633"/>
                  </a:lnTo>
                  <a:lnTo>
                    <a:pt x="436" y="633"/>
                  </a:lnTo>
                  <a:close/>
                  <a:moveTo>
                    <a:pt x="489" y="613"/>
                  </a:moveTo>
                  <a:lnTo>
                    <a:pt x="489" y="613"/>
                  </a:lnTo>
                  <a:lnTo>
                    <a:pt x="490" y="610"/>
                  </a:lnTo>
                  <a:lnTo>
                    <a:pt x="490" y="608"/>
                  </a:lnTo>
                  <a:lnTo>
                    <a:pt x="489" y="607"/>
                  </a:lnTo>
                  <a:lnTo>
                    <a:pt x="489" y="607"/>
                  </a:lnTo>
                  <a:lnTo>
                    <a:pt x="486" y="607"/>
                  </a:lnTo>
                  <a:lnTo>
                    <a:pt x="486" y="607"/>
                  </a:lnTo>
                  <a:lnTo>
                    <a:pt x="483" y="607"/>
                  </a:lnTo>
                  <a:lnTo>
                    <a:pt x="483" y="607"/>
                  </a:lnTo>
                  <a:lnTo>
                    <a:pt x="482" y="605"/>
                  </a:lnTo>
                  <a:lnTo>
                    <a:pt x="482" y="605"/>
                  </a:lnTo>
                  <a:lnTo>
                    <a:pt x="480" y="607"/>
                  </a:lnTo>
                  <a:lnTo>
                    <a:pt x="480" y="610"/>
                  </a:lnTo>
                  <a:lnTo>
                    <a:pt x="482" y="613"/>
                  </a:lnTo>
                  <a:lnTo>
                    <a:pt x="482" y="613"/>
                  </a:lnTo>
                  <a:lnTo>
                    <a:pt x="485" y="614"/>
                  </a:lnTo>
                  <a:lnTo>
                    <a:pt x="485" y="614"/>
                  </a:lnTo>
                  <a:lnTo>
                    <a:pt x="486" y="614"/>
                  </a:lnTo>
                  <a:lnTo>
                    <a:pt x="486" y="614"/>
                  </a:lnTo>
                  <a:lnTo>
                    <a:pt x="489" y="613"/>
                  </a:lnTo>
                  <a:lnTo>
                    <a:pt x="489" y="613"/>
                  </a:lnTo>
                  <a:close/>
                  <a:moveTo>
                    <a:pt x="426" y="647"/>
                  </a:moveTo>
                  <a:lnTo>
                    <a:pt x="427" y="645"/>
                  </a:lnTo>
                  <a:lnTo>
                    <a:pt x="427" y="645"/>
                  </a:lnTo>
                  <a:lnTo>
                    <a:pt x="429" y="644"/>
                  </a:lnTo>
                  <a:lnTo>
                    <a:pt x="427" y="641"/>
                  </a:lnTo>
                  <a:lnTo>
                    <a:pt x="427" y="641"/>
                  </a:lnTo>
                  <a:lnTo>
                    <a:pt x="426" y="641"/>
                  </a:lnTo>
                  <a:lnTo>
                    <a:pt x="426" y="641"/>
                  </a:lnTo>
                  <a:lnTo>
                    <a:pt x="423" y="640"/>
                  </a:lnTo>
                  <a:lnTo>
                    <a:pt x="423" y="640"/>
                  </a:lnTo>
                  <a:lnTo>
                    <a:pt x="422" y="640"/>
                  </a:lnTo>
                  <a:lnTo>
                    <a:pt x="422" y="640"/>
                  </a:lnTo>
                  <a:lnTo>
                    <a:pt x="420" y="643"/>
                  </a:lnTo>
                  <a:lnTo>
                    <a:pt x="422" y="645"/>
                  </a:lnTo>
                  <a:lnTo>
                    <a:pt x="422" y="645"/>
                  </a:lnTo>
                  <a:lnTo>
                    <a:pt x="423" y="645"/>
                  </a:lnTo>
                  <a:lnTo>
                    <a:pt x="423" y="645"/>
                  </a:lnTo>
                  <a:lnTo>
                    <a:pt x="424" y="647"/>
                  </a:lnTo>
                  <a:lnTo>
                    <a:pt x="424" y="647"/>
                  </a:lnTo>
                  <a:lnTo>
                    <a:pt x="426" y="647"/>
                  </a:lnTo>
                  <a:lnTo>
                    <a:pt x="426" y="64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45" name="Freeform 192"/>
            <p:cNvSpPr>
              <a:spLocks/>
            </p:cNvSpPr>
            <p:nvPr/>
          </p:nvSpPr>
          <p:spPr bwMode="auto">
            <a:xfrm>
              <a:off x="3767259" y="4216897"/>
              <a:ext cx="581264" cy="486829"/>
            </a:xfrm>
            <a:custGeom>
              <a:avLst/>
              <a:gdLst>
                <a:gd name="T0" fmla="*/ 327 w 951"/>
                <a:gd name="T1" fmla="*/ 57 h 734"/>
                <a:gd name="T2" fmla="*/ 396 w 951"/>
                <a:gd name="T3" fmla="*/ 65 h 734"/>
                <a:gd name="T4" fmla="*/ 467 w 951"/>
                <a:gd name="T5" fmla="*/ 70 h 734"/>
                <a:gd name="T6" fmla="*/ 589 w 951"/>
                <a:gd name="T7" fmla="*/ 22 h 734"/>
                <a:gd name="T8" fmla="*/ 606 w 951"/>
                <a:gd name="T9" fmla="*/ 0 h 734"/>
                <a:gd name="T10" fmla="*/ 622 w 951"/>
                <a:gd name="T11" fmla="*/ 30 h 734"/>
                <a:gd name="T12" fmla="*/ 668 w 951"/>
                <a:gd name="T13" fmla="*/ 55 h 734"/>
                <a:gd name="T14" fmla="*/ 728 w 951"/>
                <a:gd name="T15" fmla="*/ 98 h 734"/>
                <a:gd name="T16" fmla="*/ 772 w 951"/>
                <a:gd name="T17" fmla="*/ 173 h 734"/>
                <a:gd name="T18" fmla="*/ 781 w 951"/>
                <a:gd name="T19" fmla="*/ 234 h 734"/>
                <a:gd name="T20" fmla="*/ 812 w 951"/>
                <a:gd name="T21" fmla="*/ 257 h 734"/>
                <a:gd name="T22" fmla="*/ 804 w 951"/>
                <a:gd name="T23" fmla="*/ 287 h 734"/>
                <a:gd name="T24" fmla="*/ 833 w 951"/>
                <a:gd name="T25" fmla="*/ 322 h 734"/>
                <a:gd name="T26" fmla="*/ 951 w 951"/>
                <a:gd name="T27" fmla="*/ 393 h 734"/>
                <a:gd name="T28" fmla="*/ 897 w 951"/>
                <a:gd name="T29" fmla="*/ 425 h 734"/>
                <a:gd name="T30" fmla="*/ 767 w 951"/>
                <a:gd name="T31" fmla="*/ 406 h 734"/>
                <a:gd name="T32" fmla="*/ 712 w 951"/>
                <a:gd name="T33" fmla="*/ 408 h 734"/>
                <a:gd name="T34" fmla="*/ 608 w 951"/>
                <a:gd name="T35" fmla="*/ 356 h 734"/>
                <a:gd name="T36" fmla="*/ 629 w 951"/>
                <a:gd name="T37" fmla="*/ 295 h 734"/>
                <a:gd name="T38" fmla="*/ 609 w 951"/>
                <a:gd name="T39" fmla="*/ 267 h 734"/>
                <a:gd name="T40" fmla="*/ 539 w 951"/>
                <a:gd name="T41" fmla="*/ 345 h 734"/>
                <a:gd name="T42" fmla="*/ 530 w 951"/>
                <a:gd name="T43" fmla="*/ 386 h 734"/>
                <a:gd name="T44" fmla="*/ 495 w 951"/>
                <a:gd name="T45" fmla="*/ 422 h 734"/>
                <a:gd name="T46" fmla="*/ 503 w 951"/>
                <a:gd name="T47" fmla="*/ 449 h 734"/>
                <a:gd name="T48" fmla="*/ 530 w 951"/>
                <a:gd name="T49" fmla="*/ 441 h 734"/>
                <a:gd name="T50" fmla="*/ 548 w 951"/>
                <a:gd name="T51" fmla="*/ 466 h 734"/>
                <a:gd name="T52" fmla="*/ 562 w 951"/>
                <a:gd name="T53" fmla="*/ 552 h 734"/>
                <a:gd name="T54" fmla="*/ 520 w 951"/>
                <a:gd name="T55" fmla="*/ 560 h 734"/>
                <a:gd name="T56" fmla="*/ 497 w 951"/>
                <a:gd name="T57" fmla="*/ 561 h 734"/>
                <a:gd name="T58" fmla="*/ 469 w 951"/>
                <a:gd name="T59" fmla="*/ 591 h 734"/>
                <a:gd name="T60" fmla="*/ 479 w 951"/>
                <a:gd name="T61" fmla="*/ 601 h 734"/>
                <a:gd name="T62" fmla="*/ 447 w 951"/>
                <a:gd name="T63" fmla="*/ 607 h 734"/>
                <a:gd name="T64" fmla="*/ 403 w 951"/>
                <a:gd name="T65" fmla="*/ 654 h 734"/>
                <a:gd name="T66" fmla="*/ 390 w 951"/>
                <a:gd name="T67" fmla="*/ 678 h 734"/>
                <a:gd name="T68" fmla="*/ 356 w 951"/>
                <a:gd name="T69" fmla="*/ 730 h 734"/>
                <a:gd name="T70" fmla="*/ 308 w 951"/>
                <a:gd name="T71" fmla="*/ 719 h 734"/>
                <a:gd name="T72" fmla="*/ 277 w 951"/>
                <a:gd name="T73" fmla="*/ 674 h 734"/>
                <a:gd name="T74" fmla="*/ 260 w 951"/>
                <a:gd name="T75" fmla="*/ 666 h 734"/>
                <a:gd name="T76" fmla="*/ 244 w 951"/>
                <a:gd name="T77" fmla="*/ 645 h 734"/>
                <a:gd name="T78" fmla="*/ 232 w 951"/>
                <a:gd name="T79" fmla="*/ 664 h 734"/>
                <a:gd name="T80" fmla="*/ 212 w 951"/>
                <a:gd name="T81" fmla="*/ 647 h 734"/>
                <a:gd name="T82" fmla="*/ 198 w 951"/>
                <a:gd name="T83" fmla="*/ 604 h 734"/>
                <a:gd name="T84" fmla="*/ 189 w 951"/>
                <a:gd name="T85" fmla="*/ 578 h 734"/>
                <a:gd name="T86" fmla="*/ 172 w 951"/>
                <a:gd name="T87" fmla="*/ 565 h 734"/>
                <a:gd name="T88" fmla="*/ 137 w 951"/>
                <a:gd name="T89" fmla="*/ 522 h 734"/>
                <a:gd name="T90" fmla="*/ 132 w 951"/>
                <a:gd name="T91" fmla="*/ 492 h 734"/>
                <a:gd name="T92" fmla="*/ 115 w 951"/>
                <a:gd name="T93" fmla="*/ 476 h 734"/>
                <a:gd name="T94" fmla="*/ 102 w 951"/>
                <a:gd name="T95" fmla="*/ 461 h 734"/>
                <a:gd name="T96" fmla="*/ 75 w 951"/>
                <a:gd name="T97" fmla="*/ 455 h 734"/>
                <a:gd name="T98" fmla="*/ 51 w 951"/>
                <a:gd name="T99" fmla="*/ 436 h 734"/>
                <a:gd name="T100" fmla="*/ 36 w 951"/>
                <a:gd name="T101" fmla="*/ 395 h 734"/>
                <a:gd name="T102" fmla="*/ 35 w 951"/>
                <a:gd name="T103" fmla="*/ 376 h 734"/>
                <a:gd name="T104" fmla="*/ 5 w 951"/>
                <a:gd name="T105" fmla="*/ 349 h 734"/>
                <a:gd name="T106" fmla="*/ 8 w 951"/>
                <a:gd name="T107" fmla="*/ 342 h 734"/>
                <a:gd name="T108" fmla="*/ 25 w 951"/>
                <a:gd name="T109" fmla="*/ 282 h 734"/>
                <a:gd name="T110" fmla="*/ 52 w 951"/>
                <a:gd name="T111" fmla="*/ 279 h 734"/>
                <a:gd name="T112" fmla="*/ 61 w 951"/>
                <a:gd name="T113" fmla="*/ 229 h 734"/>
                <a:gd name="T114" fmla="*/ 68 w 951"/>
                <a:gd name="T115" fmla="*/ 193 h 734"/>
                <a:gd name="T116" fmla="*/ 92 w 951"/>
                <a:gd name="T117" fmla="*/ 164 h 734"/>
                <a:gd name="T118" fmla="*/ 139 w 951"/>
                <a:gd name="T119" fmla="*/ 154 h 734"/>
                <a:gd name="T120" fmla="*/ 147 w 951"/>
                <a:gd name="T121" fmla="*/ 170 h 734"/>
                <a:gd name="T122" fmla="*/ 181 w 951"/>
                <a:gd name="T123" fmla="*/ 160 h 734"/>
                <a:gd name="T124" fmla="*/ 220 w 951"/>
                <a:gd name="T125" fmla="*/ 156 h 7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1" h="734">
                  <a:moveTo>
                    <a:pt x="247" y="64"/>
                  </a:moveTo>
                  <a:lnTo>
                    <a:pt x="273" y="87"/>
                  </a:lnTo>
                  <a:lnTo>
                    <a:pt x="278" y="88"/>
                  </a:lnTo>
                  <a:lnTo>
                    <a:pt x="297" y="93"/>
                  </a:lnTo>
                  <a:lnTo>
                    <a:pt x="311" y="94"/>
                  </a:lnTo>
                  <a:lnTo>
                    <a:pt x="327" y="57"/>
                  </a:lnTo>
                  <a:lnTo>
                    <a:pt x="330" y="53"/>
                  </a:lnTo>
                  <a:lnTo>
                    <a:pt x="337" y="51"/>
                  </a:lnTo>
                  <a:lnTo>
                    <a:pt x="354" y="54"/>
                  </a:lnTo>
                  <a:lnTo>
                    <a:pt x="356" y="70"/>
                  </a:lnTo>
                  <a:lnTo>
                    <a:pt x="376" y="64"/>
                  </a:lnTo>
                  <a:lnTo>
                    <a:pt x="396" y="65"/>
                  </a:lnTo>
                  <a:lnTo>
                    <a:pt x="404" y="67"/>
                  </a:lnTo>
                  <a:lnTo>
                    <a:pt x="416" y="58"/>
                  </a:lnTo>
                  <a:lnTo>
                    <a:pt x="423" y="57"/>
                  </a:lnTo>
                  <a:lnTo>
                    <a:pt x="434" y="61"/>
                  </a:lnTo>
                  <a:lnTo>
                    <a:pt x="457" y="68"/>
                  </a:lnTo>
                  <a:lnTo>
                    <a:pt x="467" y="70"/>
                  </a:lnTo>
                  <a:lnTo>
                    <a:pt x="479" y="65"/>
                  </a:lnTo>
                  <a:lnTo>
                    <a:pt x="489" y="57"/>
                  </a:lnTo>
                  <a:lnTo>
                    <a:pt x="510" y="31"/>
                  </a:lnTo>
                  <a:lnTo>
                    <a:pt x="525" y="43"/>
                  </a:lnTo>
                  <a:lnTo>
                    <a:pt x="586" y="33"/>
                  </a:lnTo>
                  <a:lnTo>
                    <a:pt x="589" y="22"/>
                  </a:lnTo>
                  <a:lnTo>
                    <a:pt x="588" y="17"/>
                  </a:lnTo>
                  <a:lnTo>
                    <a:pt x="575" y="7"/>
                  </a:lnTo>
                  <a:lnTo>
                    <a:pt x="575" y="5"/>
                  </a:lnTo>
                  <a:lnTo>
                    <a:pt x="575" y="4"/>
                  </a:lnTo>
                  <a:lnTo>
                    <a:pt x="582" y="1"/>
                  </a:lnTo>
                  <a:lnTo>
                    <a:pt x="606" y="0"/>
                  </a:lnTo>
                  <a:lnTo>
                    <a:pt x="612" y="7"/>
                  </a:lnTo>
                  <a:lnTo>
                    <a:pt x="619" y="12"/>
                  </a:lnTo>
                  <a:lnTo>
                    <a:pt x="619" y="18"/>
                  </a:lnTo>
                  <a:lnTo>
                    <a:pt x="616" y="24"/>
                  </a:lnTo>
                  <a:lnTo>
                    <a:pt x="615" y="28"/>
                  </a:lnTo>
                  <a:lnTo>
                    <a:pt x="622" y="30"/>
                  </a:lnTo>
                  <a:lnTo>
                    <a:pt x="631" y="31"/>
                  </a:lnTo>
                  <a:lnTo>
                    <a:pt x="641" y="28"/>
                  </a:lnTo>
                  <a:lnTo>
                    <a:pt x="649" y="30"/>
                  </a:lnTo>
                  <a:lnTo>
                    <a:pt x="656" y="34"/>
                  </a:lnTo>
                  <a:lnTo>
                    <a:pt x="664" y="48"/>
                  </a:lnTo>
                  <a:lnTo>
                    <a:pt x="668" y="55"/>
                  </a:lnTo>
                  <a:lnTo>
                    <a:pt x="678" y="65"/>
                  </a:lnTo>
                  <a:lnTo>
                    <a:pt x="689" y="70"/>
                  </a:lnTo>
                  <a:lnTo>
                    <a:pt x="702" y="70"/>
                  </a:lnTo>
                  <a:lnTo>
                    <a:pt x="721" y="90"/>
                  </a:lnTo>
                  <a:lnTo>
                    <a:pt x="732" y="87"/>
                  </a:lnTo>
                  <a:lnTo>
                    <a:pt x="728" y="98"/>
                  </a:lnTo>
                  <a:lnTo>
                    <a:pt x="745" y="120"/>
                  </a:lnTo>
                  <a:lnTo>
                    <a:pt x="748" y="130"/>
                  </a:lnTo>
                  <a:lnTo>
                    <a:pt x="757" y="137"/>
                  </a:lnTo>
                  <a:lnTo>
                    <a:pt x="757" y="153"/>
                  </a:lnTo>
                  <a:lnTo>
                    <a:pt x="771" y="161"/>
                  </a:lnTo>
                  <a:lnTo>
                    <a:pt x="772" y="173"/>
                  </a:lnTo>
                  <a:lnTo>
                    <a:pt x="785" y="207"/>
                  </a:lnTo>
                  <a:lnTo>
                    <a:pt x="781" y="214"/>
                  </a:lnTo>
                  <a:lnTo>
                    <a:pt x="780" y="219"/>
                  </a:lnTo>
                  <a:lnTo>
                    <a:pt x="782" y="224"/>
                  </a:lnTo>
                  <a:lnTo>
                    <a:pt x="782" y="232"/>
                  </a:lnTo>
                  <a:lnTo>
                    <a:pt x="781" y="234"/>
                  </a:lnTo>
                  <a:lnTo>
                    <a:pt x="787" y="242"/>
                  </a:lnTo>
                  <a:lnTo>
                    <a:pt x="795" y="244"/>
                  </a:lnTo>
                  <a:lnTo>
                    <a:pt x="807" y="244"/>
                  </a:lnTo>
                  <a:lnTo>
                    <a:pt x="812" y="247"/>
                  </a:lnTo>
                  <a:lnTo>
                    <a:pt x="814" y="252"/>
                  </a:lnTo>
                  <a:lnTo>
                    <a:pt x="812" y="257"/>
                  </a:lnTo>
                  <a:lnTo>
                    <a:pt x="810" y="259"/>
                  </a:lnTo>
                  <a:lnTo>
                    <a:pt x="805" y="262"/>
                  </a:lnTo>
                  <a:lnTo>
                    <a:pt x="805" y="262"/>
                  </a:lnTo>
                  <a:lnTo>
                    <a:pt x="815" y="287"/>
                  </a:lnTo>
                  <a:lnTo>
                    <a:pt x="815" y="289"/>
                  </a:lnTo>
                  <a:lnTo>
                    <a:pt x="804" y="287"/>
                  </a:lnTo>
                  <a:lnTo>
                    <a:pt x="800" y="287"/>
                  </a:lnTo>
                  <a:lnTo>
                    <a:pt x="800" y="290"/>
                  </a:lnTo>
                  <a:lnTo>
                    <a:pt x="800" y="293"/>
                  </a:lnTo>
                  <a:lnTo>
                    <a:pt x="802" y="296"/>
                  </a:lnTo>
                  <a:lnTo>
                    <a:pt x="811" y="302"/>
                  </a:lnTo>
                  <a:lnTo>
                    <a:pt x="833" y="322"/>
                  </a:lnTo>
                  <a:lnTo>
                    <a:pt x="853" y="316"/>
                  </a:lnTo>
                  <a:lnTo>
                    <a:pt x="863" y="332"/>
                  </a:lnTo>
                  <a:lnTo>
                    <a:pt x="876" y="338"/>
                  </a:lnTo>
                  <a:lnTo>
                    <a:pt x="878" y="352"/>
                  </a:lnTo>
                  <a:lnTo>
                    <a:pt x="933" y="376"/>
                  </a:lnTo>
                  <a:lnTo>
                    <a:pt x="951" y="393"/>
                  </a:lnTo>
                  <a:lnTo>
                    <a:pt x="946" y="403"/>
                  </a:lnTo>
                  <a:lnTo>
                    <a:pt x="927" y="411"/>
                  </a:lnTo>
                  <a:lnTo>
                    <a:pt x="918" y="421"/>
                  </a:lnTo>
                  <a:lnTo>
                    <a:pt x="911" y="422"/>
                  </a:lnTo>
                  <a:lnTo>
                    <a:pt x="903" y="421"/>
                  </a:lnTo>
                  <a:lnTo>
                    <a:pt x="897" y="425"/>
                  </a:lnTo>
                  <a:lnTo>
                    <a:pt x="890" y="432"/>
                  </a:lnTo>
                  <a:lnTo>
                    <a:pt x="874" y="434"/>
                  </a:lnTo>
                  <a:lnTo>
                    <a:pt x="844" y="445"/>
                  </a:lnTo>
                  <a:lnTo>
                    <a:pt x="828" y="435"/>
                  </a:lnTo>
                  <a:lnTo>
                    <a:pt x="785" y="413"/>
                  </a:lnTo>
                  <a:lnTo>
                    <a:pt x="767" y="406"/>
                  </a:lnTo>
                  <a:lnTo>
                    <a:pt x="755" y="406"/>
                  </a:lnTo>
                  <a:lnTo>
                    <a:pt x="747" y="408"/>
                  </a:lnTo>
                  <a:lnTo>
                    <a:pt x="748" y="416"/>
                  </a:lnTo>
                  <a:lnTo>
                    <a:pt x="741" y="419"/>
                  </a:lnTo>
                  <a:lnTo>
                    <a:pt x="734" y="419"/>
                  </a:lnTo>
                  <a:lnTo>
                    <a:pt x="712" y="408"/>
                  </a:lnTo>
                  <a:lnTo>
                    <a:pt x="679" y="392"/>
                  </a:lnTo>
                  <a:lnTo>
                    <a:pt x="671" y="372"/>
                  </a:lnTo>
                  <a:lnTo>
                    <a:pt x="661" y="371"/>
                  </a:lnTo>
                  <a:lnTo>
                    <a:pt x="639" y="363"/>
                  </a:lnTo>
                  <a:lnTo>
                    <a:pt x="622" y="359"/>
                  </a:lnTo>
                  <a:lnTo>
                    <a:pt x="608" y="356"/>
                  </a:lnTo>
                  <a:lnTo>
                    <a:pt x="609" y="342"/>
                  </a:lnTo>
                  <a:lnTo>
                    <a:pt x="616" y="323"/>
                  </a:lnTo>
                  <a:lnTo>
                    <a:pt x="626" y="307"/>
                  </a:lnTo>
                  <a:lnTo>
                    <a:pt x="632" y="305"/>
                  </a:lnTo>
                  <a:lnTo>
                    <a:pt x="632" y="302"/>
                  </a:lnTo>
                  <a:lnTo>
                    <a:pt x="629" y="295"/>
                  </a:lnTo>
                  <a:lnTo>
                    <a:pt x="623" y="295"/>
                  </a:lnTo>
                  <a:lnTo>
                    <a:pt x="622" y="290"/>
                  </a:lnTo>
                  <a:lnTo>
                    <a:pt x="622" y="285"/>
                  </a:lnTo>
                  <a:lnTo>
                    <a:pt x="621" y="277"/>
                  </a:lnTo>
                  <a:lnTo>
                    <a:pt x="618" y="272"/>
                  </a:lnTo>
                  <a:lnTo>
                    <a:pt x="609" y="267"/>
                  </a:lnTo>
                  <a:lnTo>
                    <a:pt x="573" y="302"/>
                  </a:lnTo>
                  <a:lnTo>
                    <a:pt x="549" y="325"/>
                  </a:lnTo>
                  <a:lnTo>
                    <a:pt x="546" y="329"/>
                  </a:lnTo>
                  <a:lnTo>
                    <a:pt x="546" y="332"/>
                  </a:lnTo>
                  <a:lnTo>
                    <a:pt x="545" y="339"/>
                  </a:lnTo>
                  <a:lnTo>
                    <a:pt x="539" y="345"/>
                  </a:lnTo>
                  <a:lnTo>
                    <a:pt x="527" y="360"/>
                  </a:lnTo>
                  <a:lnTo>
                    <a:pt x="530" y="366"/>
                  </a:lnTo>
                  <a:lnTo>
                    <a:pt x="532" y="369"/>
                  </a:lnTo>
                  <a:lnTo>
                    <a:pt x="532" y="375"/>
                  </a:lnTo>
                  <a:lnTo>
                    <a:pt x="530" y="381"/>
                  </a:lnTo>
                  <a:lnTo>
                    <a:pt x="530" y="386"/>
                  </a:lnTo>
                  <a:lnTo>
                    <a:pt x="530" y="392"/>
                  </a:lnTo>
                  <a:lnTo>
                    <a:pt x="527" y="398"/>
                  </a:lnTo>
                  <a:lnTo>
                    <a:pt x="523" y="406"/>
                  </a:lnTo>
                  <a:lnTo>
                    <a:pt x="513" y="413"/>
                  </a:lnTo>
                  <a:lnTo>
                    <a:pt x="500" y="418"/>
                  </a:lnTo>
                  <a:lnTo>
                    <a:pt x="495" y="422"/>
                  </a:lnTo>
                  <a:lnTo>
                    <a:pt x="492" y="428"/>
                  </a:lnTo>
                  <a:lnTo>
                    <a:pt x="492" y="435"/>
                  </a:lnTo>
                  <a:lnTo>
                    <a:pt x="496" y="441"/>
                  </a:lnTo>
                  <a:lnTo>
                    <a:pt x="502" y="442"/>
                  </a:lnTo>
                  <a:lnTo>
                    <a:pt x="505" y="445"/>
                  </a:lnTo>
                  <a:lnTo>
                    <a:pt x="503" y="449"/>
                  </a:lnTo>
                  <a:lnTo>
                    <a:pt x="499" y="454"/>
                  </a:lnTo>
                  <a:lnTo>
                    <a:pt x="499" y="456"/>
                  </a:lnTo>
                  <a:lnTo>
                    <a:pt x="502" y="464"/>
                  </a:lnTo>
                  <a:lnTo>
                    <a:pt x="503" y="464"/>
                  </a:lnTo>
                  <a:lnTo>
                    <a:pt x="507" y="462"/>
                  </a:lnTo>
                  <a:lnTo>
                    <a:pt x="530" y="441"/>
                  </a:lnTo>
                  <a:lnTo>
                    <a:pt x="536" y="442"/>
                  </a:lnTo>
                  <a:lnTo>
                    <a:pt x="543" y="442"/>
                  </a:lnTo>
                  <a:lnTo>
                    <a:pt x="546" y="445"/>
                  </a:lnTo>
                  <a:lnTo>
                    <a:pt x="546" y="452"/>
                  </a:lnTo>
                  <a:lnTo>
                    <a:pt x="548" y="456"/>
                  </a:lnTo>
                  <a:lnTo>
                    <a:pt x="548" y="466"/>
                  </a:lnTo>
                  <a:lnTo>
                    <a:pt x="553" y="476"/>
                  </a:lnTo>
                  <a:lnTo>
                    <a:pt x="549" y="495"/>
                  </a:lnTo>
                  <a:lnTo>
                    <a:pt x="556" y="511"/>
                  </a:lnTo>
                  <a:lnTo>
                    <a:pt x="566" y="531"/>
                  </a:lnTo>
                  <a:lnTo>
                    <a:pt x="565" y="541"/>
                  </a:lnTo>
                  <a:lnTo>
                    <a:pt x="562" y="552"/>
                  </a:lnTo>
                  <a:lnTo>
                    <a:pt x="549" y="561"/>
                  </a:lnTo>
                  <a:lnTo>
                    <a:pt x="542" y="562"/>
                  </a:lnTo>
                  <a:lnTo>
                    <a:pt x="538" y="561"/>
                  </a:lnTo>
                  <a:lnTo>
                    <a:pt x="533" y="558"/>
                  </a:lnTo>
                  <a:lnTo>
                    <a:pt x="529" y="558"/>
                  </a:lnTo>
                  <a:lnTo>
                    <a:pt x="520" y="560"/>
                  </a:lnTo>
                  <a:lnTo>
                    <a:pt x="505" y="550"/>
                  </a:lnTo>
                  <a:lnTo>
                    <a:pt x="499" y="550"/>
                  </a:lnTo>
                  <a:lnTo>
                    <a:pt x="497" y="550"/>
                  </a:lnTo>
                  <a:lnTo>
                    <a:pt x="497" y="552"/>
                  </a:lnTo>
                  <a:lnTo>
                    <a:pt x="500" y="557"/>
                  </a:lnTo>
                  <a:lnTo>
                    <a:pt x="497" y="561"/>
                  </a:lnTo>
                  <a:lnTo>
                    <a:pt x="487" y="571"/>
                  </a:lnTo>
                  <a:lnTo>
                    <a:pt x="472" y="572"/>
                  </a:lnTo>
                  <a:lnTo>
                    <a:pt x="467" y="572"/>
                  </a:lnTo>
                  <a:lnTo>
                    <a:pt x="464" y="575"/>
                  </a:lnTo>
                  <a:lnTo>
                    <a:pt x="470" y="582"/>
                  </a:lnTo>
                  <a:lnTo>
                    <a:pt x="469" y="591"/>
                  </a:lnTo>
                  <a:lnTo>
                    <a:pt x="474" y="595"/>
                  </a:lnTo>
                  <a:lnTo>
                    <a:pt x="480" y="594"/>
                  </a:lnTo>
                  <a:lnTo>
                    <a:pt x="483" y="592"/>
                  </a:lnTo>
                  <a:lnTo>
                    <a:pt x="486" y="595"/>
                  </a:lnTo>
                  <a:lnTo>
                    <a:pt x="485" y="600"/>
                  </a:lnTo>
                  <a:lnTo>
                    <a:pt x="479" y="601"/>
                  </a:lnTo>
                  <a:lnTo>
                    <a:pt x="466" y="597"/>
                  </a:lnTo>
                  <a:lnTo>
                    <a:pt x="457" y="592"/>
                  </a:lnTo>
                  <a:lnTo>
                    <a:pt x="452" y="595"/>
                  </a:lnTo>
                  <a:lnTo>
                    <a:pt x="449" y="597"/>
                  </a:lnTo>
                  <a:lnTo>
                    <a:pt x="446" y="603"/>
                  </a:lnTo>
                  <a:lnTo>
                    <a:pt x="447" y="607"/>
                  </a:lnTo>
                  <a:lnTo>
                    <a:pt x="453" y="621"/>
                  </a:lnTo>
                  <a:lnTo>
                    <a:pt x="456" y="631"/>
                  </a:lnTo>
                  <a:lnTo>
                    <a:pt x="433" y="648"/>
                  </a:lnTo>
                  <a:lnTo>
                    <a:pt x="429" y="651"/>
                  </a:lnTo>
                  <a:lnTo>
                    <a:pt x="409" y="643"/>
                  </a:lnTo>
                  <a:lnTo>
                    <a:pt x="403" y="654"/>
                  </a:lnTo>
                  <a:lnTo>
                    <a:pt x="417" y="658"/>
                  </a:lnTo>
                  <a:lnTo>
                    <a:pt x="424" y="661"/>
                  </a:lnTo>
                  <a:lnTo>
                    <a:pt x="423" y="666"/>
                  </a:lnTo>
                  <a:lnTo>
                    <a:pt x="413" y="664"/>
                  </a:lnTo>
                  <a:lnTo>
                    <a:pt x="401" y="661"/>
                  </a:lnTo>
                  <a:lnTo>
                    <a:pt x="390" y="678"/>
                  </a:lnTo>
                  <a:lnTo>
                    <a:pt x="403" y="686"/>
                  </a:lnTo>
                  <a:lnTo>
                    <a:pt x="394" y="697"/>
                  </a:lnTo>
                  <a:lnTo>
                    <a:pt x="383" y="703"/>
                  </a:lnTo>
                  <a:lnTo>
                    <a:pt x="374" y="706"/>
                  </a:lnTo>
                  <a:lnTo>
                    <a:pt x="364" y="711"/>
                  </a:lnTo>
                  <a:lnTo>
                    <a:pt x="356" y="730"/>
                  </a:lnTo>
                  <a:lnTo>
                    <a:pt x="348" y="731"/>
                  </a:lnTo>
                  <a:lnTo>
                    <a:pt x="340" y="734"/>
                  </a:lnTo>
                  <a:lnTo>
                    <a:pt x="331" y="734"/>
                  </a:lnTo>
                  <a:lnTo>
                    <a:pt x="321" y="733"/>
                  </a:lnTo>
                  <a:lnTo>
                    <a:pt x="316" y="729"/>
                  </a:lnTo>
                  <a:lnTo>
                    <a:pt x="308" y="719"/>
                  </a:lnTo>
                  <a:lnTo>
                    <a:pt x="303" y="703"/>
                  </a:lnTo>
                  <a:lnTo>
                    <a:pt x="301" y="694"/>
                  </a:lnTo>
                  <a:lnTo>
                    <a:pt x="297" y="690"/>
                  </a:lnTo>
                  <a:lnTo>
                    <a:pt x="291" y="686"/>
                  </a:lnTo>
                  <a:lnTo>
                    <a:pt x="284" y="680"/>
                  </a:lnTo>
                  <a:lnTo>
                    <a:pt x="277" y="674"/>
                  </a:lnTo>
                  <a:lnTo>
                    <a:pt x="275" y="670"/>
                  </a:lnTo>
                  <a:lnTo>
                    <a:pt x="273" y="667"/>
                  </a:lnTo>
                  <a:lnTo>
                    <a:pt x="270" y="666"/>
                  </a:lnTo>
                  <a:lnTo>
                    <a:pt x="264" y="667"/>
                  </a:lnTo>
                  <a:lnTo>
                    <a:pt x="263" y="667"/>
                  </a:lnTo>
                  <a:lnTo>
                    <a:pt x="260" y="666"/>
                  </a:lnTo>
                  <a:lnTo>
                    <a:pt x="255" y="663"/>
                  </a:lnTo>
                  <a:lnTo>
                    <a:pt x="254" y="656"/>
                  </a:lnTo>
                  <a:lnTo>
                    <a:pt x="251" y="650"/>
                  </a:lnTo>
                  <a:lnTo>
                    <a:pt x="247" y="645"/>
                  </a:lnTo>
                  <a:lnTo>
                    <a:pt x="244" y="645"/>
                  </a:lnTo>
                  <a:lnTo>
                    <a:pt x="244" y="645"/>
                  </a:lnTo>
                  <a:lnTo>
                    <a:pt x="240" y="648"/>
                  </a:lnTo>
                  <a:lnTo>
                    <a:pt x="238" y="653"/>
                  </a:lnTo>
                  <a:lnTo>
                    <a:pt x="238" y="657"/>
                  </a:lnTo>
                  <a:lnTo>
                    <a:pt x="237" y="663"/>
                  </a:lnTo>
                  <a:lnTo>
                    <a:pt x="235" y="664"/>
                  </a:lnTo>
                  <a:lnTo>
                    <a:pt x="232" y="664"/>
                  </a:lnTo>
                  <a:lnTo>
                    <a:pt x="228" y="663"/>
                  </a:lnTo>
                  <a:lnTo>
                    <a:pt x="228" y="657"/>
                  </a:lnTo>
                  <a:lnTo>
                    <a:pt x="228" y="653"/>
                  </a:lnTo>
                  <a:lnTo>
                    <a:pt x="225" y="648"/>
                  </a:lnTo>
                  <a:lnTo>
                    <a:pt x="218" y="645"/>
                  </a:lnTo>
                  <a:lnTo>
                    <a:pt x="212" y="647"/>
                  </a:lnTo>
                  <a:lnTo>
                    <a:pt x="218" y="645"/>
                  </a:lnTo>
                  <a:lnTo>
                    <a:pt x="204" y="624"/>
                  </a:lnTo>
                  <a:lnTo>
                    <a:pt x="197" y="625"/>
                  </a:lnTo>
                  <a:lnTo>
                    <a:pt x="191" y="614"/>
                  </a:lnTo>
                  <a:lnTo>
                    <a:pt x="200" y="610"/>
                  </a:lnTo>
                  <a:lnTo>
                    <a:pt x="198" y="604"/>
                  </a:lnTo>
                  <a:lnTo>
                    <a:pt x="197" y="597"/>
                  </a:lnTo>
                  <a:lnTo>
                    <a:pt x="194" y="594"/>
                  </a:lnTo>
                  <a:lnTo>
                    <a:pt x="188" y="588"/>
                  </a:lnTo>
                  <a:lnTo>
                    <a:pt x="187" y="584"/>
                  </a:lnTo>
                  <a:lnTo>
                    <a:pt x="187" y="582"/>
                  </a:lnTo>
                  <a:lnTo>
                    <a:pt x="189" y="578"/>
                  </a:lnTo>
                  <a:lnTo>
                    <a:pt x="195" y="574"/>
                  </a:lnTo>
                  <a:lnTo>
                    <a:pt x="195" y="571"/>
                  </a:lnTo>
                  <a:lnTo>
                    <a:pt x="195" y="568"/>
                  </a:lnTo>
                  <a:lnTo>
                    <a:pt x="192" y="565"/>
                  </a:lnTo>
                  <a:lnTo>
                    <a:pt x="179" y="565"/>
                  </a:lnTo>
                  <a:lnTo>
                    <a:pt x="172" y="565"/>
                  </a:lnTo>
                  <a:lnTo>
                    <a:pt x="169" y="564"/>
                  </a:lnTo>
                  <a:lnTo>
                    <a:pt x="168" y="554"/>
                  </a:lnTo>
                  <a:lnTo>
                    <a:pt x="159" y="554"/>
                  </a:lnTo>
                  <a:lnTo>
                    <a:pt x="154" y="551"/>
                  </a:lnTo>
                  <a:lnTo>
                    <a:pt x="148" y="544"/>
                  </a:lnTo>
                  <a:lnTo>
                    <a:pt x="137" y="522"/>
                  </a:lnTo>
                  <a:lnTo>
                    <a:pt x="135" y="517"/>
                  </a:lnTo>
                  <a:lnTo>
                    <a:pt x="135" y="511"/>
                  </a:lnTo>
                  <a:lnTo>
                    <a:pt x="139" y="505"/>
                  </a:lnTo>
                  <a:lnTo>
                    <a:pt x="139" y="499"/>
                  </a:lnTo>
                  <a:lnTo>
                    <a:pt x="138" y="495"/>
                  </a:lnTo>
                  <a:lnTo>
                    <a:pt x="132" y="492"/>
                  </a:lnTo>
                  <a:lnTo>
                    <a:pt x="129" y="491"/>
                  </a:lnTo>
                  <a:lnTo>
                    <a:pt x="119" y="485"/>
                  </a:lnTo>
                  <a:lnTo>
                    <a:pt x="119" y="482"/>
                  </a:lnTo>
                  <a:lnTo>
                    <a:pt x="119" y="479"/>
                  </a:lnTo>
                  <a:lnTo>
                    <a:pt x="118" y="478"/>
                  </a:lnTo>
                  <a:lnTo>
                    <a:pt x="115" y="476"/>
                  </a:lnTo>
                  <a:lnTo>
                    <a:pt x="112" y="476"/>
                  </a:lnTo>
                  <a:lnTo>
                    <a:pt x="105" y="474"/>
                  </a:lnTo>
                  <a:lnTo>
                    <a:pt x="104" y="471"/>
                  </a:lnTo>
                  <a:lnTo>
                    <a:pt x="104" y="468"/>
                  </a:lnTo>
                  <a:lnTo>
                    <a:pt x="105" y="464"/>
                  </a:lnTo>
                  <a:lnTo>
                    <a:pt x="102" y="461"/>
                  </a:lnTo>
                  <a:lnTo>
                    <a:pt x="96" y="458"/>
                  </a:lnTo>
                  <a:lnTo>
                    <a:pt x="89" y="458"/>
                  </a:lnTo>
                  <a:lnTo>
                    <a:pt x="81" y="461"/>
                  </a:lnTo>
                  <a:lnTo>
                    <a:pt x="78" y="461"/>
                  </a:lnTo>
                  <a:lnTo>
                    <a:pt x="76" y="459"/>
                  </a:lnTo>
                  <a:lnTo>
                    <a:pt x="75" y="455"/>
                  </a:lnTo>
                  <a:lnTo>
                    <a:pt x="75" y="451"/>
                  </a:lnTo>
                  <a:lnTo>
                    <a:pt x="73" y="438"/>
                  </a:lnTo>
                  <a:lnTo>
                    <a:pt x="71" y="435"/>
                  </a:lnTo>
                  <a:lnTo>
                    <a:pt x="68" y="434"/>
                  </a:lnTo>
                  <a:lnTo>
                    <a:pt x="59" y="435"/>
                  </a:lnTo>
                  <a:lnTo>
                    <a:pt x="51" y="436"/>
                  </a:lnTo>
                  <a:lnTo>
                    <a:pt x="46" y="435"/>
                  </a:lnTo>
                  <a:lnTo>
                    <a:pt x="43" y="434"/>
                  </a:lnTo>
                  <a:lnTo>
                    <a:pt x="41" y="428"/>
                  </a:lnTo>
                  <a:lnTo>
                    <a:pt x="38" y="415"/>
                  </a:lnTo>
                  <a:lnTo>
                    <a:pt x="36" y="403"/>
                  </a:lnTo>
                  <a:lnTo>
                    <a:pt x="36" y="395"/>
                  </a:lnTo>
                  <a:lnTo>
                    <a:pt x="38" y="392"/>
                  </a:lnTo>
                  <a:lnTo>
                    <a:pt x="39" y="388"/>
                  </a:lnTo>
                  <a:lnTo>
                    <a:pt x="41" y="383"/>
                  </a:lnTo>
                  <a:lnTo>
                    <a:pt x="42" y="382"/>
                  </a:lnTo>
                  <a:lnTo>
                    <a:pt x="41" y="381"/>
                  </a:lnTo>
                  <a:lnTo>
                    <a:pt x="35" y="376"/>
                  </a:lnTo>
                  <a:lnTo>
                    <a:pt x="10" y="362"/>
                  </a:lnTo>
                  <a:lnTo>
                    <a:pt x="5" y="358"/>
                  </a:lnTo>
                  <a:lnTo>
                    <a:pt x="2" y="353"/>
                  </a:lnTo>
                  <a:lnTo>
                    <a:pt x="0" y="352"/>
                  </a:lnTo>
                  <a:lnTo>
                    <a:pt x="3" y="349"/>
                  </a:lnTo>
                  <a:lnTo>
                    <a:pt x="5" y="349"/>
                  </a:lnTo>
                  <a:lnTo>
                    <a:pt x="6" y="349"/>
                  </a:lnTo>
                  <a:lnTo>
                    <a:pt x="9" y="349"/>
                  </a:lnTo>
                  <a:lnTo>
                    <a:pt x="10" y="349"/>
                  </a:lnTo>
                  <a:lnTo>
                    <a:pt x="10" y="348"/>
                  </a:lnTo>
                  <a:lnTo>
                    <a:pt x="10" y="346"/>
                  </a:lnTo>
                  <a:lnTo>
                    <a:pt x="8" y="342"/>
                  </a:lnTo>
                  <a:lnTo>
                    <a:pt x="8" y="336"/>
                  </a:lnTo>
                  <a:lnTo>
                    <a:pt x="8" y="326"/>
                  </a:lnTo>
                  <a:lnTo>
                    <a:pt x="9" y="316"/>
                  </a:lnTo>
                  <a:lnTo>
                    <a:pt x="18" y="302"/>
                  </a:lnTo>
                  <a:lnTo>
                    <a:pt x="23" y="290"/>
                  </a:lnTo>
                  <a:lnTo>
                    <a:pt x="25" y="282"/>
                  </a:lnTo>
                  <a:lnTo>
                    <a:pt x="26" y="282"/>
                  </a:lnTo>
                  <a:lnTo>
                    <a:pt x="32" y="286"/>
                  </a:lnTo>
                  <a:lnTo>
                    <a:pt x="41" y="289"/>
                  </a:lnTo>
                  <a:lnTo>
                    <a:pt x="43" y="289"/>
                  </a:lnTo>
                  <a:lnTo>
                    <a:pt x="48" y="286"/>
                  </a:lnTo>
                  <a:lnTo>
                    <a:pt x="52" y="279"/>
                  </a:lnTo>
                  <a:lnTo>
                    <a:pt x="52" y="276"/>
                  </a:lnTo>
                  <a:lnTo>
                    <a:pt x="52" y="273"/>
                  </a:lnTo>
                  <a:lnTo>
                    <a:pt x="46" y="266"/>
                  </a:lnTo>
                  <a:lnTo>
                    <a:pt x="48" y="260"/>
                  </a:lnTo>
                  <a:lnTo>
                    <a:pt x="52" y="247"/>
                  </a:lnTo>
                  <a:lnTo>
                    <a:pt x="61" y="229"/>
                  </a:lnTo>
                  <a:lnTo>
                    <a:pt x="63" y="223"/>
                  </a:lnTo>
                  <a:lnTo>
                    <a:pt x="65" y="217"/>
                  </a:lnTo>
                  <a:lnTo>
                    <a:pt x="63" y="212"/>
                  </a:lnTo>
                  <a:lnTo>
                    <a:pt x="65" y="207"/>
                  </a:lnTo>
                  <a:lnTo>
                    <a:pt x="65" y="202"/>
                  </a:lnTo>
                  <a:lnTo>
                    <a:pt x="68" y="193"/>
                  </a:lnTo>
                  <a:lnTo>
                    <a:pt x="75" y="184"/>
                  </a:lnTo>
                  <a:lnTo>
                    <a:pt x="92" y="174"/>
                  </a:lnTo>
                  <a:lnTo>
                    <a:pt x="96" y="171"/>
                  </a:lnTo>
                  <a:lnTo>
                    <a:pt x="95" y="170"/>
                  </a:lnTo>
                  <a:lnTo>
                    <a:pt x="95" y="167"/>
                  </a:lnTo>
                  <a:lnTo>
                    <a:pt x="92" y="164"/>
                  </a:lnTo>
                  <a:lnTo>
                    <a:pt x="89" y="160"/>
                  </a:lnTo>
                  <a:lnTo>
                    <a:pt x="88" y="156"/>
                  </a:lnTo>
                  <a:lnTo>
                    <a:pt x="89" y="154"/>
                  </a:lnTo>
                  <a:lnTo>
                    <a:pt x="96" y="153"/>
                  </a:lnTo>
                  <a:lnTo>
                    <a:pt x="114" y="154"/>
                  </a:lnTo>
                  <a:lnTo>
                    <a:pt x="139" y="154"/>
                  </a:lnTo>
                  <a:lnTo>
                    <a:pt x="145" y="154"/>
                  </a:lnTo>
                  <a:lnTo>
                    <a:pt x="147" y="156"/>
                  </a:lnTo>
                  <a:lnTo>
                    <a:pt x="147" y="160"/>
                  </a:lnTo>
                  <a:lnTo>
                    <a:pt x="145" y="166"/>
                  </a:lnTo>
                  <a:lnTo>
                    <a:pt x="145" y="170"/>
                  </a:lnTo>
                  <a:lnTo>
                    <a:pt x="147" y="170"/>
                  </a:lnTo>
                  <a:lnTo>
                    <a:pt x="155" y="170"/>
                  </a:lnTo>
                  <a:lnTo>
                    <a:pt x="157" y="167"/>
                  </a:lnTo>
                  <a:lnTo>
                    <a:pt x="162" y="163"/>
                  </a:lnTo>
                  <a:lnTo>
                    <a:pt x="171" y="159"/>
                  </a:lnTo>
                  <a:lnTo>
                    <a:pt x="177" y="160"/>
                  </a:lnTo>
                  <a:lnTo>
                    <a:pt x="181" y="160"/>
                  </a:lnTo>
                  <a:lnTo>
                    <a:pt x="195" y="157"/>
                  </a:lnTo>
                  <a:lnTo>
                    <a:pt x="198" y="157"/>
                  </a:lnTo>
                  <a:lnTo>
                    <a:pt x="207" y="160"/>
                  </a:lnTo>
                  <a:lnTo>
                    <a:pt x="215" y="161"/>
                  </a:lnTo>
                  <a:lnTo>
                    <a:pt x="218" y="161"/>
                  </a:lnTo>
                  <a:lnTo>
                    <a:pt x="220" y="156"/>
                  </a:lnTo>
                  <a:lnTo>
                    <a:pt x="220" y="150"/>
                  </a:lnTo>
                  <a:lnTo>
                    <a:pt x="225" y="120"/>
                  </a:lnTo>
                  <a:lnTo>
                    <a:pt x="227" y="108"/>
                  </a:lnTo>
                  <a:lnTo>
                    <a:pt x="231" y="97"/>
                  </a:lnTo>
                  <a:lnTo>
                    <a:pt x="248" y="64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46" name="Freeform 193"/>
            <p:cNvSpPr>
              <a:spLocks/>
            </p:cNvSpPr>
            <p:nvPr/>
          </p:nvSpPr>
          <p:spPr bwMode="auto">
            <a:xfrm>
              <a:off x="4044458" y="4597893"/>
              <a:ext cx="4885" cy="5292"/>
            </a:xfrm>
            <a:custGeom>
              <a:avLst/>
              <a:gdLst>
                <a:gd name="T0" fmla="*/ 7 w 9"/>
                <a:gd name="T1" fmla="*/ 7 h 9"/>
                <a:gd name="T2" fmla="*/ 7 w 9"/>
                <a:gd name="T3" fmla="*/ 7 h 9"/>
                <a:gd name="T4" fmla="*/ 9 w 9"/>
                <a:gd name="T5" fmla="*/ 5 h 9"/>
                <a:gd name="T6" fmla="*/ 7 w 9"/>
                <a:gd name="T7" fmla="*/ 2 h 9"/>
                <a:gd name="T8" fmla="*/ 7 w 9"/>
                <a:gd name="T9" fmla="*/ 2 h 9"/>
                <a:gd name="T10" fmla="*/ 6 w 9"/>
                <a:gd name="T11" fmla="*/ 2 h 9"/>
                <a:gd name="T12" fmla="*/ 6 w 9"/>
                <a:gd name="T13" fmla="*/ 2 h 9"/>
                <a:gd name="T14" fmla="*/ 3 w 9"/>
                <a:gd name="T15" fmla="*/ 0 h 9"/>
                <a:gd name="T16" fmla="*/ 3 w 9"/>
                <a:gd name="T17" fmla="*/ 0 h 9"/>
                <a:gd name="T18" fmla="*/ 1 w 9"/>
                <a:gd name="T19" fmla="*/ 0 h 9"/>
                <a:gd name="T20" fmla="*/ 1 w 9"/>
                <a:gd name="T21" fmla="*/ 0 h 9"/>
                <a:gd name="T22" fmla="*/ 0 w 9"/>
                <a:gd name="T23" fmla="*/ 2 h 9"/>
                <a:gd name="T24" fmla="*/ 0 w 9"/>
                <a:gd name="T25" fmla="*/ 3 h 9"/>
                <a:gd name="T26" fmla="*/ 0 w 9"/>
                <a:gd name="T27" fmla="*/ 6 h 9"/>
                <a:gd name="T28" fmla="*/ 0 w 9"/>
                <a:gd name="T29" fmla="*/ 6 h 9"/>
                <a:gd name="T30" fmla="*/ 3 w 9"/>
                <a:gd name="T31" fmla="*/ 7 h 9"/>
                <a:gd name="T32" fmla="*/ 3 w 9"/>
                <a:gd name="T33" fmla="*/ 7 h 9"/>
                <a:gd name="T34" fmla="*/ 3 w 9"/>
                <a:gd name="T35" fmla="*/ 7 h 9"/>
                <a:gd name="T36" fmla="*/ 3 w 9"/>
                <a:gd name="T37" fmla="*/ 7 h 9"/>
                <a:gd name="T38" fmla="*/ 6 w 9"/>
                <a:gd name="T3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" h="9">
                  <a:moveTo>
                    <a:pt x="7" y="7"/>
                  </a:moveTo>
                  <a:lnTo>
                    <a:pt x="7" y="7"/>
                  </a:lnTo>
                  <a:lnTo>
                    <a:pt x="9" y="5"/>
                  </a:lnTo>
                  <a:lnTo>
                    <a:pt x="7" y="2"/>
                  </a:lnTo>
                  <a:lnTo>
                    <a:pt x="7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6" y="9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47" name="Freeform 194"/>
            <p:cNvSpPr>
              <a:spLocks/>
            </p:cNvSpPr>
            <p:nvPr/>
          </p:nvSpPr>
          <p:spPr bwMode="auto">
            <a:xfrm>
              <a:off x="4027362" y="4633612"/>
              <a:ext cx="7327" cy="6615"/>
            </a:xfrm>
            <a:custGeom>
              <a:avLst/>
              <a:gdLst>
                <a:gd name="T0" fmla="*/ 10 w 11"/>
                <a:gd name="T1" fmla="*/ 3 h 10"/>
                <a:gd name="T2" fmla="*/ 10 w 11"/>
                <a:gd name="T3" fmla="*/ 3 h 10"/>
                <a:gd name="T4" fmla="*/ 7 w 11"/>
                <a:gd name="T5" fmla="*/ 0 h 10"/>
                <a:gd name="T6" fmla="*/ 6 w 11"/>
                <a:gd name="T7" fmla="*/ 0 h 10"/>
                <a:gd name="T8" fmla="*/ 4 w 11"/>
                <a:gd name="T9" fmla="*/ 1 h 10"/>
                <a:gd name="T10" fmla="*/ 4 w 11"/>
                <a:gd name="T11" fmla="*/ 1 h 10"/>
                <a:gd name="T12" fmla="*/ 3 w 11"/>
                <a:gd name="T13" fmla="*/ 3 h 10"/>
                <a:gd name="T14" fmla="*/ 3 w 11"/>
                <a:gd name="T15" fmla="*/ 3 h 10"/>
                <a:gd name="T16" fmla="*/ 1 w 11"/>
                <a:gd name="T17" fmla="*/ 5 h 10"/>
                <a:gd name="T18" fmla="*/ 1 w 11"/>
                <a:gd name="T19" fmla="*/ 5 h 10"/>
                <a:gd name="T20" fmla="*/ 0 w 11"/>
                <a:gd name="T21" fmla="*/ 7 h 10"/>
                <a:gd name="T22" fmla="*/ 0 w 11"/>
                <a:gd name="T23" fmla="*/ 7 h 10"/>
                <a:gd name="T24" fmla="*/ 1 w 11"/>
                <a:gd name="T25" fmla="*/ 8 h 10"/>
                <a:gd name="T26" fmla="*/ 3 w 11"/>
                <a:gd name="T27" fmla="*/ 10 h 10"/>
                <a:gd name="T28" fmla="*/ 7 w 11"/>
                <a:gd name="T29" fmla="*/ 10 h 10"/>
                <a:gd name="T30" fmla="*/ 7 w 11"/>
                <a:gd name="T31" fmla="*/ 10 h 10"/>
                <a:gd name="T32" fmla="*/ 8 w 11"/>
                <a:gd name="T33" fmla="*/ 7 h 10"/>
                <a:gd name="T34" fmla="*/ 8 w 11"/>
                <a:gd name="T35" fmla="*/ 7 h 10"/>
                <a:gd name="T36" fmla="*/ 10 w 11"/>
                <a:gd name="T37" fmla="*/ 7 h 10"/>
                <a:gd name="T38" fmla="*/ 10 w 11"/>
                <a:gd name="T39" fmla="*/ 7 h 10"/>
                <a:gd name="T40" fmla="*/ 11 w 11"/>
                <a:gd name="T41" fmla="*/ 4 h 10"/>
                <a:gd name="T42" fmla="*/ 10 w 11"/>
                <a:gd name="T43" fmla="*/ 3 h 10"/>
                <a:gd name="T44" fmla="*/ 10 w 11"/>
                <a:gd name="T4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" h="10">
                  <a:moveTo>
                    <a:pt x="10" y="3"/>
                  </a:moveTo>
                  <a:lnTo>
                    <a:pt x="10" y="3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3" y="3"/>
                  </a:lnTo>
                  <a:lnTo>
                    <a:pt x="3" y="3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8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8" y="7"/>
                  </a:lnTo>
                  <a:lnTo>
                    <a:pt x="8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1" y="4"/>
                  </a:lnTo>
                  <a:lnTo>
                    <a:pt x="10" y="3"/>
                  </a:lnTo>
                  <a:lnTo>
                    <a:pt x="10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48" name="Freeform 195"/>
            <p:cNvSpPr>
              <a:spLocks/>
            </p:cNvSpPr>
            <p:nvPr/>
          </p:nvSpPr>
          <p:spPr bwMode="auto">
            <a:xfrm>
              <a:off x="4060333" y="4617737"/>
              <a:ext cx="6106" cy="5292"/>
            </a:xfrm>
            <a:custGeom>
              <a:avLst/>
              <a:gdLst>
                <a:gd name="T0" fmla="*/ 9 w 10"/>
                <a:gd name="T1" fmla="*/ 8 h 9"/>
                <a:gd name="T2" fmla="*/ 9 w 10"/>
                <a:gd name="T3" fmla="*/ 8 h 9"/>
                <a:gd name="T4" fmla="*/ 10 w 10"/>
                <a:gd name="T5" fmla="*/ 5 h 9"/>
                <a:gd name="T6" fmla="*/ 10 w 10"/>
                <a:gd name="T7" fmla="*/ 3 h 9"/>
                <a:gd name="T8" fmla="*/ 9 w 10"/>
                <a:gd name="T9" fmla="*/ 2 h 9"/>
                <a:gd name="T10" fmla="*/ 9 w 10"/>
                <a:gd name="T11" fmla="*/ 2 h 9"/>
                <a:gd name="T12" fmla="*/ 6 w 10"/>
                <a:gd name="T13" fmla="*/ 2 h 9"/>
                <a:gd name="T14" fmla="*/ 6 w 10"/>
                <a:gd name="T15" fmla="*/ 2 h 9"/>
                <a:gd name="T16" fmla="*/ 3 w 10"/>
                <a:gd name="T17" fmla="*/ 2 h 9"/>
                <a:gd name="T18" fmla="*/ 3 w 10"/>
                <a:gd name="T19" fmla="*/ 2 h 9"/>
                <a:gd name="T20" fmla="*/ 2 w 10"/>
                <a:gd name="T21" fmla="*/ 0 h 9"/>
                <a:gd name="T22" fmla="*/ 2 w 10"/>
                <a:gd name="T23" fmla="*/ 0 h 9"/>
                <a:gd name="T24" fmla="*/ 0 w 10"/>
                <a:gd name="T25" fmla="*/ 2 h 9"/>
                <a:gd name="T26" fmla="*/ 0 w 10"/>
                <a:gd name="T27" fmla="*/ 5 h 9"/>
                <a:gd name="T28" fmla="*/ 2 w 10"/>
                <a:gd name="T29" fmla="*/ 8 h 9"/>
                <a:gd name="T30" fmla="*/ 2 w 10"/>
                <a:gd name="T31" fmla="*/ 8 h 9"/>
                <a:gd name="T32" fmla="*/ 5 w 10"/>
                <a:gd name="T33" fmla="*/ 9 h 9"/>
                <a:gd name="T34" fmla="*/ 5 w 10"/>
                <a:gd name="T35" fmla="*/ 9 h 9"/>
                <a:gd name="T36" fmla="*/ 6 w 10"/>
                <a:gd name="T37" fmla="*/ 9 h 9"/>
                <a:gd name="T38" fmla="*/ 6 w 10"/>
                <a:gd name="T39" fmla="*/ 9 h 9"/>
                <a:gd name="T40" fmla="*/ 9 w 10"/>
                <a:gd name="T41" fmla="*/ 8 h 9"/>
                <a:gd name="T42" fmla="*/ 9 w 10"/>
                <a:gd name="T4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9">
                  <a:moveTo>
                    <a:pt x="9" y="8"/>
                  </a:moveTo>
                  <a:lnTo>
                    <a:pt x="9" y="8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9" y="2"/>
                  </a:lnTo>
                  <a:lnTo>
                    <a:pt x="9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8"/>
                  </a:lnTo>
                  <a:lnTo>
                    <a:pt x="2" y="8"/>
                  </a:lnTo>
                  <a:lnTo>
                    <a:pt x="5" y="9"/>
                  </a:lnTo>
                  <a:lnTo>
                    <a:pt x="5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9" y="8"/>
                  </a:lnTo>
                  <a:lnTo>
                    <a:pt x="9" y="8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49" name="Freeform 196"/>
            <p:cNvSpPr>
              <a:spLocks/>
            </p:cNvSpPr>
            <p:nvPr/>
          </p:nvSpPr>
          <p:spPr bwMode="auto">
            <a:xfrm>
              <a:off x="4023699" y="4640226"/>
              <a:ext cx="4885" cy="5292"/>
            </a:xfrm>
            <a:custGeom>
              <a:avLst/>
              <a:gdLst>
                <a:gd name="T0" fmla="*/ 6 w 9"/>
                <a:gd name="T1" fmla="*/ 7 h 7"/>
                <a:gd name="T2" fmla="*/ 7 w 9"/>
                <a:gd name="T3" fmla="*/ 5 h 7"/>
                <a:gd name="T4" fmla="*/ 7 w 9"/>
                <a:gd name="T5" fmla="*/ 5 h 7"/>
                <a:gd name="T6" fmla="*/ 9 w 9"/>
                <a:gd name="T7" fmla="*/ 4 h 7"/>
                <a:gd name="T8" fmla="*/ 7 w 9"/>
                <a:gd name="T9" fmla="*/ 1 h 7"/>
                <a:gd name="T10" fmla="*/ 7 w 9"/>
                <a:gd name="T11" fmla="*/ 1 h 7"/>
                <a:gd name="T12" fmla="*/ 6 w 9"/>
                <a:gd name="T13" fmla="*/ 1 h 7"/>
                <a:gd name="T14" fmla="*/ 6 w 9"/>
                <a:gd name="T15" fmla="*/ 1 h 7"/>
                <a:gd name="T16" fmla="*/ 3 w 9"/>
                <a:gd name="T17" fmla="*/ 0 h 7"/>
                <a:gd name="T18" fmla="*/ 3 w 9"/>
                <a:gd name="T19" fmla="*/ 0 h 7"/>
                <a:gd name="T20" fmla="*/ 2 w 9"/>
                <a:gd name="T21" fmla="*/ 0 h 7"/>
                <a:gd name="T22" fmla="*/ 2 w 9"/>
                <a:gd name="T23" fmla="*/ 0 h 7"/>
                <a:gd name="T24" fmla="*/ 0 w 9"/>
                <a:gd name="T25" fmla="*/ 3 h 7"/>
                <a:gd name="T26" fmla="*/ 2 w 9"/>
                <a:gd name="T27" fmla="*/ 5 h 7"/>
                <a:gd name="T28" fmla="*/ 2 w 9"/>
                <a:gd name="T29" fmla="*/ 5 h 7"/>
                <a:gd name="T30" fmla="*/ 3 w 9"/>
                <a:gd name="T31" fmla="*/ 5 h 7"/>
                <a:gd name="T32" fmla="*/ 3 w 9"/>
                <a:gd name="T33" fmla="*/ 5 h 7"/>
                <a:gd name="T34" fmla="*/ 4 w 9"/>
                <a:gd name="T35" fmla="*/ 7 h 7"/>
                <a:gd name="T36" fmla="*/ 4 w 9"/>
                <a:gd name="T37" fmla="*/ 7 h 7"/>
                <a:gd name="T38" fmla="*/ 6 w 9"/>
                <a:gd name="T39" fmla="*/ 7 h 7"/>
                <a:gd name="T40" fmla="*/ 6 w 9"/>
                <a:gd name="T4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7">
                  <a:moveTo>
                    <a:pt x="6" y="7"/>
                  </a:moveTo>
                  <a:lnTo>
                    <a:pt x="7" y="5"/>
                  </a:lnTo>
                  <a:lnTo>
                    <a:pt x="7" y="5"/>
                  </a:lnTo>
                  <a:lnTo>
                    <a:pt x="9" y="4"/>
                  </a:lnTo>
                  <a:lnTo>
                    <a:pt x="7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7"/>
                  </a:lnTo>
                  <a:lnTo>
                    <a:pt x="4" y="7"/>
                  </a:lnTo>
                  <a:lnTo>
                    <a:pt x="6" y="7"/>
                  </a:lnTo>
                  <a:lnTo>
                    <a:pt x="6" y="7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50" name="Freeform 197"/>
            <p:cNvSpPr>
              <a:spLocks/>
            </p:cNvSpPr>
            <p:nvPr/>
          </p:nvSpPr>
          <p:spPr bwMode="auto">
            <a:xfrm>
              <a:off x="4740509" y="4865120"/>
              <a:ext cx="271094" cy="500058"/>
            </a:xfrm>
            <a:custGeom>
              <a:avLst/>
              <a:gdLst>
                <a:gd name="T0" fmla="*/ 64 w 444"/>
                <a:gd name="T1" fmla="*/ 59 h 756"/>
                <a:gd name="T2" fmla="*/ 115 w 444"/>
                <a:gd name="T3" fmla="*/ 56 h 756"/>
                <a:gd name="T4" fmla="*/ 123 w 444"/>
                <a:gd name="T5" fmla="*/ 39 h 756"/>
                <a:gd name="T6" fmla="*/ 140 w 444"/>
                <a:gd name="T7" fmla="*/ 33 h 756"/>
                <a:gd name="T8" fmla="*/ 159 w 444"/>
                <a:gd name="T9" fmla="*/ 26 h 756"/>
                <a:gd name="T10" fmla="*/ 178 w 444"/>
                <a:gd name="T11" fmla="*/ 15 h 756"/>
                <a:gd name="T12" fmla="*/ 195 w 444"/>
                <a:gd name="T13" fmla="*/ 9 h 756"/>
                <a:gd name="T14" fmla="*/ 221 w 444"/>
                <a:gd name="T15" fmla="*/ 12 h 756"/>
                <a:gd name="T16" fmla="*/ 236 w 444"/>
                <a:gd name="T17" fmla="*/ 20 h 756"/>
                <a:gd name="T18" fmla="*/ 256 w 444"/>
                <a:gd name="T19" fmla="*/ 30 h 756"/>
                <a:gd name="T20" fmla="*/ 281 w 444"/>
                <a:gd name="T21" fmla="*/ 19 h 756"/>
                <a:gd name="T22" fmla="*/ 294 w 444"/>
                <a:gd name="T23" fmla="*/ 29 h 756"/>
                <a:gd name="T24" fmla="*/ 407 w 444"/>
                <a:gd name="T25" fmla="*/ 12 h 756"/>
                <a:gd name="T26" fmla="*/ 407 w 444"/>
                <a:gd name="T27" fmla="*/ 36 h 756"/>
                <a:gd name="T28" fmla="*/ 390 w 444"/>
                <a:gd name="T29" fmla="*/ 56 h 756"/>
                <a:gd name="T30" fmla="*/ 392 w 444"/>
                <a:gd name="T31" fmla="*/ 79 h 756"/>
                <a:gd name="T32" fmla="*/ 425 w 444"/>
                <a:gd name="T33" fmla="*/ 116 h 756"/>
                <a:gd name="T34" fmla="*/ 444 w 444"/>
                <a:gd name="T35" fmla="*/ 173 h 756"/>
                <a:gd name="T36" fmla="*/ 425 w 444"/>
                <a:gd name="T37" fmla="*/ 191 h 756"/>
                <a:gd name="T38" fmla="*/ 414 w 444"/>
                <a:gd name="T39" fmla="*/ 202 h 756"/>
                <a:gd name="T40" fmla="*/ 382 w 444"/>
                <a:gd name="T41" fmla="*/ 212 h 756"/>
                <a:gd name="T42" fmla="*/ 364 w 444"/>
                <a:gd name="T43" fmla="*/ 226 h 756"/>
                <a:gd name="T44" fmla="*/ 352 w 444"/>
                <a:gd name="T45" fmla="*/ 262 h 756"/>
                <a:gd name="T46" fmla="*/ 362 w 444"/>
                <a:gd name="T47" fmla="*/ 304 h 756"/>
                <a:gd name="T48" fmla="*/ 357 w 444"/>
                <a:gd name="T49" fmla="*/ 345 h 756"/>
                <a:gd name="T50" fmla="*/ 315 w 444"/>
                <a:gd name="T51" fmla="*/ 400 h 756"/>
                <a:gd name="T52" fmla="*/ 355 w 444"/>
                <a:gd name="T53" fmla="*/ 400 h 756"/>
                <a:gd name="T54" fmla="*/ 372 w 444"/>
                <a:gd name="T55" fmla="*/ 421 h 756"/>
                <a:gd name="T56" fmla="*/ 367 w 444"/>
                <a:gd name="T57" fmla="*/ 461 h 756"/>
                <a:gd name="T58" fmla="*/ 334 w 444"/>
                <a:gd name="T59" fmla="*/ 536 h 756"/>
                <a:gd name="T60" fmla="*/ 327 w 444"/>
                <a:gd name="T61" fmla="*/ 566 h 756"/>
                <a:gd name="T62" fmla="*/ 345 w 444"/>
                <a:gd name="T63" fmla="*/ 616 h 756"/>
                <a:gd name="T64" fmla="*/ 348 w 444"/>
                <a:gd name="T65" fmla="*/ 658 h 756"/>
                <a:gd name="T66" fmla="*/ 332 w 444"/>
                <a:gd name="T67" fmla="*/ 691 h 756"/>
                <a:gd name="T68" fmla="*/ 286 w 444"/>
                <a:gd name="T69" fmla="*/ 735 h 756"/>
                <a:gd name="T70" fmla="*/ 254 w 444"/>
                <a:gd name="T71" fmla="*/ 742 h 756"/>
                <a:gd name="T72" fmla="*/ 265 w 444"/>
                <a:gd name="T73" fmla="*/ 715 h 756"/>
                <a:gd name="T74" fmla="*/ 231 w 444"/>
                <a:gd name="T75" fmla="*/ 705 h 756"/>
                <a:gd name="T76" fmla="*/ 199 w 444"/>
                <a:gd name="T77" fmla="*/ 693 h 756"/>
                <a:gd name="T78" fmla="*/ 163 w 444"/>
                <a:gd name="T79" fmla="*/ 685 h 756"/>
                <a:gd name="T80" fmla="*/ 149 w 444"/>
                <a:gd name="T81" fmla="*/ 669 h 756"/>
                <a:gd name="T82" fmla="*/ 140 w 444"/>
                <a:gd name="T83" fmla="*/ 648 h 756"/>
                <a:gd name="T84" fmla="*/ 136 w 444"/>
                <a:gd name="T85" fmla="*/ 623 h 756"/>
                <a:gd name="T86" fmla="*/ 142 w 444"/>
                <a:gd name="T87" fmla="*/ 593 h 756"/>
                <a:gd name="T88" fmla="*/ 115 w 444"/>
                <a:gd name="T89" fmla="*/ 552 h 756"/>
                <a:gd name="T90" fmla="*/ 143 w 444"/>
                <a:gd name="T91" fmla="*/ 532 h 756"/>
                <a:gd name="T92" fmla="*/ 126 w 444"/>
                <a:gd name="T93" fmla="*/ 511 h 756"/>
                <a:gd name="T94" fmla="*/ 92 w 444"/>
                <a:gd name="T95" fmla="*/ 440 h 756"/>
                <a:gd name="T96" fmla="*/ 52 w 444"/>
                <a:gd name="T97" fmla="*/ 385 h 756"/>
                <a:gd name="T98" fmla="*/ 16 w 444"/>
                <a:gd name="T99" fmla="*/ 331 h 756"/>
                <a:gd name="T100" fmla="*/ 4 w 444"/>
                <a:gd name="T101" fmla="*/ 278 h 756"/>
                <a:gd name="T102" fmla="*/ 19 w 444"/>
                <a:gd name="T103" fmla="*/ 248 h 756"/>
                <a:gd name="T104" fmla="*/ 17 w 444"/>
                <a:gd name="T105" fmla="*/ 214 h 756"/>
                <a:gd name="T106" fmla="*/ 17 w 444"/>
                <a:gd name="T107" fmla="*/ 171 h 756"/>
                <a:gd name="T108" fmla="*/ 13 w 444"/>
                <a:gd name="T109" fmla="*/ 98 h 756"/>
                <a:gd name="T110" fmla="*/ 17 w 444"/>
                <a:gd name="T111" fmla="*/ 72 h 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44" h="756">
                  <a:moveTo>
                    <a:pt x="10" y="59"/>
                  </a:moveTo>
                  <a:lnTo>
                    <a:pt x="37" y="55"/>
                  </a:lnTo>
                  <a:lnTo>
                    <a:pt x="47" y="52"/>
                  </a:lnTo>
                  <a:lnTo>
                    <a:pt x="50" y="53"/>
                  </a:lnTo>
                  <a:lnTo>
                    <a:pt x="53" y="55"/>
                  </a:lnTo>
                  <a:lnTo>
                    <a:pt x="62" y="59"/>
                  </a:lnTo>
                  <a:lnTo>
                    <a:pt x="64" y="59"/>
                  </a:lnTo>
                  <a:lnTo>
                    <a:pt x="75" y="56"/>
                  </a:lnTo>
                  <a:lnTo>
                    <a:pt x="80" y="52"/>
                  </a:lnTo>
                  <a:lnTo>
                    <a:pt x="89" y="52"/>
                  </a:lnTo>
                  <a:lnTo>
                    <a:pt x="95" y="52"/>
                  </a:lnTo>
                  <a:lnTo>
                    <a:pt x="100" y="53"/>
                  </a:lnTo>
                  <a:lnTo>
                    <a:pt x="106" y="55"/>
                  </a:lnTo>
                  <a:lnTo>
                    <a:pt x="115" y="56"/>
                  </a:lnTo>
                  <a:lnTo>
                    <a:pt x="120" y="55"/>
                  </a:lnTo>
                  <a:lnTo>
                    <a:pt x="122" y="50"/>
                  </a:lnTo>
                  <a:lnTo>
                    <a:pt x="120" y="47"/>
                  </a:lnTo>
                  <a:lnTo>
                    <a:pt x="119" y="46"/>
                  </a:lnTo>
                  <a:lnTo>
                    <a:pt x="120" y="45"/>
                  </a:lnTo>
                  <a:lnTo>
                    <a:pt x="120" y="40"/>
                  </a:lnTo>
                  <a:lnTo>
                    <a:pt x="123" y="39"/>
                  </a:lnTo>
                  <a:lnTo>
                    <a:pt x="126" y="39"/>
                  </a:lnTo>
                  <a:lnTo>
                    <a:pt x="130" y="39"/>
                  </a:lnTo>
                  <a:lnTo>
                    <a:pt x="136" y="40"/>
                  </a:lnTo>
                  <a:lnTo>
                    <a:pt x="138" y="39"/>
                  </a:lnTo>
                  <a:lnTo>
                    <a:pt x="139" y="39"/>
                  </a:lnTo>
                  <a:lnTo>
                    <a:pt x="140" y="35"/>
                  </a:lnTo>
                  <a:lnTo>
                    <a:pt x="140" y="33"/>
                  </a:lnTo>
                  <a:lnTo>
                    <a:pt x="148" y="33"/>
                  </a:lnTo>
                  <a:lnTo>
                    <a:pt x="150" y="33"/>
                  </a:lnTo>
                  <a:lnTo>
                    <a:pt x="153" y="32"/>
                  </a:lnTo>
                  <a:lnTo>
                    <a:pt x="155" y="30"/>
                  </a:lnTo>
                  <a:lnTo>
                    <a:pt x="156" y="27"/>
                  </a:lnTo>
                  <a:lnTo>
                    <a:pt x="156" y="27"/>
                  </a:lnTo>
                  <a:lnTo>
                    <a:pt x="159" y="26"/>
                  </a:lnTo>
                  <a:lnTo>
                    <a:pt x="162" y="25"/>
                  </a:lnTo>
                  <a:lnTo>
                    <a:pt x="168" y="25"/>
                  </a:lnTo>
                  <a:lnTo>
                    <a:pt x="170" y="22"/>
                  </a:lnTo>
                  <a:lnTo>
                    <a:pt x="170" y="17"/>
                  </a:lnTo>
                  <a:lnTo>
                    <a:pt x="173" y="16"/>
                  </a:lnTo>
                  <a:lnTo>
                    <a:pt x="178" y="16"/>
                  </a:lnTo>
                  <a:lnTo>
                    <a:pt x="178" y="15"/>
                  </a:lnTo>
                  <a:lnTo>
                    <a:pt x="180" y="10"/>
                  </a:lnTo>
                  <a:lnTo>
                    <a:pt x="186" y="7"/>
                  </a:lnTo>
                  <a:lnTo>
                    <a:pt x="191" y="3"/>
                  </a:lnTo>
                  <a:lnTo>
                    <a:pt x="192" y="0"/>
                  </a:lnTo>
                  <a:lnTo>
                    <a:pt x="193" y="0"/>
                  </a:lnTo>
                  <a:lnTo>
                    <a:pt x="196" y="3"/>
                  </a:lnTo>
                  <a:lnTo>
                    <a:pt x="195" y="9"/>
                  </a:lnTo>
                  <a:lnTo>
                    <a:pt x="193" y="13"/>
                  </a:lnTo>
                  <a:lnTo>
                    <a:pt x="193" y="15"/>
                  </a:lnTo>
                  <a:lnTo>
                    <a:pt x="196" y="19"/>
                  </a:lnTo>
                  <a:lnTo>
                    <a:pt x="198" y="20"/>
                  </a:lnTo>
                  <a:lnTo>
                    <a:pt x="209" y="19"/>
                  </a:lnTo>
                  <a:lnTo>
                    <a:pt x="213" y="16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6" y="15"/>
                  </a:lnTo>
                  <a:lnTo>
                    <a:pt x="229" y="15"/>
                  </a:lnTo>
                  <a:lnTo>
                    <a:pt x="232" y="13"/>
                  </a:lnTo>
                  <a:lnTo>
                    <a:pt x="238" y="13"/>
                  </a:lnTo>
                  <a:lnTo>
                    <a:pt x="239" y="19"/>
                  </a:lnTo>
                  <a:lnTo>
                    <a:pt x="236" y="20"/>
                  </a:lnTo>
                  <a:lnTo>
                    <a:pt x="236" y="25"/>
                  </a:lnTo>
                  <a:lnTo>
                    <a:pt x="236" y="26"/>
                  </a:lnTo>
                  <a:lnTo>
                    <a:pt x="241" y="26"/>
                  </a:lnTo>
                  <a:lnTo>
                    <a:pt x="249" y="25"/>
                  </a:lnTo>
                  <a:lnTo>
                    <a:pt x="251" y="27"/>
                  </a:lnTo>
                  <a:lnTo>
                    <a:pt x="254" y="30"/>
                  </a:lnTo>
                  <a:lnTo>
                    <a:pt x="256" y="30"/>
                  </a:lnTo>
                  <a:lnTo>
                    <a:pt x="262" y="30"/>
                  </a:lnTo>
                  <a:lnTo>
                    <a:pt x="265" y="26"/>
                  </a:lnTo>
                  <a:lnTo>
                    <a:pt x="266" y="20"/>
                  </a:lnTo>
                  <a:lnTo>
                    <a:pt x="266" y="16"/>
                  </a:lnTo>
                  <a:lnTo>
                    <a:pt x="271" y="16"/>
                  </a:lnTo>
                  <a:lnTo>
                    <a:pt x="275" y="17"/>
                  </a:lnTo>
                  <a:lnTo>
                    <a:pt x="281" y="19"/>
                  </a:lnTo>
                  <a:lnTo>
                    <a:pt x="288" y="17"/>
                  </a:lnTo>
                  <a:lnTo>
                    <a:pt x="292" y="23"/>
                  </a:lnTo>
                  <a:lnTo>
                    <a:pt x="289" y="23"/>
                  </a:lnTo>
                  <a:lnTo>
                    <a:pt x="288" y="26"/>
                  </a:lnTo>
                  <a:lnTo>
                    <a:pt x="286" y="26"/>
                  </a:lnTo>
                  <a:lnTo>
                    <a:pt x="288" y="27"/>
                  </a:lnTo>
                  <a:lnTo>
                    <a:pt x="294" y="29"/>
                  </a:lnTo>
                  <a:lnTo>
                    <a:pt x="307" y="23"/>
                  </a:lnTo>
                  <a:lnTo>
                    <a:pt x="312" y="33"/>
                  </a:lnTo>
                  <a:lnTo>
                    <a:pt x="305" y="37"/>
                  </a:lnTo>
                  <a:lnTo>
                    <a:pt x="308" y="45"/>
                  </a:lnTo>
                  <a:lnTo>
                    <a:pt x="384" y="13"/>
                  </a:lnTo>
                  <a:lnTo>
                    <a:pt x="392" y="25"/>
                  </a:lnTo>
                  <a:lnTo>
                    <a:pt x="407" y="12"/>
                  </a:lnTo>
                  <a:lnTo>
                    <a:pt x="404" y="25"/>
                  </a:lnTo>
                  <a:lnTo>
                    <a:pt x="404" y="27"/>
                  </a:lnTo>
                  <a:lnTo>
                    <a:pt x="405" y="29"/>
                  </a:lnTo>
                  <a:lnTo>
                    <a:pt x="410" y="32"/>
                  </a:lnTo>
                  <a:lnTo>
                    <a:pt x="410" y="33"/>
                  </a:lnTo>
                  <a:lnTo>
                    <a:pt x="410" y="35"/>
                  </a:lnTo>
                  <a:lnTo>
                    <a:pt x="407" y="36"/>
                  </a:lnTo>
                  <a:lnTo>
                    <a:pt x="404" y="35"/>
                  </a:lnTo>
                  <a:lnTo>
                    <a:pt x="401" y="45"/>
                  </a:lnTo>
                  <a:lnTo>
                    <a:pt x="390" y="42"/>
                  </a:lnTo>
                  <a:lnTo>
                    <a:pt x="388" y="45"/>
                  </a:lnTo>
                  <a:lnTo>
                    <a:pt x="388" y="49"/>
                  </a:lnTo>
                  <a:lnTo>
                    <a:pt x="387" y="53"/>
                  </a:lnTo>
                  <a:lnTo>
                    <a:pt x="390" y="56"/>
                  </a:lnTo>
                  <a:lnTo>
                    <a:pt x="395" y="59"/>
                  </a:lnTo>
                  <a:lnTo>
                    <a:pt x="395" y="65"/>
                  </a:lnTo>
                  <a:lnTo>
                    <a:pt x="395" y="69"/>
                  </a:lnTo>
                  <a:lnTo>
                    <a:pt x="392" y="72"/>
                  </a:lnTo>
                  <a:lnTo>
                    <a:pt x="390" y="73"/>
                  </a:lnTo>
                  <a:lnTo>
                    <a:pt x="391" y="78"/>
                  </a:lnTo>
                  <a:lnTo>
                    <a:pt x="392" y="79"/>
                  </a:lnTo>
                  <a:lnTo>
                    <a:pt x="401" y="83"/>
                  </a:lnTo>
                  <a:lnTo>
                    <a:pt x="402" y="89"/>
                  </a:lnTo>
                  <a:lnTo>
                    <a:pt x="411" y="89"/>
                  </a:lnTo>
                  <a:lnTo>
                    <a:pt x="415" y="98"/>
                  </a:lnTo>
                  <a:lnTo>
                    <a:pt x="423" y="103"/>
                  </a:lnTo>
                  <a:lnTo>
                    <a:pt x="427" y="109"/>
                  </a:lnTo>
                  <a:lnTo>
                    <a:pt x="425" y="116"/>
                  </a:lnTo>
                  <a:lnTo>
                    <a:pt x="430" y="122"/>
                  </a:lnTo>
                  <a:lnTo>
                    <a:pt x="433" y="132"/>
                  </a:lnTo>
                  <a:lnTo>
                    <a:pt x="435" y="138"/>
                  </a:lnTo>
                  <a:lnTo>
                    <a:pt x="437" y="142"/>
                  </a:lnTo>
                  <a:lnTo>
                    <a:pt x="437" y="142"/>
                  </a:lnTo>
                  <a:lnTo>
                    <a:pt x="441" y="156"/>
                  </a:lnTo>
                  <a:lnTo>
                    <a:pt x="444" y="173"/>
                  </a:lnTo>
                  <a:lnTo>
                    <a:pt x="444" y="173"/>
                  </a:lnTo>
                  <a:lnTo>
                    <a:pt x="443" y="181"/>
                  </a:lnTo>
                  <a:lnTo>
                    <a:pt x="441" y="186"/>
                  </a:lnTo>
                  <a:lnTo>
                    <a:pt x="438" y="188"/>
                  </a:lnTo>
                  <a:lnTo>
                    <a:pt x="435" y="189"/>
                  </a:lnTo>
                  <a:lnTo>
                    <a:pt x="431" y="191"/>
                  </a:lnTo>
                  <a:lnTo>
                    <a:pt x="425" y="191"/>
                  </a:lnTo>
                  <a:lnTo>
                    <a:pt x="425" y="191"/>
                  </a:lnTo>
                  <a:lnTo>
                    <a:pt x="421" y="192"/>
                  </a:lnTo>
                  <a:lnTo>
                    <a:pt x="420" y="192"/>
                  </a:lnTo>
                  <a:lnTo>
                    <a:pt x="418" y="194"/>
                  </a:lnTo>
                  <a:lnTo>
                    <a:pt x="417" y="195"/>
                  </a:lnTo>
                  <a:lnTo>
                    <a:pt x="415" y="199"/>
                  </a:lnTo>
                  <a:lnTo>
                    <a:pt x="414" y="202"/>
                  </a:lnTo>
                  <a:lnTo>
                    <a:pt x="413" y="204"/>
                  </a:lnTo>
                  <a:lnTo>
                    <a:pt x="413" y="204"/>
                  </a:lnTo>
                  <a:lnTo>
                    <a:pt x="405" y="208"/>
                  </a:lnTo>
                  <a:lnTo>
                    <a:pt x="400" y="211"/>
                  </a:lnTo>
                  <a:lnTo>
                    <a:pt x="391" y="212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72" y="212"/>
                  </a:lnTo>
                  <a:lnTo>
                    <a:pt x="371" y="214"/>
                  </a:lnTo>
                  <a:lnTo>
                    <a:pt x="370" y="218"/>
                  </a:lnTo>
                  <a:lnTo>
                    <a:pt x="370" y="218"/>
                  </a:lnTo>
                  <a:lnTo>
                    <a:pt x="368" y="222"/>
                  </a:lnTo>
                  <a:lnTo>
                    <a:pt x="367" y="224"/>
                  </a:lnTo>
                  <a:lnTo>
                    <a:pt x="364" y="226"/>
                  </a:lnTo>
                  <a:lnTo>
                    <a:pt x="361" y="229"/>
                  </a:lnTo>
                  <a:lnTo>
                    <a:pt x="361" y="231"/>
                  </a:lnTo>
                  <a:lnTo>
                    <a:pt x="361" y="235"/>
                  </a:lnTo>
                  <a:lnTo>
                    <a:pt x="362" y="247"/>
                  </a:lnTo>
                  <a:lnTo>
                    <a:pt x="355" y="252"/>
                  </a:lnTo>
                  <a:lnTo>
                    <a:pt x="352" y="257"/>
                  </a:lnTo>
                  <a:lnTo>
                    <a:pt x="352" y="262"/>
                  </a:lnTo>
                  <a:lnTo>
                    <a:pt x="355" y="268"/>
                  </a:lnTo>
                  <a:lnTo>
                    <a:pt x="354" y="275"/>
                  </a:lnTo>
                  <a:lnTo>
                    <a:pt x="354" y="282"/>
                  </a:lnTo>
                  <a:lnTo>
                    <a:pt x="357" y="288"/>
                  </a:lnTo>
                  <a:lnTo>
                    <a:pt x="360" y="292"/>
                  </a:lnTo>
                  <a:lnTo>
                    <a:pt x="362" y="297"/>
                  </a:lnTo>
                  <a:lnTo>
                    <a:pt x="362" y="304"/>
                  </a:lnTo>
                  <a:lnTo>
                    <a:pt x="355" y="314"/>
                  </a:lnTo>
                  <a:lnTo>
                    <a:pt x="355" y="322"/>
                  </a:lnTo>
                  <a:lnTo>
                    <a:pt x="355" y="325"/>
                  </a:lnTo>
                  <a:lnTo>
                    <a:pt x="362" y="327"/>
                  </a:lnTo>
                  <a:lnTo>
                    <a:pt x="361" y="335"/>
                  </a:lnTo>
                  <a:lnTo>
                    <a:pt x="360" y="342"/>
                  </a:lnTo>
                  <a:lnTo>
                    <a:pt x="357" y="345"/>
                  </a:lnTo>
                  <a:lnTo>
                    <a:pt x="347" y="345"/>
                  </a:lnTo>
                  <a:lnTo>
                    <a:pt x="338" y="374"/>
                  </a:lnTo>
                  <a:lnTo>
                    <a:pt x="335" y="388"/>
                  </a:lnTo>
                  <a:lnTo>
                    <a:pt x="331" y="400"/>
                  </a:lnTo>
                  <a:lnTo>
                    <a:pt x="324" y="400"/>
                  </a:lnTo>
                  <a:lnTo>
                    <a:pt x="317" y="398"/>
                  </a:lnTo>
                  <a:lnTo>
                    <a:pt x="315" y="400"/>
                  </a:lnTo>
                  <a:lnTo>
                    <a:pt x="314" y="403"/>
                  </a:lnTo>
                  <a:lnTo>
                    <a:pt x="324" y="408"/>
                  </a:lnTo>
                  <a:lnTo>
                    <a:pt x="331" y="410"/>
                  </a:lnTo>
                  <a:lnTo>
                    <a:pt x="341" y="410"/>
                  </a:lnTo>
                  <a:lnTo>
                    <a:pt x="352" y="407"/>
                  </a:lnTo>
                  <a:lnTo>
                    <a:pt x="354" y="403"/>
                  </a:lnTo>
                  <a:lnTo>
                    <a:pt x="355" y="400"/>
                  </a:lnTo>
                  <a:lnTo>
                    <a:pt x="357" y="398"/>
                  </a:lnTo>
                  <a:lnTo>
                    <a:pt x="360" y="398"/>
                  </a:lnTo>
                  <a:lnTo>
                    <a:pt x="362" y="400"/>
                  </a:lnTo>
                  <a:lnTo>
                    <a:pt x="360" y="408"/>
                  </a:lnTo>
                  <a:lnTo>
                    <a:pt x="364" y="420"/>
                  </a:lnTo>
                  <a:lnTo>
                    <a:pt x="367" y="423"/>
                  </a:lnTo>
                  <a:lnTo>
                    <a:pt x="372" y="421"/>
                  </a:lnTo>
                  <a:lnTo>
                    <a:pt x="384" y="416"/>
                  </a:lnTo>
                  <a:lnTo>
                    <a:pt x="391" y="427"/>
                  </a:lnTo>
                  <a:lnTo>
                    <a:pt x="391" y="436"/>
                  </a:lnTo>
                  <a:lnTo>
                    <a:pt x="387" y="441"/>
                  </a:lnTo>
                  <a:lnTo>
                    <a:pt x="382" y="451"/>
                  </a:lnTo>
                  <a:lnTo>
                    <a:pt x="367" y="457"/>
                  </a:lnTo>
                  <a:lnTo>
                    <a:pt x="367" y="461"/>
                  </a:lnTo>
                  <a:lnTo>
                    <a:pt x="365" y="473"/>
                  </a:lnTo>
                  <a:lnTo>
                    <a:pt x="371" y="489"/>
                  </a:lnTo>
                  <a:lnTo>
                    <a:pt x="371" y="497"/>
                  </a:lnTo>
                  <a:lnTo>
                    <a:pt x="370" y="507"/>
                  </a:lnTo>
                  <a:lnTo>
                    <a:pt x="357" y="513"/>
                  </a:lnTo>
                  <a:lnTo>
                    <a:pt x="351" y="526"/>
                  </a:lnTo>
                  <a:lnTo>
                    <a:pt x="334" y="536"/>
                  </a:lnTo>
                  <a:lnTo>
                    <a:pt x="334" y="542"/>
                  </a:lnTo>
                  <a:lnTo>
                    <a:pt x="334" y="546"/>
                  </a:lnTo>
                  <a:lnTo>
                    <a:pt x="332" y="550"/>
                  </a:lnTo>
                  <a:lnTo>
                    <a:pt x="331" y="552"/>
                  </a:lnTo>
                  <a:lnTo>
                    <a:pt x="327" y="557"/>
                  </a:lnTo>
                  <a:lnTo>
                    <a:pt x="327" y="562"/>
                  </a:lnTo>
                  <a:lnTo>
                    <a:pt x="327" y="566"/>
                  </a:lnTo>
                  <a:lnTo>
                    <a:pt x="322" y="572"/>
                  </a:lnTo>
                  <a:lnTo>
                    <a:pt x="322" y="573"/>
                  </a:lnTo>
                  <a:lnTo>
                    <a:pt x="334" y="569"/>
                  </a:lnTo>
                  <a:lnTo>
                    <a:pt x="347" y="593"/>
                  </a:lnTo>
                  <a:lnTo>
                    <a:pt x="348" y="603"/>
                  </a:lnTo>
                  <a:lnTo>
                    <a:pt x="347" y="612"/>
                  </a:lnTo>
                  <a:lnTo>
                    <a:pt x="345" y="616"/>
                  </a:lnTo>
                  <a:lnTo>
                    <a:pt x="339" y="622"/>
                  </a:lnTo>
                  <a:lnTo>
                    <a:pt x="328" y="629"/>
                  </a:lnTo>
                  <a:lnTo>
                    <a:pt x="328" y="639"/>
                  </a:lnTo>
                  <a:lnTo>
                    <a:pt x="342" y="639"/>
                  </a:lnTo>
                  <a:lnTo>
                    <a:pt x="344" y="646"/>
                  </a:lnTo>
                  <a:lnTo>
                    <a:pt x="342" y="655"/>
                  </a:lnTo>
                  <a:lnTo>
                    <a:pt x="348" y="658"/>
                  </a:lnTo>
                  <a:lnTo>
                    <a:pt x="354" y="659"/>
                  </a:lnTo>
                  <a:lnTo>
                    <a:pt x="349" y="669"/>
                  </a:lnTo>
                  <a:lnTo>
                    <a:pt x="347" y="676"/>
                  </a:lnTo>
                  <a:lnTo>
                    <a:pt x="342" y="680"/>
                  </a:lnTo>
                  <a:lnTo>
                    <a:pt x="335" y="682"/>
                  </a:lnTo>
                  <a:lnTo>
                    <a:pt x="332" y="686"/>
                  </a:lnTo>
                  <a:lnTo>
                    <a:pt x="332" y="691"/>
                  </a:lnTo>
                  <a:lnTo>
                    <a:pt x="337" y="693"/>
                  </a:lnTo>
                  <a:lnTo>
                    <a:pt x="337" y="699"/>
                  </a:lnTo>
                  <a:lnTo>
                    <a:pt x="331" y="701"/>
                  </a:lnTo>
                  <a:lnTo>
                    <a:pt x="311" y="715"/>
                  </a:lnTo>
                  <a:lnTo>
                    <a:pt x="297" y="719"/>
                  </a:lnTo>
                  <a:lnTo>
                    <a:pt x="291" y="726"/>
                  </a:lnTo>
                  <a:lnTo>
                    <a:pt x="286" y="735"/>
                  </a:lnTo>
                  <a:lnTo>
                    <a:pt x="285" y="742"/>
                  </a:lnTo>
                  <a:lnTo>
                    <a:pt x="279" y="748"/>
                  </a:lnTo>
                  <a:lnTo>
                    <a:pt x="274" y="751"/>
                  </a:lnTo>
                  <a:lnTo>
                    <a:pt x="259" y="756"/>
                  </a:lnTo>
                  <a:lnTo>
                    <a:pt x="254" y="756"/>
                  </a:lnTo>
                  <a:lnTo>
                    <a:pt x="252" y="749"/>
                  </a:lnTo>
                  <a:lnTo>
                    <a:pt x="254" y="742"/>
                  </a:lnTo>
                  <a:lnTo>
                    <a:pt x="255" y="736"/>
                  </a:lnTo>
                  <a:lnTo>
                    <a:pt x="256" y="733"/>
                  </a:lnTo>
                  <a:lnTo>
                    <a:pt x="258" y="729"/>
                  </a:lnTo>
                  <a:lnTo>
                    <a:pt x="258" y="725"/>
                  </a:lnTo>
                  <a:lnTo>
                    <a:pt x="261" y="722"/>
                  </a:lnTo>
                  <a:lnTo>
                    <a:pt x="265" y="718"/>
                  </a:lnTo>
                  <a:lnTo>
                    <a:pt x="265" y="715"/>
                  </a:lnTo>
                  <a:lnTo>
                    <a:pt x="262" y="713"/>
                  </a:lnTo>
                  <a:lnTo>
                    <a:pt x="258" y="715"/>
                  </a:lnTo>
                  <a:lnTo>
                    <a:pt x="249" y="715"/>
                  </a:lnTo>
                  <a:lnTo>
                    <a:pt x="246" y="716"/>
                  </a:lnTo>
                  <a:lnTo>
                    <a:pt x="238" y="715"/>
                  </a:lnTo>
                  <a:lnTo>
                    <a:pt x="233" y="711"/>
                  </a:lnTo>
                  <a:lnTo>
                    <a:pt x="231" y="705"/>
                  </a:lnTo>
                  <a:lnTo>
                    <a:pt x="226" y="698"/>
                  </a:lnTo>
                  <a:lnTo>
                    <a:pt x="221" y="691"/>
                  </a:lnTo>
                  <a:lnTo>
                    <a:pt x="216" y="685"/>
                  </a:lnTo>
                  <a:lnTo>
                    <a:pt x="212" y="683"/>
                  </a:lnTo>
                  <a:lnTo>
                    <a:pt x="209" y="685"/>
                  </a:lnTo>
                  <a:lnTo>
                    <a:pt x="208" y="691"/>
                  </a:lnTo>
                  <a:lnTo>
                    <a:pt x="199" y="693"/>
                  </a:lnTo>
                  <a:lnTo>
                    <a:pt x="192" y="696"/>
                  </a:lnTo>
                  <a:lnTo>
                    <a:pt x="188" y="698"/>
                  </a:lnTo>
                  <a:lnTo>
                    <a:pt x="185" y="698"/>
                  </a:lnTo>
                  <a:lnTo>
                    <a:pt x="182" y="696"/>
                  </a:lnTo>
                  <a:lnTo>
                    <a:pt x="182" y="692"/>
                  </a:lnTo>
                  <a:lnTo>
                    <a:pt x="173" y="691"/>
                  </a:lnTo>
                  <a:lnTo>
                    <a:pt x="163" y="685"/>
                  </a:lnTo>
                  <a:lnTo>
                    <a:pt x="156" y="683"/>
                  </a:lnTo>
                  <a:lnTo>
                    <a:pt x="159" y="679"/>
                  </a:lnTo>
                  <a:lnTo>
                    <a:pt x="160" y="675"/>
                  </a:lnTo>
                  <a:lnTo>
                    <a:pt x="160" y="669"/>
                  </a:lnTo>
                  <a:lnTo>
                    <a:pt x="156" y="669"/>
                  </a:lnTo>
                  <a:lnTo>
                    <a:pt x="152" y="669"/>
                  </a:lnTo>
                  <a:lnTo>
                    <a:pt x="149" y="669"/>
                  </a:lnTo>
                  <a:lnTo>
                    <a:pt x="145" y="668"/>
                  </a:lnTo>
                  <a:lnTo>
                    <a:pt x="143" y="665"/>
                  </a:lnTo>
                  <a:lnTo>
                    <a:pt x="145" y="658"/>
                  </a:lnTo>
                  <a:lnTo>
                    <a:pt x="148" y="655"/>
                  </a:lnTo>
                  <a:lnTo>
                    <a:pt x="148" y="650"/>
                  </a:lnTo>
                  <a:lnTo>
                    <a:pt x="145" y="648"/>
                  </a:lnTo>
                  <a:lnTo>
                    <a:pt x="140" y="648"/>
                  </a:lnTo>
                  <a:lnTo>
                    <a:pt x="135" y="642"/>
                  </a:lnTo>
                  <a:lnTo>
                    <a:pt x="132" y="638"/>
                  </a:lnTo>
                  <a:lnTo>
                    <a:pt x="130" y="636"/>
                  </a:lnTo>
                  <a:lnTo>
                    <a:pt x="130" y="630"/>
                  </a:lnTo>
                  <a:lnTo>
                    <a:pt x="130" y="627"/>
                  </a:lnTo>
                  <a:lnTo>
                    <a:pt x="133" y="626"/>
                  </a:lnTo>
                  <a:lnTo>
                    <a:pt x="136" y="623"/>
                  </a:lnTo>
                  <a:lnTo>
                    <a:pt x="139" y="620"/>
                  </a:lnTo>
                  <a:lnTo>
                    <a:pt x="142" y="613"/>
                  </a:lnTo>
                  <a:lnTo>
                    <a:pt x="142" y="609"/>
                  </a:lnTo>
                  <a:lnTo>
                    <a:pt x="143" y="605"/>
                  </a:lnTo>
                  <a:lnTo>
                    <a:pt x="143" y="603"/>
                  </a:lnTo>
                  <a:lnTo>
                    <a:pt x="145" y="597"/>
                  </a:lnTo>
                  <a:lnTo>
                    <a:pt x="142" y="593"/>
                  </a:lnTo>
                  <a:lnTo>
                    <a:pt x="133" y="587"/>
                  </a:lnTo>
                  <a:lnTo>
                    <a:pt x="129" y="576"/>
                  </a:lnTo>
                  <a:lnTo>
                    <a:pt x="122" y="572"/>
                  </a:lnTo>
                  <a:lnTo>
                    <a:pt x="117" y="560"/>
                  </a:lnTo>
                  <a:lnTo>
                    <a:pt x="116" y="556"/>
                  </a:lnTo>
                  <a:lnTo>
                    <a:pt x="115" y="553"/>
                  </a:lnTo>
                  <a:lnTo>
                    <a:pt x="115" y="552"/>
                  </a:lnTo>
                  <a:lnTo>
                    <a:pt x="120" y="549"/>
                  </a:lnTo>
                  <a:lnTo>
                    <a:pt x="133" y="546"/>
                  </a:lnTo>
                  <a:lnTo>
                    <a:pt x="142" y="542"/>
                  </a:lnTo>
                  <a:lnTo>
                    <a:pt x="146" y="539"/>
                  </a:lnTo>
                  <a:lnTo>
                    <a:pt x="148" y="536"/>
                  </a:lnTo>
                  <a:lnTo>
                    <a:pt x="148" y="532"/>
                  </a:lnTo>
                  <a:lnTo>
                    <a:pt x="143" y="532"/>
                  </a:lnTo>
                  <a:lnTo>
                    <a:pt x="143" y="527"/>
                  </a:lnTo>
                  <a:lnTo>
                    <a:pt x="148" y="524"/>
                  </a:lnTo>
                  <a:lnTo>
                    <a:pt x="150" y="523"/>
                  </a:lnTo>
                  <a:lnTo>
                    <a:pt x="152" y="519"/>
                  </a:lnTo>
                  <a:lnTo>
                    <a:pt x="146" y="517"/>
                  </a:lnTo>
                  <a:lnTo>
                    <a:pt x="136" y="517"/>
                  </a:lnTo>
                  <a:lnTo>
                    <a:pt x="126" y="511"/>
                  </a:lnTo>
                  <a:lnTo>
                    <a:pt x="113" y="506"/>
                  </a:lnTo>
                  <a:lnTo>
                    <a:pt x="109" y="494"/>
                  </a:lnTo>
                  <a:lnTo>
                    <a:pt x="103" y="486"/>
                  </a:lnTo>
                  <a:lnTo>
                    <a:pt x="102" y="463"/>
                  </a:lnTo>
                  <a:lnTo>
                    <a:pt x="97" y="453"/>
                  </a:lnTo>
                  <a:lnTo>
                    <a:pt x="92" y="450"/>
                  </a:lnTo>
                  <a:lnTo>
                    <a:pt x="92" y="440"/>
                  </a:lnTo>
                  <a:lnTo>
                    <a:pt x="85" y="433"/>
                  </a:lnTo>
                  <a:lnTo>
                    <a:pt x="80" y="426"/>
                  </a:lnTo>
                  <a:lnTo>
                    <a:pt x="79" y="421"/>
                  </a:lnTo>
                  <a:lnTo>
                    <a:pt x="79" y="413"/>
                  </a:lnTo>
                  <a:lnTo>
                    <a:pt x="73" y="403"/>
                  </a:lnTo>
                  <a:lnTo>
                    <a:pt x="57" y="390"/>
                  </a:lnTo>
                  <a:lnTo>
                    <a:pt x="52" y="385"/>
                  </a:lnTo>
                  <a:lnTo>
                    <a:pt x="52" y="377"/>
                  </a:lnTo>
                  <a:lnTo>
                    <a:pt x="39" y="374"/>
                  </a:lnTo>
                  <a:lnTo>
                    <a:pt x="32" y="371"/>
                  </a:lnTo>
                  <a:lnTo>
                    <a:pt x="33" y="368"/>
                  </a:lnTo>
                  <a:lnTo>
                    <a:pt x="30" y="361"/>
                  </a:lnTo>
                  <a:lnTo>
                    <a:pt x="23" y="354"/>
                  </a:lnTo>
                  <a:lnTo>
                    <a:pt x="16" y="331"/>
                  </a:lnTo>
                  <a:lnTo>
                    <a:pt x="6" y="331"/>
                  </a:lnTo>
                  <a:lnTo>
                    <a:pt x="0" y="300"/>
                  </a:lnTo>
                  <a:lnTo>
                    <a:pt x="1" y="298"/>
                  </a:lnTo>
                  <a:lnTo>
                    <a:pt x="7" y="298"/>
                  </a:lnTo>
                  <a:lnTo>
                    <a:pt x="6" y="292"/>
                  </a:lnTo>
                  <a:lnTo>
                    <a:pt x="4" y="285"/>
                  </a:lnTo>
                  <a:lnTo>
                    <a:pt x="4" y="278"/>
                  </a:lnTo>
                  <a:lnTo>
                    <a:pt x="12" y="274"/>
                  </a:lnTo>
                  <a:lnTo>
                    <a:pt x="16" y="271"/>
                  </a:lnTo>
                  <a:lnTo>
                    <a:pt x="17" y="267"/>
                  </a:lnTo>
                  <a:lnTo>
                    <a:pt x="17" y="262"/>
                  </a:lnTo>
                  <a:lnTo>
                    <a:pt x="20" y="258"/>
                  </a:lnTo>
                  <a:lnTo>
                    <a:pt x="23" y="252"/>
                  </a:lnTo>
                  <a:lnTo>
                    <a:pt x="19" y="248"/>
                  </a:lnTo>
                  <a:lnTo>
                    <a:pt x="14" y="245"/>
                  </a:lnTo>
                  <a:lnTo>
                    <a:pt x="10" y="247"/>
                  </a:lnTo>
                  <a:lnTo>
                    <a:pt x="9" y="241"/>
                  </a:lnTo>
                  <a:lnTo>
                    <a:pt x="12" y="235"/>
                  </a:lnTo>
                  <a:lnTo>
                    <a:pt x="16" y="226"/>
                  </a:lnTo>
                  <a:lnTo>
                    <a:pt x="16" y="219"/>
                  </a:lnTo>
                  <a:lnTo>
                    <a:pt x="17" y="214"/>
                  </a:lnTo>
                  <a:lnTo>
                    <a:pt x="13" y="206"/>
                  </a:lnTo>
                  <a:lnTo>
                    <a:pt x="13" y="199"/>
                  </a:lnTo>
                  <a:lnTo>
                    <a:pt x="16" y="194"/>
                  </a:lnTo>
                  <a:lnTo>
                    <a:pt x="19" y="188"/>
                  </a:lnTo>
                  <a:lnTo>
                    <a:pt x="22" y="181"/>
                  </a:lnTo>
                  <a:lnTo>
                    <a:pt x="22" y="175"/>
                  </a:lnTo>
                  <a:lnTo>
                    <a:pt x="17" y="171"/>
                  </a:lnTo>
                  <a:lnTo>
                    <a:pt x="14" y="159"/>
                  </a:lnTo>
                  <a:lnTo>
                    <a:pt x="16" y="148"/>
                  </a:lnTo>
                  <a:lnTo>
                    <a:pt x="17" y="136"/>
                  </a:lnTo>
                  <a:lnTo>
                    <a:pt x="16" y="132"/>
                  </a:lnTo>
                  <a:lnTo>
                    <a:pt x="13" y="126"/>
                  </a:lnTo>
                  <a:lnTo>
                    <a:pt x="12" y="112"/>
                  </a:lnTo>
                  <a:lnTo>
                    <a:pt x="13" y="98"/>
                  </a:lnTo>
                  <a:lnTo>
                    <a:pt x="13" y="93"/>
                  </a:lnTo>
                  <a:lnTo>
                    <a:pt x="6" y="95"/>
                  </a:lnTo>
                  <a:lnTo>
                    <a:pt x="3" y="90"/>
                  </a:lnTo>
                  <a:lnTo>
                    <a:pt x="10" y="85"/>
                  </a:lnTo>
                  <a:lnTo>
                    <a:pt x="13" y="80"/>
                  </a:lnTo>
                  <a:lnTo>
                    <a:pt x="13" y="78"/>
                  </a:lnTo>
                  <a:lnTo>
                    <a:pt x="17" y="72"/>
                  </a:lnTo>
                  <a:lnTo>
                    <a:pt x="19" y="69"/>
                  </a:lnTo>
                  <a:lnTo>
                    <a:pt x="16" y="65"/>
                  </a:lnTo>
                  <a:lnTo>
                    <a:pt x="12" y="68"/>
                  </a:lnTo>
                  <a:lnTo>
                    <a:pt x="10" y="5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51" name="Freeform 198"/>
            <p:cNvSpPr>
              <a:spLocks/>
            </p:cNvSpPr>
            <p:nvPr/>
          </p:nvSpPr>
          <p:spPr bwMode="auto">
            <a:xfrm>
              <a:off x="7256062" y="4583341"/>
              <a:ext cx="0" cy="11906"/>
            </a:xfrm>
            <a:custGeom>
              <a:avLst/>
              <a:gdLst>
                <a:gd name="T0" fmla="*/ 2 w 2"/>
                <a:gd name="T1" fmla="*/ 17 h 17"/>
                <a:gd name="T2" fmla="*/ 0 w 2"/>
                <a:gd name="T3" fmla="*/ 8 h 17"/>
                <a:gd name="T4" fmla="*/ 0 w 2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7">
                  <a:moveTo>
                    <a:pt x="2" y="17"/>
                  </a:move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52" name="Freeform 199"/>
            <p:cNvSpPr>
              <a:spLocks/>
            </p:cNvSpPr>
            <p:nvPr/>
          </p:nvSpPr>
          <p:spPr bwMode="auto">
            <a:xfrm>
              <a:off x="7254841" y="4564821"/>
              <a:ext cx="1221" cy="11906"/>
            </a:xfrm>
            <a:custGeom>
              <a:avLst/>
              <a:gdLst>
                <a:gd name="T0" fmla="*/ 1 w 1"/>
                <a:gd name="T1" fmla="*/ 17 h 17"/>
                <a:gd name="T2" fmla="*/ 1 w 1"/>
                <a:gd name="T3" fmla="*/ 10 h 17"/>
                <a:gd name="T4" fmla="*/ 0 w 1"/>
                <a:gd name="T5" fmla="*/ 3 h 17"/>
                <a:gd name="T6" fmla="*/ 0 w 1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7">
                  <a:moveTo>
                    <a:pt x="1" y="17"/>
                  </a:moveTo>
                  <a:lnTo>
                    <a:pt x="1" y="10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53" name="Freeform 200"/>
            <p:cNvSpPr>
              <a:spLocks/>
            </p:cNvSpPr>
            <p:nvPr/>
          </p:nvSpPr>
          <p:spPr bwMode="auto">
            <a:xfrm>
              <a:off x="7249956" y="4546300"/>
              <a:ext cx="3663" cy="11906"/>
            </a:xfrm>
            <a:custGeom>
              <a:avLst/>
              <a:gdLst>
                <a:gd name="T0" fmla="*/ 6 w 6"/>
                <a:gd name="T1" fmla="*/ 17 h 17"/>
                <a:gd name="T2" fmla="*/ 0 w 6"/>
                <a:gd name="T3" fmla="*/ 1 h 17"/>
                <a:gd name="T4" fmla="*/ 0 w 6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7">
                  <a:moveTo>
                    <a:pt x="6" y="17"/>
                  </a:move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54" name="Freeform 201"/>
            <p:cNvSpPr>
              <a:spLocks/>
            </p:cNvSpPr>
            <p:nvPr/>
          </p:nvSpPr>
          <p:spPr bwMode="auto">
            <a:xfrm>
              <a:off x="7248735" y="4531748"/>
              <a:ext cx="6106" cy="7937"/>
            </a:xfrm>
            <a:custGeom>
              <a:avLst/>
              <a:gdLst>
                <a:gd name="T0" fmla="*/ 0 w 10"/>
                <a:gd name="T1" fmla="*/ 12 h 12"/>
                <a:gd name="T2" fmla="*/ 0 w 10"/>
                <a:gd name="T3" fmla="*/ 7 h 12"/>
                <a:gd name="T4" fmla="*/ 3 w 10"/>
                <a:gd name="T5" fmla="*/ 4 h 12"/>
                <a:gd name="T6" fmla="*/ 4 w 10"/>
                <a:gd name="T7" fmla="*/ 1 h 12"/>
                <a:gd name="T8" fmla="*/ 9 w 10"/>
                <a:gd name="T9" fmla="*/ 0 h 12"/>
                <a:gd name="T10" fmla="*/ 10 w 10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2">
                  <a:moveTo>
                    <a:pt x="0" y="12"/>
                  </a:moveTo>
                  <a:lnTo>
                    <a:pt x="0" y="7"/>
                  </a:lnTo>
                  <a:lnTo>
                    <a:pt x="3" y="4"/>
                  </a:lnTo>
                  <a:lnTo>
                    <a:pt x="4" y="1"/>
                  </a:lnTo>
                  <a:lnTo>
                    <a:pt x="9" y="0"/>
                  </a:lnTo>
                  <a:lnTo>
                    <a:pt x="1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55" name="Freeform 202"/>
            <p:cNvSpPr>
              <a:spLocks/>
            </p:cNvSpPr>
            <p:nvPr/>
          </p:nvSpPr>
          <p:spPr bwMode="auto">
            <a:xfrm>
              <a:off x="7262167" y="4521165"/>
              <a:ext cx="6106" cy="9260"/>
            </a:xfrm>
            <a:custGeom>
              <a:avLst/>
              <a:gdLst>
                <a:gd name="T0" fmla="*/ 0 w 11"/>
                <a:gd name="T1" fmla="*/ 15 h 15"/>
                <a:gd name="T2" fmla="*/ 0 w 11"/>
                <a:gd name="T3" fmla="*/ 13 h 15"/>
                <a:gd name="T4" fmla="*/ 5 w 11"/>
                <a:gd name="T5" fmla="*/ 10 h 15"/>
                <a:gd name="T6" fmla="*/ 8 w 11"/>
                <a:gd name="T7" fmla="*/ 7 h 15"/>
                <a:gd name="T8" fmla="*/ 11 w 11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5">
                  <a:moveTo>
                    <a:pt x="0" y="15"/>
                  </a:moveTo>
                  <a:lnTo>
                    <a:pt x="0" y="13"/>
                  </a:lnTo>
                  <a:lnTo>
                    <a:pt x="5" y="10"/>
                  </a:lnTo>
                  <a:lnTo>
                    <a:pt x="8" y="7"/>
                  </a:lnTo>
                  <a:lnTo>
                    <a:pt x="11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56" name="Freeform 203"/>
            <p:cNvSpPr>
              <a:spLocks/>
            </p:cNvSpPr>
            <p:nvPr/>
          </p:nvSpPr>
          <p:spPr bwMode="auto">
            <a:xfrm>
              <a:off x="7268273" y="4502644"/>
              <a:ext cx="0" cy="10583"/>
            </a:xfrm>
            <a:custGeom>
              <a:avLst/>
              <a:gdLst>
                <a:gd name="T0" fmla="*/ 17 h 17"/>
                <a:gd name="T1" fmla="*/ 14 h 17"/>
                <a:gd name="T2" fmla="*/ 3 h 17"/>
                <a:gd name="T3" fmla="*/ 0 h 1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7">
                  <a:moveTo>
                    <a:pt x="0" y="17"/>
                  </a:moveTo>
                  <a:lnTo>
                    <a:pt x="0" y="14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57" name="Freeform 204"/>
            <p:cNvSpPr>
              <a:spLocks/>
            </p:cNvSpPr>
            <p:nvPr/>
          </p:nvSpPr>
          <p:spPr bwMode="auto">
            <a:xfrm>
              <a:off x="7260946" y="4486769"/>
              <a:ext cx="6106" cy="9260"/>
            </a:xfrm>
            <a:custGeom>
              <a:avLst/>
              <a:gdLst>
                <a:gd name="T0" fmla="*/ 10 w 10"/>
                <a:gd name="T1" fmla="*/ 15 h 15"/>
                <a:gd name="T2" fmla="*/ 7 w 10"/>
                <a:gd name="T3" fmla="*/ 7 h 15"/>
                <a:gd name="T4" fmla="*/ 4 w 10"/>
                <a:gd name="T5" fmla="*/ 5 h 15"/>
                <a:gd name="T6" fmla="*/ 1 w 10"/>
                <a:gd name="T7" fmla="*/ 2 h 15"/>
                <a:gd name="T8" fmla="*/ 0 w 10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5">
                  <a:moveTo>
                    <a:pt x="10" y="15"/>
                  </a:moveTo>
                  <a:lnTo>
                    <a:pt x="7" y="7"/>
                  </a:lnTo>
                  <a:lnTo>
                    <a:pt x="4" y="5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58" name="Freeform 205"/>
            <p:cNvSpPr>
              <a:spLocks/>
            </p:cNvSpPr>
            <p:nvPr/>
          </p:nvSpPr>
          <p:spPr bwMode="auto">
            <a:xfrm>
              <a:off x="7246293" y="4476186"/>
              <a:ext cx="8548" cy="6615"/>
            </a:xfrm>
            <a:custGeom>
              <a:avLst/>
              <a:gdLst>
                <a:gd name="T0" fmla="*/ 14 w 14"/>
                <a:gd name="T1" fmla="*/ 9 h 9"/>
                <a:gd name="T2" fmla="*/ 0 w 14"/>
                <a:gd name="T3" fmla="*/ 0 h 9"/>
                <a:gd name="T4" fmla="*/ 0 w 14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9">
                  <a:moveTo>
                    <a:pt x="14" y="9"/>
                  </a:move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59" name="Freeform 206"/>
            <p:cNvSpPr>
              <a:spLocks/>
            </p:cNvSpPr>
            <p:nvPr/>
          </p:nvSpPr>
          <p:spPr bwMode="auto">
            <a:xfrm>
              <a:off x="7229197" y="4469572"/>
              <a:ext cx="10990" cy="3969"/>
            </a:xfrm>
            <a:custGeom>
              <a:avLst/>
              <a:gdLst>
                <a:gd name="T0" fmla="*/ 17 w 17"/>
                <a:gd name="T1" fmla="*/ 4 h 4"/>
                <a:gd name="T2" fmla="*/ 12 w 17"/>
                <a:gd name="T3" fmla="*/ 3 h 4"/>
                <a:gd name="T4" fmla="*/ 7 w 17"/>
                <a:gd name="T5" fmla="*/ 1 h 4"/>
                <a:gd name="T6" fmla="*/ 1 w 17"/>
                <a:gd name="T7" fmla="*/ 0 h 4"/>
                <a:gd name="T8" fmla="*/ 0 w 1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4">
                  <a:moveTo>
                    <a:pt x="17" y="4"/>
                  </a:moveTo>
                  <a:lnTo>
                    <a:pt x="12" y="3"/>
                  </a:lnTo>
                  <a:lnTo>
                    <a:pt x="7" y="1"/>
                  </a:ln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60" name="Freeform 208"/>
            <p:cNvSpPr>
              <a:spLocks/>
            </p:cNvSpPr>
            <p:nvPr/>
          </p:nvSpPr>
          <p:spPr bwMode="auto">
            <a:xfrm>
              <a:off x="7214543" y="4465604"/>
              <a:ext cx="8548" cy="5292"/>
            </a:xfrm>
            <a:custGeom>
              <a:avLst/>
              <a:gdLst>
                <a:gd name="T0" fmla="*/ 13 w 13"/>
                <a:gd name="T1" fmla="*/ 8 h 8"/>
                <a:gd name="T2" fmla="*/ 13 w 13"/>
                <a:gd name="T3" fmla="*/ 8 h 8"/>
                <a:gd name="T4" fmla="*/ 9 w 13"/>
                <a:gd name="T5" fmla="*/ 8 h 8"/>
                <a:gd name="T6" fmla="*/ 2 w 13"/>
                <a:gd name="T7" fmla="*/ 1 h 8"/>
                <a:gd name="T8" fmla="*/ 0 w 13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8">
                  <a:moveTo>
                    <a:pt x="13" y="8"/>
                  </a:moveTo>
                  <a:lnTo>
                    <a:pt x="13" y="8"/>
                  </a:lnTo>
                  <a:lnTo>
                    <a:pt x="9" y="8"/>
                  </a:ln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61" name="Freeform 209"/>
            <p:cNvSpPr>
              <a:spLocks/>
            </p:cNvSpPr>
            <p:nvPr/>
          </p:nvSpPr>
          <p:spPr bwMode="auto">
            <a:xfrm>
              <a:off x="7218207" y="4458989"/>
              <a:ext cx="4885" cy="1323"/>
            </a:xfrm>
            <a:custGeom>
              <a:avLst/>
              <a:gdLst>
                <a:gd name="T0" fmla="*/ 0 w 7"/>
                <a:gd name="T1" fmla="*/ 1 h 1"/>
                <a:gd name="T2" fmla="*/ 0 w 7"/>
                <a:gd name="T3" fmla="*/ 1 h 1"/>
                <a:gd name="T4" fmla="*/ 7 w 7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">
                  <a:moveTo>
                    <a:pt x="0" y="1"/>
                  </a:moveTo>
                  <a:lnTo>
                    <a:pt x="0" y="1"/>
                  </a:lnTo>
                  <a:lnTo>
                    <a:pt x="7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62" name="Freeform 210"/>
            <p:cNvSpPr>
              <a:spLocks noEditPoints="1"/>
            </p:cNvSpPr>
            <p:nvPr/>
          </p:nvSpPr>
          <p:spPr bwMode="auto">
            <a:xfrm>
              <a:off x="5818778" y="2446852"/>
              <a:ext cx="1850030" cy="2316405"/>
            </a:xfrm>
            <a:custGeom>
              <a:avLst/>
              <a:gdLst>
                <a:gd name="T0" fmla="*/ 218 w 3031"/>
                <a:gd name="T1" fmla="*/ 1453 h 3502"/>
                <a:gd name="T2" fmla="*/ 33 w 3031"/>
                <a:gd name="T3" fmla="*/ 2061 h 3502"/>
                <a:gd name="T4" fmla="*/ 43 w 3031"/>
                <a:gd name="T5" fmla="*/ 2465 h 3502"/>
                <a:gd name="T6" fmla="*/ 361 w 3031"/>
                <a:gd name="T7" fmla="*/ 2798 h 3502"/>
                <a:gd name="T8" fmla="*/ 463 w 3031"/>
                <a:gd name="T9" fmla="*/ 3348 h 3502"/>
                <a:gd name="T10" fmla="*/ 810 w 3031"/>
                <a:gd name="T11" fmla="*/ 3125 h 3502"/>
                <a:gd name="T12" fmla="*/ 1178 w 3031"/>
                <a:gd name="T13" fmla="*/ 3139 h 3502"/>
                <a:gd name="T14" fmla="*/ 1448 w 3031"/>
                <a:gd name="T15" fmla="*/ 3436 h 3502"/>
                <a:gd name="T16" fmla="*/ 2031 w 3031"/>
                <a:gd name="T17" fmla="*/ 3461 h 3502"/>
                <a:gd name="T18" fmla="*/ 2363 w 3031"/>
                <a:gd name="T19" fmla="*/ 3151 h 3502"/>
                <a:gd name="T20" fmla="*/ 2269 w 3031"/>
                <a:gd name="T21" fmla="*/ 2760 h 3502"/>
                <a:gd name="T22" fmla="*/ 2564 w 3031"/>
                <a:gd name="T23" fmla="*/ 2463 h 3502"/>
                <a:gd name="T24" fmla="*/ 2528 w 3031"/>
                <a:gd name="T25" fmla="*/ 1916 h 3502"/>
                <a:gd name="T26" fmla="*/ 2785 w 3031"/>
                <a:gd name="T27" fmla="*/ 1706 h 3502"/>
                <a:gd name="T28" fmla="*/ 2846 w 3031"/>
                <a:gd name="T29" fmla="*/ 1266 h 3502"/>
                <a:gd name="T30" fmla="*/ 2948 w 3031"/>
                <a:gd name="T31" fmla="*/ 762 h 3502"/>
                <a:gd name="T32" fmla="*/ 2863 w 3031"/>
                <a:gd name="T33" fmla="*/ 258 h 3502"/>
                <a:gd name="T34" fmla="*/ 2807 w 3031"/>
                <a:gd name="T35" fmla="*/ 293 h 3502"/>
                <a:gd name="T36" fmla="*/ 2338 w 3031"/>
                <a:gd name="T37" fmla="*/ 203 h 3502"/>
                <a:gd name="T38" fmla="*/ 2078 w 3031"/>
                <a:gd name="T39" fmla="*/ 428 h 3502"/>
                <a:gd name="T40" fmla="*/ 1925 w 3031"/>
                <a:gd name="T41" fmla="*/ 355 h 3502"/>
                <a:gd name="T42" fmla="*/ 1798 w 3031"/>
                <a:gd name="T43" fmla="*/ 475 h 3502"/>
                <a:gd name="T44" fmla="*/ 1736 w 3031"/>
                <a:gd name="T45" fmla="*/ 520 h 3502"/>
                <a:gd name="T46" fmla="*/ 1520 w 3031"/>
                <a:gd name="T47" fmla="*/ 640 h 3502"/>
                <a:gd name="T48" fmla="*/ 1607 w 3031"/>
                <a:gd name="T49" fmla="*/ 773 h 3502"/>
                <a:gd name="T50" fmla="*/ 1571 w 3031"/>
                <a:gd name="T51" fmla="*/ 859 h 3502"/>
                <a:gd name="T52" fmla="*/ 1410 w 3031"/>
                <a:gd name="T53" fmla="*/ 893 h 3502"/>
                <a:gd name="T54" fmla="*/ 1242 w 3031"/>
                <a:gd name="T55" fmla="*/ 1090 h 3502"/>
                <a:gd name="T56" fmla="*/ 1022 w 3031"/>
                <a:gd name="T57" fmla="*/ 948 h 3502"/>
                <a:gd name="T58" fmla="*/ 1053 w 3031"/>
                <a:gd name="T59" fmla="*/ 1561 h 3502"/>
                <a:gd name="T60" fmla="*/ 1275 w 3031"/>
                <a:gd name="T61" fmla="*/ 2072 h 3502"/>
                <a:gd name="T62" fmla="*/ 1825 w 3031"/>
                <a:gd name="T63" fmla="*/ 2336 h 3502"/>
                <a:gd name="T64" fmla="*/ 1414 w 3031"/>
                <a:gd name="T65" fmla="*/ 2170 h 3502"/>
                <a:gd name="T66" fmla="*/ 1054 w 3031"/>
                <a:gd name="T67" fmla="*/ 1766 h 3502"/>
                <a:gd name="T68" fmla="*/ 971 w 3031"/>
                <a:gd name="T69" fmla="*/ 994 h 3502"/>
                <a:gd name="T70" fmla="*/ 1006 w 3031"/>
                <a:gd name="T71" fmla="*/ 795 h 3502"/>
                <a:gd name="T72" fmla="*/ 884 w 3031"/>
                <a:gd name="T73" fmla="*/ 783 h 3502"/>
                <a:gd name="T74" fmla="*/ 762 w 3031"/>
                <a:gd name="T75" fmla="*/ 769 h 3502"/>
                <a:gd name="T76" fmla="*/ 765 w 3031"/>
                <a:gd name="T77" fmla="*/ 883 h 3502"/>
                <a:gd name="T78" fmla="*/ 840 w 3031"/>
                <a:gd name="T79" fmla="*/ 951 h 3502"/>
                <a:gd name="T80" fmla="*/ 285 w 3031"/>
                <a:gd name="T81" fmla="*/ 962 h 3502"/>
                <a:gd name="T82" fmla="*/ 154 w 3031"/>
                <a:gd name="T83" fmla="*/ 1047 h 3502"/>
                <a:gd name="T84" fmla="*/ 2484 w 3031"/>
                <a:gd name="T85" fmla="*/ 67 h 3502"/>
                <a:gd name="T86" fmla="*/ 2753 w 3031"/>
                <a:gd name="T87" fmla="*/ 217 h 3502"/>
                <a:gd name="T88" fmla="*/ 240 w 3031"/>
                <a:gd name="T89" fmla="*/ 852 h 3502"/>
                <a:gd name="T90" fmla="*/ 997 w 3031"/>
                <a:gd name="T91" fmla="*/ 1007 h 3502"/>
                <a:gd name="T92" fmla="*/ 1075 w 3031"/>
                <a:gd name="T93" fmla="*/ 949 h 3502"/>
                <a:gd name="T94" fmla="*/ 990 w 3031"/>
                <a:gd name="T95" fmla="*/ 914 h 3502"/>
                <a:gd name="T96" fmla="*/ 1023 w 3031"/>
                <a:gd name="T97" fmla="*/ 883 h 3502"/>
                <a:gd name="T98" fmla="*/ 987 w 3031"/>
                <a:gd name="T99" fmla="*/ 840 h 3502"/>
                <a:gd name="T100" fmla="*/ 714 w 3031"/>
                <a:gd name="T101" fmla="*/ 931 h 3502"/>
                <a:gd name="T102" fmla="*/ 535 w 3031"/>
                <a:gd name="T103" fmla="*/ 921 h 3502"/>
                <a:gd name="T104" fmla="*/ 772 w 3031"/>
                <a:gd name="T105" fmla="*/ 743 h 3502"/>
                <a:gd name="T106" fmla="*/ 814 w 3031"/>
                <a:gd name="T107" fmla="*/ 767 h 3502"/>
                <a:gd name="T108" fmla="*/ 719 w 3031"/>
                <a:gd name="T109" fmla="*/ 800 h 3502"/>
                <a:gd name="T110" fmla="*/ 1014 w 3031"/>
                <a:gd name="T111" fmla="*/ 785 h 3502"/>
                <a:gd name="T112" fmla="*/ 1042 w 3031"/>
                <a:gd name="T113" fmla="*/ 840 h 3502"/>
                <a:gd name="T114" fmla="*/ 1064 w 3031"/>
                <a:gd name="T115" fmla="*/ 872 h 3502"/>
                <a:gd name="T116" fmla="*/ 1103 w 3031"/>
                <a:gd name="T117" fmla="*/ 944 h 3502"/>
                <a:gd name="T118" fmla="*/ 1534 w 3031"/>
                <a:gd name="T119" fmla="*/ 740 h 3502"/>
                <a:gd name="T120" fmla="*/ 1067 w 3031"/>
                <a:gd name="T121" fmla="*/ 911 h 3502"/>
                <a:gd name="T122" fmla="*/ 1019 w 3031"/>
                <a:gd name="T123" fmla="*/ 892 h 3502"/>
                <a:gd name="T124" fmla="*/ 1019 w 3031"/>
                <a:gd name="T125" fmla="*/ 840 h 3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31" h="3502">
                  <a:moveTo>
                    <a:pt x="171" y="1098"/>
                  </a:moveTo>
                  <a:lnTo>
                    <a:pt x="174" y="1098"/>
                  </a:lnTo>
                  <a:lnTo>
                    <a:pt x="175" y="1100"/>
                  </a:lnTo>
                  <a:lnTo>
                    <a:pt x="175" y="1101"/>
                  </a:lnTo>
                  <a:lnTo>
                    <a:pt x="174" y="1103"/>
                  </a:lnTo>
                  <a:lnTo>
                    <a:pt x="171" y="1105"/>
                  </a:lnTo>
                  <a:lnTo>
                    <a:pt x="171" y="1108"/>
                  </a:lnTo>
                  <a:lnTo>
                    <a:pt x="177" y="1120"/>
                  </a:lnTo>
                  <a:lnTo>
                    <a:pt x="179" y="1125"/>
                  </a:lnTo>
                  <a:lnTo>
                    <a:pt x="182" y="1127"/>
                  </a:lnTo>
                  <a:lnTo>
                    <a:pt x="185" y="1127"/>
                  </a:lnTo>
                  <a:lnTo>
                    <a:pt x="187" y="1130"/>
                  </a:lnTo>
                  <a:lnTo>
                    <a:pt x="184" y="1138"/>
                  </a:lnTo>
                  <a:lnTo>
                    <a:pt x="185" y="1140"/>
                  </a:lnTo>
                  <a:lnTo>
                    <a:pt x="188" y="1140"/>
                  </a:lnTo>
                  <a:lnTo>
                    <a:pt x="192" y="1140"/>
                  </a:lnTo>
                  <a:lnTo>
                    <a:pt x="197" y="1141"/>
                  </a:lnTo>
                  <a:lnTo>
                    <a:pt x="202" y="1144"/>
                  </a:lnTo>
                  <a:lnTo>
                    <a:pt x="212" y="1150"/>
                  </a:lnTo>
                  <a:lnTo>
                    <a:pt x="211" y="1151"/>
                  </a:lnTo>
                  <a:lnTo>
                    <a:pt x="209" y="1151"/>
                  </a:lnTo>
                  <a:lnTo>
                    <a:pt x="207" y="1154"/>
                  </a:lnTo>
                  <a:lnTo>
                    <a:pt x="205" y="1157"/>
                  </a:lnTo>
                  <a:lnTo>
                    <a:pt x="202" y="1166"/>
                  </a:lnTo>
                  <a:lnTo>
                    <a:pt x="202" y="1170"/>
                  </a:lnTo>
                  <a:lnTo>
                    <a:pt x="204" y="1173"/>
                  </a:lnTo>
                  <a:lnTo>
                    <a:pt x="211" y="1181"/>
                  </a:lnTo>
                  <a:lnTo>
                    <a:pt x="215" y="1181"/>
                  </a:lnTo>
                  <a:lnTo>
                    <a:pt x="219" y="1178"/>
                  </a:lnTo>
                  <a:lnTo>
                    <a:pt x="224" y="1174"/>
                  </a:lnTo>
                  <a:lnTo>
                    <a:pt x="227" y="1174"/>
                  </a:lnTo>
                  <a:lnTo>
                    <a:pt x="228" y="1176"/>
                  </a:lnTo>
                  <a:lnTo>
                    <a:pt x="234" y="1180"/>
                  </a:lnTo>
                  <a:lnTo>
                    <a:pt x="234" y="1183"/>
                  </a:lnTo>
                  <a:lnTo>
                    <a:pt x="232" y="1190"/>
                  </a:lnTo>
                  <a:lnTo>
                    <a:pt x="232" y="1191"/>
                  </a:lnTo>
                  <a:lnTo>
                    <a:pt x="234" y="1194"/>
                  </a:lnTo>
                  <a:lnTo>
                    <a:pt x="235" y="1194"/>
                  </a:lnTo>
                  <a:lnTo>
                    <a:pt x="240" y="1193"/>
                  </a:lnTo>
                  <a:lnTo>
                    <a:pt x="242" y="1191"/>
                  </a:lnTo>
                  <a:lnTo>
                    <a:pt x="244" y="1193"/>
                  </a:lnTo>
                  <a:lnTo>
                    <a:pt x="244" y="1194"/>
                  </a:lnTo>
                  <a:lnTo>
                    <a:pt x="244" y="1199"/>
                  </a:lnTo>
                  <a:lnTo>
                    <a:pt x="244" y="1200"/>
                  </a:lnTo>
                  <a:lnTo>
                    <a:pt x="248" y="1201"/>
                  </a:lnTo>
                  <a:lnTo>
                    <a:pt x="255" y="1203"/>
                  </a:lnTo>
                  <a:lnTo>
                    <a:pt x="257" y="1203"/>
                  </a:lnTo>
                  <a:lnTo>
                    <a:pt x="267" y="1260"/>
                  </a:lnTo>
                  <a:lnTo>
                    <a:pt x="277" y="1312"/>
                  </a:lnTo>
                  <a:lnTo>
                    <a:pt x="280" y="1316"/>
                  </a:lnTo>
                  <a:lnTo>
                    <a:pt x="281" y="1319"/>
                  </a:lnTo>
                  <a:lnTo>
                    <a:pt x="287" y="1320"/>
                  </a:lnTo>
                  <a:lnTo>
                    <a:pt x="291" y="1320"/>
                  </a:lnTo>
                  <a:lnTo>
                    <a:pt x="295" y="1325"/>
                  </a:lnTo>
                  <a:lnTo>
                    <a:pt x="298" y="1329"/>
                  </a:lnTo>
                  <a:lnTo>
                    <a:pt x="305" y="1339"/>
                  </a:lnTo>
                  <a:lnTo>
                    <a:pt x="308" y="1339"/>
                  </a:lnTo>
                  <a:lnTo>
                    <a:pt x="311" y="1336"/>
                  </a:lnTo>
                  <a:lnTo>
                    <a:pt x="313" y="1335"/>
                  </a:lnTo>
                  <a:lnTo>
                    <a:pt x="315" y="1335"/>
                  </a:lnTo>
                  <a:lnTo>
                    <a:pt x="318" y="1336"/>
                  </a:lnTo>
                  <a:lnTo>
                    <a:pt x="320" y="1339"/>
                  </a:lnTo>
                  <a:lnTo>
                    <a:pt x="318" y="1345"/>
                  </a:lnTo>
                  <a:lnTo>
                    <a:pt x="317" y="1349"/>
                  </a:lnTo>
                  <a:lnTo>
                    <a:pt x="311" y="1352"/>
                  </a:lnTo>
                  <a:lnTo>
                    <a:pt x="308" y="1352"/>
                  </a:lnTo>
                  <a:lnTo>
                    <a:pt x="307" y="1352"/>
                  </a:lnTo>
                  <a:lnTo>
                    <a:pt x="307" y="1355"/>
                  </a:lnTo>
                  <a:lnTo>
                    <a:pt x="311" y="1358"/>
                  </a:lnTo>
                  <a:lnTo>
                    <a:pt x="317" y="1360"/>
                  </a:lnTo>
                  <a:lnTo>
                    <a:pt x="318" y="1362"/>
                  </a:lnTo>
                  <a:lnTo>
                    <a:pt x="318" y="1365"/>
                  </a:lnTo>
                  <a:lnTo>
                    <a:pt x="317" y="1366"/>
                  </a:lnTo>
                  <a:lnTo>
                    <a:pt x="310" y="1370"/>
                  </a:lnTo>
                  <a:lnTo>
                    <a:pt x="308" y="1375"/>
                  </a:lnTo>
                  <a:lnTo>
                    <a:pt x="307" y="1380"/>
                  </a:lnTo>
                  <a:lnTo>
                    <a:pt x="305" y="1383"/>
                  </a:lnTo>
                  <a:lnTo>
                    <a:pt x="303" y="1383"/>
                  </a:lnTo>
                  <a:lnTo>
                    <a:pt x="298" y="1382"/>
                  </a:lnTo>
                  <a:lnTo>
                    <a:pt x="294" y="1380"/>
                  </a:lnTo>
                  <a:lnTo>
                    <a:pt x="291" y="1380"/>
                  </a:lnTo>
                  <a:lnTo>
                    <a:pt x="290" y="1385"/>
                  </a:lnTo>
                  <a:lnTo>
                    <a:pt x="290" y="1388"/>
                  </a:lnTo>
                  <a:lnTo>
                    <a:pt x="290" y="1390"/>
                  </a:lnTo>
                  <a:lnTo>
                    <a:pt x="288" y="1393"/>
                  </a:lnTo>
                  <a:lnTo>
                    <a:pt x="284" y="1396"/>
                  </a:lnTo>
                  <a:lnTo>
                    <a:pt x="277" y="1398"/>
                  </a:lnTo>
                  <a:lnTo>
                    <a:pt x="272" y="1399"/>
                  </a:lnTo>
                  <a:lnTo>
                    <a:pt x="268" y="1403"/>
                  </a:lnTo>
                  <a:lnTo>
                    <a:pt x="265" y="1408"/>
                  </a:lnTo>
                  <a:lnTo>
                    <a:pt x="264" y="1413"/>
                  </a:lnTo>
                  <a:lnTo>
                    <a:pt x="262" y="1416"/>
                  </a:lnTo>
                  <a:lnTo>
                    <a:pt x="255" y="1418"/>
                  </a:lnTo>
                  <a:lnTo>
                    <a:pt x="252" y="1418"/>
                  </a:lnTo>
                  <a:lnTo>
                    <a:pt x="248" y="1421"/>
                  </a:lnTo>
                  <a:lnTo>
                    <a:pt x="244" y="1425"/>
                  </a:lnTo>
                  <a:lnTo>
                    <a:pt x="238" y="1433"/>
                  </a:lnTo>
                  <a:lnTo>
                    <a:pt x="237" y="1438"/>
                  </a:lnTo>
                  <a:lnTo>
                    <a:pt x="237" y="1438"/>
                  </a:lnTo>
                  <a:lnTo>
                    <a:pt x="234" y="1438"/>
                  </a:lnTo>
                  <a:lnTo>
                    <a:pt x="231" y="1435"/>
                  </a:lnTo>
                  <a:lnTo>
                    <a:pt x="227" y="1436"/>
                  </a:lnTo>
                  <a:lnTo>
                    <a:pt x="224" y="1436"/>
                  </a:lnTo>
                  <a:lnTo>
                    <a:pt x="221" y="1441"/>
                  </a:lnTo>
                  <a:lnTo>
                    <a:pt x="219" y="1445"/>
                  </a:lnTo>
                  <a:lnTo>
                    <a:pt x="221" y="1451"/>
                  </a:lnTo>
                  <a:lnTo>
                    <a:pt x="221" y="1452"/>
                  </a:lnTo>
                  <a:lnTo>
                    <a:pt x="218" y="1453"/>
                  </a:lnTo>
                  <a:lnTo>
                    <a:pt x="212" y="1456"/>
                  </a:lnTo>
                  <a:lnTo>
                    <a:pt x="207" y="1458"/>
                  </a:lnTo>
                  <a:lnTo>
                    <a:pt x="202" y="1461"/>
                  </a:lnTo>
                  <a:lnTo>
                    <a:pt x="201" y="1465"/>
                  </a:lnTo>
                  <a:lnTo>
                    <a:pt x="201" y="1471"/>
                  </a:lnTo>
                  <a:lnTo>
                    <a:pt x="202" y="1475"/>
                  </a:lnTo>
                  <a:lnTo>
                    <a:pt x="205" y="1478"/>
                  </a:lnTo>
                  <a:lnTo>
                    <a:pt x="205" y="1479"/>
                  </a:lnTo>
                  <a:lnTo>
                    <a:pt x="204" y="1484"/>
                  </a:lnTo>
                  <a:lnTo>
                    <a:pt x="202" y="1486"/>
                  </a:lnTo>
                  <a:lnTo>
                    <a:pt x="205" y="1492"/>
                  </a:lnTo>
                  <a:lnTo>
                    <a:pt x="209" y="1495"/>
                  </a:lnTo>
                  <a:lnTo>
                    <a:pt x="212" y="1495"/>
                  </a:lnTo>
                  <a:lnTo>
                    <a:pt x="214" y="1496"/>
                  </a:lnTo>
                  <a:lnTo>
                    <a:pt x="214" y="1498"/>
                  </a:lnTo>
                  <a:lnTo>
                    <a:pt x="212" y="1501"/>
                  </a:lnTo>
                  <a:lnTo>
                    <a:pt x="205" y="1505"/>
                  </a:lnTo>
                  <a:lnTo>
                    <a:pt x="198" y="1505"/>
                  </a:lnTo>
                  <a:lnTo>
                    <a:pt x="197" y="1502"/>
                  </a:lnTo>
                  <a:lnTo>
                    <a:pt x="194" y="1502"/>
                  </a:lnTo>
                  <a:lnTo>
                    <a:pt x="192" y="1504"/>
                  </a:lnTo>
                  <a:lnTo>
                    <a:pt x="192" y="1506"/>
                  </a:lnTo>
                  <a:lnTo>
                    <a:pt x="189" y="1508"/>
                  </a:lnTo>
                  <a:lnTo>
                    <a:pt x="182" y="1508"/>
                  </a:lnTo>
                  <a:lnTo>
                    <a:pt x="179" y="1509"/>
                  </a:lnTo>
                  <a:lnTo>
                    <a:pt x="177" y="1511"/>
                  </a:lnTo>
                  <a:lnTo>
                    <a:pt x="177" y="1514"/>
                  </a:lnTo>
                  <a:lnTo>
                    <a:pt x="178" y="1515"/>
                  </a:lnTo>
                  <a:lnTo>
                    <a:pt x="182" y="1521"/>
                  </a:lnTo>
                  <a:lnTo>
                    <a:pt x="184" y="1524"/>
                  </a:lnTo>
                  <a:lnTo>
                    <a:pt x="184" y="1527"/>
                  </a:lnTo>
                  <a:lnTo>
                    <a:pt x="181" y="1532"/>
                  </a:lnTo>
                  <a:lnTo>
                    <a:pt x="174" y="1539"/>
                  </a:lnTo>
                  <a:lnTo>
                    <a:pt x="171" y="1541"/>
                  </a:lnTo>
                  <a:lnTo>
                    <a:pt x="169" y="1547"/>
                  </a:lnTo>
                  <a:lnTo>
                    <a:pt x="174" y="1549"/>
                  </a:lnTo>
                  <a:lnTo>
                    <a:pt x="174" y="1557"/>
                  </a:lnTo>
                  <a:lnTo>
                    <a:pt x="177" y="1562"/>
                  </a:lnTo>
                  <a:lnTo>
                    <a:pt x="181" y="1565"/>
                  </a:lnTo>
                  <a:lnTo>
                    <a:pt x="184" y="1567"/>
                  </a:lnTo>
                  <a:lnTo>
                    <a:pt x="185" y="1569"/>
                  </a:lnTo>
                  <a:lnTo>
                    <a:pt x="184" y="1572"/>
                  </a:lnTo>
                  <a:lnTo>
                    <a:pt x="181" y="1577"/>
                  </a:lnTo>
                  <a:lnTo>
                    <a:pt x="179" y="1582"/>
                  </a:lnTo>
                  <a:lnTo>
                    <a:pt x="179" y="1595"/>
                  </a:lnTo>
                  <a:lnTo>
                    <a:pt x="178" y="1605"/>
                  </a:lnTo>
                  <a:lnTo>
                    <a:pt x="172" y="1617"/>
                  </a:lnTo>
                  <a:lnTo>
                    <a:pt x="169" y="1618"/>
                  </a:lnTo>
                  <a:lnTo>
                    <a:pt x="156" y="1617"/>
                  </a:lnTo>
                  <a:lnTo>
                    <a:pt x="152" y="1615"/>
                  </a:lnTo>
                  <a:lnTo>
                    <a:pt x="151" y="1612"/>
                  </a:lnTo>
                  <a:lnTo>
                    <a:pt x="151" y="1610"/>
                  </a:lnTo>
                  <a:lnTo>
                    <a:pt x="151" y="1607"/>
                  </a:lnTo>
                  <a:lnTo>
                    <a:pt x="149" y="1605"/>
                  </a:lnTo>
                  <a:lnTo>
                    <a:pt x="148" y="1605"/>
                  </a:lnTo>
                  <a:lnTo>
                    <a:pt x="138" y="1608"/>
                  </a:lnTo>
                  <a:lnTo>
                    <a:pt x="132" y="1611"/>
                  </a:lnTo>
                  <a:lnTo>
                    <a:pt x="128" y="1611"/>
                  </a:lnTo>
                  <a:lnTo>
                    <a:pt x="119" y="1608"/>
                  </a:lnTo>
                  <a:lnTo>
                    <a:pt x="118" y="1608"/>
                  </a:lnTo>
                  <a:lnTo>
                    <a:pt x="114" y="1611"/>
                  </a:lnTo>
                  <a:lnTo>
                    <a:pt x="108" y="1617"/>
                  </a:lnTo>
                  <a:lnTo>
                    <a:pt x="106" y="1620"/>
                  </a:lnTo>
                  <a:lnTo>
                    <a:pt x="106" y="1627"/>
                  </a:lnTo>
                  <a:lnTo>
                    <a:pt x="105" y="1632"/>
                  </a:lnTo>
                  <a:lnTo>
                    <a:pt x="101" y="1638"/>
                  </a:lnTo>
                  <a:lnTo>
                    <a:pt x="96" y="1640"/>
                  </a:lnTo>
                  <a:lnTo>
                    <a:pt x="92" y="1638"/>
                  </a:lnTo>
                  <a:lnTo>
                    <a:pt x="82" y="1641"/>
                  </a:lnTo>
                  <a:lnTo>
                    <a:pt x="75" y="1644"/>
                  </a:lnTo>
                  <a:lnTo>
                    <a:pt x="68" y="1648"/>
                  </a:lnTo>
                  <a:lnTo>
                    <a:pt x="45" y="1670"/>
                  </a:lnTo>
                  <a:lnTo>
                    <a:pt x="39" y="1674"/>
                  </a:lnTo>
                  <a:lnTo>
                    <a:pt x="32" y="1674"/>
                  </a:lnTo>
                  <a:lnTo>
                    <a:pt x="28" y="1673"/>
                  </a:lnTo>
                  <a:lnTo>
                    <a:pt x="26" y="1671"/>
                  </a:lnTo>
                  <a:lnTo>
                    <a:pt x="26" y="1668"/>
                  </a:lnTo>
                  <a:lnTo>
                    <a:pt x="26" y="1665"/>
                  </a:lnTo>
                  <a:lnTo>
                    <a:pt x="23" y="1665"/>
                  </a:lnTo>
                  <a:lnTo>
                    <a:pt x="19" y="1665"/>
                  </a:lnTo>
                  <a:lnTo>
                    <a:pt x="15" y="1670"/>
                  </a:lnTo>
                  <a:lnTo>
                    <a:pt x="15" y="1680"/>
                  </a:lnTo>
                  <a:lnTo>
                    <a:pt x="13" y="1685"/>
                  </a:lnTo>
                  <a:lnTo>
                    <a:pt x="10" y="1687"/>
                  </a:lnTo>
                  <a:lnTo>
                    <a:pt x="5" y="1687"/>
                  </a:lnTo>
                  <a:lnTo>
                    <a:pt x="3" y="1690"/>
                  </a:lnTo>
                  <a:lnTo>
                    <a:pt x="2" y="1694"/>
                  </a:lnTo>
                  <a:lnTo>
                    <a:pt x="0" y="1698"/>
                  </a:lnTo>
                  <a:lnTo>
                    <a:pt x="56" y="1776"/>
                  </a:lnTo>
                  <a:lnTo>
                    <a:pt x="56" y="1787"/>
                  </a:lnTo>
                  <a:lnTo>
                    <a:pt x="62" y="1843"/>
                  </a:lnTo>
                  <a:lnTo>
                    <a:pt x="71" y="1920"/>
                  </a:lnTo>
                  <a:lnTo>
                    <a:pt x="72" y="1966"/>
                  </a:lnTo>
                  <a:lnTo>
                    <a:pt x="76" y="2013"/>
                  </a:lnTo>
                  <a:lnTo>
                    <a:pt x="76" y="2026"/>
                  </a:lnTo>
                  <a:lnTo>
                    <a:pt x="75" y="2031"/>
                  </a:lnTo>
                  <a:lnTo>
                    <a:pt x="72" y="2036"/>
                  </a:lnTo>
                  <a:lnTo>
                    <a:pt x="71" y="2042"/>
                  </a:lnTo>
                  <a:lnTo>
                    <a:pt x="68" y="2046"/>
                  </a:lnTo>
                  <a:lnTo>
                    <a:pt x="65" y="2045"/>
                  </a:lnTo>
                  <a:lnTo>
                    <a:pt x="63" y="2044"/>
                  </a:lnTo>
                  <a:lnTo>
                    <a:pt x="62" y="2041"/>
                  </a:lnTo>
                  <a:lnTo>
                    <a:pt x="61" y="2039"/>
                  </a:lnTo>
                  <a:lnTo>
                    <a:pt x="58" y="2042"/>
                  </a:lnTo>
                  <a:lnTo>
                    <a:pt x="52" y="2051"/>
                  </a:lnTo>
                  <a:lnTo>
                    <a:pt x="45" y="2056"/>
                  </a:lnTo>
                  <a:lnTo>
                    <a:pt x="38" y="2061"/>
                  </a:lnTo>
                  <a:lnTo>
                    <a:pt x="33" y="2061"/>
                  </a:lnTo>
                  <a:lnTo>
                    <a:pt x="32" y="2065"/>
                  </a:lnTo>
                  <a:lnTo>
                    <a:pt x="32" y="2071"/>
                  </a:lnTo>
                  <a:lnTo>
                    <a:pt x="30" y="2076"/>
                  </a:lnTo>
                  <a:lnTo>
                    <a:pt x="28" y="2081"/>
                  </a:lnTo>
                  <a:lnTo>
                    <a:pt x="20" y="2086"/>
                  </a:lnTo>
                  <a:lnTo>
                    <a:pt x="15" y="2088"/>
                  </a:lnTo>
                  <a:lnTo>
                    <a:pt x="8" y="2089"/>
                  </a:lnTo>
                  <a:lnTo>
                    <a:pt x="5" y="2092"/>
                  </a:lnTo>
                  <a:lnTo>
                    <a:pt x="5" y="2097"/>
                  </a:lnTo>
                  <a:lnTo>
                    <a:pt x="6" y="2102"/>
                  </a:lnTo>
                  <a:lnTo>
                    <a:pt x="10" y="2105"/>
                  </a:lnTo>
                  <a:lnTo>
                    <a:pt x="13" y="2104"/>
                  </a:lnTo>
                  <a:lnTo>
                    <a:pt x="18" y="2101"/>
                  </a:lnTo>
                  <a:lnTo>
                    <a:pt x="19" y="2101"/>
                  </a:lnTo>
                  <a:lnTo>
                    <a:pt x="20" y="2104"/>
                  </a:lnTo>
                  <a:lnTo>
                    <a:pt x="23" y="2105"/>
                  </a:lnTo>
                  <a:lnTo>
                    <a:pt x="28" y="2107"/>
                  </a:lnTo>
                  <a:lnTo>
                    <a:pt x="33" y="2107"/>
                  </a:lnTo>
                  <a:lnTo>
                    <a:pt x="38" y="2109"/>
                  </a:lnTo>
                  <a:lnTo>
                    <a:pt x="38" y="2114"/>
                  </a:lnTo>
                  <a:lnTo>
                    <a:pt x="35" y="2118"/>
                  </a:lnTo>
                  <a:lnTo>
                    <a:pt x="32" y="2122"/>
                  </a:lnTo>
                  <a:lnTo>
                    <a:pt x="33" y="2125"/>
                  </a:lnTo>
                  <a:lnTo>
                    <a:pt x="36" y="2127"/>
                  </a:lnTo>
                  <a:lnTo>
                    <a:pt x="43" y="2124"/>
                  </a:lnTo>
                  <a:lnTo>
                    <a:pt x="49" y="2121"/>
                  </a:lnTo>
                  <a:lnTo>
                    <a:pt x="50" y="2125"/>
                  </a:lnTo>
                  <a:lnTo>
                    <a:pt x="50" y="2127"/>
                  </a:lnTo>
                  <a:lnTo>
                    <a:pt x="46" y="2128"/>
                  </a:lnTo>
                  <a:lnTo>
                    <a:pt x="46" y="2131"/>
                  </a:lnTo>
                  <a:lnTo>
                    <a:pt x="49" y="2137"/>
                  </a:lnTo>
                  <a:lnTo>
                    <a:pt x="53" y="2155"/>
                  </a:lnTo>
                  <a:lnTo>
                    <a:pt x="56" y="2168"/>
                  </a:lnTo>
                  <a:lnTo>
                    <a:pt x="58" y="2175"/>
                  </a:lnTo>
                  <a:lnTo>
                    <a:pt x="55" y="2180"/>
                  </a:lnTo>
                  <a:lnTo>
                    <a:pt x="55" y="2180"/>
                  </a:lnTo>
                  <a:lnTo>
                    <a:pt x="53" y="2181"/>
                  </a:lnTo>
                  <a:lnTo>
                    <a:pt x="50" y="2182"/>
                  </a:lnTo>
                  <a:lnTo>
                    <a:pt x="49" y="2184"/>
                  </a:lnTo>
                  <a:lnTo>
                    <a:pt x="49" y="2188"/>
                  </a:lnTo>
                  <a:lnTo>
                    <a:pt x="49" y="2210"/>
                  </a:lnTo>
                  <a:lnTo>
                    <a:pt x="49" y="2210"/>
                  </a:lnTo>
                  <a:lnTo>
                    <a:pt x="49" y="2221"/>
                  </a:lnTo>
                  <a:lnTo>
                    <a:pt x="50" y="2224"/>
                  </a:lnTo>
                  <a:lnTo>
                    <a:pt x="52" y="2225"/>
                  </a:lnTo>
                  <a:lnTo>
                    <a:pt x="56" y="2227"/>
                  </a:lnTo>
                  <a:lnTo>
                    <a:pt x="65" y="2231"/>
                  </a:lnTo>
                  <a:lnTo>
                    <a:pt x="65" y="2231"/>
                  </a:lnTo>
                  <a:lnTo>
                    <a:pt x="73" y="2237"/>
                  </a:lnTo>
                  <a:lnTo>
                    <a:pt x="79" y="2244"/>
                  </a:lnTo>
                  <a:lnTo>
                    <a:pt x="82" y="2251"/>
                  </a:lnTo>
                  <a:lnTo>
                    <a:pt x="82" y="2258"/>
                  </a:lnTo>
                  <a:lnTo>
                    <a:pt x="81" y="2274"/>
                  </a:lnTo>
                  <a:lnTo>
                    <a:pt x="79" y="2283"/>
                  </a:lnTo>
                  <a:lnTo>
                    <a:pt x="79" y="2293"/>
                  </a:lnTo>
                  <a:lnTo>
                    <a:pt x="79" y="2293"/>
                  </a:lnTo>
                  <a:lnTo>
                    <a:pt x="79" y="2297"/>
                  </a:lnTo>
                  <a:lnTo>
                    <a:pt x="82" y="2301"/>
                  </a:lnTo>
                  <a:lnTo>
                    <a:pt x="88" y="2308"/>
                  </a:lnTo>
                  <a:lnTo>
                    <a:pt x="96" y="2314"/>
                  </a:lnTo>
                  <a:lnTo>
                    <a:pt x="105" y="2319"/>
                  </a:lnTo>
                  <a:lnTo>
                    <a:pt x="106" y="2319"/>
                  </a:lnTo>
                  <a:lnTo>
                    <a:pt x="112" y="2319"/>
                  </a:lnTo>
                  <a:lnTo>
                    <a:pt x="116" y="2319"/>
                  </a:lnTo>
                  <a:lnTo>
                    <a:pt x="118" y="2321"/>
                  </a:lnTo>
                  <a:lnTo>
                    <a:pt x="116" y="2327"/>
                  </a:lnTo>
                  <a:lnTo>
                    <a:pt x="109" y="2337"/>
                  </a:lnTo>
                  <a:lnTo>
                    <a:pt x="109" y="2346"/>
                  </a:lnTo>
                  <a:lnTo>
                    <a:pt x="101" y="2344"/>
                  </a:lnTo>
                  <a:lnTo>
                    <a:pt x="96" y="2344"/>
                  </a:lnTo>
                  <a:lnTo>
                    <a:pt x="89" y="2349"/>
                  </a:lnTo>
                  <a:lnTo>
                    <a:pt x="85" y="2354"/>
                  </a:lnTo>
                  <a:lnTo>
                    <a:pt x="83" y="2361"/>
                  </a:lnTo>
                  <a:lnTo>
                    <a:pt x="83" y="2364"/>
                  </a:lnTo>
                  <a:lnTo>
                    <a:pt x="85" y="2367"/>
                  </a:lnTo>
                  <a:lnTo>
                    <a:pt x="91" y="2370"/>
                  </a:lnTo>
                  <a:lnTo>
                    <a:pt x="92" y="2373"/>
                  </a:lnTo>
                  <a:lnTo>
                    <a:pt x="92" y="2376"/>
                  </a:lnTo>
                  <a:lnTo>
                    <a:pt x="88" y="2376"/>
                  </a:lnTo>
                  <a:lnTo>
                    <a:pt x="83" y="2374"/>
                  </a:lnTo>
                  <a:lnTo>
                    <a:pt x="81" y="2377"/>
                  </a:lnTo>
                  <a:lnTo>
                    <a:pt x="82" y="2382"/>
                  </a:lnTo>
                  <a:lnTo>
                    <a:pt x="82" y="2383"/>
                  </a:lnTo>
                  <a:lnTo>
                    <a:pt x="82" y="2386"/>
                  </a:lnTo>
                  <a:lnTo>
                    <a:pt x="76" y="2389"/>
                  </a:lnTo>
                  <a:lnTo>
                    <a:pt x="71" y="2396"/>
                  </a:lnTo>
                  <a:lnTo>
                    <a:pt x="65" y="2397"/>
                  </a:lnTo>
                  <a:lnTo>
                    <a:pt x="58" y="2402"/>
                  </a:lnTo>
                  <a:lnTo>
                    <a:pt x="58" y="2403"/>
                  </a:lnTo>
                  <a:lnTo>
                    <a:pt x="58" y="2406"/>
                  </a:lnTo>
                  <a:lnTo>
                    <a:pt x="63" y="2409"/>
                  </a:lnTo>
                  <a:lnTo>
                    <a:pt x="68" y="2417"/>
                  </a:lnTo>
                  <a:lnTo>
                    <a:pt x="75" y="2427"/>
                  </a:lnTo>
                  <a:lnTo>
                    <a:pt x="71" y="2430"/>
                  </a:lnTo>
                  <a:lnTo>
                    <a:pt x="66" y="2430"/>
                  </a:lnTo>
                  <a:lnTo>
                    <a:pt x="61" y="2423"/>
                  </a:lnTo>
                  <a:lnTo>
                    <a:pt x="55" y="2423"/>
                  </a:lnTo>
                  <a:lnTo>
                    <a:pt x="53" y="2424"/>
                  </a:lnTo>
                  <a:lnTo>
                    <a:pt x="56" y="2432"/>
                  </a:lnTo>
                  <a:lnTo>
                    <a:pt x="61" y="2439"/>
                  </a:lnTo>
                  <a:lnTo>
                    <a:pt x="56" y="2440"/>
                  </a:lnTo>
                  <a:lnTo>
                    <a:pt x="53" y="2445"/>
                  </a:lnTo>
                  <a:lnTo>
                    <a:pt x="53" y="2452"/>
                  </a:lnTo>
                  <a:lnTo>
                    <a:pt x="55" y="2459"/>
                  </a:lnTo>
                  <a:lnTo>
                    <a:pt x="52" y="2463"/>
                  </a:lnTo>
                  <a:lnTo>
                    <a:pt x="50" y="2462"/>
                  </a:lnTo>
                  <a:lnTo>
                    <a:pt x="45" y="2460"/>
                  </a:lnTo>
                  <a:lnTo>
                    <a:pt x="43" y="2465"/>
                  </a:lnTo>
                  <a:lnTo>
                    <a:pt x="45" y="2469"/>
                  </a:lnTo>
                  <a:lnTo>
                    <a:pt x="45" y="2473"/>
                  </a:lnTo>
                  <a:lnTo>
                    <a:pt x="48" y="2476"/>
                  </a:lnTo>
                  <a:lnTo>
                    <a:pt x="49" y="2480"/>
                  </a:lnTo>
                  <a:lnTo>
                    <a:pt x="49" y="2486"/>
                  </a:lnTo>
                  <a:lnTo>
                    <a:pt x="49" y="2492"/>
                  </a:lnTo>
                  <a:lnTo>
                    <a:pt x="53" y="2493"/>
                  </a:lnTo>
                  <a:lnTo>
                    <a:pt x="59" y="2492"/>
                  </a:lnTo>
                  <a:lnTo>
                    <a:pt x="61" y="2489"/>
                  </a:lnTo>
                  <a:lnTo>
                    <a:pt x="66" y="2482"/>
                  </a:lnTo>
                  <a:lnTo>
                    <a:pt x="76" y="2485"/>
                  </a:lnTo>
                  <a:lnTo>
                    <a:pt x="78" y="2490"/>
                  </a:lnTo>
                  <a:lnTo>
                    <a:pt x="75" y="2498"/>
                  </a:lnTo>
                  <a:lnTo>
                    <a:pt x="75" y="2500"/>
                  </a:lnTo>
                  <a:lnTo>
                    <a:pt x="83" y="2500"/>
                  </a:lnTo>
                  <a:lnTo>
                    <a:pt x="101" y="2496"/>
                  </a:lnTo>
                  <a:lnTo>
                    <a:pt x="106" y="2493"/>
                  </a:lnTo>
                  <a:lnTo>
                    <a:pt x="109" y="2490"/>
                  </a:lnTo>
                  <a:lnTo>
                    <a:pt x="108" y="2485"/>
                  </a:lnTo>
                  <a:lnTo>
                    <a:pt x="108" y="2480"/>
                  </a:lnTo>
                  <a:lnTo>
                    <a:pt x="109" y="2482"/>
                  </a:lnTo>
                  <a:lnTo>
                    <a:pt x="112" y="2485"/>
                  </a:lnTo>
                  <a:lnTo>
                    <a:pt x="115" y="2492"/>
                  </a:lnTo>
                  <a:lnTo>
                    <a:pt x="118" y="2496"/>
                  </a:lnTo>
                  <a:lnTo>
                    <a:pt x="126" y="2496"/>
                  </a:lnTo>
                  <a:lnTo>
                    <a:pt x="129" y="2496"/>
                  </a:lnTo>
                  <a:lnTo>
                    <a:pt x="132" y="2496"/>
                  </a:lnTo>
                  <a:lnTo>
                    <a:pt x="141" y="2500"/>
                  </a:lnTo>
                  <a:lnTo>
                    <a:pt x="145" y="2503"/>
                  </a:lnTo>
                  <a:lnTo>
                    <a:pt x="152" y="2505"/>
                  </a:lnTo>
                  <a:lnTo>
                    <a:pt x="155" y="2503"/>
                  </a:lnTo>
                  <a:lnTo>
                    <a:pt x="156" y="2510"/>
                  </a:lnTo>
                  <a:lnTo>
                    <a:pt x="158" y="2516"/>
                  </a:lnTo>
                  <a:lnTo>
                    <a:pt x="161" y="2520"/>
                  </a:lnTo>
                  <a:lnTo>
                    <a:pt x="168" y="2518"/>
                  </a:lnTo>
                  <a:lnTo>
                    <a:pt x="171" y="2512"/>
                  </a:lnTo>
                  <a:lnTo>
                    <a:pt x="175" y="2509"/>
                  </a:lnTo>
                  <a:lnTo>
                    <a:pt x="182" y="2509"/>
                  </a:lnTo>
                  <a:lnTo>
                    <a:pt x="185" y="2510"/>
                  </a:lnTo>
                  <a:lnTo>
                    <a:pt x="189" y="2513"/>
                  </a:lnTo>
                  <a:lnTo>
                    <a:pt x="199" y="2520"/>
                  </a:lnTo>
                  <a:lnTo>
                    <a:pt x="202" y="2525"/>
                  </a:lnTo>
                  <a:lnTo>
                    <a:pt x="217" y="2513"/>
                  </a:lnTo>
                  <a:lnTo>
                    <a:pt x="228" y="2510"/>
                  </a:lnTo>
                  <a:lnTo>
                    <a:pt x="235" y="2503"/>
                  </a:lnTo>
                  <a:lnTo>
                    <a:pt x="237" y="2506"/>
                  </a:lnTo>
                  <a:lnTo>
                    <a:pt x="244" y="2510"/>
                  </a:lnTo>
                  <a:lnTo>
                    <a:pt x="245" y="2518"/>
                  </a:lnTo>
                  <a:lnTo>
                    <a:pt x="250" y="2528"/>
                  </a:lnTo>
                  <a:lnTo>
                    <a:pt x="255" y="2536"/>
                  </a:lnTo>
                  <a:lnTo>
                    <a:pt x="265" y="2543"/>
                  </a:lnTo>
                  <a:lnTo>
                    <a:pt x="271" y="2552"/>
                  </a:lnTo>
                  <a:lnTo>
                    <a:pt x="270" y="2558"/>
                  </a:lnTo>
                  <a:lnTo>
                    <a:pt x="271" y="2565"/>
                  </a:lnTo>
                  <a:lnTo>
                    <a:pt x="275" y="2571"/>
                  </a:lnTo>
                  <a:lnTo>
                    <a:pt x="275" y="2576"/>
                  </a:lnTo>
                  <a:lnTo>
                    <a:pt x="272" y="2578"/>
                  </a:lnTo>
                  <a:lnTo>
                    <a:pt x="270" y="2581"/>
                  </a:lnTo>
                  <a:lnTo>
                    <a:pt x="260" y="2581"/>
                  </a:lnTo>
                  <a:lnTo>
                    <a:pt x="248" y="2582"/>
                  </a:lnTo>
                  <a:lnTo>
                    <a:pt x="244" y="2586"/>
                  </a:lnTo>
                  <a:lnTo>
                    <a:pt x="241" y="2591"/>
                  </a:lnTo>
                  <a:lnTo>
                    <a:pt x="241" y="2596"/>
                  </a:lnTo>
                  <a:lnTo>
                    <a:pt x="241" y="2602"/>
                  </a:lnTo>
                  <a:lnTo>
                    <a:pt x="241" y="2606"/>
                  </a:lnTo>
                  <a:lnTo>
                    <a:pt x="235" y="2611"/>
                  </a:lnTo>
                  <a:lnTo>
                    <a:pt x="232" y="2616"/>
                  </a:lnTo>
                  <a:lnTo>
                    <a:pt x="232" y="2619"/>
                  </a:lnTo>
                  <a:lnTo>
                    <a:pt x="235" y="2622"/>
                  </a:lnTo>
                  <a:lnTo>
                    <a:pt x="241" y="2621"/>
                  </a:lnTo>
                  <a:lnTo>
                    <a:pt x="251" y="2622"/>
                  </a:lnTo>
                  <a:lnTo>
                    <a:pt x="255" y="2619"/>
                  </a:lnTo>
                  <a:lnTo>
                    <a:pt x="255" y="2619"/>
                  </a:lnTo>
                  <a:lnTo>
                    <a:pt x="270" y="2616"/>
                  </a:lnTo>
                  <a:lnTo>
                    <a:pt x="281" y="2615"/>
                  </a:lnTo>
                  <a:lnTo>
                    <a:pt x="291" y="2616"/>
                  </a:lnTo>
                  <a:lnTo>
                    <a:pt x="300" y="2621"/>
                  </a:lnTo>
                  <a:lnTo>
                    <a:pt x="308" y="2626"/>
                  </a:lnTo>
                  <a:lnTo>
                    <a:pt x="315" y="2635"/>
                  </a:lnTo>
                  <a:lnTo>
                    <a:pt x="331" y="2658"/>
                  </a:lnTo>
                  <a:lnTo>
                    <a:pt x="331" y="2658"/>
                  </a:lnTo>
                  <a:lnTo>
                    <a:pt x="334" y="2662"/>
                  </a:lnTo>
                  <a:lnTo>
                    <a:pt x="337" y="2667"/>
                  </a:lnTo>
                  <a:lnTo>
                    <a:pt x="338" y="2678"/>
                  </a:lnTo>
                  <a:lnTo>
                    <a:pt x="341" y="2688"/>
                  </a:lnTo>
                  <a:lnTo>
                    <a:pt x="343" y="2692"/>
                  </a:lnTo>
                  <a:lnTo>
                    <a:pt x="344" y="2697"/>
                  </a:lnTo>
                  <a:lnTo>
                    <a:pt x="344" y="2697"/>
                  </a:lnTo>
                  <a:lnTo>
                    <a:pt x="358" y="2715"/>
                  </a:lnTo>
                  <a:lnTo>
                    <a:pt x="364" y="2725"/>
                  </a:lnTo>
                  <a:lnTo>
                    <a:pt x="366" y="2730"/>
                  </a:lnTo>
                  <a:lnTo>
                    <a:pt x="367" y="2732"/>
                  </a:lnTo>
                  <a:lnTo>
                    <a:pt x="358" y="2734"/>
                  </a:lnTo>
                  <a:lnTo>
                    <a:pt x="350" y="2738"/>
                  </a:lnTo>
                  <a:lnTo>
                    <a:pt x="347" y="2742"/>
                  </a:lnTo>
                  <a:lnTo>
                    <a:pt x="346" y="2747"/>
                  </a:lnTo>
                  <a:lnTo>
                    <a:pt x="346" y="2758"/>
                  </a:lnTo>
                  <a:lnTo>
                    <a:pt x="344" y="2767"/>
                  </a:lnTo>
                  <a:lnTo>
                    <a:pt x="340" y="2777"/>
                  </a:lnTo>
                  <a:lnTo>
                    <a:pt x="337" y="2783"/>
                  </a:lnTo>
                  <a:lnTo>
                    <a:pt x="337" y="2790"/>
                  </a:lnTo>
                  <a:lnTo>
                    <a:pt x="341" y="2794"/>
                  </a:lnTo>
                  <a:lnTo>
                    <a:pt x="350" y="2800"/>
                  </a:lnTo>
                  <a:lnTo>
                    <a:pt x="351" y="2804"/>
                  </a:lnTo>
                  <a:lnTo>
                    <a:pt x="354" y="2804"/>
                  </a:lnTo>
                  <a:lnTo>
                    <a:pt x="356" y="2803"/>
                  </a:lnTo>
                  <a:lnTo>
                    <a:pt x="356" y="2800"/>
                  </a:lnTo>
                  <a:lnTo>
                    <a:pt x="361" y="2798"/>
                  </a:lnTo>
                  <a:lnTo>
                    <a:pt x="373" y="2797"/>
                  </a:lnTo>
                  <a:lnTo>
                    <a:pt x="378" y="2795"/>
                  </a:lnTo>
                  <a:lnTo>
                    <a:pt x="384" y="2791"/>
                  </a:lnTo>
                  <a:lnTo>
                    <a:pt x="388" y="2793"/>
                  </a:lnTo>
                  <a:lnTo>
                    <a:pt x="387" y="2797"/>
                  </a:lnTo>
                  <a:lnTo>
                    <a:pt x="386" y="2800"/>
                  </a:lnTo>
                  <a:lnTo>
                    <a:pt x="386" y="2803"/>
                  </a:lnTo>
                  <a:lnTo>
                    <a:pt x="391" y="2807"/>
                  </a:lnTo>
                  <a:lnTo>
                    <a:pt x="393" y="2811"/>
                  </a:lnTo>
                  <a:lnTo>
                    <a:pt x="393" y="2814"/>
                  </a:lnTo>
                  <a:lnTo>
                    <a:pt x="391" y="2820"/>
                  </a:lnTo>
                  <a:lnTo>
                    <a:pt x="393" y="2824"/>
                  </a:lnTo>
                  <a:lnTo>
                    <a:pt x="397" y="2827"/>
                  </a:lnTo>
                  <a:lnTo>
                    <a:pt x="397" y="2834"/>
                  </a:lnTo>
                  <a:lnTo>
                    <a:pt x="394" y="2843"/>
                  </a:lnTo>
                  <a:lnTo>
                    <a:pt x="393" y="2848"/>
                  </a:lnTo>
                  <a:lnTo>
                    <a:pt x="387" y="2853"/>
                  </a:lnTo>
                  <a:lnTo>
                    <a:pt x="383" y="2856"/>
                  </a:lnTo>
                  <a:lnTo>
                    <a:pt x="380" y="2857"/>
                  </a:lnTo>
                  <a:lnTo>
                    <a:pt x="380" y="2860"/>
                  </a:lnTo>
                  <a:lnTo>
                    <a:pt x="380" y="2860"/>
                  </a:lnTo>
                  <a:lnTo>
                    <a:pt x="377" y="2863"/>
                  </a:lnTo>
                  <a:lnTo>
                    <a:pt x="377" y="2864"/>
                  </a:lnTo>
                  <a:lnTo>
                    <a:pt x="376" y="2866"/>
                  </a:lnTo>
                  <a:lnTo>
                    <a:pt x="376" y="2874"/>
                  </a:lnTo>
                  <a:lnTo>
                    <a:pt x="376" y="2890"/>
                  </a:lnTo>
                  <a:lnTo>
                    <a:pt x="376" y="2890"/>
                  </a:lnTo>
                  <a:lnTo>
                    <a:pt x="377" y="2896"/>
                  </a:lnTo>
                  <a:lnTo>
                    <a:pt x="378" y="2900"/>
                  </a:lnTo>
                  <a:lnTo>
                    <a:pt x="381" y="2904"/>
                  </a:lnTo>
                  <a:lnTo>
                    <a:pt x="386" y="2907"/>
                  </a:lnTo>
                  <a:lnTo>
                    <a:pt x="393" y="2914"/>
                  </a:lnTo>
                  <a:lnTo>
                    <a:pt x="396" y="2919"/>
                  </a:lnTo>
                  <a:lnTo>
                    <a:pt x="397" y="2923"/>
                  </a:lnTo>
                  <a:lnTo>
                    <a:pt x="404" y="2934"/>
                  </a:lnTo>
                  <a:lnTo>
                    <a:pt x="407" y="2956"/>
                  </a:lnTo>
                  <a:lnTo>
                    <a:pt x="407" y="2970"/>
                  </a:lnTo>
                  <a:lnTo>
                    <a:pt x="410" y="2973"/>
                  </a:lnTo>
                  <a:lnTo>
                    <a:pt x="417" y="2973"/>
                  </a:lnTo>
                  <a:lnTo>
                    <a:pt x="426" y="2973"/>
                  </a:lnTo>
                  <a:lnTo>
                    <a:pt x="431" y="2974"/>
                  </a:lnTo>
                  <a:lnTo>
                    <a:pt x="436" y="2982"/>
                  </a:lnTo>
                  <a:lnTo>
                    <a:pt x="440" y="2986"/>
                  </a:lnTo>
                  <a:lnTo>
                    <a:pt x="446" y="2989"/>
                  </a:lnTo>
                  <a:lnTo>
                    <a:pt x="452" y="2989"/>
                  </a:lnTo>
                  <a:lnTo>
                    <a:pt x="457" y="2987"/>
                  </a:lnTo>
                  <a:lnTo>
                    <a:pt x="463" y="2989"/>
                  </a:lnTo>
                  <a:lnTo>
                    <a:pt x="467" y="2992"/>
                  </a:lnTo>
                  <a:lnTo>
                    <a:pt x="470" y="2996"/>
                  </a:lnTo>
                  <a:lnTo>
                    <a:pt x="470" y="3002"/>
                  </a:lnTo>
                  <a:lnTo>
                    <a:pt x="462" y="3027"/>
                  </a:lnTo>
                  <a:lnTo>
                    <a:pt x="454" y="3045"/>
                  </a:lnTo>
                  <a:lnTo>
                    <a:pt x="460" y="3053"/>
                  </a:lnTo>
                  <a:lnTo>
                    <a:pt x="462" y="3059"/>
                  </a:lnTo>
                  <a:lnTo>
                    <a:pt x="462" y="3065"/>
                  </a:lnTo>
                  <a:lnTo>
                    <a:pt x="460" y="3066"/>
                  </a:lnTo>
                  <a:lnTo>
                    <a:pt x="456" y="3069"/>
                  </a:lnTo>
                  <a:lnTo>
                    <a:pt x="449" y="3068"/>
                  </a:lnTo>
                  <a:lnTo>
                    <a:pt x="444" y="3068"/>
                  </a:lnTo>
                  <a:lnTo>
                    <a:pt x="444" y="3069"/>
                  </a:lnTo>
                  <a:lnTo>
                    <a:pt x="444" y="3072"/>
                  </a:lnTo>
                  <a:lnTo>
                    <a:pt x="447" y="3076"/>
                  </a:lnTo>
                  <a:lnTo>
                    <a:pt x="449" y="3080"/>
                  </a:lnTo>
                  <a:lnTo>
                    <a:pt x="447" y="3085"/>
                  </a:lnTo>
                  <a:lnTo>
                    <a:pt x="444" y="3092"/>
                  </a:lnTo>
                  <a:lnTo>
                    <a:pt x="439" y="3100"/>
                  </a:lnTo>
                  <a:lnTo>
                    <a:pt x="437" y="3106"/>
                  </a:lnTo>
                  <a:lnTo>
                    <a:pt x="439" y="3115"/>
                  </a:lnTo>
                  <a:lnTo>
                    <a:pt x="439" y="3121"/>
                  </a:lnTo>
                  <a:lnTo>
                    <a:pt x="437" y="3128"/>
                  </a:lnTo>
                  <a:lnTo>
                    <a:pt x="436" y="3133"/>
                  </a:lnTo>
                  <a:lnTo>
                    <a:pt x="433" y="3143"/>
                  </a:lnTo>
                  <a:lnTo>
                    <a:pt x="427" y="3152"/>
                  </a:lnTo>
                  <a:lnTo>
                    <a:pt x="427" y="3164"/>
                  </a:lnTo>
                  <a:lnTo>
                    <a:pt x="431" y="3176"/>
                  </a:lnTo>
                  <a:lnTo>
                    <a:pt x="434" y="3182"/>
                  </a:lnTo>
                  <a:lnTo>
                    <a:pt x="433" y="3189"/>
                  </a:lnTo>
                  <a:lnTo>
                    <a:pt x="427" y="3202"/>
                  </a:lnTo>
                  <a:lnTo>
                    <a:pt x="429" y="3208"/>
                  </a:lnTo>
                  <a:lnTo>
                    <a:pt x="427" y="3214"/>
                  </a:lnTo>
                  <a:lnTo>
                    <a:pt x="423" y="3222"/>
                  </a:lnTo>
                  <a:lnTo>
                    <a:pt x="419" y="3234"/>
                  </a:lnTo>
                  <a:lnTo>
                    <a:pt x="420" y="3237"/>
                  </a:lnTo>
                  <a:lnTo>
                    <a:pt x="426" y="3245"/>
                  </a:lnTo>
                  <a:lnTo>
                    <a:pt x="416" y="3265"/>
                  </a:lnTo>
                  <a:lnTo>
                    <a:pt x="410" y="3275"/>
                  </a:lnTo>
                  <a:lnTo>
                    <a:pt x="410" y="3280"/>
                  </a:lnTo>
                  <a:lnTo>
                    <a:pt x="414" y="3282"/>
                  </a:lnTo>
                  <a:lnTo>
                    <a:pt x="416" y="3287"/>
                  </a:lnTo>
                  <a:lnTo>
                    <a:pt x="414" y="3291"/>
                  </a:lnTo>
                  <a:lnTo>
                    <a:pt x="411" y="3295"/>
                  </a:lnTo>
                  <a:lnTo>
                    <a:pt x="411" y="3300"/>
                  </a:lnTo>
                  <a:lnTo>
                    <a:pt x="413" y="3301"/>
                  </a:lnTo>
                  <a:lnTo>
                    <a:pt x="417" y="3301"/>
                  </a:lnTo>
                  <a:lnTo>
                    <a:pt x="419" y="3301"/>
                  </a:lnTo>
                  <a:lnTo>
                    <a:pt x="427" y="3302"/>
                  </a:lnTo>
                  <a:lnTo>
                    <a:pt x="431" y="3305"/>
                  </a:lnTo>
                  <a:lnTo>
                    <a:pt x="433" y="3311"/>
                  </a:lnTo>
                  <a:lnTo>
                    <a:pt x="437" y="3320"/>
                  </a:lnTo>
                  <a:lnTo>
                    <a:pt x="444" y="3324"/>
                  </a:lnTo>
                  <a:lnTo>
                    <a:pt x="444" y="3333"/>
                  </a:lnTo>
                  <a:lnTo>
                    <a:pt x="444" y="3338"/>
                  </a:lnTo>
                  <a:lnTo>
                    <a:pt x="447" y="3338"/>
                  </a:lnTo>
                  <a:lnTo>
                    <a:pt x="449" y="3337"/>
                  </a:lnTo>
                  <a:lnTo>
                    <a:pt x="452" y="3337"/>
                  </a:lnTo>
                  <a:lnTo>
                    <a:pt x="457" y="3337"/>
                  </a:lnTo>
                  <a:lnTo>
                    <a:pt x="460" y="3341"/>
                  </a:lnTo>
                  <a:lnTo>
                    <a:pt x="463" y="3348"/>
                  </a:lnTo>
                  <a:lnTo>
                    <a:pt x="466" y="3350"/>
                  </a:lnTo>
                  <a:lnTo>
                    <a:pt x="467" y="3348"/>
                  </a:lnTo>
                  <a:lnTo>
                    <a:pt x="467" y="3345"/>
                  </a:lnTo>
                  <a:lnTo>
                    <a:pt x="470" y="3343"/>
                  </a:lnTo>
                  <a:lnTo>
                    <a:pt x="476" y="3343"/>
                  </a:lnTo>
                  <a:lnTo>
                    <a:pt x="489" y="3341"/>
                  </a:lnTo>
                  <a:lnTo>
                    <a:pt x="500" y="3341"/>
                  </a:lnTo>
                  <a:lnTo>
                    <a:pt x="513" y="3334"/>
                  </a:lnTo>
                  <a:lnTo>
                    <a:pt x="520" y="3327"/>
                  </a:lnTo>
                  <a:lnTo>
                    <a:pt x="523" y="3321"/>
                  </a:lnTo>
                  <a:lnTo>
                    <a:pt x="525" y="3314"/>
                  </a:lnTo>
                  <a:lnTo>
                    <a:pt x="525" y="3305"/>
                  </a:lnTo>
                  <a:lnTo>
                    <a:pt x="527" y="3300"/>
                  </a:lnTo>
                  <a:lnTo>
                    <a:pt x="532" y="3294"/>
                  </a:lnTo>
                  <a:lnTo>
                    <a:pt x="539" y="3290"/>
                  </a:lnTo>
                  <a:lnTo>
                    <a:pt x="547" y="3290"/>
                  </a:lnTo>
                  <a:lnTo>
                    <a:pt x="552" y="3294"/>
                  </a:lnTo>
                  <a:lnTo>
                    <a:pt x="557" y="3295"/>
                  </a:lnTo>
                  <a:lnTo>
                    <a:pt x="559" y="3292"/>
                  </a:lnTo>
                  <a:lnTo>
                    <a:pt x="560" y="3291"/>
                  </a:lnTo>
                  <a:lnTo>
                    <a:pt x="566" y="3291"/>
                  </a:lnTo>
                  <a:lnTo>
                    <a:pt x="568" y="3295"/>
                  </a:lnTo>
                  <a:lnTo>
                    <a:pt x="572" y="3295"/>
                  </a:lnTo>
                  <a:lnTo>
                    <a:pt x="575" y="3294"/>
                  </a:lnTo>
                  <a:lnTo>
                    <a:pt x="576" y="3290"/>
                  </a:lnTo>
                  <a:lnTo>
                    <a:pt x="578" y="3285"/>
                  </a:lnTo>
                  <a:lnTo>
                    <a:pt x="583" y="3281"/>
                  </a:lnTo>
                  <a:lnTo>
                    <a:pt x="596" y="3280"/>
                  </a:lnTo>
                  <a:lnTo>
                    <a:pt x="600" y="3284"/>
                  </a:lnTo>
                  <a:lnTo>
                    <a:pt x="602" y="3287"/>
                  </a:lnTo>
                  <a:lnTo>
                    <a:pt x="603" y="3287"/>
                  </a:lnTo>
                  <a:lnTo>
                    <a:pt x="605" y="3287"/>
                  </a:lnTo>
                  <a:lnTo>
                    <a:pt x="608" y="3285"/>
                  </a:lnTo>
                  <a:lnTo>
                    <a:pt x="610" y="3280"/>
                  </a:lnTo>
                  <a:lnTo>
                    <a:pt x="619" y="3272"/>
                  </a:lnTo>
                  <a:lnTo>
                    <a:pt x="626" y="3271"/>
                  </a:lnTo>
                  <a:lnTo>
                    <a:pt x="631" y="3269"/>
                  </a:lnTo>
                  <a:lnTo>
                    <a:pt x="631" y="3267"/>
                  </a:lnTo>
                  <a:lnTo>
                    <a:pt x="631" y="3265"/>
                  </a:lnTo>
                  <a:lnTo>
                    <a:pt x="632" y="3261"/>
                  </a:lnTo>
                  <a:lnTo>
                    <a:pt x="638" y="3252"/>
                  </a:lnTo>
                  <a:lnTo>
                    <a:pt x="639" y="3244"/>
                  </a:lnTo>
                  <a:lnTo>
                    <a:pt x="642" y="3237"/>
                  </a:lnTo>
                  <a:lnTo>
                    <a:pt x="646" y="3234"/>
                  </a:lnTo>
                  <a:lnTo>
                    <a:pt x="649" y="3234"/>
                  </a:lnTo>
                  <a:lnTo>
                    <a:pt x="656" y="3234"/>
                  </a:lnTo>
                  <a:lnTo>
                    <a:pt x="659" y="3239"/>
                  </a:lnTo>
                  <a:lnTo>
                    <a:pt x="659" y="3247"/>
                  </a:lnTo>
                  <a:lnTo>
                    <a:pt x="658" y="3257"/>
                  </a:lnTo>
                  <a:lnTo>
                    <a:pt x="658" y="3264"/>
                  </a:lnTo>
                  <a:lnTo>
                    <a:pt x="661" y="3261"/>
                  </a:lnTo>
                  <a:lnTo>
                    <a:pt x="668" y="3257"/>
                  </a:lnTo>
                  <a:lnTo>
                    <a:pt x="676" y="3255"/>
                  </a:lnTo>
                  <a:lnTo>
                    <a:pt x="681" y="3254"/>
                  </a:lnTo>
                  <a:lnTo>
                    <a:pt x="684" y="3254"/>
                  </a:lnTo>
                  <a:lnTo>
                    <a:pt x="685" y="3252"/>
                  </a:lnTo>
                  <a:lnTo>
                    <a:pt x="689" y="3254"/>
                  </a:lnTo>
                  <a:lnTo>
                    <a:pt x="689" y="3257"/>
                  </a:lnTo>
                  <a:lnTo>
                    <a:pt x="685" y="3264"/>
                  </a:lnTo>
                  <a:lnTo>
                    <a:pt x="681" y="3272"/>
                  </a:lnTo>
                  <a:lnTo>
                    <a:pt x="676" y="3281"/>
                  </a:lnTo>
                  <a:lnTo>
                    <a:pt x="675" y="3292"/>
                  </a:lnTo>
                  <a:lnTo>
                    <a:pt x="676" y="3307"/>
                  </a:lnTo>
                  <a:lnTo>
                    <a:pt x="681" y="3321"/>
                  </a:lnTo>
                  <a:lnTo>
                    <a:pt x="684" y="3327"/>
                  </a:lnTo>
                  <a:lnTo>
                    <a:pt x="686" y="3327"/>
                  </a:lnTo>
                  <a:lnTo>
                    <a:pt x="689" y="3327"/>
                  </a:lnTo>
                  <a:lnTo>
                    <a:pt x="691" y="3322"/>
                  </a:lnTo>
                  <a:lnTo>
                    <a:pt x="689" y="3320"/>
                  </a:lnTo>
                  <a:lnTo>
                    <a:pt x="689" y="3315"/>
                  </a:lnTo>
                  <a:lnTo>
                    <a:pt x="691" y="3308"/>
                  </a:lnTo>
                  <a:lnTo>
                    <a:pt x="694" y="3304"/>
                  </a:lnTo>
                  <a:lnTo>
                    <a:pt x="701" y="3300"/>
                  </a:lnTo>
                  <a:lnTo>
                    <a:pt x="704" y="3297"/>
                  </a:lnTo>
                  <a:lnTo>
                    <a:pt x="705" y="3294"/>
                  </a:lnTo>
                  <a:lnTo>
                    <a:pt x="706" y="3291"/>
                  </a:lnTo>
                  <a:lnTo>
                    <a:pt x="714" y="3284"/>
                  </a:lnTo>
                  <a:lnTo>
                    <a:pt x="718" y="3281"/>
                  </a:lnTo>
                  <a:lnTo>
                    <a:pt x="724" y="3278"/>
                  </a:lnTo>
                  <a:lnTo>
                    <a:pt x="725" y="3275"/>
                  </a:lnTo>
                  <a:lnTo>
                    <a:pt x="729" y="3272"/>
                  </a:lnTo>
                  <a:lnTo>
                    <a:pt x="734" y="3271"/>
                  </a:lnTo>
                  <a:lnTo>
                    <a:pt x="739" y="3269"/>
                  </a:lnTo>
                  <a:lnTo>
                    <a:pt x="744" y="3267"/>
                  </a:lnTo>
                  <a:lnTo>
                    <a:pt x="751" y="3257"/>
                  </a:lnTo>
                  <a:lnTo>
                    <a:pt x="757" y="3244"/>
                  </a:lnTo>
                  <a:lnTo>
                    <a:pt x="757" y="3238"/>
                  </a:lnTo>
                  <a:lnTo>
                    <a:pt x="757" y="3237"/>
                  </a:lnTo>
                  <a:lnTo>
                    <a:pt x="752" y="3234"/>
                  </a:lnTo>
                  <a:lnTo>
                    <a:pt x="748" y="3231"/>
                  </a:lnTo>
                  <a:lnTo>
                    <a:pt x="748" y="3228"/>
                  </a:lnTo>
                  <a:lnTo>
                    <a:pt x="748" y="3225"/>
                  </a:lnTo>
                  <a:lnTo>
                    <a:pt x="752" y="3218"/>
                  </a:lnTo>
                  <a:lnTo>
                    <a:pt x="759" y="3206"/>
                  </a:lnTo>
                  <a:lnTo>
                    <a:pt x="759" y="3201"/>
                  </a:lnTo>
                  <a:lnTo>
                    <a:pt x="759" y="3195"/>
                  </a:lnTo>
                  <a:lnTo>
                    <a:pt x="764" y="3189"/>
                  </a:lnTo>
                  <a:lnTo>
                    <a:pt x="771" y="3182"/>
                  </a:lnTo>
                  <a:lnTo>
                    <a:pt x="774" y="3175"/>
                  </a:lnTo>
                  <a:lnTo>
                    <a:pt x="779" y="3166"/>
                  </a:lnTo>
                  <a:lnTo>
                    <a:pt x="779" y="3161"/>
                  </a:lnTo>
                  <a:lnTo>
                    <a:pt x="779" y="3156"/>
                  </a:lnTo>
                  <a:lnTo>
                    <a:pt x="782" y="3155"/>
                  </a:lnTo>
                  <a:lnTo>
                    <a:pt x="784" y="3156"/>
                  </a:lnTo>
                  <a:lnTo>
                    <a:pt x="785" y="3156"/>
                  </a:lnTo>
                  <a:lnTo>
                    <a:pt x="798" y="3145"/>
                  </a:lnTo>
                  <a:lnTo>
                    <a:pt x="801" y="3135"/>
                  </a:lnTo>
                  <a:lnTo>
                    <a:pt x="810" y="3125"/>
                  </a:lnTo>
                  <a:lnTo>
                    <a:pt x="815" y="3118"/>
                  </a:lnTo>
                  <a:lnTo>
                    <a:pt x="815" y="3116"/>
                  </a:lnTo>
                  <a:lnTo>
                    <a:pt x="814" y="3113"/>
                  </a:lnTo>
                  <a:lnTo>
                    <a:pt x="811" y="3111"/>
                  </a:lnTo>
                  <a:lnTo>
                    <a:pt x="807" y="3108"/>
                  </a:lnTo>
                  <a:lnTo>
                    <a:pt x="807" y="3106"/>
                  </a:lnTo>
                  <a:lnTo>
                    <a:pt x="808" y="3102"/>
                  </a:lnTo>
                  <a:lnTo>
                    <a:pt x="820" y="3082"/>
                  </a:lnTo>
                  <a:lnTo>
                    <a:pt x="824" y="3080"/>
                  </a:lnTo>
                  <a:lnTo>
                    <a:pt x="828" y="3079"/>
                  </a:lnTo>
                  <a:lnTo>
                    <a:pt x="832" y="3082"/>
                  </a:lnTo>
                  <a:lnTo>
                    <a:pt x="834" y="3080"/>
                  </a:lnTo>
                  <a:lnTo>
                    <a:pt x="838" y="3078"/>
                  </a:lnTo>
                  <a:lnTo>
                    <a:pt x="844" y="3066"/>
                  </a:lnTo>
                  <a:lnTo>
                    <a:pt x="847" y="3062"/>
                  </a:lnTo>
                  <a:lnTo>
                    <a:pt x="848" y="3056"/>
                  </a:lnTo>
                  <a:lnTo>
                    <a:pt x="848" y="3049"/>
                  </a:lnTo>
                  <a:lnTo>
                    <a:pt x="845" y="3036"/>
                  </a:lnTo>
                  <a:lnTo>
                    <a:pt x="847" y="3032"/>
                  </a:lnTo>
                  <a:lnTo>
                    <a:pt x="851" y="3026"/>
                  </a:lnTo>
                  <a:lnTo>
                    <a:pt x="860" y="3020"/>
                  </a:lnTo>
                  <a:lnTo>
                    <a:pt x="870" y="3017"/>
                  </a:lnTo>
                  <a:lnTo>
                    <a:pt x="877" y="3013"/>
                  </a:lnTo>
                  <a:lnTo>
                    <a:pt x="880" y="3007"/>
                  </a:lnTo>
                  <a:lnTo>
                    <a:pt x="884" y="3005"/>
                  </a:lnTo>
                  <a:lnTo>
                    <a:pt x="888" y="3006"/>
                  </a:lnTo>
                  <a:lnTo>
                    <a:pt x="893" y="3007"/>
                  </a:lnTo>
                  <a:lnTo>
                    <a:pt x="904" y="3015"/>
                  </a:lnTo>
                  <a:lnTo>
                    <a:pt x="911" y="3019"/>
                  </a:lnTo>
                  <a:lnTo>
                    <a:pt x="914" y="3019"/>
                  </a:lnTo>
                  <a:lnTo>
                    <a:pt x="920" y="3015"/>
                  </a:lnTo>
                  <a:lnTo>
                    <a:pt x="924" y="3015"/>
                  </a:lnTo>
                  <a:lnTo>
                    <a:pt x="928" y="3016"/>
                  </a:lnTo>
                  <a:lnTo>
                    <a:pt x="930" y="3019"/>
                  </a:lnTo>
                  <a:lnTo>
                    <a:pt x="936" y="3020"/>
                  </a:lnTo>
                  <a:lnTo>
                    <a:pt x="941" y="3019"/>
                  </a:lnTo>
                  <a:lnTo>
                    <a:pt x="950" y="3017"/>
                  </a:lnTo>
                  <a:lnTo>
                    <a:pt x="953" y="3017"/>
                  </a:lnTo>
                  <a:lnTo>
                    <a:pt x="956" y="3017"/>
                  </a:lnTo>
                  <a:lnTo>
                    <a:pt x="959" y="3020"/>
                  </a:lnTo>
                  <a:lnTo>
                    <a:pt x="963" y="3025"/>
                  </a:lnTo>
                  <a:lnTo>
                    <a:pt x="966" y="3025"/>
                  </a:lnTo>
                  <a:lnTo>
                    <a:pt x="969" y="3023"/>
                  </a:lnTo>
                  <a:lnTo>
                    <a:pt x="973" y="3023"/>
                  </a:lnTo>
                  <a:lnTo>
                    <a:pt x="974" y="3026"/>
                  </a:lnTo>
                  <a:lnTo>
                    <a:pt x="976" y="3030"/>
                  </a:lnTo>
                  <a:lnTo>
                    <a:pt x="980" y="3033"/>
                  </a:lnTo>
                  <a:lnTo>
                    <a:pt x="986" y="3033"/>
                  </a:lnTo>
                  <a:lnTo>
                    <a:pt x="994" y="3037"/>
                  </a:lnTo>
                  <a:lnTo>
                    <a:pt x="997" y="3039"/>
                  </a:lnTo>
                  <a:lnTo>
                    <a:pt x="999" y="3043"/>
                  </a:lnTo>
                  <a:lnTo>
                    <a:pt x="1000" y="3048"/>
                  </a:lnTo>
                  <a:lnTo>
                    <a:pt x="1001" y="3052"/>
                  </a:lnTo>
                  <a:lnTo>
                    <a:pt x="1006" y="3053"/>
                  </a:lnTo>
                  <a:lnTo>
                    <a:pt x="1012" y="3055"/>
                  </a:lnTo>
                  <a:lnTo>
                    <a:pt x="1020" y="3052"/>
                  </a:lnTo>
                  <a:lnTo>
                    <a:pt x="1024" y="3052"/>
                  </a:lnTo>
                  <a:lnTo>
                    <a:pt x="1027" y="3053"/>
                  </a:lnTo>
                  <a:lnTo>
                    <a:pt x="1029" y="3056"/>
                  </a:lnTo>
                  <a:lnTo>
                    <a:pt x="1029" y="3062"/>
                  </a:lnTo>
                  <a:lnTo>
                    <a:pt x="1027" y="3069"/>
                  </a:lnTo>
                  <a:lnTo>
                    <a:pt x="1024" y="3073"/>
                  </a:lnTo>
                  <a:lnTo>
                    <a:pt x="1022" y="3076"/>
                  </a:lnTo>
                  <a:lnTo>
                    <a:pt x="1014" y="3076"/>
                  </a:lnTo>
                  <a:lnTo>
                    <a:pt x="1013" y="3079"/>
                  </a:lnTo>
                  <a:lnTo>
                    <a:pt x="1012" y="3082"/>
                  </a:lnTo>
                  <a:lnTo>
                    <a:pt x="1013" y="3083"/>
                  </a:lnTo>
                  <a:lnTo>
                    <a:pt x="1019" y="3085"/>
                  </a:lnTo>
                  <a:lnTo>
                    <a:pt x="1024" y="3085"/>
                  </a:lnTo>
                  <a:lnTo>
                    <a:pt x="1029" y="3085"/>
                  </a:lnTo>
                  <a:lnTo>
                    <a:pt x="1030" y="3086"/>
                  </a:lnTo>
                  <a:lnTo>
                    <a:pt x="1032" y="3095"/>
                  </a:lnTo>
                  <a:lnTo>
                    <a:pt x="1034" y="3113"/>
                  </a:lnTo>
                  <a:lnTo>
                    <a:pt x="1037" y="3123"/>
                  </a:lnTo>
                  <a:lnTo>
                    <a:pt x="1037" y="3129"/>
                  </a:lnTo>
                  <a:lnTo>
                    <a:pt x="1040" y="3133"/>
                  </a:lnTo>
                  <a:lnTo>
                    <a:pt x="1043" y="3135"/>
                  </a:lnTo>
                  <a:lnTo>
                    <a:pt x="1050" y="3135"/>
                  </a:lnTo>
                  <a:lnTo>
                    <a:pt x="1056" y="3133"/>
                  </a:lnTo>
                  <a:lnTo>
                    <a:pt x="1062" y="3133"/>
                  </a:lnTo>
                  <a:lnTo>
                    <a:pt x="1070" y="3132"/>
                  </a:lnTo>
                  <a:lnTo>
                    <a:pt x="1073" y="3129"/>
                  </a:lnTo>
                  <a:lnTo>
                    <a:pt x="1079" y="3123"/>
                  </a:lnTo>
                  <a:lnTo>
                    <a:pt x="1085" y="3121"/>
                  </a:lnTo>
                  <a:lnTo>
                    <a:pt x="1089" y="3121"/>
                  </a:lnTo>
                  <a:lnTo>
                    <a:pt x="1092" y="3123"/>
                  </a:lnTo>
                  <a:lnTo>
                    <a:pt x="1096" y="3129"/>
                  </a:lnTo>
                  <a:lnTo>
                    <a:pt x="1100" y="3131"/>
                  </a:lnTo>
                  <a:lnTo>
                    <a:pt x="1103" y="3129"/>
                  </a:lnTo>
                  <a:lnTo>
                    <a:pt x="1105" y="3126"/>
                  </a:lnTo>
                  <a:lnTo>
                    <a:pt x="1103" y="3121"/>
                  </a:lnTo>
                  <a:lnTo>
                    <a:pt x="1102" y="3112"/>
                  </a:lnTo>
                  <a:lnTo>
                    <a:pt x="1103" y="3106"/>
                  </a:lnTo>
                  <a:lnTo>
                    <a:pt x="1109" y="3102"/>
                  </a:lnTo>
                  <a:lnTo>
                    <a:pt x="1116" y="3099"/>
                  </a:lnTo>
                  <a:lnTo>
                    <a:pt x="1122" y="3098"/>
                  </a:lnTo>
                  <a:lnTo>
                    <a:pt x="1128" y="3099"/>
                  </a:lnTo>
                  <a:lnTo>
                    <a:pt x="1130" y="3100"/>
                  </a:lnTo>
                  <a:lnTo>
                    <a:pt x="1132" y="3105"/>
                  </a:lnTo>
                  <a:lnTo>
                    <a:pt x="1133" y="3109"/>
                  </a:lnTo>
                  <a:lnTo>
                    <a:pt x="1139" y="3112"/>
                  </a:lnTo>
                  <a:lnTo>
                    <a:pt x="1150" y="3112"/>
                  </a:lnTo>
                  <a:lnTo>
                    <a:pt x="1165" y="3115"/>
                  </a:lnTo>
                  <a:lnTo>
                    <a:pt x="1169" y="3116"/>
                  </a:lnTo>
                  <a:lnTo>
                    <a:pt x="1172" y="3121"/>
                  </a:lnTo>
                  <a:lnTo>
                    <a:pt x="1178" y="3131"/>
                  </a:lnTo>
                  <a:lnTo>
                    <a:pt x="1179" y="3135"/>
                  </a:lnTo>
                  <a:lnTo>
                    <a:pt x="1178" y="3139"/>
                  </a:lnTo>
                  <a:lnTo>
                    <a:pt x="1175" y="3143"/>
                  </a:lnTo>
                  <a:lnTo>
                    <a:pt x="1175" y="3151"/>
                  </a:lnTo>
                  <a:lnTo>
                    <a:pt x="1178" y="3161"/>
                  </a:lnTo>
                  <a:lnTo>
                    <a:pt x="1183" y="3172"/>
                  </a:lnTo>
                  <a:lnTo>
                    <a:pt x="1185" y="3174"/>
                  </a:lnTo>
                  <a:lnTo>
                    <a:pt x="1191" y="3172"/>
                  </a:lnTo>
                  <a:lnTo>
                    <a:pt x="1196" y="3174"/>
                  </a:lnTo>
                  <a:lnTo>
                    <a:pt x="1198" y="3189"/>
                  </a:lnTo>
                  <a:lnTo>
                    <a:pt x="1196" y="3194"/>
                  </a:lnTo>
                  <a:lnTo>
                    <a:pt x="1196" y="3195"/>
                  </a:lnTo>
                  <a:lnTo>
                    <a:pt x="1196" y="3196"/>
                  </a:lnTo>
                  <a:lnTo>
                    <a:pt x="1196" y="3198"/>
                  </a:lnTo>
                  <a:lnTo>
                    <a:pt x="1203" y="3205"/>
                  </a:lnTo>
                  <a:lnTo>
                    <a:pt x="1209" y="3215"/>
                  </a:lnTo>
                  <a:lnTo>
                    <a:pt x="1212" y="3224"/>
                  </a:lnTo>
                  <a:lnTo>
                    <a:pt x="1212" y="3228"/>
                  </a:lnTo>
                  <a:lnTo>
                    <a:pt x="1208" y="3238"/>
                  </a:lnTo>
                  <a:lnTo>
                    <a:pt x="1205" y="3241"/>
                  </a:lnTo>
                  <a:lnTo>
                    <a:pt x="1206" y="3244"/>
                  </a:lnTo>
                  <a:lnTo>
                    <a:pt x="1208" y="3244"/>
                  </a:lnTo>
                  <a:lnTo>
                    <a:pt x="1213" y="3242"/>
                  </a:lnTo>
                  <a:lnTo>
                    <a:pt x="1218" y="3245"/>
                  </a:lnTo>
                  <a:lnTo>
                    <a:pt x="1226" y="3248"/>
                  </a:lnTo>
                  <a:lnTo>
                    <a:pt x="1233" y="3249"/>
                  </a:lnTo>
                  <a:lnTo>
                    <a:pt x="1239" y="3251"/>
                  </a:lnTo>
                  <a:lnTo>
                    <a:pt x="1242" y="3252"/>
                  </a:lnTo>
                  <a:lnTo>
                    <a:pt x="1245" y="3258"/>
                  </a:lnTo>
                  <a:lnTo>
                    <a:pt x="1246" y="3267"/>
                  </a:lnTo>
                  <a:lnTo>
                    <a:pt x="1249" y="3275"/>
                  </a:lnTo>
                  <a:lnTo>
                    <a:pt x="1258" y="3297"/>
                  </a:lnTo>
                  <a:lnTo>
                    <a:pt x="1265" y="3307"/>
                  </a:lnTo>
                  <a:lnTo>
                    <a:pt x="1269" y="3312"/>
                  </a:lnTo>
                  <a:lnTo>
                    <a:pt x="1271" y="3317"/>
                  </a:lnTo>
                  <a:lnTo>
                    <a:pt x="1269" y="3321"/>
                  </a:lnTo>
                  <a:lnTo>
                    <a:pt x="1268" y="3330"/>
                  </a:lnTo>
                  <a:lnTo>
                    <a:pt x="1266" y="3337"/>
                  </a:lnTo>
                  <a:lnTo>
                    <a:pt x="1269" y="3351"/>
                  </a:lnTo>
                  <a:lnTo>
                    <a:pt x="1271" y="3363"/>
                  </a:lnTo>
                  <a:lnTo>
                    <a:pt x="1272" y="3365"/>
                  </a:lnTo>
                  <a:lnTo>
                    <a:pt x="1275" y="3367"/>
                  </a:lnTo>
                  <a:lnTo>
                    <a:pt x="1279" y="3368"/>
                  </a:lnTo>
                  <a:lnTo>
                    <a:pt x="1282" y="3370"/>
                  </a:lnTo>
                  <a:lnTo>
                    <a:pt x="1282" y="3374"/>
                  </a:lnTo>
                  <a:lnTo>
                    <a:pt x="1282" y="3386"/>
                  </a:lnTo>
                  <a:lnTo>
                    <a:pt x="1286" y="3393"/>
                  </a:lnTo>
                  <a:lnTo>
                    <a:pt x="1294" y="3404"/>
                  </a:lnTo>
                  <a:lnTo>
                    <a:pt x="1297" y="3408"/>
                  </a:lnTo>
                  <a:lnTo>
                    <a:pt x="1298" y="3408"/>
                  </a:lnTo>
                  <a:lnTo>
                    <a:pt x="1299" y="3407"/>
                  </a:lnTo>
                  <a:lnTo>
                    <a:pt x="1299" y="3401"/>
                  </a:lnTo>
                  <a:lnTo>
                    <a:pt x="1298" y="3396"/>
                  </a:lnTo>
                  <a:lnTo>
                    <a:pt x="1297" y="3387"/>
                  </a:lnTo>
                  <a:lnTo>
                    <a:pt x="1297" y="3384"/>
                  </a:lnTo>
                  <a:lnTo>
                    <a:pt x="1299" y="3380"/>
                  </a:lnTo>
                  <a:lnTo>
                    <a:pt x="1304" y="3380"/>
                  </a:lnTo>
                  <a:lnTo>
                    <a:pt x="1314" y="3380"/>
                  </a:lnTo>
                  <a:lnTo>
                    <a:pt x="1317" y="3383"/>
                  </a:lnTo>
                  <a:lnTo>
                    <a:pt x="1318" y="3388"/>
                  </a:lnTo>
                  <a:lnTo>
                    <a:pt x="1317" y="3394"/>
                  </a:lnTo>
                  <a:lnTo>
                    <a:pt x="1315" y="3400"/>
                  </a:lnTo>
                  <a:lnTo>
                    <a:pt x="1315" y="3407"/>
                  </a:lnTo>
                  <a:lnTo>
                    <a:pt x="1319" y="3417"/>
                  </a:lnTo>
                  <a:lnTo>
                    <a:pt x="1324" y="3418"/>
                  </a:lnTo>
                  <a:lnTo>
                    <a:pt x="1327" y="3418"/>
                  </a:lnTo>
                  <a:lnTo>
                    <a:pt x="1331" y="3420"/>
                  </a:lnTo>
                  <a:lnTo>
                    <a:pt x="1339" y="3430"/>
                  </a:lnTo>
                  <a:lnTo>
                    <a:pt x="1345" y="3438"/>
                  </a:lnTo>
                  <a:lnTo>
                    <a:pt x="1348" y="3443"/>
                  </a:lnTo>
                  <a:lnTo>
                    <a:pt x="1347" y="3450"/>
                  </a:lnTo>
                  <a:lnTo>
                    <a:pt x="1347" y="3459"/>
                  </a:lnTo>
                  <a:lnTo>
                    <a:pt x="1347" y="3463"/>
                  </a:lnTo>
                  <a:lnTo>
                    <a:pt x="1349" y="3470"/>
                  </a:lnTo>
                  <a:lnTo>
                    <a:pt x="1349" y="3470"/>
                  </a:lnTo>
                  <a:lnTo>
                    <a:pt x="1351" y="3471"/>
                  </a:lnTo>
                  <a:lnTo>
                    <a:pt x="1352" y="3474"/>
                  </a:lnTo>
                  <a:lnTo>
                    <a:pt x="1355" y="3474"/>
                  </a:lnTo>
                  <a:lnTo>
                    <a:pt x="1355" y="3474"/>
                  </a:lnTo>
                  <a:lnTo>
                    <a:pt x="1362" y="3476"/>
                  </a:lnTo>
                  <a:lnTo>
                    <a:pt x="1368" y="3477"/>
                  </a:lnTo>
                  <a:lnTo>
                    <a:pt x="1368" y="3477"/>
                  </a:lnTo>
                  <a:lnTo>
                    <a:pt x="1374" y="3481"/>
                  </a:lnTo>
                  <a:lnTo>
                    <a:pt x="1377" y="3484"/>
                  </a:lnTo>
                  <a:lnTo>
                    <a:pt x="1381" y="3486"/>
                  </a:lnTo>
                  <a:lnTo>
                    <a:pt x="1381" y="3486"/>
                  </a:lnTo>
                  <a:lnTo>
                    <a:pt x="1391" y="3486"/>
                  </a:lnTo>
                  <a:lnTo>
                    <a:pt x="1395" y="3484"/>
                  </a:lnTo>
                  <a:lnTo>
                    <a:pt x="1397" y="3480"/>
                  </a:lnTo>
                  <a:lnTo>
                    <a:pt x="1397" y="3480"/>
                  </a:lnTo>
                  <a:lnTo>
                    <a:pt x="1400" y="3469"/>
                  </a:lnTo>
                  <a:lnTo>
                    <a:pt x="1400" y="3469"/>
                  </a:lnTo>
                  <a:lnTo>
                    <a:pt x="1401" y="3464"/>
                  </a:lnTo>
                  <a:lnTo>
                    <a:pt x="1402" y="3461"/>
                  </a:lnTo>
                  <a:lnTo>
                    <a:pt x="1402" y="3461"/>
                  </a:lnTo>
                  <a:lnTo>
                    <a:pt x="1413" y="3451"/>
                  </a:lnTo>
                  <a:lnTo>
                    <a:pt x="1413" y="3451"/>
                  </a:lnTo>
                  <a:lnTo>
                    <a:pt x="1418" y="3447"/>
                  </a:lnTo>
                  <a:lnTo>
                    <a:pt x="1423" y="3443"/>
                  </a:lnTo>
                  <a:lnTo>
                    <a:pt x="1423" y="3443"/>
                  </a:lnTo>
                  <a:lnTo>
                    <a:pt x="1425" y="3443"/>
                  </a:lnTo>
                  <a:lnTo>
                    <a:pt x="1431" y="3444"/>
                  </a:lnTo>
                  <a:lnTo>
                    <a:pt x="1431" y="3444"/>
                  </a:lnTo>
                  <a:lnTo>
                    <a:pt x="1435" y="3446"/>
                  </a:lnTo>
                  <a:lnTo>
                    <a:pt x="1440" y="3446"/>
                  </a:lnTo>
                  <a:lnTo>
                    <a:pt x="1443" y="3444"/>
                  </a:lnTo>
                  <a:lnTo>
                    <a:pt x="1444" y="3440"/>
                  </a:lnTo>
                  <a:lnTo>
                    <a:pt x="1444" y="3440"/>
                  </a:lnTo>
                  <a:lnTo>
                    <a:pt x="1445" y="3438"/>
                  </a:lnTo>
                  <a:lnTo>
                    <a:pt x="1448" y="3436"/>
                  </a:lnTo>
                  <a:lnTo>
                    <a:pt x="1457" y="3433"/>
                  </a:lnTo>
                  <a:lnTo>
                    <a:pt x="1471" y="3428"/>
                  </a:lnTo>
                  <a:lnTo>
                    <a:pt x="1480" y="3436"/>
                  </a:lnTo>
                  <a:lnTo>
                    <a:pt x="1484" y="3433"/>
                  </a:lnTo>
                  <a:lnTo>
                    <a:pt x="1496" y="3428"/>
                  </a:lnTo>
                  <a:lnTo>
                    <a:pt x="1506" y="3427"/>
                  </a:lnTo>
                  <a:lnTo>
                    <a:pt x="1513" y="3428"/>
                  </a:lnTo>
                  <a:lnTo>
                    <a:pt x="1517" y="3430"/>
                  </a:lnTo>
                  <a:lnTo>
                    <a:pt x="1521" y="3437"/>
                  </a:lnTo>
                  <a:lnTo>
                    <a:pt x="1524" y="3441"/>
                  </a:lnTo>
                  <a:lnTo>
                    <a:pt x="1529" y="3444"/>
                  </a:lnTo>
                  <a:lnTo>
                    <a:pt x="1533" y="3449"/>
                  </a:lnTo>
                  <a:lnTo>
                    <a:pt x="1537" y="3454"/>
                  </a:lnTo>
                  <a:lnTo>
                    <a:pt x="1539" y="3461"/>
                  </a:lnTo>
                  <a:lnTo>
                    <a:pt x="1540" y="3466"/>
                  </a:lnTo>
                  <a:lnTo>
                    <a:pt x="1541" y="3464"/>
                  </a:lnTo>
                  <a:lnTo>
                    <a:pt x="1543" y="3464"/>
                  </a:lnTo>
                  <a:lnTo>
                    <a:pt x="1544" y="3463"/>
                  </a:lnTo>
                  <a:lnTo>
                    <a:pt x="1546" y="3459"/>
                  </a:lnTo>
                  <a:lnTo>
                    <a:pt x="1551" y="3454"/>
                  </a:lnTo>
                  <a:lnTo>
                    <a:pt x="1560" y="3453"/>
                  </a:lnTo>
                  <a:lnTo>
                    <a:pt x="1567" y="3451"/>
                  </a:lnTo>
                  <a:lnTo>
                    <a:pt x="1574" y="3446"/>
                  </a:lnTo>
                  <a:lnTo>
                    <a:pt x="1579" y="3444"/>
                  </a:lnTo>
                  <a:lnTo>
                    <a:pt x="1586" y="3446"/>
                  </a:lnTo>
                  <a:lnTo>
                    <a:pt x="1599" y="3453"/>
                  </a:lnTo>
                  <a:lnTo>
                    <a:pt x="1603" y="3454"/>
                  </a:lnTo>
                  <a:lnTo>
                    <a:pt x="1610" y="3454"/>
                  </a:lnTo>
                  <a:lnTo>
                    <a:pt x="1613" y="3454"/>
                  </a:lnTo>
                  <a:lnTo>
                    <a:pt x="1620" y="3457"/>
                  </a:lnTo>
                  <a:lnTo>
                    <a:pt x="1624" y="3460"/>
                  </a:lnTo>
                  <a:lnTo>
                    <a:pt x="1627" y="3464"/>
                  </a:lnTo>
                  <a:lnTo>
                    <a:pt x="1632" y="3466"/>
                  </a:lnTo>
                  <a:lnTo>
                    <a:pt x="1646" y="3463"/>
                  </a:lnTo>
                  <a:lnTo>
                    <a:pt x="1649" y="3460"/>
                  </a:lnTo>
                  <a:lnTo>
                    <a:pt x="1649" y="3457"/>
                  </a:lnTo>
                  <a:lnTo>
                    <a:pt x="1646" y="3453"/>
                  </a:lnTo>
                  <a:lnTo>
                    <a:pt x="1649" y="3447"/>
                  </a:lnTo>
                  <a:lnTo>
                    <a:pt x="1653" y="3447"/>
                  </a:lnTo>
                  <a:lnTo>
                    <a:pt x="1659" y="3447"/>
                  </a:lnTo>
                  <a:lnTo>
                    <a:pt x="1663" y="3451"/>
                  </a:lnTo>
                  <a:lnTo>
                    <a:pt x="1670" y="3454"/>
                  </a:lnTo>
                  <a:lnTo>
                    <a:pt x="1695" y="3454"/>
                  </a:lnTo>
                  <a:lnTo>
                    <a:pt x="1705" y="3453"/>
                  </a:lnTo>
                  <a:lnTo>
                    <a:pt x="1726" y="3449"/>
                  </a:lnTo>
                  <a:lnTo>
                    <a:pt x="1742" y="3441"/>
                  </a:lnTo>
                  <a:lnTo>
                    <a:pt x="1746" y="3440"/>
                  </a:lnTo>
                  <a:lnTo>
                    <a:pt x="1751" y="3440"/>
                  </a:lnTo>
                  <a:lnTo>
                    <a:pt x="1753" y="3446"/>
                  </a:lnTo>
                  <a:lnTo>
                    <a:pt x="1759" y="3456"/>
                  </a:lnTo>
                  <a:lnTo>
                    <a:pt x="1763" y="3460"/>
                  </a:lnTo>
                  <a:lnTo>
                    <a:pt x="1771" y="3461"/>
                  </a:lnTo>
                  <a:lnTo>
                    <a:pt x="1776" y="3463"/>
                  </a:lnTo>
                  <a:lnTo>
                    <a:pt x="1779" y="3463"/>
                  </a:lnTo>
                  <a:lnTo>
                    <a:pt x="1785" y="3467"/>
                  </a:lnTo>
                  <a:lnTo>
                    <a:pt x="1789" y="3471"/>
                  </a:lnTo>
                  <a:lnTo>
                    <a:pt x="1795" y="3471"/>
                  </a:lnTo>
                  <a:lnTo>
                    <a:pt x="1801" y="3473"/>
                  </a:lnTo>
                  <a:lnTo>
                    <a:pt x="1809" y="3480"/>
                  </a:lnTo>
                  <a:lnTo>
                    <a:pt x="1819" y="3490"/>
                  </a:lnTo>
                  <a:lnTo>
                    <a:pt x="1825" y="3499"/>
                  </a:lnTo>
                  <a:lnTo>
                    <a:pt x="1831" y="3502"/>
                  </a:lnTo>
                  <a:lnTo>
                    <a:pt x="1834" y="3500"/>
                  </a:lnTo>
                  <a:lnTo>
                    <a:pt x="1836" y="3494"/>
                  </a:lnTo>
                  <a:lnTo>
                    <a:pt x="1839" y="3491"/>
                  </a:lnTo>
                  <a:lnTo>
                    <a:pt x="1845" y="3493"/>
                  </a:lnTo>
                  <a:lnTo>
                    <a:pt x="1851" y="3493"/>
                  </a:lnTo>
                  <a:lnTo>
                    <a:pt x="1856" y="3493"/>
                  </a:lnTo>
                  <a:lnTo>
                    <a:pt x="1861" y="3493"/>
                  </a:lnTo>
                  <a:lnTo>
                    <a:pt x="1865" y="3494"/>
                  </a:lnTo>
                  <a:lnTo>
                    <a:pt x="1871" y="3493"/>
                  </a:lnTo>
                  <a:lnTo>
                    <a:pt x="1877" y="3491"/>
                  </a:lnTo>
                  <a:lnTo>
                    <a:pt x="1881" y="3489"/>
                  </a:lnTo>
                  <a:lnTo>
                    <a:pt x="1888" y="3480"/>
                  </a:lnTo>
                  <a:lnTo>
                    <a:pt x="1891" y="3476"/>
                  </a:lnTo>
                  <a:lnTo>
                    <a:pt x="1897" y="3474"/>
                  </a:lnTo>
                  <a:lnTo>
                    <a:pt x="1902" y="3474"/>
                  </a:lnTo>
                  <a:lnTo>
                    <a:pt x="1908" y="3477"/>
                  </a:lnTo>
                  <a:lnTo>
                    <a:pt x="1917" y="3481"/>
                  </a:lnTo>
                  <a:lnTo>
                    <a:pt x="1924" y="3484"/>
                  </a:lnTo>
                  <a:lnTo>
                    <a:pt x="1931" y="3484"/>
                  </a:lnTo>
                  <a:lnTo>
                    <a:pt x="1932" y="3479"/>
                  </a:lnTo>
                  <a:lnTo>
                    <a:pt x="1934" y="3474"/>
                  </a:lnTo>
                  <a:lnTo>
                    <a:pt x="1941" y="3470"/>
                  </a:lnTo>
                  <a:lnTo>
                    <a:pt x="1950" y="3467"/>
                  </a:lnTo>
                  <a:lnTo>
                    <a:pt x="1960" y="3469"/>
                  </a:lnTo>
                  <a:lnTo>
                    <a:pt x="1970" y="3471"/>
                  </a:lnTo>
                  <a:lnTo>
                    <a:pt x="1975" y="3477"/>
                  </a:lnTo>
                  <a:lnTo>
                    <a:pt x="1977" y="3479"/>
                  </a:lnTo>
                  <a:lnTo>
                    <a:pt x="1977" y="3481"/>
                  </a:lnTo>
                  <a:lnTo>
                    <a:pt x="1975" y="3484"/>
                  </a:lnTo>
                  <a:lnTo>
                    <a:pt x="1973" y="3486"/>
                  </a:lnTo>
                  <a:lnTo>
                    <a:pt x="1974" y="3489"/>
                  </a:lnTo>
                  <a:lnTo>
                    <a:pt x="1980" y="3489"/>
                  </a:lnTo>
                  <a:lnTo>
                    <a:pt x="1987" y="3486"/>
                  </a:lnTo>
                  <a:lnTo>
                    <a:pt x="1993" y="3483"/>
                  </a:lnTo>
                  <a:lnTo>
                    <a:pt x="1997" y="3481"/>
                  </a:lnTo>
                  <a:lnTo>
                    <a:pt x="2001" y="3481"/>
                  </a:lnTo>
                  <a:lnTo>
                    <a:pt x="2005" y="3483"/>
                  </a:lnTo>
                  <a:lnTo>
                    <a:pt x="2010" y="3480"/>
                  </a:lnTo>
                  <a:lnTo>
                    <a:pt x="2011" y="3477"/>
                  </a:lnTo>
                  <a:lnTo>
                    <a:pt x="2014" y="3469"/>
                  </a:lnTo>
                  <a:lnTo>
                    <a:pt x="2017" y="3459"/>
                  </a:lnTo>
                  <a:lnTo>
                    <a:pt x="2023" y="3453"/>
                  </a:lnTo>
                  <a:lnTo>
                    <a:pt x="2025" y="3451"/>
                  </a:lnTo>
                  <a:lnTo>
                    <a:pt x="2030" y="3451"/>
                  </a:lnTo>
                  <a:lnTo>
                    <a:pt x="2031" y="3454"/>
                  </a:lnTo>
                  <a:lnTo>
                    <a:pt x="2031" y="3461"/>
                  </a:lnTo>
                  <a:lnTo>
                    <a:pt x="2034" y="3463"/>
                  </a:lnTo>
                  <a:lnTo>
                    <a:pt x="2038" y="3463"/>
                  </a:lnTo>
                  <a:lnTo>
                    <a:pt x="2044" y="3456"/>
                  </a:lnTo>
                  <a:lnTo>
                    <a:pt x="2053" y="3444"/>
                  </a:lnTo>
                  <a:lnTo>
                    <a:pt x="2057" y="3438"/>
                  </a:lnTo>
                  <a:lnTo>
                    <a:pt x="2061" y="3434"/>
                  </a:lnTo>
                  <a:lnTo>
                    <a:pt x="2073" y="3431"/>
                  </a:lnTo>
                  <a:lnTo>
                    <a:pt x="2080" y="3431"/>
                  </a:lnTo>
                  <a:lnTo>
                    <a:pt x="2083" y="3431"/>
                  </a:lnTo>
                  <a:lnTo>
                    <a:pt x="2084" y="3436"/>
                  </a:lnTo>
                  <a:lnTo>
                    <a:pt x="2086" y="3441"/>
                  </a:lnTo>
                  <a:lnTo>
                    <a:pt x="2089" y="3443"/>
                  </a:lnTo>
                  <a:lnTo>
                    <a:pt x="2091" y="3443"/>
                  </a:lnTo>
                  <a:lnTo>
                    <a:pt x="2097" y="3443"/>
                  </a:lnTo>
                  <a:lnTo>
                    <a:pt x="2103" y="3437"/>
                  </a:lnTo>
                  <a:lnTo>
                    <a:pt x="2106" y="3434"/>
                  </a:lnTo>
                  <a:lnTo>
                    <a:pt x="2106" y="3431"/>
                  </a:lnTo>
                  <a:lnTo>
                    <a:pt x="2104" y="3427"/>
                  </a:lnTo>
                  <a:lnTo>
                    <a:pt x="2100" y="3424"/>
                  </a:lnTo>
                  <a:lnTo>
                    <a:pt x="2099" y="3423"/>
                  </a:lnTo>
                  <a:lnTo>
                    <a:pt x="2100" y="3420"/>
                  </a:lnTo>
                  <a:lnTo>
                    <a:pt x="2104" y="3418"/>
                  </a:lnTo>
                  <a:lnTo>
                    <a:pt x="2107" y="3416"/>
                  </a:lnTo>
                  <a:lnTo>
                    <a:pt x="2110" y="3408"/>
                  </a:lnTo>
                  <a:lnTo>
                    <a:pt x="2111" y="3406"/>
                  </a:lnTo>
                  <a:lnTo>
                    <a:pt x="2113" y="3404"/>
                  </a:lnTo>
                  <a:lnTo>
                    <a:pt x="2116" y="3406"/>
                  </a:lnTo>
                  <a:lnTo>
                    <a:pt x="2117" y="3407"/>
                  </a:lnTo>
                  <a:lnTo>
                    <a:pt x="2119" y="3410"/>
                  </a:lnTo>
                  <a:lnTo>
                    <a:pt x="2119" y="3413"/>
                  </a:lnTo>
                  <a:lnTo>
                    <a:pt x="2123" y="3413"/>
                  </a:lnTo>
                  <a:lnTo>
                    <a:pt x="2129" y="3411"/>
                  </a:lnTo>
                  <a:lnTo>
                    <a:pt x="2136" y="3407"/>
                  </a:lnTo>
                  <a:lnTo>
                    <a:pt x="2143" y="3404"/>
                  </a:lnTo>
                  <a:lnTo>
                    <a:pt x="2147" y="3398"/>
                  </a:lnTo>
                  <a:lnTo>
                    <a:pt x="2152" y="3394"/>
                  </a:lnTo>
                  <a:lnTo>
                    <a:pt x="2156" y="3393"/>
                  </a:lnTo>
                  <a:lnTo>
                    <a:pt x="2166" y="3394"/>
                  </a:lnTo>
                  <a:lnTo>
                    <a:pt x="2173" y="3396"/>
                  </a:lnTo>
                  <a:lnTo>
                    <a:pt x="2177" y="3397"/>
                  </a:lnTo>
                  <a:lnTo>
                    <a:pt x="2182" y="3401"/>
                  </a:lnTo>
                  <a:lnTo>
                    <a:pt x="2186" y="3401"/>
                  </a:lnTo>
                  <a:lnTo>
                    <a:pt x="2189" y="3398"/>
                  </a:lnTo>
                  <a:lnTo>
                    <a:pt x="2193" y="3396"/>
                  </a:lnTo>
                  <a:lnTo>
                    <a:pt x="2197" y="3394"/>
                  </a:lnTo>
                  <a:lnTo>
                    <a:pt x="2200" y="3396"/>
                  </a:lnTo>
                  <a:lnTo>
                    <a:pt x="2205" y="3397"/>
                  </a:lnTo>
                  <a:lnTo>
                    <a:pt x="2210" y="3398"/>
                  </a:lnTo>
                  <a:lnTo>
                    <a:pt x="2213" y="3400"/>
                  </a:lnTo>
                  <a:lnTo>
                    <a:pt x="2215" y="3401"/>
                  </a:lnTo>
                  <a:lnTo>
                    <a:pt x="2220" y="3401"/>
                  </a:lnTo>
                  <a:lnTo>
                    <a:pt x="2229" y="3398"/>
                  </a:lnTo>
                  <a:lnTo>
                    <a:pt x="2235" y="3396"/>
                  </a:lnTo>
                  <a:lnTo>
                    <a:pt x="2237" y="3388"/>
                  </a:lnTo>
                  <a:lnTo>
                    <a:pt x="2239" y="3383"/>
                  </a:lnTo>
                  <a:lnTo>
                    <a:pt x="2239" y="3375"/>
                  </a:lnTo>
                  <a:lnTo>
                    <a:pt x="2236" y="3371"/>
                  </a:lnTo>
                  <a:lnTo>
                    <a:pt x="2229" y="3363"/>
                  </a:lnTo>
                  <a:lnTo>
                    <a:pt x="2243" y="3351"/>
                  </a:lnTo>
                  <a:lnTo>
                    <a:pt x="2262" y="3337"/>
                  </a:lnTo>
                  <a:lnTo>
                    <a:pt x="2268" y="3331"/>
                  </a:lnTo>
                  <a:lnTo>
                    <a:pt x="2272" y="3327"/>
                  </a:lnTo>
                  <a:lnTo>
                    <a:pt x="2278" y="3325"/>
                  </a:lnTo>
                  <a:lnTo>
                    <a:pt x="2285" y="3325"/>
                  </a:lnTo>
                  <a:lnTo>
                    <a:pt x="2288" y="3322"/>
                  </a:lnTo>
                  <a:lnTo>
                    <a:pt x="2290" y="3321"/>
                  </a:lnTo>
                  <a:lnTo>
                    <a:pt x="2293" y="3320"/>
                  </a:lnTo>
                  <a:lnTo>
                    <a:pt x="2296" y="3321"/>
                  </a:lnTo>
                  <a:lnTo>
                    <a:pt x="2299" y="3324"/>
                  </a:lnTo>
                  <a:lnTo>
                    <a:pt x="2302" y="3324"/>
                  </a:lnTo>
                  <a:lnTo>
                    <a:pt x="2303" y="3320"/>
                  </a:lnTo>
                  <a:lnTo>
                    <a:pt x="2306" y="3317"/>
                  </a:lnTo>
                  <a:lnTo>
                    <a:pt x="2309" y="3317"/>
                  </a:lnTo>
                  <a:lnTo>
                    <a:pt x="2312" y="3315"/>
                  </a:lnTo>
                  <a:lnTo>
                    <a:pt x="2319" y="3311"/>
                  </a:lnTo>
                  <a:lnTo>
                    <a:pt x="2325" y="3310"/>
                  </a:lnTo>
                  <a:lnTo>
                    <a:pt x="2331" y="3305"/>
                  </a:lnTo>
                  <a:lnTo>
                    <a:pt x="2341" y="3297"/>
                  </a:lnTo>
                  <a:lnTo>
                    <a:pt x="2346" y="3294"/>
                  </a:lnTo>
                  <a:lnTo>
                    <a:pt x="2353" y="3291"/>
                  </a:lnTo>
                  <a:lnTo>
                    <a:pt x="2366" y="3288"/>
                  </a:lnTo>
                  <a:lnTo>
                    <a:pt x="2374" y="3288"/>
                  </a:lnTo>
                  <a:lnTo>
                    <a:pt x="2374" y="3288"/>
                  </a:lnTo>
                  <a:lnTo>
                    <a:pt x="2374" y="3280"/>
                  </a:lnTo>
                  <a:lnTo>
                    <a:pt x="2369" y="3272"/>
                  </a:lnTo>
                  <a:lnTo>
                    <a:pt x="2363" y="3268"/>
                  </a:lnTo>
                  <a:lnTo>
                    <a:pt x="2358" y="3262"/>
                  </a:lnTo>
                  <a:lnTo>
                    <a:pt x="2355" y="3258"/>
                  </a:lnTo>
                  <a:lnTo>
                    <a:pt x="2355" y="3254"/>
                  </a:lnTo>
                  <a:lnTo>
                    <a:pt x="2353" y="3251"/>
                  </a:lnTo>
                  <a:lnTo>
                    <a:pt x="2355" y="3249"/>
                  </a:lnTo>
                  <a:lnTo>
                    <a:pt x="2355" y="3249"/>
                  </a:lnTo>
                  <a:lnTo>
                    <a:pt x="2353" y="3241"/>
                  </a:lnTo>
                  <a:lnTo>
                    <a:pt x="2353" y="3231"/>
                  </a:lnTo>
                  <a:lnTo>
                    <a:pt x="2353" y="3212"/>
                  </a:lnTo>
                  <a:lnTo>
                    <a:pt x="2353" y="3212"/>
                  </a:lnTo>
                  <a:lnTo>
                    <a:pt x="2352" y="3205"/>
                  </a:lnTo>
                  <a:lnTo>
                    <a:pt x="2349" y="3196"/>
                  </a:lnTo>
                  <a:lnTo>
                    <a:pt x="2343" y="3176"/>
                  </a:lnTo>
                  <a:lnTo>
                    <a:pt x="2342" y="3168"/>
                  </a:lnTo>
                  <a:lnTo>
                    <a:pt x="2342" y="3159"/>
                  </a:lnTo>
                  <a:lnTo>
                    <a:pt x="2343" y="3156"/>
                  </a:lnTo>
                  <a:lnTo>
                    <a:pt x="2346" y="3155"/>
                  </a:lnTo>
                  <a:lnTo>
                    <a:pt x="2351" y="3153"/>
                  </a:lnTo>
                  <a:lnTo>
                    <a:pt x="2355" y="3153"/>
                  </a:lnTo>
                  <a:lnTo>
                    <a:pt x="2355" y="3153"/>
                  </a:lnTo>
                  <a:lnTo>
                    <a:pt x="2359" y="3152"/>
                  </a:lnTo>
                  <a:lnTo>
                    <a:pt x="2363" y="3151"/>
                  </a:lnTo>
                  <a:lnTo>
                    <a:pt x="2368" y="3148"/>
                  </a:lnTo>
                  <a:lnTo>
                    <a:pt x="2371" y="3143"/>
                  </a:lnTo>
                  <a:lnTo>
                    <a:pt x="2374" y="3133"/>
                  </a:lnTo>
                  <a:lnTo>
                    <a:pt x="2375" y="3122"/>
                  </a:lnTo>
                  <a:lnTo>
                    <a:pt x="2375" y="3111"/>
                  </a:lnTo>
                  <a:lnTo>
                    <a:pt x="2372" y="3099"/>
                  </a:lnTo>
                  <a:lnTo>
                    <a:pt x="2369" y="3090"/>
                  </a:lnTo>
                  <a:lnTo>
                    <a:pt x="2366" y="3088"/>
                  </a:lnTo>
                  <a:lnTo>
                    <a:pt x="2363" y="3086"/>
                  </a:lnTo>
                  <a:lnTo>
                    <a:pt x="2363" y="3086"/>
                  </a:lnTo>
                  <a:lnTo>
                    <a:pt x="2338" y="3070"/>
                  </a:lnTo>
                  <a:lnTo>
                    <a:pt x="2323" y="3063"/>
                  </a:lnTo>
                  <a:lnTo>
                    <a:pt x="2316" y="3060"/>
                  </a:lnTo>
                  <a:lnTo>
                    <a:pt x="2311" y="3060"/>
                  </a:lnTo>
                  <a:lnTo>
                    <a:pt x="2311" y="3060"/>
                  </a:lnTo>
                  <a:lnTo>
                    <a:pt x="2303" y="3060"/>
                  </a:lnTo>
                  <a:lnTo>
                    <a:pt x="2299" y="3062"/>
                  </a:lnTo>
                  <a:lnTo>
                    <a:pt x="2295" y="3060"/>
                  </a:lnTo>
                  <a:lnTo>
                    <a:pt x="2288" y="3055"/>
                  </a:lnTo>
                  <a:lnTo>
                    <a:pt x="2288" y="3055"/>
                  </a:lnTo>
                  <a:lnTo>
                    <a:pt x="2286" y="3052"/>
                  </a:lnTo>
                  <a:lnTo>
                    <a:pt x="2285" y="3050"/>
                  </a:lnTo>
                  <a:lnTo>
                    <a:pt x="2286" y="3048"/>
                  </a:lnTo>
                  <a:lnTo>
                    <a:pt x="2288" y="3046"/>
                  </a:lnTo>
                  <a:lnTo>
                    <a:pt x="2292" y="3043"/>
                  </a:lnTo>
                  <a:lnTo>
                    <a:pt x="2299" y="3043"/>
                  </a:lnTo>
                  <a:lnTo>
                    <a:pt x="2305" y="3039"/>
                  </a:lnTo>
                  <a:lnTo>
                    <a:pt x="2305" y="3036"/>
                  </a:lnTo>
                  <a:lnTo>
                    <a:pt x="2305" y="3033"/>
                  </a:lnTo>
                  <a:lnTo>
                    <a:pt x="2305" y="3030"/>
                  </a:lnTo>
                  <a:lnTo>
                    <a:pt x="2309" y="3026"/>
                  </a:lnTo>
                  <a:lnTo>
                    <a:pt x="2311" y="3022"/>
                  </a:lnTo>
                  <a:lnTo>
                    <a:pt x="2308" y="3017"/>
                  </a:lnTo>
                  <a:lnTo>
                    <a:pt x="2305" y="3012"/>
                  </a:lnTo>
                  <a:lnTo>
                    <a:pt x="2305" y="3006"/>
                  </a:lnTo>
                  <a:lnTo>
                    <a:pt x="2309" y="2997"/>
                  </a:lnTo>
                  <a:lnTo>
                    <a:pt x="2311" y="2990"/>
                  </a:lnTo>
                  <a:lnTo>
                    <a:pt x="2309" y="2986"/>
                  </a:lnTo>
                  <a:lnTo>
                    <a:pt x="2306" y="2982"/>
                  </a:lnTo>
                  <a:lnTo>
                    <a:pt x="2306" y="2979"/>
                  </a:lnTo>
                  <a:lnTo>
                    <a:pt x="2308" y="2976"/>
                  </a:lnTo>
                  <a:lnTo>
                    <a:pt x="2316" y="2967"/>
                  </a:lnTo>
                  <a:lnTo>
                    <a:pt x="2318" y="2962"/>
                  </a:lnTo>
                  <a:lnTo>
                    <a:pt x="2319" y="2959"/>
                  </a:lnTo>
                  <a:lnTo>
                    <a:pt x="2318" y="2953"/>
                  </a:lnTo>
                  <a:lnTo>
                    <a:pt x="2315" y="2952"/>
                  </a:lnTo>
                  <a:lnTo>
                    <a:pt x="2308" y="2950"/>
                  </a:lnTo>
                  <a:lnTo>
                    <a:pt x="2302" y="2947"/>
                  </a:lnTo>
                  <a:lnTo>
                    <a:pt x="2296" y="2944"/>
                  </a:lnTo>
                  <a:lnTo>
                    <a:pt x="2292" y="2942"/>
                  </a:lnTo>
                  <a:lnTo>
                    <a:pt x="2286" y="2942"/>
                  </a:lnTo>
                  <a:lnTo>
                    <a:pt x="2283" y="2940"/>
                  </a:lnTo>
                  <a:lnTo>
                    <a:pt x="2282" y="2937"/>
                  </a:lnTo>
                  <a:lnTo>
                    <a:pt x="2280" y="2936"/>
                  </a:lnTo>
                  <a:lnTo>
                    <a:pt x="2275" y="2933"/>
                  </a:lnTo>
                  <a:lnTo>
                    <a:pt x="2268" y="2931"/>
                  </a:lnTo>
                  <a:lnTo>
                    <a:pt x="2262" y="2929"/>
                  </a:lnTo>
                  <a:lnTo>
                    <a:pt x="2260" y="2927"/>
                  </a:lnTo>
                  <a:lnTo>
                    <a:pt x="2260" y="2924"/>
                  </a:lnTo>
                  <a:lnTo>
                    <a:pt x="2259" y="2921"/>
                  </a:lnTo>
                  <a:lnTo>
                    <a:pt x="2256" y="2921"/>
                  </a:lnTo>
                  <a:lnTo>
                    <a:pt x="2250" y="2921"/>
                  </a:lnTo>
                  <a:lnTo>
                    <a:pt x="2245" y="2920"/>
                  </a:lnTo>
                  <a:lnTo>
                    <a:pt x="2240" y="2916"/>
                  </a:lnTo>
                  <a:lnTo>
                    <a:pt x="2237" y="2911"/>
                  </a:lnTo>
                  <a:lnTo>
                    <a:pt x="2237" y="2907"/>
                  </a:lnTo>
                  <a:lnTo>
                    <a:pt x="2239" y="2904"/>
                  </a:lnTo>
                  <a:lnTo>
                    <a:pt x="2245" y="2901"/>
                  </a:lnTo>
                  <a:lnTo>
                    <a:pt x="2253" y="2900"/>
                  </a:lnTo>
                  <a:lnTo>
                    <a:pt x="2260" y="2897"/>
                  </a:lnTo>
                  <a:lnTo>
                    <a:pt x="2265" y="2897"/>
                  </a:lnTo>
                  <a:lnTo>
                    <a:pt x="2270" y="2899"/>
                  </a:lnTo>
                  <a:lnTo>
                    <a:pt x="2278" y="2901"/>
                  </a:lnTo>
                  <a:lnTo>
                    <a:pt x="2283" y="2903"/>
                  </a:lnTo>
                  <a:lnTo>
                    <a:pt x="2288" y="2904"/>
                  </a:lnTo>
                  <a:lnTo>
                    <a:pt x="2289" y="2903"/>
                  </a:lnTo>
                  <a:lnTo>
                    <a:pt x="2289" y="2899"/>
                  </a:lnTo>
                  <a:lnTo>
                    <a:pt x="2288" y="2891"/>
                  </a:lnTo>
                  <a:lnTo>
                    <a:pt x="2282" y="2887"/>
                  </a:lnTo>
                  <a:lnTo>
                    <a:pt x="2278" y="2881"/>
                  </a:lnTo>
                  <a:lnTo>
                    <a:pt x="2278" y="2877"/>
                  </a:lnTo>
                  <a:lnTo>
                    <a:pt x="2279" y="2871"/>
                  </a:lnTo>
                  <a:lnTo>
                    <a:pt x="2285" y="2867"/>
                  </a:lnTo>
                  <a:lnTo>
                    <a:pt x="2288" y="2864"/>
                  </a:lnTo>
                  <a:lnTo>
                    <a:pt x="2289" y="2860"/>
                  </a:lnTo>
                  <a:lnTo>
                    <a:pt x="2288" y="2854"/>
                  </a:lnTo>
                  <a:lnTo>
                    <a:pt x="2285" y="2850"/>
                  </a:lnTo>
                  <a:lnTo>
                    <a:pt x="2279" y="2846"/>
                  </a:lnTo>
                  <a:lnTo>
                    <a:pt x="2273" y="2843"/>
                  </a:lnTo>
                  <a:lnTo>
                    <a:pt x="2269" y="2837"/>
                  </a:lnTo>
                  <a:lnTo>
                    <a:pt x="2266" y="2834"/>
                  </a:lnTo>
                  <a:lnTo>
                    <a:pt x="2266" y="2830"/>
                  </a:lnTo>
                  <a:lnTo>
                    <a:pt x="2268" y="2828"/>
                  </a:lnTo>
                  <a:lnTo>
                    <a:pt x="2273" y="2827"/>
                  </a:lnTo>
                  <a:lnTo>
                    <a:pt x="2279" y="2827"/>
                  </a:lnTo>
                  <a:lnTo>
                    <a:pt x="2280" y="2823"/>
                  </a:lnTo>
                  <a:lnTo>
                    <a:pt x="2280" y="2815"/>
                  </a:lnTo>
                  <a:lnTo>
                    <a:pt x="2279" y="2810"/>
                  </a:lnTo>
                  <a:lnTo>
                    <a:pt x="2280" y="2807"/>
                  </a:lnTo>
                  <a:lnTo>
                    <a:pt x="2282" y="2801"/>
                  </a:lnTo>
                  <a:lnTo>
                    <a:pt x="2282" y="2795"/>
                  </a:lnTo>
                  <a:lnTo>
                    <a:pt x="2279" y="2790"/>
                  </a:lnTo>
                  <a:lnTo>
                    <a:pt x="2276" y="2783"/>
                  </a:lnTo>
                  <a:lnTo>
                    <a:pt x="2273" y="2780"/>
                  </a:lnTo>
                  <a:lnTo>
                    <a:pt x="2270" y="2775"/>
                  </a:lnTo>
                  <a:lnTo>
                    <a:pt x="2269" y="2771"/>
                  </a:lnTo>
                  <a:lnTo>
                    <a:pt x="2269" y="2765"/>
                  </a:lnTo>
                  <a:lnTo>
                    <a:pt x="2269" y="2760"/>
                  </a:lnTo>
                  <a:lnTo>
                    <a:pt x="2270" y="2755"/>
                  </a:lnTo>
                  <a:lnTo>
                    <a:pt x="2275" y="2754"/>
                  </a:lnTo>
                  <a:lnTo>
                    <a:pt x="2278" y="2754"/>
                  </a:lnTo>
                  <a:lnTo>
                    <a:pt x="2280" y="2751"/>
                  </a:lnTo>
                  <a:lnTo>
                    <a:pt x="2280" y="2744"/>
                  </a:lnTo>
                  <a:lnTo>
                    <a:pt x="2280" y="2737"/>
                  </a:lnTo>
                  <a:lnTo>
                    <a:pt x="2280" y="2734"/>
                  </a:lnTo>
                  <a:lnTo>
                    <a:pt x="2278" y="2734"/>
                  </a:lnTo>
                  <a:lnTo>
                    <a:pt x="2273" y="2735"/>
                  </a:lnTo>
                  <a:lnTo>
                    <a:pt x="2272" y="2734"/>
                  </a:lnTo>
                  <a:lnTo>
                    <a:pt x="2272" y="2730"/>
                  </a:lnTo>
                  <a:lnTo>
                    <a:pt x="2273" y="2728"/>
                  </a:lnTo>
                  <a:lnTo>
                    <a:pt x="2273" y="2724"/>
                  </a:lnTo>
                  <a:lnTo>
                    <a:pt x="2273" y="2720"/>
                  </a:lnTo>
                  <a:lnTo>
                    <a:pt x="2273" y="2715"/>
                  </a:lnTo>
                  <a:lnTo>
                    <a:pt x="2272" y="2708"/>
                  </a:lnTo>
                  <a:lnTo>
                    <a:pt x="2273" y="2704"/>
                  </a:lnTo>
                  <a:lnTo>
                    <a:pt x="2278" y="2698"/>
                  </a:lnTo>
                  <a:lnTo>
                    <a:pt x="2280" y="2697"/>
                  </a:lnTo>
                  <a:lnTo>
                    <a:pt x="2282" y="2694"/>
                  </a:lnTo>
                  <a:lnTo>
                    <a:pt x="2285" y="2692"/>
                  </a:lnTo>
                  <a:lnTo>
                    <a:pt x="2289" y="2689"/>
                  </a:lnTo>
                  <a:lnTo>
                    <a:pt x="2290" y="2687"/>
                  </a:lnTo>
                  <a:lnTo>
                    <a:pt x="2290" y="2682"/>
                  </a:lnTo>
                  <a:lnTo>
                    <a:pt x="2290" y="2678"/>
                  </a:lnTo>
                  <a:lnTo>
                    <a:pt x="2290" y="2675"/>
                  </a:lnTo>
                  <a:lnTo>
                    <a:pt x="2295" y="2672"/>
                  </a:lnTo>
                  <a:lnTo>
                    <a:pt x="2298" y="2671"/>
                  </a:lnTo>
                  <a:lnTo>
                    <a:pt x="2300" y="2668"/>
                  </a:lnTo>
                  <a:lnTo>
                    <a:pt x="2303" y="2665"/>
                  </a:lnTo>
                  <a:lnTo>
                    <a:pt x="2306" y="2665"/>
                  </a:lnTo>
                  <a:lnTo>
                    <a:pt x="2309" y="2669"/>
                  </a:lnTo>
                  <a:lnTo>
                    <a:pt x="2316" y="2671"/>
                  </a:lnTo>
                  <a:lnTo>
                    <a:pt x="2323" y="2669"/>
                  </a:lnTo>
                  <a:lnTo>
                    <a:pt x="2328" y="2665"/>
                  </a:lnTo>
                  <a:lnTo>
                    <a:pt x="2333" y="2658"/>
                  </a:lnTo>
                  <a:lnTo>
                    <a:pt x="2335" y="2654"/>
                  </a:lnTo>
                  <a:lnTo>
                    <a:pt x="2342" y="2652"/>
                  </a:lnTo>
                  <a:lnTo>
                    <a:pt x="2366" y="2648"/>
                  </a:lnTo>
                  <a:lnTo>
                    <a:pt x="2371" y="2646"/>
                  </a:lnTo>
                  <a:lnTo>
                    <a:pt x="2376" y="2648"/>
                  </a:lnTo>
                  <a:lnTo>
                    <a:pt x="2381" y="2646"/>
                  </a:lnTo>
                  <a:lnTo>
                    <a:pt x="2384" y="2641"/>
                  </a:lnTo>
                  <a:lnTo>
                    <a:pt x="2385" y="2635"/>
                  </a:lnTo>
                  <a:lnTo>
                    <a:pt x="2388" y="2632"/>
                  </a:lnTo>
                  <a:lnTo>
                    <a:pt x="2392" y="2629"/>
                  </a:lnTo>
                  <a:lnTo>
                    <a:pt x="2396" y="2629"/>
                  </a:lnTo>
                  <a:lnTo>
                    <a:pt x="2404" y="2629"/>
                  </a:lnTo>
                  <a:lnTo>
                    <a:pt x="2408" y="2631"/>
                  </a:lnTo>
                  <a:lnTo>
                    <a:pt x="2412" y="2629"/>
                  </a:lnTo>
                  <a:lnTo>
                    <a:pt x="2415" y="2628"/>
                  </a:lnTo>
                  <a:lnTo>
                    <a:pt x="2418" y="2628"/>
                  </a:lnTo>
                  <a:lnTo>
                    <a:pt x="2421" y="2628"/>
                  </a:lnTo>
                  <a:lnTo>
                    <a:pt x="2428" y="2628"/>
                  </a:lnTo>
                  <a:lnTo>
                    <a:pt x="2432" y="2628"/>
                  </a:lnTo>
                  <a:lnTo>
                    <a:pt x="2435" y="2626"/>
                  </a:lnTo>
                  <a:lnTo>
                    <a:pt x="2438" y="2621"/>
                  </a:lnTo>
                  <a:lnTo>
                    <a:pt x="2439" y="2618"/>
                  </a:lnTo>
                  <a:lnTo>
                    <a:pt x="2439" y="2618"/>
                  </a:lnTo>
                  <a:lnTo>
                    <a:pt x="2441" y="2614"/>
                  </a:lnTo>
                  <a:lnTo>
                    <a:pt x="2439" y="2609"/>
                  </a:lnTo>
                  <a:lnTo>
                    <a:pt x="2439" y="2606"/>
                  </a:lnTo>
                  <a:lnTo>
                    <a:pt x="2435" y="2599"/>
                  </a:lnTo>
                  <a:lnTo>
                    <a:pt x="2435" y="2592"/>
                  </a:lnTo>
                  <a:lnTo>
                    <a:pt x="2434" y="2589"/>
                  </a:lnTo>
                  <a:lnTo>
                    <a:pt x="2432" y="2585"/>
                  </a:lnTo>
                  <a:lnTo>
                    <a:pt x="2431" y="2581"/>
                  </a:lnTo>
                  <a:lnTo>
                    <a:pt x="2432" y="2576"/>
                  </a:lnTo>
                  <a:lnTo>
                    <a:pt x="2432" y="2568"/>
                  </a:lnTo>
                  <a:lnTo>
                    <a:pt x="2435" y="2565"/>
                  </a:lnTo>
                  <a:lnTo>
                    <a:pt x="2438" y="2558"/>
                  </a:lnTo>
                  <a:lnTo>
                    <a:pt x="2438" y="2553"/>
                  </a:lnTo>
                  <a:lnTo>
                    <a:pt x="2439" y="2549"/>
                  </a:lnTo>
                  <a:lnTo>
                    <a:pt x="2441" y="2548"/>
                  </a:lnTo>
                  <a:lnTo>
                    <a:pt x="2444" y="2546"/>
                  </a:lnTo>
                  <a:lnTo>
                    <a:pt x="2447" y="2543"/>
                  </a:lnTo>
                  <a:lnTo>
                    <a:pt x="2448" y="2542"/>
                  </a:lnTo>
                  <a:lnTo>
                    <a:pt x="2449" y="2541"/>
                  </a:lnTo>
                  <a:lnTo>
                    <a:pt x="2449" y="2539"/>
                  </a:lnTo>
                  <a:lnTo>
                    <a:pt x="2452" y="2538"/>
                  </a:lnTo>
                  <a:lnTo>
                    <a:pt x="2457" y="2538"/>
                  </a:lnTo>
                  <a:lnTo>
                    <a:pt x="2461" y="2538"/>
                  </a:lnTo>
                  <a:lnTo>
                    <a:pt x="2465" y="2538"/>
                  </a:lnTo>
                  <a:lnTo>
                    <a:pt x="2472" y="2538"/>
                  </a:lnTo>
                  <a:lnTo>
                    <a:pt x="2477" y="2536"/>
                  </a:lnTo>
                  <a:lnTo>
                    <a:pt x="2484" y="2538"/>
                  </a:lnTo>
                  <a:lnTo>
                    <a:pt x="2488" y="2535"/>
                  </a:lnTo>
                  <a:lnTo>
                    <a:pt x="2491" y="2533"/>
                  </a:lnTo>
                  <a:lnTo>
                    <a:pt x="2492" y="2532"/>
                  </a:lnTo>
                  <a:lnTo>
                    <a:pt x="2495" y="2532"/>
                  </a:lnTo>
                  <a:lnTo>
                    <a:pt x="2501" y="2532"/>
                  </a:lnTo>
                  <a:lnTo>
                    <a:pt x="2505" y="2530"/>
                  </a:lnTo>
                  <a:lnTo>
                    <a:pt x="2511" y="2530"/>
                  </a:lnTo>
                  <a:lnTo>
                    <a:pt x="2518" y="2528"/>
                  </a:lnTo>
                  <a:lnTo>
                    <a:pt x="2524" y="2523"/>
                  </a:lnTo>
                  <a:lnTo>
                    <a:pt x="2527" y="2522"/>
                  </a:lnTo>
                  <a:lnTo>
                    <a:pt x="2530" y="2523"/>
                  </a:lnTo>
                  <a:lnTo>
                    <a:pt x="2534" y="2519"/>
                  </a:lnTo>
                  <a:lnTo>
                    <a:pt x="2537" y="2515"/>
                  </a:lnTo>
                  <a:lnTo>
                    <a:pt x="2541" y="2508"/>
                  </a:lnTo>
                  <a:lnTo>
                    <a:pt x="2547" y="2498"/>
                  </a:lnTo>
                  <a:lnTo>
                    <a:pt x="2554" y="2489"/>
                  </a:lnTo>
                  <a:lnTo>
                    <a:pt x="2558" y="2485"/>
                  </a:lnTo>
                  <a:lnTo>
                    <a:pt x="2558" y="2480"/>
                  </a:lnTo>
                  <a:lnTo>
                    <a:pt x="2558" y="2475"/>
                  </a:lnTo>
                  <a:lnTo>
                    <a:pt x="2561" y="2470"/>
                  </a:lnTo>
                  <a:lnTo>
                    <a:pt x="2563" y="2467"/>
                  </a:lnTo>
                  <a:lnTo>
                    <a:pt x="2564" y="2463"/>
                  </a:lnTo>
                  <a:lnTo>
                    <a:pt x="2563" y="2460"/>
                  </a:lnTo>
                  <a:lnTo>
                    <a:pt x="2557" y="2453"/>
                  </a:lnTo>
                  <a:lnTo>
                    <a:pt x="2555" y="2450"/>
                  </a:lnTo>
                  <a:lnTo>
                    <a:pt x="2555" y="2445"/>
                  </a:lnTo>
                  <a:lnTo>
                    <a:pt x="2555" y="2433"/>
                  </a:lnTo>
                  <a:lnTo>
                    <a:pt x="2560" y="2423"/>
                  </a:lnTo>
                  <a:lnTo>
                    <a:pt x="2567" y="2424"/>
                  </a:lnTo>
                  <a:lnTo>
                    <a:pt x="2578" y="2426"/>
                  </a:lnTo>
                  <a:lnTo>
                    <a:pt x="2583" y="2426"/>
                  </a:lnTo>
                  <a:lnTo>
                    <a:pt x="2583" y="2424"/>
                  </a:lnTo>
                  <a:lnTo>
                    <a:pt x="2580" y="2422"/>
                  </a:lnTo>
                  <a:lnTo>
                    <a:pt x="2578" y="2416"/>
                  </a:lnTo>
                  <a:lnTo>
                    <a:pt x="2578" y="2410"/>
                  </a:lnTo>
                  <a:lnTo>
                    <a:pt x="2581" y="2409"/>
                  </a:lnTo>
                  <a:lnTo>
                    <a:pt x="2583" y="2407"/>
                  </a:lnTo>
                  <a:lnTo>
                    <a:pt x="2596" y="2429"/>
                  </a:lnTo>
                  <a:lnTo>
                    <a:pt x="2610" y="2420"/>
                  </a:lnTo>
                  <a:lnTo>
                    <a:pt x="2604" y="2413"/>
                  </a:lnTo>
                  <a:lnTo>
                    <a:pt x="2600" y="2406"/>
                  </a:lnTo>
                  <a:lnTo>
                    <a:pt x="2593" y="2399"/>
                  </a:lnTo>
                  <a:lnTo>
                    <a:pt x="2588" y="2397"/>
                  </a:lnTo>
                  <a:lnTo>
                    <a:pt x="2583" y="2387"/>
                  </a:lnTo>
                  <a:lnTo>
                    <a:pt x="2584" y="2383"/>
                  </a:lnTo>
                  <a:lnTo>
                    <a:pt x="2575" y="2363"/>
                  </a:lnTo>
                  <a:lnTo>
                    <a:pt x="2571" y="2360"/>
                  </a:lnTo>
                  <a:lnTo>
                    <a:pt x="2565" y="2359"/>
                  </a:lnTo>
                  <a:lnTo>
                    <a:pt x="2563" y="2356"/>
                  </a:lnTo>
                  <a:lnTo>
                    <a:pt x="2564" y="2349"/>
                  </a:lnTo>
                  <a:lnTo>
                    <a:pt x="2560" y="2343"/>
                  </a:lnTo>
                  <a:lnTo>
                    <a:pt x="2551" y="2337"/>
                  </a:lnTo>
                  <a:lnTo>
                    <a:pt x="2551" y="2333"/>
                  </a:lnTo>
                  <a:lnTo>
                    <a:pt x="2551" y="2319"/>
                  </a:lnTo>
                  <a:lnTo>
                    <a:pt x="2545" y="2310"/>
                  </a:lnTo>
                  <a:lnTo>
                    <a:pt x="2544" y="2297"/>
                  </a:lnTo>
                  <a:lnTo>
                    <a:pt x="2538" y="2294"/>
                  </a:lnTo>
                  <a:lnTo>
                    <a:pt x="2528" y="2290"/>
                  </a:lnTo>
                  <a:lnTo>
                    <a:pt x="2528" y="2284"/>
                  </a:lnTo>
                  <a:lnTo>
                    <a:pt x="2530" y="2281"/>
                  </a:lnTo>
                  <a:lnTo>
                    <a:pt x="2531" y="2277"/>
                  </a:lnTo>
                  <a:lnTo>
                    <a:pt x="2530" y="2273"/>
                  </a:lnTo>
                  <a:lnTo>
                    <a:pt x="2527" y="2268"/>
                  </a:lnTo>
                  <a:lnTo>
                    <a:pt x="2522" y="2268"/>
                  </a:lnTo>
                  <a:lnTo>
                    <a:pt x="2511" y="2264"/>
                  </a:lnTo>
                  <a:lnTo>
                    <a:pt x="2502" y="2260"/>
                  </a:lnTo>
                  <a:lnTo>
                    <a:pt x="2497" y="2258"/>
                  </a:lnTo>
                  <a:lnTo>
                    <a:pt x="2495" y="2243"/>
                  </a:lnTo>
                  <a:lnTo>
                    <a:pt x="2494" y="2230"/>
                  </a:lnTo>
                  <a:lnTo>
                    <a:pt x="2487" y="2217"/>
                  </a:lnTo>
                  <a:lnTo>
                    <a:pt x="2488" y="2211"/>
                  </a:lnTo>
                  <a:lnTo>
                    <a:pt x="2492" y="2200"/>
                  </a:lnTo>
                  <a:lnTo>
                    <a:pt x="2500" y="2194"/>
                  </a:lnTo>
                  <a:lnTo>
                    <a:pt x="2504" y="2188"/>
                  </a:lnTo>
                  <a:lnTo>
                    <a:pt x="2504" y="2184"/>
                  </a:lnTo>
                  <a:lnTo>
                    <a:pt x="2501" y="2182"/>
                  </a:lnTo>
                  <a:lnTo>
                    <a:pt x="2497" y="2184"/>
                  </a:lnTo>
                  <a:lnTo>
                    <a:pt x="2492" y="2181"/>
                  </a:lnTo>
                  <a:lnTo>
                    <a:pt x="2490" y="2174"/>
                  </a:lnTo>
                  <a:lnTo>
                    <a:pt x="2490" y="2170"/>
                  </a:lnTo>
                  <a:lnTo>
                    <a:pt x="2490" y="2164"/>
                  </a:lnTo>
                  <a:lnTo>
                    <a:pt x="2495" y="2168"/>
                  </a:lnTo>
                  <a:lnTo>
                    <a:pt x="2498" y="2164"/>
                  </a:lnTo>
                  <a:lnTo>
                    <a:pt x="2504" y="2154"/>
                  </a:lnTo>
                  <a:lnTo>
                    <a:pt x="2505" y="2150"/>
                  </a:lnTo>
                  <a:lnTo>
                    <a:pt x="2504" y="2145"/>
                  </a:lnTo>
                  <a:lnTo>
                    <a:pt x="2504" y="2139"/>
                  </a:lnTo>
                  <a:lnTo>
                    <a:pt x="2507" y="2137"/>
                  </a:lnTo>
                  <a:lnTo>
                    <a:pt x="2512" y="2137"/>
                  </a:lnTo>
                  <a:lnTo>
                    <a:pt x="2517" y="2131"/>
                  </a:lnTo>
                  <a:lnTo>
                    <a:pt x="2518" y="2127"/>
                  </a:lnTo>
                  <a:lnTo>
                    <a:pt x="2517" y="2121"/>
                  </a:lnTo>
                  <a:lnTo>
                    <a:pt x="2517" y="2117"/>
                  </a:lnTo>
                  <a:lnTo>
                    <a:pt x="2521" y="2115"/>
                  </a:lnTo>
                  <a:lnTo>
                    <a:pt x="2528" y="2118"/>
                  </a:lnTo>
                  <a:lnTo>
                    <a:pt x="2531" y="2114"/>
                  </a:lnTo>
                  <a:lnTo>
                    <a:pt x="2527" y="2095"/>
                  </a:lnTo>
                  <a:lnTo>
                    <a:pt x="2524" y="2089"/>
                  </a:lnTo>
                  <a:lnTo>
                    <a:pt x="2530" y="2085"/>
                  </a:lnTo>
                  <a:lnTo>
                    <a:pt x="2525" y="2078"/>
                  </a:lnTo>
                  <a:lnTo>
                    <a:pt x="2524" y="2075"/>
                  </a:lnTo>
                  <a:lnTo>
                    <a:pt x="2524" y="2064"/>
                  </a:lnTo>
                  <a:lnTo>
                    <a:pt x="2525" y="2052"/>
                  </a:lnTo>
                  <a:lnTo>
                    <a:pt x="2524" y="2044"/>
                  </a:lnTo>
                  <a:lnTo>
                    <a:pt x="2520" y="2039"/>
                  </a:lnTo>
                  <a:lnTo>
                    <a:pt x="2515" y="2035"/>
                  </a:lnTo>
                  <a:lnTo>
                    <a:pt x="2510" y="2034"/>
                  </a:lnTo>
                  <a:lnTo>
                    <a:pt x="2508" y="2029"/>
                  </a:lnTo>
                  <a:lnTo>
                    <a:pt x="2515" y="2023"/>
                  </a:lnTo>
                  <a:lnTo>
                    <a:pt x="2518" y="2022"/>
                  </a:lnTo>
                  <a:lnTo>
                    <a:pt x="2522" y="2009"/>
                  </a:lnTo>
                  <a:lnTo>
                    <a:pt x="2518" y="2005"/>
                  </a:lnTo>
                  <a:lnTo>
                    <a:pt x="2514" y="2003"/>
                  </a:lnTo>
                  <a:lnTo>
                    <a:pt x="2514" y="2001"/>
                  </a:lnTo>
                  <a:lnTo>
                    <a:pt x="2517" y="1998"/>
                  </a:lnTo>
                  <a:lnTo>
                    <a:pt x="2518" y="1995"/>
                  </a:lnTo>
                  <a:lnTo>
                    <a:pt x="2514" y="1988"/>
                  </a:lnTo>
                  <a:lnTo>
                    <a:pt x="2510" y="1982"/>
                  </a:lnTo>
                  <a:lnTo>
                    <a:pt x="2502" y="1978"/>
                  </a:lnTo>
                  <a:lnTo>
                    <a:pt x="2495" y="1959"/>
                  </a:lnTo>
                  <a:lnTo>
                    <a:pt x="2495" y="1953"/>
                  </a:lnTo>
                  <a:lnTo>
                    <a:pt x="2498" y="1949"/>
                  </a:lnTo>
                  <a:lnTo>
                    <a:pt x="2510" y="1942"/>
                  </a:lnTo>
                  <a:lnTo>
                    <a:pt x="2510" y="1939"/>
                  </a:lnTo>
                  <a:lnTo>
                    <a:pt x="2507" y="1929"/>
                  </a:lnTo>
                  <a:lnTo>
                    <a:pt x="2505" y="1925"/>
                  </a:lnTo>
                  <a:lnTo>
                    <a:pt x="2507" y="1922"/>
                  </a:lnTo>
                  <a:lnTo>
                    <a:pt x="2514" y="1922"/>
                  </a:lnTo>
                  <a:lnTo>
                    <a:pt x="2521" y="1922"/>
                  </a:lnTo>
                  <a:lnTo>
                    <a:pt x="2528" y="1916"/>
                  </a:lnTo>
                  <a:lnTo>
                    <a:pt x="2528" y="1912"/>
                  </a:lnTo>
                  <a:lnTo>
                    <a:pt x="2531" y="1912"/>
                  </a:lnTo>
                  <a:lnTo>
                    <a:pt x="2534" y="1912"/>
                  </a:lnTo>
                  <a:lnTo>
                    <a:pt x="2540" y="1919"/>
                  </a:lnTo>
                  <a:lnTo>
                    <a:pt x="2543" y="1922"/>
                  </a:lnTo>
                  <a:lnTo>
                    <a:pt x="2550" y="1917"/>
                  </a:lnTo>
                  <a:lnTo>
                    <a:pt x="2553" y="1912"/>
                  </a:lnTo>
                  <a:lnTo>
                    <a:pt x="2557" y="1912"/>
                  </a:lnTo>
                  <a:lnTo>
                    <a:pt x="2560" y="1917"/>
                  </a:lnTo>
                  <a:lnTo>
                    <a:pt x="2564" y="1922"/>
                  </a:lnTo>
                  <a:lnTo>
                    <a:pt x="2568" y="1923"/>
                  </a:lnTo>
                  <a:lnTo>
                    <a:pt x="2574" y="1923"/>
                  </a:lnTo>
                  <a:lnTo>
                    <a:pt x="2581" y="1926"/>
                  </a:lnTo>
                  <a:lnTo>
                    <a:pt x="2584" y="1928"/>
                  </a:lnTo>
                  <a:lnTo>
                    <a:pt x="2585" y="1932"/>
                  </a:lnTo>
                  <a:lnTo>
                    <a:pt x="2591" y="1933"/>
                  </a:lnTo>
                  <a:lnTo>
                    <a:pt x="2596" y="1933"/>
                  </a:lnTo>
                  <a:lnTo>
                    <a:pt x="2608" y="1932"/>
                  </a:lnTo>
                  <a:lnTo>
                    <a:pt x="2614" y="1935"/>
                  </a:lnTo>
                  <a:lnTo>
                    <a:pt x="2618" y="1939"/>
                  </a:lnTo>
                  <a:lnTo>
                    <a:pt x="2626" y="1939"/>
                  </a:lnTo>
                  <a:lnTo>
                    <a:pt x="2631" y="1935"/>
                  </a:lnTo>
                  <a:lnTo>
                    <a:pt x="2631" y="1933"/>
                  </a:lnTo>
                  <a:lnTo>
                    <a:pt x="2636" y="1933"/>
                  </a:lnTo>
                  <a:lnTo>
                    <a:pt x="2631" y="1928"/>
                  </a:lnTo>
                  <a:lnTo>
                    <a:pt x="2633" y="1922"/>
                  </a:lnTo>
                  <a:lnTo>
                    <a:pt x="2634" y="1922"/>
                  </a:lnTo>
                  <a:lnTo>
                    <a:pt x="2638" y="1923"/>
                  </a:lnTo>
                  <a:lnTo>
                    <a:pt x="2641" y="1925"/>
                  </a:lnTo>
                  <a:lnTo>
                    <a:pt x="2646" y="1923"/>
                  </a:lnTo>
                  <a:lnTo>
                    <a:pt x="2650" y="1925"/>
                  </a:lnTo>
                  <a:lnTo>
                    <a:pt x="2653" y="1928"/>
                  </a:lnTo>
                  <a:lnTo>
                    <a:pt x="2657" y="1929"/>
                  </a:lnTo>
                  <a:lnTo>
                    <a:pt x="2660" y="1929"/>
                  </a:lnTo>
                  <a:lnTo>
                    <a:pt x="2666" y="1930"/>
                  </a:lnTo>
                  <a:lnTo>
                    <a:pt x="2666" y="1933"/>
                  </a:lnTo>
                  <a:lnTo>
                    <a:pt x="2666" y="1938"/>
                  </a:lnTo>
                  <a:lnTo>
                    <a:pt x="2669" y="1940"/>
                  </a:lnTo>
                  <a:lnTo>
                    <a:pt x="2673" y="1939"/>
                  </a:lnTo>
                  <a:lnTo>
                    <a:pt x="2676" y="1935"/>
                  </a:lnTo>
                  <a:lnTo>
                    <a:pt x="2676" y="1925"/>
                  </a:lnTo>
                  <a:lnTo>
                    <a:pt x="2677" y="1919"/>
                  </a:lnTo>
                  <a:lnTo>
                    <a:pt x="2680" y="1915"/>
                  </a:lnTo>
                  <a:lnTo>
                    <a:pt x="2681" y="1905"/>
                  </a:lnTo>
                  <a:lnTo>
                    <a:pt x="2684" y="1902"/>
                  </a:lnTo>
                  <a:lnTo>
                    <a:pt x="2689" y="1900"/>
                  </a:lnTo>
                  <a:lnTo>
                    <a:pt x="2697" y="1905"/>
                  </a:lnTo>
                  <a:lnTo>
                    <a:pt x="2706" y="1906"/>
                  </a:lnTo>
                  <a:lnTo>
                    <a:pt x="2709" y="1903"/>
                  </a:lnTo>
                  <a:lnTo>
                    <a:pt x="2706" y="1899"/>
                  </a:lnTo>
                  <a:lnTo>
                    <a:pt x="2699" y="1893"/>
                  </a:lnTo>
                  <a:lnTo>
                    <a:pt x="2697" y="1880"/>
                  </a:lnTo>
                  <a:lnTo>
                    <a:pt x="2696" y="1872"/>
                  </a:lnTo>
                  <a:lnTo>
                    <a:pt x="2693" y="1866"/>
                  </a:lnTo>
                  <a:lnTo>
                    <a:pt x="2694" y="1865"/>
                  </a:lnTo>
                  <a:lnTo>
                    <a:pt x="2699" y="1863"/>
                  </a:lnTo>
                  <a:lnTo>
                    <a:pt x="2704" y="1869"/>
                  </a:lnTo>
                  <a:lnTo>
                    <a:pt x="2713" y="1869"/>
                  </a:lnTo>
                  <a:lnTo>
                    <a:pt x="2717" y="1859"/>
                  </a:lnTo>
                  <a:lnTo>
                    <a:pt x="2722" y="1856"/>
                  </a:lnTo>
                  <a:lnTo>
                    <a:pt x="2726" y="1856"/>
                  </a:lnTo>
                  <a:lnTo>
                    <a:pt x="2734" y="1859"/>
                  </a:lnTo>
                  <a:lnTo>
                    <a:pt x="2740" y="1865"/>
                  </a:lnTo>
                  <a:lnTo>
                    <a:pt x="2742" y="1870"/>
                  </a:lnTo>
                  <a:lnTo>
                    <a:pt x="2743" y="1876"/>
                  </a:lnTo>
                  <a:lnTo>
                    <a:pt x="2749" y="1877"/>
                  </a:lnTo>
                  <a:lnTo>
                    <a:pt x="2753" y="1873"/>
                  </a:lnTo>
                  <a:lnTo>
                    <a:pt x="2752" y="1866"/>
                  </a:lnTo>
                  <a:lnTo>
                    <a:pt x="2749" y="1857"/>
                  </a:lnTo>
                  <a:lnTo>
                    <a:pt x="2750" y="1850"/>
                  </a:lnTo>
                  <a:lnTo>
                    <a:pt x="2753" y="1847"/>
                  </a:lnTo>
                  <a:lnTo>
                    <a:pt x="2756" y="1849"/>
                  </a:lnTo>
                  <a:lnTo>
                    <a:pt x="2757" y="1853"/>
                  </a:lnTo>
                  <a:lnTo>
                    <a:pt x="2760" y="1856"/>
                  </a:lnTo>
                  <a:lnTo>
                    <a:pt x="2763" y="1857"/>
                  </a:lnTo>
                  <a:lnTo>
                    <a:pt x="2766" y="1863"/>
                  </a:lnTo>
                  <a:lnTo>
                    <a:pt x="2769" y="1869"/>
                  </a:lnTo>
                  <a:lnTo>
                    <a:pt x="2775" y="1876"/>
                  </a:lnTo>
                  <a:lnTo>
                    <a:pt x="2783" y="1877"/>
                  </a:lnTo>
                  <a:lnTo>
                    <a:pt x="2789" y="1872"/>
                  </a:lnTo>
                  <a:lnTo>
                    <a:pt x="2799" y="1865"/>
                  </a:lnTo>
                  <a:lnTo>
                    <a:pt x="2800" y="1854"/>
                  </a:lnTo>
                  <a:lnTo>
                    <a:pt x="2800" y="1843"/>
                  </a:lnTo>
                  <a:lnTo>
                    <a:pt x="2803" y="1834"/>
                  </a:lnTo>
                  <a:lnTo>
                    <a:pt x="2803" y="1829"/>
                  </a:lnTo>
                  <a:lnTo>
                    <a:pt x="2799" y="1823"/>
                  </a:lnTo>
                  <a:lnTo>
                    <a:pt x="2796" y="1819"/>
                  </a:lnTo>
                  <a:lnTo>
                    <a:pt x="2796" y="1810"/>
                  </a:lnTo>
                  <a:lnTo>
                    <a:pt x="2796" y="1807"/>
                  </a:lnTo>
                  <a:lnTo>
                    <a:pt x="2790" y="1801"/>
                  </a:lnTo>
                  <a:lnTo>
                    <a:pt x="2787" y="1796"/>
                  </a:lnTo>
                  <a:lnTo>
                    <a:pt x="2793" y="1783"/>
                  </a:lnTo>
                  <a:lnTo>
                    <a:pt x="2795" y="1776"/>
                  </a:lnTo>
                  <a:lnTo>
                    <a:pt x="2795" y="1770"/>
                  </a:lnTo>
                  <a:lnTo>
                    <a:pt x="2786" y="1766"/>
                  </a:lnTo>
                  <a:lnTo>
                    <a:pt x="2789" y="1763"/>
                  </a:lnTo>
                  <a:lnTo>
                    <a:pt x="2796" y="1763"/>
                  </a:lnTo>
                  <a:lnTo>
                    <a:pt x="2795" y="1759"/>
                  </a:lnTo>
                  <a:lnTo>
                    <a:pt x="2783" y="1736"/>
                  </a:lnTo>
                  <a:lnTo>
                    <a:pt x="2777" y="1731"/>
                  </a:lnTo>
                  <a:lnTo>
                    <a:pt x="2773" y="1728"/>
                  </a:lnTo>
                  <a:lnTo>
                    <a:pt x="2773" y="1723"/>
                  </a:lnTo>
                  <a:lnTo>
                    <a:pt x="2775" y="1717"/>
                  </a:lnTo>
                  <a:lnTo>
                    <a:pt x="2777" y="1716"/>
                  </a:lnTo>
                  <a:lnTo>
                    <a:pt x="2786" y="1717"/>
                  </a:lnTo>
                  <a:lnTo>
                    <a:pt x="2790" y="1717"/>
                  </a:lnTo>
                  <a:lnTo>
                    <a:pt x="2792" y="1714"/>
                  </a:lnTo>
                  <a:lnTo>
                    <a:pt x="2785" y="1706"/>
                  </a:lnTo>
                  <a:lnTo>
                    <a:pt x="2782" y="1704"/>
                  </a:lnTo>
                  <a:lnTo>
                    <a:pt x="2773" y="1701"/>
                  </a:lnTo>
                  <a:lnTo>
                    <a:pt x="2775" y="1693"/>
                  </a:lnTo>
                  <a:lnTo>
                    <a:pt x="2767" y="1690"/>
                  </a:lnTo>
                  <a:lnTo>
                    <a:pt x="2759" y="1681"/>
                  </a:lnTo>
                  <a:lnTo>
                    <a:pt x="2756" y="1680"/>
                  </a:lnTo>
                  <a:lnTo>
                    <a:pt x="2746" y="1668"/>
                  </a:lnTo>
                  <a:lnTo>
                    <a:pt x="2736" y="1657"/>
                  </a:lnTo>
                  <a:lnTo>
                    <a:pt x="2733" y="1653"/>
                  </a:lnTo>
                  <a:lnTo>
                    <a:pt x="2729" y="1645"/>
                  </a:lnTo>
                  <a:lnTo>
                    <a:pt x="2723" y="1645"/>
                  </a:lnTo>
                  <a:lnTo>
                    <a:pt x="2723" y="1645"/>
                  </a:lnTo>
                  <a:lnTo>
                    <a:pt x="2714" y="1638"/>
                  </a:lnTo>
                  <a:lnTo>
                    <a:pt x="2712" y="1634"/>
                  </a:lnTo>
                  <a:lnTo>
                    <a:pt x="2710" y="1630"/>
                  </a:lnTo>
                  <a:lnTo>
                    <a:pt x="2710" y="1618"/>
                  </a:lnTo>
                  <a:lnTo>
                    <a:pt x="2710" y="1618"/>
                  </a:lnTo>
                  <a:lnTo>
                    <a:pt x="2709" y="1612"/>
                  </a:lnTo>
                  <a:lnTo>
                    <a:pt x="2707" y="1608"/>
                  </a:lnTo>
                  <a:lnTo>
                    <a:pt x="2704" y="1604"/>
                  </a:lnTo>
                  <a:lnTo>
                    <a:pt x="2703" y="1598"/>
                  </a:lnTo>
                  <a:lnTo>
                    <a:pt x="2703" y="1598"/>
                  </a:lnTo>
                  <a:lnTo>
                    <a:pt x="2701" y="1594"/>
                  </a:lnTo>
                  <a:lnTo>
                    <a:pt x="2699" y="1591"/>
                  </a:lnTo>
                  <a:lnTo>
                    <a:pt x="2696" y="1590"/>
                  </a:lnTo>
                  <a:lnTo>
                    <a:pt x="2691" y="1587"/>
                  </a:lnTo>
                  <a:lnTo>
                    <a:pt x="2691" y="1587"/>
                  </a:lnTo>
                  <a:lnTo>
                    <a:pt x="2690" y="1579"/>
                  </a:lnTo>
                  <a:lnTo>
                    <a:pt x="2689" y="1574"/>
                  </a:lnTo>
                  <a:lnTo>
                    <a:pt x="2686" y="1561"/>
                  </a:lnTo>
                  <a:lnTo>
                    <a:pt x="2684" y="1555"/>
                  </a:lnTo>
                  <a:lnTo>
                    <a:pt x="2683" y="1551"/>
                  </a:lnTo>
                  <a:lnTo>
                    <a:pt x="2679" y="1547"/>
                  </a:lnTo>
                  <a:lnTo>
                    <a:pt x="2673" y="1544"/>
                  </a:lnTo>
                  <a:lnTo>
                    <a:pt x="2673" y="1541"/>
                  </a:lnTo>
                  <a:lnTo>
                    <a:pt x="2667" y="1537"/>
                  </a:lnTo>
                  <a:lnTo>
                    <a:pt x="2671" y="1527"/>
                  </a:lnTo>
                  <a:lnTo>
                    <a:pt x="2679" y="1514"/>
                  </a:lnTo>
                  <a:lnTo>
                    <a:pt x="2681" y="1498"/>
                  </a:lnTo>
                  <a:lnTo>
                    <a:pt x="2681" y="1488"/>
                  </a:lnTo>
                  <a:lnTo>
                    <a:pt x="2679" y="1472"/>
                  </a:lnTo>
                  <a:lnTo>
                    <a:pt x="2677" y="1465"/>
                  </a:lnTo>
                  <a:lnTo>
                    <a:pt x="2679" y="1452"/>
                  </a:lnTo>
                  <a:lnTo>
                    <a:pt x="2679" y="1448"/>
                  </a:lnTo>
                  <a:lnTo>
                    <a:pt x="2684" y="1445"/>
                  </a:lnTo>
                  <a:lnTo>
                    <a:pt x="2693" y="1445"/>
                  </a:lnTo>
                  <a:lnTo>
                    <a:pt x="2701" y="1442"/>
                  </a:lnTo>
                  <a:lnTo>
                    <a:pt x="2710" y="1438"/>
                  </a:lnTo>
                  <a:lnTo>
                    <a:pt x="2722" y="1435"/>
                  </a:lnTo>
                  <a:lnTo>
                    <a:pt x="2730" y="1433"/>
                  </a:lnTo>
                  <a:lnTo>
                    <a:pt x="2733" y="1428"/>
                  </a:lnTo>
                  <a:lnTo>
                    <a:pt x="2730" y="1422"/>
                  </a:lnTo>
                  <a:lnTo>
                    <a:pt x="2727" y="1418"/>
                  </a:lnTo>
                  <a:lnTo>
                    <a:pt x="2734" y="1406"/>
                  </a:lnTo>
                  <a:lnTo>
                    <a:pt x="2736" y="1402"/>
                  </a:lnTo>
                  <a:lnTo>
                    <a:pt x="2739" y="1400"/>
                  </a:lnTo>
                  <a:lnTo>
                    <a:pt x="2744" y="1402"/>
                  </a:lnTo>
                  <a:lnTo>
                    <a:pt x="2747" y="1406"/>
                  </a:lnTo>
                  <a:lnTo>
                    <a:pt x="2747" y="1412"/>
                  </a:lnTo>
                  <a:lnTo>
                    <a:pt x="2752" y="1419"/>
                  </a:lnTo>
                  <a:lnTo>
                    <a:pt x="2757" y="1421"/>
                  </a:lnTo>
                  <a:lnTo>
                    <a:pt x="2766" y="1419"/>
                  </a:lnTo>
                  <a:lnTo>
                    <a:pt x="2776" y="1415"/>
                  </a:lnTo>
                  <a:lnTo>
                    <a:pt x="2780" y="1410"/>
                  </a:lnTo>
                  <a:lnTo>
                    <a:pt x="2782" y="1406"/>
                  </a:lnTo>
                  <a:lnTo>
                    <a:pt x="2775" y="1395"/>
                  </a:lnTo>
                  <a:lnTo>
                    <a:pt x="2773" y="1383"/>
                  </a:lnTo>
                  <a:lnTo>
                    <a:pt x="2769" y="1366"/>
                  </a:lnTo>
                  <a:lnTo>
                    <a:pt x="2767" y="1360"/>
                  </a:lnTo>
                  <a:lnTo>
                    <a:pt x="2763" y="1360"/>
                  </a:lnTo>
                  <a:lnTo>
                    <a:pt x="2754" y="1362"/>
                  </a:lnTo>
                  <a:lnTo>
                    <a:pt x="2747" y="1362"/>
                  </a:lnTo>
                  <a:lnTo>
                    <a:pt x="2742" y="1359"/>
                  </a:lnTo>
                  <a:lnTo>
                    <a:pt x="2734" y="1352"/>
                  </a:lnTo>
                  <a:lnTo>
                    <a:pt x="2737" y="1346"/>
                  </a:lnTo>
                  <a:lnTo>
                    <a:pt x="2737" y="1335"/>
                  </a:lnTo>
                  <a:lnTo>
                    <a:pt x="2736" y="1329"/>
                  </a:lnTo>
                  <a:lnTo>
                    <a:pt x="2736" y="1323"/>
                  </a:lnTo>
                  <a:lnTo>
                    <a:pt x="2739" y="1320"/>
                  </a:lnTo>
                  <a:lnTo>
                    <a:pt x="2739" y="1320"/>
                  </a:lnTo>
                  <a:lnTo>
                    <a:pt x="2742" y="1319"/>
                  </a:lnTo>
                  <a:lnTo>
                    <a:pt x="2747" y="1322"/>
                  </a:lnTo>
                  <a:lnTo>
                    <a:pt x="2752" y="1323"/>
                  </a:lnTo>
                  <a:lnTo>
                    <a:pt x="2760" y="1325"/>
                  </a:lnTo>
                  <a:lnTo>
                    <a:pt x="2767" y="1322"/>
                  </a:lnTo>
                  <a:lnTo>
                    <a:pt x="2779" y="1313"/>
                  </a:lnTo>
                  <a:lnTo>
                    <a:pt x="2777" y="1306"/>
                  </a:lnTo>
                  <a:lnTo>
                    <a:pt x="2779" y="1303"/>
                  </a:lnTo>
                  <a:lnTo>
                    <a:pt x="2785" y="1300"/>
                  </a:lnTo>
                  <a:lnTo>
                    <a:pt x="2789" y="1300"/>
                  </a:lnTo>
                  <a:lnTo>
                    <a:pt x="2792" y="1302"/>
                  </a:lnTo>
                  <a:lnTo>
                    <a:pt x="2795" y="1303"/>
                  </a:lnTo>
                  <a:lnTo>
                    <a:pt x="2800" y="1300"/>
                  </a:lnTo>
                  <a:lnTo>
                    <a:pt x="2803" y="1297"/>
                  </a:lnTo>
                  <a:lnTo>
                    <a:pt x="2799" y="1294"/>
                  </a:lnTo>
                  <a:lnTo>
                    <a:pt x="2795" y="1290"/>
                  </a:lnTo>
                  <a:lnTo>
                    <a:pt x="2796" y="1287"/>
                  </a:lnTo>
                  <a:lnTo>
                    <a:pt x="2802" y="1284"/>
                  </a:lnTo>
                  <a:lnTo>
                    <a:pt x="2805" y="1277"/>
                  </a:lnTo>
                  <a:lnTo>
                    <a:pt x="2806" y="1266"/>
                  </a:lnTo>
                  <a:lnTo>
                    <a:pt x="2803" y="1257"/>
                  </a:lnTo>
                  <a:lnTo>
                    <a:pt x="2805" y="1254"/>
                  </a:lnTo>
                  <a:lnTo>
                    <a:pt x="2812" y="1252"/>
                  </a:lnTo>
                  <a:lnTo>
                    <a:pt x="2822" y="1250"/>
                  </a:lnTo>
                  <a:lnTo>
                    <a:pt x="2829" y="1250"/>
                  </a:lnTo>
                  <a:lnTo>
                    <a:pt x="2838" y="1253"/>
                  </a:lnTo>
                  <a:lnTo>
                    <a:pt x="2843" y="1264"/>
                  </a:lnTo>
                  <a:lnTo>
                    <a:pt x="2846" y="1266"/>
                  </a:lnTo>
                  <a:lnTo>
                    <a:pt x="2850" y="1264"/>
                  </a:lnTo>
                  <a:lnTo>
                    <a:pt x="2855" y="1264"/>
                  </a:lnTo>
                  <a:lnTo>
                    <a:pt x="2859" y="1270"/>
                  </a:lnTo>
                  <a:lnTo>
                    <a:pt x="2862" y="1272"/>
                  </a:lnTo>
                  <a:lnTo>
                    <a:pt x="2872" y="1264"/>
                  </a:lnTo>
                  <a:lnTo>
                    <a:pt x="2882" y="1262"/>
                  </a:lnTo>
                  <a:lnTo>
                    <a:pt x="2886" y="1259"/>
                  </a:lnTo>
                  <a:lnTo>
                    <a:pt x="2886" y="1256"/>
                  </a:lnTo>
                  <a:lnTo>
                    <a:pt x="2881" y="1250"/>
                  </a:lnTo>
                  <a:lnTo>
                    <a:pt x="2879" y="1247"/>
                  </a:lnTo>
                  <a:lnTo>
                    <a:pt x="2872" y="1244"/>
                  </a:lnTo>
                  <a:lnTo>
                    <a:pt x="2872" y="1240"/>
                  </a:lnTo>
                  <a:lnTo>
                    <a:pt x="2878" y="1236"/>
                  </a:lnTo>
                  <a:lnTo>
                    <a:pt x="2885" y="1229"/>
                  </a:lnTo>
                  <a:lnTo>
                    <a:pt x="2891" y="1221"/>
                  </a:lnTo>
                  <a:lnTo>
                    <a:pt x="2892" y="1214"/>
                  </a:lnTo>
                  <a:lnTo>
                    <a:pt x="2898" y="1211"/>
                  </a:lnTo>
                  <a:lnTo>
                    <a:pt x="2902" y="1206"/>
                  </a:lnTo>
                  <a:lnTo>
                    <a:pt x="2909" y="1203"/>
                  </a:lnTo>
                  <a:lnTo>
                    <a:pt x="2915" y="1200"/>
                  </a:lnTo>
                  <a:lnTo>
                    <a:pt x="2915" y="1197"/>
                  </a:lnTo>
                  <a:lnTo>
                    <a:pt x="2913" y="1196"/>
                  </a:lnTo>
                  <a:lnTo>
                    <a:pt x="2909" y="1191"/>
                  </a:lnTo>
                  <a:lnTo>
                    <a:pt x="2906" y="1190"/>
                  </a:lnTo>
                  <a:lnTo>
                    <a:pt x="2908" y="1186"/>
                  </a:lnTo>
                  <a:lnTo>
                    <a:pt x="2909" y="1181"/>
                  </a:lnTo>
                  <a:lnTo>
                    <a:pt x="2918" y="1170"/>
                  </a:lnTo>
                  <a:lnTo>
                    <a:pt x="2922" y="1163"/>
                  </a:lnTo>
                  <a:lnTo>
                    <a:pt x="2925" y="1157"/>
                  </a:lnTo>
                  <a:lnTo>
                    <a:pt x="2928" y="1154"/>
                  </a:lnTo>
                  <a:lnTo>
                    <a:pt x="2934" y="1156"/>
                  </a:lnTo>
                  <a:lnTo>
                    <a:pt x="2939" y="1158"/>
                  </a:lnTo>
                  <a:lnTo>
                    <a:pt x="2944" y="1163"/>
                  </a:lnTo>
                  <a:lnTo>
                    <a:pt x="2949" y="1166"/>
                  </a:lnTo>
                  <a:lnTo>
                    <a:pt x="2951" y="1160"/>
                  </a:lnTo>
                  <a:lnTo>
                    <a:pt x="2956" y="1147"/>
                  </a:lnTo>
                  <a:lnTo>
                    <a:pt x="2958" y="1141"/>
                  </a:lnTo>
                  <a:lnTo>
                    <a:pt x="2956" y="1140"/>
                  </a:lnTo>
                  <a:lnTo>
                    <a:pt x="2949" y="1137"/>
                  </a:lnTo>
                  <a:lnTo>
                    <a:pt x="2939" y="1136"/>
                  </a:lnTo>
                  <a:lnTo>
                    <a:pt x="2938" y="1131"/>
                  </a:lnTo>
                  <a:lnTo>
                    <a:pt x="2941" y="1128"/>
                  </a:lnTo>
                  <a:lnTo>
                    <a:pt x="2942" y="1121"/>
                  </a:lnTo>
                  <a:lnTo>
                    <a:pt x="2941" y="1108"/>
                  </a:lnTo>
                  <a:lnTo>
                    <a:pt x="2945" y="1101"/>
                  </a:lnTo>
                  <a:lnTo>
                    <a:pt x="2945" y="1095"/>
                  </a:lnTo>
                  <a:lnTo>
                    <a:pt x="2944" y="1090"/>
                  </a:lnTo>
                  <a:lnTo>
                    <a:pt x="2939" y="1085"/>
                  </a:lnTo>
                  <a:lnTo>
                    <a:pt x="2932" y="1084"/>
                  </a:lnTo>
                  <a:lnTo>
                    <a:pt x="2926" y="1083"/>
                  </a:lnTo>
                  <a:lnTo>
                    <a:pt x="2915" y="1078"/>
                  </a:lnTo>
                  <a:lnTo>
                    <a:pt x="2909" y="1075"/>
                  </a:lnTo>
                  <a:lnTo>
                    <a:pt x="2901" y="1071"/>
                  </a:lnTo>
                  <a:lnTo>
                    <a:pt x="2898" y="1067"/>
                  </a:lnTo>
                  <a:lnTo>
                    <a:pt x="2892" y="1051"/>
                  </a:lnTo>
                  <a:lnTo>
                    <a:pt x="2885" y="1042"/>
                  </a:lnTo>
                  <a:lnTo>
                    <a:pt x="2881" y="1037"/>
                  </a:lnTo>
                  <a:lnTo>
                    <a:pt x="2879" y="1032"/>
                  </a:lnTo>
                  <a:lnTo>
                    <a:pt x="2882" y="1030"/>
                  </a:lnTo>
                  <a:lnTo>
                    <a:pt x="2888" y="1028"/>
                  </a:lnTo>
                  <a:lnTo>
                    <a:pt x="2889" y="1020"/>
                  </a:lnTo>
                  <a:lnTo>
                    <a:pt x="2891" y="1012"/>
                  </a:lnTo>
                  <a:lnTo>
                    <a:pt x="2891" y="999"/>
                  </a:lnTo>
                  <a:lnTo>
                    <a:pt x="2892" y="987"/>
                  </a:lnTo>
                  <a:lnTo>
                    <a:pt x="2893" y="982"/>
                  </a:lnTo>
                  <a:lnTo>
                    <a:pt x="2892" y="979"/>
                  </a:lnTo>
                  <a:lnTo>
                    <a:pt x="2889" y="975"/>
                  </a:lnTo>
                  <a:lnTo>
                    <a:pt x="2885" y="977"/>
                  </a:lnTo>
                  <a:lnTo>
                    <a:pt x="2883" y="978"/>
                  </a:lnTo>
                  <a:lnTo>
                    <a:pt x="2878" y="975"/>
                  </a:lnTo>
                  <a:lnTo>
                    <a:pt x="2873" y="964"/>
                  </a:lnTo>
                  <a:lnTo>
                    <a:pt x="2872" y="952"/>
                  </a:lnTo>
                  <a:lnTo>
                    <a:pt x="2866" y="945"/>
                  </a:lnTo>
                  <a:lnTo>
                    <a:pt x="2862" y="941"/>
                  </a:lnTo>
                  <a:lnTo>
                    <a:pt x="2856" y="939"/>
                  </a:lnTo>
                  <a:lnTo>
                    <a:pt x="2850" y="939"/>
                  </a:lnTo>
                  <a:lnTo>
                    <a:pt x="2848" y="936"/>
                  </a:lnTo>
                  <a:lnTo>
                    <a:pt x="2845" y="921"/>
                  </a:lnTo>
                  <a:lnTo>
                    <a:pt x="2845" y="916"/>
                  </a:lnTo>
                  <a:lnTo>
                    <a:pt x="2853" y="903"/>
                  </a:lnTo>
                  <a:lnTo>
                    <a:pt x="2859" y="896"/>
                  </a:lnTo>
                  <a:lnTo>
                    <a:pt x="2860" y="895"/>
                  </a:lnTo>
                  <a:lnTo>
                    <a:pt x="2866" y="895"/>
                  </a:lnTo>
                  <a:lnTo>
                    <a:pt x="2870" y="899"/>
                  </a:lnTo>
                  <a:lnTo>
                    <a:pt x="2873" y="899"/>
                  </a:lnTo>
                  <a:lnTo>
                    <a:pt x="2873" y="889"/>
                  </a:lnTo>
                  <a:lnTo>
                    <a:pt x="2872" y="876"/>
                  </a:lnTo>
                  <a:lnTo>
                    <a:pt x="2869" y="865"/>
                  </a:lnTo>
                  <a:lnTo>
                    <a:pt x="2863" y="862"/>
                  </a:lnTo>
                  <a:lnTo>
                    <a:pt x="2856" y="862"/>
                  </a:lnTo>
                  <a:lnTo>
                    <a:pt x="2852" y="865"/>
                  </a:lnTo>
                  <a:lnTo>
                    <a:pt x="2848" y="858"/>
                  </a:lnTo>
                  <a:lnTo>
                    <a:pt x="2843" y="838"/>
                  </a:lnTo>
                  <a:lnTo>
                    <a:pt x="2858" y="829"/>
                  </a:lnTo>
                  <a:lnTo>
                    <a:pt x="2863" y="828"/>
                  </a:lnTo>
                  <a:lnTo>
                    <a:pt x="2870" y="830"/>
                  </a:lnTo>
                  <a:lnTo>
                    <a:pt x="2878" y="826"/>
                  </a:lnTo>
                  <a:lnTo>
                    <a:pt x="2879" y="818"/>
                  </a:lnTo>
                  <a:lnTo>
                    <a:pt x="2881" y="808"/>
                  </a:lnTo>
                  <a:lnTo>
                    <a:pt x="2882" y="805"/>
                  </a:lnTo>
                  <a:lnTo>
                    <a:pt x="2888" y="805"/>
                  </a:lnTo>
                  <a:lnTo>
                    <a:pt x="2893" y="800"/>
                  </a:lnTo>
                  <a:lnTo>
                    <a:pt x="2899" y="793"/>
                  </a:lnTo>
                  <a:lnTo>
                    <a:pt x="2911" y="780"/>
                  </a:lnTo>
                  <a:lnTo>
                    <a:pt x="2918" y="782"/>
                  </a:lnTo>
                  <a:lnTo>
                    <a:pt x="2925" y="780"/>
                  </a:lnTo>
                  <a:lnTo>
                    <a:pt x="2936" y="770"/>
                  </a:lnTo>
                  <a:lnTo>
                    <a:pt x="2948" y="762"/>
                  </a:lnTo>
                  <a:lnTo>
                    <a:pt x="2948" y="757"/>
                  </a:lnTo>
                  <a:lnTo>
                    <a:pt x="2945" y="747"/>
                  </a:lnTo>
                  <a:lnTo>
                    <a:pt x="2941" y="742"/>
                  </a:lnTo>
                  <a:lnTo>
                    <a:pt x="2941" y="739"/>
                  </a:lnTo>
                  <a:lnTo>
                    <a:pt x="2946" y="736"/>
                  </a:lnTo>
                  <a:lnTo>
                    <a:pt x="2965" y="734"/>
                  </a:lnTo>
                  <a:lnTo>
                    <a:pt x="2974" y="734"/>
                  </a:lnTo>
                  <a:lnTo>
                    <a:pt x="2979" y="737"/>
                  </a:lnTo>
                  <a:lnTo>
                    <a:pt x="2981" y="745"/>
                  </a:lnTo>
                  <a:lnTo>
                    <a:pt x="2984" y="745"/>
                  </a:lnTo>
                  <a:lnTo>
                    <a:pt x="2992" y="743"/>
                  </a:lnTo>
                  <a:lnTo>
                    <a:pt x="3002" y="740"/>
                  </a:lnTo>
                  <a:lnTo>
                    <a:pt x="3009" y="727"/>
                  </a:lnTo>
                  <a:lnTo>
                    <a:pt x="3009" y="723"/>
                  </a:lnTo>
                  <a:lnTo>
                    <a:pt x="3007" y="722"/>
                  </a:lnTo>
                  <a:lnTo>
                    <a:pt x="3001" y="717"/>
                  </a:lnTo>
                  <a:lnTo>
                    <a:pt x="3001" y="713"/>
                  </a:lnTo>
                  <a:lnTo>
                    <a:pt x="3001" y="706"/>
                  </a:lnTo>
                  <a:lnTo>
                    <a:pt x="3002" y="699"/>
                  </a:lnTo>
                  <a:lnTo>
                    <a:pt x="3001" y="693"/>
                  </a:lnTo>
                  <a:lnTo>
                    <a:pt x="3004" y="683"/>
                  </a:lnTo>
                  <a:lnTo>
                    <a:pt x="3007" y="679"/>
                  </a:lnTo>
                  <a:lnTo>
                    <a:pt x="3008" y="673"/>
                  </a:lnTo>
                  <a:lnTo>
                    <a:pt x="3012" y="666"/>
                  </a:lnTo>
                  <a:lnTo>
                    <a:pt x="3031" y="657"/>
                  </a:lnTo>
                  <a:lnTo>
                    <a:pt x="3031" y="653"/>
                  </a:lnTo>
                  <a:lnTo>
                    <a:pt x="3031" y="647"/>
                  </a:lnTo>
                  <a:lnTo>
                    <a:pt x="3028" y="644"/>
                  </a:lnTo>
                  <a:lnTo>
                    <a:pt x="3021" y="644"/>
                  </a:lnTo>
                  <a:lnTo>
                    <a:pt x="3009" y="643"/>
                  </a:lnTo>
                  <a:lnTo>
                    <a:pt x="3008" y="640"/>
                  </a:lnTo>
                  <a:lnTo>
                    <a:pt x="3008" y="630"/>
                  </a:lnTo>
                  <a:lnTo>
                    <a:pt x="3004" y="626"/>
                  </a:lnTo>
                  <a:lnTo>
                    <a:pt x="2997" y="624"/>
                  </a:lnTo>
                  <a:lnTo>
                    <a:pt x="2991" y="626"/>
                  </a:lnTo>
                  <a:lnTo>
                    <a:pt x="2985" y="626"/>
                  </a:lnTo>
                  <a:lnTo>
                    <a:pt x="2985" y="624"/>
                  </a:lnTo>
                  <a:lnTo>
                    <a:pt x="2984" y="613"/>
                  </a:lnTo>
                  <a:lnTo>
                    <a:pt x="2981" y="607"/>
                  </a:lnTo>
                  <a:lnTo>
                    <a:pt x="2972" y="593"/>
                  </a:lnTo>
                  <a:lnTo>
                    <a:pt x="2968" y="583"/>
                  </a:lnTo>
                  <a:lnTo>
                    <a:pt x="2965" y="576"/>
                  </a:lnTo>
                  <a:lnTo>
                    <a:pt x="2966" y="564"/>
                  </a:lnTo>
                  <a:lnTo>
                    <a:pt x="2966" y="564"/>
                  </a:lnTo>
                  <a:lnTo>
                    <a:pt x="2958" y="561"/>
                  </a:lnTo>
                  <a:lnTo>
                    <a:pt x="2948" y="555"/>
                  </a:lnTo>
                  <a:lnTo>
                    <a:pt x="2939" y="555"/>
                  </a:lnTo>
                  <a:lnTo>
                    <a:pt x="2936" y="554"/>
                  </a:lnTo>
                  <a:lnTo>
                    <a:pt x="2931" y="547"/>
                  </a:lnTo>
                  <a:lnTo>
                    <a:pt x="2923" y="545"/>
                  </a:lnTo>
                  <a:lnTo>
                    <a:pt x="2912" y="544"/>
                  </a:lnTo>
                  <a:lnTo>
                    <a:pt x="2888" y="554"/>
                  </a:lnTo>
                  <a:lnTo>
                    <a:pt x="2879" y="555"/>
                  </a:lnTo>
                  <a:lnTo>
                    <a:pt x="2868" y="555"/>
                  </a:lnTo>
                  <a:lnTo>
                    <a:pt x="2852" y="558"/>
                  </a:lnTo>
                  <a:lnTo>
                    <a:pt x="2849" y="555"/>
                  </a:lnTo>
                  <a:lnTo>
                    <a:pt x="2846" y="547"/>
                  </a:lnTo>
                  <a:lnTo>
                    <a:pt x="2842" y="545"/>
                  </a:lnTo>
                  <a:lnTo>
                    <a:pt x="2832" y="550"/>
                  </a:lnTo>
                  <a:lnTo>
                    <a:pt x="2826" y="548"/>
                  </a:lnTo>
                  <a:lnTo>
                    <a:pt x="2817" y="541"/>
                  </a:lnTo>
                  <a:lnTo>
                    <a:pt x="2810" y="531"/>
                  </a:lnTo>
                  <a:lnTo>
                    <a:pt x="2809" y="525"/>
                  </a:lnTo>
                  <a:lnTo>
                    <a:pt x="2810" y="521"/>
                  </a:lnTo>
                  <a:lnTo>
                    <a:pt x="2807" y="517"/>
                  </a:lnTo>
                  <a:lnTo>
                    <a:pt x="2802" y="513"/>
                  </a:lnTo>
                  <a:lnTo>
                    <a:pt x="2802" y="507"/>
                  </a:lnTo>
                  <a:lnTo>
                    <a:pt x="2803" y="501"/>
                  </a:lnTo>
                  <a:lnTo>
                    <a:pt x="2809" y="500"/>
                  </a:lnTo>
                  <a:lnTo>
                    <a:pt x="2812" y="494"/>
                  </a:lnTo>
                  <a:lnTo>
                    <a:pt x="2810" y="490"/>
                  </a:lnTo>
                  <a:lnTo>
                    <a:pt x="2803" y="485"/>
                  </a:lnTo>
                  <a:lnTo>
                    <a:pt x="2796" y="488"/>
                  </a:lnTo>
                  <a:lnTo>
                    <a:pt x="2792" y="490"/>
                  </a:lnTo>
                  <a:lnTo>
                    <a:pt x="2789" y="487"/>
                  </a:lnTo>
                  <a:lnTo>
                    <a:pt x="2789" y="481"/>
                  </a:lnTo>
                  <a:lnTo>
                    <a:pt x="2789" y="477"/>
                  </a:lnTo>
                  <a:lnTo>
                    <a:pt x="2782" y="465"/>
                  </a:lnTo>
                  <a:lnTo>
                    <a:pt x="2777" y="457"/>
                  </a:lnTo>
                  <a:lnTo>
                    <a:pt x="2777" y="452"/>
                  </a:lnTo>
                  <a:lnTo>
                    <a:pt x="2780" y="444"/>
                  </a:lnTo>
                  <a:lnTo>
                    <a:pt x="2783" y="428"/>
                  </a:lnTo>
                  <a:lnTo>
                    <a:pt x="2789" y="424"/>
                  </a:lnTo>
                  <a:lnTo>
                    <a:pt x="2792" y="421"/>
                  </a:lnTo>
                  <a:lnTo>
                    <a:pt x="2789" y="411"/>
                  </a:lnTo>
                  <a:lnTo>
                    <a:pt x="2790" y="405"/>
                  </a:lnTo>
                  <a:lnTo>
                    <a:pt x="2793" y="402"/>
                  </a:lnTo>
                  <a:lnTo>
                    <a:pt x="2793" y="392"/>
                  </a:lnTo>
                  <a:lnTo>
                    <a:pt x="2796" y="389"/>
                  </a:lnTo>
                  <a:lnTo>
                    <a:pt x="2803" y="386"/>
                  </a:lnTo>
                  <a:lnTo>
                    <a:pt x="2805" y="381"/>
                  </a:lnTo>
                  <a:lnTo>
                    <a:pt x="2812" y="378"/>
                  </a:lnTo>
                  <a:lnTo>
                    <a:pt x="2816" y="376"/>
                  </a:lnTo>
                  <a:lnTo>
                    <a:pt x="2816" y="375"/>
                  </a:lnTo>
                  <a:lnTo>
                    <a:pt x="2815" y="372"/>
                  </a:lnTo>
                  <a:lnTo>
                    <a:pt x="2809" y="368"/>
                  </a:lnTo>
                  <a:lnTo>
                    <a:pt x="2807" y="361"/>
                  </a:lnTo>
                  <a:lnTo>
                    <a:pt x="2815" y="354"/>
                  </a:lnTo>
                  <a:lnTo>
                    <a:pt x="2830" y="342"/>
                  </a:lnTo>
                  <a:lnTo>
                    <a:pt x="2836" y="329"/>
                  </a:lnTo>
                  <a:lnTo>
                    <a:pt x="2840" y="322"/>
                  </a:lnTo>
                  <a:lnTo>
                    <a:pt x="2845" y="305"/>
                  </a:lnTo>
                  <a:lnTo>
                    <a:pt x="2845" y="299"/>
                  </a:lnTo>
                  <a:lnTo>
                    <a:pt x="2843" y="283"/>
                  </a:lnTo>
                  <a:lnTo>
                    <a:pt x="2848" y="273"/>
                  </a:lnTo>
                  <a:lnTo>
                    <a:pt x="2852" y="265"/>
                  </a:lnTo>
                  <a:lnTo>
                    <a:pt x="2856" y="262"/>
                  </a:lnTo>
                  <a:lnTo>
                    <a:pt x="2863" y="258"/>
                  </a:lnTo>
                  <a:lnTo>
                    <a:pt x="2868" y="252"/>
                  </a:lnTo>
                  <a:lnTo>
                    <a:pt x="2881" y="245"/>
                  </a:lnTo>
                  <a:lnTo>
                    <a:pt x="2893" y="236"/>
                  </a:lnTo>
                  <a:lnTo>
                    <a:pt x="2898" y="233"/>
                  </a:lnTo>
                  <a:lnTo>
                    <a:pt x="2899" y="230"/>
                  </a:lnTo>
                  <a:lnTo>
                    <a:pt x="2896" y="225"/>
                  </a:lnTo>
                  <a:lnTo>
                    <a:pt x="2889" y="217"/>
                  </a:lnTo>
                  <a:lnTo>
                    <a:pt x="2876" y="207"/>
                  </a:lnTo>
                  <a:lnTo>
                    <a:pt x="2875" y="205"/>
                  </a:lnTo>
                  <a:lnTo>
                    <a:pt x="2875" y="196"/>
                  </a:lnTo>
                  <a:lnTo>
                    <a:pt x="2873" y="192"/>
                  </a:lnTo>
                  <a:lnTo>
                    <a:pt x="2869" y="187"/>
                  </a:lnTo>
                  <a:lnTo>
                    <a:pt x="2860" y="185"/>
                  </a:lnTo>
                  <a:lnTo>
                    <a:pt x="2856" y="185"/>
                  </a:lnTo>
                  <a:lnTo>
                    <a:pt x="2850" y="186"/>
                  </a:lnTo>
                  <a:lnTo>
                    <a:pt x="2838" y="177"/>
                  </a:lnTo>
                  <a:lnTo>
                    <a:pt x="2839" y="173"/>
                  </a:lnTo>
                  <a:lnTo>
                    <a:pt x="2842" y="170"/>
                  </a:lnTo>
                  <a:lnTo>
                    <a:pt x="2842" y="163"/>
                  </a:lnTo>
                  <a:lnTo>
                    <a:pt x="2839" y="160"/>
                  </a:lnTo>
                  <a:lnTo>
                    <a:pt x="2833" y="159"/>
                  </a:lnTo>
                  <a:lnTo>
                    <a:pt x="2829" y="160"/>
                  </a:lnTo>
                  <a:lnTo>
                    <a:pt x="2826" y="156"/>
                  </a:lnTo>
                  <a:lnTo>
                    <a:pt x="2819" y="160"/>
                  </a:lnTo>
                  <a:lnTo>
                    <a:pt x="2810" y="160"/>
                  </a:lnTo>
                  <a:lnTo>
                    <a:pt x="2802" y="153"/>
                  </a:lnTo>
                  <a:lnTo>
                    <a:pt x="2796" y="152"/>
                  </a:lnTo>
                  <a:lnTo>
                    <a:pt x="2790" y="152"/>
                  </a:lnTo>
                  <a:lnTo>
                    <a:pt x="2787" y="147"/>
                  </a:lnTo>
                  <a:lnTo>
                    <a:pt x="2792" y="143"/>
                  </a:lnTo>
                  <a:lnTo>
                    <a:pt x="2793" y="140"/>
                  </a:lnTo>
                  <a:lnTo>
                    <a:pt x="2789" y="136"/>
                  </a:lnTo>
                  <a:lnTo>
                    <a:pt x="2786" y="133"/>
                  </a:lnTo>
                  <a:lnTo>
                    <a:pt x="2783" y="126"/>
                  </a:lnTo>
                  <a:lnTo>
                    <a:pt x="2772" y="129"/>
                  </a:lnTo>
                  <a:lnTo>
                    <a:pt x="2763" y="124"/>
                  </a:lnTo>
                  <a:lnTo>
                    <a:pt x="2757" y="124"/>
                  </a:lnTo>
                  <a:lnTo>
                    <a:pt x="2756" y="124"/>
                  </a:lnTo>
                  <a:lnTo>
                    <a:pt x="2752" y="126"/>
                  </a:lnTo>
                  <a:lnTo>
                    <a:pt x="2750" y="126"/>
                  </a:lnTo>
                  <a:lnTo>
                    <a:pt x="2744" y="120"/>
                  </a:lnTo>
                  <a:lnTo>
                    <a:pt x="2742" y="117"/>
                  </a:lnTo>
                  <a:lnTo>
                    <a:pt x="2737" y="117"/>
                  </a:lnTo>
                  <a:lnTo>
                    <a:pt x="2732" y="117"/>
                  </a:lnTo>
                  <a:lnTo>
                    <a:pt x="2729" y="116"/>
                  </a:lnTo>
                  <a:lnTo>
                    <a:pt x="2729" y="113"/>
                  </a:lnTo>
                  <a:lnTo>
                    <a:pt x="2724" y="110"/>
                  </a:lnTo>
                  <a:lnTo>
                    <a:pt x="2719" y="103"/>
                  </a:lnTo>
                  <a:lnTo>
                    <a:pt x="2717" y="100"/>
                  </a:lnTo>
                  <a:lnTo>
                    <a:pt x="2712" y="111"/>
                  </a:lnTo>
                  <a:lnTo>
                    <a:pt x="2710" y="113"/>
                  </a:lnTo>
                  <a:lnTo>
                    <a:pt x="2712" y="116"/>
                  </a:lnTo>
                  <a:lnTo>
                    <a:pt x="2716" y="117"/>
                  </a:lnTo>
                  <a:lnTo>
                    <a:pt x="2716" y="122"/>
                  </a:lnTo>
                  <a:lnTo>
                    <a:pt x="2716" y="126"/>
                  </a:lnTo>
                  <a:lnTo>
                    <a:pt x="2719" y="133"/>
                  </a:lnTo>
                  <a:lnTo>
                    <a:pt x="2719" y="139"/>
                  </a:lnTo>
                  <a:lnTo>
                    <a:pt x="2717" y="144"/>
                  </a:lnTo>
                  <a:lnTo>
                    <a:pt x="2716" y="147"/>
                  </a:lnTo>
                  <a:lnTo>
                    <a:pt x="2717" y="154"/>
                  </a:lnTo>
                  <a:lnTo>
                    <a:pt x="2720" y="164"/>
                  </a:lnTo>
                  <a:lnTo>
                    <a:pt x="2722" y="172"/>
                  </a:lnTo>
                  <a:lnTo>
                    <a:pt x="2723" y="176"/>
                  </a:lnTo>
                  <a:lnTo>
                    <a:pt x="2727" y="176"/>
                  </a:lnTo>
                  <a:lnTo>
                    <a:pt x="2729" y="176"/>
                  </a:lnTo>
                  <a:lnTo>
                    <a:pt x="2730" y="176"/>
                  </a:lnTo>
                  <a:lnTo>
                    <a:pt x="2727" y="180"/>
                  </a:lnTo>
                  <a:lnTo>
                    <a:pt x="2727" y="182"/>
                  </a:lnTo>
                  <a:lnTo>
                    <a:pt x="2729" y="182"/>
                  </a:lnTo>
                  <a:lnTo>
                    <a:pt x="2733" y="182"/>
                  </a:lnTo>
                  <a:lnTo>
                    <a:pt x="2737" y="182"/>
                  </a:lnTo>
                  <a:lnTo>
                    <a:pt x="2740" y="185"/>
                  </a:lnTo>
                  <a:lnTo>
                    <a:pt x="2742" y="187"/>
                  </a:lnTo>
                  <a:lnTo>
                    <a:pt x="2743" y="192"/>
                  </a:lnTo>
                  <a:lnTo>
                    <a:pt x="2746" y="192"/>
                  </a:lnTo>
                  <a:lnTo>
                    <a:pt x="2750" y="192"/>
                  </a:lnTo>
                  <a:lnTo>
                    <a:pt x="2754" y="195"/>
                  </a:lnTo>
                  <a:lnTo>
                    <a:pt x="2759" y="197"/>
                  </a:lnTo>
                  <a:lnTo>
                    <a:pt x="2763" y="202"/>
                  </a:lnTo>
                  <a:lnTo>
                    <a:pt x="2767" y="203"/>
                  </a:lnTo>
                  <a:lnTo>
                    <a:pt x="2770" y="205"/>
                  </a:lnTo>
                  <a:lnTo>
                    <a:pt x="2773" y="206"/>
                  </a:lnTo>
                  <a:lnTo>
                    <a:pt x="2776" y="209"/>
                  </a:lnTo>
                  <a:lnTo>
                    <a:pt x="2780" y="210"/>
                  </a:lnTo>
                  <a:lnTo>
                    <a:pt x="2785" y="212"/>
                  </a:lnTo>
                  <a:lnTo>
                    <a:pt x="2787" y="215"/>
                  </a:lnTo>
                  <a:lnTo>
                    <a:pt x="2789" y="217"/>
                  </a:lnTo>
                  <a:lnTo>
                    <a:pt x="2789" y="220"/>
                  </a:lnTo>
                  <a:lnTo>
                    <a:pt x="2789" y="226"/>
                  </a:lnTo>
                  <a:lnTo>
                    <a:pt x="2790" y="230"/>
                  </a:lnTo>
                  <a:lnTo>
                    <a:pt x="2793" y="233"/>
                  </a:lnTo>
                  <a:lnTo>
                    <a:pt x="2795" y="236"/>
                  </a:lnTo>
                  <a:lnTo>
                    <a:pt x="2797" y="240"/>
                  </a:lnTo>
                  <a:lnTo>
                    <a:pt x="2799" y="245"/>
                  </a:lnTo>
                  <a:lnTo>
                    <a:pt x="2802" y="246"/>
                  </a:lnTo>
                  <a:lnTo>
                    <a:pt x="2805" y="248"/>
                  </a:lnTo>
                  <a:lnTo>
                    <a:pt x="2807" y="250"/>
                  </a:lnTo>
                  <a:lnTo>
                    <a:pt x="2810" y="252"/>
                  </a:lnTo>
                  <a:lnTo>
                    <a:pt x="2812" y="255"/>
                  </a:lnTo>
                  <a:lnTo>
                    <a:pt x="2815" y="260"/>
                  </a:lnTo>
                  <a:lnTo>
                    <a:pt x="2817" y="263"/>
                  </a:lnTo>
                  <a:lnTo>
                    <a:pt x="2820" y="269"/>
                  </a:lnTo>
                  <a:lnTo>
                    <a:pt x="2822" y="275"/>
                  </a:lnTo>
                  <a:lnTo>
                    <a:pt x="2822" y="276"/>
                  </a:lnTo>
                  <a:lnTo>
                    <a:pt x="2820" y="280"/>
                  </a:lnTo>
                  <a:lnTo>
                    <a:pt x="2817" y="285"/>
                  </a:lnTo>
                  <a:lnTo>
                    <a:pt x="2813" y="288"/>
                  </a:lnTo>
                  <a:lnTo>
                    <a:pt x="2807" y="293"/>
                  </a:lnTo>
                  <a:lnTo>
                    <a:pt x="2803" y="293"/>
                  </a:lnTo>
                  <a:lnTo>
                    <a:pt x="2806" y="291"/>
                  </a:lnTo>
                  <a:lnTo>
                    <a:pt x="2807" y="286"/>
                  </a:lnTo>
                  <a:lnTo>
                    <a:pt x="2815" y="280"/>
                  </a:lnTo>
                  <a:lnTo>
                    <a:pt x="2817" y="276"/>
                  </a:lnTo>
                  <a:lnTo>
                    <a:pt x="2819" y="272"/>
                  </a:lnTo>
                  <a:lnTo>
                    <a:pt x="2816" y="269"/>
                  </a:lnTo>
                  <a:lnTo>
                    <a:pt x="2810" y="263"/>
                  </a:lnTo>
                  <a:lnTo>
                    <a:pt x="2806" y="259"/>
                  </a:lnTo>
                  <a:lnTo>
                    <a:pt x="2803" y="256"/>
                  </a:lnTo>
                  <a:lnTo>
                    <a:pt x="2800" y="255"/>
                  </a:lnTo>
                  <a:lnTo>
                    <a:pt x="2797" y="252"/>
                  </a:lnTo>
                  <a:lnTo>
                    <a:pt x="2796" y="246"/>
                  </a:lnTo>
                  <a:lnTo>
                    <a:pt x="2792" y="242"/>
                  </a:lnTo>
                  <a:lnTo>
                    <a:pt x="2789" y="240"/>
                  </a:lnTo>
                  <a:lnTo>
                    <a:pt x="2787" y="239"/>
                  </a:lnTo>
                  <a:lnTo>
                    <a:pt x="2783" y="233"/>
                  </a:lnTo>
                  <a:lnTo>
                    <a:pt x="2780" y="226"/>
                  </a:lnTo>
                  <a:lnTo>
                    <a:pt x="2779" y="225"/>
                  </a:lnTo>
                  <a:lnTo>
                    <a:pt x="2775" y="223"/>
                  </a:lnTo>
                  <a:lnTo>
                    <a:pt x="2770" y="220"/>
                  </a:lnTo>
                  <a:lnTo>
                    <a:pt x="2767" y="220"/>
                  </a:lnTo>
                  <a:lnTo>
                    <a:pt x="2765" y="220"/>
                  </a:lnTo>
                  <a:lnTo>
                    <a:pt x="2760" y="222"/>
                  </a:lnTo>
                  <a:lnTo>
                    <a:pt x="2752" y="222"/>
                  </a:lnTo>
                  <a:lnTo>
                    <a:pt x="2750" y="225"/>
                  </a:lnTo>
                  <a:lnTo>
                    <a:pt x="2747" y="226"/>
                  </a:lnTo>
                  <a:lnTo>
                    <a:pt x="2746" y="227"/>
                  </a:lnTo>
                  <a:lnTo>
                    <a:pt x="2743" y="225"/>
                  </a:lnTo>
                  <a:lnTo>
                    <a:pt x="2739" y="222"/>
                  </a:lnTo>
                  <a:lnTo>
                    <a:pt x="2739" y="219"/>
                  </a:lnTo>
                  <a:lnTo>
                    <a:pt x="2736" y="215"/>
                  </a:lnTo>
                  <a:lnTo>
                    <a:pt x="2734" y="212"/>
                  </a:lnTo>
                  <a:lnTo>
                    <a:pt x="2732" y="210"/>
                  </a:lnTo>
                  <a:lnTo>
                    <a:pt x="2727" y="209"/>
                  </a:lnTo>
                  <a:lnTo>
                    <a:pt x="2724" y="207"/>
                  </a:lnTo>
                  <a:lnTo>
                    <a:pt x="2722" y="206"/>
                  </a:lnTo>
                  <a:lnTo>
                    <a:pt x="2719" y="205"/>
                  </a:lnTo>
                  <a:lnTo>
                    <a:pt x="2717" y="203"/>
                  </a:lnTo>
                  <a:lnTo>
                    <a:pt x="2714" y="199"/>
                  </a:lnTo>
                  <a:lnTo>
                    <a:pt x="2710" y="197"/>
                  </a:lnTo>
                  <a:lnTo>
                    <a:pt x="2704" y="193"/>
                  </a:lnTo>
                  <a:lnTo>
                    <a:pt x="2697" y="192"/>
                  </a:lnTo>
                  <a:lnTo>
                    <a:pt x="2694" y="190"/>
                  </a:lnTo>
                  <a:lnTo>
                    <a:pt x="2693" y="186"/>
                  </a:lnTo>
                  <a:lnTo>
                    <a:pt x="2690" y="185"/>
                  </a:lnTo>
                  <a:lnTo>
                    <a:pt x="2687" y="183"/>
                  </a:lnTo>
                  <a:lnTo>
                    <a:pt x="2686" y="183"/>
                  </a:lnTo>
                  <a:lnTo>
                    <a:pt x="2683" y="177"/>
                  </a:lnTo>
                  <a:lnTo>
                    <a:pt x="2680" y="176"/>
                  </a:lnTo>
                  <a:lnTo>
                    <a:pt x="2676" y="173"/>
                  </a:lnTo>
                  <a:lnTo>
                    <a:pt x="2670" y="173"/>
                  </a:lnTo>
                  <a:lnTo>
                    <a:pt x="2667" y="173"/>
                  </a:lnTo>
                  <a:lnTo>
                    <a:pt x="2667" y="175"/>
                  </a:lnTo>
                  <a:lnTo>
                    <a:pt x="2664" y="176"/>
                  </a:lnTo>
                  <a:lnTo>
                    <a:pt x="2664" y="179"/>
                  </a:lnTo>
                  <a:lnTo>
                    <a:pt x="2663" y="180"/>
                  </a:lnTo>
                  <a:lnTo>
                    <a:pt x="2659" y="182"/>
                  </a:lnTo>
                  <a:lnTo>
                    <a:pt x="2654" y="185"/>
                  </a:lnTo>
                  <a:lnTo>
                    <a:pt x="2650" y="186"/>
                  </a:lnTo>
                  <a:lnTo>
                    <a:pt x="2648" y="189"/>
                  </a:lnTo>
                  <a:lnTo>
                    <a:pt x="2647" y="195"/>
                  </a:lnTo>
                  <a:lnTo>
                    <a:pt x="2643" y="193"/>
                  </a:lnTo>
                  <a:lnTo>
                    <a:pt x="2637" y="196"/>
                  </a:lnTo>
                  <a:lnTo>
                    <a:pt x="2636" y="196"/>
                  </a:lnTo>
                  <a:lnTo>
                    <a:pt x="2633" y="199"/>
                  </a:lnTo>
                  <a:lnTo>
                    <a:pt x="2628" y="202"/>
                  </a:lnTo>
                  <a:lnTo>
                    <a:pt x="2626" y="203"/>
                  </a:lnTo>
                  <a:lnTo>
                    <a:pt x="2620" y="205"/>
                  </a:lnTo>
                  <a:lnTo>
                    <a:pt x="2614" y="207"/>
                  </a:lnTo>
                  <a:lnTo>
                    <a:pt x="2610" y="206"/>
                  </a:lnTo>
                  <a:lnTo>
                    <a:pt x="2608" y="206"/>
                  </a:lnTo>
                  <a:lnTo>
                    <a:pt x="2604" y="206"/>
                  </a:lnTo>
                  <a:lnTo>
                    <a:pt x="2596" y="203"/>
                  </a:lnTo>
                  <a:lnTo>
                    <a:pt x="2590" y="195"/>
                  </a:lnTo>
                  <a:lnTo>
                    <a:pt x="2587" y="186"/>
                  </a:lnTo>
                  <a:lnTo>
                    <a:pt x="2583" y="182"/>
                  </a:lnTo>
                  <a:lnTo>
                    <a:pt x="2577" y="173"/>
                  </a:lnTo>
                  <a:lnTo>
                    <a:pt x="2575" y="170"/>
                  </a:lnTo>
                  <a:lnTo>
                    <a:pt x="2573" y="173"/>
                  </a:lnTo>
                  <a:lnTo>
                    <a:pt x="2571" y="175"/>
                  </a:lnTo>
                  <a:lnTo>
                    <a:pt x="2568" y="175"/>
                  </a:lnTo>
                  <a:lnTo>
                    <a:pt x="2570" y="172"/>
                  </a:lnTo>
                  <a:lnTo>
                    <a:pt x="2571" y="170"/>
                  </a:lnTo>
                  <a:lnTo>
                    <a:pt x="2571" y="169"/>
                  </a:lnTo>
                  <a:lnTo>
                    <a:pt x="2567" y="159"/>
                  </a:lnTo>
                  <a:lnTo>
                    <a:pt x="2564" y="152"/>
                  </a:lnTo>
                  <a:lnTo>
                    <a:pt x="2558" y="147"/>
                  </a:lnTo>
                  <a:lnTo>
                    <a:pt x="2553" y="143"/>
                  </a:lnTo>
                  <a:lnTo>
                    <a:pt x="2535" y="139"/>
                  </a:lnTo>
                  <a:lnTo>
                    <a:pt x="2520" y="130"/>
                  </a:lnTo>
                  <a:lnTo>
                    <a:pt x="2515" y="129"/>
                  </a:lnTo>
                  <a:lnTo>
                    <a:pt x="2505" y="126"/>
                  </a:lnTo>
                  <a:lnTo>
                    <a:pt x="2482" y="123"/>
                  </a:lnTo>
                  <a:lnTo>
                    <a:pt x="2475" y="126"/>
                  </a:lnTo>
                  <a:lnTo>
                    <a:pt x="2472" y="126"/>
                  </a:lnTo>
                  <a:lnTo>
                    <a:pt x="2442" y="134"/>
                  </a:lnTo>
                  <a:lnTo>
                    <a:pt x="2432" y="139"/>
                  </a:lnTo>
                  <a:lnTo>
                    <a:pt x="2422" y="142"/>
                  </a:lnTo>
                  <a:lnTo>
                    <a:pt x="2421" y="143"/>
                  </a:lnTo>
                  <a:lnTo>
                    <a:pt x="2415" y="144"/>
                  </a:lnTo>
                  <a:lnTo>
                    <a:pt x="2414" y="146"/>
                  </a:lnTo>
                  <a:lnTo>
                    <a:pt x="2401" y="153"/>
                  </a:lnTo>
                  <a:lnTo>
                    <a:pt x="2386" y="159"/>
                  </a:lnTo>
                  <a:lnTo>
                    <a:pt x="2368" y="175"/>
                  </a:lnTo>
                  <a:lnTo>
                    <a:pt x="2351" y="189"/>
                  </a:lnTo>
                  <a:lnTo>
                    <a:pt x="2342" y="197"/>
                  </a:lnTo>
                  <a:lnTo>
                    <a:pt x="2338" y="203"/>
                  </a:lnTo>
                  <a:lnTo>
                    <a:pt x="2336" y="209"/>
                  </a:lnTo>
                  <a:lnTo>
                    <a:pt x="2333" y="213"/>
                  </a:lnTo>
                  <a:lnTo>
                    <a:pt x="2329" y="213"/>
                  </a:lnTo>
                  <a:lnTo>
                    <a:pt x="2325" y="215"/>
                  </a:lnTo>
                  <a:lnTo>
                    <a:pt x="2321" y="222"/>
                  </a:lnTo>
                  <a:lnTo>
                    <a:pt x="2315" y="226"/>
                  </a:lnTo>
                  <a:lnTo>
                    <a:pt x="2311" y="229"/>
                  </a:lnTo>
                  <a:lnTo>
                    <a:pt x="2309" y="232"/>
                  </a:lnTo>
                  <a:lnTo>
                    <a:pt x="2306" y="239"/>
                  </a:lnTo>
                  <a:lnTo>
                    <a:pt x="2303" y="243"/>
                  </a:lnTo>
                  <a:lnTo>
                    <a:pt x="2300" y="248"/>
                  </a:lnTo>
                  <a:lnTo>
                    <a:pt x="2300" y="253"/>
                  </a:lnTo>
                  <a:lnTo>
                    <a:pt x="2302" y="258"/>
                  </a:lnTo>
                  <a:lnTo>
                    <a:pt x="2299" y="255"/>
                  </a:lnTo>
                  <a:lnTo>
                    <a:pt x="2295" y="256"/>
                  </a:lnTo>
                  <a:lnTo>
                    <a:pt x="2292" y="268"/>
                  </a:lnTo>
                  <a:lnTo>
                    <a:pt x="2286" y="275"/>
                  </a:lnTo>
                  <a:lnTo>
                    <a:pt x="2282" y="282"/>
                  </a:lnTo>
                  <a:lnTo>
                    <a:pt x="2279" y="292"/>
                  </a:lnTo>
                  <a:lnTo>
                    <a:pt x="2273" y="299"/>
                  </a:lnTo>
                  <a:lnTo>
                    <a:pt x="2270" y="311"/>
                  </a:lnTo>
                  <a:lnTo>
                    <a:pt x="2263" y="322"/>
                  </a:lnTo>
                  <a:lnTo>
                    <a:pt x="2259" y="336"/>
                  </a:lnTo>
                  <a:lnTo>
                    <a:pt x="2259" y="338"/>
                  </a:lnTo>
                  <a:lnTo>
                    <a:pt x="2255" y="344"/>
                  </a:lnTo>
                  <a:lnTo>
                    <a:pt x="2253" y="349"/>
                  </a:lnTo>
                  <a:lnTo>
                    <a:pt x="2252" y="351"/>
                  </a:lnTo>
                  <a:lnTo>
                    <a:pt x="2250" y="348"/>
                  </a:lnTo>
                  <a:lnTo>
                    <a:pt x="2249" y="354"/>
                  </a:lnTo>
                  <a:lnTo>
                    <a:pt x="2246" y="358"/>
                  </a:lnTo>
                  <a:lnTo>
                    <a:pt x="2242" y="358"/>
                  </a:lnTo>
                  <a:lnTo>
                    <a:pt x="2239" y="361"/>
                  </a:lnTo>
                  <a:lnTo>
                    <a:pt x="2237" y="365"/>
                  </a:lnTo>
                  <a:lnTo>
                    <a:pt x="2239" y="369"/>
                  </a:lnTo>
                  <a:lnTo>
                    <a:pt x="2235" y="371"/>
                  </a:lnTo>
                  <a:lnTo>
                    <a:pt x="2230" y="379"/>
                  </a:lnTo>
                  <a:lnTo>
                    <a:pt x="2223" y="386"/>
                  </a:lnTo>
                  <a:lnTo>
                    <a:pt x="2217" y="392"/>
                  </a:lnTo>
                  <a:lnTo>
                    <a:pt x="2216" y="396"/>
                  </a:lnTo>
                  <a:lnTo>
                    <a:pt x="2217" y="401"/>
                  </a:lnTo>
                  <a:lnTo>
                    <a:pt x="2222" y="407"/>
                  </a:lnTo>
                  <a:lnTo>
                    <a:pt x="2222" y="408"/>
                  </a:lnTo>
                  <a:lnTo>
                    <a:pt x="2220" y="409"/>
                  </a:lnTo>
                  <a:lnTo>
                    <a:pt x="2217" y="407"/>
                  </a:lnTo>
                  <a:lnTo>
                    <a:pt x="2215" y="401"/>
                  </a:lnTo>
                  <a:lnTo>
                    <a:pt x="2212" y="399"/>
                  </a:lnTo>
                  <a:lnTo>
                    <a:pt x="2207" y="399"/>
                  </a:lnTo>
                  <a:lnTo>
                    <a:pt x="2206" y="401"/>
                  </a:lnTo>
                  <a:lnTo>
                    <a:pt x="2205" y="401"/>
                  </a:lnTo>
                  <a:lnTo>
                    <a:pt x="2199" y="405"/>
                  </a:lnTo>
                  <a:lnTo>
                    <a:pt x="2192" y="407"/>
                  </a:lnTo>
                  <a:lnTo>
                    <a:pt x="2180" y="408"/>
                  </a:lnTo>
                  <a:lnTo>
                    <a:pt x="2179" y="409"/>
                  </a:lnTo>
                  <a:lnTo>
                    <a:pt x="2176" y="409"/>
                  </a:lnTo>
                  <a:lnTo>
                    <a:pt x="2170" y="415"/>
                  </a:lnTo>
                  <a:lnTo>
                    <a:pt x="2167" y="415"/>
                  </a:lnTo>
                  <a:lnTo>
                    <a:pt x="2163" y="415"/>
                  </a:lnTo>
                  <a:lnTo>
                    <a:pt x="2160" y="415"/>
                  </a:lnTo>
                  <a:lnTo>
                    <a:pt x="2162" y="414"/>
                  </a:lnTo>
                  <a:lnTo>
                    <a:pt x="2167" y="411"/>
                  </a:lnTo>
                  <a:lnTo>
                    <a:pt x="2172" y="405"/>
                  </a:lnTo>
                  <a:lnTo>
                    <a:pt x="2174" y="404"/>
                  </a:lnTo>
                  <a:lnTo>
                    <a:pt x="2179" y="402"/>
                  </a:lnTo>
                  <a:lnTo>
                    <a:pt x="2179" y="401"/>
                  </a:lnTo>
                  <a:lnTo>
                    <a:pt x="2180" y="398"/>
                  </a:lnTo>
                  <a:lnTo>
                    <a:pt x="2180" y="395"/>
                  </a:lnTo>
                  <a:lnTo>
                    <a:pt x="2179" y="394"/>
                  </a:lnTo>
                  <a:lnTo>
                    <a:pt x="2172" y="391"/>
                  </a:lnTo>
                  <a:lnTo>
                    <a:pt x="2164" y="389"/>
                  </a:lnTo>
                  <a:lnTo>
                    <a:pt x="2163" y="389"/>
                  </a:lnTo>
                  <a:lnTo>
                    <a:pt x="2154" y="389"/>
                  </a:lnTo>
                  <a:lnTo>
                    <a:pt x="2150" y="388"/>
                  </a:lnTo>
                  <a:lnTo>
                    <a:pt x="2143" y="386"/>
                  </a:lnTo>
                  <a:lnTo>
                    <a:pt x="2139" y="386"/>
                  </a:lnTo>
                  <a:lnTo>
                    <a:pt x="2142" y="384"/>
                  </a:lnTo>
                  <a:lnTo>
                    <a:pt x="2142" y="382"/>
                  </a:lnTo>
                  <a:lnTo>
                    <a:pt x="2137" y="382"/>
                  </a:lnTo>
                  <a:lnTo>
                    <a:pt x="2130" y="382"/>
                  </a:lnTo>
                  <a:lnTo>
                    <a:pt x="2127" y="379"/>
                  </a:lnTo>
                  <a:lnTo>
                    <a:pt x="2123" y="378"/>
                  </a:lnTo>
                  <a:lnTo>
                    <a:pt x="2117" y="379"/>
                  </a:lnTo>
                  <a:lnTo>
                    <a:pt x="2111" y="381"/>
                  </a:lnTo>
                  <a:lnTo>
                    <a:pt x="2107" y="385"/>
                  </a:lnTo>
                  <a:lnTo>
                    <a:pt x="2103" y="386"/>
                  </a:lnTo>
                  <a:lnTo>
                    <a:pt x="2100" y="388"/>
                  </a:lnTo>
                  <a:lnTo>
                    <a:pt x="2096" y="389"/>
                  </a:lnTo>
                  <a:lnTo>
                    <a:pt x="2094" y="388"/>
                  </a:lnTo>
                  <a:lnTo>
                    <a:pt x="2090" y="388"/>
                  </a:lnTo>
                  <a:lnTo>
                    <a:pt x="2089" y="391"/>
                  </a:lnTo>
                  <a:lnTo>
                    <a:pt x="2089" y="395"/>
                  </a:lnTo>
                  <a:lnTo>
                    <a:pt x="2087" y="402"/>
                  </a:lnTo>
                  <a:lnTo>
                    <a:pt x="2087" y="407"/>
                  </a:lnTo>
                  <a:lnTo>
                    <a:pt x="2089" y="414"/>
                  </a:lnTo>
                  <a:lnTo>
                    <a:pt x="2089" y="415"/>
                  </a:lnTo>
                  <a:lnTo>
                    <a:pt x="2089" y="418"/>
                  </a:lnTo>
                  <a:lnTo>
                    <a:pt x="2086" y="418"/>
                  </a:lnTo>
                  <a:lnTo>
                    <a:pt x="2084" y="412"/>
                  </a:lnTo>
                  <a:lnTo>
                    <a:pt x="2080" y="409"/>
                  </a:lnTo>
                  <a:lnTo>
                    <a:pt x="2080" y="407"/>
                  </a:lnTo>
                  <a:lnTo>
                    <a:pt x="2078" y="404"/>
                  </a:lnTo>
                  <a:lnTo>
                    <a:pt x="2078" y="404"/>
                  </a:lnTo>
                  <a:lnTo>
                    <a:pt x="2077" y="405"/>
                  </a:lnTo>
                  <a:lnTo>
                    <a:pt x="2076" y="408"/>
                  </a:lnTo>
                  <a:lnTo>
                    <a:pt x="2077" y="409"/>
                  </a:lnTo>
                  <a:lnTo>
                    <a:pt x="2077" y="414"/>
                  </a:lnTo>
                  <a:lnTo>
                    <a:pt x="2078" y="418"/>
                  </a:lnTo>
                  <a:lnTo>
                    <a:pt x="2078" y="422"/>
                  </a:lnTo>
                  <a:lnTo>
                    <a:pt x="2078" y="428"/>
                  </a:lnTo>
                  <a:lnTo>
                    <a:pt x="2078" y="432"/>
                  </a:lnTo>
                  <a:lnTo>
                    <a:pt x="2076" y="435"/>
                  </a:lnTo>
                  <a:lnTo>
                    <a:pt x="2074" y="438"/>
                  </a:lnTo>
                  <a:lnTo>
                    <a:pt x="2073" y="438"/>
                  </a:lnTo>
                  <a:lnTo>
                    <a:pt x="2071" y="438"/>
                  </a:lnTo>
                  <a:lnTo>
                    <a:pt x="2073" y="434"/>
                  </a:lnTo>
                  <a:lnTo>
                    <a:pt x="2073" y="432"/>
                  </a:lnTo>
                  <a:lnTo>
                    <a:pt x="2073" y="429"/>
                  </a:lnTo>
                  <a:lnTo>
                    <a:pt x="2071" y="427"/>
                  </a:lnTo>
                  <a:lnTo>
                    <a:pt x="2071" y="424"/>
                  </a:lnTo>
                  <a:lnTo>
                    <a:pt x="2073" y="422"/>
                  </a:lnTo>
                  <a:lnTo>
                    <a:pt x="2074" y="422"/>
                  </a:lnTo>
                  <a:lnTo>
                    <a:pt x="2076" y="418"/>
                  </a:lnTo>
                  <a:lnTo>
                    <a:pt x="2074" y="414"/>
                  </a:lnTo>
                  <a:lnTo>
                    <a:pt x="2074" y="409"/>
                  </a:lnTo>
                  <a:lnTo>
                    <a:pt x="2070" y="404"/>
                  </a:lnTo>
                  <a:lnTo>
                    <a:pt x="2070" y="398"/>
                  </a:lnTo>
                  <a:lnTo>
                    <a:pt x="2068" y="395"/>
                  </a:lnTo>
                  <a:lnTo>
                    <a:pt x="2068" y="392"/>
                  </a:lnTo>
                  <a:lnTo>
                    <a:pt x="2064" y="394"/>
                  </a:lnTo>
                  <a:lnTo>
                    <a:pt x="2061" y="392"/>
                  </a:lnTo>
                  <a:lnTo>
                    <a:pt x="2061" y="391"/>
                  </a:lnTo>
                  <a:lnTo>
                    <a:pt x="2060" y="389"/>
                  </a:lnTo>
                  <a:lnTo>
                    <a:pt x="2057" y="394"/>
                  </a:lnTo>
                  <a:lnTo>
                    <a:pt x="2057" y="396"/>
                  </a:lnTo>
                  <a:lnTo>
                    <a:pt x="2057" y="399"/>
                  </a:lnTo>
                  <a:lnTo>
                    <a:pt x="2057" y="399"/>
                  </a:lnTo>
                  <a:lnTo>
                    <a:pt x="2057" y="401"/>
                  </a:lnTo>
                  <a:lnTo>
                    <a:pt x="2056" y="402"/>
                  </a:lnTo>
                  <a:lnTo>
                    <a:pt x="2054" y="398"/>
                  </a:lnTo>
                  <a:lnTo>
                    <a:pt x="2051" y="399"/>
                  </a:lnTo>
                  <a:lnTo>
                    <a:pt x="2051" y="402"/>
                  </a:lnTo>
                  <a:lnTo>
                    <a:pt x="2048" y="402"/>
                  </a:lnTo>
                  <a:lnTo>
                    <a:pt x="2044" y="407"/>
                  </a:lnTo>
                  <a:lnTo>
                    <a:pt x="2043" y="411"/>
                  </a:lnTo>
                  <a:lnTo>
                    <a:pt x="2044" y="417"/>
                  </a:lnTo>
                  <a:lnTo>
                    <a:pt x="2043" y="417"/>
                  </a:lnTo>
                  <a:lnTo>
                    <a:pt x="2041" y="412"/>
                  </a:lnTo>
                  <a:lnTo>
                    <a:pt x="2038" y="412"/>
                  </a:lnTo>
                  <a:lnTo>
                    <a:pt x="2036" y="412"/>
                  </a:lnTo>
                  <a:lnTo>
                    <a:pt x="2033" y="414"/>
                  </a:lnTo>
                  <a:lnTo>
                    <a:pt x="2033" y="411"/>
                  </a:lnTo>
                  <a:lnTo>
                    <a:pt x="2025" y="407"/>
                  </a:lnTo>
                  <a:lnTo>
                    <a:pt x="2021" y="405"/>
                  </a:lnTo>
                  <a:lnTo>
                    <a:pt x="2018" y="398"/>
                  </a:lnTo>
                  <a:lnTo>
                    <a:pt x="2015" y="398"/>
                  </a:lnTo>
                  <a:lnTo>
                    <a:pt x="2013" y="399"/>
                  </a:lnTo>
                  <a:lnTo>
                    <a:pt x="2011" y="405"/>
                  </a:lnTo>
                  <a:lnTo>
                    <a:pt x="2010" y="409"/>
                  </a:lnTo>
                  <a:lnTo>
                    <a:pt x="2004" y="412"/>
                  </a:lnTo>
                  <a:lnTo>
                    <a:pt x="2000" y="415"/>
                  </a:lnTo>
                  <a:lnTo>
                    <a:pt x="1997" y="417"/>
                  </a:lnTo>
                  <a:lnTo>
                    <a:pt x="1993" y="415"/>
                  </a:lnTo>
                  <a:lnTo>
                    <a:pt x="1990" y="417"/>
                  </a:lnTo>
                  <a:lnTo>
                    <a:pt x="1990" y="419"/>
                  </a:lnTo>
                  <a:lnTo>
                    <a:pt x="1987" y="421"/>
                  </a:lnTo>
                  <a:lnTo>
                    <a:pt x="1984" y="421"/>
                  </a:lnTo>
                  <a:lnTo>
                    <a:pt x="1983" y="422"/>
                  </a:lnTo>
                  <a:lnTo>
                    <a:pt x="1983" y="427"/>
                  </a:lnTo>
                  <a:lnTo>
                    <a:pt x="1983" y="429"/>
                  </a:lnTo>
                  <a:lnTo>
                    <a:pt x="1981" y="429"/>
                  </a:lnTo>
                  <a:lnTo>
                    <a:pt x="1981" y="429"/>
                  </a:lnTo>
                  <a:lnTo>
                    <a:pt x="1977" y="431"/>
                  </a:lnTo>
                  <a:lnTo>
                    <a:pt x="1975" y="434"/>
                  </a:lnTo>
                  <a:lnTo>
                    <a:pt x="1974" y="435"/>
                  </a:lnTo>
                  <a:lnTo>
                    <a:pt x="1974" y="432"/>
                  </a:lnTo>
                  <a:lnTo>
                    <a:pt x="1974" y="429"/>
                  </a:lnTo>
                  <a:lnTo>
                    <a:pt x="1974" y="428"/>
                  </a:lnTo>
                  <a:lnTo>
                    <a:pt x="1977" y="427"/>
                  </a:lnTo>
                  <a:lnTo>
                    <a:pt x="1978" y="424"/>
                  </a:lnTo>
                  <a:lnTo>
                    <a:pt x="1975" y="419"/>
                  </a:lnTo>
                  <a:lnTo>
                    <a:pt x="1974" y="418"/>
                  </a:lnTo>
                  <a:lnTo>
                    <a:pt x="1973" y="417"/>
                  </a:lnTo>
                  <a:lnTo>
                    <a:pt x="1970" y="418"/>
                  </a:lnTo>
                  <a:lnTo>
                    <a:pt x="1967" y="419"/>
                  </a:lnTo>
                  <a:lnTo>
                    <a:pt x="1967" y="418"/>
                  </a:lnTo>
                  <a:lnTo>
                    <a:pt x="1971" y="414"/>
                  </a:lnTo>
                  <a:lnTo>
                    <a:pt x="1974" y="412"/>
                  </a:lnTo>
                  <a:lnTo>
                    <a:pt x="1975" y="408"/>
                  </a:lnTo>
                  <a:lnTo>
                    <a:pt x="1975" y="407"/>
                  </a:lnTo>
                  <a:lnTo>
                    <a:pt x="1974" y="402"/>
                  </a:lnTo>
                  <a:lnTo>
                    <a:pt x="1974" y="398"/>
                  </a:lnTo>
                  <a:lnTo>
                    <a:pt x="1975" y="395"/>
                  </a:lnTo>
                  <a:lnTo>
                    <a:pt x="1974" y="392"/>
                  </a:lnTo>
                  <a:lnTo>
                    <a:pt x="1974" y="389"/>
                  </a:lnTo>
                  <a:lnTo>
                    <a:pt x="1975" y="388"/>
                  </a:lnTo>
                  <a:lnTo>
                    <a:pt x="1978" y="388"/>
                  </a:lnTo>
                  <a:lnTo>
                    <a:pt x="1984" y="391"/>
                  </a:lnTo>
                  <a:lnTo>
                    <a:pt x="1987" y="394"/>
                  </a:lnTo>
                  <a:lnTo>
                    <a:pt x="1990" y="394"/>
                  </a:lnTo>
                  <a:lnTo>
                    <a:pt x="1993" y="394"/>
                  </a:lnTo>
                  <a:lnTo>
                    <a:pt x="1997" y="396"/>
                  </a:lnTo>
                  <a:lnTo>
                    <a:pt x="2000" y="396"/>
                  </a:lnTo>
                  <a:lnTo>
                    <a:pt x="2000" y="392"/>
                  </a:lnTo>
                  <a:lnTo>
                    <a:pt x="2001" y="382"/>
                  </a:lnTo>
                  <a:lnTo>
                    <a:pt x="2003" y="378"/>
                  </a:lnTo>
                  <a:lnTo>
                    <a:pt x="2003" y="372"/>
                  </a:lnTo>
                  <a:lnTo>
                    <a:pt x="1997" y="365"/>
                  </a:lnTo>
                  <a:lnTo>
                    <a:pt x="1990" y="361"/>
                  </a:lnTo>
                  <a:lnTo>
                    <a:pt x="1985" y="358"/>
                  </a:lnTo>
                  <a:lnTo>
                    <a:pt x="1981" y="356"/>
                  </a:lnTo>
                  <a:lnTo>
                    <a:pt x="1977" y="352"/>
                  </a:lnTo>
                  <a:lnTo>
                    <a:pt x="1967" y="349"/>
                  </a:lnTo>
                  <a:lnTo>
                    <a:pt x="1955" y="348"/>
                  </a:lnTo>
                  <a:lnTo>
                    <a:pt x="1950" y="349"/>
                  </a:lnTo>
                  <a:lnTo>
                    <a:pt x="1948" y="348"/>
                  </a:lnTo>
                  <a:lnTo>
                    <a:pt x="1938" y="351"/>
                  </a:lnTo>
                  <a:lnTo>
                    <a:pt x="1925" y="355"/>
                  </a:lnTo>
                  <a:lnTo>
                    <a:pt x="1914" y="359"/>
                  </a:lnTo>
                  <a:lnTo>
                    <a:pt x="1914" y="359"/>
                  </a:lnTo>
                  <a:lnTo>
                    <a:pt x="1904" y="364"/>
                  </a:lnTo>
                  <a:lnTo>
                    <a:pt x="1891" y="368"/>
                  </a:lnTo>
                  <a:lnTo>
                    <a:pt x="1881" y="372"/>
                  </a:lnTo>
                  <a:lnTo>
                    <a:pt x="1875" y="378"/>
                  </a:lnTo>
                  <a:lnTo>
                    <a:pt x="1867" y="386"/>
                  </a:lnTo>
                  <a:lnTo>
                    <a:pt x="1858" y="392"/>
                  </a:lnTo>
                  <a:lnTo>
                    <a:pt x="1848" y="399"/>
                  </a:lnTo>
                  <a:lnTo>
                    <a:pt x="1845" y="405"/>
                  </a:lnTo>
                  <a:lnTo>
                    <a:pt x="1839" y="414"/>
                  </a:lnTo>
                  <a:lnTo>
                    <a:pt x="1838" y="419"/>
                  </a:lnTo>
                  <a:lnTo>
                    <a:pt x="1839" y="435"/>
                  </a:lnTo>
                  <a:lnTo>
                    <a:pt x="1839" y="442"/>
                  </a:lnTo>
                  <a:lnTo>
                    <a:pt x="1845" y="454"/>
                  </a:lnTo>
                  <a:lnTo>
                    <a:pt x="1846" y="461"/>
                  </a:lnTo>
                  <a:lnTo>
                    <a:pt x="1848" y="470"/>
                  </a:lnTo>
                  <a:lnTo>
                    <a:pt x="1851" y="481"/>
                  </a:lnTo>
                  <a:lnTo>
                    <a:pt x="1851" y="482"/>
                  </a:lnTo>
                  <a:lnTo>
                    <a:pt x="1852" y="494"/>
                  </a:lnTo>
                  <a:lnTo>
                    <a:pt x="1852" y="501"/>
                  </a:lnTo>
                  <a:lnTo>
                    <a:pt x="1852" y="507"/>
                  </a:lnTo>
                  <a:lnTo>
                    <a:pt x="1852" y="523"/>
                  </a:lnTo>
                  <a:lnTo>
                    <a:pt x="1849" y="531"/>
                  </a:lnTo>
                  <a:lnTo>
                    <a:pt x="1845" y="537"/>
                  </a:lnTo>
                  <a:lnTo>
                    <a:pt x="1844" y="537"/>
                  </a:lnTo>
                  <a:lnTo>
                    <a:pt x="1841" y="537"/>
                  </a:lnTo>
                  <a:lnTo>
                    <a:pt x="1841" y="544"/>
                  </a:lnTo>
                  <a:lnTo>
                    <a:pt x="1841" y="548"/>
                  </a:lnTo>
                  <a:lnTo>
                    <a:pt x="1839" y="551"/>
                  </a:lnTo>
                  <a:lnTo>
                    <a:pt x="1838" y="555"/>
                  </a:lnTo>
                  <a:lnTo>
                    <a:pt x="1838" y="558"/>
                  </a:lnTo>
                  <a:lnTo>
                    <a:pt x="1841" y="560"/>
                  </a:lnTo>
                  <a:lnTo>
                    <a:pt x="1844" y="563"/>
                  </a:lnTo>
                  <a:lnTo>
                    <a:pt x="1841" y="563"/>
                  </a:lnTo>
                  <a:lnTo>
                    <a:pt x="1836" y="561"/>
                  </a:lnTo>
                  <a:lnTo>
                    <a:pt x="1834" y="557"/>
                  </a:lnTo>
                  <a:lnTo>
                    <a:pt x="1832" y="557"/>
                  </a:lnTo>
                  <a:lnTo>
                    <a:pt x="1829" y="558"/>
                  </a:lnTo>
                  <a:lnTo>
                    <a:pt x="1829" y="561"/>
                  </a:lnTo>
                  <a:lnTo>
                    <a:pt x="1828" y="563"/>
                  </a:lnTo>
                  <a:lnTo>
                    <a:pt x="1826" y="561"/>
                  </a:lnTo>
                  <a:lnTo>
                    <a:pt x="1824" y="563"/>
                  </a:lnTo>
                  <a:lnTo>
                    <a:pt x="1825" y="565"/>
                  </a:lnTo>
                  <a:lnTo>
                    <a:pt x="1825" y="567"/>
                  </a:lnTo>
                  <a:lnTo>
                    <a:pt x="1822" y="565"/>
                  </a:lnTo>
                  <a:lnTo>
                    <a:pt x="1821" y="564"/>
                  </a:lnTo>
                  <a:lnTo>
                    <a:pt x="1819" y="564"/>
                  </a:lnTo>
                  <a:lnTo>
                    <a:pt x="1819" y="564"/>
                  </a:lnTo>
                  <a:lnTo>
                    <a:pt x="1815" y="564"/>
                  </a:lnTo>
                  <a:lnTo>
                    <a:pt x="1814" y="564"/>
                  </a:lnTo>
                  <a:lnTo>
                    <a:pt x="1815" y="561"/>
                  </a:lnTo>
                  <a:lnTo>
                    <a:pt x="1815" y="558"/>
                  </a:lnTo>
                  <a:lnTo>
                    <a:pt x="1812" y="560"/>
                  </a:lnTo>
                  <a:lnTo>
                    <a:pt x="1808" y="560"/>
                  </a:lnTo>
                  <a:lnTo>
                    <a:pt x="1806" y="560"/>
                  </a:lnTo>
                  <a:lnTo>
                    <a:pt x="1809" y="555"/>
                  </a:lnTo>
                  <a:lnTo>
                    <a:pt x="1812" y="553"/>
                  </a:lnTo>
                  <a:lnTo>
                    <a:pt x="1812" y="547"/>
                  </a:lnTo>
                  <a:lnTo>
                    <a:pt x="1814" y="545"/>
                  </a:lnTo>
                  <a:lnTo>
                    <a:pt x="1814" y="541"/>
                  </a:lnTo>
                  <a:lnTo>
                    <a:pt x="1812" y="538"/>
                  </a:lnTo>
                  <a:lnTo>
                    <a:pt x="1809" y="537"/>
                  </a:lnTo>
                  <a:lnTo>
                    <a:pt x="1806" y="538"/>
                  </a:lnTo>
                  <a:lnTo>
                    <a:pt x="1804" y="537"/>
                  </a:lnTo>
                  <a:lnTo>
                    <a:pt x="1799" y="535"/>
                  </a:lnTo>
                  <a:lnTo>
                    <a:pt x="1793" y="533"/>
                  </a:lnTo>
                  <a:lnTo>
                    <a:pt x="1792" y="531"/>
                  </a:lnTo>
                  <a:lnTo>
                    <a:pt x="1792" y="528"/>
                  </a:lnTo>
                  <a:lnTo>
                    <a:pt x="1796" y="530"/>
                  </a:lnTo>
                  <a:lnTo>
                    <a:pt x="1801" y="531"/>
                  </a:lnTo>
                  <a:lnTo>
                    <a:pt x="1802" y="528"/>
                  </a:lnTo>
                  <a:lnTo>
                    <a:pt x="1804" y="527"/>
                  </a:lnTo>
                  <a:lnTo>
                    <a:pt x="1808" y="528"/>
                  </a:lnTo>
                  <a:lnTo>
                    <a:pt x="1812" y="528"/>
                  </a:lnTo>
                  <a:lnTo>
                    <a:pt x="1814" y="531"/>
                  </a:lnTo>
                  <a:lnTo>
                    <a:pt x="1816" y="531"/>
                  </a:lnTo>
                  <a:lnTo>
                    <a:pt x="1816" y="527"/>
                  </a:lnTo>
                  <a:lnTo>
                    <a:pt x="1819" y="524"/>
                  </a:lnTo>
                  <a:lnTo>
                    <a:pt x="1821" y="521"/>
                  </a:lnTo>
                  <a:lnTo>
                    <a:pt x="1822" y="515"/>
                  </a:lnTo>
                  <a:lnTo>
                    <a:pt x="1822" y="514"/>
                  </a:lnTo>
                  <a:lnTo>
                    <a:pt x="1825" y="513"/>
                  </a:lnTo>
                  <a:lnTo>
                    <a:pt x="1828" y="513"/>
                  </a:lnTo>
                  <a:lnTo>
                    <a:pt x="1828" y="510"/>
                  </a:lnTo>
                  <a:lnTo>
                    <a:pt x="1828" y="505"/>
                  </a:lnTo>
                  <a:lnTo>
                    <a:pt x="1825" y="502"/>
                  </a:lnTo>
                  <a:lnTo>
                    <a:pt x="1822" y="501"/>
                  </a:lnTo>
                  <a:lnTo>
                    <a:pt x="1821" y="498"/>
                  </a:lnTo>
                  <a:lnTo>
                    <a:pt x="1819" y="497"/>
                  </a:lnTo>
                  <a:lnTo>
                    <a:pt x="1819" y="494"/>
                  </a:lnTo>
                  <a:lnTo>
                    <a:pt x="1816" y="492"/>
                  </a:lnTo>
                  <a:lnTo>
                    <a:pt x="1815" y="492"/>
                  </a:lnTo>
                  <a:lnTo>
                    <a:pt x="1815" y="494"/>
                  </a:lnTo>
                  <a:lnTo>
                    <a:pt x="1812" y="497"/>
                  </a:lnTo>
                  <a:lnTo>
                    <a:pt x="1811" y="498"/>
                  </a:lnTo>
                  <a:lnTo>
                    <a:pt x="1809" y="497"/>
                  </a:lnTo>
                  <a:lnTo>
                    <a:pt x="1805" y="494"/>
                  </a:lnTo>
                  <a:lnTo>
                    <a:pt x="1802" y="491"/>
                  </a:lnTo>
                  <a:lnTo>
                    <a:pt x="1802" y="488"/>
                  </a:lnTo>
                  <a:lnTo>
                    <a:pt x="1802" y="485"/>
                  </a:lnTo>
                  <a:lnTo>
                    <a:pt x="1801" y="482"/>
                  </a:lnTo>
                  <a:lnTo>
                    <a:pt x="1799" y="481"/>
                  </a:lnTo>
                  <a:lnTo>
                    <a:pt x="1799" y="478"/>
                  </a:lnTo>
                  <a:lnTo>
                    <a:pt x="1802" y="477"/>
                  </a:lnTo>
                  <a:lnTo>
                    <a:pt x="1802" y="477"/>
                  </a:lnTo>
                  <a:lnTo>
                    <a:pt x="1801" y="475"/>
                  </a:lnTo>
                  <a:lnTo>
                    <a:pt x="1798" y="475"/>
                  </a:lnTo>
                  <a:lnTo>
                    <a:pt x="1796" y="474"/>
                  </a:lnTo>
                  <a:lnTo>
                    <a:pt x="1796" y="472"/>
                  </a:lnTo>
                  <a:lnTo>
                    <a:pt x="1796" y="470"/>
                  </a:lnTo>
                  <a:lnTo>
                    <a:pt x="1793" y="470"/>
                  </a:lnTo>
                  <a:lnTo>
                    <a:pt x="1793" y="471"/>
                  </a:lnTo>
                  <a:lnTo>
                    <a:pt x="1792" y="475"/>
                  </a:lnTo>
                  <a:lnTo>
                    <a:pt x="1785" y="477"/>
                  </a:lnTo>
                  <a:lnTo>
                    <a:pt x="1783" y="477"/>
                  </a:lnTo>
                  <a:lnTo>
                    <a:pt x="1779" y="477"/>
                  </a:lnTo>
                  <a:lnTo>
                    <a:pt x="1781" y="472"/>
                  </a:lnTo>
                  <a:lnTo>
                    <a:pt x="1786" y="472"/>
                  </a:lnTo>
                  <a:lnTo>
                    <a:pt x="1788" y="470"/>
                  </a:lnTo>
                  <a:lnTo>
                    <a:pt x="1791" y="465"/>
                  </a:lnTo>
                  <a:lnTo>
                    <a:pt x="1795" y="467"/>
                  </a:lnTo>
                  <a:lnTo>
                    <a:pt x="1798" y="467"/>
                  </a:lnTo>
                  <a:lnTo>
                    <a:pt x="1802" y="467"/>
                  </a:lnTo>
                  <a:lnTo>
                    <a:pt x="1804" y="467"/>
                  </a:lnTo>
                  <a:lnTo>
                    <a:pt x="1805" y="468"/>
                  </a:lnTo>
                  <a:lnTo>
                    <a:pt x="1805" y="471"/>
                  </a:lnTo>
                  <a:lnTo>
                    <a:pt x="1804" y="471"/>
                  </a:lnTo>
                  <a:lnTo>
                    <a:pt x="1804" y="471"/>
                  </a:lnTo>
                  <a:lnTo>
                    <a:pt x="1804" y="474"/>
                  </a:lnTo>
                  <a:lnTo>
                    <a:pt x="1805" y="475"/>
                  </a:lnTo>
                  <a:lnTo>
                    <a:pt x="1808" y="477"/>
                  </a:lnTo>
                  <a:lnTo>
                    <a:pt x="1808" y="475"/>
                  </a:lnTo>
                  <a:lnTo>
                    <a:pt x="1808" y="470"/>
                  </a:lnTo>
                  <a:lnTo>
                    <a:pt x="1805" y="464"/>
                  </a:lnTo>
                  <a:lnTo>
                    <a:pt x="1806" y="462"/>
                  </a:lnTo>
                  <a:lnTo>
                    <a:pt x="1809" y="464"/>
                  </a:lnTo>
                  <a:lnTo>
                    <a:pt x="1811" y="468"/>
                  </a:lnTo>
                  <a:lnTo>
                    <a:pt x="1809" y="471"/>
                  </a:lnTo>
                  <a:lnTo>
                    <a:pt x="1811" y="474"/>
                  </a:lnTo>
                  <a:lnTo>
                    <a:pt x="1814" y="478"/>
                  </a:lnTo>
                  <a:lnTo>
                    <a:pt x="1818" y="482"/>
                  </a:lnTo>
                  <a:lnTo>
                    <a:pt x="1819" y="482"/>
                  </a:lnTo>
                  <a:lnTo>
                    <a:pt x="1819" y="481"/>
                  </a:lnTo>
                  <a:lnTo>
                    <a:pt x="1818" y="478"/>
                  </a:lnTo>
                  <a:lnTo>
                    <a:pt x="1816" y="475"/>
                  </a:lnTo>
                  <a:lnTo>
                    <a:pt x="1818" y="472"/>
                  </a:lnTo>
                  <a:lnTo>
                    <a:pt x="1816" y="472"/>
                  </a:lnTo>
                  <a:lnTo>
                    <a:pt x="1814" y="472"/>
                  </a:lnTo>
                  <a:lnTo>
                    <a:pt x="1814" y="468"/>
                  </a:lnTo>
                  <a:lnTo>
                    <a:pt x="1814" y="467"/>
                  </a:lnTo>
                  <a:lnTo>
                    <a:pt x="1816" y="467"/>
                  </a:lnTo>
                  <a:lnTo>
                    <a:pt x="1816" y="462"/>
                  </a:lnTo>
                  <a:lnTo>
                    <a:pt x="1818" y="461"/>
                  </a:lnTo>
                  <a:lnTo>
                    <a:pt x="1821" y="464"/>
                  </a:lnTo>
                  <a:lnTo>
                    <a:pt x="1822" y="464"/>
                  </a:lnTo>
                  <a:lnTo>
                    <a:pt x="1824" y="465"/>
                  </a:lnTo>
                  <a:lnTo>
                    <a:pt x="1826" y="464"/>
                  </a:lnTo>
                  <a:lnTo>
                    <a:pt x="1826" y="465"/>
                  </a:lnTo>
                  <a:lnTo>
                    <a:pt x="1828" y="468"/>
                  </a:lnTo>
                  <a:lnTo>
                    <a:pt x="1829" y="471"/>
                  </a:lnTo>
                  <a:lnTo>
                    <a:pt x="1828" y="477"/>
                  </a:lnTo>
                  <a:lnTo>
                    <a:pt x="1828" y="481"/>
                  </a:lnTo>
                  <a:lnTo>
                    <a:pt x="1832" y="488"/>
                  </a:lnTo>
                  <a:lnTo>
                    <a:pt x="1832" y="492"/>
                  </a:lnTo>
                  <a:lnTo>
                    <a:pt x="1831" y="492"/>
                  </a:lnTo>
                  <a:lnTo>
                    <a:pt x="1826" y="487"/>
                  </a:lnTo>
                  <a:lnTo>
                    <a:pt x="1824" y="484"/>
                  </a:lnTo>
                  <a:lnTo>
                    <a:pt x="1822" y="484"/>
                  </a:lnTo>
                  <a:lnTo>
                    <a:pt x="1822" y="487"/>
                  </a:lnTo>
                  <a:lnTo>
                    <a:pt x="1826" y="492"/>
                  </a:lnTo>
                  <a:lnTo>
                    <a:pt x="1832" y="498"/>
                  </a:lnTo>
                  <a:lnTo>
                    <a:pt x="1838" y="504"/>
                  </a:lnTo>
                  <a:lnTo>
                    <a:pt x="1839" y="508"/>
                  </a:lnTo>
                  <a:lnTo>
                    <a:pt x="1842" y="510"/>
                  </a:lnTo>
                  <a:lnTo>
                    <a:pt x="1842" y="505"/>
                  </a:lnTo>
                  <a:lnTo>
                    <a:pt x="1841" y="494"/>
                  </a:lnTo>
                  <a:lnTo>
                    <a:pt x="1841" y="488"/>
                  </a:lnTo>
                  <a:lnTo>
                    <a:pt x="1841" y="484"/>
                  </a:lnTo>
                  <a:lnTo>
                    <a:pt x="1841" y="481"/>
                  </a:lnTo>
                  <a:lnTo>
                    <a:pt x="1836" y="480"/>
                  </a:lnTo>
                  <a:lnTo>
                    <a:pt x="1836" y="478"/>
                  </a:lnTo>
                  <a:lnTo>
                    <a:pt x="1841" y="477"/>
                  </a:lnTo>
                  <a:lnTo>
                    <a:pt x="1841" y="472"/>
                  </a:lnTo>
                  <a:lnTo>
                    <a:pt x="1841" y="464"/>
                  </a:lnTo>
                  <a:lnTo>
                    <a:pt x="1838" y="452"/>
                  </a:lnTo>
                  <a:lnTo>
                    <a:pt x="1835" y="444"/>
                  </a:lnTo>
                  <a:lnTo>
                    <a:pt x="1835" y="444"/>
                  </a:lnTo>
                  <a:lnTo>
                    <a:pt x="1834" y="435"/>
                  </a:lnTo>
                  <a:lnTo>
                    <a:pt x="1834" y="428"/>
                  </a:lnTo>
                  <a:lnTo>
                    <a:pt x="1831" y="422"/>
                  </a:lnTo>
                  <a:lnTo>
                    <a:pt x="1829" y="421"/>
                  </a:lnTo>
                  <a:lnTo>
                    <a:pt x="1826" y="419"/>
                  </a:lnTo>
                  <a:lnTo>
                    <a:pt x="1822" y="427"/>
                  </a:lnTo>
                  <a:lnTo>
                    <a:pt x="1818" y="429"/>
                  </a:lnTo>
                  <a:lnTo>
                    <a:pt x="1818" y="431"/>
                  </a:lnTo>
                  <a:lnTo>
                    <a:pt x="1812" y="437"/>
                  </a:lnTo>
                  <a:lnTo>
                    <a:pt x="1806" y="442"/>
                  </a:lnTo>
                  <a:lnTo>
                    <a:pt x="1802" y="447"/>
                  </a:lnTo>
                  <a:lnTo>
                    <a:pt x="1801" y="449"/>
                  </a:lnTo>
                  <a:lnTo>
                    <a:pt x="1801" y="449"/>
                  </a:lnTo>
                  <a:lnTo>
                    <a:pt x="1792" y="457"/>
                  </a:lnTo>
                  <a:lnTo>
                    <a:pt x="1781" y="470"/>
                  </a:lnTo>
                  <a:lnTo>
                    <a:pt x="1773" y="477"/>
                  </a:lnTo>
                  <a:lnTo>
                    <a:pt x="1769" y="482"/>
                  </a:lnTo>
                  <a:lnTo>
                    <a:pt x="1762" y="490"/>
                  </a:lnTo>
                  <a:lnTo>
                    <a:pt x="1761" y="494"/>
                  </a:lnTo>
                  <a:lnTo>
                    <a:pt x="1758" y="497"/>
                  </a:lnTo>
                  <a:lnTo>
                    <a:pt x="1756" y="500"/>
                  </a:lnTo>
                  <a:lnTo>
                    <a:pt x="1755" y="501"/>
                  </a:lnTo>
                  <a:lnTo>
                    <a:pt x="1755" y="508"/>
                  </a:lnTo>
                  <a:lnTo>
                    <a:pt x="1752" y="511"/>
                  </a:lnTo>
                  <a:lnTo>
                    <a:pt x="1751" y="518"/>
                  </a:lnTo>
                  <a:lnTo>
                    <a:pt x="1748" y="520"/>
                  </a:lnTo>
                  <a:lnTo>
                    <a:pt x="1742" y="521"/>
                  </a:lnTo>
                  <a:lnTo>
                    <a:pt x="1736" y="520"/>
                  </a:lnTo>
                  <a:lnTo>
                    <a:pt x="1732" y="518"/>
                  </a:lnTo>
                  <a:lnTo>
                    <a:pt x="1728" y="517"/>
                  </a:lnTo>
                  <a:lnTo>
                    <a:pt x="1728" y="514"/>
                  </a:lnTo>
                  <a:lnTo>
                    <a:pt x="1729" y="511"/>
                  </a:lnTo>
                  <a:lnTo>
                    <a:pt x="1730" y="510"/>
                  </a:lnTo>
                  <a:lnTo>
                    <a:pt x="1732" y="510"/>
                  </a:lnTo>
                  <a:lnTo>
                    <a:pt x="1735" y="508"/>
                  </a:lnTo>
                  <a:lnTo>
                    <a:pt x="1739" y="511"/>
                  </a:lnTo>
                  <a:lnTo>
                    <a:pt x="1742" y="511"/>
                  </a:lnTo>
                  <a:lnTo>
                    <a:pt x="1743" y="508"/>
                  </a:lnTo>
                  <a:lnTo>
                    <a:pt x="1742" y="504"/>
                  </a:lnTo>
                  <a:lnTo>
                    <a:pt x="1740" y="495"/>
                  </a:lnTo>
                  <a:lnTo>
                    <a:pt x="1739" y="484"/>
                  </a:lnTo>
                  <a:lnTo>
                    <a:pt x="1738" y="477"/>
                  </a:lnTo>
                  <a:lnTo>
                    <a:pt x="1740" y="475"/>
                  </a:lnTo>
                  <a:lnTo>
                    <a:pt x="1740" y="465"/>
                  </a:lnTo>
                  <a:lnTo>
                    <a:pt x="1746" y="465"/>
                  </a:lnTo>
                  <a:lnTo>
                    <a:pt x="1749" y="465"/>
                  </a:lnTo>
                  <a:lnTo>
                    <a:pt x="1751" y="462"/>
                  </a:lnTo>
                  <a:lnTo>
                    <a:pt x="1751" y="461"/>
                  </a:lnTo>
                  <a:lnTo>
                    <a:pt x="1752" y="461"/>
                  </a:lnTo>
                  <a:lnTo>
                    <a:pt x="1756" y="461"/>
                  </a:lnTo>
                  <a:lnTo>
                    <a:pt x="1762" y="462"/>
                  </a:lnTo>
                  <a:lnTo>
                    <a:pt x="1765" y="464"/>
                  </a:lnTo>
                  <a:lnTo>
                    <a:pt x="1768" y="460"/>
                  </a:lnTo>
                  <a:lnTo>
                    <a:pt x="1773" y="458"/>
                  </a:lnTo>
                  <a:lnTo>
                    <a:pt x="1782" y="452"/>
                  </a:lnTo>
                  <a:lnTo>
                    <a:pt x="1786" y="448"/>
                  </a:lnTo>
                  <a:lnTo>
                    <a:pt x="1795" y="441"/>
                  </a:lnTo>
                  <a:lnTo>
                    <a:pt x="1805" y="434"/>
                  </a:lnTo>
                  <a:lnTo>
                    <a:pt x="1808" y="429"/>
                  </a:lnTo>
                  <a:lnTo>
                    <a:pt x="1811" y="428"/>
                  </a:lnTo>
                  <a:lnTo>
                    <a:pt x="1816" y="424"/>
                  </a:lnTo>
                  <a:lnTo>
                    <a:pt x="1822" y="422"/>
                  </a:lnTo>
                  <a:lnTo>
                    <a:pt x="1822" y="419"/>
                  </a:lnTo>
                  <a:lnTo>
                    <a:pt x="1818" y="419"/>
                  </a:lnTo>
                  <a:lnTo>
                    <a:pt x="1814" y="419"/>
                  </a:lnTo>
                  <a:lnTo>
                    <a:pt x="1808" y="421"/>
                  </a:lnTo>
                  <a:lnTo>
                    <a:pt x="1805" y="422"/>
                  </a:lnTo>
                  <a:lnTo>
                    <a:pt x="1799" y="422"/>
                  </a:lnTo>
                  <a:lnTo>
                    <a:pt x="1793" y="424"/>
                  </a:lnTo>
                  <a:lnTo>
                    <a:pt x="1789" y="427"/>
                  </a:lnTo>
                  <a:lnTo>
                    <a:pt x="1781" y="427"/>
                  </a:lnTo>
                  <a:lnTo>
                    <a:pt x="1773" y="431"/>
                  </a:lnTo>
                  <a:lnTo>
                    <a:pt x="1771" y="432"/>
                  </a:lnTo>
                  <a:lnTo>
                    <a:pt x="1765" y="434"/>
                  </a:lnTo>
                  <a:lnTo>
                    <a:pt x="1751" y="437"/>
                  </a:lnTo>
                  <a:lnTo>
                    <a:pt x="1738" y="441"/>
                  </a:lnTo>
                  <a:lnTo>
                    <a:pt x="1715" y="452"/>
                  </a:lnTo>
                  <a:lnTo>
                    <a:pt x="1702" y="457"/>
                  </a:lnTo>
                  <a:lnTo>
                    <a:pt x="1687" y="462"/>
                  </a:lnTo>
                  <a:lnTo>
                    <a:pt x="1679" y="467"/>
                  </a:lnTo>
                  <a:lnTo>
                    <a:pt x="1669" y="477"/>
                  </a:lnTo>
                  <a:lnTo>
                    <a:pt x="1667" y="477"/>
                  </a:lnTo>
                  <a:lnTo>
                    <a:pt x="1663" y="478"/>
                  </a:lnTo>
                  <a:lnTo>
                    <a:pt x="1656" y="480"/>
                  </a:lnTo>
                  <a:lnTo>
                    <a:pt x="1652" y="482"/>
                  </a:lnTo>
                  <a:lnTo>
                    <a:pt x="1642" y="490"/>
                  </a:lnTo>
                  <a:lnTo>
                    <a:pt x="1633" y="495"/>
                  </a:lnTo>
                  <a:lnTo>
                    <a:pt x="1624" y="502"/>
                  </a:lnTo>
                  <a:lnTo>
                    <a:pt x="1616" y="508"/>
                  </a:lnTo>
                  <a:lnTo>
                    <a:pt x="1596" y="520"/>
                  </a:lnTo>
                  <a:lnTo>
                    <a:pt x="1579" y="528"/>
                  </a:lnTo>
                  <a:lnTo>
                    <a:pt x="1569" y="528"/>
                  </a:lnTo>
                  <a:lnTo>
                    <a:pt x="1559" y="525"/>
                  </a:lnTo>
                  <a:lnTo>
                    <a:pt x="1553" y="525"/>
                  </a:lnTo>
                  <a:lnTo>
                    <a:pt x="1550" y="527"/>
                  </a:lnTo>
                  <a:lnTo>
                    <a:pt x="1540" y="531"/>
                  </a:lnTo>
                  <a:lnTo>
                    <a:pt x="1529" y="533"/>
                  </a:lnTo>
                  <a:lnTo>
                    <a:pt x="1526" y="535"/>
                  </a:lnTo>
                  <a:lnTo>
                    <a:pt x="1524" y="538"/>
                  </a:lnTo>
                  <a:lnTo>
                    <a:pt x="1526" y="541"/>
                  </a:lnTo>
                  <a:lnTo>
                    <a:pt x="1529" y="544"/>
                  </a:lnTo>
                  <a:lnTo>
                    <a:pt x="1536" y="548"/>
                  </a:lnTo>
                  <a:lnTo>
                    <a:pt x="1537" y="550"/>
                  </a:lnTo>
                  <a:lnTo>
                    <a:pt x="1543" y="550"/>
                  </a:lnTo>
                  <a:lnTo>
                    <a:pt x="1544" y="550"/>
                  </a:lnTo>
                  <a:lnTo>
                    <a:pt x="1547" y="551"/>
                  </a:lnTo>
                  <a:lnTo>
                    <a:pt x="1550" y="553"/>
                  </a:lnTo>
                  <a:lnTo>
                    <a:pt x="1553" y="554"/>
                  </a:lnTo>
                  <a:lnTo>
                    <a:pt x="1557" y="554"/>
                  </a:lnTo>
                  <a:lnTo>
                    <a:pt x="1560" y="557"/>
                  </a:lnTo>
                  <a:lnTo>
                    <a:pt x="1561" y="558"/>
                  </a:lnTo>
                  <a:lnTo>
                    <a:pt x="1563" y="564"/>
                  </a:lnTo>
                  <a:lnTo>
                    <a:pt x="1564" y="570"/>
                  </a:lnTo>
                  <a:lnTo>
                    <a:pt x="1566" y="570"/>
                  </a:lnTo>
                  <a:lnTo>
                    <a:pt x="1569" y="568"/>
                  </a:lnTo>
                  <a:lnTo>
                    <a:pt x="1570" y="567"/>
                  </a:lnTo>
                  <a:lnTo>
                    <a:pt x="1574" y="565"/>
                  </a:lnTo>
                  <a:lnTo>
                    <a:pt x="1574" y="567"/>
                  </a:lnTo>
                  <a:lnTo>
                    <a:pt x="1573" y="570"/>
                  </a:lnTo>
                  <a:lnTo>
                    <a:pt x="1570" y="571"/>
                  </a:lnTo>
                  <a:lnTo>
                    <a:pt x="1567" y="577"/>
                  </a:lnTo>
                  <a:lnTo>
                    <a:pt x="1566" y="584"/>
                  </a:lnTo>
                  <a:lnTo>
                    <a:pt x="1566" y="586"/>
                  </a:lnTo>
                  <a:lnTo>
                    <a:pt x="1563" y="590"/>
                  </a:lnTo>
                  <a:lnTo>
                    <a:pt x="1559" y="596"/>
                  </a:lnTo>
                  <a:lnTo>
                    <a:pt x="1554" y="601"/>
                  </a:lnTo>
                  <a:lnTo>
                    <a:pt x="1547" y="606"/>
                  </a:lnTo>
                  <a:lnTo>
                    <a:pt x="1543" y="611"/>
                  </a:lnTo>
                  <a:lnTo>
                    <a:pt x="1536" y="614"/>
                  </a:lnTo>
                  <a:lnTo>
                    <a:pt x="1526" y="616"/>
                  </a:lnTo>
                  <a:lnTo>
                    <a:pt x="1521" y="620"/>
                  </a:lnTo>
                  <a:lnTo>
                    <a:pt x="1517" y="623"/>
                  </a:lnTo>
                  <a:lnTo>
                    <a:pt x="1517" y="629"/>
                  </a:lnTo>
                  <a:lnTo>
                    <a:pt x="1517" y="634"/>
                  </a:lnTo>
                  <a:lnTo>
                    <a:pt x="1517" y="640"/>
                  </a:lnTo>
                  <a:lnTo>
                    <a:pt x="1520" y="640"/>
                  </a:lnTo>
                  <a:lnTo>
                    <a:pt x="1521" y="639"/>
                  </a:lnTo>
                  <a:lnTo>
                    <a:pt x="1526" y="639"/>
                  </a:lnTo>
                  <a:lnTo>
                    <a:pt x="1529" y="640"/>
                  </a:lnTo>
                  <a:lnTo>
                    <a:pt x="1526" y="641"/>
                  </a:lnTo>
                  <a:lnTo>
                    <a:pt x="1523" y="641"/>
                  </a:lnTo>
                  <a:lnTo>
                    <a:pt x="1520" y="643"/>
                  </a:lnTo>
                  <a:lnTo>
                    <a:pt x="1516" y="643"/>
                  </a:lnTo>
                  <a:lnTo>
                    <a:pt x="1516" y="649"/>
                  </a:lnTo>
                  <a:lnTo>
                    <a:pt x="1517" y="654"/>
                  </a:lnTo>
                  <a:lnTo>
                    <a:pt x="1516" y="659"/>
                  </a:lnTo>
                  <a:lnTo>
                    <a:pt x="1517" y="666"/>
                  </a:lnTo>
                  <a:lnTo>
                    <a:pt x="1520" y="673"/>
                  </a:lnTo>
                  <a:lnTo>
                    <a:pt x="1527" y="679"/>
                  </a:lnTo>
                  <a:lnTo>
                    <a:pt x="1534" y="683"/>
                  </a:lnTo>
                  <a:lnTo>
                    <a:pt x="1541" y="683"/>
                  </a:lnTo>
                  <a:lnTo>
                    <a:pt x="1544" y="683"/>
                  </a:lnTo>
                  <a:lnTo>
                    <a:pt x="1546" y="682"/>
                  </a:lnTo>
                  <a:lnTo>
                    <a:pt x="1544" y="680"/>
                  </a:lnTo>
                  <a:lnTo>
                    <a:pt x="1539" y="680"/>
                  </a:lnTo>
                  <a:lnTo>
                    <a:pt x="1537" y="679"/>
                  </a:lnTo>
                  <a:lnTo>
                    <a:pt x="1534" y="679"/>
                  </a:lnTo>
                  <a:lnTo>
                    <a:pt x="1537" y="677"/>
                  </a:lnTo>
                  <a:lnTo>
                    <a:pt x="1541" y="677"/>
                  </a:lnTo>
                  <a:lnTo>
                    <a:pt x="1544" y="676"/>
                  </a:lnTo>
                  <a:lnTo>
                    <a:pt x="1544" y="674"/>
                  </a:lnTo>
                  <a:lnTo>
                    <a:pt x="1549" y="671"/>
                  </a:lnTo>
                  <a:lnTo>
                    <a:pt x="1549" y="670"/>
                  </a:lnTo>
                  <a:lnTo>
                    <a:pt x="1549" y="670"/>
                  </a:lnTo>
                  <a:lnTo>
                    <a:pt x="1546" y="669"/>
                  </a:lnTo>
                  <a:lnTo>
                    <a:pt x="1541" y="671"/>
                  </a:lnTo>
                  <a:lnTo>
                    <a:pt x="1540" y="673"/>
                  </a:lnTo>
                  <a:lnTo>
                    <a:pt x="1540" y="670"/>
                  </a:lnTo>
                  <a:lnTo>
                    <a:pt x="1543" y="666"/>
                  </a:lnTo>
                  <a:lnTo>
                    <a:pt x="1544" y="663"/>
                  </a:lnTo>
                  <a:lnTo>
                    <a:pt x="1546" y="660"/>
                  </a:lnTo>
                  <a:lnTo>
                    <a:pt x="1547" y="657"/>
                  </a:lnTo>
                  <a:lnTo>
                    <a:pt x="1554" y="654"/>
                  </a:lnTo>
                  <a:lnTo>
                    <a:pt x="1559" y="651"/>
                  </a:lnTo>
                  <a:lnTo>
                    <a:pt x="1560" y="649"/>
                  </a:lnTo>
                  <a:lnTo>
                    <a:pt x="1560" y="646"/>
                  </a:lnTo>
                  <a:lnTo>
                    <a:pt x="1564" y="647"/>
                  </a:lnTo>
                  <a:lnTo>
                    <a:pt x="1566" y="647"/>
                  </a:lnTo>
                  <a:lnTo>
                    <a:pt x="1569" y="644"/>
                  </a:lnTo>
                  <a:lnTo>
                    <a:pt x="1571" y="646"/>
                  </a:lnTo>
                  <a:lnTo>
                    <a:pt x="1573" y="647"/>
                  </a:lnTo>
                  <a:lnTo>
                    <a:pt x="1576" y="646"/>
                  </a:lnTo>
                  <a:lnTo>
                    <a:pt x="1577" y="646"/>
                  </a:lnTo>
                  <a:lnTo>
                    <a:pt x="1577" y="649"/>
                  </a:lnTo>
                  <a:lnTo>
                    <a:pt x="1574" y="651"/>
                  </a:lnTo>
                  <a:lnTo>
                    <a:pt x="1573" y="657"/>
                  </a:lnTo>
                  <a:lnTo>
                    <a:pt x="1571" y="657"/>
                  </a:lnTo>
                  <a:lnTo>
                    <a:pt x="1567" y="657"/>
                  </a:lnTo>
                  <a:lnTo>
                    <a:pt x="1561" y="657"/>
                  </a:lnTo>
                  <a:lnTo>
                    <a:pt x="1560" y="659"/>
                  </a:lnTo>
                  <a:lnTo>
                    <a:pt x="1561" y="667"/>
                  </a:lnTo>
                  <a:lnTo>
                    <a:pt x="1563" y="670"/>
                  </a:lnTo>
                  <a:lnTo>
                    <a:pt x="1563" y="671"/>
                  </a:lnTo>
                  <a:lnTo>
                    <a:pt x="1563" y="679"/>
                  </a:lnTo>
                  <a:lnTo>
                    <a:pt x="1564" y="682"/>
                  </a:lnTo>
                  <a:lnTo>
                    <a:pt x="1571" y="689"/>
                  </a:lnTo>
                  <a:lnTo>
                    <a:pt x="1573" y="692"/>
                  </a:lnTo>
                  <a:lnTo>
                    <a:pt x="1571" y="696"/>
                  </a:lnTo>
                  <a:lnTo>
                    <a:pt x="1569" y="700"/>
                  </a:lnTo>
                  <a:lnTo>
                    <a:pt x="1566" y="702"/>
                  </a:lnTo>
                  <a:lnTo>
                    <a:pt x="1559" y="703"/>
                  </a:lnTo>
                  <a:lnTo>
                    <a:pt x="1557" y="704"/>
                  </a:lnTo>
                  <a:lnTo>
                    <a:pt x="1559" y="706"/>
                  </a:lnTo>
                  <a:lnTo>
                    <a:pt x="1564" y="703"/>
                  </a:lnTo>
                  <a:lnTo>
                    <a:pt x="1569" y="702"/>
                  </a:lnTo>
                  <a:lnTo>
                    <a:pt x="1573" y="700"/>
                  </a:lnTo>
                  <a:lnTo>
                    <a:pt x="1577" y="700"/>
                  </a:lnTo>
                  <a:lnTo>
                    <a:pt x="1582" y="703"/>
                  </a:lnTo>
                  <a:lnTo>
                    <a:pt x="1589" y="704"/>
                  </a:lnTo>
                  <a:lnTo>
                    <a:pt x="1589" y="707"/>
                  </a:lnTo>
                  <a:lnTo>
                    <a:pt x="1589" y="712"/>
                  </a:lnTo>
                  <a:lnTo>
                    <a:pt x="1592" y="714"/>
                  </a:lnTo>
                  <a:lnTo>
                    <a:pt x="1596" y="719"/>
                  </a:lnTo>
                  <a:lnTo>
                    <a:pt x="1597" y="727"/>
                  </a:lnTo>
                  <a:lnTo>
                    <a:pt x="1606" y="733"/>
                  </a:lnTo>
                  <a:lnTo>
                    <a:pt x="1614" y="740"/>
                  </a:lnTo>
                  <a:lnTo>
                    <a:pt x="1617" y="742"/>
                  </a:lnTo>
                  <a:lnTo>
                    <a:pt x="1620" y="743"/>
                  </a:lnTo>
                  <a:lnTo>
                    <a:pt x="1624" y="745"/>
                  </a:lnTo>
                  <a:lnTo>
                    <a:pt x="1629" y="745"/>
                  </a:lnTo>
                  <a:lnTo>
                    <a:pt x="1632" y="746"/>
                  </a:lnTo>
                  <a:lnTo>
                    <a:pt x="1630" y="749"/>
                  </a:lnTo>
                  <a:lnTo>
                    <a:pt x="1632" y="750"/>
                  </a:lnTo>
                  <a:lnTo>
                    <a:pt x="1633" y="750"/>
                  </a:lnTo>
                  <a:lnTo>
                    <a:pt x="1636" y="752"/>
                  </a:lnTo>
                  <a:lnTo>
                    <a:pt x="1637" y="755"/>
                  </a:lnTo>
                  <a:lnTo>
                    <a:pt x="1636" y="756"/>
                  </a:lnTo>
                  <a:lnTo>
                    <a:pt x="1630" y="752"/>
                  </a:lnTo>
                  <a:lnTo>
                    <a:pt x="1629" y="752"/>
                  </a:lnTo>
                  <a:lnTo>
                    <a:pt x="1624" y="752"/>
                  </a:lnTo>
                  <a:lnTo>
                    <a:pt x="1624" y="753"/>
                  </a:lnTo>
                  <a:lnTo>
                    <a:pt x="1626" y="755"/>
                  </a:lnTo>
                  <a:lnTo>
                    <a:pt x="1626" y="757"/>
                  </a:lnTo>
                  <a:lnTo>
                    <a:pt x="1624" y="760"/>
                  </a:lnTo>
                  <a:lnTo>
                    <a:pt x="1623" y="760"/>
                  </a:lnTo>
                  <a:lnTo>
                    <a:pt x="1622" y="760"/>
                  </a:lnTo>
                  <a:lnTo>
                    <a:pt x="1619" y="760"/>
                  </a:lnTo>
                  <a:lnTo>
                    <a:pt x="1614" y="760"/>
                  </a:lnTo>
                  <a:lnTo>
                    <a:pt x="1607" y="762"/>
                  </a:lnTo>
                  <a:lnTo>
                    <a:pt x="1604" y="765"/>
                  </a:lnTo>
                  <a:lnTo>
                    <a:pt x="1606" y="765"/>
                  </a:lnTo>
                  <a:lnTo>
                    <a:pt x="1607" y="769"/>
                  </a:lnTo>
                  <a:lnTo>
                    <a:pt x="1607" y="772"/>
                  </a:lnTo>
                  <a:lnTo>
                    <a:pt x="1607" y="773"/>
                  </a:lnTo>
                  <a:lnTo>
                    <a:pt x="1606" y="782"/>
                  </a:lnTo>
                  <a:lnTo>
                    <a:pt x="1604" y="785"/>
                  </a:lnTo>
                  <a:lnTo>
                    <a:pt x="1602" y="785"/>
                  </a:lnTo>
                  <a:lnTo>
                    <a:pt x="1597" y="785"/>
                  </a:lnTo>
                  <a:lnTo>
                    <a:pt x="1594" y="782"/>
                  </a:lnTo>
                  <a:lnTo>
                    <a:pt x="1594" y="780"/>
                  </a:lnTo>
                  <a:lnTo>
                    <a:pt x="1597" y="780"/>
                  </a:lnTo>
                  <a:lnTo>
                    <a:pt x="1599" y="779"/>
                  </a:lnTo>
                  <a:lnTo>
                    <a:pt x="1594" y="776"/>
                  </a:lnTo>
                  <a:lnTo>
                    <a:pt x="1590" y="773"/>
                  </a:lnTo>
                  <a:lnTo>
                    <a:pt x="1586" y="770"/>
                  </a:lnTo>
                  <a:lnTo>
                    <a:pt x="1584" y="769"/>
                  </a:lnTo>
                  <a:lnTo>
                    <a:pt x="1584" y="766"/>
                  </a:lnTo>
                  <a:lnTo>
                    <a:pt x="1584" y="763"/>
                  </a:lnTo>
                  <a:lnTo>
                    <a:pt x="1580" y="763"/>
                  </a:lnTo>
                  <a:lnTo>
                    <a:pt x="1577" y="766"/>
                  </a:lnTo>
                  <a:lnTo>
                    <a:pt x="1573" y="766"/>
                  </a:lnTo>
                  <a:lnTo>
                    <a:pt x="1566" y="766"/>
                  </a:lnTo>
                  <a:lnTo>
                    <a:pt x="1563" y="766"/>
                  </a:lnTo>
                  <a:lnTo>
                    <a:pt x="1560" y="773"/>
                  </a:lnTo>
                  <a:lnTo>
                    <a:pt x="1560" y="776"/>
                  </a:lnTo>
                  <a:lnTo>
                    <a:pt x="1561" y="780"/>
                  </a:lnTo>
                  <a:lnTo>
                    <a:pt x="1564" y="780"/>
                  </a:lnTo>
                  <a:lnTo>
                    <a:pt x="1564" y="783"/>
                  </a:lnTo>
                  <a:lnTo>
                    <a:pt x="1563" y="783"/>
                  </a:lnTo>
                  <a:lnTo>
                    <a:pt x="1561" y="783"/>
                  </a:lnTo>
                  <a:lnTo>
                    <a:pt x="1559" y="785"/>
                  </a:lnTo>
                  <a:lnTo>
                    <a:pt x="1559" y="787"/>
                  </a:lnTo>
                  <a:lnTo>
                    <a:pt x="1557" y="790"/>
                  </a:lnTo>
                  <a:lnTo>
                    <a:pt x="1557" y="789"/>
                  </a:lnTo>
                  <a:lnTo>
                    <a:pt x="1553" y="785"/>
                  </a:lnTo>
                  <a:lnTo>
                    <a:pt x="1553" y="780"/>
                  </a:lnTo>
                  <a:lnTo>
                    <a:pt x="1554" y="777"/>
                  </a:lnTo>
                  <a:lnTo>
                    <a:pt x="1553" y="776"/>
                  </a:lnTo>
                  <a:lnTo>
                    <a:pt x="1551" y="780"/>
                  </a:lnTo>
                  <a:lnTo>
                    <a:pt x="1549" y="785"/>
                  </a:lnTo>
                  <a:lnTo>
                    <a:pt x="1543" y="789"/>
                  </a:lnTo>
                  <a:lnTo>
                    <a:pt x="1540" y="793"/>
                  </a:lnTo>
                  <a:lnTo>
                    <a:pt x="1544" y="799"/>
                  </a:lnTo>
                  <a:lnTo>
                    <a:pt x="1547" y="805"/>
                  </a:lnTo>
                  <a:lnTo>
                    <a:pt x="1547" y="810"/>
                  </a:lnTo>
                  <a:lnTo>
                    <a:pt x="1547" y="819"/>
                  </a:lnTo>
                  <a:lnTo>
                    <a:pt x="1547" y="823"/>
                  </a:lnTo>
                  <a:lnTo>
                    <a:pt x="1544" y="826"/>
                  </a:lnTo>
                  <a:lnTo>
                    <a:pt x="1543" y="829"/>
                  </a:lnTo>
                  <a:lnTo>
                    <a:pt x="1547" y="829"/>
                  </a:lnTo>
                  <a:lnTo>
                    <a:pt x="1550" y="829"/>
                  </a:lnTo>
                  <a:lnTo>
                    <a:pt x="1553" y="823"/>
                  </a:lnTo>
                  <a:lnTo>
                    <a:pt x="1553" y="822"/>
                  </a:lnTo>
                  <a:lnTo>
                    <a:pt x="1556" y="822"/>
                  </a:lnTo>
                  <a:lnTo>
                    <a:pt x="1557" y="826"/>
                  </a:lnTo>
                  <a:lnTo>
                    <a:pt x="1561" y="826"/>
                  </a:lnTo>
                  <a:lnTo>
                    <a:pt x="1563" y="825"/>
                  </a:lnTo>
                  <a:lnTo>
                    <a:pt x="1564" y="822"/>
                  </a:lnTo>
                  <a:lnTo>
                    <a:pt x="1564" y="819"/>
                  </a:lnTo>
                  <a:lnTo>
                    <a:pt x="1566" y="819"/>
                  </a:lnTo>
                  <a:lnTo>
                    <a:pt x="1566" y="822"/>
                  </a:lnTo>
                  <a:lnTo>
                    <a:pt x="1569" y="823"/>
                  </a:lnTo>
                  <a:lnTo>
                    <a:pt x="1573" y="822"/>
                  </a:lnTo>
                  <a:lnTo>
                    <a:pt x="1574" y="822"/>
                  </a:lnTo>
                  <a:lnTo>
                    <a:pt x="1573" y="825"/>
                  </a:lnTo>
                  <a:lnTo>
                    <a:pt x="1567" y="828"/>
                  </a:lnTo>
                  <a:lnTo>
                    <a:pt x="1560" y="833"/>
                  </a:lnTo>
                  <a:lnTo>
                    <a:pt x="1559" y="835"/>
                  </a:lnTo>
                  <a:lnTo>
                    <a:pt x="1561" y="838"/>
                  </a:lnTo>
                  <a:lnTo>
                    <a:pt x="1564" y="838"/>
                  </a:lnTo>
                  <a:lnTo>
                    <a:pt x="1567" y="833"/>
                  </a:lnTo>
                  <a:lnTo>
                    <a:pt x="1569" y="832"/>
                  </a:lnTo>
                  <a:lnTo>
                    <a:pt x="1573" y="832"/>
                  </a:lnTo>
                  <a:lnTo>
                    <a:pt x="1574" y="830"/>
                  </a:lnTo>
                  <a:lnTo>
                    <a:pt x="1574" y="830"/>
                  </a:lnTo>
                  <a:lnTo>
                    <a:pt x="1576" y="832"/>
                  </a:lnTo>
                  <a:lnTo>
                    <a:pt x="1577" y="838"/>
                  </a:lnTo>
                  <a:lnTo>
                    <a:pt x="1577" y="839"/>
                  </a:lnTo>
                  <a:lnTo>
                    <a:pt x="1574" y="840"/>
                  </a:lnTo>
                  <a:lnTo>
                    <a:pt x="1574" y="839"/>
                  </a:lnTo>
                  <a:lnTo>
                    <a:pt x="1571" y="838"/>
                  </a:lnTo>
                  <a:lnTo>
                    <a:pt x="1570" y="840"/>
                  </a:lnTo>
                  <a:lnTo>
                    <a:pt x="1571" y="840"/>
                  </a:lnTo>
                  <a:lnTo>
                    <a:pt x="1571" y="842"/>
                  </a:lnTo>
                  <a:lnTo>
                    <a:pt x="1571" y="843"/>
                  </a:lnTo>
                  <a:lnTo>
                    <a:pt x="1569" y="846"/>
                  </a:lnTo>
                  <a:lnTo>
                    <a:pt x="1563" y="848"/>
                  </a:lnTo>
                  <a:lnTo>
                    <a:pt x="1559" y="845"/>
                  </a:lnTo>
                  <a:lnTo>
                    <a:pt x="1557" y="846"/>
                  </a:lnTo>
                  <a:lnTo>
                    <a:pt x="1557" y="849"/>
                  </a:lnTo>
                  <a:lnTo>
                    <a:pt x="1559" y="852"/>
                  </a:lnTo>
                  <a:lnTo>
                    <a:pt x="1560" y="855"/>
                  </a:lnTo>
                  <a:lnTo>
                    <a:pt x="1560" y="853"/>
                  </a:lnTo>
                  <a:lnTo>
                    <a:pt x="1561" y="852"/>
                  </a:lnTo>
                  <a:lnTo>
                    <a:pt x="1563" y="852"/>
                  </a:lnTo>
                  <a:lnTo>
                    <a:pt x="1564" y="852"/>
                  </a:lnTo>
                  <a:lnTo>
                    <a:pt x="1567" y="855"/>
                  </a:lnTo>
                  <a:lnTo>
                    <a:pt x="1569" y="855"/>
                  </a:lnTo>
                  <a:lnTo>
                    <a:pt x="1569" y="855"/>
                  </a:lnTo>
                  <a:lnTo>
                    <a:pt x="1567" y="851"/>
                  </a:lnTo>
                  <a:lnTo>
                    <a:pt x="1567" y="848"/>
                  </a:lnTo>
                  <a:lnTo>
                    <a:pt x="1569" y="848"/>
                  </a:lnTo>
                  <a:lnTo>
                    <a:pt x="1570" y="848"/>
                  </a:lnTo>
                  <a:lnTo>
                    <a:pt x="1573" y="851"/>
                  </a:lnTo>
                  <a:lnTo>
                    <a:pt x="1576" y="851"/>
                  </a:lnTo>
                  <a:lnTo>
                    <a:pt x="1579" y="852"/>
                  </a:lnTo>
                  <a:lnTo>
                    <a:pt x="1580" y="855"/>
                  </a:lnTo>
                  <a:lnTo>
                    <a:pt x="1579" y="856"/>
                  </a:lnTo>
                  <a:lnTo>
                    <a:pt x="1576" y="855"/>
                  </a:lnTo>
                  <a:lnTo>
                    <a:pt x="1571" y="853"/>
                  </a:lnTo>
                  <a:lnTo>
                    <a:pt x="1571" y="856"/>
                  </a:lnTo>
                  <a:lnTo>
                    <a:pt x="1571" y="859"/>
                  </a:lnTo>
                  <a:lnTo>
                    <a:pt x="1571" y="862"/>
                  </a:lnTo>
                  <a:lnTo>
                    <a:pt x="1573" y="865"/>
                  </a:lnTo>
                  <a:lnTo>
                    <a:pt x="1569" y="866"/>
                  </a:lnTo>
                  <a:lnTo>
                    <a:pt x="1569" y="868"/>
                  </a:lnTo>
                  <a:lnTo>
                    <a:pt x="1567" y="869"/>
                  </a:lnTo>
                  <a:lnTo>
                    <a:pt x="1567" y="868"/>
                  </a:lnTo>
                  <a:lnTo>
                    <a:pt x="1569" y="863"/>
                  </a:lnTo>
                  <a:lnTo>
                    <a:pt x="1569" y="861"/>
                  </a:lnTo>
                  <a:lnTo>
                    <a:pt x="1564" y="861"/>
                  </a:lnTo>
                  <a:lnTo>
                    <a:pt x="1559" y="859"/>
                  </a:lnTo>
                  <a:lnTo>
                    <a:pt x="1553" y="859"/>
                  </a:lnTo>
                  <a:lnTo>
                    <a:pt x="1551" y="859"/>
                  </a:lnTo>
                  <a:lnTo>
                    <a:pt x="1550" y="859"/>
                  </a:lnTo>
                  <a:lnTo>
                    <a:pt x="1550" y="856"/>
                  </a:lnTo>
                  <a:lnTo>
                    <a:pt x="1553" y="856"/>
                  </a:lnTo>
                  <a:lnTo>
                    <a:pt x="1554" y="855"/>
                  </a:lnTo>
                  <a:lnTo>
                    <a:pt x="1554" y="853"/>
                  </a:lnTo>
                  <a:lnTo>
                    <a:pt x="1551" y="852"/>
                  </a:lnTo>
                  <a:lnTo>
                    <a:pt x="1550" y="849"/>
                  </a:lnTo>
                  <a:lnTo>
                    <a:pt x="1550" y="846"/>
                  </a:lnTo>
                  <a:lnTo>
                    <a:pt x="1549" y="843"/>
                  </a:lnTo>
                  <a:lnTo>
                    <a:pt x="1547" y="845"/>
                  </a:lnTo>
                  <a:lnTo>
                    <a:pt x="1546" y="846"/>
                  </a:lnTo>
                  <a:lnTo>
                    <a:pt x="1547" y="849"/>
                  </a:lnTo>
                  <a:lnTo>
                    <a:pt x="1549" y="852"/>
                  </a:lnTo>
                  <a:lnTo>
                    <a:pt x="1547" y="856"/>
                  </a:lnTo>
                  <a:lnTo>
                    <a:pt x="1544" y="859"/>
                  </a:lnTo>
                  <a:lnTo>
                    <a:pt x="1543" y="859"/>
                  </a:lnTo>
                  <a:lnTo>
                    <a:pt x="1543" y="856"/>
                  </a:lnTo>
                  <a:lnTo>
                    <a:pt x="1543" y="853"/>
                  </a:lnTo>
                  <a:lnTo>
                    <a:pt x="1540" y="852"/>
                  </a:lnTo>
                  <a:lnTo>
                    <a:pt x="1539" y="856"/>
                  </a:lnTo>
                  <a:lnTo>
                    <a:pt x="1537" y="856"/>
                  </a:lnTo>
                  <a:lnTo>
                    <a:pt x="1536" y="855"/>
                  </a:lnTo>
                  <a:lnTo>
                    <a:pt x="1537" y="853"/>
                  </a:lnTo>
                  <a:lnTo>
                    <a:pt x="1539" y="849"/>
                  </a:lnTo>
                  <a:lnTo>
                    <a:pt x="1539" y="849"/>
                  </a:lnTo>
                  <a:lnTo>
                    <a:pt x="1534" y="846"/>
                  </a:lnTo>
                  <a:lnTo>
                    <a:pt x="1534" y="845"/>
                  </a:lnTo>
                  <a:lnTo>
                    <a:pt x="1533" y="845"/>
                  </a:lnTo>
                  <a:lnTo>
                    <a:pt x="1531" y="845"/>
                  </a:lnTo>
                  <a:lnTo>
                    <a:pt x="1529" y="845"/>
                  </a:lnTo>
                  <a:lnTo>
                    <a:pt x="1529" y="843"/>
                  </a:lnTo>
                  <a:lnTo>
                    <a:pt x="1529" y="840"/>
                  </a:lnTo>
                  <a:lnTo>
                    <a:pt x="1529" y="839"/>
                  </a:lnTo>
                  <a:lnTo>
                    <a:pt x="1527" y="838"/>
                  </a:lnTo>
                  <a:lnTo>
                    <a:pt x="1527" y="842"/>
                  </a:lnTo>
                  <a:lnTo>
                    <a:pt x="1527" y="845"/>
                  </a:lnTo>
                  <a:lnTo>
                    <a:pt x="1524" y="846"/>
                  </a:lnTo>
                  <a:lnTo>
                    <a:pt x="1523" y="848"/>
                  </a:lnTo>
                  <a:lnTo>
                    <a:pt x="1523" y="845"/>
                  </a:lnTo>
                  <a:lnTo>
                    <a:pt x="1523" y="840"/>
                  </a:lnTo>
                  <a:lnTo>
                    <a:pt x="1523" y="839"/>
                  </a:lnTo>
                  <a:lnTo>
                    <a:pt x="1517" y="839"/>
                  </a:lnTo>
                  <a:lnTo>
                    <a:pt x="1511" y="840"/>
                  </a:lnTo>
                  <a:lnTo>
                    <a:pt x="1510" y="842"/>
                  </a:lnTo>
                  <a:lnTo>
                    <a:pt x="1510" y="840"/>
                  </a:lnTo>
                  <a:lnTo>
                    <a:pt x="1503" y="840"/>
                  </a:lnTo>
                  <a:lnTo>
                    <a:pt x="1500" y="840"/>
                  </a:lnTo>
                  <a:lnTo>
                    <a:pt x="1494" y="839"/>
                  </a:lnTo>
                  <a:lnTo>
                    <a:pt x="1493" y="835"/>
                  </a:lnTo>
                  <a:lnTo>
                    <a:pt x="1488" y="833"/>
                  </a:lnTo>
                  <a:lnTo>
                    <a:pt x="1486" y="835"/>
                  </a:lnTo>
                  <a:lnTo>
                    <a:pt x="1484" y="835"/>
                  </a:lnTo>
                  <a:lnTo>
                    <a:pt x="1480" y="836"/>
                  </a:lnTo>
                  <a:lnTo>
                    <a:pt x="1480" y="839"/>
                  </a:lnTo>
                  <a:lnTo>
                    <a:pt x="1481" y="842"/>
                  </a:lnTo>
                  <a:lnTo>
                    <a:pt x="1483" y="845"/>
                  </a:lnTo>
                  <a:lnTo>
                    <a:pt x="1483" y="849"/>
                  </a:lnTo>
                  <a:lnTo>
                    <a:pt x="1484" y="852"/>
                  </a:lnTo>
                  <a:lnTo>
                    <a:pt x="1483" y="853"/>
                  </a:lnTo>
                  <a:lnTo>
                    <a:pt x="1481" y="852"/>
                  </a:lnTo>
                  <a:lnTo>
                    <a:pt x="1478" y="848"/>
                  </a:lnTo>
                  <a:lnTo>
                    <a:pt x="1477" y="842"/>
                  </a:lnTo>
                  <a:lnTo>
                    <a:pt x="1477" y="840"/>
                  </a:lnTo>
                  <a:lnTo>
                    <a:pt x="1476" y="838"/>
                  </a:lnTo>
                  <a:lnTo>
                    <a:pt x="1470" y="836"/>
                  </a:lnTo>
                  <a:lnTo>
                    <a:pt x="1466" y="838"/>
                  </a:lnTo>
                  <a:lnTo>
                    <a:pt x="1463" y="840"/>
                  </a:lnTo>
                  <a:lnTo>
                    <a:pt x="1455" y="842"/>
                  </a:lnTo>
                  <a:lnTo>
                    <a:pt x="1451" y="840"/>
                  </a:lnTo>
                  <a:lnTo>
                    <a:pt x="1450" y="840"/>
                  </a:lnTo>
                  <a:lnTo>
                    <a:pt x="1448" y="842"/>
                  </a:lnTo>
                  <a:lnTo>
                    <a:pt x="1441" y="845"/>
                  </a:lnTo>
                  <a:lnTo>
                    <a:pt x="1431" y="849"/>
                  </a:lnTo>
                  <a:lnTo>
                    <a:pt x="1427" y="852"/>
                  </a:lnTo>
                  <a:lnTo>
                    <a:pt x="1424" y="856"/>
                  </a:lnTo>
                  <a:lnTo>
                    <a:pt x="1423" y="859"/>
                  </a:lnTo>
                  <a:lnTo>
                    <a:pt x="1421" y="861"/>
                  </a:lnTo>
                  <a:lnTo>
                    <a:pt x="1418" y="865"/>
                  </a:lnTo>
                  <a:lnTo>
                    <a:pt x="1418" y="868"/>
                  </a:lnTo>
                  <a:lnTo>
                    <a:pt x="1423" y="869"/>
                  </a:lnTo>
                  <a:lnTo>
                    <a:pt x="1427" y="872"/>
                  </a:lnTo>
                  <a:lnTo>
                    <a:pt x="1427" y="873"/>
                  </a:lnTo>
                  <a:lnTo>
                    <a:pt x="1427" y="873"/>
                  </a:lnTo>
                  <a:lnTo>
                    <a:pt x="1423" y="875"/>
                  </a:lnTo>
                  <a:lnTo>
                    <a:pt x="1420" y="875"/>
                  </a:lnTo>
                  <a:lnTo>
                    <a:pt x="1414" y="876"/>
                  </a:lnTo>
                  <a:lnTo>
                    <a:pt x="1413" y="879"/>
                  </a:lnTo>
                  <a:lnTo>
                    <a:pt x="1413" y="883"/>
                  </a:lnTo>
                  <a:lnTo>
                    <a:pt x="1413" y="885"/>
                  </a:lnTo>
                  <a:lnTo>
                    <a:pt x="1410" y="883"/>
                  </a:lnTo>
                  <a:lnTo>
                    <a:pt x="1408" y="881"/>
                  </a:lnTo>
                  <a:lnTo>
                    <a:pt x="1407" y="883"/>
                  </a:lnTo>
                  <a:lnTo>
                    <a:pt x="1404" y="889"/>
                  </a:lnTo>
                  <a:lnTo>
                    <a:pt x="1405" y="891"/>
                  </a:lnTo>
                  <a:lnTo>
                    <a:pt x="1410" y="892"/>
                  </a:lnTo>
                  <a:lnTo>
                    <a:pt x="1410" y="893"/>
                  </a:lnTo>
                  <a:lnTo>
                    <a:pt x="1405" y="893"/>
                  </a:lnTo>
                  <a:lnTo>
                    <a:pt x="1404" y="895"/>
                  </a:lnTo>
                  <a:lnTo>
                    <a:pt x="1404" y="898"/>
                  </a:lnTo>
                  <a:lnTo>
                    <a:pt x="1405" y="901"/>
                  </a:lnTo>
                  <a:lnTo>
                    <a:pt x="1410" y="903"/>
                  </a:lnTo>
                  <a:lnTo>
                    <a:pt x="1410" y="906"/>
                  </a:lnTo>
                  <a:lnTo>
                    <a:pt x="1405" y="906"/>
                  </a:lnTo>
                  <a:lnTo>
                    <a:pt x="1405" y="908"/>
                  </a:lnTo>
                  <a:lnTo>
                    <a:pt x="1408" y="909"/>
                  </a:lnTo>
                  <a:lnTo>
                    <a:pt x="1413" y="914"/>
                  </a:lnTo>
                  <a:lnTo>
                    <a:pt x="1414" y="916"/>
                  </a:lnTo>
                  <a:lnTo>
                    <a:pt x="1414" y="918"/>
                  </a:lnTo>
                  <a:lnTo>
                    <a:pt x="1414" y="921"/>
                  </a:lnTo>
                  <a:lnTo>
                    <a:pt x="1413" y="924"/>
                  </a:lnTo>
                  <a:lnTo>
                    <a:pt x="1411" y="922"/>
                  </a:lnTo>
                  <a:lnTo>
                    <a:pt x="1410" y="921"/>
                  </a:lnTo>
                  <a:lnTo>
                    <a:pt x="1410" y="916"/>
                  </a:lnTo>
                  <a:lnTo>
                    <a:pt x="1408" y="912"/>
                  </a:lnTo>
                  <a:lnTo>
                    <a:pt x="1404" y="911"/>
                  </a:lnTo>
                  <a:lnTo>
                    <a:pt x="1400" y="914"/>
                  </a:lnTo>
                  <a:lnTo>
                    <a:pt x="1394" y="919"/>
                  </a:lnTo>
                  <a:lnTo>
                    <a:pt x="1390" y="924"/>
                  </a:lnTo>
                  <a:lnTo>
                    <a:pt x="1371" y="929"/>
                  </a:lnTo>
                  <a:lnTo>
                    <a:pt x="1361" y="931"/>
                  </a:lnTo>
                  <a:lnTo>
                    <a:pt x="1358" y="931"/>
                  </a:lnTo>
                  <a:lnTo>
                    <a:pt x="1328" y="928"/>
                  </a:lnTo>
                  <a:lnTo>
                    <a:pt x="1321" y="925"/>
                  </a:lnTo>
                  <a:lnTo>
                    <a:pt x="1314" y="922"/>
                  </a:lnTo>
                  <a:lnTo>
                    <a:pt x="1308" y="916"/>
                  </a:lnTo>
                  <a:lnTo>
                    <a:pt x="1304" y="915"/>
                  </a:lnTo>
                  <a:lnTo>
                    <a:pt x="1298" y="914"/>
                  </a:lnTo>
                  <a:lnTo>
                    <a:pt x="1295" y="909"/>
                  </a:lnTo>
                  <a:lnTo>
                    <a:pt x="1292" y="908"/>
                  </a:lnTo>
                  <a:lnTo>
                    <a:pt x="1286" y="909"/>
                  </a:lnTo>
                  <a:lnTo>
                    <a:pt x="1281" y="908"/>
                  </a:lnTo>
                  <a:lnTo>
                    <a:pt x="1278" y="902"/>
                  </a:lnTo>
                  <a:lnTo>
                    <a:pt x="1281" y="896"/>
                  </a:lnTo>
                  <a:lnTo>
                    <a:pt x="1278" y="893"/>
                  </a:lnTo>
                  <a:lnTo>
                    <a:pt x="1274" y="889"/>
                  </a:lnTo>
                  <a:lnTo>
                    <a:pt x="1272" y="883"/>
                  </a:lnTo>
                  <a:lnTo>
                    <a:pt x="1269" y="881"/>
                  </a:lnTo>
                  <a:lnTo>
                    <a:pt x="1266" y="881"/>
                  </a:lnTo>
                  <a:lnTo>
                    <a:pt x="1265" y="885"/>
                  </a:lnTo>
                  <a:lnTo>
                    <a:pt x="1265" y="892"/>
                  </a:lnTo>
                  <a:lnTo>
                    <a:pt x="1266" y="905"/>
                  </a:lnTo>
                  <a:lnTo>
                    <a:pt x="1268" y="919"/>
                  </a:lnTo>
                  <a:lnTo>
                    <a:pt x="1271" y="946"/>
                  </a:lnTo>
                  <a:lnTo>
                    <a:pt x="1272" y="955"/>
                  </a:lnTo>
                  <a:lnTo>
                    <a:pt x="1274" y="958"/>
                  </a:lnTo>
                  <a:lnTo>
                    <a:pt x="1281" y="969"/>
                  </a:lnTo>
                  <a:lnTo>
                    <a:pt x="1285" y="984"/>
                  </a:lnTo>
                  <a:lnTo>
                    <a:pt x="1284" y="991"/>
                  </a:lnTo>
                  <a:lnTo>
                    <a:pt x="1284" y="997"/>
                  </a:lnTo>
                  <a:lnTo>
                    <a:pt x="1285" y="999"/>
                  </a:lnTo>
                  <a:lnTo>
                    <a:pt x="1289" y="1001"/>
                  </a:lnTo>
                  <a:lnTo>
                    <a:pt x="1295" y="1001"/>
                  </a:lnTo>
                  <a:lnTo>
                    <a:pt x="1298" y="1001"/>
                  </a:lnTo>
                  <a:lnTo>
                    <a:pt x="1301" y="1002"/>
                  </a:lnTo>
                  <a:lnTo>
                    <a:pt x="1301" y="1004"/>
                  </a:lnTo>
                  <a:lnTo>
                    <a:pt x="1299" y="1004"/>
                  </a:lnTo>
                  <a:lnTo>
                    <a:pt x="1294" y="1005"/>
                  </a:lnTo>
                  <a:lnTo>
                    <a:pt x="1291" y="1005"/>
                  </a:lnTo>
                  <a:lnTo>
                    <a:pt x="1289" y="1009"/>
                  </a:lnTo>
                  <a:lnTo>
                    <a:pt x="1289" y="1014"/>
                  </a:lnTo>
                  <a:lnTo>
                    <a:pt x="1291" y="1017"/>
                  </a:lnTo>
                  <a:lnTo>
                    <a:pt x="1292" y="1017"/>
                  </a:lnTo>
                  <a:lnTo>
                    <a:pt x="1292" y="1018"/>
                  </a:lnTo>
                  <a:lnTo>
                    <a:pt x="1292" y="1020"/>
                  </a:lnTo>
                  <a:lnTo>
                    <a:pt x="1291" y="1022"/>
                  </a:lnTo>
                  <a:lnTo>
                    <a:pt x="1291" y="1025"/>
                  </a:lnTo>
                  <a:lnTo>
                    <a:pt x="1291" y="1028"/>
                  </a:lnTo>
                  <a:lnTo>
                    <a:pt x="1292" y="1028"/>
                  </a:lnTo>
                  <a:lnTo>
                    <a:pt x="1295" y="1025"/>
                  </a:lnTo>
                  <a:lnTo>
                    <a:pt x="1298" y="1027"/>
                  </a:lnTo>
                  <a:lnTo>
                    <a:pt x="1297" y="1028"/>
                  </a:lnTo>
                  <a:lnTo>
                    <a:pt x="1295" y="1030"/>
                  </a:lnTo>
                  <a:lnTo>
                    <a:pt x="1295" y="1032"/>
                  </a:lnTo>
                  <a:lnTo>
                    <a:pt x="1297" y="1037"/>
                  </a:lnTo>
                  <a:lnTo>
                    <a:pt x="1297" y="1047"/>
                  </a:lnTo>
                  <a:lnTo>
                    <a:pt x="1301" y="1068"/>
                  </a:lnTo>
                  <a:lnTo>
                    <a:pt x="1299" y="1074"/>
                  </a:lnTo>
                  <a:lnTo>
                    <a:pt x="1298" y="1077"/>
                  </a:lnTo>
                  <a:lnTo>
                    <a:pt x="1299" y="1081"/>
                  </a:lnTo>
                  <a:lnTo>
                    <a:pt x="1298" y="1090"/>
                  </a:lnTo>
                  <a:lnTo>
                    <a:pt x="1298" y="1094"/>
                  </a:lnTo>
                  <a:lnTo>
                    <a:pt x="1288" y="1103"/>
                  </a:lnTo>
                  <a:lnTo>
                    <a:pt x="1285" y="1104"/>
                  </a:lnTo>
                  <a:lnTo>
                    <a:pt x="1279" y="1101"/>
                  </a:lnTo>
                  <a:lnTo>
                    <a:pt x="1275" y="1095"/>
                  </a:lnTo>
                  <a:lnTo>
                    <a:pt x="1272" y="1091"/>
                  </a:lnTo>
                  <a:lnTo>
                    <a:pt x="1269" y="1087"/>
                  </a:lnTo>
                  <a:lnTo>
                    <a:pt x="1265" y="1087"/>
                  </a:lnTo>
                  <a:lnTo>
                    <a:pt x="1264" y="1081"/>
                  </a:lnTo>
                  <a:lnTo>
                    <a:pt x="1262" y="1077"/>
                  </a:lnTo>
                  <a:lnTo>
                    <a:pt x="1256" y="1072"/>
                  </a:lnTo>
                  <a:lnTo>
                    <a:pt x="1255" y="1071"/>
                  </a:lnTo>
                  <a:lnTo>
                    <a:pt x="1254" y="1072"/>
                  </a:lnTo>
                  <a:lnTo>
                    <a:pt x="1255" y="1075"/>
                  </a:lnTo>
                  <a:lnTo>
                    <a:pt x="1258" y="1078"/>
                  </a:lnTo>
                  <a:lnTo>
                    <a:pt x="1261" y="1083"/>
                  </a:lnTo>
                  <a:lnTo>
                    <a:pt x="1261" y="1085"/>
                  </a:lnTo>
                  <a:lnTo>
                    <a:pt x="1261" y="1088"/>
                  </a:lnTo>
                  <a:lnTo>
                    <a:pt x="1258" y="1093"/>
                  </a:lnTo>
                  <a:lnTo>
                    <a:pt x="1254" y="1094"/>
                  </a:lnTo>
                  <a:lnTo>
                    <a:pt x="1251" y="1091"/>
                  </a:lnTo>
                  <a:lnTo>
                    <a:pt x="1248" y="1088"/>
                  </a:lnTo>
                  <a:lnTo>
                    <a:pt x="1245" y="1088"/>
                  </a:lnTo>
                  <a:lnTo>
                    <a:pt x="1242" y="1090"/>
                  </a:lnTo>
                  <a:lnTo>
                    <a:pt x="1239" y="1093"/>
                  </a:lnTo>
                  <a:lnTo>
                    <a:pt x="1232" y="1091"/>
                  </a:lnTo>
                  <a:lnTo>
                    <a:pt x="1228" y="1088"/>
                  </a:lnTo>
                  <a:lnTo>
                    <a:pt x="1229" y="1084"/>
                  </a:lnTo>
                  <a:lnTo>
                    <a:pt x="1225" y="1083"/>
                  </a:lnTo>
                  <a:lnTo>
                    <a:pt x="1222" y="1081"/>
                  </a:lnTo>
                  <a:lnTo>
                    <a:pt x="1219" y="1077"/>
                  </a:lnTo>
                  <a:lnTo>
                    <a:pt x="1216" y="1072"/>
                  </a:lnTo>
                  <a:lnTo>
                    <a:pt x="1212" y="1072"/>
                  </a:lnTo>
                  <a:lnTo>
                    <a:pt x="1212" y="1072"/>
                  </a:lnTo>
                  <a:lnTo>
                    <a:pt x="1211" y="1072"/>
                  </a:lnTo>
                  <a:lnTo>
                    <a:pt x="1209" y="1074"/>
                  </a:lnTo>
                  <a:lnTo>
                    <a:pt x="1209" y="1075"/>
                  </a:lnTo>
                  <a:lnTo>
                    <a:pt x="1205" y="1075"/>
                  </a:lnTo>
                  <a:lnTo>
                    <a:pt x="1205" y="1075"/>
                  </a:lnTo>
                  <a:lnTo>
                    <a:pt x="1205" y="1074"/>
                  </a:lnTo>
                  <a:lnTo>
                    <a:pt x="1203" y="1072"/>
                  </a:lnTo>
                  <a:lnTo>
                    <a:pt x="1201" y="1074"/>
                  </a:lnTo>
                  <a:lnTo>
                    <a:pt x="1201" y="1077"/>
                  </a:lnTo>
                  <a:lnTo>
                    <a:pt x="1198" y="1080"/>
                  </a:lnTo>
                  <a:lnTo>
                    <a:pt x="1196" y="1080"/>
                  </a:lnTo>
                  <a:lnTo>
                    <a:pt x="1195" y="1081"/>
                  </a:lnTo>
                  <a:lnTo>
                    <a:pt x="1193" y="1084"/>
                  </a:lnTo>
                  <a:lnTo>
                    <a:pt x="1191" y="1083"/>
                  </a:lnTo>
                  <a:lnTo>
                    <a:pt x="1191" y="1081"/>
                  </a:lnTo>
                  <a:lnTo>
                    <a:pt x="1195" y="1078"/>
                  </a:lnTo>
                  <a:lnTo>
                    <a:pt x="1196" y="1074"/>
                  </a:lnTo>
                  <a:lnTo>
                    <a:pt x="1193" y="1071"/>
                  </a:lnTo>
                  <a:lnTo>
                    <a:pt x="1189" y="1067"/>
                  </a:lnTo>
                  <a:lnTo>
                    <a:pt x="1186" y="1062"/>
                  </a:lnTo>
                  <a:lnTo>
                    <a:pt x="1183" y="1060"/>
                  </a:lnTo>
                  <a:lnTo>
                    <a:pt x="1175" y="1058"/>
                  </a:lnTo>
                  <a:lnTo>
                    <a:pt x="1168" y="1055"/>
                  </a:lnTo>
                  <a:lnTo>
                    <a:pt x="1163" y="1052"/>
                  </a:lnTo>
                  <a:lnTo>
                    <a:pt x="1156" y="1042"/>
                  </a:lnTo>
                  <a:lnTo>
                    <a:pt x="1152" y="1035"/>
                  </a:lnTo>
                  <a:lnTo>
                    <a:pt x="1143" y="1024"/>
                  </a:lnTo>
                  <a:lnTo>
                    <a:pt x="1136" y="1017"/>
                  </a:lnTo>
                  <a:lnTo>
                    <a:pt x="1129" y="1017"/>
                  </a:lnTo>
                  <a:lnTo>
                    <a:pt x="1123" y="1017"/>
                  </a:lnTo>
                  <a:lnTo>
                    <a:pt x="1122" y="1020"/>
                  </a:lnTo>
                  <a:lnTo>
                    <a:pt x="1122" y="1027"/>
                  </a:lnTo>
                  <a:lnTo>
                    <a:pt x="1120" y="1025"/>
                  </a:lnTo>
                  <a:lnTo>
                    <a:pt x="1119" y="1021"/>
                  </a:lnTo>
                  <a:lnTo>
                    <a:pt x="1116" y="1018"/>
                  </a:lnTo>
                  <a:lnTo>
                    <a:pt x="1112" y="1015"/>
                  </a:lnTo>
                  <a:lnTo>
                    <a:pt x="1115" y="1009"/>
                  </a:lnTo>
                  <a:lnTo>
                    <a:pt x="1115" y="1007"/>
                  </a:lnTo>
                  <a:lnTo>
                    <a:pt x="1119" y="1004"/>
                  </a:lnTo>
                  <a:lnTo>
                    <a:pt x="1125" y="1001"/>
                  </a:lnTo>
                  <a:lnTo>
                    <a:pt x="1125" y="997"/>
                  </a:lnTo>
                  <a:lnTo>
                    <a:pt x="1126" y="994"/>
                  </a:lnTo>
                  <a:lnTo>
                    <a:pt x="1130" y="991"/>
                  </a:lnTo>
                  <a:lnTo>
                    <a:pt x="1135" y="991"/>
                  </a:lnTo>
                  <a:lnTo>
                    <a:pt x="1140" y="991"/>
                  </a:lnTo>
                  <a:lnTo>
                    <a:pt x="1139" y="988"/>
                  </a:lnTo>
                  <a:lnTo>
                    <a:pt x="1135" y="985"/>
                  </a:lnTo>
                  <a:lnTo>
                    <a:pt x="1128" y="984"/>
                  </a:lnTo>
                  <a:lnTo>
                    <a:pt x="1123" y="982"/>
                  </a:lnTo>
                  <a:lnTo>
                    <a:pt x="1122" y="975"/>
                  </a:lnTo>
                  <a:lnTo>
                    <a:pt x="1115" y="969"/>
                  </a:lnTo>
                  <a:lnTo>
                    <a:pt x="1103" y="958"/>
                  </a:lnTo>
                  <a:lnTo>
                    <a:pt x="1099" y="955"/>
                  </a:lnTo>
                  <a:lnTo>
                    <a:pt x="1096" y="946"/>
                  </a:lnTo>
                  <a:lnTo>
                    <a:pt x="1096" y="942"/>
                  </a:lnTo>
                  <a:lnTo>
                    <a:pt x="1090" y="944"/>
                  </a:lnTo>
                  <a:lnTo>
                    <a:pt x="1086" y="946"/>
                  </a:lnTo>
                  <a:lnTo>
                    <a:pt x="1085" y="945"/>
                  </a:lnTo>
                  <a:lnTo>
                    <a:pt x="1083" y="946"/>
                  </a:lnTo>
                  <a:lnTo>
                    <a:pt x="1086" y="948"/>
                  </a:lnTo>
                  <a:lnTo>
                    <a:pt x="1087" y="949"/>
                  </a:lnTo>
                  <a:lnTo>
                    <a:pt x="1090" y="951"/>
                  </a:lnTo>
                  <a:lnTo>
                    <a:pt x="1093" y="952"/>
                  </a:lnTo>
                  <a:lnTo>
                    <a:pt x="1096" y="955"/>
                  </a:lnTo>
                  <a:lnTo>
                    <a:pt x="1096" y="956"/>
                  </a:lnTo>
                  <a:lnTo>
                    <a:pt x="1100" y="962"/>
                  </a:lnTo>
                  <a:lnTo>
                    <a:pt x="1107" y="971"/>
                  </a:lnTo>
                  <a:lnTo>
                    <a:pt x="1110" y="975"/>
                  </a:lnTo>
                  <a:lnTo>
                    <a:pt x="1115" y="979"/>
                  </a:lnTo>
                  <a:lnTo>
                    <a:pt x="1117" y="982"/>
                  </a:lnTo>
                  <a:lnTo>
                    <a:pt x="1119" y="985"/>
                  </a:lnTo>
                  <a:lnTo>
                    <a:pt x="1117" y="988"/>
                  </a:lnTo>
                  <a:lnTo>
                    <a:pt x="1117" y="995"/>
                  </a:lnTo>
                  <a:lnTo>
                    <a:pt x="1112" y="1001"/>
                  </a:lnTo>
                  <a:lnTo>
                    <a:pt x="1109" y="1002"/>
                  </a:lnTo>
                  <a:lnTo>
                    <a:pt x="1102" y="1002"/>
                  </a:lnTo>
                  <a:lnTo>
                    <a:pt x="1099" y="1001"/>
                  </a:lnTo>
                  <a:lnTo>
                    <a:pt x="1096" y="998"/>
                  </a:lnTo>
                  <a:lnTo>
                    <a:pt x="1092" y="991"/>
                  </a:lnTo>
                  <a:lnTo>
                    <a:pt x="1089" y="987"/>
                  </a:lnTo>
                  <a:lnTo>
                    <a:pt x="1082" y="984"/>
                  </a:lnTo>
                  <a:lnTo>
                    <a:pt x="1077" y="981"/>
                  </a:lnTo>
                  <a:lnTo>
                    <a:pt x="1075" y="972"/>
                  </a:lnTo>
                  <a:lnTo>
                    <a:pt x="1069" y="965"/>
                  </a:lnTo>
                  <a:lnTo>
                    <a:pt x="1063" y="964"/>
                  </a:lnTo>
                  <a:lnTo>
                    <a:pt x="1060" y="964"/>
                  </a:lnTo>
                  <a:lnTo>
                    <a:pt x="1056" y="956"/>
                  </a:lnTo>
                  <a:lnTo>
                    <a:pt x="1052" y="955"/>
                  </a:lnTo>
                  <a:lnTo>
                    <a:pt x="1049" y="955"/>
                  </a:lnTo>
                  <a:lnTo>
                    <a:pt x="1046" y="952"/>
                  </a:lnTo>
                  <a:lnTo>
                    <a:pt x="1039" y="951"/>
                  </a:lnTo>
                  <a:lnTo>
                    <a:pt x="1034" y="949"/>
                  </a:lnTo>
                  <a:lnTo>
                    <a:pt x="1034" y="948"/>
                  </a:lnTo>
                  <a:lnTo>
                    <a:pt x="1032" y="946"/>
                  </a:lnTo>
                  <a:lnTo>
                    <a:pt x="1029" y="945"/>
                  </a:lnTo>
                  <a:lnTo>
                    <a:pt x="1027" y="946"/>
                  </a:lnTo>
                  <a:lnTo>
                    <a:pt x="1024" y="949"/>
                  </a:lnTo>
                  <a:lnTo>
                    <a:pt x="1022" y="948"/>
                  </a:lnTo>
                  <a:lnTo>
                    <a:pt x="1020" y="945"/>
                  </a:lnTo>
                  <a:lnTo>
                    <a:pt x="1020" y="945"/>
                  </a:lnTo>
                  <a:lnTo>
                    <a:pt x="1023" y="944"/>
                  </a:lnTo>
                  <a:lnTo>
                    <a:pt x="1023" y="941"/>
                  </a:lnTo>
                  <a:lnTo>
                    <a:pt x="1017" y="935"/>
                  </a:lnTo>
                  <a:lnTo>
                    <a:pt x="1012" y="934"/>
                  </a:lnTo>
                  <a:lnTo>
                    <a:pt x="1007" y="934"/>
                  </a:lnTo>
                  <a:lnTo>
                    <a:pt x="1000" y="935"/>
                  </a:lnTo>
                  <a:lnTo>
                    <a:pt x="997" y="936"/>
                  </a:lnTo>
                  <a:lnTo>
                    <a:pt x="989" y="935"/>
                  </a:lnTo>
                  <a:lnTo>
                    <a:pt x="984" y="935"/>
                  </a:lnTo>
                  <a:lnTo>
                    <a:pt x="979" y="938"/>
                  </a:lnTo>
                  <a:lnTo>
                    <a:pt x="970" y="942"/>
                  </a:lnTo>
                  <a:lnTo>
                    <a:pt x="964" y="945"/>
                  </a:lnTo>
                  <a:lnTo>
                    <a:pt x="964" y="946"/>
                  </a:lnTo>
                  <a:lnTo>
                    <a:pt x="964" y="949"/>
                  </a:lnTo>
                  <a:lnTo>
                    <a:pt x="969" y="952"/>
                  </a:lnTo>
                  <a:lnTo>
                    <a:pt x="977" y="958"/>
                  </a:lnTo>
                  <a:lnTo>
                    <a:pt x="979" y="962"/>
                  </a:lnTo>
                  <a:lnTo>
                    <a:pt x="980" y="968"/>
                  </a:lnTo>
                  <a:lnTo>
                    <a:pt x="986" y="971"/>
                  </a:lnTo>
                  <a:lnTo>
                    <a:pt x="989" y="975"/>
                  </a:lnTo>
                  <a:lnTo>
                    <a:pt x="989" y="978"/>
                  </a:lnTo>
                  <a:lnTo>
                    <a:pt x="991" y="985"/>
                  </a:lnTo>
                  <a:lnTo>
                    <a:pt x="994" y="991"/>
                  </a:lnTo>
                  <a:lnTo>
                    <a:pt x="1000" y="992"/>
                  </a:lnTo>
                  <a:lnTo>
                    <a:pt x="1006" y="997"/>
                  </a:lnTo>
                  <a:lnTo>
                    <a:pt x="1017" y="1005"/>
                  </a:lnTo>
                  <a:lnTo>
                    <a:pt x="1022" y="1007"/>
                  </a:lnTo>
                  <a:lnTo>
                    <a:pt x="1026" y="1009"/>
                  </a:lnTo>
                  <a:lnTo>
                    <a:pt x="1029" y="1012"/>
                  </a:lnTo>
                  <a:lnTo>
                    <a:pt x="1027" y="1015"/>
                  </a:lnTo>
                  <a:lnTo>
                    <a:pt x="1023" y="1015"/>
                  </a:lnTo>
                  <a:lnTo>
                    <a:pt x="1023" y="1018"/>
                  </a:lnTo>
                  <a:lnTo>
                    <a:pt x="1026" y="1024"/>
                  </a:lnTo>
                  <a:lnTo>
                    <a:pt x="1033" y="1041"/>
                  </a:lnTo>
                  <a:lnTo>
                    <a:pt x="1033" y="1042"/>
                  </a:lnTo>
                  <a:lnTo>
                    <a:pt x="1036" y="1048"/>
                  </a:lnTo>
                  <a:lnTo>
                    <a:pt x="1047" y="1071"/>
                  </a:lnTo>
                  <a:lnTo>
                    <a:pt x="1053" y="1077"/>
                  </a:lnTo>
                  <a:lnTo>
                    <a:pt x="1059" y="1094"/>
                  </a:lnTo>
                  <a:lnTo>
                    <a:pt x="1067" y="1111"/>
                  </a:lnTo>
                  <a:lnTo>
                    <a:pt x="1073" y="1118"/>
                  </a:lnTo>
                  <a:lnTo>
                    <a:pt x="1079" y="1125"/>
                  </a:lnTo>
                  <a:lnTo>
                    <a:pt x="1083" y="1128"/>
                  </a:lnTo>
                  <a:lnTo>
                    <a:pt x="1089" y="1133"/>
                  </a:lnTo>
                  <a:lnTo>
                    <a:pt x="1093" y="1140"/>
                  </a:lnTo>
                  <a:lnTo>
                    <a:pt x="1095" y="1146"/>
                  </a:lnTo>
                  <a:lnTo>
                    <a:pt x="1099" y="1157"/>
                  </a:lnTo>
                  <a:lnTo>
                    <a:pt x="1102" y="1160"/>
                  </a:lnTo>
                  <a:lnTo>
                    <a:pt x="1109" y="1166"/>
                  </a:lnTo>
                  <a:lnTo>
                    <a:pt x="1112" y="1168"/>
                  </a:lnTo>
                  <a:lnTo>
                    <a:pt x="1110" y="1177"/>
                  </a:lnTo>
                  <a:lnTo>
                    <a:pt x="1106" y="1187"/>
                  </a:lnTo>
                  <a:lnTo>
                    <a:pt x="1103" y="1197"/>
                  </a:lnTo>
                  <a:lnTo>
                    <a:pt x="1103" y="1203"/>
                  </a:lnTo>
                  <a:lnTo>
                    <a:pt x="1103" y="1213"/>
                  </a:lnTo>
                  <a:lnTo>
                    <a:pt x="1102" y="1223"/>
                  </a:lnTo>
                  <a:lnTo>
                    <a:pt x="1100" y="1229"/>
                  </a:lnTo>
                  <a:lnTo>
                    <a:pt x="1096" y="1234"/>
                  </a:lnTo>
                  <a:lnTo>
                    <a:pt x="1089" y="1237"/>
                  </a:lnTo>
                  <a:lnTo>
                    <a:pt x="1082" y="1240"/>
                  </a:lnTo>
                  <a:lnTo>
                    <a:pt x="1070" y="1241"/>
                  </a:lnTo>
                  <a:lnTo>
                    <a:pt x="1064" y="1244"/>
                  </a:lnTo>
                  <a:lnTo>
                    <a:pt x="1060" y="1246"/>
                  </a:lnTo>
                  <a:lnTo>
                    <a:pt x="1054" y="1250"/>
                  </a:lnTo>
                  <a:lnTo>
                    <a:pt x="1050" y="1257"/>
                  </a:lnTo>
                  <a:lnTo>
                    <a:pt x="1047" y="1263"/>
                  </a:lnTo>
                  <a:lnTo>
                    <a:pt x="1047" y="1266"/>
                  </a:lnTo>
                  <a:lnTo>
                    <a:pt x="1047" y="1272"/>
                  </a:lnTo>
                  <a:lnTo>
                    <a:pt x="1052" y="1274"/>
                  </a:lnTo>
                  <a:lnTo>
                    <a:pt x="1054" y="1276"/>
                  </a:lnTo>
                  <a:lnTo>
                    <a:pt x="1060" y="1276"/>
                  </a:lnTo>
                  <a:lnTo>
                    <a:pt x="1064" y="1280"/>
                  </a:lnTo>
                  <a:lnTo>
                    <a:pt x="1069" y="1283"/>
                  </a:lnTo>
                  <a:lnTo>
                    <a:pt x="1070" y="1290"/>
                  </a:lnTo>
                  <a:lnTo>
                    <a:pt x="1072" y="1297"/>
                  </a:lnTo>
                  <a:lnTo>
                    <a:pt x="1072" y="1312"/>
                  </a:lnTo>
                  <a:lnTo>
                    <a:pt x="1069" y="1325"/>
                  </a:lnTo>
                  <a:lnTo>
                    <a:pt x="1067" y="1336"/>
                  </a:lnTo>
                  <a:lnTo>
                    <a:pt x="1062" y="1349"/>
                  </a:lnTo>
                  <a:lnTo>
                    <a:pt x="1057" y="1355"/>
                  </a:lnTo>
                  <a:lnTo>
                    <a:pt x="1050" y="1362"/>
                  </a:lnTo>
                  <a:lnTo>
                    <a:pt x="1046" y="1368"/>
                  </a:lnTo>
                  <a:lnTo>
                    <a:pt x="1046" y="1375"/>
                  </a:lnTo>
                  <a:lnTo>
                    <a:pt x="1047" y="1379"/>
                  </a:lnTo>
                  <a:lnTo>
                    <a:pt x="1047" y="1382"/>
                  </a:lnTo>
                  <a:lnTo>
                    <a:pt x="1049" y="1390"/>
                  </a:lnTo>
                  <a:lnTo>
                    <a:pt x="1050" y="1402"/>
                  </a:lnTo>
                  <a:lnTo>
                    <a:pt x="1050" y="1412"/>
                  </a:lnTo>
                  <a:lnTo>
                    <a:pt x="1049" y="1422"/>
                  </a:lnTo>
                  <a:lnTo>
                    <a:pt x="1050" y="1425"/>
                  </a:lnTo>
                  <a:lnTo>
                    <a:pt x="1054" y="1435"/>
                  </a:lnTo>
                  <a:lnTo>
                    <a:pt x="1054" y="1443"/>
                  </a:lnTo>
                  <a:lnTo>
                    <a:pt x="1053" y="1446"/>
                  </a:lnTo>
                  <a:lnTo>
                    <a:pt x="1053" y="1456"/>
                  </a:lnTo>
                  <a:lnTo>
                    <a:pt x="1052" y="1469"/>
                  </a:lnTo>
                  <a:lnTo>
                    <a:pt x="1050" y="1476"/>
                  </a:lnTo>
                  <a:lnTo>
                    <a:pt x="1046" y="1482"/>
                  </a:lnTo>
                  <a:lnTo>
                    <a:pt x="1042" y="1495"/>
                  </a:lnTo>
                  <a:lnTo>
                    <a:pt x="1039" y="1508"/>
                  </a:lnTo>
                  <a:lnTo>
                    <a:pt x="1039" y="1512"/>
                  </a:lnTo>
                  <a:lnTo>
                    <a:pt x="1042" y="1525"/>
                  </a:lnTo>
                  <a:lnTo>
                    <a:pt x="1043" y="1535"/>
                  </a:lnTo>
                  <a:lnTo>
                    <a:pt x="1046" y="1542"/>
                  </a:lnTo>
                  <a:lnTo>
                    <a:pt x="1046" y="1549"/>
                  </a:lnTo>
                  <a:lnTo>
                    <a:pt x="1050" y="1555"/>
                  </a:lnTo>
                  <a:lnTo>
                    <a:pt x="1053" y="1561"/>
                  </a:lnTo>
                  <a:lnTo>
                    <a:pt x="1053" y="1564"/>
                  </a:lnTo>
                  <a:lnTo>
                    <a:pt x="1052" y="1571"/>
                  </a:lnTo>
                  <a:lnTo>
                    <a:pt x="1054" y="1581"/>
                  </a:lnTo>
                  <a:lnTo>
                    <a:pt x="1059" y="1595"/>
                  </a:lnTo>
                  <a:lnTo>
                    <a:pt x="1062" y="1614"/>
                  </a:lnTo>
                  <a:lnTo>
                    <a:pt x="1063" y="1618"/>
                  </a:lnTo>
                  <a:lnTo>
                    <a:pt x="1063" y="1624"/>
                  </a:lnTo>
                  <a:lnTo>
                    <a:pt x="1064" y="1638"/>
                  </a:lnTo>
                  <a:lnTo>
                    <a:pt x="1064" y="1653"/>
                  </a:lnTo>
                  <a:lnTo>
                    <a:pt x="1062" y="1663"/>
                  </a:lnTo>
                  <a:lnTo>
                    <a:pt x="1056" y="1670"/>
                  </a:lnTo>
                  <a:lnTo>
                    <a:pt x="1050" y="1677"/>
                  </a:lnTo>
                  <a:lnTo>
                    <a:pt x="1047" y="1684"/>
                  </a:lnTo>
                  <a:lnTo>
                    <a:pt x="1047" y="1691"/>
                  </a:lnTo>
                  <a:lnTo>
                    <a:pt x="1047" y="1694"/>
                  </a:lnTo>
                  <a:lnTo>
                    <a:pt x="1049" y="1706"/>
                  </a:lnTo>
                  <a:lnTo>
                    <a:pt x="1052" y="1721"/>
                  </a:lnTo>
                  <a:lnTo>
                    <a:pt x="1057" y="1743"/>
                  </a:lnTo>
                  <a:lnTo>
                    <a:pt x="1060" y="1754"/>
                  </a:lnTo>
                  <a:lnTo>
                    <a:pt x="1060" y="1754"/>
                  </a:lnTo>
                  <a:lnTo>
                    <a:pt x="1060" y="1764"/>
                  </a:lnTo>
                  <a:lnTo>
                    <a:pt x="1062" y="1767"/>
                  </a:lnTo>
                  <a:lnTo>
                    <a:pt x="1062" y="1770"/>
                  </a:lnTo>
                  <a:lnTo>
                    <a:pt x="1064" y="1776"/>
                  </a:lnTo>
                  <a:lnTo>
                    <a:pt x="1067" y="1780"/>
                  </a:lnTo>
                  <a:lnTo>
                    <a:pt x="1070" y="1781"/>
                  </a:lnTo>
                  <a:lnTo>
                    <a:pt x="1075" y="1790"/>
                  </a:lnTo>
                  <a:lnTo>
                    <a:pt x="1077" y="1794"/>
                  </a:lnTo>
                  <a:lnTo>
                    <a:pt x="1087" y="1794"/>
                  </a:lnTo>
                  <a:lnTo>
                    <a:pt x="1093" y="1800"/>
                  </a:lnTo>
                  <a:lnTo>
                    <a:pt x="1096" y="1804"/>
                  </a:lnTo>
                  <a:lnTo>
                    <a:pt x="1096" y="1806"/>
                  </a:lnTo>
                  <a:lnTo>
                    <a:pt x="1099" y="1810"/>
                  </a:lnTo>
                  <a:lnTo>
                    <a:pt x="1100" y="1812"/>
                  </a:lnTo>
                  <a:lnTo>
                    <a:pt x="1102" y="1814"/>
                  </a:lnTo>
                  <a:lnTo>
                    <a:pt x="1102" y="1822"/>
                  </a:lnTo>
                  <a:lnTo>
                    <a:pt x="1109" y="1826"/>
                  </a:lnTo>
                  <a:lnTo>
                    <a:pt x="1115" y="1830"/>
                  </a:lnTo>
                  <a:lnTo>
                    <a:pt x="1119" y="1832"/>
                  </a:lnTo>
                  <a:lnTo>
                    <a:pt x="1120" y="1834"/>
                  </a:lnTo>
                  <a:lnTo>
                    <a:pt x="1122" y="1840"/>
                  </a:lnTo>
                  <a:lnTo>
                    <a:pt x="1122" y="1846"/>
                  </a:lnTo>
                  <a:lnTo>
                    <a:pt x="1123" y="1853"/>
                  </a:lnTo>
                  <a:lnTo>
                    <a:pt x="1125" y="1856"/>
                  </a:lnTo>
                  <a:lnTo>
                    <a:pt x="1125" y="1857"/>
                  </a:lnTo>
                  <a:lnTo>
                    <a:pt x="1125" y="1862"/>
                  </a:lnTo>
                  <a:lnTo>
                    <a:pt x="1128" y="1866"/>
                  </a:lnTo>
                  <a:lnTo>
                    <a:pt x="1129" y="1867"/>
                  </a:lnTo>
                  <a:lnTo>
                    <a:pt x="1133" y="1870"/>
                  </a:lnTo>
                  <a:lnTo>
                    <a:pt x="1136" y="1873"/>
                  </a:lnTo>
                  <a:lnTo>
                    <a:pt x="1136" y="1877"/>
                  </a:lnTo>
                  <a:lnTo>
                    <a:pt x="1136" y="1880"/>
                  </a:lnTo>
                  <a:lnTo>
                    <a:pt x="1136" y="1886"/>
                  </a:lnTo>
                  <a:lnTo>
                    <a:pt x="1138" y="1892"/>
                  </a:lnTo>
                  <a:lnTo>
                    <a:pt x="1143" y="1896"/>
                  </a:lnTo>
                  <a:lnTo>
                    <a:pt x="1149" y="1902"/>
                  </a:lnTo>
                  <a:lnTo>
                    <a:pt x="1158" y="1910"/>
                  </a:lnTo>
                  <a:lnTo>
                    <a:pt x="1163" y="1916"/>
                  </a:lnTo>
                  <a:lnTo>
                    <a:pt x="1168" y="1920"/>
                  </a:lnTo>
                  <a:lnTo>
                    <a:pt x="1169" y="1920"/>
                  </a:lnTo>
                  <a:lnTo>
                    <a:pt x="1175" y="1928"/>
                  </a:lnTo>
                  <a:lnTo>
                    <a:pt x="1179" y="1939"/>
                  </a:lnTo>
                  <a:lnTo>
                    <a:pt x="1182" y="1942"/>
                  </a:lnTo>
                  <a:lnTo>
                    <a:pt x="1185" y="1943"/>
                  </a:lnTo>
                  <a:lnTo>
                    <a:pt x="1192" y="1953"/>
                  </a:lnTo>
                  <a:lnTo>
                    <a:pt x="1198" y="1959"/>
                  </a:lnTo>
                  <a:lnTo>
                    <a:pt x="1206" y="1969"/>
                  </a:lnTo>
                  <a:lnTo>
                    <a:pt x="1206" y="1972"/>
                  </a:lnTo>
                  <a:lnTo>
                    <a:pt x="1206" y="1981"/>
                  </a:lnTo>
                  <a:lnTo>
                    <a:pt x="1205" y="1983"/>
                  </a:lnTo>
                  <a:lnTo>
                    <a:pt x="1203" y="1983"/>
                  </a:lnTo>
                  <a:lnTo>
                    <a:pt x="1201" y="1982"/>
                  </a:lnTo>
                  <a:lnTo>
                    <a:pt x="1199" y="1982"/>
                  </a:lnTo>
                  <a:lnTo>
                    <a:pt x="1201" y="1986"/>
                  </a:lnTo>
                  <a:lnTo>
                    <a:pt x="1206" y="1989"/>
                  </a:lnTo>
                  <a:lnTo>
                    <a:pt x="1211" y="1991"/>
                  </a:lnTo>
                  <a:lnTo>
                    <a:pt x="1215" y="1989"/>
                  </a:lnTo>
                  <a:lnTo>
                    <a:pt x="1216" y="1989"/>
                  </a:lnTo>
                  <a:lnTo>
                    <a:pt x="1218" y="1991"/>
                  </a:lnTo>
                  <a:lnTo>
                    <a:pt x="1222" y="1992"/>
                  </a:lnTo>
                  <a:lnTo>
                    <a:pt x="1225" y="1993"/>
                  </a:lnTo>
                  <a:lnTo>
                    <a:pt x="1228" y="1998"/>
                  </a:lnTo>
                  <a:lnTo>
                    <a:pt x="1233" y="2003"/>
                  </a:lnTo>
                  <a:lnTo>
                    <a:pt x="1241" y="2016"/>
                  </a:lnTo>
                  <a:lnTo>
                    <a:pt x="1244" y="2023"/>
                  </a:lnTo>
                  <a:lnTo>
                    <a:pt x="1245" y="2031"/>
                  </a:lnTo>
                  <a:lnTo>
                    <a:pt x="1248" y="2032"/>
                  </a:lnTo>
                  <a:lnTo>
                    <a:pt x="1249" y="2035"/>
                  </a:lnTo>
                  <a:lnTo>
                    <a:pt x="1254" y="2042"/>
                  </a:lnTo>
                  <a:lnTo>
                    <a:pt x="1254" y="2045"/>
                  </a:lnTo>
                  <a:lnTo>
                    <a:pt x="1255" y="2048"/>
                  </a:lnTo>
                  <a:lnTo>
                    <a:pt x="1252" y="2049"/>
                  </a:lnTo>
                  <a:lnTo>
                    <a:pt x="1249" y="2046"/>
                  </a:lnTo>
                  <a:lnTo>
                    <a:pt x="1248" y="2042"/>
                  </a:lnTo>
                  <a:lnTo>
                    <a:pt x="1245" y="2039"/>
                  </a:lnTo>
                  <a:lnTo>
                    <a:pt x="1245" y="2042"/>
                  </a:lnTo>
                  <a:lnTo>
                    <a:pt x="1248" y="2048"/>
                  </a:lnTo>
                  <a:lnTo>
                    <a:pt x="1251" y="2051"/>
                  </a:lnTo>
                  <a:lnTo>
                    <a:pt x="1254" y="2054"/>
                  </a:lnTo>
                  <a:lnTo>
                    <a:pt x="1258" y="2055"/>
                  </a:lnTo>
                  <a:lnTo>
                    <a:pt x="1259" y="2056"/>
                  </a:lnTo>
                  <a:lnTo>
                    <a:pt x="1261" y="2061"/>
                  </a:lnTo>
                  <a:lnTo>
                    <a:pt x="1264" y="2062"/>
                  </a:lnTo>
                  <a:lnTo>
                    <a:pt x="1265" y="2065"/>
                  </a:lnTo>
                  <a:lnTo>
                    <a:pt x="1269" y="2065"/>
                  </a:lnTo>
                  <a:lnTo>
                    <a:pt x="1271" y="2066"/>
                  </a:lnTo>
                  <a:lnTo>
                    <a:pt x="1271" y="2071"/>
                  </a:lnTo>
                  <a:lnTo>
                    <a:pt x="1275" y="2072"/>
                  </a:lnTo>
                  <a:lnTo>
                    <a:pt x="1278" y="2074"/>
                  </a:lnTo>
                  <a:lnTo>
                    <a:pt x="1281" y="2075"/>
                  </a:lnTo>
                  <a:lnTo>
                    <a:pt x="1281" y="2079"/>
                  </a:lnTo>
                  <a:lnTo>
                    <a:pt x="1284" y="2084"/>
                  </a:lnTo>
                  <a:lnTo>
                    <a:pt x="1288" y="2088"/>
                  </a:lnTo>
                  <a:lnTo>
                    <a:pt x="1288" y="2089"/>
                  </a:lnTo>
                  <a:lnTo>
                    <a:pt x="1288" y="2092"/>
                  </a:lnTo>
                  <a:lnTo>
                    <a:pt x="1291" y="2094"/>
                  </a:lnTo>
                  <a:lnTo>
                    <a:pt x="1294" y="2095"/>
                  </a:lnTo>
                  <a:lnTo>
                    <a:pt x="1299" y="2097"/>
                  </a:lnTo>
                  <a:lnTo>
                    <a:pt x="1308" y="2104"/>
                  </a:lnTo>
                  <a:lnTo>
                    <a:pt x="1314" y="2109"/>
                  </a:lnTo>
                  <a:lnTo>
                    <a:pt x="1317" y="2111"/>
                  </a:lnTo>
                  <a:lnTo>
                    <a:pt x="1317" y="2112"/>
                  </a:lnTo>
                  <a:lnTo>
                    <a:pt x="1319" y="2115"/>
                  </a:lnTo>
                  <a:lnTo>
                    <a:pt x="1324" y="2118"/>
                  </a:lnTo>
                  <a:lnTo>
                    <a:pt x="1332" y="2122"/>
                  </a:lnTo>
                  <a:lnTo>
                    <a:pt x="1338" y="2122"/>
                  </a:lnTo>
                  <a:lnTo>
                    <a:pt x="1348" y="2119"/>
                  </a:lnTo>
                  <a:lnTo>
                    <a:pt x="1352" y="2121"/>
                  </a:lnTo>
                  <a:lnTo>
                    <a:pt x="1361" y="2127"/>
                  </a:lnTo>
                  <a:lnTo>
                    <a:pt x="1370" y="2129"/>
                  </a:lnTo>
                  <a:lnTo>
                    <a:pt x="1374" y="2132"/>
                  </a:lnTo>
                  <a:lnTo>
                    <a:pt x="1374" y="2135"/>
                  </a:lnTo>
                  <a:lnTo>
                    <a:pt x="1377" y="2138"/>
                  </a:lnTo>
                  <a:lnTo>
                    <a:pt x="1381" y="2139"/>
                  </a:lnTo>
                  <a:lnTo>
                    <a:pt x="1384" y="2141"/>
                  </a:lnTo>
                  <a:lnTo>
                    <a:pt x="1385" y="2145"/>
                  </a:lnTo>
                  <a:lnTo>
                    <a:pt x="1390" y="2151"/>
                  </a:lnTo>
                  <a:lnTo>
                    <a:pt x="1392" y="2152"/>
                  </a:lnTo>
                  <a:lnTo>
                    <a:pt x="1395" y="2151"/>
                  </a:lnTo>
                  <a:lnTo>
                    <a:pt x="1400" y="2151"/>
                  </a:lnTo>
                  <a:lnTo>
                    <a:pt x="1408" y="2150"/>
                  </a:lnTo>
                  <a:lnTo>
                    <a:pt x="1415" y="2150"/>
                  </a:lnTo>
                  <a:lnTo>
                    <a:pt x="1427" y="2155"/>
                  </a:lnTo>
                  <a:lnTo>
                    <a:pt x="1435" y="2158"/>
                  </a:lnTo>
                  <a:lnTo>
                    <a:pt x="1444" y="2158"/>
                  </a:lnTo>
                  <a:lnTo>
                    <a:pt x="1453" y="2160"/>
                  </a:lnTo>
                  <a:lnTo>
                    <a:pt x="1464" y="2165"/>
                  </a:lnTo>
                  <a:lnTo>
                    <a:pt x="1477" y="2171"/>
                  </a:lnTo>
                  <a:lnTo>
                    <a:pt x="1481" y="2172"/>
                  </a:lnTo>
                  <a:lnTo>
                    <a:pt x="1490" y="2172"/>
                  </a:lnTo>
                  <a:lnTo>
                    <a:pt x="1496" y="2177"/>
                  </a:lnTo>
                  <a:lnTo>
                    <a:pt x="1504" y="2182"/>
                  </a:lnTo>
                  <a:lnTo>
                    <a:pt x="1506" y="2184"/>
                  </a:lnTo>
                  <a:lnTo>
                    <a:pt x="1507" y="2184"/>
                  </a:lnTo>
                  <a:lnTo>
                    <a:pt x="1508" y="2185"/>
                  </a:lnTo>
                  <a:lnTo>
                    <a:pt x="1513" y="2190"/>
                  </a:lnTo>
                  <a:lnTo>
                    <a:pt x="1520" y="2192"/>
                  </a:lnTo>
                  <a:lnTo>
                    <a:pt x="1527" y="2195"/>
                  </a:lnTo>
                  <a:lnTo>
                    <a:pt x="1533" y="2195"/>
                  </a:lnTo>
                  <a:lnTo>
                    <a:pt x="1540" y="2195"/>
                  </a:lnTo>
                  <a:lnTo>
                    <a:pt x="1544" y="2198"/>
                  </a:lnTo>
                  <a:lnTo>
                    <a:pt x="1547" y="2203"/>
                  </a:lnTo>
                  <a:lnTo>
                    <a:pt x="1557" y="2207"/>
                  </a:lnTo>
                  <a:lnTo>
                    <a:pt x="1561" y="2207"/>
                  </a:lnTo>
                  <a:lnTo>
                    <a:pt x="1567" y="2204"/>
                  </a:lnTo>
                  <a:lnTo>
                    <a:pt x="1573" y="2205"/>
                  </a:lnTo>
                  <a:lnTo>
                    <a:pt x="1579" y="2208"/>
                  </a:lnTo>
                  <a:lnTo>
                    <a:pt x="1584" y="2211"/>
                  </a:lnTo>
                  <a:lnTo>
                    <a:pt x="1597" y="2214"/>
                  </a:lnTo>
                  <a:lnTo>
                    <a:pt x="1604" y="2214"/>
                  </a:lnTo>
                  <a:lnTo>
                    <a:pt x="1609" y="2217"/>
                  </a:lnTo>
                  <a:lnTo>
                    <a:pt x="1612" y="2218"/>
                  </a:lnTo>
                  <a:lnTo>
                    <a:pt x="1616" y="2223"/>
                  </a:lnTo>
                  <a:lnTo>
                    <a:pt x="1619" y="2227"/>
                  </a:lnTo>
                  <a:lnTo>
                    <a:pt x="1623" y="2228"/>
                  </a:lnTo>
                  <a:lnTo>
                    <a:pt x="1633" y="2230"/>
                  </a:lnTo>
                  <a:lnTo>
                    <a:pt x="1640" y="2231"/>
                  </a:lnTo>
                  <a:lnTo>
                    <a:pt x="1647" y="2234"/>
                  </a:lnTo>
                  <a:lnTo>
                    <a:pt x="1650" y="2233"/>
                  </a:lnTo>
                  <a:lnTo>
                    <a:pt x="1653" y="2231"/>
                  </a:lnTo>
                  <a:lnTo>
                    <a:pt x="1659" y="2228"/>
                  </a:lnTo>
                  <a:lnTo>
                    <a:pt x="1667" y="2225"/>
                  </a:lnTo>
                  <a:lnTo>
                    <a:pt x="1670" y="2224"/>
                  </a:lnTo>
                  <a:lnTo>
                    <a:pt x="1670" y="2223"/>
                  </a:lnTo>
                  <a:lnTo>
                    <a:pt x="1670" y="2218"/>
                  </a:lnTo>
                  <a:lnTo>
                    <a:pt x="1672" y="2215"/>
                  </a:lnTo>
                  <a:lnTo>
                    <a:pt x="1673" y="2214"/>
                  </a:lnTo>
                  <a:lnTo>
                    <a:pt x="1679" y="2213"/>
                  </a:lnTo>
                  <a:lnTo>
                    <a:pt x="1683" y="2211"/>
                  </a:lnTo>
                  <a:lnTo>
                    <a:pt x="1686" y="2210"/>
                  </a:lnTo>
                  <a:lnTo>
                    <a:pt x="1687" y="2208"/>
                  </a:lnTo>
                  <a:lnTo>
                    <a:pt x="1693" y="2208"/>
                  </a:lnTo>
                  <a:lnTo>
                    <a:pt x="1698" y="2210"/>
                  </a:lnTo>
                  <a:lnTo>
                    <a:pt x="1705" y="2210"/>
                  </a:lnTo>
                  <a:lnTo>
                    <a:pt x="1709" y="2213"/>
                  </a:lnTo>
                  <a:lnTo>
                    <a:pt x="1718" y="2215"/>
                  </a:lnTo>
                  <a:lnTo>
                    <a:pt x="1723" y="2217"/>
                  </a:lnTo>
                  <a:lnTo>
                    <a:pt x="1729" y="2223"/>
                  </a:lnTo>
                  <a:lnTo>
                    <a:pt x="1735" y="2230"/>
                  </a:lnTo>
                  <a:lnTo>
                    <a:pt x="1745" y="2233"/>
                  </a:lnTo>
                  <a:lnTo>
                    <a:pt x="1746" y="2234"/>
                  </a:lnTo>
                  <a:lnTo>
                    <a:pt x="1748" y="2238"/>
                  </a:lnTo>
                  <a:lnTo>
                    <a:pt x="1749" y="2243"/>
                  </a:lnTo>
                  <a:lnTo>
                    <a:pt x="1756" y="2253"/>
                  </a:lnTo>
                  <a:lnTo>
                    <a:pt x="1758" y="2258"/>
                  </a:lnTo>
                  <a:lnTo>
                    <a:pt x="1758" y="2263"/>
                  </a:lnTo>
                  <a:lnTo>
                    <a:pt x="1761" y="2267"/>
                  </a:lnTo>
                  <a:lnTo>
                    <a:pt x="1766" y="2268"/>
                  </a:lnTo>
                  <a:lnTo>
                    <a:pt x="1769" y="2274"/>
                  </a:lnTo>
                  <a:lnTo>
                    <a:pt x="1776" y="2287"/>
                  </a:lnTo>
                  <a:lnTo>
                    <a:pt x="1786" y="2301"/>
                  </a:lnTo>
                  <a:lnTo>
                    <a:pt x="1798" y="2314"/>
                  </a:lnTo>
                  <a:lnTo>
                    <a:pt x="1801" y="2317"/>
                  </a:lnTo>
                  <a:lnTo>
                    <a:pt x="1808" y="2321"/>
                  </a:lnTo>
                  <a:lnTo>
                    <a:pt x="1818" y="2330"/>
                  </a:lnTo>
                  <a:lnTo>
                    <a:pt x="1825" y="2336"/>
                  </a:lnTo>
                  <a:lnTo>
                    <a:pt x="1831" y="2343"/>
                  </a:lnTo>
                  <a:lnTo>
                    <a:pt x="1834" y="2349"/>
                  </a:lnTo>
                  <a:lnTo>
                    <a:pt x="1836" y="2353"/>
                  </a:lnTo>
                  <a:lnTo>
                    <a:pt x="1836" y="2357"/>
                  </a:lnTo>
                  <a:lnTo>
                    <a:pt x="1836" y="2361"/>
                  </a:lnTo>
                  <a:lnTo>
                    <a:pt x="1836" y="2369"/>
                  </a:lnTo>
                  <a:lnTo>
                    <a:pt x="1835" y="2373"/>
                  </a:lnTo>
                  <a:lnTo>
                    <a:pt x="1829" y="2373"/>
                  </a:lnTo>
                  <a:lnTo>
                    <a:pt x="1829" y="2369"/>
                  </a:lnTo>
                  <a:lnTo>
                    <a:pt x="1829" y="2359"/>
                  </a:lnTo>
                  <a:lnTo>
                    <a:pt x="1826" y="2351"/>
                  </a:lnTo>
                  <a:lnTo>
                    <a:pt x="1822" y="2344"/>
                  </a:lnTo>
                  <a:lnTo>
                    <a:pt x="1816" y="2343"/>
                  </a:lnTo>
                  <a:lnTo>
                    <a:pt x="1812" y="2341"/>
                  </a:lnTo>
                  <a:lnTo>
                    <a:pt x="1808" y="2336"/>
                  </a:lnTo>
                  <a:lnTo>
                    <a:pt x="1806" y="2330"/>
                  </a:lnTo>
                  <a:lnTo>
                    <a:pt x="1799" y="2327"/>
                  </a:lnTo>
                  <a:lnTo>
                    <a:pt x="1791" y="2320"/>
                  </a:lnTo>
                  <a:lnTo>
                    <a:pt x="1785" y="2316"/>
                  </a:lnTo>
                  <a:lnTo>
                    <a:pt x="1785" y="2313"/>
                  </a:lnTo>
                  <a:lnTo>
                    <a:pt x="1783" y="2310"/>
                  </a:lnTo>
                  <a:lnTo>
                    <a:pt x="1779" y="2310"/>
                  </a:lnTo>
                  <a:lnTo>
                    <a:pt x="1779" y="2304"/>
                  </a:lnTo>
                  <a:lnTo>
                    <a:pt x="1779" y="2298"/>
                  </a:lnTo>
                  <a:lnTo>
                    <a:pt x="1773" y="2291"/>
                  </a:lnTo>
                  <a:lnTo>
                    <a:pt x="1772" y="2290"/>
                  </a:lnTo>
                  <a:lnTo>
                    <a:pt x="1766" y="2284"/>
                  </a:lnTo>
                  <a:lnTo>
                    <a:pt x="1765" y="2281"/>
                  </a:lnTo>
                  <a:lnTo>
                    <a:pt x="1762" y="2276"/>
                  </a:lnTo>
                  <a:lnTo>
                    <a:pt x="1758" y="2274"/>
                  </a:lnTo>
                  <a:lnTo>
                    <a:pt x="1755" y="2274"/>
                  </a:lnTo>
                  <a:lnTo>
                    <a:pt x="1746" y="2266"/>
                  </a:lnTo>
                  <a:lnTo>
                    <a:pt x="1746" y="2264"/>
                  </a:lnTo>
                  <a:lnTo>
                    <a:pt x="1745" y="2261"/>
                  </a:lnTo>
                  <a:lnTo>
                    <a:pt x="1745" y="2258"/>
                  </a:lnTo>
                  <a:lnTo>
                    <a:pt x="1745" y="2255"/>
                  </a:lnTo>
                  <a:lnTo>
                    <a:pt x="1745" y="2254"/>
                  </a:lnTo>
                  <a:lnTo>
                    <a:pt x="1745" y="2248"/>
                  </a:lnTo>
                  <a:lnTo>
                    <a:pt x="1742" y="2245"/>
                  </a:lnTo>
                  <a:lnTo>
                    <a:pt x="1742" y="2244"/>
                  </a:lnTo>
                  <a:lnTo>
                    <a:pt x="1740" y="2241"/>
                  </a:lnTo>
                  <a:lnTo>
                    <a:pt x="1738" y="2237"/>
                  </a:lnTo>
                  <a:lnTo>
                    <a:pt x="1733" y="2237"/>
                  </a:lnTo>
                  <a:lnTo>
                    <a:pt x="1729" y="2237"/>
                  </a:lnTo>
                  <a:lnTo>
                    <a:pt x="1722" y="2230"/>
                  </a:lnTo>
                  <a:lnTo>
                    <a:pt x="1713" y="2220"/>
                  </a:lnTo>
                  <a:lnTo>
                    <a:pt x="1706" y="2217"/>
                  </a:lnTo>
                  <a:lnTo>
                    <a:pt x="1698" y="2217"/>
                  </a:lnTo>
                  <a:lnTo>
                    <a:pt x="1692" y="2220"/>
                  </a:lnTo>
                  <a:lnTo>
                    <a:pt x="1687" y="2227"/>
                  </a:lnTo>
                  <a:lnTo>
                    <a:pt x="1682" y="2230"/>
                  </a:lnTo>
                  <a:lnTo>
                    <a:pt x="1676" y="2231"/>
                  </a:lnTo>
                  <a:lnTo>
                    <a:pt x="1673" y="2231"/>
                  </a:lnTo>
                  <a:lnTo>
                    <a:pt x="1670" y="2233"/>
                  </a:lnTo>
                  <a:lnTo>
                    <a:pt x="1669" y="2233"/>
                  </a:lnTo>
                  <a:lnTo>
                    <a:pt x="1665" y="2233"/>
                  </a:lnTo>
                  <a:lnTo>
                    <a:pt x="1660" y="2233"/>
                  </a:lnTo>
                  <a:lnTo>
                    <a:pt x="1657" y="2234"/>
                  </a:lnTo>
                  <a:lnTo>
                    <a:pt x="1655" y="2238"/>
                  </a:lnTo>
                  <a:lnTo>
                    <a:pt x="1653" y="2238"/>
                  </a:lnTo>
                  <a:lnTo>
                    <a:pt x="1652" y="2240"/>
                  </a:lnTo>
                  <a:lnTo>
                    <a:pt x="1649" y="2243"/>
                  </a:lnTo>
                  <a:lnTo>
                    <a:pt x="1643" y="2243"/>
                  </a:lnTo>
                  <a:lnTo>
                    <a:pt x="1629" y="2241"/>
                  </a:lnTo>
                  <a:lnTo>
                    <a:pt x="1624" y="2240"/>
                  </a:lnTo>
                  <a:lnTo>
                    <a:pt x="1617" y="2235"/>
                  </a:lnTo>
                  <a:lnTo>
                    <a:pt x="1612" y="2230"/>
                  </a:lnTo>
                  <a:lnTo>
                    <a:pt x="1609" y="2228"/>
                  </a:lnTo>
                  <a:lnTo>
                    <a:pt x="1604" y="2224"/>
                  </a:lnTo>
                  <a:lnTo>
                    <a:pt x="1599" y="2224"/>
                  </a:lnTo>
                  <a:lnTo>
                    <a:pt x="1583" y="2223"/>
                  </a:lnTo>
                  <a:lnTo>
                    <a:pt x="1576" y="2224"/>
                  </a:lnTo>
                  <a:lnTo>
                    <a:pt x="1573" y="2223"/>
                  </a:lnTo>
                  <a:lnTo>
                    <a:pt x="1566" y="2220"/>
                  </a:lnTo>
                  <a:lnTo>
                    <a:pt x="1559" y="2215"/>
                  </a:lnTo>
                  <a:lnTo>
                    <a:pt x="1556" y="2214"/>
                  </a:lnTo>
                  <a:lnTo>
                    <a:pt x="1554" y="2214"/>
                  </a:lnTo>
                  <a:lnTo>
                    <a:pt x="1553" y="2214"/>
                  </a:lnTo>
                  <a:lnTo>
                    <a:pt x="1544" y="2213"/>
                  </a:lnTo>
                  <a:lnTo>
                    <a:pt x="1539" y="2211"/>
                  </a:lnTo>
                  <a:lnTo>
                    <a:pt x="1533" y="2208"/>
                  </a:lnTo>
                  <a:lnTo>
                    <a:pt x="1526" y="2208"/>
                  </a:lnTo>
                  <a:lnTo>
                    <a:pt x="1521" y="2208"/>
                  </a:lnTo>
                  <a:lnTo>
                    <a:pt x="1513" y="2204"/>
                  </a:lnTo>
                  <a:lnTo>
                    <a:pt x="1504" y="2198"/>
                  </a:lnTo>
                  <a:lnTo>
                    <a:pt x="1503" y="2198"/>
                  </a:lnTo>
                  <a:lnTo>
                    <a:pt x="1501" y="2197"/>
                  </a:lnTo>
                  <a:lnTo>
                    <a:pt x="1493" y="2194"/>
                  </a:lnTo>
                  <a:lnTo>
                    <a:pt x="1488" y="2192"/>
                  </a:lnTo>
                  <a:lnTo>
                    <a:pt x="1486" y="2192"/>
                  </a:lnTo>
                  <a:lnTo>
                    <a:pt x="1478" y="2185"/>
                  </a:lnTo>
                  <a:lnTo>
                    <a:pt x="1473" y="2180"/>
                  </a:lnTo>
                  <a:lnTo>
                    <a:pt x="1471" y="2180"/>
                  </a:lnTo>
                  <a:lnTo>
                    <a:pt x="1463" y="2174"/>
                  </a:lnTo>
                  <a:lnTo>
                    <a:pt x="1457" y="2170"/>
                  </a:lnTo>
                  <a:lnTo>
                    <a:pt x="1455" y="2170"/>
                  </a:lnTo>
                  <a:lnTo>
                    <a:pt x="1450" y="2167"/>
                  </a:lnTo>
                  <a:lnTo>
                    <a:pt x="1447" y="2165"/>
                  </a:lnTo>
                  <a:lnTo>
                    <a:pt x="1438" y="2167"/>
                  </a:lnTo>
                  <a:lnTo>
                    <a:pt x="1437" y="2168"/>
                  </a:lnTo>
                  <a:lnTo>
                    <a:pt x="1437" y="2170"/>
                  </a:lnTo>
                  <a:lnTo>
                    <a:pt x="1437" y="2171"/>
                  </a:lnTo>
                  <a:lnTo>
                    <a:pt x="1434" y="2172"/>
                  </a:lnTo>
                  <a:lnTo>
                    <a:pt x="1430" y="2171"/>
                  </a:lnTo>
                  <a:lnTo>
                    <a:pt x="1425" y="2171"/>
                  </a:lnTo>
                  <a:lnTo>
                    <a:pt x="1423" y="2171"/>
                  </a:lnTo>
                  <a:lnTo>
                    <a:pt x="1417" y="2171"/>
                  </a:lnTo>
                  <a:lnTo>
                    <a:pt x="1414" y="2170"/>
                  </a:lnTo>
                  <a:lnTo>
                    <a:pt x="1411" y="2168"/>
                  </a:lnTo>
                  <a:lnTo>
                    <a:pt x="1407" y="2162"/>
                  </a:lnTo>
                  <a:lnTo>
                    <a:pt x="1405" y="2161"/>
                  </a:lnTo>
                  <a:lnTo>
                    <a:pt x="1404" y="2164"/>
                  </a:lnTo>
                  <a:lnTo>
                    <a:pt x="1404" y="2165"/>
                  </a:lnTo>
                  <a:lnTo>
                    <a:pt x="1398" y="2165"/>
                  </a:lnTo>
                  <a:lnTo>
                    <a:pt x="1397" y="2164"/>
                  </a:lnTo>
                  <a:lnTo>
                    <a:pt x="1394" y="2162"/>
                  </a:lnTo>
                  <a:lnTo>
                    <a:pt x="1390" y="2162"/>
                  </a:lnTo>
                  <a:lnTo>
                    <a:pt x="1387" y="2164"/>
                  </a:lnTo>
                  <a:lnTo>
                    <a:pt x="1384" y="2164"/>
                  </a:lnTo>
                  <a:lnTo>
                    <a:pt x="1381" y="2164"/>
                  </a:lnTo>
                  <a:lnTo>
                    <a:pt x="1377" y="2164"/>
                  </a:lnTo>
                  <a:lnTo>
                    <a:pt x="1374" y="2165"/>
                  </a:lnTo>
                  <a:lnTo>
                    <a:pt x="1372" y="2167"/>
                  </a:lnTo>
                  <a:lnTo>
                    <a:pt x="1370" y="2168"/>
                  </a:lnTo>
                  <a:lnTo>
                    <a:pt x="1368" y="2168"/>
                  </a:lnTo>
                  <a:lnTo>
                    <a:pt x="1365" y="2165"/>
                  </a:lnTo>
                  <a:lnTo>
                    <a:pt x="1362" y="2162"/>
                  </a:lnTo>
                  <a:lnTo>
                    <a:pt x="1360" y="2162"/>
                  </a:lnTo>
                  <a:lnTo>
                    <a:pt x="1357" y="2162"/>
                  </a:lnTo>
                  <a:lnTo>
                    <a:pt x="1352" y="2162"/>
                  </a:lnTo>
                  <a:lnTo>
                    <a:pt x="1349" y="2162"/>
                  </a:lnTo>
                  <a:lnTo>
                    <a:pt x="1347" y="2160"/>
                  </a:lnTo>
                  <a:lnTo>
                    <a:pt x="1347" y="2160"/>
                  </a:lnTo>
                  <a:lnTo>
                    <a:pt x="1345" y="2155"/>
                  </a:lnTo>
                  <a:lnTo>
                    <a:pt x="1337" y="2148"/>
                  </a:lnTo>
                  <a:lnTo>
                    <a:pt x="1335" y="2148"/>
                  </a:lnTo>
                  <a:lnTo>
                    <a:pt x="1334" y="2148"/>
                  </a:lnTo>
                  <a:lnTo>
                    <a:pt x="1328" y="2142"/>
                  </a:lnTo>
                  <a:lnTo>
                    <a:pt x="1328" y="2139"/>
                  </a:lnTo>
                  <a:lnTo>
                    <a:pt x="1327" y="2138"/>
                  </a:lnTo>
                  <a:lnTo>
                    <a:pt x="1324" y="2137"/>
                  </a:lnTo>
                  <a:lnTo>
                    <a:pt x="1317" y="2134"/>
                  </a:lnTo>
                  <a:lnTo>
                    <a:pt x="1311" y="2128"/>
                  </a:lnTo>
                  <a:lnTo>
                    <a:pt x="1309" y="2125"/>
                  </a:lnTo>
                  <a:lnTo>
                    <a:pt x="1305" y="2124"/>
                  </a:lnTo>
                  <a:lnTo>
                    <a:pt x="1305" y="2124"/>
                  </a:lnTo>
                  <a:lnTo>
                    <a:pt x="1299" y="2119"/>
                  </a:lnTo>
                  <a:lnTo>
                    <a:pt x="1294" y="2115"/>
                  </a:lnTo>
                  <a:lnTo>
                    <a:pt x="1291" y="2117"/>
                  </a:lnTo>
                  <a:lnTo>
                    <a:pt x="1286" y="2117"/>
                  </a:lnTo>
                  <a:lnTo>
                    <a:pt x="1284" y="2115"/>
                  </a:lnTo>
                  <a:lnTo>
                    <a:pt x="1276" y="2107"/>
                  </a:lnTo>
                  <a:lnTo>
                    <a:pt x="1271" y="2101"/>
                  </a:lnTo>
                  <a:lnTo>
                    <a:pt x="1268" y="2097"/>
                  </a:lnTo>
                  <a:lnTo>
                    <a:pt x="1264" y="2092"/>
                  </a:lnTo>
                  <a:lnTo>
                    <a:pt x="1258" y="2089"/>
                  </a:lnTo>
                  <a:lnTo>
                    <a:pt x="1254" y="2086"/>
                  </a:lnTo>
                  <a:lnTo>
                    <a:pt x="1249" y="2079"/>
                  </a:lnTo>
                  <a:lnTo>
                    <a:pt x="1249" y="2078"/>
                  </a:lnTo>
                  <a:lnTo>
                    <a:pt x="1251" y="2075"/>
                  </a:lnTo>
                  <a:lnTo>
                    <a:pt x="1251" y="2072"/>
                  </a:lnTo>
                  <a:lnTo>
                    <a:pt x="1248" y="2069"/>
                  </a:lnTo>
                  <a:lnTo>
                    <a:pt x="1244" y="2065"/>
                  </a:lnTo>
                  <a:lnTo>
                    <a:pt x="1241" y="2061"/>
                  </a:lnTo>
                  <a:lnTo>
                    <a:pt x="1235" y="2046"/>
                  </a:lnTo>
                  <a:lnTo>
                    <a:pt x="1236" y="2041"/>
                  </a:lnTo>
                  <a:lnTo>
                    <a:pt x="1236" y="2036"/>
                  </a:lnTo>
                  <a:lnTo>
                    <a:pt x="1233" y="2032"/>
                  </a:lnTo>
                  <a:lnTo>
                    <a:pt x="1229" y="2025"/>
                  </a:lnTo>
                  <a:lnTo>
                    <a:pt x="1226" y="2021"/>
                  </a:lnTo>
                  <a:lnTo>
                    <a:pt x="1225" y="2013"/>
                  </a:lnTo>
                  <a:lnTo>
                    <a:pt x="1223" y="2009"/>
                  </a:lnTo>
                  <a:lnTo>
                    <a:pt x="1222" y="2005"/>
                  </a:lnTo>
                  <a:lnTo>
                    <a:pt x="1215" y="1999"/>
                  </a:lnTo>
                  <a:lnTo>
                    <a:pt x="1209" y="1998"/>
                  </a:lnTo>
                  <a:lnTo>
                    <a:pt x="1208" y="1996"/>
                  </a:lnTo>
                  <a:lnTo>
                    <a:pt x="1201" y="1993"/>
                  </a:lnTo>
                  <a:lnTo>
                    <a:pt x="1196" y="1991"/>
                  </a:lnTo>
                  <a:lnTo>
                    <a:pt x="1185" y="1973"/>
                  </a:lnTo>
                  <a:lnTo>
                    <a:pt x="1180" y="1966"/>
                  </a:lnTo>
                  <a:lnTo>
                    <a:pt x="1172" y="1959"/>
                  </a:lnTo>
                  <a:lnTo>
                    <a:pt x="1172" y="1958"/>
                  </a:lnTo>
                  <a:lnTo>
                    <a:pt x="1172" y="1956"/>
                  </a:lnTo>
                  <a:lnTo>
                    <a:pt x="1168" y="1952"/>
                  </a:lnTo>
                  <a:lnTo>
                    <a:pt x="1166" y="1949"/>
                  </a:lnTo>
                  <a:lnTo>
                    <a:pt x="1166" y="1945"/>
                  </a:lnTo>
                  <a:lnTo>
                    <a:pt x="1165" y="1942"/>
                  </a:lnTo>
                  <a:lnTo>
                    <a:pt x="1162" y="1936"/>
                  </a:lnTo>
                  <a:lnTo>
                    <a:pt x="1159" y="1930"/>
                  </a:lnTo>
                  <a:lnTo>
                    <a:pt x="1159" y="1930"/>
                  </a:lnTo>
                  <a:lnTo>
                    <a:pt x="1156" y="1923"/>
                  </a:lnTo>
                  <a:lnTo>
                    <a:pt x="1155" y="1922"/>
                  </a:lnTo>
                  <a:lnTo>
                    <a:pt x="1153" y="1919"/>
                  </a:lnTo>
                  <a:lnTo>
                    <a:pt x="1149" y="1916"/>
                  </a:lnTo>
                  <a:lnTo>
                    <a:pt x="1146" y="1912"/>
                  </a:lnTo>
                  <a:lnTo>
                    <a:pt x="1143" y="1909"/>
                  </a:lnTo>
                  <a:lnTo>
                    <a:pt x="1143" y="1907"/>
                  </a:lnTo>
                  <a:lnTo>
                    <a:pt x="1139" y="1903"/>
                  </a:lnTo>
                  <a:lnTo>
                    <a:pt x="1117" y="1869"/>
                  </a:lnTo>
                  <a:lnTo>
                    <a:pt x="1115" y="1859"/>
                  </a:lnTo>
                  <a:lnTo>
                    <a:pt x="1112" y="1853"/>
                  </a:lnTo>
                  <a:lnTo>
                    <a:pt x="1110" y="1849"/>
                  </a:lnTo>
                  <a:lnTo>
                    <a:pt x="1102" y="1840"/>
                  </a:lnTo>
                  <a:lnTo>
                    <a:pt x="1097" y="1834"/>
                  </a:lnTo>
                  <a:lnTo>
                    <a:pt x="1092" y="1826"/>
                  </a:lnTo>
                  <a:lnTo>
                    <a:pt x="1089" y="1820"/>
                  </a:lnTo>
                  <a:lnTo>
                    <a:pt x="1083" y="1813"/>
                  </a:lnTo>
                  <a:lnTo>
                    <a:pt x="1083" y="1812"/>
                  </a:lnTo>
                  <a:lnTo>
                    <a:pt x="1070" y="1800"/>
                  </a:lnTo>
                  <a:lnTo>
                    <a:pt x="1069" y="1794"/>
                  </a:lnTo>
                  <a:lnTo>
                    <a:pt x="1063" y="1786"/>
                  </a:lnTo>
                  <a:lnTo>
                    <a:pt x="1062" y="1783"/>
                  </a:lnTo>
                  <a:lnTo>
                    <a:pt x="1062" y="1783"/>
                  </a:lnTo>
                  <a:lnTo>
                    <a:pt x="1060" y="1780"/>
                  </a:lnTo>
                  <a:lnTo>
                    <a:pt x="1056" y="1773"/>
                  </a:lnTo>
                  <a:lnTo>
                    <a:pt x="1054" y="1766"/>
                  </a:lnTo>
                  <a:lnTo>
                    <a:pt x="1053" y="1759"/>
                  </a:lnTo>
                  <a:lnTo>
                    <a:pt x="1053" y="1748"/>
                  </a:lnTo>
                  <a:lnTo>
                    <a:pt x="1052" y="1744"/>
                  </a:lnTo>
                  <a:lnTo>
                    <a:pt x="1050" y="1734"/>
                  </a:lnTo>
                  <a:lnTo>
                    <a:pt x="1044" y="1718"/>
                  </a:lnTo>
                  <a:lnTo>
                    <a:pt x="1044" y="1716"/>
                  </a:lnTo>
                  <a:lnTo>
                    <a:pt x="1042" y="1708"/>
                  </a:lnTo>
                  <a:lnTo>
                    <a:pt x="1040" y="1696"/>
                  </a:lnTo>
                  <a:lnTo>
                    <a:pt x="1040" y="1693"/>
                  </a:lnTo>
                  <a:lnTo>
                    <a:pt x="1042" y="1678"/>
                  </a:lnTo>
                  <a:lnTo>
                    <a:pt x="1042" y="1674"/>
                  </a:lnTo>
                  <a:lnTo>
                    <a:pt x="1042" y="1674"/>
                  </a:lnTo>
                  <a:lnTo>
                    <a:pt x="1043" y="1670"/>
                  </a:lnTo>
                  <a:lnTo>
                    <a:pt x="1044" y="1668"/>
                  </a:lnTo>
                  <a:lnTo>
                    <a:pt x="1046" y="1665"/>
                  </a:lnTo>
                  <a:lnTo>
                    <a:pt x="1049" y="1658"/>
                  </a:lnTo>
                  <a:lnTo>
                    <a:pt x="1052" y="1653"/>
                  </a:lnTo>
                  <a:lnTo>
                    <a:pt x="1053" y="1647"/>
                  </a:lnTo>
                  <a:lnTo>
                    <a:pt x="1053" y="1647"/>
                  </a:lnTo>
                  <a:lnTo>
                    <a:pt x="1054" y="1643"/>
                  </a:lnTo>
                  <a:lnTo>
                    <a:pt x="1054" y="1640"/>
                  </a:lnTo>
                  <a:lnTo>
                    <a:pt x="1054" y="1638"/>
                  </a:lnTo>
                  <a:lnTo>
                    <a:pt x="1054" y="1635"/>
                  </a:lnTo>
                  <a:lnTo>
                    <a:pt x="1056" y="1628"/>
                  </a:lnTo>
                  <a:lnTo>
                    <a:pt x="1057" y="1624"/>
                  </a:lnTo>
                  <a:lnTo>
                    <a:pt x="1057" y="1614"/>
                  </a:lnTo>
                  <a:lnTo>
                    <a:pt x="1056" y="1611"/>
                  </a:lnTo>
                  <a:lnTo>
                    <a:pt x="1056" y="1610"/>
                  </a:lnTo>
                  <a:lnTo>
                    <a:pt x="1053" y="1600"/>
                  </a:lnTo>
                  <a:lnTo>
                    <a:pt x="1052" y="1597"/>
                  </a:lnTo>
                  <a:lnTo>
                    <a:pt x="1050" y="1590"/>
                  </a:lnTo>
                  <a:lnTo>
                    <a:pt x="1046" y="1575"/>
                  </a:lnTo>
                  <a:lnTo>
                    <a:pt x="1046" y="1571"/>
                  </a:lnTo>
                  <a:lnTo>
                    <a:pt x="1044" y="1561"/>
                  </a:lnTo>
                  <a:lnTo>
                    <a:pt x="1043" y="1559"/>
                  </a:lnTo>
                  <a:lnTo>
                    <a:pt x="1039" y="1554"/>
                  </a:lnTo>
                  <a:lnTo>
                    <a:pt x="1040" y="1547"/>
                  </a:lnTo>
                  <a:lnTo>
                    <a:pt x="1040" y="1541"/>
                  </a:lnTo>
                  <a:lnTo>
                    <a:pt x="1039" y="1537"/>
                  </a:lnTo>
                  <a:lnTo>
                    <a:pt x="1037" y="1537"/>
                  </a:lnTo>
                  <a:lnTo>
                    <a:pt x="1036" y="1532"/>
                  </a:lnTo>
                  <a:lnTo>
                    <a:pt x="1036" y="1529"/>
                  </a:lnTo>
                  <a:lnTo>
                    <a:pt x="1032" y="1515"/>
                  </a:lnTo>
                  <a:lnTo>
                    <a:pt x="1032" y="1511"/>
                  </a:lnTo>
                  <a:lnTo>
                    <a:pt x="1032" y="1509"/>
                  </a:lnTo>
                  <a:lnTo>
                    <a:pt x="1033" y="1504"/>
                  </a:lnTo>
                  <a:lnTo>
                    <a:pt x="1039" y="1476"/>
                  </a:lnTo>
                  <a:lnTo>
                    <a:pt x="1040" y="1474"/>
                  </a:lnTo>
                  <a:lnTo>
                    <a:pt x="1043" y="1469"/>
                  </a:lnTo>
                  <a:lnTo>
                    <a:pt x="1046" y="1458"/>
                  </a:lnTo>
                  <a:lnTo>
                    <a:pt x="1046" y="1456"/>
                  </a:lnTo>
                  <a:lnTo>
                    <a:pt x="1046" y="1452"/>
                  </a:lnTo>
                  <a:lnTo>
                    <a:pt x="1044" y="1442"/>
                  </a:lnTo>
                  <a:lnTo>
                    <a:pt x="1043" y="1433"/>
                  </a:lnTo>
                  <a:lnTo>
                    <a:pt x="1043" y="1426"/>
                  </a:lnTo>
                  <a:lnTo>
                    <a:pt x="1043" y="1422"/>
                  </a:lnTo>
                  <a:lnTo>
                    <a:pt x="1044" y="1400"/>
                  </a:lnTo>
                  <a:lnTo>
                    <a:pt x="1037" y="1369"/>
                  </a:lnTo>
                  <a:lnTo>
                    <a:pt x="1039" y="1365"/>
                  </a:lnTo>
                  <a:lnTo>
                    <a:pt x="1040" y="1360"/>
                  </a:lnTo>
                  <a:lnTo>
                    <a:pt x="1040" y="1359"/>
                  </a:lnTo>
                  <a:lnTo>
                    <a:pt x="1046" y="1353"/>
                  </a:lnTo>
                  <a:lnTo>
                    <a:pt x="1050" y="1347"/>
                  </a:lnTo>
                  <a:lnTo>
                    <a:pt x="1052" y="1340"/>
                  </a:lnTo>
                  <a:lnTo>
                    <a:pt x="1056" y="1337"/>
                  </a:lnTo>
                  <a:lnTo>
                    <a:pt x="1057" y="1339"/>
                  </a:lnTo>
                  <a:lnTo>
                    <a:pt x="1064" y="1319"/>
                  </a:lnTo>
                  <a:lnTo>
                    <a:pt x="1064" y="1316"/>
                  </a:lnTo>
                  <a:lnTo>
                    <a:pt x="1064" y="1307"/>
                  </a:lnTo>
                  <a:lnTo>
                    <a:pt x="1064" y="1299"/>
                  </a:lnTo>
                  <a:lnTo>
                    <a:pt x="1064" y="1299"/>
                  </a:lnTo>
                  <a:lnTo>
                    <a:pt x="1060" y="1289"/>
                  </a:lnTo>
                  <a:lnTo>
                    <a:pt x="1059" y="1286"/>
                  </a:lnTo>
                  <a:lnTo>
                    <a:pt x="1049" y="1280"/>
                  </a:lnTo>
                  <a:lnTo>
                    <a:pt x="1043" y="1276"/>
                  </a:lnTo>
                  <a:lnTo>
                    <a:pt x="1040" y="1270"/>
                  </a:lnTo>
                  <a:lnTo>
                    <a:pt x="1044" y="1254"/>
                  </a:lnTo>
                  <a:lnTo>
                    <a:pt x="1047" y="1246"/>
                  </a:lnTo>
                  <a:lnTo>
                    <a:pt x="1056" y="1240"/>
                  </a:lnTo>
                  <a:lnTo>
                    <a:pt x="1064" y="1236"/>
                  </a:lnTo>
                  <a:lnTo>
                    <a:pt x="1083" y="1230"/>
                  </a:lnTo>
                  <a:lnTo>
                    <a:pt x="1090" y="1224"/>
                  </a:lnTo>
                  <a:lnTo>
                    <a:pt x="1095" y="1221"/>
                  </a:lnTo>
                  <a:lnTo>
                    <a:pt x="1095" y="1206"/>
                  </a:lnTo>
                  <a:lnTo>
                    <a:pt x="1099" y="1187"/>
                  </a:lnTo>
                  <a:lnTo>
                    <a:pt x="1103" y="1174"/>
                  </a:lnTo>
                  <a:lnTo>
                    <a:pt x="1103" y="1171"/>
                  </a:lnTo>
                  <a:lnTo>
                    <a:pt x="1097" y="1167"/>
                  </a:lnTo>
                  <a:lnTo>
                    <a:pt x="1095" y="1164"/>
                  </a:lnTo>
                  <a:lnTo>
                    <a:pt x="1093" y="1160"/>
                  </a:lnTo>
                  <a:lnTo>
                    <a:pt x="1087" y="1146"/>
                  </a:lnTo>
                  <a:lnTo>
                    <a:pt x="1087" y="1141"/>
                  </a:lnTo>
                  <a:lnTo>
                    <a:pt x="1083" y="1137"/>
                  </a:lnTo>
                  <a:lnTo>
                    <a:pt x="1075" y="1131"/>
                  </a:lnTo>
                  <a:lnTo>
                    <a:pt x="1064" y="1121"/>
                  </a:lnTo>
                  <a:lnTo>
                    <a:pt x="1056" y="1104"/>
                  </a:lnTo>
                  <a:lnTo>
                    <a:pt x="1050" y="1090"/>
                  </a:lnTo>
                  <a:lnTo>
                    <a:pt x="1047" y="1085"/>
                  </a:lnTo>
                  <a:lnTo>
                    <a:pt x="1042" y="1070"/>
                  </a:lnTo>
                  <a:lnTo>
                    <a:pt x="1027" y="1048"/>
                  </a:lnTo>
                  <a:lnTo>
                    <a:pt x="1022" y="1030"/>
                  </a:lnTo>
                  <a:lnTo>
                    <a:pt x="1016" y="1021"/>
                  </a:lnTo>
                  <a:lnTo>
                    <a:pt x="1007" y="1015"/>
                  </a:lnTo>
                  <a:lnTo>
                    <a:pt x="993" y="1008"/>
                  </a:lnTo>
                  <a:lnTo>
                    <a:pt x="983" y="1004"/>
                  </a:lnTo>
                  <a:lnTo>
                    <a:pt x="974" y="998"/>
                  </a:lnTo>
                  <a:lnTo>
                    <a:pt x="971" y="998"/>
                  </a:lnTo>
                  <a:lnTo>
                    <a:pt x="971" y="994"/>
                  </a:lnTo>
                  <a:lnTo>
                    <a:pt x="970" y="989"/>
                  </a:lnTo>
                  <a:lnTo>
                    <a:pt x="967" y="987"/>
                  </a:lnTo>
                  <a:lnTo>
                    <a:pt x="969" y="984"/>
                  </a:lnTo>
                  <a:lnTo>
                    <a:pt x="969" y="981"/>
                  </a:lnTo>
                  <a:lnTo>
                    <a:pt x="969" y="975"/>
                  </a:lnTo>
                  <a:lnTo>
                    <a:pt x="967" y="972"/>
                  </a:lnTo>
                  <a:lnTo>
                    <a:pt x="961" y="971"/>
                  </a:lnTo>
                  <a:lnTo>
                    <a:pt x="957" y="967"/>
                  </a:lnTo>
                  <a:lnTo>
                    <a:pt x="954" y="961"/>
                  </a:lnTo>
                  <a:lnTo>
                    <a:pt x="953" y="959"/>
                  </a:lnTo>
                  <a:lnTo>
                    <a:pt x="948" y="954"/>
                  </a:lnTo>
                  <a:lnTo>
                    <a:pt x="948" y="951"/>
                  </a:lnTo>
                  <a:lnTo>
                    <a:pt x="946" y="946"/>
                  </a:lnTo>
                  <a:lnTo>
                    <a:pt x="947" y="946"/>
                  </a:lnTo>
                  <a:lnTo>
                    <a:pt x="948" y="945"/>
                  </a:lnTo>
                  <a:lnTo>
                    <a:pt x="950" y="944"/>
                  </a:lnTo>
                  <a:lnTo>
                    <a:pt x="948" y="941"/>
                  </a:lnTo>
                  <a:lnTo>
                    <a:pt x="948" y="938"/>
                  </a:lnTo>
                  <a:lnTo>
                    <a:pt x="946" y="935"/>
                  </a:lnTo>
                  <a:lnTo>
                    <a:pt x="946" y="934"/>
                  </a:lnTo>
                  <a:lnTo>
                    <a:pt x="947" y="934"/>
                  </a:lnTo>
                  <a:lnTo>
                    <a:pt x="947" y="932"/>
                  </a:lnTo>
                  <a:lnTo>
                    <a:pt x="947" y="931"/>
                  </a:lnTo>
                  <a:lnTo>
                    <a:pt x="946" y="928"/>
                  </a:lnTo>
                  <a:lnTo>
                    <a:pt x="943" y="926"/>
                  </a:lnTo>
                  <a:lnTo>
                    <a:pt x="938" y="926"/>
                  </a:lnTo>
                  <a:lnTo>
                    <a:pt x="937" y="925"/>
                  </a:lnTo>
                  <a:lnTo>
                    <a:pt x="937" y="922"/>
                  </a:lnTo>
                  <a:lnTo>
                    <a:pt x="938" y="919"/>
                  </a:lnTo>
                  <a:lnTo>
                    <a:pt x="940" y="919"/>
                  </a:lnTo>
                  <a:lnTo>
                    <a:pt x="940" y="919"/>
                  </a:lnTo>
                  <a:lnTo>
                    <a:pt x="943" y="921"/>
                  </a:lnTo>
                  <a:lnTo>
                    <a:pt x="946" y="924"/>
                  </a:lnTo>
                  <a:lnTo>
                    <a:pt x="948" y="924"/>
                  </a:lnTo>
                  <a:lnTo>
                    <a:pt x="953" y="921"/>
                  </a:lnTo>
                  <a:lnTo>
                    <a:pt x="956" y="919"/>
                  </a:lnTo>
                  <a:lnTo>
                    <a:pt x="959" y="915"/>
                  </a:lnTo>
                  <a:lnTo>
                    <a:pt x="960" y="912"/>
                  </a:lnTo>
                  <a:lnTo>
                    <a:pt x="964" y="912"/>
                  </a:lnTo>
                  <a:lnTo>
                    <a:pt x="967" y="906"/>
                  </a:lnTo>
                  <a:lnTo>
                    <a:pt x="969" y="903"/>
                  </a:lnTo>
                  <a:lnTo>
                    <a:pt x="969" y="901"/>
                  </a:lnTo>
                  <a:lnTo>
                    <a:pt x="969" y="896"/>
                  </a:lnTo>
                  <a:lnTo>
                    <a:pt x="969" y="895"/>
                  </a:lnTo>
                  <a:lnTo>
                    <a:pt x="967" y="892"/>
                  </a:lnTo>
                  <a:lnTo>
                    <a:pt x="967" y="883"/>
                  </a:lnTo>
                  <a:lnTo>
                    <a:pt x="969" y="879"/>
                  </a:lnTo>
                  <a:lnTo>
                    <a:pt x="971" y="878"/>
                  </a:lnTo>
                  <a:lnTo>
                    <a:pt x="974" y="876"/>
                  </a:lnTo>
                  <a:lnTo>
                    <a:pt x="977" y="878"/>
                  </a:lnTo>
                  <a:lnTo>
                    <a:pt x="980" y="878"/>
                  </a:lnTo>
                  <a:lnTo>
                    <a:pt x="981" y="878"/>
                  </a:lnTo>
                  <a:lnTo>
                    <a:pt x="984" y="876"/>
                  </a:lnTo>
                  <a:lnTo>
                    <a:pt x="987" y="876"/>
                  </a:lnTo>
                  <a:lnTo>
                    <a:pt x="990" y="876"/>
                  </a:lnTo>
                  <a:lnTo>
                    <a:pt x="990" y="875"/>
                  </a:lnTo>
                  <a:lnTo>
                    <a:pt x="990" y="869"/>
                  </a:lnTo>
                  <a:lnTo>
                    <a:pt x="991" y="866"/>
                  </a:lnTo>
                  <a:lnTo>
                    <a:pt x="996" y="862"/>
                  </a:lnTo>
                  <a:lnTo>
                    <a:pt x="1004" y="856"/>
                  </a:lnTo>
                  <a:lnTo>
                    <a:pt x="1004" y="855"/>
                  </a:lnTo>
                  <a:lnTo>
                    <a:pt x="1004" y="852"/>
                  </a:lnTo>
                  <a:lnTo>
                    <a:pt x="1003" y="848"/>
                  </a:lnTo>
                  <a:lnTo>
                    <a:pt x="1001" y="846"/>
                  </a:lnTo>
                  <a:lnTo>
                    <a:pt x="1000" y="845"/>
                  </a:lnTo>
                  <a:lnTo>
                    <a:pt x="999" y="842"/>
                  </a:lnTo>
                  <a:lnTo>
                    <a:pt x="999" y="842"/>
                  </a:lnTo>
                  <a:lnTo>
                    <a:pt x="1003" y="840"/>
                  </a:lnTo>
                  <a:lnTo>
                    <a:pt x="1003" y="839"/>
                  </a:lnTo>
                  <a:lnTo>
                    <a:pt x="1004" y="836"/>
                  </a:lnTo>
                  <a:lnTo>
                    <a:pt x="1000" y="838"/>
                  </a:lnTo>
                  <a:lnTo>
                    <a:pt x="996" y="839"/>
                  </a:lnTo>
                  <a:lnTo>
                    <a:pt x="993" y="843"/>
                  </a:lnTo>
                  <a:lnTo>
                    <a:pt x="989" y="845"/>
                  </a:lnTo>
                  <a:lnTo>
                    <a:pt x="986" y="846"/>
                  </a:lnTo>
                  <a:lnTo>
                    <a:pt x="983" y="849"/>
                  </a:lnTo>
                  <a:lnTo>
                    <a:pt x="980" y="851"/>
                  </a:lnTo>
                  <a:lnTo>
                    <a:pt x="976" y="851"/>
                  </a:lnTo>
                  <a:lnTo>
                    <a:pt x="971" y="853"/>
                  </a:lnTo>
                  <a:lnTo>
                    <a:pt x="964" y="858"/>
                  </a:lnTo>
                  <a:lnTo>
                    <a:pt x="960" y="861"/>
                  </a:lnTo>
                  <a:lnTo>
                    <a:pt x="957" y="865"/>
                  </a:lnTo>
                  <a:lnTo>
                    <a:pt x="956" y="866"/>
                  </a:lnTo>
                  <a:lnTo>
                    <a:pt x="956" y="863"/>
                  </a:lnTo>
                  <a:lnTo>
                    <a:pt x="959" y="859"/>
                  </a:lnTo>
                  <a:lnTo>
                    <a:pt x="961" y="853"/>
                  </a:lnTo>
                  <a:lnTo>
                    <a:pt x="963" y="849"/>
                  </a:lnTo>
                  <a:lnTo>
                    <a:pt x="964" y="846"/>
                  </a:lnTo>
                  <a:lnTo>
                    <a:pt x="971" y="845"/>
                  </a:lnTo>
                  <a:lnTo>
                    <a:pt x="976" y="842"/>
                  </a:lnTo>
                  <a:lnTo>
                    <a:pt x="980" y="843"/>
                  </a:lnTo>
                  <a:lnTo>
                    <a:pt x="983" y="842"/>
                  </a:lnTo>
                  <a:lnTo>
                    <a:pt x="989" y="838"/>
                  </a:lnTo>
                  <a:lnTo>
                    <a:pt x="993" y="833"/>
                  </a:lnTo>
                  <a:lnTo>
                    <a:pt x="994" y="829"/>
                  </a:lnTo>
                  <a:lnTo>
                    <a:pt x="994" y="828"/>
                  </a:lnTo>
                  <a:lnTo>
                    <a:pt x="997" y="822"/>
                  </a:lnTo>
                  <a:lnTo>
                    <a:pt x="1004" y="819"/>
                  </a:lnTo>
                  <a:lnTo>
                    <a:pt x="1006" y="815"/>
                  </a:lnTo>
                  <a:lnTo>
                    <a:pt x="1006" y="813"/>
                  </a:lnTo>
                  <a:lnTo>
                    <a:pt x="1009" y="809"/>
                  </a:lnTo>
                  <a:lnTo>
                    <a:pt x="1010" y="806"/>
                  </a:lnTo>
                  <a:lnTo>
                    <a:pt x="1012" y="799"/>
                  </a:lnTo>
                  <a:lnTo>
                    <a:pt x="1012" y="795"/>
                  </a:lnTo>
                  <a:lnTo>
                    <a:pt x="1010" y="792"/>
                  </a:lnTo>
                  <a:lnTo>
                    <a:pt x="1009" y="790"/>
                  </a:lnTo>
                  <a:lnTo>
                    <a:pt x="1007" y="790"/>
                  </a:lnTo>
                  <a:lnTo>
                    <a:pt x="1006" y="795"/>
                  </a:lnTo>
                  <a:lnTo>
                    <a:pt x="1006" y="798"/>
                  </a:lnTo>
                  <a:lnTo>
                    <a:pt x="1003" y="799"/>
                  </a:lnTo>
                  <a:lnTo>
                    <a:pt x="1001" y="803"/>
                  </a:lnTo>
                  <a:lnTo>
                    <a:pt x="1000" y="803"/>
                  </a:lnTo>
                  <a:lnTo>
                    <a:pt x="1000" y="802"/>
                  </a:lnTo>
                  <a:lnTo>
                    <a:pt x="1000" y="799"/>
                  </a:lnTo>
                  <a:lnTo>
                    <a:pt x="1003" y="795"/>
                  </a:lnTo>
                  <a:lnTo>
                    <a:pt x="1003" y="792"/>
                  </a:lnTo>
                  <a:lnTo>
                    <a:pt x="1004" y="787"/>
                  </a:lnTo>
                  <a:lnTo>
                    <a:pt x="1004" y="787"/>
                  </a:lnTo>
                  <a:lnTo>
                    <a:pt x="1004" y="783"/>
                  </a:lnTo>
                  <a:lnTo>
                    <a:pt x="1004" y="780"/>
                  </a:lnTo>
                  <a:lnTo>
                    <a:pt x="1000" y="780"/>
                  </a:lnTo>
                  <a:lnTo>
                    <a:pt x="997" y="777"/>
                  </a:lnTo>
                  <a:lnTo>
                    <a:pt x="991" y="777"/>
                  </a:lnTo>
                  <a:lnTo>
                    <a:pt x="991" y="777"/>
                  </a:lnTo>
                  <a:lnTo>
                    <a:pt x="987" y="777"/>
                  </a:lnTo>
                  <a:lnTo>
                    <a:pt x="984" y="780"/>
                  </a:lnTo>
                  <a:lnTo>
                    <a:pt x="981" y="786"/>
                  </a:lnTo>
                  <a:lnTo>
                    <a:pt x="980" y="787"/>
                  </a:lnTo>
                  <a:lnTo>
                    <a:pt x="970" y="793"/>
                  </a:lnTo>
                  <a:lnTo>
                    <a:pt x="970" y="792"/>
                  </a:lnTo>
                  <a:lnTo>
                    <a:pt x="977" y="789"/>
                  </a:lnTo>
                  <a:lnTo>
                    <a:pt x="979" y="783"/>
                  </a:lnTo>
                  <a:lnTo>
                    <a:pt x="980" y="782"/>
                  </a:lnTo>
                  <a:lnTo>
                    <a:pt x="979" y="780"/>
                  </a:lnTo>
                  <a:lnTo>
                    <a:pt x="974" y="782"/>
                  </a:lnTo>
                  <a:lnTo>
                    <a:pt x="971" y="783"/>
                  </a:lnTo>
                  <a:lnTo>
                    <a:pt x="971" y="783"/>
                  </a:lnTo>
                  <a:lnTo>
                    <a:pt x="973" y="780"/>
                  </a:lnTo>
                  <a:lnTo>
                    <a:pt x="979" y="776"/>
                  </a:lnTo>
                  <a:lnTo>
                    <a:pt x="980" y="773"/>
                  </a:lnTo>
                  <a:lnTo>
                    <a:pt x="977" y="772"/>
                  </a:lnTo>
                  <a:lnTo>
                    <a:pt x="974" y="772"/>
                  </a:lnTo>
                  <a:lnTo>
                    <a:pt x="970" y="777"/>
                  </a:lnTo>
                  <a:lnTo>
                    <a:pt x="970" y="777"/>
                  </a:lnTo>
                  <a:lnTo>
                    <a:pt x="967" y="785"/>
                  </a:lnTo>
                  <a:lnTo>
                    <a:pt x="966" y="786"/>
                  </a:lnTo>
                  <a:lnTo>
                    <a:pt x="964" y="786"/>
                  </a:lnTo>
                  <a:lnTo>
                    <a:pt x="964" y="783"/>
                  </a:lnTo>
                  <a:lnTo>
                    <a:pt x="964" y="782"/>
                  </a:lnTo>
                  <a:lnTo>
                    <a:pt x="967" y="777"/>
                  </a:lnTo>
                  <a:lnTo>
                    <a:pt x="967" y="775"/>
                  </a:lnTo>
                  <a:lnTo>
                    <a:pt x="967" y="770"/>
                  </a:lnTo>
                  <a:lnTo>
                    <a:pt x="969" y="765"/>
                  </a:lnTo>
                  <a:lnTo>
                    <a:pt x="967" y="763"/>
                  </a:lnTo>
                  <a:lnTo>
                    <a:pt x="966" y="763"/>
                  </a:lnTo>
                  <a:lnTo>
                    <a:pt x="964" y="765"/>
                  </a:lnTo>
                  <a:lnTo>
                    <a:pt x="961" y="767"/>
                  </a:lnTo>
                  <a:lnTo>
                    <a:pt x="960" y="767"/>
                  </a:lnTo>
                  <a:lnTo>
                    <a:pt x="959" y="772"/>
                  </a:lnTo>
                  <a:lnTo>
                    <a:pt x="957" y="773"/>
                  </a:lnTo>
                  <a:lnTo>
                    <a:pt x="957" y="775"/>
                  </a:lnTo>
                  <a:lnTo>
                    <a:pt x="956" y="775"/>
                  </a:lnTo>
                  <a:lnTo>
                    <a:pt x="953" y="773"/>
                  </a:lnTo>
                  <a:lnTo>
                    <a:pt x="951" y="772"/>
                  </a:lnTo>
                  <a:lnTo>
                    <a:pt x="948" y="770"/>
                  </a:lnTo>
                  <a:lnTo>
                    <a:pt x="950" y="769"/>
                  </a:lnTo>
                  <a:lnTo>
                    <a:pt x="953" y="766"/>
                  </a:lnTo>
                  <a:lnTo>
                    <a:pt x="954" y="763"/>
                  </a:lnTo>
                  <a:lnTo>
                    <a:pt x="953" y="760"/>
                  </a:lnTo>
                  <a:lnTo>
                    <a:pt x="951" y="759"/>
                  </a:lnTo>
                  <a:lnTo>
                    <a:pt x="948" y="759"/>
                  </a:lnTo>
                  <a:lnTo>
                    <a:pt x="947" y="760"/>
                  </a:lnTo>
                  <a:lnTo>
                    <a:pt x="946" y="760"/>
                  </a:lnTo>
                  <a:lnTo>
                    <a:pt x="943" y="759"/>
                  </a:lnTo>
                  <a:lnTo>
                    <a:pt x="943" y="756"/>
                  </a:lnTo>
                  <a:lnTo>
                    <a:pt x="943" y="752"/>
                  </a:lnTo>
                  <a:lnTo>
                    <a:pt x="944" y="750"/>
                  </a:lnTo>
                  <a:lnTo>
                    <a:pt x="946" y="750"/>
                  </a:lnTo>
                  <a:lnTo>
                    <a:pt x="948" y="749"/>
                  </a:lnTo>
                  <a:lnTo>
                    <a:pt x="947" y="746"/>
                  </a:lnTo>
                  <a:lnTo>
                    <a:pt x="946" y="746"/>
                  </a:lnTo>
                  <a:lnTo>
                    <a:pt x="941" y="747"/>
                  </a:lnTo>
                  <a:lnTo>
                    <a:pt x="938" y="749"/>
                  </a:lnTo>
                  <a:lnTo>
                    <a:pt x="927" y="749"/>
                  </a:lnTo>
                  <a:lnTo>
                    <a:pt x="921" y="749"/>
                  </a:lnTo>
                  <a:lnTo>
                    <a:pt x="918" y="750"/>
                  </a:lnTo>
                  <a:lnTo>
                    <a:pt x="916" y="755"/>
                  </a:lnTo>
                  <a:lnTo>
                    <a:pt x="916" y="757"/>
                  </a:lnTo>
                  <a:lnTo>
                    <a:pt x="916" y="759"/>
                  </a:lnTo>
                  <a:lnTo>
                    <a:pt x="914" y="760"/>
                  </a:lnTo>
                  <a:lnTo>
                    <a:pt x="911" y="759"/>
                  </a:lnTo>
                  <a:lnTo>
                    <a:pt x="906" y="757"/>
                  </a:lnTo>
                  <a:lnTo>
                    <a:pt x="901" y="759"/>
                  </a:lnTo>
                  <a:lnTo>
                    <a:pt x="895" y="760"/>
                  </a:lnTo>
                  <a:lnTo>
                    <a:pt x="890" y="763"/>
                  </a:lnTo>
                  <a:lnTo>
                    <a:pt x="890" y="766"/>
                  </a:lnTo>
                  <a:lnTo>
                    <a:pt x="890" y="767"/>
                  </a:lnTo>
                  <a:lnTo>
                    <a:pt x="891" y="769"/>
                  </a:lnTo>
                  <a:lnTo>
                    <a:pt x="895" y="767"/>
                  </a:lnTo>
                  <a:lnTo>
                    <a:pt x="897" y="767"/>
                  </a:lnTo>
                  <a:lnTo>
                    <a:pt x="897" y="769"/>
                  </a:lnTo>
                  <a:lnTo>
                    <a:pt x="898" y="772"/>
                  </a:lnTo>
                  <a:lnTo>
                    <a:pt x="898" y="775"/>
                  </a:lnTo>
                  <a:lnTo>
                    <a:pt x="898" y="779"/>
                  </a:lnTo>
                  <a:lnTo>
                    <a:pt x="898" y="780"/>
                  </a:lnTo>
                  <a:lnTo>
                    <a:pt x="900" y="783"/>
                  </a:lnTo>
                  <a:lnTo>
                    <a:pt x="900" y="785"/>
                  </a:lnTo>
                  <a:lnTo>
                    <a:pt x="897" y="785"/>
                  </a:lnTo>
                  <a:lnTo>
                    <a:pt x="895" y="782"/>
                  </a:lnTo>
                  <a:lnTo>
                    <a:pt x="894" y="779"/>
                  </a:lnTo>
                  <a:lnTo>
                    <a:pt x="893" y="776"/>
                  </a:lnTo>
                  <a:lnTo>
                    <a:pt x="893" y="776"/>
                  </a:lnTo>
                  <a:lnTo>
                    <a:pt x="891" y="777"/>
                  </a:lnTo>
                  <a:lnTo>
                    <a:pt x="888" y="780"/>
                  </a:lnTo>
                  <a:lnTo>
                    <a:pt x="887" y="782"/>
                  </a:lnTo>
                  <a:lnTo>
                    <a:pt x="884" y="783"/>
                  </a:lnTo>
                  <a:lnTo>
                    <a:pt x="881" y="783"/>
                  </a:lnTo>
                  <a:lnTo>
                    <a:pt x="880" y="785"/>
                  </a:lnTo>
                  <a:lnTo>
                    <a:pt x="881" y="786"/>
                  </a:lnTo>
                  <a:lnTo>
                    <a:pt x="883" y="789"/>
                  </a:lnTo>
                  <a:lnTo>
                    <a:pt x="884" y="792"/>
                  </a:lnTo>
                  <a:lnTo>
                    <a:pt x="884" y="792"/>
                  </a:lnTo>
                  <a:lnTo>
                    <a:pt x="881" y="790"/>
                  </a:lnTo>
                  <a:lnTo>
                    <a:pt x="877" y="787"/>
                  </a:lnTo>
                  <a:lnTo>
                    <a:pt x="873" y="785"/>
                  </a:lnTo>
                  <a:lnTo>
                    <a:pt x="873" y="780"/>
                  </a:lnTo>
                  <a:lnTo>
                    <a:pt x="873" y="777"/>
                  </a:lnTo>
                  <a:lnTo>
                    <a:pt x="873" y="775"/>
                  </a:lnTo>
                  <a:lnTo>
                    <a:pt x="873" y="775"/>
                  </a:lnTo>
                  <a:lnTo>
                    <a:pt x="870" y="775"/>
                  </a:lnTo>
                  <a:lnTo>
                    <a:pt x="868" y="775"/>
                  </a:lnTo>
                  <a:lnTo>
                    <a:pt x="865" y="773"/>
                  </a:lnTo>
                  <a:lnTo>
                    <a:pt x="865" y="770"/>
                  </a:lnTo>
                  <a:lnTo>
                    <a:pt x="863" y="770"/>
                  </a:lnTo>
                  <a:lnTo>
                    <a:pt x="861" y="772"/>
                  </a:lnTo>
                  <a:lnTo>
                    <a:pt x="858" y="775"/>
                  </a:lnTo>
                  <a:lnTo>
                    <a:pt x="857" y="783"/>
                  </a:lnTo>
                  <a:lnTo>
                    <a:pt x="858" y="792"/>
                  </a:lnTo>
                  <a:lnTo>
                    <a:pt x="858" y="796"/>
                  </a:lnTo>
                  <a:lnTo>
                    <a:pt x="857" y="796"/>
                  </a:lnTo>
                  <a:lnTo>
                    <a:pt x="855" y="795"/>
                  </a:lnTo>
                  <a:lnTo>
                    <a:pt x="854" y="789"/>
                  </a:lnTo>
                  <a:lnTo>
                    <a:pt x="853" y="783"/>
                  </a:lnTo>
                  <a:lnTo>
                    <a:pt x="851" y="780"/>
                  </a:lnTo>
                  <a:lnTo>
                    <a:pt x="850" y="782"/>
                  </a:lnTo>
                  <a:lnTo>
                    <a:pt x="850" y="783"/>
                  </a:lnTo>
                  <a:lnTo>
                    <a:pt x="850" y="787"/>
                  </a:lnTo>
                  <a:lnTo>
                    <a:pt x="850" y="790"/>
                  </a:lnTo>
                  <a:lnTo>
                    <a:pt x="847" y="793"/>
                  </a:lnTo>
                  <a:lnTo>
                    <a:pt x="844" y="795"/>
                  </a:lnTo>
                  <a:lnTo>
                    <a:pt x="844" y="796"/>
                  </a:lnTo>
                  <a:lnTo>
                    <a:pt x="843" y="798"/>
                  </a:lnTo>
                  <a:lnTo>
                    <a:pt x="841" y="799"/>
                  </a:lnTo>
                  <a:lnTo>
                    <a:pt x="840" y="799"/>
                  </a:lnTo>
                  <a:lnTo>
                    <a:pt x="838" y="802"/>
                  </a:lnTo>
                  <a:lnTo>
                    <a:pt x="840" y="802"/>
                  </a:lnTo>
                  <a:lnTo>
                    <a:pt x="843" y="802"/>
                  </a:lnTo>
                  <a:lnTo>
                    <a:pt x="843" y="800"/>
                  </a:lnTo>
                  <a:lnTo>
                    <a:pt x="844" y="800"/>
                  </a:lnTo>
                  <a:lnTo>
                    <a:pt x="845" y="802"/>
                  </a:lnTo>
                  <a:lnTo>
                    <a:pt x="845" y="808"/>
                  </a:lnTo>
                  <a:lnTo>
                    <a:pt x="844" y="810"/>
                  </a:lnTo>
                  <a:lnTo>
                    <a:pt x="843" y="810"/>
                  </a:lnTo>
                  <a:lnTo>
                    <a:pt x="841" y="809"/>
                  </a:lnTo>
                  <a:lnTo>
                    <a:pt x="841" y="806"/>
                  </a:lnTo>
                  <a:lnTo>
                    <a:pt x="840" y="805"/>
                  </a:lnTo>
                  <a:lnTo>
                    <a:pt x="837" y="803"/>
                  </a:lnTo>
                  <a:lnTo>
                    <a:pt x="835" y="802"/>
                  </a:lnTo>
                  <a:lnTo>
                    <a:pt x="837" y="799"/>
                  </a:lnTo>
                  <a:lnTo>
                    <a:pt x="840" y="796"/>
                  </a:lnTo>
                  <a:lnTo>
                    <a:pt x="840" y="793"/>
                  </a:lnTo>
                  <a:lnTo>
                    <a:pt x="838" y="789"/>
                  </a:lnTo>
                  <a:lnTo>
                    <a:pt x="837" y="786"/>
                  </a:lnTo>
                  <a:lnTo>
                    <a:pt x="834" y="786"/>
                  </a:lnTo>
                  <a:lnTo>
                    <a:pt x="828" y="786"/>
                  </a:lnTo>
                  <a:lnTo>
                    <a:pt x="827" y="785"/>
                  </a:lnTo>
                  <a:lnTo>
                    <a:pt x="825" y="782"/>
                  </a:lnTo>
                  <a:lnTo>
                    <a:pt x="822" y="780"/>
                  </a:lnTo>
                  <a:lnTo>
                    <a:pt x="821" y="780"/>
                  </a:lnTo>
                  <a:lnTo>
                    <a:pt x="820" y="785"/>
                  </a:lnTo>
                  <a:lnTo>
                    <a:pt x="820" y="787"/>
                  </a:lnTo>
                  <a:lnTo>
                    <a:pt x="824" y="793"/>
                  </a:lnTo>
                  <a:lnTo>
                    <a:pt x="824" y="796"/>
                  </a:lnTo>
                  <a:lnTo>
                    <a:pt x="822" y="796"/>
                  </a:lnTo>
                  <a:lnTo>
                    <a:pt x="820" y="796"/>
                  </a:lnTo>
                  <a:lnTo>
                    <a:pt x="820" y="795"/>
                  </a:lnTo>
                  <a:lnTo>
                    <a:pt x="818" y="790"/>
                  </a:lnTo>
                  <a:lnTo>
                    <a:pt x="817" y="787"/>
                  </a:lnTo>
                  <a:lnTo>
                    <a:pt x="812" y="786"/>
                  </a:lnTo>
                  <a:lnTo>
                    <a:pt x="812" y="783"/>
                  </a:lnTo>
                  <a:lnTo>
                    <a:pt x="812" y="780"/>
                  </a:lnTo>
                  <a:lnTo>
                    <a:pt x="812" y="777"/>
                  </a:lnTo>
                  <a:lnTo>
                    <a:pt x="810" y="776"/>
                  </a:lnTo>
                  <a:lnTo>
                    <a:pt x="807" y="775"/>
                  </a:lnTo>
                  <a:lnTo>
                    <a:pt x="807" y="772"/>
                  </a:lnTo>
                  <a:lnTo>
                    <a:pt x="805" y="770"/>
                  </a:lnTo>
                  <a:lnTo>
                    <a:pt x="804" y="769"/>
                  </a:lnTo>
                  <a:lnTo>
                    <a:pt x="802" y="772"/>
                  </a:lnTo>
                  <a:lnTo>
                    <a:pt x="802" y="775"/>
                  </a:lnTo>
                  <a:lnTo>
                    <a:pt x="801" y="775"/>
                  </a:lnTo>
                  <a:lnTo>
                    <a:pt x="800" y="772"/>
                  </a:lnTo>
                  <a:lnTo>
                    <a:pt x="798" y="770"/>
                  </a:lnTo>
                  <a:lnTo>
                    <a:pt x="797" y="773"/>
                  </a:lnTo>
                  <a:lnTo>
                    <a:pt x="798" y="776"/>
                  </a:lnTo>
                  <a:lnTo>
                    <a:pt x="797" y="777"/>
                  </a:lnTo>
                  <a:lnTo>
                    <a:pt x="794" y="779"/>
                  </a:lnTo>
                  <a:lnTo>
                    <a:pt x="791" y="777"/>
                  </a:lnTo>
                  <a:lnTo>
                    <a:pt x="791" y="776"/>
                  </a:lnTo>
                  <a:lnTo>
                    <a:pt x="791" y="773"/>
                  </a:lnTo>
                  <a:lnTo>
                    <a:pt x="791" y="770"/>
                  </a:lnTo>
                  <a:lnTo>
                    <a:pt x="791" y="769"/>
                  </a:lnTo>
                  <a:lnTo>
                    <a:pt x="788" y="770"/>
                  </a:lnTo>
                  <a:lnTo>
                    <a:pt x="787" y="772"/>
                  </a:lnTo>
                  <a:lnTo>
                    <a:pt x="788" y="776"/>
                  </a:lnTo>
                  <a:lnTo>
                    <a:pt x="787" y="777"/>
                  </a:lnTo>
                  <a:lnTo>
                    <a:pt x="785" y="777"/>
                  </a:lnTo>
                  <a:lnTo>
                    <a:pt x="782" y="776"/>
                  </a:lnTo>
                  <a:lnTo>
                    <a:pt x="781" y="775"/>
                  </a:lnTo>
                  <a:lnTo>
                    <a:pt x="778" y="775"/>
                  </a:lnTo>
                  <a:lnTo>
                    <a:pt x="775" y="773"/>
                  </a:lnTo>
                  <a:lnTo>
                    <a:pt x="772" y="770"/>
                  </a:lnTo>
                  <a:lnTo>
                    <a:pt x="769" y="769"/>
                  </a:lnTo>
                  <a:lnTo>
                    <a:pt x="767" y="770"/>
                  </a:lnTo>
                  <a:lnTo>
                    <a:pt x="762" y="769"/>
                  </a:lnTo>
                  <a:lnTo>
                    <a:pt x="761" y="770"/>
                  </a:lnTo>
                  <a:lnTo>
                    <a:pt x="759" y="773"/>
                  </a:lnTo>
                  <a:lnTo>
                    <a:pt x="761" y="777"/>
                  </a:lnTo>
                  <a:lnTo>
                    <a:pt x="762" y="779"/>
                  </a:lnTo>
                  <a:lnTo>
                    <a:pt x="762" y="780"/>
                  </a:lnTo>
                  <a:lnTo>
                    <a:pt x="762" y="782"/>
                  </a:lnTo>
                  <a:lnTo>
                    <a:pt x="759" y="783"/>
                  </a:lnTo>
                  <a:lnTo>
                    <a:pt x="755" y="783"/>
                  </a:lnTo>
                  <a:lnTo>
                    <a:pt x="751" y="782"/>
                  </a:lnTo>
                  <a:lnTo>
                    <a:pt x="748" y="779"/>
                  </a:lnTo>
                  <a:lnTo>
                    <a:pt x="745" y="777"/>
                  </a:lnTo>
                  <a:lnTo>
                    <a:pt x="744" y="779"/>
                  </a:lnTo>
                  <a:lnTo>
                    <a:pt x="742" y="779"/>
                  </a:lnTo>
                  <a:lnTo>
                    <a:pt x="742" y="782"/>
                  </a:lnTo>
                  <a:lnTo>
                    <a:pt x="744" y="782"/>
                  </a:lnTo>
                  <a:lnTo>
                    <a:pt x="747" y="782"/>
                  </a:lnTo>
                  <a:lnTo>
                    <a:pt x="748" y="782"/>
                  </a:lnTo>
                  <a:lnTo>
                    <a:pt x="748" y="785"/>
                  </a:lnTo>
                  <a:lnTo>
                    <a:pt x="751" y="787"/>
                  </a:lnTo>
                  <a:lnTo>
                    <a:pt x="751" y="789"/>
                  </a:lnTo>
                  <a:lnTo>
                    <a:pt x="749" y="792"/>
                  </a:lnTo>
                  <a:lnTo>
                    <a:pt x="749" y="793"/>
                  </a:lnTo>
                  <a:lnTo>
                    <a:pt x="751" y="795"/>
                  </a:lnTo>
                  <a:lnTo>
                    <a:pt x="752" y="793"/>
                  </a:lnTo>
                  <a:lnTo>
                    <a:pt x="752" y="786"/>
                  </a:lnTo>
                  <a:lnTo>
                    <a:pt x="755" y="785"/>
                  </a:lnTo>
                  <a:lnTo>
                    <a:pt x="757" y="785"/>
                  </a:lnTo>
                  <a:lnTo>
                    <a:pt x="758" y="786"/>
                  </a:lnTo>
                  <a:lnTo>
                    <a:pt x="758" y="787"/>
                  </a:lnTo>
                  <a:lnTo>
                    <a:pt x="757" y="789"/>
                  </a:lnTo>
                  <a:lnTo>
                    <a:pt x="755" y="793"/>
                  </a:lnTo>
                  <a:lnTo>
                    <a:pt x="757" y="795"/>
                  </a:lnTo>
                  <a:lnTo>
                    <a:pt x="757" y="798"/>
                  </a:lnTo>
                  <a:lnTo>
                    <a:pt x="758" y="799"/>
                  </a:lnTo>
                  <a:lnTo>
                    <a:pt x="758" y="800"/>
                  </a:lnTo>
                  <a:lnTo>
                    <a:pt x="755" y="800"/>
                  </a:lnTo>
                  <a:lnTo>
                    <a:pt x="752" y="800"/>
                  </a:lnTo>
                  <a:lnTo>
                    <a:pt x="751" y="800"/>
                  </a:lnTo>
                  <a:lnTo>
                    <a:pt x="748" y="802"/>
                  </a:lnTo>
                  <a:lnTo>
                    <a:pt x="747" y="805"/>
                  </a:lnTo>
                  <a:lnTo>
                    <a:pt x="744" y="805"/>
                  </a:lnTo>
                  <a:lnTo>
                    <a:pt x="742" y="805"/>
                  </a:lnTo>
                  <a:lnTo>
                    <a:pt x="739" y="802"/>
                  </a:lnTo>
                  <a:lnTo>
                    <a:pt x="735" y="798"/>
                  </a:lnTo>
                  <a:lnTo>
                    <a:pt x="735" y="795"/>
                  </a:lnTo>
                  <a:lnTo>
                    <a:pt x="737" y="795"/>
                  </a:lnTo>
                  <a:lnTo>
                    <a:pt x="738" y="795"/>
                  </a:lnTo>
                  <a:lnTo>
                    <a:pt x="738" y="793"/>
                  </a:lnTo>
                  <a:lnTo>
                    <a:pt x="738" y="792"/>
                  </a:lnTo>
                  <a:lnTo>
                    <a:pt x="737" y="792"/>
                  </a:lnTo>
                  <a:lnTo>
                    <a:pt x="734" y="792"/>
                  </a:lnTo>
                  <a:lnTo>
                    <a:pt x="732" y="795"/>
                  </a:lnTo>
                  <a:lnTo>
                    <a:pt x="732" y="799"/>
                  </a:lnTo>
                  <a:lnTo>
                    <a:pt x="731" y="800"/>
                  </a:lnTo>
                  <a:lnTo>
                    <a:pt x="729" y="802"/>
                  </a:lnTo>
                  <a:lnTo>
                    <a:pt x="728" y="808"/>
                  </a:lnTo>
                  <a:lnTo>
                    <a:pt x="731" y="812"/>
                  </a:lnTo>
                  <a:lnTo>
                    <a:pt x="735" y="815"/>
                  </a:lnTo>
                  <a:lnTo>
                    <a:pt x="735" y="816"/>
                  </a:lnTo>
                  <a:lnTo>
                    <a:pt x="735" y="819"/>
                  </a:lnTo>
                  <a:lnTo>
                    <a:pt x="734" y="820"/>
                  </a:lnTo>
                  <a:lnTo>
                    <a:pt x="729" y="820"/>
                  </a:lnTo>
                  <a:lnTo>
                    <a:pt x="729" y="822"/>
                  </a:lnTo>
                  <a:lnTo>
                    <a:pt x="729" y="825"/>
                  </a:lnTo>
                  <a:lnTo>
                    <a:pt x="731" y="826"/>
                  </a:lnTo>
                  <a:lnTo>
                    <a:pt x="732" y="828"/>
                  </a:lnTo>
                  <a:lnTo>
                    <a:pt x="731" y="832"/>
                  </a:lnTo>
                  <a:lnTo>
                    <a:pt x="732" y="835"/>
                  </a:lnTo>
                  <a:lnTo>
                    <a:pt x="735" y="836"/>
                  </a:lnTo>
                  <a:lnTo>
                    <a:pt x="739" y="838"/>
                  </a:lnTo>
                  <a:lnTo>
                    <a:pt x="742" y="840"/>
                  </a:lnTo>
                  <a:lnTo>
                    <a:pt x="745" y="843"/>
                  </a:lnTo>
                  <a:lnTo>
                    <a:pt x="747" y="845"/>
                  </a:lnTo>
                  <a:lnTo>
                    <a:pt x="745" y="846"/>
                  </a:lnTo>
                  <a:lnTo>
                    <a:pt x="744" y="846"/>
                  </a:lnTo>
                  <a:lnTo>
                    <a:pt x="741" y="843"/>
                  </a:lnTo>
                  <a:lnTo>
                    <a:pt x="738" y="840"/>
                  </a:lnTo>
                  <a:lnTo>
                    <a:pt x="735" y="840"/>
                  </a:lnTo>
                  <a:lnTo>
                    <a:pt x="734" y="840"/>
                  </a:lnTo>
                  <a:lnTo>
                    <a:pt x="734" y="842"/>
                  </a:lnTo>
                  <a:lnTo>
                    <a:pt x="735" y="845"/>
                  </a:lnTo>
                  <a:lnTo>
                    <a:pt x="738" y="846"/>
                  </a:lnTo>
                  <a:lnTo>
                    <a:pt x="738" y="846"/>
                  </a:lnTo>
                  <a:lnTo>
                    <a:pt x="737" y="848"/>
                  </a:lnTo>
                  <a:lnTo>
                    <a:pt x="737" y="849"/>
                  </a:lnTo>
                  <a:lnTo>
                    <a:pt x="738" y="851"/>
                  </a:lnTo>
                  <a:lnTo>
                    <a:pt x="742" y="851"/>
                  </a:lnTo>
                  <a:lnTo>
                    <a:pt x="745" y="851"/>
                  </a:lnTo>
                  <a:lnTo>
                    <a:pt x="745" y="852"/>
                  </a:lnTo>
                  <a:lnTo>
                    <a:pt x="744" y="853"/>
                  </a:lnTo>
                  <a:lnTo>
                    <a:pt x="742" y="858"/>
                  </a:lnTo>
                  <a:lnTo>
                    <a:pt x="745" y="861"/>
                  </a:lnTo>
                  <a:lnTo>
                    <a:pt x="751" y="866"/>
                  </a:lnTo>
                  <a:lnTo>
                    <a:pt x="754" y="866"/>
                  </a:lnTo>
                  <a:lnTo>
                    <a:pt x="757" y="865"/>
                  </a:lnTo>
                  <a:lnTo>
                    <a:pt x="757" y="866"/>
                  </a:lnTo>
                  <a:lnTo>
                    <a:pt x="757" y="868"/>
                  </a:lnTo>
                  <a:lnTo>
                    <a:pt x="755" y="871"/>
                  </a:lnTo>
                  <a:lnTo>
                    <a:pt x="755" y="873"/>
                  </a:lnTo>
                  <a:lnTo>
                    <a:pt x="759" y="875"/>
                  </a:lnTo>
                  <a:lnTo>
                    <a:pt x="765" y="875"/>
                  </a:lnTo>
                  <a:lnTo>
                    <a:pt x="767" y="873"/>
                  </a:lnTo>
                  <a:lnTo>
                    <a:pt x="768" y="875"/>
                  </a:lnTo>
                  <a:lnTo>
                    <a:pt x="767" y="876"/>
                  </a:lnTo>
                  <a:lnTo>
                    <a:pt x="767" y="879"/>
                  </a:lnTo>
                  <a:lnTo>
                    <a:pt x="768" y="881"/>
                  </a:lnTo>
                  <a:lnTo>
                    <a:pt x="768" y="882"/>
                  </a:lnTo>
                  <a:lnTo>
                    <a:pt x="765" y="883"/>
                  </a:lnTo>
                  <a:lnTo>
                    <a:pt x="764" y="883"/>
                  </a:lnTo>
                  <a:lnTo>
                    <a:pt x="764" y="882"/>
                  </a:lnTo>
                  <a:lnTo>
                    <a:pt x="764" y="878"/>
                  </a:lnTo>
                  <a:lnTo>
                    <a:pt x="761" y="879"/>
                  </a:lnTo>
                  <a:lnTo>
                    <a:pt x="761" y="881"/>
                  </a:lnTo>
                  <a:lnTo>
                    <a:pt x="759" y="882"/>
                  </a:lnTo>
                  <a:lnTo>
                    <a:pt x="757" y="885"/>
                  </a:lnTo>
                  <a:lnTo>
                    <a:pt x="757" y="886"/>
                  </a:lnTo>
                  <a:lnTo>
                    <a:pt x="757" y="888"/>
                  </a:lnTo>
                  <a:lnTo>
                    <a:pt x="758" y="891"/>
                  </a:lnTo>
                  <a:lnTo>
                    <a:pt x="762" y="899"/>
                  </a:lnTo>
                  <a:lnTo>
                    <a:pt x="764" y="908"/>
                  </a:lnTo>
                  <a:lnTo>
                    <a:pt x="767" y="918"/>
                  </a:lnTo>
                  <a:lnTo>
                    <a:pt x="765" y="925"/>
                  </a:lnTo>
                  <a:lnTo>
                    <a:pt x="764" y="929"/>
                  </a:lnTo>
                  <a:lnTo>
                    <a:pt x="761" y="931"/>
                  </a:lnTo>
                  <a:lnTo>
                    <a:pt x="759" y="931"/>
                  </a:lnTo>
                  <a:lnTo>
                    <a:pt x="759" y="928"/>
                  </a:lnTo>
                  <a:lnTo>
                    <a:pt x="758" y="926"/>
                  </a:lnTo>
                  <a:lnTo>
                    <a:pt x="755" y="925"/>
                  </a:lnTo>
                  <a:lnTo>
                    <a:pt x="751" y="925"/>
                  </a:lnTo>
                  <a:lnTo>
                    <a:pt x="745" y="924"/>
                  </a:lnTo>
                  <a:lnTo>
                    <a:pt x="741" y="921"/>
                  </a:lnTo>
                  <a:lnTo>
                    <a:pt x="735" y="918"/>
                  </a:lnTo>
                  <a:lnTo>
                    <a:pt x="734" y="918"/>
                  </a:lnTo>
                  <a:lnTo>
                    <a:pt x="729" y="921"/>
                  </a:lnTo>
                  <a:lnTo>
                    <a:pt x="728" y="924"/>
                  </a:lnTo>
                  <a:lnTo>
                    <a:pt x="729" y="925"/>
                  </a:lnTo>
                  <a:lnTo>
                    <a:pt x="734" y="928"/>
                  </a:lnTo>
                  <a:lnTo>
                    <a:pt x="744" y="929"/>
                  </a:lnTo>
                  <a:lnTo>
                    <a:pt x="749" y="931"/>
                  </a:lnTo>
                  <a:lnTo>
                    <a:pt x="755" y="934"/>
                  </a:lnTo>
                  <a:lnTo>
                    <a:pt x="761" y="934"/>
                  </a:lnTo>
                  <a:lnTo>
                    <a:pt x="762" y="934"/>
                  </a:lnTo>
                  <a:lnTo>
                    <a:pt x="771" y="934"/>
                  </a:lnTo>
                  <a:lnTo>
                    <a:pt x="777" y="931"/>
                  </a:lnTo>
                  <a:lnTo>
                    <a:pt x="782" y="925"/>
                  </a:lnTo>
                  <a:lnTo>
                    <a:pt x="785" y="919"/>
                  </a:lnTo>
                  <a:lnTo>
                    <a:pt x="788" y="911"/>
                  </a:lnTo>
                  <a:lnTo>
                    <a:pt x="791" y="903"/>
                  </a:lnTo>
                  <a:lnTo>
                    <a:pt x="794" y="902"/>
                  </a:lnTo>
                  <a:lnTo>
                    <a:pt x="797" y="901"/>
                  </a:lnTo>
                  <a:lnTo>
                    <a:pt x="801" y="902"/>
                  </a:lnTo>
                  <a:lnTo>
                    <a:pt x="802" y="903"/>
                  </a:lnTo>
                  <a:lnTo>
                    <a:pt x="801" y="906"/>
                  </a:lnTo>
                  <a:lnTo>
                    <a:pt x="797" y="909"/>
                  </a:lnTo>
                  <a:lnTo>
                    <a:pt x="792" y="914"/>
                  </a:lnTo>
                  <a:lnTo>
                    <a:pt x="790" y="918"/>
                  </a:lnTo>
                  <a:lnTo>
                    <a:pt x="787" y="925"/>
                  </a:lnTo>
                  <a:lnTo>
                    <a:pt x="784" y="929"/>
                  </a:lnTo>
                  <a:lnTo>
                    <a:pt x="778" y="934"/>
                  </a:lnTo>
                  <a:lnTo>
                    <a:pt x="772" y="936"/>
                  </a:lnTo>
                  <a:lnTo>
                    <a:pt x="769" y="936"/>
                  </a:lnTo>
                  <a:lnTo>
                    <a:pt x="761" y="936"/>
                  </a:lnTo>
                  <a:lnTo>
                    <a:pt x="762" y="938"/>
                  </a:lnTo>
                  <a:lnTo>
                    <a:pt x="765" y="941"/>
                  </a:lnTo>
                  <a:lnTo>
                    <a:pt x="768" y="942"/>
                  </a:lnTo>
                  <a:lnTo>
                    <a:pt x="772" y="946"/>
                  </a:lnTo>
                  <a:lnTo>
                    <a:pt x="778" y="951"/>
                  </a:lnTo>
                  <a:lnTo>
                    <a:pt x="781" y="951"/>
                  </a:lnTo>
                  <a:lnTo>
                    <a:pt x="785" y="949"/>
                  </a:lnTo>
                  <a:lnTo>
                    <a:pt x="790" y="945"/>
                  </a:lnTo>
                  <a:lnTo>
                    <a:pt x="795" y="941"/>
                  </a:lnTo>
                  <a:lnTo>
                    <a:pt x="800" y="939"/>
                  </a:lnTo>
                  <a:lnTo>
                    <a:pt x="804" y="936"/>
                  </a:lnTo>
                  <a:lnTo>
                    <a:pt x="810" y="936"/>
                  </a:lnTo>
                  <a:lnTo>
                    <a:pt x="817" y="936"/>
                  </a:lnTo>
                  <a:lnTo>
                    <a:pt x="822" y="939"/>
                  </a:lnTo>
                  <a:lnTo>
                    <a:pt x="825" y="944"/>
                  </a:lnTo>
                  <a:lnTo>
                    <a:pt x="831" y="946"/>
                  </a:lnTo>
                  <a:lnTo>
                    <a:pt x="834" y="946"/>
                  </a:lnTo>
                  <a:lnTo>
                    <a:pt x="838" y="946"/>
                  </a:lnTo>
                  <a:lnTo>
                    <a:pt x="841" y="945"/>
                  </a:lnTo>
                  <a:lnTo>
                    <a:pt x="844" y="942"/>
                  </a:lnTo>
                  <a:lnTo>
                    <a:pt x="845" y="939"/>
                  </a:lnTo>
                  <a:lnTo>
                    <a:pt x="848" y="938"/>
                  </a:lnTo>
                  <a:lnTo>
                    <a:pt x="851" y="939"/>
                  </a:lnTo>
                  <a:lnTo>
                    <a:pt x="855" y="942"/>
                  </a:lnTo>
                  <a:lnTo>
                    <a:pt x="860" y="948"/>
                  </a:lnTo>
                  <a:lnTo>
                    <a:pt x="864" y="951"/>
                  </a:lnTo>
                  <a:lnTo>
                    <a:pt x="870" y="951"/>
                  </a:lnTo>
                  <a:lnTo>
                    <a:pt x="875" y="951"/>
                  </a:lnTo>
                  <a:lnTo>
                    <a:pt x="878" y="952"/>
                  </a:lnTo>
                  <a:lnTo>
                    <a:pt x="881" y="954"/>
                  </a:lnTo>
                  <a:lnTo>
                    <a:pt x="883" y="956"/>
                  </a:lnTo>
                  <a:lnTo>
                    <a:pt x="890" y="961"/>
                  </a:lnTo>
                  <a:lnTo>
                    <a:pt x="895" y="962"/>
                  </a:lnTo>
                  <a:lnTo>
                    <a:pt x="900" y="962"/>
                  </a:lnTo>
                  <a:lnTo>
                    <a:pt x="904" y="964"/>
                  </a:lnTo>
                  <a:lnTo>
                    <a:pt x="906" y="965"/>
                  </a:lnTo>
                  <a:lnTo>
                    <a:pt x="908" y="967"/>
                  </a:lnTo>
                  <a:lnTo>
                    <a:pt x="908" y="968"/>
                  </a:lnTo>
                  <a:lnTo>
                    <a:pt x="907" y="969"/>
                  </a:lnTo>
                  <a:lnTo>
                    <a:pt x="906" y="968"/>
                  </a:lnTo>
                  <a:lnTo>
                    <a:pt x="901" y="967"/>
                  </a:lnTo>
                  <a:lnTo>
                    <a:pt x="894" y="965"/>
                  </a:lnTo>
                  <a:lnTo>
                    <a:pt x="888" y="962"/>
                  </a:lnTo>
                  <a:lnTo>
                    <a:pt x="883" y="959"/>
                  </a:lnTo>
                  <a:lnTo>
                    <a:pt x="878" y="955"/>
                  </a:lnTo>
                  <a:lnTo>
                    <a:pt x="873" y="954"/>
                  </a:lnTo>
                  <a:lnTo>
                    <a:pt x="867" y="954"/>
                  </a:lnTo>
                  <a:lnTo>
                    <a:pt x="864" y="954"/>
                  </a:lnTo>
                  <a:lnTo>
                    <a:pt x="861" y="952"/>
                  </a:lnTo>
                  <a:lnTo>
                    <a:pt x="857" y="949"/>
                  </a:lnTo>
                  <a:lnTo>
                    <a:pt x="853" y="948"/>
                  </a:lnTo>
                  <a:lnTo>
                    <a:pt x="850" y="948"/>
                  </a:lnTo>
                  <a:lnTo>
                    <a:pt x="844" y="949"/>
                  </a:lnTo>
                  <a:lnTo>
                    <a:pt x="840" y="951"/>
                  </a:lnTo>
                  <a:lnTo>
                    <a:pt x="835" y="949"/>
                  </a:lnTo>
                  <a:lnTo>
                    <a:pt x="830" y="948"/>
                  </a:lnTo>
                  <a:lnTo>
                    <a:pt x="824" y="945"/>
                  </a:lnTo>
                  <a:lnTo>
                    <a:pt x="820" y="944"/>
                  </a:lnTo>
                  <a:lnTo>
                    <a:pt x="815" y="945"/>
                  </a:lnTo>
                  <a:lnTo>
                    <a:pt x="811" y="945"/>
                  </a:lnTo>
                  <a:lnTo>
                    <a:pt x="805" y="944"/>
                  </a:lnTo>
                  <a:lnTo>
                    <a:pt x="802" y="945"/>
                  </a:lnTo>
                  <a:lnTo>
                    <a:pt x="800" y="948"/>
                  </a:lnTo>
                  <a:lnTo>
                    <a:pt x="797" y="949"/>
                  </a:lnTo>
                  <a:lnTo>
                    <a:pt x="790" y="951"/>
                  </a:lnTo>
                  <a:lnTo>
                    <a:pt x="782" y="952"/>
                  </a:lnTo>
                  <a:lnTo>
                    <a:pt x="778" y="952"/>
                  </a:lnTo>
                  <a:lnTo>
                    <a:pt x="778" y="952"/>
                  </a:lnTo>
                  <a:lnTo>
                    <a:pt x="734" y="951"/>
                  </a:lnTo>
                  <a:lnTo>
                    <a:pt x="716" y="949"/>
                  </a:lnTo>
                  <a:lnTo>
                    <a:pt x="704" y="948"/>
                  </a:lnTo>
                  <a:lnTo>
                    <a:pt x="698" y="944"/>
                  </a:lnTo>
                  <a:lnTo>
                    <a:pt x="696" y="944"/>
                  </a:lnTo>
                  <a:lnTo>
                    <a:pt x="694" y="945"/>
                  </a:lnTo>
                  <a:lnTo>
                    <a:pt x="692" y="944"/>
                  </a:lnTo>
                  <a:lnTo>
                    <a:pt x="686" y="944"/>
                  </a:lnTo>
                  <a:lnTo>
                    <a:pt x="684" y="945"/>
                  </a:lnTo>
                  <a:lnTo>
                    <a:pt x="676" y="951"/>
                  </a:lnTo>
                  <a:lnTo>
                    <a:pt x="672" y="955"/>
                  </a:lnTo>
                  <a:lnTo>
                    <a:pt x="665" y="959"/>
                  </a:lnTo>
                  <a:lnTo>
                    <a:pt x="656" y="959"/>
                  </a:lnTo>
                  <a:lnTo>
                    <a:pt x="642" y="959"/>
                  </a:lnTo>
                  <a:lnTo>
                    <a:pt x="631" y="961"/>
                  </a:lnTo>
                  <a:lnTo>
                    <a:pt x="615" y="964"/>
                  </a:lnTo>
                  <a:lnTo>
                    <a:pt x="609" y="964"/>
                  </a:lnTo>
                  <a:lnTo>
                    <a:pt x="606" y="965"/>
                  </a:lnTo>
                  <a:lnTo>
                    <a:pt x="605" y="967"/>
                  </a:lnTo>
                  <a:lnTo>
                    <a:pt x="606" y="969"/>
                  </a:lnTo>
                  <a:lnTo>
                    <a:pt x="609" y="971"/>
                  </a:lnTo>
                  <a:lnTo>
                    <a:pt x="608" y="972"/>
                  </a:lnTo>
                  <a:lnTo>
                    <a:pt x="608" y="972"/>
                  </a:lnTo>
                  <a:lnTo>
                    <a:pt x="603" y="972"/>
                  </a:lnTo>
                  <a:lnTo>
                    <a:pt x="592" y="967"/>
                  </a:lnTo>
                  <a:lnTo>
                    <a:pt x="582" y="962"/>
                  </a:lnTo>
                  <a:lnTo>
                    <a:pt x="572" y="962"/>
                  </a:lnTo>
                  <a:lnTo>
                    <a:pt x="560" y="961"/>
                  </a:lnTo>
                  <a:lnTo>
                    <a:pt x="555" y="958"/>
                  </a:lnTo>
                  <a:lnTo>
                    <a:pt x="547" y="956"/>
                  </a:lnTo>
                  <a:lnTo>
                    <a:pt x="537" y="955"/>
                  </a:lnTo>
                  <a:lnTo>
                    <a:pt x="535" y="954"/>
                  </a:lnTo>
                  <a:lnTo>
                    <a:pt x="532" y="951"/>
                  </a:lnTo>
                  <a:lnTo>
                    <a:pt x="527" y="949"/>
                  </a:lnTo>
                  <a:lnTo>
                    <a:pt x="526" y="946"/>
                  </a:lnTo>
                  <a:lnTo>
                    <a:pt x="523" y="939"/>
                  </a:lnTo>
                  <a:lnTo>
                    <a:pt x="523" y="934"/>
                  </a:lnTo>
                  <a:lnTo>
                    <a:pt x="525" y="929"/>
                  </a:lnTo>
                  <a:lnTo>
                    <a:pt x="525" y="928"/>
                  </a:lnTo>
                  <a:lnTo>
                    <a:pt x="523" y="926"/>
                  </a:lnTo>
                  <a:lnTo>
                    <a:pt x="519" y="924"/>
                  </a:lnTo>
                  <a:lnTo>
                    <a:pt x="520" y="921"/>
                  </a:lnTo>
                  <a:lnTo>
                    <a:pt x="520" y="915"/>
                  </a:lnTo>
                  <a:lnTo>
                    <a:pt x="523" y="909"/>
                  </a:lnTo>
                  <a:lnTo>
                    <a:pt x="526" y="908"/>
                  </a:lnTo>
                  <a:lnTo>
                    <a:pt x="527" y="908"/>
                  </a:lnTo>
                  <a:lnTo>
                    <a:pt x="532" y="911"/>
                  </a:lnTo>
                  <a:lnTo>
                    <a:pt x="536" y="909"/>
                  </a:lnTo>
                  <a:lnTo>
                    <a:pt x="539" y="908"/>
                  </a:lnTo>
                  <a:lnTo>
                    <a:pt x="543" y="903"/>
                  </a:lnTo>
                  <a:lnTo>
                    <a:pt x="545" y="898"/>
                  </a:lnTo>
                  <a:lnTo>
                    <a:pt x="543" y="895"/>
                  </a:lnTo>
                  <a:lnTo>
                    <a:pt x="535" y="892"/>
                  </a:lnTo>
                  <a:lnTo>
                    <a:pt x="526" y="891"/>
                  </a:lnTo>
                  <a:lnTo>
                    <a:pt x="519" y="892"/>
                  </a:lnTo>
                  <a:lnTo>
                    <a:pt x="509" y="895"/>
                  </a:lnTo>
                  <a:lnTo>
                    <a:pt x="500" y="895"/>
                  </a:lnTo>
                  <a:lnTo>
                    <a:pt x="492" y="898"/>
                  </a:lnTo>
                  <a:lnTo>
                    <a:pt x="482" y="901"/>
                  </a:lnTo>
                  <a:lnTo>
                    <a:pt x="476" y="902"/>
                  </a:lnTo>
                  <a:lnTo>
                    <a:pt x="466" y="905"/>
                  </a:lnTo>
                  <a:lnTo>
                    <a:pt x="456" y="905"/>
                  </a:lnTo>
                  <a:lnTo>
                    <a:pt x="436" y="902"/>
                  </a:lnTo>
                  <a:lnTo>
                    <a:pt x="424" y="901"/>
                  </a:lnTo>
                  <a:lnTo>
                    <a:pt x="419" y="902"/>
                  </a:lnTo>
                  <a:lnTo>
                    <a:pt x="414" y="903"/>
                  </a:lnTo>
                  <a:lnTo>
                    <a:pt x="409" y="908"/>
                  </a:lnTo>
                  <a:lnTo>
                    <a:pt x="406" y="908"/>
                  </a:lnTo>
                  <a:lnTo>
                    <a:pt x="401" y="906"/>
                  </a:lnTo>
                  <a:lnTo>
                    <a:pt x="394" y="903"/>
                  </a:lnTo>
                  <a:lnTo>
                    <a:pt x="388" y="903"/>
                  </a:lnTo>
                  <a:lnTo>
                    <a:pt x="381" y="905"/>
                  </a:lnTo>
                  <a:lnTo>
                    <a:pt x="371" y="908"/>
                  </a:lnTo>
                  <a:lnTo>
                    <a:pt x="368" y="908"/>
                  </a:lnTo>
                  <a:lnTo>
                    <a:pt x="366" y="912"/>
                  </a:lnTo>
                  <a:lnTo>
                    <a:pt x="364" y="912"/>
                  </a:lnTo>
                  <a:lnTo>
                    <a:pt x="361" y="912"/>
                  </a:lnTo>
                  <a:lnTo>
                    <a:pt x="360" y="914"/>
                  </a:lnTo>
                  <a:lnTo>
                    <a:pt x="357" y="918"/>
                  </a:lnTo>
                  <a:lnTo>
                    <a:pt x="350" y="926"/>
                  </a:lnTo>
                  <a:lnTo>
                    <a:pt x="343" y="935"/>
                  </a:lnTo>
                  <a:lnTo>
                    <a:pt x="336" y="939"/>
                  </a:lnTo>
                  <a:lnTo>
                    <a:pt x="323" y="939"/>
                  </a:lnTo>
                  <a:lnTo>
                    <a:pt x="317" y="939"/>
                  </a:lnTo>
                  <a:lnTo>
                    <a:pt x="315" y="941"/>
                  </a:lnTo>
                  <a:lnTo>
                    <a:pt x="311" y="945"/>
                  </a:lnTo>
                  <a:lnTo>
                    <a:pt x="305" y="949"/>
                  </a:lnTo>
                  <a:lnTo>
                    <a:pt x="297" y="951"/>
                  </a:lnTo>
                  <a:lnTo>
                    <a:pt x="294" y="952"/>
                  </a:lnTo>
                  <a:lnTo>
                    <a:pt x="291" y="956"/>
                  </a:lnTo>
                  <a:lnTo>
                    <a:pt x="288" y="958"/>
                  </a:lnTo>
                  <a:lnTo>
                    <a:pt x="285" y="959"/>
                  </a:lnTo>
                  <a:lnTo>
                    <a:pt x="284" y="961"/>
                  </a:lnTo>
                  <a:lnTo>
                    <a:pt x="285" y="962"/>
                  </a:lnTo>
                  <a:lnTo>
                    <a:pt x="288" y="965"/>
                  </a:lnTo>
                  <a:lnTo>
                    <a:pt x="288" y="969"/>
                  </a:lnTo>
                  <a:lnTo>
                    <a:pt x="291" y="972"/>
                  </a:lnTo>
                  <a:lnTo>
                    <a:pt x="297" y="975"/>
                  </a:lnTo>
                  <a:lnTo>
                    <a:pt x="303" y="979"/>
                  </a:lnTo>
                  <a:lnTo>
                    <a:pt x="307" y="981"/>
                  </a:lnTo>
                  <a:lnTo>
                    <a:pt x="314" y="981"/>
                  </a:lnTo>
                  <a:lnTo>
                    <a:pt x="320" y="982"/>
                  </a:lnTo>
                  <a:lnTo>
                    <a:pt x="324" y="984"/>
                  </a:lnTo>
                  <a:lnTo>
                    <a:pt x="327" y="987"/>
                  </a:lnTo>
                  <a:lnTo>
                    <a:pt x="330" y="991"/>
                  </a:lnTo>
                  <a:lnTo>
                    <a:pt x="334" y="995"/>
                  </a:lnTo>
                  <a:lnTo>
                    <a:pt x="338" y="999"/>
                  </a:lnTo>
                  <a:lnTo>
                    <a:pt x="340" y="1002"/>
                  </a:lnTo>
                  <a:lnTo>
                    <a:pt x="338" y="1002"/>
                  </a:lnTo>
                  <a:lnTo>
                    <a:pt x="337" y="1002"/>
                  </a:lnTo>
                  <a:lnTo>
                    <a:pt x="331" y="995"/>
                  </a:lnTo>
                  <a:lnTo>
                    <a:pt x="325" y="989"/>
                  </a:lnTo>
                  <a:lnTo>
                    <a:pt x="321" y="988"/>
                  </a:lnTo>
                  <a:lnTo>
                    <a:pt x="318" y="988"/>
                  </a:lnTo>
                  <a:lnTo>
                    <a:pt x="311" y="988"/>
                  </a:lnTo>
                  <a:lnTo>
                    <a:pt x="304" y="987"/>
                  </a:lnTo>
                  <a:lnTo>
                    <a:pt x="305" y="988"/>
                  </a:lnTo>
                  <a:lnTo>
                    <a:pt x="304" y="992"/>
                  </a:lnTo>
                  <a:lnTo>
                    <a:pt x="303" y="998"/>
                  </a:lnTo>
                  <a:lnTo>
                    <a:pt x="300" y="1001"/>
                  </a:lnTo>
                  <a:lnTo>
                    <a:pt x="298" y="1004"/>
                  </a:lnTo>
                  <a:lnTo>
                    <a:pt x="298" y="1007"/>
                  </a:lnTo>
                  <a:lnTo>
                    <a:pt x="300" y="1009"/>
                  </a:lnTo>
                  <a:lnTo>
                    <a:pt x="300" y="1012"/>
                  </a:lnTo>
                  <a:lnTo>
                    <a:pt x="298" y="1017"/>
                  </a:lnTo>
                  <a:lnTo>
                    <a:pt x="295" y="1017"/>
                  </a:lnTo>
                  <a:lnTo>
                    <a:pt x="295" y="1015"/>
                  </a:lnTo>
                  <a:lnTo>
                    <a:pt x="295" y="1012"/>
                  </a:lnTo>
                  <a:lnTo>
                    <a:pt x="295" y="1009"/>
                  </a:lnTo>
                  <a:lnTo>
                    <a:pt x="294" y="1008"/>
                  </a:lnTo>
                  <a:lnTo>
                    <a:pt x="288" y="1008"/>
                  </a:lnTo>
                  <a:lnTo>
                    <a:pt x="285" y="1008"/>
                  </a:lnTo>
                  <a:lnTo>
                    <a:pt x="284" y="1005"/>
                  </a:lnTo>
                  <a:lnTo>
                    <a:pt x="287" y="1005"/>
                  </a:lnTo>
                  <a:lnTo>
                    <a:pt x="290" y="1005"/>
                  </a:lnTo>
                  <a:lnTo>
                    <a:pt x="293" y="1005"/>
                  </a:lnTo>
                  <a:lnTo>
                    <a:pt x="294" y="1005"/>
                  </a:lnTo>
                  <a:lnTo>
                    <a:pt x="295" y="1001"/>
                  </a:lnTo>
                  <a:lnTo>
                    <a:pt x="295" y="998"/>
                  </a:lnTo>
                  <a:lnTo>
                    <a:pt x="294" y="991"/>
                  </a:lnTo>
                  <a:lnTo>
                    <a:pt x="293" y="988"/>
                  </a:lnTo>
                  <a:lnTo>
                    <a:pt x="287" y="985"/>
                  </a:lnTo>
                  <a:lnTo>
                    <a:pt x="281" y="982"/>
                  </a:lnTo>
                  <a:lnTo>
                    <a:pt x="275" y="978"/>
                  </a:lnTo>
                  <a:lnTo>
                    <a:pt x="272" y="972"/>
                  </a:lnTo>
                  <a:lnTo>
                    <a:pt x="274" y="968"/>
                  </a:lnTo>
                  <a:lnTo>
                    <a:pt x="274" y="961"/>
                  </a:lnTo>
                  <a:lnTo>
                    <a:pt x="274" y="954"/>
                  </a:lnTo>
                  <a:lnTo>
                    <a:pt x="275" y="951"/>
                  </a:lnTo>
                  <a:lnTo>
                    <a:pt x="278" y="948"/>
                  </a:lnTo>
                  <a:lnTo>
                    <a:pt x="280" y="945"/>
                  </a:lnTo>
                  <a:lnTo>
                    <a:pt x="278" y="941"/>
                  </a:lnTo>
                  <a:lnTo>
                    <a:pt x="275" y="935"/>
                  </a:lnTo>
                  <a:lnTo>
                    <a:pt x="271" y="928"/>
                  </a:lnTo>
                  <a:lnTo>
                    <a:pt x="265" y="921"/>
                  </a:lnTo>
                  <a:lnTo>
                    <a:pt x="262" y="918"/>
                  </a:lnTo>
                  <a:lnTo>
                    <a:pt x="261" y="909"/>
                  </a:lnTo>
                  <a:lnTo>
                    <a:pt x="260" y="906"/>
                  </a:lnTo>
                  <a:lnTo>
                    <a:pt x="254" y="903"/>
                  </a:lnTo>
                  <a:lnTo>
                    <a:pt x="248" y="899"/>
                  </a:lnTo>
                  <a:lnTo>
                    <a:pt x="244" y="893"/>
                  </a:lnTo>
                  <a:lnTo>
                    <a:pt x="241" y="889"/>
                  </a:lnTo>
                  <a:lnTo>
                    <a:pt x="238" y="889"/>
                  </a:lnTo>
                  <a:lnTo>
                    <a:pt x="238" y="889"/>
                  </a:lnTo>
                  <a:lnTo>
                    <a:pt x="237" y="892"/>
                  </a:lnTo>
                  <a:lnTo>
                    <a:pt x="240" y="899"/>
                  </a:lnTo>
                  <a:lnTo>
                    <a:pt x="244" y="906"/>
                  </a:lnTo>
                  <a:lnTo>
                    <a:pt x="250" y="914"/>
                  </a:lnTo>
                  <a:lnTo>
                    <a:pt x="251" y="921"/>
                  </a:lnTo>
                  <a:lnTo>
                    <a:pt x="251" y="924"/>
                  </a:lnTo>
                  <a:lnTo>
                    <a:pt x="247" y="929"/>
                  </a:lnTo>
                  <a:lnTo>
                    <a:pt x="241" y="935"/>
                  </a:lnTo>
                  <a:lnTo>
                    <a:pt x="228" y="938"/>
                  </a:lnTo>
                  <a:lnTo>
                    <a:pt x="228" y="938"/>
                  </a:lnTo>
                  <a:lnTo>
                    <a:pt x="222" y="941"/>
                  </a:lnTo>
                  <a:lnTo>
                    <a:pt x="217" y="944"/>
                  </a:lnTo>
                  <a:lnTo>
                    <a:pt x="211" y="944"/>
                  </a:lnTo>
                  <a:lnTo>
                    <a:pt x="205" y="942"/>
                  </a:lnTo>
                  <a:lnTo>
                    <a:pt x="192" y="939"/>
                  </a:lnTo>
                  <a:lnTo>
                    <a:pt x="179" y="934"/>
                  </a:lnTo>
                  <a:lnTo>
                    <a:pt x="171" y="942"/>
                  </a:lnTo>
                  <a:lnTo>
                    <a:pt x="184" y="972"/>
                  </a:lnTo>
                  <a:lnTo>
                    <a:pt x="171" y="974"/>
                  </a:lnTo>
                  <a:lnTo>
                    <a:pt x="162" y="972"/>
                  </a:lnTo>
                  <a:lnTo>
                    <a:pt x="161" y="978"/>
                  </a:lnTo>
                  <a:lnTo>
                    <a:pt x="161" y="978"/>
                  </a:lnTo>
                  <a:lnTo>
                    <a:pt x="159" y="982"/>
                  </a:lnTo>
                  <a:lnTo>
                    <a:pt x="156" y="984"/>
                  </a:lnTo>
                  <a:lnTo>
                    <a:pt x="154" y="985"/>
                  </a:lnTo>
                  <a:lnTo>
                    <a:pt x="151" y="987"/>
                  </a:lnTo>
                  <a:lnTo>
                    <a:pt x="151" y="987"/>
                  </a:lnTo>
                  <a:lnTo>
                    <a:pt x="149" y="987"/>
                  </a:lnTo>
                  <a:lnTo>
                    <a:pt x="148" y="989"/>
                  </a:lnTo>
                  <a:lnTo>
                    <a:pt x="146" y="1001"/>
                  </a:lnTo>
                  <a:lnTo>
                    <a:pt x="146" y="1001"/>
                  </a:lnTo>
                  <a:lnTo>
                    <a:pt x="144" y="1002"/>
                  </a:lnTo>
                  <a:lnTo>
                    <a:pt x="141" y="1004"/>
                  </a:lnTo>
                  <a:lnTo>
                    <a:pt x="138" y="1007"/>
                  </a:lnTo>
                  <a:lnTo>
                    <a:pt x="136" y="1012"/>
                  </a:lnTo>
                  <a:lnTo>
                    <a:pt x="152" y="1025"/>
                  </a:lnTo>
                  <a:lnTo>
                    <a:pt x="148" y="1040"/>
                  </a:lnTo>
                  <a:lnTo>
                    <a:pt x="154" y="1047"/>
                  </a:lnTo>
                  <a:lnTo>
                    <a:pt x="168" y="1045"/>
                  </a:lnTo>
                  <a:lnTo>
                    <a:pt x="169" y="1050"/>
                  </a:lnTo>
                  <a:lnTo>
                    <a:pt x="165" y="1055"/>
                  </a:lnTo>
                  <a:lnTo>
                    <a:pt x="169" y="1061"/>
                  </a:lnTo>
                  <a:lnTo>
                    <a:pt x="168" y="1067"/>
                  </a:lnTo>
                  <a:lnTo>
                    <a:pt x="161" y="1072"/>
                  </a:lnTo>
                  <a:lnTo>
                    <a:pt x="162" y="1077"/>
                  </a:lnTo>
                  <a:lnTo>
                    <a:pt x="171" y="1087"/>
                  </a:lnTo>
                  <a:lnTo>
                    <a:pt x="171" y="1098"/>
                  </a:lnTo>
                  <a:lnTo>
                    <a:pt x="171" y="1098"/>
                  </a:lnTo>
                  <a:close/>
                  <a:moveTo>
                    <a:pt x="2669" y="163"/>
                  </a:moveTo>
                  <a:lnTo>
                    <a:pt x="2669" y="164"/>
                  </a:lnTo>
                  <a:lnTo>
                    <a:pt x="2669" y="166"/>
                  </a:lnTo>
                  <a:lnTo>
                    <a:pt x="2669" y="169"/>
                  </a:lnTo>
                  <a:lnTo>
                    <a:pt x="2667" y="169"/>
                  </a:lnTo>
                  <a:lnTo>
                    <a:pt x="2664" y="167"/>
                  </a:lnTo>
                  <a:lnTo>
                    <a:pt x="2664" y="167"/>
                  </a:lnTo>
                  <a:lnTo>
                    <a:pt x="2667" y="163"/>
                  </a:lnTo>
                  <a:lnTo>
                    <a:pt x="2669" y="163"/>
                  </a:lnTo>
                  <a:lnTo>
                    <a:pt x="2669" y="163"/>
                  </a:lnTo>
                  <a:close/>
                  <a:moveTo>
                    <a:pt x="2680" y="167"/>
                  </a:moveTo>
                  <a:lnTo>
                    <a:pt x="2680" y="169"/>
                  </a:lnTo>
                  <a:lnTo>
                    <a:pt x="2680" y="170"/>
                  </a:lnTo>
                  <a:lnTo>
                    <a:pt x="2679" y="170"/>
                  </a:lnTo>
                  <a:lnTo>
                    <a:pt x="2676" y="169"/>
                  </a:lnTo>
                  <a:lnTo>
                    <a:pt x="2676" y="167"/>
                  </a:lnTo>
                  <a:lnTo>
                    <a:pt x="2680" y="167"/>
                  </a:lnTo>
                  <a:lnTo>
                    <a:pt x="2680" y="167"/>
                  </a:lnTo>
                  <a:close/>
                  <a:moveTo>
                    <a:pt x="2687" y="166"/>
                  </a:moveTo>
                  <a:lnTo>
                    <a:pt x="2689" y="166"/>
                  </a:lnTo>
                  <a:lnTo>
                    <a:pt x="2690" y="167"/>
                  </a:lnTo>
                  <a:lnTo>
                    <a:pt x="2690" y="169"/>
                  </a:lnTo>
                  <a:lnTo>
                    <a:pt x="2689" y="169"/>
                  </a:lnTo>
                  <a:lnTo>
                    <a:pt x="2686" y="169"/>
                  </a:lnTo>
                  <a:lnTo>
                    <a:pt x="2686" y="166"/>
                  </a:lnTo>
                  <a:lnTo>
                    <a:pt x="2687" y="166"/>
                  </a:lnTo>
                  <a:lnTo>
                    <a:pt x="2687" y="166"/>
                  </a:lnTo>
                  <a:close/>
                  <a:moveTo>
                    <a:pt x="2687" y="159"/>
                  </a:moveTo>
                  <a:lnTo>
                    <a:pt x="2690" y="160"/>
                  </a:lnTo>
                  <a:lnTo>
                    <a:pt x="2690" y="162"/>
                  </a:lnTo>
                  <a:lnTo>
                    <a:pt x="2687" y="163"/>
                  </a:lnTo>
                  <a:lnTo>
                    <a:pt x="2686" y="160"/>
                  </a:lnTo>
                  <a:lnTo>
                    <a:pt x="2687" y="159"/>
                  </a:lnTo>
                  <a:lnTo>
                    <a:pt x="2687" y="159"/>
                  </a:lnTo>
                  <a:lnTo>
                    <a:pt x="2687" y="159"/>
                  </a:lnTo>
                  <a:close/>
                  <a:moveTo>
                    <a:pt x="2686" y="150"/>
                  </a:moveTo>
                  <a:lnTo>
                    <a:pt x="2686" y="150"/>
                  </a:lnTo>
                  <a:lnTo>
                    <a:pt x="2686" y="153"/>
                  </a:lnTo>
                  <a:lnTo>
                    <a:pt x="2684" y="153"/>
                  </a:lnTo>
                  <a:lnTo>
                    <a:pt x="2683" y="152"/>
                  </a:lnTo>
                  <a:lnTo>
                    <a:pt x="2683" y="150"/>
                  </a:lnTo>
                  <a:lnTo>
                    <a:pt x="2686" y="150"/>
                  </a:lnTo>
                  <a:lnTo>
                    <a:pt x="2686" y="150"/>
                  </a:lnTo>
                  <a:close/>
                  <a:moveTo>
                    <a:pt x="2697" y="143"/>
                  </a:moveTo>
                  <a:lnTo>
                    <a:pt x="2701" y="144"/>
                  </a:lnTo>
                  <a:lnTo>
                    <a:pt x="2703" y="146"/>
                  </a:lnTo>
                  <a:lnTo>
                    <a:pt x="2704" y="150"/>
                  </a:lnTo>
                  <a:lnTo>
                    <a:pt x="2707" y="153"/>
                  </a:lnTo>
                  <a:lnTo>
                    <a:pt x="2712" y="154"/>
                  </a:lnTo>
                  <a:lnTo>
                    <a:pt x="2716" y="157"/>
                  </a:lnTo>
                  <a:lnTo>
                    <a:pt x="2719" y="166"/>
                  </a:lnTo>
                  <a:lnTo>
                    <a:pt x="2717" y="167"/>
                  </a:lnTo>
                  <a:lnTo>
                    <a:pt x="2712" y="166"/>
                  </a:lnTo>
                  <a:lnTo>
                    <a:pt x="2703" y="162"/>
                  </a:lnTo>
                  <a:lnTo>
                    <a:pt x="2696" y="160"/>
                  </a:lnTo>
                  <a:lnTo>
                    <a:pt x="2691" y="157"/>
                  </a:lnTo>
                  <a:lnTo>
                    <a:pt x="2691" y="152"/>
                  </a:lnTo>
                  <a:lnTo>
                    <a:pt x="2689" y="149"/>
                  </a:lnTo>
                  <a:lnTo>
                    <a:pt x="2689" y="147"/>
                  </a:lnTo>
                  <a:lnTo>
                    <a:pt x="2691" y="144"/>
                  </a:lnTo>
                  <a:lnTo>
                    <a:pt x="2697" y="143"/>
                  </a:lnTo>
                  <a:lnTo>
                    <a:pt x="2697" y="143"/>
                  </a:lnTo>
                  <a:close/>
                  <a:moveTo>
                    <a:pt x="2697" y="123"/>
                  </a:moveTo>
                  <a:lnTo>
                    <a:pt x="2697" y="126"/>
                  </a:lnTo>
                  <a:lnTo>
                    <a:pt x="2696" y="126"/>
                  </a:lnTo>
                  <a:lnTo>
                    <a:pt x="2694" y="124"/>
                  </a:lnTo>
                  <a:lnTo>
                    <a:pt x="2694" y="124"/>
                  </a:lnTo>
                  <a:lnTo>
                    <a:pt x="2694" y="123"/>
                  </a:lnTo>
                  <a:lnTo>
                    <a:pt x="2697" y="123"/>
                  </a:lnTo>
                  <a:lnTo>
                    <a:pt x="2697" y="123"/>
                  </a:lnTo>
                  <a:close/>
                  <a:moveTo>
                    <a:pt x="2713" y="136"/>
                  </a:moveTo>
                  <a:lnTo>
                    <a:pt x="2716" y="136"/>
                  </a:lnTo>
                  <a:lnTo>
                    <a:pt x="2716" y="139"/>
                  </a:lnTo>
                  <a:lnTo>
                    <a:pt x="2714" y="140"/>
                  </a:lnTo>
                  <a:lnTo>
                    <a:pt x="2714" y="140"/>
                  </a:lnTo>
                  <a:lnTo>
                    <a:pt x="2713" y="137"/>
                  </a:lnTo>
                  <a:lnTo>
                    <a:pt x="2713" y="136"/>
                  </a:lnTo>
                  <a:lnTo>
                    <a:pt x="2713" y="136"/>
                  </a:lnTo>
                  <a:close/>
                  <a:moveTo>
                    <a:pt x="2699" y="129"/>
                  </a:moveTo>
                  <a:lnTo>
                    <a:pt x="2701" y="130"/>
                  </a:lnTo>
                  <a:lnTo>
                    <a:pt x="2704" y="132"/>
                  </a:lnTo>
                  <a:lnTo>
                    <a:pt x="2707" y="134"/>
                  </a:lnTo>
                  <a:lnTo>
                    <a:pt x="2710" y="139"/>
                  </a:lnTo>
                  <a:lnTo>
                    <a:pt x="2712" y="142"/>
                  </a:lnTo>
                  <a:lnTo>
                    <a:pt x="2710" y="144"/>
                  </a:lnTo>
                  <a:lnTo>
                    <a:pt x="2709" y="144"/>
                  </a:lnTo>
                  <a:lnTo>
                    <a:pt x="2707" y="143"/>
                  </a:lnTo>
                  <a:lnTo>
                    <a:pt x="2703" y="140"/>
                  </a:lnTo>
                  <a:lnTo>
                    <a:pt x="2699" y="139"/>
                  </a:lnTo>
                  <a:lnTo>
                    <a:pt x="2697" y="137"/>
                  </a:lnTo>
                  <a:lnTo>
                    <a:pt x="2696" y="134"/>
                  </a:lnTo>
                  <a:lnTo>
                    <a:pt x="2697" y="130"/>
                  </a:lnTo>
                  <a:lnTo>
                    <a:pt x="2699" y="129"/>
                  </a:lnTo>
                  <a:lnTo>
                    <a:pt x="2699" y="129"/>
                  </a:lnTo>
                  <a:lnTo>
                    <a:pt x="2699" y="129"/>
                  </a:lnTo>
                  <a:close/>
                  <a:moveTo>
                    <a:pt x="2487" y="63"/>
                  </a:moveTo>
                  <a:lnTo>
                    <a:pt x="2484" y="64"/>
                  </a:lnTo>
                  <a:lnTo>
                    <a:pt x="2484" y="67"/>
                  </a:lnTo>
                  <a:lnTo>
                    <a:pt x="2485" y="70"/>
                  </a:lnTo>
                  <a:lnTo>
                    <a:pt x="2487" y="70"/>
                  </a:lnTo>
                  <a:lnTo>
                    <a:pt x="2490" y="66"/>
                  </a:lnTo>
                  <a:lnTo>
                    <a:pt x="2490" y="64"/>
                  </a:lnTo>
                  <a:lnTo>
                    <a:pt x="2495" y="66"/>
                  </a:lnTo>
                  <a:lnTo>
                    <a:pt x="2498" y="70"/>
                  </a:lnTo>
                  <a:lnTo>
                    <a:pt x="2501" y="73"/>
                  </a:lnTo>
                  <a:lnTo>
                    <a:pt x="2502" y="73"/>
                  </a:lnTo>
                  <a:lnTo>
                    <a:pt x="2502" y="70"/>
                  </a:lnTo>
                  <a:lnTo>
                    <a:pt x="2504" y="69"/>
                  </a:lnTo>
                  <a:lnTo>
                    <a:pt x="2508" y="66"/>
                  </a:lnTo>
                  <a:lnTo>
                    <a:pt x="2510" y="63"/>
                  </a:lnTo>
                  <a:lnTo>
                    <a:pt x="2505" y="61"/>
                  </a:lnTo>
                  <a:lnTo>
                    <a:pt x="2498" y="61"/>
                  </a:lnTo>
                  <a:lnTo>
                    <a:pt x="2495" y="58"/>
                  </a:lnTo>
                  <a:lnTo>
                    <a:pt x="2494" y="58"/>
                  </a:lnTo>
                  <a:lnTo>
                    <a:pt x="2487" y="63"/>
                  </a:lnTo>
                  <a:lnTo>
                    <a:pt x="2487" y="63"/>
                  </a:lnTo>
                  <a:close/>
                  <a:moveTo>
                    <a:pt x="2535" y="26"/>
                  </a:moveTo>
                  <a:lnTo>
                    <a:pt x="2531" y="26"/>
                  </a:lnTo>
                  <a:lnTo>
                    <a:pt x="2531" y="28"/>
                  </a:lnTo>
                  <a:lnTo>
                    <a:pt x="2537" y="33"/>
                  </a:lnTo>
                  <a:lnTo>
                    <a:pt x="2537" y="33"/>
                  </a:lnTo>
                  <a:lnTo>
                    <a:pt x="2541" y="30"/>
                  </a:lnTo>
                  <a:lnTo>
                    <a:pt x="2548" y="28"/>
                  </a:lnTo>
                  <a:lnTo>
                    <a:pt x="2548" y="28"/>
                  </a:lnTo>
                  <a:lnTo>
                    <a:pt x="2548" y="27"/>
                  </a:lnTo>
                  <a:lnTo>
                    <a:pt x="2548" y="26"/>
                  </a:lnTo>
                  <a:lnTo>
                    <a:pt x="2547" y="26"/>
                  </a:lnTo>
                  <a:lnTo>
                    <a:pt x="2543" y="26"/>
                  </a:lnTo>
                  <a:lnTo>
                    <a:pt x="2543" y="24"/>
                  </a:lnTo>
                  <a:lnTo>
                    <a:pt x="2544" y="21"/>
                  </a:lnTo>
                  <a:lnTo>
                    <a:pt x="2544" y="20"/>
                  </a:lnTo>
                  <a:lnTo>
                    <a:pt x="2544" y="20"/>
                  </a:lnTo>
                  <a:lnTo>
                    <a:pt x="2541" y="21"/>
                  </a:lnTo>
                  <a:lnTo>
                    <a:pt x="2541" y="23"/>
                  </a:lnTo>
                  <a:lnTo>
                    <a:pt x="2538" y="24"/>
                  </a:lnTo>
                  <a:lnTo>
                    <a:pt x="2535" y="26"/>
                  </a:lnTo>
                  <a:lnTo>
                    <a:pt x="2535" y="26"/>
                  </a:lnTo>
                  <a:close/>
                  <a:moveTo>
                    <a:pt x="2518" y="17"/>
                  </a:moveTo>
                  <a:lnTo>
                    <a:pt x="2515" y="17"/>
                  </a:lnTo>
                  <a:lnTo>
                    <a:pt x="2515" y="18"/>
                  </a:lnTo>
                  <a:lnTo>
                    <a:pt x="2515" y="20"/>
                  </a:lnTo>
                  <a:lnTo>
                    <a:pt x="2518" y="23"/>
                  </a:lnTo>
                  <a:lnTo>
                    <a:pt x="2520" y="24"/>
                  </a:lnTo>
                  <a:lnTo>
                    <a:pt x="2522" y="20"/>
                  </a:lnTo>
                  <a:lnTo>
                    <a:pt x="2525" y="18"/>
                  </a:lnTo>
                  <a:lnTo>
                    <a:pt x="2521" y="18"/>
                  </a:lnTo>
                  <a:lnTo>
                    <a:pt x="2520" y="20"/>
                  </a:lnTo>
                  <a:lnTo>
                    <a:pt x="2520" y="20"/>
                  </a:lnTo>
                  <a:lnTo>
                    <a:pt x="2518" y="17"/>
                  </a:lnTo>
                  <a:lnTo>
                    <a:pt x="2518" y="17"/>
                  </a:lnTo>
                  <a:close/>
                  <a:moveTo>
                    <a:pt x="2517" y="26"/>
                  </a:moveTo>
                  <a:lnTo>
                    <a:pt x="2515" y="26"/>
                  </a:lnTo>
                  <a:lnTo>
                    <a:pt x="2515" y="30"/>
                  </a:lnTo>
                  <a:lnTo>
                    <a:pt x="2517" y="30"/>
                  </a:lnTo>
                  <a:lnTo>
                    <a:pt x="2518" y="30"/>
                  </a:lnTo>
                  <a:lnTo>
                    <a:pt x="2520" y="27"/>
                  </a:lnTo>
                  <a:lnTo>
                    <a:pt x="2517" y="26"/>
                  </a:lnTo>
                  <a:lnTo>
                    <a:pt x="2517" y="26"/>
                  </a:lnTo>
                  <a:close/>
                  <a:moveTo>
                    <a:pt x="2585" y="0"/>
                  </a:moveTo>
                  <a:lnTo>
                    <a:pt x="2584" y="0"/>
                  </a:lnTo>
                  <a:lnTo>
                    <a:pt x="2583" y="3"/>
                  </a:lnTo>
                  <a:lnTo>
                    <a:pt x="2583" y="8"/>
                  </a:lnTo>
                  <a:lnTo>
                    <a:pt x="2581" y="11"/>
                  </a:lnTo>
                  <a:lnTo>
                    <a:pt x="2577" y="13"/>
                  </a:lnTo>
                  <a:lnTo>
                    <a:pt x="2578" y="14"/>
                  </a:lnTo>
                  <a:lnTo>
                    <a:pt x="2581" y="14"/>
                  </a:lnTo>
                  <a:lnTo>
                    <a:pt x="2585" y="8"/>
                  </a:lnTo>
                  <a:lnTo>
                    <a:pt x="2590" y="4"/>
                  </a:lnTo>
                  <a:lnTo>
                    <a:pt x="2590" y="0"/>
                  </a:lnTo>
                  <a:lnTo>
                    <a:pt x="2585" y="0"/>
                  </a:lnTo>
                  <a:lnTo>
                    <a:pt x="2585" y="0"/>
                  </a:lnTo>
                  <a:close/>
                  <a:moveTo>
                    <a:pt x="2712" y="123"/>
                  </a:moveTo>
                  <a:lnTo>
                    <a:pt x="2713" y="126"/>
                  </a:lnTo>
                  <a:lnTo>
                    <a:pt x="2712" y="127"/>
                  </a:lnTo>
                  <a:lnTo>
                    <a:pt x="2710" y="127"/>
                  </a:lnTo>
                  <a:lnTo>
                    <a:pt x="2710" y="124"/>
                  </a:lnTo>
                  <a:lnTo>
                    <a:pt x="2712" y="123"/>
                  </a:lnTo>
                  <a:lnTo>
                    <a:pt x="2712" y="123"/>
                  </a:lnTo>
                  <a:close/>
                  <a:moveTo>
                    <a:pt x="2719" y="180"/>
                  </a:moveTo>
                  <a:lnTo>
                    <a:pt x="2723" y="182"/>
                  </a:lnTo>
                  <a:lnTo>
                    <a:pt x="2724" y="185"/>
                  </a:lnTo>
                  <a:lnTo>
                    <a:pt x="2726" y="186"/>
                  </a:lnTo>
                  <a:lnTo>
                    <a:pt x="2730" y="187"/>
                  </a:lnTo>
                  <a:lnTo>
                    <a:pt x="2733" y="189"/>
                  </a:lnTo>
                  <a:lnTo>
                    <a:pt x="2736" y="192"/>
                  </a:lnTo>
                  <a:lnTo>
                    <a:pt x="2740" y="193"/>
                  </a:lnTo>
                  <a:lnTo>
                    <a:pt x="2744" y="197"/>
                  </a:lnTo>
                  <a:lnTo>
                    <a:pt x="2746" y="197"/>
                  </a:lnTo>
                  <a:lnTo>
                    <a:pt x="2754" y="203"/>
                  </a:lnTo>
                  <a:lnTo>
                    <a:pt x="2759" y="206"/>
                  </a:lnTo>
                  <a:lnTo>
                    <a:pt x="2762" y="206"/>
                  </a:lnTo>
                  <a:lnTo>
                    <a:pt x="2770" y="209"/>
                  </a:lnTo>
                  <a:lnTo>
                    <a:pt x="2776" y="212"/>
                  </a:lnTo>
                  <a:lnTo>
                    <a:pt x="2782" y="215"/>
                  </a:lnTo>
                  <a:lnTo>
                    <a:pt x="2786" y="219"/>
                  </a:lnTo>
                  <a:lnTo>
                    <a:pt x="2787" y="223"/>
                  </a:lnTo>
                  <a:lnTo>
                    <a:pt x="2787" y="226"/>
                  </a:lnTo>
                  <a:lnTo>
                    <a:pt x="2786" y="225"/>
                  </a:lnTo>
                  <a:lnTo>
                    <a:pt x="2785" y="225"/>
                  </a:lnTo>
                  <a:lnTo>
                    <a:pt x="2783" y="222"/>
                  </a:lnTo>
                  <a:lnTo>
                    <a:pt x="2780" y="217"/>
                  </a:lnTo>
                  <a:lnTo>
                    <a:pt x="2776" y="215"/>
                  </a:lnTo>
                  <a:lnTo>
                    <a:pt x="2769" y="213"/>
                  </a:lnTo>
                  <a:lnTo>
                    <a:pt x="2762" y="215"/>
                  </a:lnTo>
                  <a:lnTo>
                    <a:pt x="2757" y="216"/>
                  </a:lnTo>
                  <a:lnTo>
                    <a:pt x="2753" y="217"/>
                  </a:lnTo>
                  <a:lnTo>
                    <a:pt x="2752" y="217"/>
                  </a:lnTo>
                  <a:lnTo>
                    <a:pt x="2746" y="217"/>
                  </a:lnTo>
                  <a:lnTo>
                    <a:pt x="2744" y="215"/>
                  </a:lnTo>
                  <a:lnTo>
                    <a:pt x="2739" y="212"/>
                  </a:lnTo>
                  <a:lnTo>
                    <a:pt x="2734" y="209"/>
                  </a:lnTo>
                  <a:lnTo>
                    <a:pt x="2732" y="209"/>
                  </a:lnTo>
                  <a:lnTo>
                    <a:pt x="2726" y="200"/>
                  </a:lnTo>
                  <a:lnTo>
                    <a:pt x="2722" y="196"/>
                  </a:lnTo>
                  <a:lnTo>
                    <a:pt x="2714" y="192"/>
                  </a:lnTo>
                  <a:lnTo>
                    <a:pt x="2706" y="189"/>
                  </a:lnTo>
                  <a:lnTo>
                    <a:pt x="2701" y="186"/>
                  </a:lnTo>
                  <a:lnTo>
                    <a:pt x="2699" y="183"/>
                  </a:lnTo>
                  <a:lnTo>
                    <a:pt x="2697" y="179"/>
                  </a:lnTo>
                  <a:lnTo>
                    <a:pt x="2696" y="173"/>
                  </a:lnTo>
                  <a:lnTo>
                    <a:pt x="2696" y="173"/>
                  </a:lnTo>
                  <a:lnTo>
                    <a:pt x="2694" y="166"/>
                  </a:lnTo>
                  <a:lnTo>
                    <a:pt x="2694" y="163"/>
                  </a:lnTo>
                  <a:lnTo>
                    <a:pt x="2699" y="163"/>
                  </a:lnTo>
                  <a:lnTo>
                    <a:pt x="2703" y="166"/>
                  </a:lnTo>
                  <a:lnTo>
                    <a:pt x="2709" y="170"/>
                  </a:lnTo>
                  <a:lnTo>
                    <a:pt x="2712" y="176"/>
                  </a:lnTo>
                  <a:lnTo>
                    <a:pt x="2713" y="179"/>
                  </a:lnTo>
                  <a:lnTo>
                    <a:pt x="2719" y="180"/>
                  </a:lnTo>
                  <a:lnTo>
                    <a:pt x="2719" y="180"/>
                  </a:lnTo>
                  <a:close/>
                  <a:moveTo>
                    <a:pt x="976" y="965"/>
                  </a:moveTo>
                  <a:lnTo>
                    <a:pt x="976" y="965"/>
                  </a:lnTo>
                  <a:lnTo>
                    <a:pt x="976" y="965"/>
                  </a:lnTo>
                  <a:lnTo>
                    <a:pt x="976" y="965"/>
                  </a:lnTo>
                  <a:lnTo>
                    <a:pt x="974" y="965"/>
                  </a:lnTo>
                  <a:lnTo>
                    <a:pt x="974" y="965"/>
                  </a:lnTo>
                  <a:lnTo>
                    <a:pt x="971" y="965"/>
                  </a:lnTo>
                  <a:lnTo>
                    <a:pt x="971" y="965"/>
                  </a:lnTo>
                  <a:lnTo>
                    <a:pt x="971" y="964"/>
                  </a:lnTo>
                  <a:lnTo>
                    <a:pt x="970" y="964"/>
                  </a:lnTo>
                  <a:lnTo>
                    <a:pt x="970" y="961"/>
                  </a:lnTo>
                  <a:lnTo>
                    <a:pt x="970" y="961"/>
                  </a:lnTo>
                  <a:lnTo>
                    <a:pt x="969" y="958"/>
                  </a:lnTo>
                  <a:lnTo>
                    <a:pt x="969" y="958"/>
                  </a:lnTo>
                  <a:lnTo>
                    <a:pt x="969" y="956"/>
                  </a:lnTo>
                  <a:lnTo>
                    <a:pt x="970" y="958"/>
                  </a:lnTo>
                  <a:lnTo>
                    <a:pt x="971" y="959"/>
                  </a:lnTo>
                  <a:lnTo>
                    <a:pt x="971" y="959"/>
                  </a:lnTo>
                  <a:lnTo>
                    <a:pt x="974" y="962"/>
                  </a:lnTo>
                  <a:lnTo>
                    <a:pt x="976" y="962"/>
                  </a:lnTo>
                  <a:lnTo>
                    <a:pt x="976" y="965"/>
                  </a:lnTo>
                  <a:lnTo>
                    <a:pt x="976" y="965"/>
                  </a:lnTo>
                  <a:close/>
                  <a:moveTo>
                    <a:pt x="967" y="962"/>
                  </a:moveTo>
                  <a:lnTo>
                    <a:pt x="967" y="962"/>
                  </a:lnTo>
                  <a:lnTo>
                    <a:pt x="967" y="964"/>
                  </a:lnTo>
                  <a:lnTo>
                    <a:pt x="966" y="965"/>
                  </a:lnTo>
                  <a:lnTo>
                    <a:pt x="966" y="967"/>
                  </a:lnTo>
                  <a:lnTo>
                    <a:pt x="964" y="968"/>
                  </a:lnTo>
                  <a:lnTo>
                    <a:pt x="964" y="968"/>
                  </a:lnTo>
                  <a:lnTo>
                    <a:pt x="963" y="968"/>
                  </a:lnTo>
                  <a:lnTo>
                    <a:pt x="961" y="967"/>
                  </a:lnTo>
                  <a:lnTo>
                    <a:pt x="961" y="962"/>
                  </a:lnTo>
                  <a:lnTo>
                    <a:pt x="961" y="962"/>
                  </a:lnTo>
                  <a:lnTo>
                    <a:pt x="960" y="961"/>
                  </a:lnTo>
                  <a:lnTo>
                    <a:pt x="959" y="961"/>
                  </a:lnTo>
                  <a:lnTo>
                    <a:pt x="957" y="959"/>
                  </a:lnTo>
                  <a:lnTo>
                    <a:pt x="957" y="958"/>
                  </a:lnTo>
                  <a:lnTo>
                    <a:pt x="957" y="958"/>
                  </a:lnTo>
                  <a:lnTo>
                    <a:pt x="957" y="954"/>
                  </a:lnTo>
                  <a:lnTo>
                    <a:pt x="959" y="952"/>
                  </a:lnTo>
                  <a:lnTo>
                    <a:pt x="961" y="952"/>
                  </a:lnTo>
                  <a:lnTo>
                    <a:pt x="961" y="952"/>
                  </a:lnTo>
                  <a:lnTo>
                    <a:pt x="964" y="952"/>
                  </a:lnTo>
                  <a:lnTo>
                    <a:pt x="964" y="954"/>
                  </a:lnTo>
                  <a:lnTo>
                    <a:pt x="966" y="958"/>
                  </a:lnTo>
                  <a:lnTo>
                    <a:pt x="966" y="958"/>
                  </a:lnTo>
                  <a:lnTo>
                    <a:pt x="966" y="961"/>
                  </a:lnTo>
                  <a:lnTo>
                    <a:pt x="967" y="962"/>
                  </a:lnTo>
                  <a:lnTo>
                    <a:pt x="967" y="962"/>
                  </a:lnTo>
                  <a:close/>
                  <a:moveTo>
                    <a:pt x="778" y="951"/>
                  </a:moveTo>
                  <a:lnTo>
                    <a:pt x="772" y="946"/>
                  </a:lnTo>
                  <a:lnTo>
                    <a:pt x="768" y="942"/>
                  </a:lnTo>
                  <a:lnTo>
                    <a:pt x="765" y="941"/>
                  </a:lnTo>
                  <a:lnTo>
                    <a:pt x="762" y="938"/>
                  </a:lnTo>
                  <a:lnTo>
                    <a:pt x="778" y="951"/>
                  </a:lnTo>
                  <a:lnTo>
                    <a:pt x="778" y="951"/>
                  </a:lnTo>
                  <a:close/>
                  <a:moveTo>
                    <a:pt x="252" y="816"/>
                  </a:moveTo>
                  <a:lnTo>
                    <a:pt x="252" y="818"/>
                  </a:lnTo>
                  <a:lnTo>
                    <a:pt x="252" y="818"/>
                  </a:lnTo>
                  <a:lnTo>
                    <a:pt x="252" y="818"/>
                  </a:lnTo>
                  <a:lnTo>
                    <a:pt x="251" y="818"/>
                  </a:lnTo>
                  <a:lnTo>
                    <a:pt x="248" y="818"/>
                  </a:lnTo>
                  <a:lnTo>
                    <a:pt x="248" y="819"/>
                  </a:lnTo>
                  <a:lnTo>
                    <a:pt x="251" y="820"/>
                  </a:lnTo>
                  <a:lnTo>
                    <a:pt x="252" y="822"/>
                  </a:lnTo>
                  <a:lnTo>
                    <a:pt x="251" y="830"/>
                  </a:lnTo>
                  <a:lnTo>
                    <a:pt x="251" y="830"/>
                  </a:lnTo>
                  <a:lnTo>
                    <a:pt x="250" y="832"/>
                  </a:lnTo>
                  <a:lnTo>
                    <a:pt x="250" y="832"/>
                  </a:lnTo>
                  <a:lnTo>
                    <a:pt x="250" y="832"/>
                  </a:lnTo>
                  <a:lnTo>
                    <a:pt x="248" y="832"/>
                  </a:lnTo>
                  <a:lnTo>
                    <a:pt x="247" y="832"/>
                  </a:lnTo>
                  <a:lnTo>
                    <a:pt x="247" y="832"/>
                  </a:lnTo>
                  <a:lnTo>
                    <a:pt x="247" y="833"/>
                  </a:lnTo>
                  <a:lnTo>
                    <a:pt x="247" y="835"/>
                  </a:lnTo>
                  <a:lnTo>
                    <a:pt x="248" y="836"/>
                  </a:lnTo>
                  <a:lnTo>
                    <a:pt x="250" y="836"/>
                  </a:lnTo>
                  <a:lnTo>
                    <a:pt x="250" y="838"/>
                  </a:lnTo>
                  <a:lnTo>
                    <a:pt x="250" y="843"/>
                  </a:lnTo>
                  <a:lnTo>
                    <a:pt x="248" y="846"/>
                  </a:lnTo>
                  <a:lnTo>
                    <a:pt x="248" y="846"/>
                  </a:lnTo>
                  <a:lnTo>
                    <a:pt x="248" y="846"/>
                  </a:lnTo>
                  <a:lnTo>
                    <a:pt x="242" y="849"/>
                  </a:lnTo>
                  <a:lnTo>
                    <a:pt x="240" y="852"/>
                  </a:lnTo>
                  <a:lnTo>
                    <a:pt x="240" y="852"/>
                  </a:lnTo>
                  <a:lnTo>
                    <a:pt x="238" y="856"/>
                  </a:lnTo>
                  <a:lnTo>
                    <a:pt x="237" y="861"/>
                  </a:lnTo>
                  <a:lnTo>
                    <a:pt x="237" y="863"/>
                  </a:lnTo>
                  <a:lnTo>
                    <a:pt x="237" y="869"/>
                  </a:lnTo>
                  <a:lnTo>
                    <a:pt x="235" y="872"/>
                  </a:lnTo>
                  <a:lnTo>
                    <a:pt x="235" y="872"/>
                  </a:lnTo>
                  <a:lnTo>
                    <a:pt x="235" y="872"/>
                  </a:lnTo>
                  <a:lnTo>
                    <a:pt x="235" y="873"/>
                  </a:lnTo>
                  <a:lnTo>
                    <a:pt x="235" y="873"/>
                  </a:lnTo>
                  <a:lnTo>
                    <a:pt x="235" y="873"/>
                  </a:lnTo>
                  <a:lnTo>
                    <a:pt x="232" y="875"/>
                  </a:lnTo>
                  <a:lnTo>
                    <a:pt x="227" y="873"/>
                  </a:lnTo>
                  <a:lnTo>
                    <a:pt x="217" y="872"/>
                  </a:lnTo>
                  <a:lnTo>
                    <a:pt x="211" y="871"/>
                  </a:lnTo>
                  <a:lnTo>
                    <a:pt x="205" y="871"/>
                  </a:lnTo>
                  <a:lnTo>
                    <a:pt x="201" y="871"/>
                  </a:lnTo>
                  <a:lnTo>
                    <a:pt x="198" y="868"/>
                  </a:lnTo>
                  <a:lnTo>
                    <a:pt x="192" y="861"/>
                  </a:lnTo>
                  <a:lnTo>
                    <a:pt x="188" y="858"/>
                  </a:lnTo>
                  <a:lnTo>
                    <a:pt x="179" y="855"/>
                  </a:lnTo>
                  <a:lnTo>
                    <a:pt x="172" y="852"/>
                  </a:lnTo>
                  <a:lnTo>
                    <a:pt x="168" y="846"/>
                  </a:lnTo>
                  <a:lnTo>
                    <a:pt x="168" y="840"/>
                  </a:lnTo>
                  <a:lnTo>
                    <a:pt x="169" y="838"/>
                  </a:lnTo>
                  <a:lnTo>
                    <a:pt x="169" y="838"/>
                  </a:lnTo>
                  <a:lnTo>
                    <a:pt x="172" y="835"/>
                  </a:lnTo>
                  <a:lnTo>
                    <a:pt x="172" y="835"/>
                  </a:lnTo>
                  <a:lnTo>
                    <a:pt x="172" y="835"/>
                  </a:lnTo>
                  <a:lnTo>
                    <a:pt x="177" y="835"/>
                  </a:lnTo>
                  <a:lnTo>
                    <a:pt x="179" y="836"/>
                  </a:lnTo>
                  <a:lnTo>
                    <a:pt x="184" y="838"/>
                  </a:lnTo>
                  <a:lnTo>
                    <a:pt x="185" y="838"/>
                  </a:lnTo>
                  <a:lnTo>
                    <a:pt x="185" y="838"/>
                  </a:lnTo>
                  <a:lnTo>
                    <a:pt x="188" y="835"/>
                  </a:lnTo>
                  <a:lnTo>
                    <a:pt x="189" y="825"/>
                  </a:lnTo>
                  <a:lnTo>
                    <a:pt x="189" y="820"/>
                  </a:lnTo>
                  <a:lnTo>
                    <a:pt x="185" y="818"/>
                  </a:lnTo>
                  <a:lnTo>
                    <a:pt x="184" y="816"/>
                  </a:lnTo>
                  <a:lnTo>
                    <a:pt x="184" y="808"/>
                  </a:lnTo>
                  <a:lnTo>
                    <a:pt x="184" y="803"/>
                  </a:lnTo>
                  <a:lnTo>
                    <a:pt x="185" y="799"/>
                  </a:lnTo>
                  <a:lnTo>
                    <a:pt x="185" y="799"/>
                  </a:lnTo>
                  <a:lnTo>
                    <a:pt x="185" y="799"/>
                  </a:lnTo>
                  <a:lnTo>
                    <a:pt x="188" y="799"/>
                  </a:lnTo>
                  <a:lnTo>
                    <a:pt x="191" y="799"/>
                  </a:lnTo>
                  <a:lnTo>
                    <a:pt x="198" y="802"/>
                  </a:lnTo>
                  <a:lnTo>
                    <a:pt x="204" y="802"/>
                  </a:lnTo>
                  <a:lnTo>
                    <a:pt x="209" y="802"/>
                  </a:lnTo>
                  <a:lnTo>
                    <a:pt x="218" y="800"/>
                  </a:lnTo>
                  <a:lnTo>
                    <a:pt x="227" y="799"/>
                  </a:lnTo>
                  <a:lnTo>
                    <a:pt x="234" y="798"/>
                  </a:lnTo>
                  <a:lnTo>
                    <a:pt x="238" y="799"/>
                  </a:lnTo>
                  <a:lnTo>
                    <a:pt x="244" y="800"/>
                  </a:lnTo>
                  <a:lnTo>
                    <a:pt x="248" y="803"/>
                  </a:lnTo>
                  <a:lnTo>
                    <a:pt x="252" y="813"/>
                  </a:lnTo>
                  <a:lnTo>
                    <a:pt x="252" y="816"/>
                  </a:lnTo>
                  <a:lnTo>
                    <a:pt x="252" y="816"/>
                  </a:lnTo>
                  <a:lnTo>
                    <a:pt x="252" y="816"/>
                  </a:lnTo>
                  <a:close/>
                  <a:moveTo>
                    <a:pt x="308" y="1041"/>
                  </a:moveTo>
                  <a:lnTo>
                    <a:pt x="307" y="1040"/>
                  </a:lnTo>
                  <a:lnTo>
                    <a:pt x="308" y="1035"/>
                  </a:lnTo>
                  <a:lnTo>
                    <a:pt x="310" y="1032"/>
                  </a:lnTo>
                  <a:lnTo>
                    <a:pt x="311" y="1031"/>
                  </a:lnTo>
                  <a:lnTo>
                    <a:pt x="313" y="1030"/>
                  </a:lnTo>
                  <a:lnTo>
                    <a:pt x="314" y="1030"/>
                  </a:lnTo>
                  <a:lnTo>
                    <a:pt x="315" y="1031"/>
                  </a:lnTo>
                  <a:lnTo>
                    <a:pt x="314" y="1035"/>
                  </a:lnTo>
                  <a:lnTo>
                    <a:pt x="313" y="1038"/>
                  </a:lnTo>
                  <a:lnTo>
                    <a:pt x="310" y="1040"/>
                  </a:lnTo>
                  <a:lnTo>
                    <a:pt x="308" y="1041"/>
                  </a:lnTo>
                  <a:lnTo>
                    <a:pt x="308" y="1041"/>
                  </a:lnTo>
                  <a:close/>
                  <a:moveTo>
                    <a:pt x="373" y="928"/>
                  </a:moveTo>
                  <a:lnTo>
                    <a:pt x="370" y="926"/>
                  </a:lnTo>
                  <a:lnTo>
                    <a:pt x="366" y="921"/>
                  </a:lnTo>
                  <a:lnTo>
                    <a:pt x="364" y="918"/>
                  </a:lnTo>
                  <a:lnTo>
                    <a:pt x="366" y="915"/>
                  </a:lnTo>
                  <a:lnTo>
                    <a:pt x="367" y="915"/>
                  </a:lnTo>
                  <a:lnTo>
                    <a:pt x="370" y="918"/>
                  </a:lnTo>
                  <a:lnTo>
                    <a:pt x="371" y="919"/>
                  </a:lnTo>
                  <a:lnTo>
                    <a:pt x="373" y="919"/>
                  </a:lnTo>
                  <a:lnTo>
                    <a:pt x="374" y="921"/>
                  </a:lnTo>
                  <a:lnTo>
                    <a:pt x="374" y="924"/>
                  </a:lnTo>
                  <a:lnTo>
                    <a:pt x="373" y="928"/>
                  </a:lnTo>
                  <a:lnTo>
                    <a:pt x="373" y="928"/>
                  </a:lnTo>
                  <a:close/>
                  <a:moveTo>
                    <a:pt x="499" y="912"/>
                  </a:moveTo>
                  <a:lnTo>
                    <a:pt x="497" y="911"/>
                  </a:lnTo>
                  <a:lnTo>
                    <a:pt x="496" y="906"/>
                  </a:lnTo>
                  <a:lnTo>
                    <a:pt x="497" y="902"/>
                  </a:lnTo>
                  <a:lnTo>
                    <a:pt x="499" y="902"/>
                  </a:lnTo>
                  <a:lnTo>
                    <a:pt x="502" y="902"/>
                  </a:lnTo>
                  <a:lnTo>
                    <a:pt x="503" y="903"/>
                  </a:lnTo>
                  <a:lnTo>
                    <a:pt x="503" y="905"/>
                  </a:lnTo>
                  <a:lnTo>
                    <a:pt x="502" y="906"/>
                  </a:lnTo>
                  <a:lnTo>
                    <a:pt x="502" y="909"/>
                  </a:lnTo>
                  <a:lnTo>
                    <a:pt x="500" y="912"/>
                  </a:lnTo>
                  <a:lnTo>
                    <a:pt x="499" y="912"/>
                  </a:lnTo>
                  <a:lnTo>
                    <a:pt x="499" y="912"/>
                  </a:lnTo>
                  <a:close/>
                  <a:moveTo>
                    <a:pt x="1004" y="1001"/>
                  </a:moveTo>
                  <a:lnTo>
                    <a:pt x="1010" y="1004"/>
                  </a:lnTo>
                  <a:lnTo>
                    <a:pt x="1014" y="1008"/>
                  </a:lnTo>
                  <a:lnTo>
                    <a:pt x="1016" y="1011"/>
                  </a:lnTo>
                  <a:lnTo>
                    <a:pt x="1016" y="1014"/>
                  </a:lnTo>
                  <a:lnTo>
                    <a:pt x="1014" y="1015"/>
                  </a:lnTo>
                  <a:lnTo>
                    <a:pt x="1009" y="1012"/>
                  </a:lnTo>
                  <a:lnTo>
                    <a:pt x="1003" y="1009"/>
                  </a:lnTo>
                  <a:lnTo>
                    <a:pt x="999" y="1008"/>
                  </a:lnTo>
                  <a:lnTo>
                    <a:pt x="997" y="1007"/>
                  </a:lnTo>
                  <a:lnTo>
                    <a:pt x="996" y="1004"/>
                  </a:lnTo>
                  <a:lnTo>
                    <a:pt x="997" y="1001"/>
                  </a:lnTo>
                  <a:lnTo>
                    <a:pt x="999" y="999"/>
                  </a:lnTo>
                  <a:lnTo>
                    <a:pt x="1004" y="1001"/>
                  </a:lnTo>
                  <a:lnTo>
                    <a:pt x="1004" y="1001"/>
                  </a:lnTo>
                  <a:close/>
                  <a:moveTo>
                    <a:pt x="991" y="999"/>
                  </a:moveTo>
                  <a:lnTo>
                    <a:pt x="990" y="999"/>
                  </a:lnTo>
                  <a:lnTo>
                    <a:pt x="987" y="999"/>
                  </a:lnTo>
                  <a:lnTo>
                    <a:pt x="983" y="999"/>
                  </a:lnTo>
                  <a:lnTo>
                    <a:pt x="979" y="999"/>
                  </a:lnTo>
                  <a:lnTo>
                    <a:pt x="974" y="992"/>
                  </a:lnTo>
                  <a:lnTo>
                    <a:pt x="971" y="987"/>
                  </a:lnTo>
                  <a:lnTo>
                    <a:pt x="971" y="984"/>
                  </a:lnTo>
                  <a:lnTo>
                    <a:pt x="973" y="978"/>
                  </a:lnTo>
                  <a:lnTo>
                    <a:pt x="970" y="972"/>
                  </a:lnTo>
                  <a:lnTo>
                    <a:pt x="969" y="969"/>
                  </a:lnTo>
                  <a:lnTo>
                    <a:pt x="969" y="968"/>
                  </a:lnTo>
                  <a:lnTo>
                    <a:pt x="970" y="968"/>
                  </a:lnTo>
                  <a:lnTo>
                    <a:pt x="973" y="969"/>
                  </a:lnTo>
                  <a:lnTo>
                    <a:pt x="974" y="974"/>
                  </a:lnTo>
                  <a:lnTo>
                    <a:pt x="976" y="978"/>
                  </a:lnTo>
                  <a:lnTo>
                    <a:pt x="976" y="982"/>
                  </a:lnTo>
                  <a:lnTo>
                    <a:pt x="983" y="988"/>
                  </a:lnTo>
                  <a:lnTo>
                    <a:pt x="986" y="991"/>
                  </a:lnTo>
                  <a:lnTo>
                    <a:pt x="990" y="995"/>
                  </a:lnTo>
                  <a:lnTo>
                    <a:pt x="991" y="999"/>
                  </a:lnTo>
                  <a:lnTo>
                    <a:pt x="991" y="999"/>
                  </a:lnTo>
                  <a:close/>
                  <a:moveTo>
                    <a:pt x="983" y="974"/>
                  </a:moveTo>
                  <a:lnTo>
                    <a:pt x="986" y="977"/>
                  </a:lnTo>
                  <a:lnTo>
                    <a:pt x="987" y="978"/>
                  </a:lnTo>
                  <a:lnTo>
                    <a:pt x="987" y="979"/>
                  </a:lnTo>
                  <a:lnTo>
                    <a:pt x="984" y="981"/>
                  </a:lnTo>
                  <a:lnTo>
                    <a:pt x="981" y="979"/>
                  </a:lnTo>
                  <a:lnTo>
                    <a:pt x="981" y="974"/>
                  </a:lnTo>
                  <a:lnTo>
                    <a:pt x="983" y="974"/>
                  </a:lnTo>
                  <a:lnTo>
                    <a:pt x="983" y="974"/>
                  </a:lnTo>
                  <a:close/>
                  <a:moveTo>
                    <a:pt x="1083" y="972"/>
                  </a:moveTo>
                  <a:lnTo>
                    <a:pt x="1087" y="974"/>
                  </a:lnTo>
                  <a:lnTo>
                    <a:pt x="1090" y="974"/>
                  </a:lnTo>
                  <a:lnTo>
                    <a:pt x="1090" y="975"/>
                  </a:lnTo>
                  <a:lnTo>
                    <a:pt x="1087" y="977"/>
                  </a:lnTo>
                  <a:lnTo>
                    <a:pt x="1089" y="979"/>
                  </a:lnTo>
                  <a:lnTo>
                    <a:pt x="1090" y="982"/>
                  </a:lnTo>
                  <a:lnTo>
                    <a:pt x="1087" y="981"/>
                  </a:lnTo>
                  <a:lnTo>
                    <a:pt x="1082" y="979"/>
                  </a:lnTo>
                  <a:lnTo>
                    <a:pt x="1077" y="974"/>
                  </a:lnTo>
                  <a:lnTo>
                    <a:pt x="1077" y="971"/>
                  </a:lnTo>
                  <a:lnTo>
                    <a:pt x="1077" y="968"/>
                  </a:lnTo>
                  <a:lnTo>
                    <a:pt x="1079" y="968"/>
                  </a:lnTo>
                  <a:lnTo>
                    <a:pt x="1083" y="972"/>
                  </a:lnTo>
                  <a:lnTo>
                    <a:pt x="1083" y="972"/>
                  </a:lnTo>
                  <a:close/>
                  <a:moveTo>
                    <a:pt x="1087" y="965"/>
                  </a:moveTo>
                  <a:lnTo>
                    <a:pt x="1092" y="968"/>
                  </a:lnTo>
                  <a:lnTo>
                    <a:pt x="1092" y="969"/>
                  </a:lnTo>
                  <a:lnTo>
                    <a:pt x="1090" y="971"/>
                  </a:lnTo>
                  <a:lnTo>
                    <a:pt x="1087" y="971"/>
                  </a:lnTo>
                  <a:lnTo>
                    <a:pt x="1086" y="969"/>
                  </a:lnTo>
                  <a:lnTo>
                    <a:pt x="1082" y="967"/>
                  </a:lnTo>
                  <a:lnTo>
                    <a:pt x="1082" y="965"/>
                  </a:lnTo>
                  <a:lnTo>
                    <a:pt x="1087" y="965"/>
                  </a:lnTo>
                  <a:lnTo>
                    <a:pt x="1087" y="965"/>
                  </a:lnTo>
                  <a:close/>
                  <a:moveTo>
                    <a:pt x="1086" y="958"/>
                  </a:moveTo>
                  <a:lnTo>
                    <a:pt x="1090" y="958"/>
                  </a:lnTo>
                  <a:lnTo>
                    <a:pt x="1093" y="959"/>
                  </a:lnTo>
                  <a:lnTo>
                    <a:pt x="1093" y="961"/>
                  </a:lnTo>
                  <a:lnTo>
                    <a:pt x="1092" y="962"/>
                  </a:lnTo>
                  <a:lnTo>
                    <a:pt x="1089" y="962"/>
                  </a:lnTo>
                  <a:lnTo>
                    <a:pt x="1085" y="961"/>
                  </a:lnTo>
                  <a:lnTo>
                    <a:pt x="1082" y="961"/>
                  </a:lnTo>
                  <a:lnTo>
                    <a:pt x="1079" y="959"/>
                  </a:lnTo>
                  <a:lnTo>
                    <a:pt x="1080" y="958"/>
                  </a:lnTo>
                  <a:lnTo>
                    <a:pt x="1086" y="958"/>
                  </a:lnTo>
                  <a:lnTo>
                    <a:pt x="1086" y="958"/>
                  </a:lnTo>
                  <a:close/>
                  <a:moveTo>
                    <a:pt x="1075" y="961"/>
                  </a:moveTo>
                  <a:lnTo>
                    <a:pt x="1077" y="962"/>
                  </a:lnTo>
                  <a:lnTo>
                    <a:pt x="1077" y="964"/>
                  </a:lnTo>
                  <a:lnTo>
                    <a:pt x="1076" y="964"/>
                  </a:lnTo>
                  <a:lnTo>
                    <a:pt x="1073" y="964"/>
                  </a:lnTo>
                  <a:lnTo>
                    <a:pt x="1075" y="962"/>
                  </a:lnTo>
                  <a:lnTo>
                    <a:pt x="1075" y="961"/>
                  </a:lnTo>
                  <a:lnTo>
                    <a:pt x="1075" y="961"/>
                  </a:lnTo>
                  <a:close/>
                  <a:moveTo>
                    <a:pt x="1073" y="955"/>
                  </a:moveTo>
                  <a:lnTo>
                    <a:pt x="1077" y="956"/>
                  </a:lnTo>
                  <a:lnTo>
                    <a:pt x="1077" y="958"/>
                  </a:lnTo>
                  <a:lnTo>
                    <a:pt x="1077" y="959"/>
                  </a:lnTo>
                  <a:lnTo>
                    <a:pt x="1075" y="958"/>
                  </a:lnTo>
                  <a:lnTo>
                    <a:pt x="1072" y="956"/>
                  </a:lnTo>
                  <a:lnTo>
                    <a:pt x="1072" y="955"/>
                  </a:lnTo>
                  <a:lnTo>
                    <a:pt x="1072" y="954"/>
                  </a:lnTo>
                  <a:lnTo>
                    <a:pt x="1073" y="955"/>
                  </a:lnTo>
                  <a:lnTo>
                    <a:pt x="1073" y="955"/>
                  </a:lnTo>
                  <a:close/>
                  <a:moveTo>
                    <a:pt x="1066" y="952"/>
                  </a:moveTo>
                  <a:lnTo>
                    <a:pt x="1067" y="952"/>
                  </a:lnTo>
                  <a:lnTo>
                    <a:pt x="1069" y="954"/>
                  </a:lnTo>
                  <a:lnTo>
                    <a:pt x="1069" y="955"/>
                  </a:lnTo>
                  <a:lnTo>
                    <a:pt x="1067" y="956"/>
                  </a:lnTo>
                  <a:lnTo>
                    <a:pt x="1064" y="955"/>
                  </a:lnTo>
                  <a:lnTo>
                    <a:pt x="1064" y="952"/>
                  </a:lnTo>
                  <a:lnTo>
                    <a:pt x="1066" y="952"/>
                  </a:lnTo>
                  <a:lnTo>
                    <a:pt x="1066" y="952"/>
                  </a:lnTo>
                  <a:close/>
                  <a:moveTo>
                    <a:pt x="1077" y="948"/>
                  </a:moveTo>
                  <a:lnTo>
                    <a:pt x="1080" y="951"/>
                  </a:lnTo>
                  <a:lnTo>
                    <a:pt x="1082" y="952"/>
                  </a:lnTo>
                  <a:lnTo>
                    <a:pt x="1082" y="954"/>
                  </a:lnTo>
                  <a:lnTo>
                    <a:pt x="1080" y="954"/>
                  </a:lnTo>
                  <a:lnTo>
                    <a:pt x="1076" y="951"/>
                  </a:lnTo>
                  <a:lnTo>
                    <a:pt x="1075" y="951"/>
                  </a:lnTo>
                  <a:lnTo>
                    <a:pt x="1075" y="949"/>
                  </a:lnTo>
                  <a:lnTo>
                    <a:pt x="1076" y="948"/>
                  </a:lnTo>
                  <a:lnTo>
                    <a:pt x="1077" y="948"/>
                  </a:lnTo>
                  <a:lnTo>
                    <a:pt x="1077" y="948"/>
                  </a:lnTo>
                  <a:close/>
                  <a:moveTo>
                    <a:pt x="1076" y="944"/>
                  </a:moveTo>
                  <a:lnTo>
                    <a:pt x="1079" y="944"/>
                  </a:lnTo>
                  <a:lnTo>
                    <a:pt x="1079" y="945"/>
                  </a:lnTo>
                  <a:lnTo>
                    <a:pt x="1077" y="946"/>
                  </a:lnTo>
                  <a:lnTo>
                    <a:pt x="1075" y="945"/>
                  </a:lnTo>
                  <a:lnTo>
                    <a:pt x="1073" y="944"/>
                  </a:lnTo>
                  <a:lnTo>
                    <a:pt x="1076" y="944"/>
                  </a:lnTo>
                  <a:lnTo>
                    <a:pt x="1076" y="944"/>
                  </a:lnTo>
                  <a:close/>
                  <a:moveTo>
                    <a:pt x="1067" y="944"/>
                  </a:moveTo>
                  <a:lnTo>
                    <a:pt x="1070" y="945"/>
                  </a:lnTo>
                  <a:lnTo>
                    <a:pt x="1072" y="946"/>
                  </a:lnTo>
                  <a:lnTo>
                    <a:pt x="1073" y="948"/>
                  </a:lnTo>
                  <a:lnTo>
                    <a:pt x="1070" y="948"/>
                  </a:lnTo>
                  <a:lnTo>
                    <a:pt x="1066" y="948"/>
                  </a:lnTo>
                  <a:lnTo>
                    <a:pt x="1064" y="949"/>
                  </a:lnTo>
                  <a:lnTo>
                    <a:pt x="1063" y="949"/>
                  </a:lnTo>
                  <a:lnTo>
                    <a:pt x="1063" y="945"/>
                  </a:lnTo>
                  <a:lnTo>
                    <a:pt x="1064" y="944"/>
                  </a:lnTo>
                  <a:lnTo>
                    <a:pt x="1066" y="944"/>
                  </a:lnTo>
                  <a:lnTo>
                    <a:pt x="1067" y="944"/>
                  </a:lnTo>
                  <a:lnTo>
                    <a:pt x="1067" y="944"/>
                  </a:lnTo>
                  <a:close/>
                  <a:moveTo>
                    <a:pt x="1056" y="935"/>
                  </a:moveTo>
                  <a:lnTo>
                    <a:pt x="1059" y="936"/>
                  </a:lnTo>
                  <a:lnTo>
                    <a:pt x="1057" y="936"/>
                  </a:lnTo>
                  <a:lnTo>
                    <a:pt x="1057" y="938"/>
                  </a:lnTo>
                  <a:lnTo>
                    <a:pt x="1053" y="939"/>
                  </a:lnTo>
                  <a:lnTo>
                    <a:pt x="1049" y="938"/>
                  </a:lnTo>
                  <a:lnTo>
                    <a:pt x="1050" y="938"/>
                  </a:lnTo>
                  <a:lnTo>
                    <a:pt x="1050" y="935"/>
                  </a:lnTo>
                  <a:lnTo>
                    <a:pt x="1056" y="935"/>
                  </a:lnTo>
                  <a:lnTo>
                    <a:pt x="1056" y="935"/>
                  </a:lnTo>
                  <a:close/>
                  <a:moveTo>
                    <a:pt x="993" y="928"/>
                  </a:moveTo>
                  <a:lnTo>
                    <a:pt x="997" y="929"/>
                  </a:lnTo>
                  <a:lnTo>
                    <a:pt x="999" y="932"/>
                  </a:lnTo>
                  <a:lnTo>
                    <a:pt x="999" y="934"/>
                  </a:lnTo>
                  <a:lnTo>
                    <a:pt x="997" y="935"/>
                  </a:lnTo>
                  <a:lnTo>
                    <a:pt x="994" y="934"/>
                  </a:lnTo>
                  <a:lnTo>
                    <a:pt x="993" y="932"/>
                  </a:lnTo>
                  <a:lnTo>
                    <a:pt x="990" y="931"/>
                  </a:lnTo>
                  <a:lnTo>
                    <a:pt x="990" y="929"/>
                  </a:lnTo>
                  <a:lnTo>
                    <a:pt x="990" y="928"/>
                  </a:lnTo>
                  <a:lnTo>
                    <a:pt x="993" y="928"/>
                  </a:lnTo>
                  <a:lnTo>
                    <a:pt x="993" y="928"/>
                  </a:lnTo>
                  <a:close/>
                  <a:moveTo>
                    <a:pt x="1003" y="925"/>
                  </a:moveTo>
                  <a:lnTo>
                    <a:pt x="1004" y="925"/>
                  </a:lnTo>
                  <a:lnTo>
                    <a:pt x="1006" y="926"/>
                  </a:lnTo>
                  <a:lnTo>
                    <a:pt x="1006" y="928"/>
                  </a:lnTo>
                  <a:lnTo>
                    <a:pt x="1004" y="929"/>
                  </a:lnTo>
                  <a:lnTo>
                    <a:pt x="1004" y="929"/>
                  </a:lnTo>
                  <a:lnTo>
                    <a:pt x="1001" y="929"/>
                  </a:lnTo>
                  <a:lnTo>
                    <a:pt x="1001" y="929"/>
                  </a:lnTo>
                  <a:lnTo>
                    <a:pt x="1000" y="928"/>
                  </a:lnTo>
                  <a:lnTo>
                    <a:pt x="1001" y="926"/>
                  </a:lnTo>
                  <a:lnTo>
                    <a:pt x="1003" y="925"/>
                  </a:lnTo>
                  <a:lnTo>
                    <a:pt x="1003" y="925"/>
                  </a:lnTo>
                  <a:close/>
                  <a:moveTo>
                    <a:pt x="1155" y="998"/>
                  </a:moveTo>
                  <a:lnTo>
                    <a:pt x="1158" y="1002"/>
                  </a:lnTo>
                  <a:lnTo>
                    <a:pt x="1156" y="1002"/>
                  </a:lnTo>
                  <a:lnTo>
                    <a:pt x="1155" y="1001"/>
                  </a:lnTo>
                  <a:lnTo>
                    <a:pt x="1153" y="999"/>
                  </a:lnTo>
                  <a:lnTo>
                    <a:pt x="1153" y="997"/>
                  </a:lnTo>
                  <a:lnTo>
                    <a:pt x="1153" y="995"/>
                  </a:lnTo>
                  <a:lnTo>
                    <a:pt x="1155" y="998"/>
                  </a:lnTo>
                  <a:lnTo>
                    <a:pt x="1155" y="998"/>
                  </a:lnTo>
                  <a:close/>
                  <a:moveTo>
                    <a:pt x="1012" y="924"/>
                  </a:moveTo>
                  <a:lnTo>
                    <a:pt x="1014" y="924"/>
                  </a:lnTo>
                  <a:lnTo>
                    <a:pt x="1014" y="925"/>
                  </a:lnTo>
                  <a:lnTo>
                    <a:pt x="1013" y="925"/>
                  </a:lnTo>
                  <a:lnTo>
                    <a:pt x="1010" y="925"/>
                  </a:lnTo>
                  <a:lnTo>
                    <a:pt x="1009" y="925"/>
                  </a:lnTo>
                  <a:lnTo>
                    <a:pt x="1007" y="922"/>
                  </a:lnTo>
                  <a:lnTo>
                    <a:pt x="1012" y="924"/>
                  </a:lnTo>
                  <a:lnTo>
                    <a:pt x="1012" y="924"/>
                  </a:lnTo>
                  <a:close/>
                  <a:moveTo>
                    <a:pt x="996" y="919"/>
                  </a:moveTo>
                  <a:lnTo>
                    <a:pt x="997" y="919"/>
                  </a:lnTo>
                  <a:lnTo>
                    <a:pt x="997" y="921"/>
                  </a:lnTo>
                  <a:lnTo>
                    <a:pt x="997" y="924"/>
                  </a:lnTo>
                  <a:lnTo>
                    <a:pt x="996" y="925"/>
                  </a:lnTo>
                  <a:lnTo>
                    <a:pt x="994" y="926"/>
                  </a:lnTo>
                  <a:lnTo>
                    <a:pt x="991" y="925"/>
                  </a:lnTo>
                  <a:lnTo>
                    <a:pt x="993" y="924"/>
                  </a:lnTo>
                  <a:lnTo>
                    <a:pt x="996" y="922"/>
                  </a:lnTo>
                  <a:lnTo>
                    <a:pt x="996" y="921"/>
                  </a:lnTo>
                  <a:lnTo>
                    <a:pt x="996" y="919"/>
                  </a:lnTo>
                  <a:lnTo>
                    <a:pt x="996" y="919"/>
                  </a:lnTo>
                  <a:close/>
                  <a:moveTo>
                    <a:pt x="997" y="912"/>
                  </a:moveTo>
                  <a:lnTo>
                    <a:pt x="999" y="914"/>
                  </a:lnTo>
                  <a:lnTo>
                    <a:pt x="997" y="915"/>
                  </a:lnTo>
                  <a:lnTo>
                    <a:pt x="996" y="915"/>
                  </a:lnTo>
                  <a:lnTo>
                    <a:pt x="996" y="915"/>
                  </a:lnTo>
                  <a:lnTo>
                    <a:pt x="996" y="914"/>
                  </a:lnTo>
                  <a:lnTo>
                    <a:pt x="997" y="912"/>
                  </a:lnTo>
                  <a:lnTo>
                    <a:pt x="997" y="912"/>
                  </a:lnTo>
                  <a:close/>
                  <a:moveTo>
                    <a:pt x="987" y="918"/>
                  </a:moveTo>
                  <a:lnTo>
                    <a:pt x="989" y="918"/>
                  </a:lnTo>
                  <a:lnTo>
                    <a:pt x="990" y="919"/>
                  </a:lnTo>
                  <a:lnTo>
                    <a:pt x="989" y="919"/>
                  </a:lnTo>
                  <a:lnTo>
                    <a:pt x="984" y="919"/>
                  </a:lnTo>
                  <a:lnTo>
                    <a:pt x="984" y="918"/>
                  </a:lnTo>
                  <a:lnTo>
                    <a:pt x="986" y="916"/>
                  </a:lnTo>
                  <a:lnTo>
                    <a:pt x="987" y="918"/>
                  </a:lnTo>
                  <a:lnTo>
                    <a:pt x="987" y="918"/>
                  </a:lnTo>
                  <a:close/>
                  <a:moveTo>
                    <a:pt x="986" y="914"/>
                  </a:moveTo>
                  <a:lnTo>
                    <a:pt x="987" y="914"/>
                  </a:lnTo>
                  <a:lnTo>
                    <a:pt x="990" y="914"/>
                  </a:lnTo>
                  <a:lnTo>
                    <a:pt x="991" y="914"/>
                  </a:lnTo>
                  <a:lnTo>
                    <a:pt x="991" y="915"/>
                  </a:lnTo>
                  <a:lnTo>
                    <a:pt x="989" y="915"/>
                  </a:lnTo>
                  <a:lnTo>
                    <a:pt x="986" y="915"/>
                  </a:lnTo>
                  <a:lnTo>
                    <a:pt x="984" y="914"/>
                  </a:lnTo>
                  <a:lnTo>
                    <a:pt x="986" y="914"/>
                  </a:lnTo>
                  <a:lnTo>
                    <a:pt x="986" y="914"/>
                  </a:lnTo>
                  <a:close/>
                  <a:moveTo>
                    <a:pt x="981" y="903"/>
                  </a:moveTo>
                  <a:lnTo>
                    <a:pt x="983" y="906"/>
                  </a:lnTo>
                  <a:lnTo>
                    <a:pt x="983" y="909"/>
                  </a:lnTo>
                  <a:lnTo>
                    <a:pt x="981" y="912"/>
                  </a:lnTo>
                  <a:lnTo>
                    <a:pt x="980" y="915"/>
                  </a:lnTo>
                  <a:lnTo>
                    <a:pt x="974" y="918"/>
                  </a:lnTo>
                  <a:lnTo>
                    <a:pt x="971" y="919"/>
                  </a:lnTo>
                  <a:lnTo>
                    <a:pt x="970" y="919"/>
                  </a:lnTo>
                  <a:lnTo>
                    <a:pt x="970" y="915"/>
                  </a:lnTo>
                  <a:lnTo>
                    <a:pt x="970" y="911"/>
                  </a:lnTo>
                  <a:lnTo>
                    <a:pt x="973" y="908"/>
                  </a:lnTo>
                  <a:lnTo>
                    <a:pt x="974" y="905"/>
                  </a:lnTo>
                  <a:lnTo>
                    <a:pt x="981" y="903"/>
                  </a:lnTo>
                  <a:lnTo>
                    <a:pt x="981" y="903"/>
                  </a:lnTo>
                  <a:close/>
                  <a:moveTo>
                    <a:pt x="989" y="882"/>
                  </a:moveTo>
                  <a:lnTo>
                    <a:pt x="990" y="883"/>
                  </a:lnTo>
                  <a:lnTo>
                    <a:pt x="990" y="885"/>
                  </a:lnTo>
                  <a:lnTo>
                    <a:pt x="990" y="888"/>
                  </a:lnTo>
                  <a:lnTo>
                    <a:pt x="986" y="892"/>
                  </a:lnTo>
                  <a:lnTo>
                    <a:pt x="983" y="893"/>
                  </a:lnTo>
                  <a:lnTo>
                    <a:pt x="977" y="895"/>
                  </a:lnTo>
                  <a:lnTo>
                    <a:pt x="974" y="896"/>
                  </a:lnTo>
                  <a:lnTo>
                    <a:pt x="973" y="895"/>
                  </a:lnTo>
                  <a:lnTo>
                    <a:pt x="973" y="891"/>
                  </a:lnTo>
                  <a:lnTo>
                    <a:pt x="974" y="888"/>
                  </a:lnTo>
                  <a:lnTo>
                    <a:pt x="977" y="886"/>
                  </a:lnTo>
                  <a:lnTo>
                    <a:pt x="984" y="886"/>
                  </a:lnTo>
                  <a:lnTo>
                    <a:pt x="986" y="886"/>
                  </a:lnTo>
                  <a:lnTo>
                    <a:pt x="989" y="883"/>
                  </a:lnTo>
                  <a:lnTo>
                    <a:pt x="989" y="882"/>
                  </a:lnTo>
                  <a:lnTo>
                    <a:pt x="989" y="882"/>
                  </a:lnTo>
                  <a:close/>
                  <a:moveTo>
                    <a:pt x="984" y="879"/>
                  </a:moveTo>
                  <a:lnTo>
                    <a:pt x="986" y="882"/>
                  </a:lnTo>
                  <a:lnTo>
                    <a:pt x="984" y="883"/>
                  </a:lnTo>
                  <a:lnTo>
                    <a:pt x="983" y="885"/>
                  </a:lnTo>
                  <a:lnTo>
                    <a:pt x="981" y="883"/>
                  </a:lnTo>
                  <a:lnTo>
                    <a:pt x="981" y="881"/>
                  </a:lnTo>
                  <a:lnTo>
                    <a:pt x="984" y="879"/>
                  </a:lnTo>
                  <a:lnTo>
                    <a:pt x="984" y="879"/>
                  </a:lnTo>
                  <a:close/>
                  <a:moveTo>
                    <a:pt x="1000" y="906"/>
                  </a:moveTo>
                  <a:lnTo>
                    <a:pt x="1003" y="906"/>
                  </a:lnTo>
                  <a:lnTo>
                    <a:pt x="1001" y="909"/>
                  </a:lnTo>
                  <a:lnTo>
                    <a:pt x="1000" y="909"/>
                  </a:lnTo>
                  <a:lnTo>
                    <a:pt x="999" y="909"/>
                  </a:lnTo>
                  <a:lnTo>
                    <a:pt x="1000" y="906"/>
                  </a:lnTo>
                  <a:lnTo>
                    <a:pt x="1000" y="906"/>
                  </a:lnTo>
                  <a:close/>
                  <a:moveTo>
                    <a:pt x="996" y="903"/>
                  </a:moveTo>
                  <a:lnTo>
                    <a:pt x="997" y="902"/>
                  </a:lnTo>
                  <a:lnTo>
                    <a:pt x="997" y="903"/>
                  </a:lnTo>
                  <a:lnTo>
                    <a:pt x="997" y="906"/>
                  </a:lnTo>
                  <a:lnTo>
                    <a:pt x="997" y="908"/>
                  </a:lnTo>
                  <a:lnTo>
                    <a:pt x="994" y="909"/>
                  </a:lnTo>
                  <a:lnTo>
                    <a:pt x="994" y="906"/>
                  </a:lnTo>
                  <a:lnTo>
                    <a:pt x="994" y="903"/>
                  </a:lnTo>
                  <a:lnTo>
                    <a:pt x="996" y="903"/>
                  </a:lnTo>
                  <a:lnTo>
                    <a:pt x="996" y="903"/>
                  </a:lnTo>
                  <a:close/>
                  <a:moveTo>
                    <a:pt x="991" y="909"/>
                  </a:moveTo>
                  <a:lnTo>
                    <a:pt x="993" y="911"/>
                  </a:lnTo>
                  <a:lnTo>
                    <a:pt x="991" y="911"/>
                  </a:lnTo>
                  <a:lnTo>
                    <a:pt x="991" y="911"/>
                  </a:lnTo>
                  <a:lnTo>
                    <a:pt x="989" y="911"/>
                  </a:lnTo>
                  <a:lnTo>
                    <a:pt x="987" y="911"/>
                  </a:lnTo>
                  <a:lnTo>
                    <a:pt x="989" y="909"/>
                  </a:lnTo>
                  <a:lnTo>
                    <a:pt x="991" y="909"/>
                  </a:lnTo>
                  <a:lnTo>
                    <a:pt x="991" y="909"/>
                  </a:lnTo>
                  <a:close/>
                  <a:moveTo>
                    <a:pt x="990" y="899"/>
                  </a:moveTo>
                  <a:lnTo>
                    <a:pt x="993" y="901"/>
                  </a:lnTo>
                  <a:lnTo>
                    <a:pt x="991" y="902"/>
                  </a:lnTo>
                  <a:lnTo>
                    <a:pt x="991" y="903"/>
                  </a:lnTo>
                  <a:lnTo>
                    <a:pt x="990" y="906"/>
                  </a:lnTo>
                  <a:lnTo>
                    <a:pt x="989" y="908"/>
                  </a:lnTo>
                  <a:lnTo>
                    <a:pt x="987" y="908"/>
                  </a:lnTo>
                  <a:lnTo>
                    <a:pt x="987" y="905"/>
                  </a:lnTo>
                  <a:lnTo>
                    <a:pt x="987" y="901"/>
                  </a:lnTo>
                  <a:lnTo>
                    <a:pt x="990" y="899"/>
                  </a:lnTo>
                  <a:lnTo>
                    <a:pt x="990" y="899"/>
                  </a:lnTo>
                  <a:close/>
                  <a:moveTo>
                    <a:pt x="997" y="895"/>
                  </a:moveTo>
                  <a:lnTo>
                    <a:pt x="999" y="895"/>
                  </a:lnTo>
                  <a:lnTo>
                    <a:pt x="999" y="896"/>
                  </a:lnTo>
                  <a:lnTo>
                    <a:pt x="997" y="898"/>
                  </a:lnTo>
                  <a:lnTo>
                    <a:pt x="996" y="899"/>
                  </a:lnTo>
                  <a:lnTo>
                    <a:pt x="996" y="898"/>
                  </a:lnTo>
                  <a:lnTo>
                    <a:pt x="996" y="896"/>
                  </a:lnTo>
                  <a:lnTo>
                    <a:pt x="996" y="895"/>
                  </a:lnTo>
                  <a:lnTo>
                    <a:pt x="997" y="895"/>
                  </a:lnTo>
                  <a:lnTo>
                    <a:pt x="997" y="895"/>
                  </a:lnTo>
                  <a:close/>
                  <a:moveTo>
                    <a:pt x="997" y="886"/>
                  </a:moveTo>
                  <a:lnTo>
                    <a:pt x="1000" y="888"/>
                  </a:lnTo>
                  <a:lnTo>
                    <a:pt x="999" y="889"/>
                  </a:lnTo>
                  <a:lnTo>
                    <a:pt x="999" y="891"/>
                  </a:lnTo>
                  <a:lnTo>
                    <a:pt x="999" y="892"/>
                  </a:lnTo>
                  <a:lnTo>
                    <a:pt x="996" y="892"/>
                  </a:lnTo>
                  <a:lnTo>
                    <a:pt x="994" y="892"/>
                  </a:lnTo>
                  <a:lnTo>
                    <a:pt x="993" y="891"/>
                  </a:lnTo>
                  <a:lnTo>
                    <a:pt x="994" y="889"/>
                  </a:lnTo>
                  <a:lnTo>
                    <a:pt x="997" y="886"/>
                  </a:lnTo>
                  <a:lnTo>
                    <a:pt x="997" y="886"/>
                  </a:lnTo>
                  <a:close/>
                  <a:moveTo>
                    <a:pt x="1022" y="879"/>
                  </a:moveTo>
                  <a:lnTo>
                    <a:pt x="1024" y="881"/>
                  </a:lnTo>
                  <a:lnTo>
                    <a:pt x="1023" y="882"/>
                  </a:lnTo>
                  <a:lnTo>
                    <a:pt x="1023" y="883"/>
                  </a:lnTo>
                  <a:lnTo>
                    <a:pt x="1022" y="885"/>
                  </a:lnTo>
                  <a:lnTo>
                    <a:pt x="1019" y="885"/>
                  </a:lnTo>
                  <a:lnTo>
                    <a:pt x="1016" y="883"/>
                  </a:lnTo>
                  <a:lnTo>
                    <a:pt x="1014" y="885"/>
                  </a:lnTo>
                  <a:lnTo>
                    <a:pt x="1010" y="886"/>
                  </a:lnTo>
                  <a:lnTo>
                    <a:pt x="1009" y="885"/>
                  </a:lnTo>
                  <a:lnTo>
                    <a:pt x="1012" y="883"/>
                  </a:lnTo>
                  <a:lnTo>
                    <a:pt x="1017" y="882"/>
                  </a:lnTo>
                  <a:lnTo>
                    <a:pt x="1019" y="881"/>
                  </a:lnTo>
                  <a:lnTo>
                    <a:pt x="1022" y="879"/>
                  </a:lnTo>
                  <a:lnTo>
                    <a:pt x="1022" y="879"/>
                  </a:lnTo>
                  <a:close/>
                  <a:moveTo>
                    <a:pt x="1026" y="873"/>
                  </a:moveTo>
                  <a:lnTo>
                    <a:pt x="1027" y="875"/>
                  </a:lnTo>
                  <a:lnTo>
                    <a:pt x="1027" y="876"/>
                  </a:lnTo>
                  <a:lnTo>
                    <a:pt x="1027" y="878"/>
                  </a:lnTo>
                  <a:lnTo>
                    <a:pt x="1026" y="878"/>
                  </a:lnTo>
                  <a:lnTo>
                    <a:pt x="1024" y="876"/>
                  </a:lnTo>
                  <a:lnTo>
                    <a:pt x="1026" y="873"/>
                  </a:lnTo>
                  <a:lnTo>
                    <a:pt x="1026" y="873"/>
                  </a:lnTo>
                  <a:close/>
                  <a:moveTo>
                    <a:pt x="1032" y="862"/>
                  </a:moveTo>
                  <a:lnTo>
                    <a:pt x="1030" y="863"/>
                  </a:lnTo>
                  <a:lnTo>
                    <a:pt x="1029" y="865"/>
                  </a:lnTo>
                  <a:lnTo>
                    <a:pt x="1027" y="865"/>
                  </a:lnTo>
                  <a:lnTo>
                    <a:pt x="1027" y="863"/>
                  </a:lnTo>
                  <a:lnTo>
                    <a:pt x="1029" y="862"/>
                  </a:lnTo>
                  <a:lnTo>
                    <a:pt x="1032" y="862"/>
                  </a:lnTo>
                  <a:lnTo>
                    <a:pt x="1032" y="862"/>
                  </a:lnTo>
                  <a:close/>
                  <a:moveTo>
                    <a:pt x="1010" y="869"/>
                  </a:moveTo>
                  <a:lnTo>
                    <a:pt x="1012" y="868"/>
                  </a:lnTo>
                  <a:lnTo>
                    <a:pt x="1013" y="866"/>
                  </a:lnTo>
                  <a:lnTo>
                    <a:pt x="1014" y="866"/>
                  </a:lnTo>
                  <a:lnTo>
                    <a:pt x="1016" y="865"/>
                  </a:lnTo>
                  <a:lnTo>
                    <a:pt x="1019" y="866"/>
                  </a:lnTo>
                  <a:lnTo>
                    <a:pt x="1023" y="868"/>
                  </a:lnTo>
                  <a:lnTo>
                    <a:pt x="1023" y="871"/>
                  </a:lnTo>
                  <a:lnTo>
                    <a:pt x="1023" y="873"/>
                  </a:lnTo>
                  <a:lnTo>
                    <a:pt x="1020" y="875"/>
                  </a:lnTo>
                  <a:lnTo>
                    <a:pt x="1016" y="878"/>
                  </a:lnTo>
                  <a:lnTo>
                    <a:pt x="1012" y="881"/>
                  </a:lnTo>
                  <a:lnTo>
                    <a:pt x="1010" y="881"/>
                  </a:lnTo>
                  <a:lnTo>
                    <a:pt x="1006" y="881"/>
                  </a:lnTo>
                  <a:lnTo>
                    <a:pt x="1001" y="885"/>
                  </a:lnTo>
                  <a:lnTo>
                    <a:pt x="999" y="885"/>
                  </a:lnTo>
                  <a:lnTo>
                    <a:pt x="999" y="883"/>
                  </a:lnTo>
                  <a:lnTo>
                    <a:pt x="1003" y="876"/>
                  </a:lnTo>
                  <a:lnTo>
                    <a:pt x="1007" y="872"/>
                  </a:lnTo>
                  <a:lnTo>
                    <a:pt x="1010" y="869"/>
                  </a:lnTo>
                  <a:lnTo>
                    <a:pt x="1010" y="869"/>
                  </a:lnTo>
                  <a:close/>
                  <a:moveTo>
                    <a:pt x="1009" y="861"/>
                  </a:moveTo>
                  <a:lnTo>
                    <a:pt x="1009" y="863"/>
                  </a:lnTo>
                  <a:lnTo>
                    <a:pt x="1007" y="865"/>
                  </a:lnTo>
                  <a:lnTo>
                    <a:pt x="1006" y="868"/>
                  </a:lnTo>
                  <a:lnTo>
                    <a:pt x="1003" y="872"/>
                  </a:lnTo>
                  <a:lnTo>
                    <a:pt x="1001" y="873"/>
                  </a:lnTo>
                  <a:lnTo>
                    <a:pt x="999" y="878"/>
                  </a:lnTo>
                  <a:lnTo>
                    <a:pt x="996" y="879"/>
                  </a:lnTo>
                  <a:lnTo>
                    <a:pt x="994" y="881"/>
                  </a:lnTo>
                  <a:lnTo>
                    <a:pt x="993" y="881"/>
                  </a:lnTo>
                  <a:lnTo>
                    <a:pt x="993" y="879"/>
                  </a:lnTo>
                  <a:lnTo>
                    <a:pt x="993" y="876"/>
                  </a:lnTo>
                  <a:lnTo>
                    <a:pt x="991" y="873"/>
                  </a:lnTo>
                  <a:lnTo>
                    <a:pt x="991" y="872"/>
                  </a:lnTo>
                  <a:lnTo>
                    <a:pt x="993" y="869"/>
                  </a:lnTo>
                  <a:lnTo>
                    <a:pt x="999" y="868"/>
                  </a:lnTo>
                  <a:lnTo>
                    <a:pt x="1003" y="865"/>
                  </a:lnTo>
                  <a:lnTo>
                    <a:pt x="1004" y="862"/>
                  </a:lnTo>
                  <a:lnTo>
                    <a:pt x="1009" y="861"/>
                  </a:lnTo>
                  <a:lnTo>
                    <a:pt x="1009" y="861"/>
                  </a:lnTo>
                  <a:close/>
                  <a:moveTo>
                    <a:pt x="1010" y="839"/>
                  </a:moveTo>
                  <a:lnTo>
                    <a:pt x="1012" y="842"/>
                  </a:lnTo>
                  <a:lnTo>
                    <a:pt x="1010" y="842"/>
                  </a:lnTo>
                  <a:lnTo>
                    <a:pt x="1009" y="843"/>
                  </a:lnTo>
                  <a:lnTo>
                    <a:pt x="1007" y="845"/>
                  </a:lnTo>
                  <a:lnTo>
                    <a:pt x="1006" y="848"/>
                  </a:lnTo>
                  <a:lnTo>
                    <a:pt x="1004" y="846"/>
                  </a:lnTo>
                  <a:lnTo>
                    <a:pt x="1006" y="842"/>
                  </a:lnTo>
                  <a:lnTo>
                    <a:pt x="1009" y="840"/>
                  </a:lnTo>
                  <a:lnTo>
                    <a:pt x="1010" y="839"/>
                  </a:lnTo>
                  <a:lnTo>
                    <a:pt x="1010" y="839"/>
                  </a:lnTo>
                  <a:close/>
                  <a:moveTo>
                    <a:pt x="1009" y="835"/>
                  </a:moveTo>
                  <a:lnTo>
                    <a:pt x="1010" y="836"/>
                  </a:lnTo>
                  <a:lnTo>
                    <a:pt x="1009" y="836"/>
                  </a:lnTo>
                  <a:lnTo>
                    <a:pt x="1007" y="836"/>
                  </a:lnTo>
                  <a:lnTo>
                    <a:pt x="1006" y="835"/>
                  </a:lnTo>
                  <a:lnTo>
                    <a:pt x="1009" y="835"/>
                  </a:lnTo>
                  <a:lnTo>
                    <a:pt x="1009" y="835"/>
                  </a:lnTo>
                  <a:close/>
                  <a:moveTo>
                    <a:pt x="1023" y="825"/>
                  </a:moveTo>
                  <a:lnTo>
                    <a:pt x="1023" y="826"/>
                  </a:lnTo>
                  <a:lnTo>
                    <a:pt x="1023" y="828"/>
                  </a:lnTo>
                  <a:lnTo>
                    <a:pt x="1023" y="830"/>
                  </a:lnTo>
                  <a:lnTo>
                    <a:pt x="1020" y="830"/>
                  </a:lnTo>
                  <a:lnTo>
                    <a:pt x="1020" y="829"/>
                  </a:lnTo>
                  <a:lnTo>
                    <a:pt x="1022" y="826"/>
                  </a:lnTo>
                  <a:lnTo>
                    <a:pt x="1023" y="825"/>
                  </a:lnTo>
                  <a:lnTo>
                    <a:pt x="1023" y="825"/>
                  </a:lnTo>
                  <a:close/>
                  <a:moveTo>
                    <a:pt x="1024" y="819"/>
                  </a:moveTo>
                  <a:lnTo>
                    <a:pt x="1024" y="822"/>
                  </a:lnTo>
                  <a:lnTo>
                    <a:pt x="1023" y="823"/>
                  </a:lnTo>
                  <a:lnTo>
                    <a:pt x="1023" y="820"/>
                  </a:lnTo>
                  <a:lnTo>
                    <a:pt x="1023" y="819"/>
                  </a:lnTo>
                  <a:lnTo>
                    <a:pt x="1024" y="819"/>
                  </a:lnTo>
                  <a:lnTo>
                    <a:pt x="1024" y="819"/>
                  </a:lnTo>
                  <a:close/>
                  <a:moveTo>
                    <a:pt x="990" y="839"/>
                  </a:moveTo>
                  <a:lnTo>
                    <a:pt x="991" y="839"/>
                  </a:lnTo>
                  <a:lnTo>
                    <a:pt x="991" y="840"/>
                  </a:lnTo>
                  <a:lnTo>
                    <a:pt x="991" y="840"/>
                  </a:lnTo>
                  <a:lnTo>
                    <a:pt x="990" y="842"/>
                  </a:lnTo>
                  <a:lnTo>
                    <a:pt x="987" y="840"/>
                  </a:lnTo>
                  <a:lnTo>
                    <a:pt x="989" y="840"/>
                  </a:lnTo>
                  <a:lnTo>
                    <a:pt x="990" y="839"/>
                  </a:lnTo>
                  <a:lnTo>
                    <a:pt x="990" y="839"/>
                  </a:lnTo>
                  <a:close/>
                  <a:moveTo>
                    <a:pt x="1004" y="823"/>
                  </a:moveTo>
                  <a:lnTo>
                    <a:pt x="1006" y="823"/>
                  </a:lnTo>
                  <a:lnTo>
                    <a:pt x="1006" y="826"/>
                  </a:lnTo>
                  <a:lnTo>
                    <a:pt x="1003" y="826"/>
                  </a:lnTo>
                  <a:lnTo>
                    <a:pt x="1000" y="829"/>
                  </a:lnTo>
                  <a:lnTo>
                    <a:pt x="999" y="828"/>
                  </a:lnTo>
                  <a:lnTo>
                    <a:pt x="999" y="826"/>
                  </a:lnTo>
                  <a:lnTo>
                    <a:pt x="1001" y="823"/>
                  </a:lnTo>
                  <a:lnTo>
                    <a:pt x="1004" y="823"/>
                  </a:lnTo>
                  <a:lnTo>
                    <a:pt x="1004" y="823"/>
                  </a:lnTo>
                  <a:close/>
                  <a:moveTo>
                    <a:pt x="1012" y="810"/>
                  </a:moveTo>
                  <a:lnTo>
                    <a:pt x="1012" y="812"/>
                  </a:lnTo>
                  <a:lnTo>
                    <a:pt x="1010" y="818"/>
                  </a:lnTo>
                  <a:lnTo>
                    <a:pt x="1009" y="819"/>
                  </a:lnTo>
                  <a:lnTo>
                    <a:pt x="1009" y="813"/>
                  </a:lnTo>
                  <a:lnTo>
                    <a:pt x="1010" y="812"/>
                  </a:lnTo>
                  <a:lnTo>
                    <a:pt x="1012" y="810"/>
                  </a:lnTo>
                  <a:lnTo>
                    <a:pt x="1012" y="810"/>
                  </a:lnTo>
                  <a:close/>
                  <a:moveTo>
                    <a:pt x="370" y="792"/>
                  </a:moveTo>
                  <a:lnTo>
                    <a:pt x="370" y="792"/>
                  </a:lnTo>
                  <a:lnTo>
                    <a:pt x="373" y="790"/>
                  </a:lnTo>
                  <a:lnTo>
                    <a:pt x="374" y="793"/>
                  </a:lnTo>
                  <a:lnTo>
                    <a:pt x="374" y="799"/>
                  </a:lnTo>
                  <a:lnTo>
                    <a:pt x="374" y="799"/>
                  </a:lnTo>
                  <a:lnTo>
                    <a:pt x="374" y="803"/>
                  </a:lnTo>
                  <a:lnTo>
                    <a:pt x="373" y="808"/>
                  </a:lnTo>
                  <a:lnTo>
                    <a:pt x="373" y="808"/>
                  </a:lnTo>
                  <a:lnTo>
                    <a:pt x="370" y="810"/>
                  </a:lnTo>
                  <a:lnTo>
                    <a:pt x="367" y="810"/>
                  </a:lnTo>
                  <a:lnTo>
                    <a:pt x="366" y="809"/>
                  </a:lnTo>
                  <a:lnTo>
                    <a:pt x="366" y="809"/>
                  </a:lnTo>
                  <a:lnTo>
                    <a:pt x="364" y="805"/>
                  </a:lnTo>
                  <a:lnTo>
                    <a:pt x="366" y="802"/>
                  </a:lnTo>
                  <a:lnTo>
                    <a:pt x="366" y="802"/>
                  </a:lnTo>
                  <a:lnTo>
                    <a:pt x="366" y="796"/>
                  </a:lnTo>
                  <a:lnTo>
                    <a:pt x="367" y="793"/>
                  </a:lnTo>
                  <a:lnTo>
                    <a:pt x="370" y="792"/>
                  </a:lnTo>
                  <a:lnTo>
                    <a:pt x="370" y="792"/>
                  </a:lnTo>
                  <a:close/>
                  <a:moveTo>
                    <a:pt x="758" y="941"/>
                  </a:moveTo>
                  <a:lnTo>
                    <a:pt x="762" y="941"/>
                  </a:lnTo>
                  <a:lnTo>
                    <a:pt x="764" y="944"/>
                  </a:lnTo>
                  <a:lnTo>
                    <a:pt x="765" y="945"/>
                  </a:lnTo>
                  <a:lnTo>
                    <a:pt x="765" y="946"/>
                  </a:lnTo>
                  <a:lnTo>
                    <a:pt x="765" y="946"/>
                  </a:lnTo>
                  <a:lnTo>
                    <a:pt x="761" y="946"/>
                  </a:lnTo>
                  <a:lnTo>
                    <a:pt x="757" y="945"/>
                  </a:lnTo>
                  <a:lnTo>
                    <a:pt x="754" y="944"/>
                  </a:lnTo>
                  <a:lnTo>
                    <a:pt x="751" y="941"/>
                  </a:lnTo>
                  <a:lnTo>
                    <a:pt x="751" y="939"/>
                  </a:lnTo>
                  <a:lnTo>
                    <a:pt x="752" y="939"/>
                  </a:lnTo>
                  <a:lnTo>
                    <a:pt x="754" y="939"/>
                  </a:lnTo>
                  <a:lnTo>
                    <a:pt x="757" y="941"/>
                  </a:lnTo>
                  <a:lnTo>
                    <a:pt x="758" y="941"/>
                  </a:lnTo>
                  <a:lnTo>
                    <a:pt x="758" y="941"/>
                  </a:lnTo>
                  <a:close/>
                  <a:moveTo>
                    <a:pt x="744" y="939"/>
                  </a:moveTo>
                  <a:lnTo>
                    <a:pt x="747" y="942"/>
                  </a:lnTo>
                  <a:lnTo>
                    <a:pt x="749" y="945"/>
                  </a:lnTo>
                  <a:lnTo>
                    <a:pt x="752" y="946"/>
                  </a:lnTo>
                  <a:lnTo>
                    <a:pt x="752" y="948"/>
                  </a:lnTo>
                  <a:lnTo>
                    <a:pt x="749" y="948"/>
                  </a:lnTo>
                  <a:lnTo>
                    <a:pt x="748" y="948"/>
                  </a:lnTo>
                  <a:lnTo>
                    <a:pt x="745" y="948"/>
                  </a:lnTo>
                  <a:lnTo>
                    <a:pt x="742" y="945"/>
                  </a:lnTo>
                  <a:lnTo>
                    <a:pt x="741" y="944"/>
                  </a:lnTo>
                  <a:lnTo>
                    <a:pt x="737" y="942"/>
                  </a:lnTo>
                  <a:lnTo>
                    <a:pt x="728" y="941"/>
                  </a:lnTo>
                  <a:lnTo>
                    <a:pt x="724" y="939"/>
                  </a:lnTo>
                  <a:lnTo>
                    <a:pt x="724" y="936"/>
                  </a:lnTo>
                  <a:lnTo>
                    <a:pt x="724" y="935"/>
                  </a:lnTo>
                  <a:lnTo>
                    <a:pt x="726" y="936"/>
                  </a:lnTo>
                  <a:lnTo>
                    <a:pt x="729" y="936"/>
                  </a:lnTo>
                  <a:lnTo>
                    <a:pt x="735" y="936"/>
                  </a:lnTo>
                  <a:lnTo>
                    <a:pt x="738" y="936"/>
                  </a:lnTo>
                  <a:lnTo>
                    <a:pt x="741" y="938"/>
                  </a:lnTo>
                  <a:lnTo>
                    <a:pt x="744" y="939"/>
                  </a:lnTo>
                  <a:lnTo>
                    <a:pt x="744" y="939"/>
                  </a:lnTo>
                  <a:close/>
                  <a:moveTo>
                    <a:pt x="738" y="906"/>
                  </a:moveTo>
                  <a:lnTo>
                    <a:pt x="741" y="908"/>
                  </a:lnTo>
                  <a:lnTo>
                    <a:pt x="741" y="909"/>
                  </a:lnTo>
                  <a:lnTo>
                    <a:pt x="741" y="911"/>
                  </a:lnTo>
                  <a:lnTo>
                    <a:pt x="738" y="912"/>
                  </a:lnTo>
                  <a:lnTo>
                    <a:pt x="734" y="911"/>
                  </a:lnTo>
                  <a:lnTo>
                    <a:pt x="731" y="908"/>
                  </a:lnTo>
                  <a:lnTo>
                    <a:pt x="732" y="906"/>
                  </a:lnTo>
                  <a:lnTo>
                    <a:pt x="735" y="905"/>
                  </a:lnTo>
                  <a:lnTo>
                    <a:pt x="738" y="906"/>
                  </a:lnTo>
                  <a:lnTo>
                    <a:pt x="738" y="906"/>
                  </a:lnTo>
                  <a:close/>
                  <a:moveTo>
                    <a:pt x="716" y="916"/>
                  </a:moveTo>
                  <a:lnTo>
                    <a:pt x="719" y="919"/>
                  </a:lnTo>
                  <a:lnTo>
                    <a:pt x="721" y="921"/>
                  </a:lnTo>
                  <a:lnTo>
                    <a:pt x="721" y="921"/>
                  </a:lnTo>
                  <a:lnTo>
                    <a:pt x="721" y="924"/>
                  </a:lnTo>
                  <a:lnTo>
                    <a:pt x="719" y="925"/>
                  </a:lnTo>
                  <a:lnTo>
                    <a:pt x="718" y="925"/>
                  </a:lnTo>
                  <a:lnTo>
                    <a:pt x="714" y="921"/>
                  </a:lnTo>
                  <a:lnTo>
                    <a:pt x="712" y="919"/>
                  </a:lnTo>
                  <a:lnTo>
                    <a:pt x="711" y="916"/>
                  </a:lnTo>
                  <a:lnTo>
                    <a:pt x="712" y="915"/>
                  </a:lnTo>
                  <a:lnTo>
                    <a:pt x="714" y="915"/>
                  </a:lnTo>
                  <a:lnTo>
                    <a:pt x="716" y="916"/>
                  </a:lnTo>
                  <a:lnTo>
                    <a:pt x="716" y="916"/>
                  </a:lnTo>
                  <a:close/>
                  <a:moveTo>
                    <a:pt x="712" y="925"/>
                  </a:moveTo>
                  <a:lnTo>
                    <a:pt x="715" y="928"/>
                  </a:lnTo>
                  <a:lnTo>
                    <a:pt x="715" y="929"/>
                  </a:lnTo>
                  <a:lnTo>
                    <a:pt x="714" y="931"/>
                  </a:lnTo>
                  <a:lnTo>
                    <a:pt x="712" y="931"/>
                  </a:lnTo>
                  <a:lnTo>
                    <a:pt x="709" y="929"/>
                  </a:lnTo>
                  <a:lnTo>
                    <a:pt x="705" y="926"/>
                  </a:lnTo>
                  <a:lnTo>
                    <a:pt x="705" y="925"/>
                  </a:lnTo>
                  <a:lnTo>
                    <a:pt x="705" y="924"/>
                  </a:lnTo>
                  <a:lnTo>
                    <a:pt x="706" y="924"/>
                  </a:lnTo>
                  <a:lnTo>
                    <a:pt x="709" y="925"/>
                  </a:lnTo>
                  <a:lnTo>
                    <a:pt x="712" y="925"/>
                  </a:lnTo>
                  <a:lnTo>
                    <a:pt x="712" y="925"/>
                  </a:lnTo>
                  <a:close/>
                  <a:moveTo>
                    <a:pt x="719" y="941"/>
                  </a:moveTo>
                  <a:lnTo>
                    <a:pt x="722" y="941"/>
                  </a:lnTo>
                  <a:lnTo>
                    <a:pt x="724" y="942"/>
                  </a:lnTo>
                  <a:lnTo>
                    <a:pt x="728" y="945"/>
                  </a:lnTo>
                  <a:lnTo>
                    <a:pt x="729" y="945"/>
                  </a:lnTo>
                  <a:lnTo>
                    <a:pt x="729" y="946"/>
                  </a:lnTo>
                  <a:lnTo>
                    <a:pt x="726" y="946"/>
                  </a:lnTo>
                  <a:lnTo>
                    <a:pt x="722" y="945"/>
                  </a:lnTo>
                  <a:lnTo>
                    <a:pt x="716" y="945"/>
                  </a:lnTo>
                  <a:lnTo>
                    <a:pt x="711" y="945"/>
                  </a:lnTo>
                  <a:lnTo>
                    <a:pt x="708" y="942"/>
                  </a:lnTo>
                  <a:lnTo>
                    <a:pt x="708" y="941"/>
                  </a:lnTo>
                  <a:lnTo>
                    <a:pt x="709" y="941"/>
                  </a:lnTo>
                  <a:lnTo>
                    <a:pt x="714" y="939"/>
                  </a:lnTo>
                  <a:lnTo>
                    <a:pt x="719" y="941"/>
                  </a:lnTo>
                  <a:lnTo>
                    <a:pt x="719" y="941"/>
                  </a:lnTo>
                  <a:close/>
                  <a:moveTo>
                    <a:pt x="705" y="932"/>
                  </a:moveTo>
                  <a:lnTo>
                    <a:pt x="705" y="934"/>
                  </a:lnTo>
                  <a:lnTo>
                    <a:pt x="704" y="935"/>
                  </a:lnTo>
                  <a:lnTo>
                    <a:pt x="702" y="935"/>
                  </a:lnTo>
                  <a:lnTo>
                    <a:pt x="701" y="934"/>
                  </a:lnTo>
                  <a:lnTo>
                    <a:pt x="702" y="932"/>
                  </a:lnTo>
                  <a:lnTo>
                    <a:pt x="702" y="931"/>
                  </a:lnTo>
                  <a:lnTo>
                    <a:pt x="704" y="931"/>
                  </a:lnTo>
                  <a:lnTo>
                    <a:pt x="705" y="931"/>
                  </a:lnTo>
                  <a:lnTo>
                    <a:pt x="705" y="932"/>
                  </a:lnTo>
                  <a:lnTo>
                    <a:pt x="705" y="932"/>
                  </a:lnTo>
                  <a:close/>
                  <a:moveTo>
                    <a:pt x="704" y="941"/>
                  </a:moveTo>
                  <a:lnTo>
                    <a:pt x="704" y="941"/>
                  </a:lnTo>
                  <a:lnTo>
                    <a:pt x="705" y="942"/>
                  </a:lnTo>
                  <a:lnTo>
                    <a:pt x="705" y="942"/>
                  </a:lnTo>
                  <a:lnTo>
                    <a:pt x="704" y="944"/>
                  </a:lnTo>
                  <a:lnTo>
                    <a:pt x="702" y="942"/>
                  </a:lnTo>
                  <a:lnTo>
                    <a:pt x="699" y="941"/>
                  </a:lnTo>
                  <a:lnTo>
                    <a:pt x="701" y="939"/>
                  </a:lnTo>
                  <a:lnTo>
                    <a:pt x="701" y="939"/>
                  </a:lnTo>
                  <a:lnTo>
                    <a:pt x="702" y="939"/>
                  </a:lnTo>
                  <a:lnTo>
                    <a:pt x="704" y="941"/>
                  </a:lnTo>
                  <a:lnTo>
                    <a:pt x="704" y="941"/>
                  </a:lnTo>
                  <a:close/>
                  <a:moveTo>
                    <a:pt x="745" y="932"/>
                  </a:moveTo>
                  <a:lnTo>
                    <a:pt x="748" y="934"/>
                  </a:lnTo>
                  <a:lnTo>
                    <a:pt x="749" y="935"/>
                  </a:lnTo>
                  <a:lnTo>
                    <a:pt x="749" y="935"/>
                  </a:lnTo>
                  <a:lnTo>
                    <a:pt x="748" y="936"/>
                  </a:lnTo>
                  <a:lnTo>
                    <a:pt x="747" y="935"/>
                  </a:lnTo>
                  <a:lnTo>
                    <a:pt x="744" y="935"/>
                  </a:lnTo>
                  <a:lnTo>
                    <a:pt x="742" y="935"/>
                  </a:lnTo>
                  <a:lnTo>
                    <a:pt x="739" y="934"/>
                  </a:lnTo>
                  <a:lnTo>
                    <a:pt x="737" y="934"/>
                  </a:lnTo>
                  <a:lnTo>
                    <a:pt x="737" y="932"/>
                  </a:lnTo>
                  <a:lnTo>
                    <a:pt x="738" y="932"/>
                  </a:lnTo>
                  <a:lnTo>
                    <a:pt x="739" y="932"/>
                  </a:lnTo>
                  <a:lnTo>
                    <a:pt x="742" y="932"/>
                  </a:lnTo>
                  <a:lnTo>
                    <a:pt x="745" y="932"/>
                  </a:lnTo>
                  <a:lnTo>
                    <a:pt x="745" y="932"/>
                  </a:lnTo>
                  <a:close/>
                  <a:moveTo>
                    <a:pt x="155" y="848"/>
                  </a:moveTo>
                  <a:lnTo>
                    <a:pt x="156" y="851"/>
                  </a:lnTo>
                  <a:lnTo>
                    <a:pt x="156" y="853"/>
                  </a:lnTo>
                  <a:lnTo>
                    <a:pt x="155" y="855"/>
                  </a:lnTo>
                  <a:lnTo>
                    <a:pt x="155" y="855"/>
                  </a:lnTo>
                  <a:lnTo>
                    <a:pt x="152" y="855"/>
                  </a:lnTo>
                  <a:lnTo>
                    <a:pt x="151" y="853"/>
                  </a:lnTo>
                  <a:lnTo>
                    <a:pt x="149" y="848"/>
                  </a:lnTo>
                  <a:lnTo>
                    <a:pt x="149" y="845"/>
                  </a:lnTo>
                  <a:lnTo>
                    <a:pt x="152" y="843"/>
                  </a:lnTo>
                  <a:lnTo>
                    <a:pt x="155" y="845"/>
                  </a:lnTo>
                  <a:lnTo>
                    <a:pt x="155" y="848"/>
                  </a:lnTo>
                  <a:lnTo>
                    <a:pt x="155" y="848"/>
                  </a:lnTo>
                  <a:close/>
                  <a:moveTo>
                    <a:pt x="224" y="773"/>
                  </a:moveTo>
                  <a:lnTo>
                    <a:pt x="224" y="777"/>
                  </a:lnTo>
                  <a:lnTo>
                    <a:pt x="224" y="779"/>
                  </a:lnTo>
                  <a:lnTo>
                    <a:pt x="222" y="780"/>
                  </a:lnTo>
                  <a:lnTo>
                    <a:pt x="221" y="780"/>
                  </a:lnTo>
                  <a:lnTo>
                    <a:pt x="219" y="779"/>
                  </a:lnTo>
                  <a:lnTo>
                    <a:pt x="221" y="777"/>
                  </a:lnTo>
                  <a:lnTo>
                    <a:pt x="221" y="776"/>
                  </a:lnTo>
                  <a:lnTo>
                    <a:pt x="221" y="773"/>
                  </a:lnTo>
                  <a:lnTo>
                    <a:pt x="219" y="772"/>
                  </a:lnTo>
                  <a:lnTo>
                    <a:pt x="219" y="770"/>
                  </a:lnTo>
                  <a:lnTo>
                    <a:pt x="222" y="769"/>
                  </a:lnTo>
                  <a:lnTo>
                    <a:pt x="222" y="770"/>
                  </a:lnTo>
                  <a:lnTo>
                    <a:pt x="224" y="773"/>
                  </a:lnTo>
                  <a:lnTo>
                    <a:pt x="224" y="773"/>
                  </a:lnTo>
                  <a:close/>
                  <a:moveTo>
                    <a:pt x="540" y="926"/>
                  </a:moveTo>
                  <a:lnTo>
                    <a:pt x="539" y="929"/>
                  </a:lnTo>
                  <a:lnTo>
                    <a:pt x="537" y="932"/>
                  </a:lnTo>
                  <a:lnTo>
                    <a:pt x="536" y="932"/>
                  </a:lnTo>
                  <a:lnTo>
                    <a:pt x="535" y="932"/>
                  </a:lnTo>
                  <a:lnTo>
                    <a:pt x="535" y="926"/>
                  </a:lnTo>
                  <a:lnTo>
                    <a:pt x="535" y="924"/>
                  </a:lnTo>
                  <a:lnTo>
                    <a:pt x="536" y="922"/>
                  </a:lnTo>
                  <a:lnTo>
                    <a:pt x="539" y="922"/>
                  </a:lnTo>
                  <a:lnTo>
                    <a:pt x="540" y="924"/>
                  </a:lnTo>
                  <a:lnTo>
                    <a:pt x="540" y="926"/>
                  </a:lnTo>
                  <a:lnTo>
                    <a:pt x="540" y="926"/>
                  </a:lnTo>
                  <a:close/>
                  <a:moveTo>
                    <a:pt x="536" y="915"/>
                  </a:moveTo>
                  <a:lnTo>
                    <a:pt x="536" y="916"/>
                  </a:lnTo>
                  <a:lnTo>
                    <a:pt x="536" y="919"/>
                  </a:lnTo>
                  <a:lnTo>
                    <a:pt x="535" y="921"/>
                  </a:lnTo>
                  <a:lnTo>
                    <a:pt x="533" y="921"/>
                  </a:lnTo>
                  <a:lnTo>
                    <a:pt x="532" y="919"/>
                  </a:lnTo>
                  <a:lnTo>
                    <a:pt x="530" y="916"/>
                  </a:lnTo>
                  <a:lnTo>
                    <a:pt x="530" y="915"/>
                  </a:lnTo>
                  <a:lnTo>
                    <a:pt x="532" y="914"/>
                  </a:lnTo>
                  <a:lnTo>
                    <a:pt x="535" y="914"/>
                  </a:lnTo>
                  <a:lnTo>
                    <a:pt x="536" y="915"/>
                  </a:lnTo>
                  <a:lnTo>
                    <a:pt x="536" y="915"/>
                  </a:lnTo>
                  <a:close/>
                  <a:moveTo>
                    <a:pt x="603" y="948"/>
                  </a:moveTo>
                  <a:lnTo>
                    <a:pt x="605" y="954"/>
                  </a:lnTo>
                  <a:lnTo>
                    <a:pt x="605" y="959"/>
                  </a:lnTo>
                  <a:lnTo>
                    <a:pt x="603" y="961"/>
                  </a:lnTo>
                  <a:lnTo>
                    <a:pt x="602" y="962"/>
                  </a:lnTo>
                  <a:lnTo>
                    <a:pt x="599" y="961"/>
                  </a:lnTo>
                  <a:lnTo>
                    <a:pt x="599" y="959"/>
                  </a:lnTo>
                  <a:lnTo>
                    <a:pt x="598" y="955"/>
                  </a:lnTo>
                  <a:lnTo>
                    <a:pt x="598" y="952"/>
                  </a:lnTo>
                  <a:lnTo>
                    <a:pt x="596" y="952"/>
                  </a:lnTo>
                  <a:lnTo>
                    <a:pt x="595" y="951"/>
                  </a:lnTo>
                  <a:lnTo>
                    <a:pt x="590" y="949"/>
                  </a:lnTo>
                  <a:lnTo>
                    <a:pt x="590" y="948"/>
                  </a:lnTo>
                  <a:lnTo>
                    <a:pt x="590" y="946"/>
                  </a:lnTo>
                  <a:lnTo>
                    <a:pt x="592" y="945"/>
                  </a:lnTo>
                  <a:lnTo>
                    <a:pt x="595" y="941"/>
                  </a:lnTo>
                  <a:lnTo>
                    <a:pt x="595" y="939"/>
                  </a:lnTo>
                  <a:lnTo>
                    <a:pt x="596" y="938"/>
                  </a:lnTo>
                  <a:lnTo>
                    <a:pt x="599" y="938"/>
                  </a:lnTo>
                  <a:lnTo>
                    <a:pt x="608" y="938"/>
                  </a:lnTo>
                  <a:lnTo>
                    <a:pt x="610" y="938"/>
                  </a:lnTo>
                  <a:lnTo>
                    <a:pt x="609" y="939"/>
                  </a:lnTo>
                  <a:lnTo>
                    <a:pt x="608" y="942"/>
                  </a:lnTo>
                  <a:lnTo>
                    <a:pt x="605" y="945"/>
                  </a:lnTo>
                  <a:lnTo>
                    <a:pt x="603" y="948"/>
                  </a:lnTo>
                  <a:lnTo>
                    <a:pt x="603" y="948"/>
                  </a:lnTo>
                  <a:close/>
                  <a:moveTo>
                    <a:pt x="619" y="948"/>
                  </a:moveTo>
                  <a:lnTo>
                    <a:pt x="618" y="952"/>
                  </a:lnTo>
                  <a:lnTo>
                    <a:pt x="618" y="955"/>
                  </a:lnTo>
                  <a:lnTo>
                    <a:pt x="618" y="956"/>
                  </a:lnTo>
                  <a:lnTo>
                    <a:pt x="616" y="958"/>
                  </a:lnTo>
                  <a:lnTo>
                    <a:pt x="615" y="958"/>
                  </a:lnTo>
                  <a:lnTo>
                    <a:pt x="610" y="959"/>
                  </a:lnTo>
                  <a:lnTo>
                    <a:pt x="609" y="959"/>
                  </a:lnTo>
                  <a:lnTo>
                    <a:pt x="609" y="956"/>
                  </a:lnTo>
                  <a:lnTo>
                    <a:pt x="608" y="952"/>
                  </a:lnTo>
                  <a:lnTo>
                    <a:pt x="609" y="946"/>
                  </a:lnTo>
                  <a:lnTo>
                    <a:pt x="610" y="944"/>
                  </a:lnTo>
                  <a:lnTo>
                    <a:pt x="613" y="942"/>
                  </a:lnTo>
                  <a:lnTo>
                    <a:pt x="616" y="944"/>
                  </a:lnTo>
                  <a:lnTo>
                    <a:pt x="619" y="946"/>
                  </a:lnTo>
                  <a:lnTo>
                    <a:pt x="619" y="948"/>
                  </a:lnTo>
                  <a:lnTo>
                    <a:pt x="619" y="948"/>
                  </a:lnTo>
                  <a:close/>
                  <a:moveTo>
                    <a:pt x="589" y="958"/>
                  </a:moveTo>
                  <a:lnTo>
                    <a:pt x="589" y="956"/>
                  </a:lnTo>
                  <a:lnTo>
                    <a:pt x="586" y="954"/>
                  </a:lnTo>
                  <a:lnTo>
                    <a:pt x="586" y="952"/>
                  </a:lnTo>
                  <a:lnTo>
                    <a:pt x="588" y="952"/>
                  </a:lnTo>
                  <a:lnTo>
                    <a:pt x="592" y="954"/>
                  </a:lnTo>
                  <a:lnTo>
                    <a:pt x="595" y="955"/>
                  </a:lnTo>
                  <a:lnTo>
                    <a:pt x="596" y="955"/>
                  </a:lnTo>
                  <a:lnTo>
                    <a:pt x="595" y="958"/>
                  </a:lnTo>
                  <a:lnTo>
                    <a:pt x="595" y="959"/>
                  </a:lnTo>
                  <a:lnTo>
                    <a:pt x="596" y="962"/>
                  </a:lnTo>
                  <a:lnTo>
                    <a:pt x="596" y="964"/>
                  </a:lnTo>
                  <a:lnTo>
                    <a:pt x="595" y="964"/>
                  </a:lnTo>
                  <a:lnTo>
                    <a:pt x="593" y="962"/>
                  </a:lnTo>
                  <a:lnTo>
                    <a:pt x="589" y="958"/>
                  </a:lnTo>
                  <a:lnTo>
                    <a:pt x="589" y="958"/>
                  </a:lnTo>
                  <a:close/>
                  <a:moveTo>
                    <a:pt x="582" y="954"/>
                  </a:moveTo>
                  <a:lnTo>
                    <a:pt x="583" y="954"/>
                  </a:lnTo>
                  <a:lnTo>
                    <a:pt x="583" y="955"/>
                  </a:lnTo>
                  <a:lnTo>
                    <a:pt x="583" y="956"/>
                  </a:lnTo>
                  <a:lnTo>
                    <a:pt x="582" y="956"/>
                  </a:lnTo>
                  <a:lnTo>
                    <a:pt x="579" y="956"/>
                  </a:lnTo>
                  <a:lnTo>
                    <a:pt x="579" y="955"/>
                  </a:lnTo>
                  <a:lnTo>
                    <a:pt x="579" y="955"/>
                  </a:lnTo>
                  <a:lnTo>
                    <a:pt x="580" y="954"/>
                  </a:lnTo>
                  <a:lnTo>
                    <a:pt x="582" y="954"/>
                  </a:lnTo>
                  <a:lnTo>
                    <a:pt x="582" y="954"/>
                  </a:lnTo>
                  <a:close/>
                  <a:moveTo>
                    <a:pt x="572" y="954"/>
                  </a:moveTo>
                  <a:lnTo>
                    <a:pt x="572" y="952"/>
                  </a:lnTo>
                  <a:lnTo>
                    <a:pt x="573" y="952"/>
                  </a:lnTo>
                  <a:lnTo>
                    <a:pt x="573" y="954"/>
                  </a:lnTo>
                  <a:lnTo>
                    <a:pt x="575" y="955"/>
                  </a:lnTo>
                  <a:lnTo>
                    <a:pt x="575" y="956"/>
                  </a:lnTo>
                  <a:lnTo>
                    <a:pt x="575" y="958"/>
                  </a:lnTo>
                  <a:lnTo>
                    <a:pt x="573" y="958"/>
                  </a:lnTo>
                  <a:lnTo>
                    <a:pt x="572" y="956"/>
                  </a:lnTo>
                  <a:lnTo>
                    <a:pt x="570" y="956"/>
                  </a:lnTo>
                  <a:lnTo>
                    <a:pt x="569" y="955"/>
                  </a:lnTo>
                  <a:lnTo>
                    <a:pt x="569" y="954"/>
                  </a:lnTo>
                  <a:lnTo>
                    <a:pt x="572" y="954"/>
                  </a:lnTo>
                  <a:lnTo>
                    <a:pt x="572" y="954"/>
                  </a:lnTo>
                  <a:close/>
                  <a:moveTo>
                    <a:pt x="211" y="555"/>
                  </a:moveTo>
                  <a:lnTo>
                    <a:pt x="211" y="557"/>
                  </a:lnTo>
                  <a:lnTo>
                    <a:pt x="211" y="558"/>
                  </a:lnTo>
                  <a:lnTo>
                    <a:pt x="209" y="560"/>
                  </a:lnTo>
                  <a:lnTo>
                    <a:pt x="208" y="560"/>
                  </a:lnTo>
                  <a:lnTo>
                    <a:pt x="205" y="558"/>
                  </a:lnTo>
                  <a:lnTo>
                    <a:pt x="204" y="558"/>
                  </a:lnTo>
                  <a:lnTo>
                    <a:pt x="205" y="555"/>
                  </a:lnTo>
                  <a:lnTo>
                    <a:pt x="208" y="554"/>
                  </a:lnTo>
                  <a:lnTo>
                    <a:pt x="209" y="555"/>
                  </a:lnTo>
                  <a:lnTo>
                    <a:pt x="211" y="555"/>
                  </a:lnTo>
                  <a:lnTo>
                    <a:pt x="211" y="555"/>
                  </a:lnTo>
                  <a:close/>
                  <a:moveTo>
                    <a:pt x="771" y="737"/>
                  </a:moveTo>
                  <a:lnTo>
                    <a:pt x="772" y="739"/>
                  </a:lnTo>
                  <a:lnTo>
                    <a:pt x="772" y="740"/>
                  </a:lnTo>
                  <a:lnTo>
                    <a:pt x="772" y="743"/>
                  </a:lnTo>
                  <a:lnTo>
                    <a:pt x="771" y="746"/>
                  </a:lnTo>
                  <a:lnTo>
                    <a:pt x="771" y="749"/>
                  </a:lnTo>
                  <a:lnTo>
                    <a:pt x="771" y="750"/>
                  </a:lnTo>
                  <a:lnTo>
                    <a:pt x="769" y="752"/>
                  </a:lnTo>
                  <a:lnTo>
                    <a:pt x="767" y="753"/>
                  </a:lnTo>
                  <a:lnTo>
                    <a:pt x="765" y="753"/>
                  </a:lnTo>
                  <a:lnTo>
                    <a:pt x="765" y="756"/>
                  </a:lnTo>
                  <a:lnTo>
                    <a:pt x="764" y="757"/>
                  </a:lnTo>
                  <a:lnTo>
                    <a:pt x="761" y="756"/>
                  </a:lnTo>
                  <a:lnTo>
                    <a:pt x="759" y="756"/>
                  </a:lnTo>
                  <a:lnTo>
                    <a:pt x="757" y="755"/>
                  </a:lnTo>
                  <a:lnTo>
                    <a:pt x="754" y="755"/>
                  </a:lnTo>
                  <a:lnTo>
                    <a:pt x="752" y="753"/>
                  </a:lnTo>
                  <a:lnTo>
                    <a:pt x="752" y="752"/>
                  </a:lnTo>
                  <a:lnTo>
                    <a:pt x="755" y="750"/>
                  </a:lnTo>
                  <a:lnTo>
                    <a:pt x="758" y="747"/>
                  </a:lnTo>
                  <a:lnTo>
                    <a:pt x="762" y="745"/>
                  </a:lnTo>
                  <a:lnTo>
                    <a:pt x="765" y="742"/>
                  </a:lnTo>
                  <a:lnTo>
                    <a:pt x="767" y="740"/>
                  </a:lnTo>
                  <a:lnTo>
                    <a:pt x="768" y="739"/>
                  </a:lnTo>
                  <a:lnTo>
                    <a:pt x="771" y="737"/>
                  </a:lnTo>
                  <a:lnTo>
                    <a:pt x="771" y="737"/>
                  </a:lnTo>
                  <a:close/>
                  <a:moveTo>
                    <a:pt x="781" y="736"/>
                  </a:moveTo>
                  <a:lnTo>
                    <a:pt x="782" y="737"/>
                  </a:lnTo>
                  <a:lnTo>
                    <a:pt x="782" y="739"/>
                  </a:lnTo>
                  <a:lnTo>
                    <a:pt x="782" y="739"/>
                  </a:lnTo>
                  <a:lnTo>
                    <a:pt x="782" y="740"/>
                  </a:lnTo>
                  <a:lnTo>
                    <a:pt x="779" y="740"/>
                  </a:lnTo>
                  <a:lnTo>
                    <a:pt x="778" y="739"/>
                  </a:lnTo>
                  <a:lnTo>
                    <a:pt x="778" y="737"/>
                  </a:lnTo>
                  <a:lnTo>
                    <a:pt x="778" y="736"/>
                  </a:lnTo>
                  <a:lnTo>
                    <a:pt x="781" y="736"/>
                  </a:lnTo>
                  <a:lnTo>
                    <a:pt x="781" y="736"/>
                  </a:lnTo>
                  <a:close/>
                  <a:moveTo>
                    <a:pt x="761" y="734"/>
                  </a:moveTo>
                  <a:lnTo>
                    <a:pt x="762" y="736"/>
                  </a:lnTo>
                  <a:lnTo>
                    <a:pt x="761" y="737"/>
                  </a:lnTo>
                  <a:lnTo>
                    <a:pt x="761" y="737"/>
                  </a:lnTo>
                  <a:lnTo>
                    <a:pt x="758" y="739"/>
                  </a:lnTo>
                  <a:lnTo>
                    <a:pt x="757" y="737"/>
                  </a:lnTo>
                  <a:lnTo>
                    <a:pt x="757" y="737"/>
                  </a:lnTo>
                  <a:lnTo>
                    <a:pt x="758" y="736"/>
                  </a:lnTo>
                  <a:lnTo>
                    <a:pt x="759" y="734"/>
                  </a:lnTo>
                  <a:lnTo>
                    <a:pt x="761" y="734"/>
                  </a:lnTo>
                  <a:lnTo>
                    <a:pt x="761" y="734"/>
                  </a:lnTo>
                  <a:close/>
                  <a:moveTo>
                    <a:pt x="775" y="743"/>
                  </a:moveTo>
                  <a:lnTo>
                    <a:pt x="778" y="742"/>
                  </a:lnTo>
                  <a:lnTo>
                    <a:pt x="778" y="743"/>
                  </a:lnTo>
                  <a:lnTo>
                    <a:pt x="777" y="746"/>
                  </a:lnTo>
                  <a:lnTo>
                    <a:pt x="777" y="747"/>
                  </a:lnTo>
                  <a:lnTo>
                    <a:pt x="775" y="747"/>
                  </a:lnTo>
                  <a:lnTo>
                    <a:pt x="774" y="746"/>
                  </a:lnTo>
                  <a:lnTo>
                    <a:pt x="775" y="743"/>
                  </a:lnTo>
                  <a:lnTo>
                    <a:pt x="775" y="743"/>
                  </a:lnTo>
                  <a:lnTo>
                    <a:pt x="775" y="743"/>
                  </a:lnTo>
                  <a:close/>
                  <a:moveTo>
                    <a:pt x="752" y="742"/>
                  </a:moveTo>
                  <a:lnTo>
                    <a:pt x="754" y="743"/>
                  </a:lnTo>
                  <a:lnTo>
                    <a:pt x="755" y="745"/>
                  </a:lnTo>
                  <a:lnTo>
                    <a:pt x="755" y="746"/>
                  </a:lnTo>
                  <a:lnTo>
                    <a:pt x="754" y="747"/>
                  </a:lnTo>
                  <a:lnTo>
                    <a:pt x="752" y="747"/>
                  </a:lnTo>
                  <a:lnTo>
                    <a:pt x="749" y="746"/>
                  </a:lnTo>
                  <a:lnTo>
                    <a:pt x="749" y="746"/>
                  </a:lnTo>
                  <a:lnTo>
                    <a:pt x="751" y="743"/>
                  </a:lnTo>
                  <a:lnTo>
                    <a:pt x="752" y="742"/>
                  </a:lnTo>
                  <a:lnTo>
                    <a:pt x="752" y="742"/>
                  </a:lnTo>
                  <a:close/>
                  <a:moveTo>
                    <a:pt x="838" y="762"/>
                  </a:moveTo>
                  <a:lnTo>
                    <a:pt x="840" y="763"/>
                  </a:lnTo>
                  <a:lnTo>
                    <a:pt x="841" y="767"/>
                  </a:lnTo>
                  <a:lnTo>
                    <a:pt x="840" y="773"/>
                  </a:lnTo>
                  <a:lnTo>
                    <a:pt x="840" y="777"/>
                  </a:lnTo>
                  <a:lnTo>
                    <a:pt x="840" y="782"/>
                  </a:lnTo>
                  <a:lnTo>
                    <a:pt x="844" y="783"/>
                  </a:lnTo>
                  <a:lnTo>
                    <a:pt x="847" y="785"/>
                  </a:lnTo>
                  <a:lnTo>
                    <a:pt x="847" y="786"/>
                  </a:lnTo>
                  <a:lnTo>
                    <a:pt x="847" y="787"/>
                  </a:lnTo>
                  <a:lnTo>
                    <a:pt x="845" y="787"/>
                  </a:lnTo>
                  <a:lnTo>
                    <a:pt x="844" y="786"/>
                  </a:lnTo>
                  <a:lnTo>
                    <a:pt x="840" y="785"/>
                  </a:lnTo>
                  <a:lnTo>
                    <a:pt x="838" y="783"/>
                  </a:lnTo>
                  <a:lnTo>
                    <a:pt x="838" y="782"/>
                  </a:lnTo>
                  <a:lnTo>
                    <a:pt x="835" y="782"/>
                  </a:lnTo>
                  <a:lnTo>
                    <a:pt x="834" y="782"/>
                  </a:lnTo>
                  <a:lnTo>
                    <a:pt x="834" y="779"/>
                  </a:lnTo>
                  <a:lnTo>
                    <a:pt x="835" y="775"/>
                  </a:lnTo>
                  <a:lnTo>
                    <a:pt x="837" y="773"/>
                  </a:lnTo>
                  <a:lnTo>
                    <a:pt x="837" y="769"/>
                  </a:lnTo>
                  <a:lnTo>
                    <a:pt x="837" y="766"/>
                  </a:lnTo>
                  <a:lnTo>
                    <a:pt x="837" y="763"/>
                  </a:lnTo>
                  <a:lnTo>
                    <a:pt x="837" y="762"/>
                  </a:lnTo>
                  <a:lnTo>
                    <a:pt x="838" y="762"/>
                  </a:lnTo>
                  <a:lnTo>
                    <a:pt x="838" y="762"/>
                  </a:lnTo>
                  <a:close/>
                  <a:moveTo>
                    <a:pt x="830" y="763"/>
                  </a:moveTo>
                  <a:lnTo>
                    <a:pt x="832" y="765"/>
                  </a:lnTo>
                  <a:lnTo>
                    <a:pt x="832" y="766"/>
                  </a:lnTo>
                  <a:lnTo>
                    <a:pt x="832" y="769"/>
                  </a:lnTo>
                  <a:lnTo>
                    <a:pt x="832" y="772"/>
                  </a:lnTo>
                  <a:lnTo>
                    <a:pt x="831" y="772"/>
                  </a:lnTo>
                  <a:lnTo>
                    <a:pt x="830" y="770"/>
                  </a:lnTo>
                  <a:lnTo>
                    <a:pt x="828" y="766"/>
                  </a:lnTo>
                  <a:lnTo>
                    <a:pt x="830" y="763"/>
                  </a:lnTo>
                  <a:lnTo>
                    <a:pt x="830" y="763"/>
                  </a:lnTo>
                  <a:close/>
                  <a:moveTo>
                    <a:pt x="814" y="767"/>
                  </a:moveTo>
                  <a:lnTo>
                    <a:pt x="817" y="769"/>
                  </a:lnTo>
                  <a:lnTo>
                    <a:pt x="817" y="770"/>
                  </a:lnTo>
                  <a:lnTo>
                    <a:pt x="817" y="772"/>
                  </a:lnTo>
                  <a:lnTo>
                    <a:pt x="814" y="772"/>
                  </a:lnTo>
                  <a:lnTo>
                    <a:pt x="812" y="769"/>
                  </a:lnTo>
                  <a:lnTo>
                    <a:pt x="814" y="767"/>
                  </a:lnTo>
                  <a:lnTo>
                    <a:pt x="814" y="767"/>
                  </a:lnTo>
                  <a:close/>
                  <a:moveTo>
                    <a:pt x="695" y="747"/>
                  </a:moveTo>
                  <a:lnTo>
                    <a:pt x="695" y="749"/>
                  </a:lnTo>
                  <a:lnTo>
                    <a:pt x="695" y="750"/>
                  </a:lnTo>
                  <a:lnTo>
                    <a:pt x="694" y="752"/>
                  </a:lnTo>
                  <a:lnTo>
                    <a:pt x="694" y="753"/>
                  </a:lnTo>
                  <a:lnTo>
                    <a:pt x="691" y="752"/>
                  </a:lnTo>
                  <a:lnTo>
                    <a:pt x="691" y="750"/>
                  </a:lnTo>
                  <a:lnTo>
                    <a:pt x="692" y="749"/>
                  </a:lnTo>
                  <a:lnTo>
                    <a:pt x="695" y="747"/>
                  </a:lnTo>
                  <a:lnTo>
                    <a:pt x="695" y="747"/>
                  </a:lnTo>
                  <a:close/>
                  <a:moveTo>
                    <a:pt x="696" y="757"/>
                  </a:moveTo>
                  <a:lnTo>
                    <a:pt x="696" y="759"/>
                  </a:lnTo>
                  <a:lnTo>
                    <a:pt x="698" y="760"/>
                  </a:lnTo>
                  <a:lnTo>
                    <a:pt x="699" y="757"/>
                  </a:lnTo>
                  <a:lnTo>
                    <a:pt x="701" y="756"/>
                  </a:lnTo>
                  <a:lnTo>
                    <a:pt x="702" y="757"/>
                  </a:lnTo>
                  <a:lnTo>
                    <a:pt x="704" y="759"/>
                  </a:lnTo>
                  <a:lnTo>
                    <a:pt x="702" y="760"/>
                  </a:lnTo>
                  <a:lnTo>
                    <a:pt x="701" y="760"/>
                  </a:lnTo>
                  <a:lnTo>
                    <a:pt x="698" y="762"/>
                  </a:lnTo>
                  <a:lnTo>
                    <a:pt x="695" y="762"/>
                  </a:lnTo>
                  <a:lnTo>
                    <a:pt x="694" y="759"/>
                  </a:lnTo>
                  <a:lnTo>
                    <a:pt x="692" y="757"/>
                  </a:lnTo>
                  <a:lnTo>
                    <a:pt x="694" y="756"/>
                  </a:lnTo>
                  <a:lnTo>
                    <a:pt x="696" y="757"/>
                  </a:lnTo>
                  <a:lnTo>
                    <a:pt x="696" y="757"/>
                  </a:lnTo>
                  <a:close/>
                  <a:moveTo>
                    <a:pt x="748" y="871"/>
                  </a:moveTo>
                  <a:lnTo>
                    <a:pt x="749" y="875"/>
                  </a:lnTo>
                  <a:lnTo>
                    <a:pt x="751" y="878"/>
                  </a:lnTo>
                  <a:lnTo>
                    <a:pt x="749" y="879"/>
                  </a:lnTo>
                  <a:lnTo>
                    <a:pt x="748" y="879"/>
                  </a:lnTo>
                  <a:lnTo>
                    <a:pt x="747" y="878"/>
                  </a:lnTo>
                  <a:lnTo>
                    <a:pt x="742" y="869"/>
                  </a:lnTo>
                  <a:lnTo>
                    <a:pt x="738" y="863"/>
                  </a:lnTo>
                  <a:lnTo>
                    <a:pt x="739" y="862"/>
                  </a:lnTo>
                  <a:lnTo>
                    <a:pt x="741" y="862"/>
                  </a:lnTo>
                  <a:lnTo>
                    <a:pt x="742" y="863"/>
                  </a:lnTo>
                  <a:lnTo>
                    <a:pt x="748" y="871"/>
                  </a:lnTo>
                  <a:lnTo>
                    <a:pt x="748" y="871"/>
                  </a:lnTo>
                  <a:close/>
                  <a:moveTo>
                    <a:pt x="735" y="852"/>
                  </a:moveTo>
                  <a:lnTo>
                    <a:pt x="737" y="855"/>
                  </a:lnTo>
                  <a:lnTo>
                    <a:pt x="737" y="858"/>
                  </a:lnTo>
                  <a:lnTo>
                    <a:pt x="735" y="858"/>
                  </a:lnTo>
                  <a:lnTo>
                    <a:pt x="735" y="856"/>
                  </a:lnTo>
                  <a:lnTo>
                    <a:pt x="732" y="855"/>
                  </a:lnTo>
                  <a:lnTo>
                    <a:pt x="732" y="852"/>
                  </a:lnTo>
                  <a:lnTo>
                    <a:pt x="732" y="851"/>
                  </a:lnTo>
                  <a:lnTo>
                    <a:pt x="734" y="851"/>
                  </a:lnTo>
                  <a:lnTo>
                    <a:pt x="735" y="852"/>
                  </a:lnTo>
                  <a:lnTo>
                    <a:pt x="735" y="852"/>
                  </a:lnTo>
                  <a:close/>
                  <a:moveTo>
                    <a:pt x="729" y="842"/>
                  </a:moveTo>
                  <a:lnTo>
                    <a:pt x="729" y="842"/>
                  </a:lnTo>
                  <a:lnTo>
                    <a:pt x="729" y="845"/>
                  </a:lnTo>
                  <a:lnTo>
                    <a:pt x="729" y="846"/>
                  </a:lnTo>
                  <a:lnTo>
                    <a:pt x="729" y="846"/>
                  </a:lnTo>
                  <a:lnTo>
                    <a:pt x="728" y="846"/>
                  </a:lnTo>
                  <a:lnTo>
                    <a:pt x="728" y="845"/>
                  </a:lnTo>
                  <a:lnTo>
                    <a:pt x="726" y="843"/>
                  </a:lnTo>
                  <a:lnTo>
                    <a:pt x="726" y="842"/>
                  </a:lnTo>
                  <a:lnTo>
                    <a:pt x="726" y="840"/>
                  </a:lnTo>
                  <a:lnTo>
                    <a:pt x="728" y="840"/>
                  </a:lnTo>
                  <a:lnTo>
                    <a:pt x="728" y="840"/>
                  </a:lnTo>
                  <a:lnTo>
                    <a:pt x="728" y="840"/>
                  </a:lnTo>
                  <a:lnTo>
                    <a:pt x="729" y="842"/>
                  </a:lnTo>
                  <a:lnTo>
                    <a:pt x="729" y="842"/>
                  </a:lnTo>
                  <a:close/>
                  <a:moveTo>
                    <a:pt x="724" y="828"/>
                  </a:moveTo>
                  <a:lnTo>
                    <a:pt x="725" y="830"/>
                  </a:lnTo>
                  <a:lnTo>
                    <a:pt x="725" y="832"/>
                  </a:lnTo>
                  <a:lnTo>
                    <a:pt x="724" y="832"/>
                  </a:lnTo>
                  <a:lnTo>
                    <a:pt x="722" y="830"/>
                  </a:lnTo>
                  <a:lnTo>
                    <a:pt x="721" y="829"/>
                  </a:lnTo>
                  <a:lnTo>
                    <a:pt x="722" y="826"/>
                  </a:lnTo>
                  <a:lnTo>
                    <a:pt x="724" y="826"/>
                  </a:lnTo>
                  <a:lnTo>
                    <a:pt x="724" y="828"/>
                  </a:lnTo>
                  <a:lnTo>
                    <a:pt x="724" y="828"/>
                  </a:lnTo>
                  <a:close/>
                  <a:moveTo>
                    <a:pt x="747" y="795"/>
                  </a:moveTo>
                  <a:lnTo>
                    <a:pt x="747" y="798"/>
                  </a:lnTo>
                  <a:lnTo>
                    <a:pt x="747" y="800"/>
                  </a:lnTo>
                  <a:lnTo>
                    <a:pt x="745" y="800"/>
                  </a:lnTo>
                  <a:lnTo>
                    <a:pt x="744" y="799"/>
                  </a:lnTo>
                  <a:lnTo>
                    <a:pt x="744" y="798"/>
                  </a:lnTo>
                  <a:lnTo>
                    <a:pt x="744" y="795"/>
                  </a:lnTo>
                  <a:lnTo>
                    <a:pt x="744" y="793"/>
                  </a:lnTo>
                  <a:lnTo>
                    <a:pt x="744" y="789"/>
                  </a:lnTo>
                  <a:lnTo>
                    <a:pt x="744" y="787"/>
                  </a:lnTo>
                  <a:lnTo>
                    <a:pt x="745" y="786"/>
                  </a:lnTo>
                  <a:lnTo>
                    <a:pt x="747" y="789"/>
                  </a:lnTo>
                  <a:lnTo>
                    <a:pt x="747" y="790"/>
                  </a:lnTo>
                  <a:lnTo>
                    <a:pt x="747" y="795"/>
                  </a:lnTo>
                  <a:lnTo>
                    <a:pt x="747" y="795"/>
                  </a:lnTo>
                  <a:close/>
                  <a:moveTo>
                    <a:pt x="737" y="780"/>
                  </a:moveTo>
                  <a:lnTo>
                    <a:pt x="738" y="779"/>
                  </a:lnTo>
                  <a:lnTo>
                    <a:pt x="739" y="779"/>
                  </a:lnTo>
                  <a:lnTo>
                    <a:pt x="741" y="779"/>
                  </a:lnTo>
                  <a:lnTo>
                    <a:pt x="741" y="782"/>
                  </a:lnTo>
                  <a:lnTo>
                    <a:pt x="741" y="783"/>
                  </a:lnTo>
                  <a:lnTo>
                    <a:pt x="739" y="785"/>
                  </a:lnTo>
                  <a:lnTo>
                    <a:pt x="738" y="786"/>
                  </a:lnTo>
                  <a:lnTo>
                    <a:pt x="737" y="786"/>
                  </a:lnTo>
                  <a:lnTo>
                    <a:pt x="737" y="787"/>
                  </a:lnTo>
                  <a:lnTo>
                    <a:pt x="735" y="787"/>
                  </a:lnTo>
                  <a:lnTo>
                    <a:pt x="734" y="786"/>
                  </a:lnTo>
                  <a:lnTo>
                    <a:pt x="734" y="785"/>
                  </a:lnTo>
                  <a:lnTo>
                    <a:pt x="734" y="783"/>
                  </a:lnTo>
                  <a:lnTo>
                    <a:pt x="737" y="780"/>
                  </a:lnTo>
                  <a:lnTo>
                    <a:pt x="737" y="780"/>
                  </a:lnTo>
                  <a:close/>
                  <a:moveTo>
                    <a:pt x="719" y="800"/>
                  </a:moveTo>
                  <a:lnTo>
                    <a:pt x="719" y="805"/>
                  </a:lnTo>
                  <a:lnTo>
                    <a:pt x="719" y="808"/>
                  </a:lnTo>
                  <a:lnTo>
                    <a:pt x="718" y="808"/>
                  </a:lnTo>
                  <a:lnTo>
                    <a:pt x="716" y="808"/>
                  </a:lnTo>
                  <a:lnTo>
                    <a:pt x="716" y="806"/>
                  </a:lnTo>
                  <a:lnTo>
                    <a:pt x="716" y="803"/>
                  </a:lnTo>
                  <a:lnTo>
                    <a:pt x="716" y="802"/>
                  </a:lnTo>
                  <a:lnTo>
                    <a:pt x="718" y="798"/>
                  </a:lnTo>
                  <a:lnTo>
                    <a:pt x="719" y="795"/>
                  </a:lnTo>
                  <a:lnTo>
                    <a:pt x="719" y="795"/>
                  </a:lnTo>
                  <a:lnTo>
                    <a:pt x="721" y="796"/>
                  </a:lnTo>
                  <a:lnTo>
                    <a:pt x="719" y="800"/>
                  </a:lnTo>
                  <a:lnTo>
                    <a:pt x="719" y="800"/>
                  </a:lnTo>
                  <a:close/>
                  <a:moveTo>
                    <a:pt x="721" y="818"/>
                  </a:moveTo>
                  <a:lnTo>
                    <a:pt x="719" y="820"/>
                  </a:lnTo>
                  <a:lnTo>
                    <a:pt x="719" y="822"/>
                  </a:lnTo>
                  <a:lnTo>
                    <a:pt x="718" y="822"/>
                  </a:lnTo>
                  <a:lnTo>
                    <a:pt x="718" y="822"/>
                  </a:lnTo>
                  <a:lnTo>
                    <a:pt x="718" y="819"/>
                  </a:lnTo>
                  <a:lnTo>
                    <a:pt x="718" y="818"/>
                  </a:lnTo>
                  <a:lnTo>
                    <a:pt x="718" y="816"/>
                  </a:lnTo>
                  <a:lnTo>
                    <a:pt x="719" y="816"/>
                  </a:lnTo>
                  <a:lnTo>
                    <a:pt x="721" y="818"/>
                  </a:lnTo>
                  <a:lnTo>
                    <a:pt x="721" y="818"/>
                  </a:lnTo>
                  <a:close/>
                  <a:moveTo>
                    <a:pt x="751" y="773"/>
                  </a:moveTo>
                  <a:lnTo>
                    <a:pt x="751" y="775"/>
                  </a:lnTo>
                  <a:lnTo>
                    <a:pt x="751" y="775"/>
                  </a:lnTo>
                  <a:lnTo>
                    <a:pt x="749" y="776"/>
                  </a:lnTo>
                  <a:lnTo>
                    <a:pt x="748" y="776"/>
                  </a:lnTo>
                  <a:lnTo>
                    <a:pt x="747" y="775"/>
                  </a:lnTo>
                  <a:lnTo>
                    <a:pt x="745" y="773"/>
                  </a:lnTo>
                  <a:lnTo>
                    <a:pt x="744" y="773"/>
                  </a:lnTo>
                  <a:lnTo>
                    <a:pt x="744" y="773"/>
                  </a:lnTo>
                  <a:lnTo>
                    <a:pt x="744" y="772"/>
                  </a:lnTo>
                  <a:lnTo>
                    <a:pt x="744" y="770"/>
                  </a:lnTo>
                  <a:lnTo>
                    <a:pt x="745" y="770"/>
                  </a:lnTo>
                  <a:lnTo>
                    <a:pt x="748" y="769"/>
                  </a:lnTo>
                  <a:lnTo>
                    <a:pt x="751" y="770"/>
                  </a:lnTo>
                  <a:lnTo>
                    <a:pt x="751" y="773"/>
                  </a:lnTo>
                  <a:lnTo>
                    <a:pt x="751" y="773"/>
                  </a:lnTo>
                  <a:close/>
                  <a:moveTo>
                    <a:pt x="729" y="790"/>
                  </a:moveTo>
                  <a:lnTo>
                    <a:pt x="731" y="790"/>
                  </a:lnTo>
                  <a:lnTo>
                    <a:pt x="731" y="792"/>
                  </a:lnTo>
                  <a:lnTo>
                    <a:pt x="729" y="793"/>
                  </a:lnTo>
                  <a:lnTo>
                    <a:pt x="728" y="793"/>
                  </a:lnTo>
                  <a:lnTo>
                    <a:pt x="726" y="793"/>
                  </a:lnTo>
                  <a:lnTo>
                    <a:pt x="725" y="792"/>
                  </a:lnTo>
                  <a:lnTo>
                    <a:pt x="726" y="790"/>
                  </a:lnTo>
                  <a:lnTo>
                    <a:pt x="726" y="789"/>
                  </a:lnTo>
                  <a:lnTo>
                    <a:pt x="729" y="790"/>
                  </a:lnTo>
                  <a:lnTo>
                    <a:pt x="729" y="790"/>
                  </a:lnTo>
                  <a:close/>
                  <a:moveTo>
                    <a:pt x="725" y="783"/>
                  </a:moveTo>
                  <a:lnTo>
                    <a:pt x="725" y="786"/>
                  </a:lnTo>
                  <a:lnTo>
                    <a:pt x="724" y="787"/>
                  </a:lnTo>
                  <a:lnTo>
                    <a:pt x="722" y="787"/>
                  </a:lnTo>
                  <a:lnTo>
                    <a:pt x="722" y="786"/>
                  </a:lnTo>
                  <a:lnTo>
                    <a:pt x="722" y="785"/>
                  </a:lnTo>
                  <a:lnTo>
                    <a:pt x="722" y="783"/>
                  </a:lnTo>
                  <a:lnTo>
                    <a:pt x="724" y="782"/>
                  </a:lnTo>
                  <a:lnTo>
                    <a:pt x="724" y="782"/>
                  </a:lnTo>
                  <a:lnTo>
                    <a:pt x="725" y="782"/>
                  </a:lnTo>
                  <a:lnTo>
                    <a:pt x="725" y="783"/>
                  </a:lnTo>
                  <a:lnTo>
                    <a:pt x="725" y="783"/>
                  </a:lnTo>
                  <a:close/>
                  <a:moveTo>
                    <a:pt x="732" y="767"/>
                  </a:moveTo>
                  <a:lnTo>
                    <a:pt x="732" y="769"/>
                  </a:lnTo>
                  <a:lnTo>
                    <a:pt x="732" y="770"/>
                  </a:lnTo>
                  <a:lnTo>
                    <a:pt x="732" y="772"/>
                  </a:lnTo>
                  <a:lnTo>
                    <a:pt x="731" y="772"/>
                  </a:lnTo>
                  <a:lnTo>
                    <a:pt x="729" y="770"/>
                  </a:lnTo>
                  <a:lnTo>
                    <a:pt x="728" y="769"/>
                  </a:lnTo>
                  <a:lnTo>
                    <a:pt x="729" y="767"/>
                  </a:lnTo>
                  <a:lnTo>
                    <a:pt x="731" y="766"/>
                  </a:lnTo>
                  <a:lnTo>
                    <a:pt x="732" y="767"/>
                  </a:lnTo>
                  <a:lnTo>
                    <a:pt x="732" y="767"/>
                  </a:lnTo>
                  <a:close/>
                  <a:moveTo>
                    <a:pt x="980" y="766"/>
                  </a:moveTo>
                  <a:lnTo>
                    <a:pt x="983" y="767"/>
                  </a:lnTo>
                  <a:lnTo>
                    <a:pt x="981" y="769"/>
                  </a:lnTo>
                  <a:lnTo>
                    <a:pt x="981" y="770"/>
                  </a:lnTo>
                  <a:lnTo>
                    <a:pt x="979" y="770"/>
                  </a:lnTo>
                  <a:lnTo>
                    <a:pt x="979" y="767"/>
                  </a:lnTo>
                  <a:lnTo>
                    <a:pt x="980" y="766"/>
                  </a:lnTo>
                  <a:lnTo>
                    <a:pt x="980" y="766"/>
                  </a:lnTo>
                  <a:close/>
                  <a:moveTo>
                    <a:pt x="983" y="776"/>
                  </a:moveTo>
                  <a:lnTo>
                    <a:pt x="983" y="777"/>
                  </a:lnTo>
                  <a:lnTo>
                    <a:pt x="981" y="777"/>
                  </a:lnTo>
                  <a:lnTo>
                    <a:pt x="981" y="777"/>
                  </a:lnTo>
                  <a:lnTo>
                    <a:pt x="981" y="776"/>
                  </a:lnTo>
                  <a:lnTo>
                    <a:pt x="981" y="776"/>
                  </a:lnTo>
                  <a:lnTo>
                    <a:pt x="983" y="776"/>
                  </a:lnTo>
                  <a:lnTo>
                    <a:pt x="983" y="776"/>
                  </a:lnTo>
                  <a:close/>
                  <a:moveTo>
                    <a:pt x="989" y="772"/>
                  </a:moveTo>
                  <a:lnTo>
                    <a:pt x="990" y="773"/>
                  </a:lnTo>
                  <a:lnTo>
                    <a:pt x="990" y="775"/>
                  </a:lnTo>
                  <a:lnTo>
                    <a:pt x="989" y="775"/>
                  </a:lnTo>
                  <a:lnTo>
                    <a:pt x="986" y="775"/>
                  </a:lnTo>
                  <a:lnTo>
                    <a:pt x="987" y="772"/>
                  </a:lnTo>
                  <a:lnTo>
                    <a:pt x="989" y="772"/>
                  </a:lnTo>
                  <a:lnTo>
                    <a:pt x="989" y="772"/>
                  </a:lnTo>
                  <a:close/>
                  <a:moveTo>
                    <a:pt x="1009" y="779"/>
                  </a:moveTo>
                  <a:lnTo>
                    <a:pt x="1012" y="777"/>
                  </a:lnTo>
                  <a:lnTo>
                    <a:pt x="1012" y="780"/>
                  </a:lnTo>
                  <a:lnTo>
                    <a:pt x="1012" y="782"/>
                  </a:lnTo>
                  <a:lnTo>
                    <a:pt x="1009" y="783"/>
                  </a:lnTo>
                  <a:lnTo>
                    <a:pt x="1007" y="783"/>
                  </a:lnTo>
                  <a:lnTo>
                    <a:pt x="1006" y="780"/>
                  </a:lnTo>
                  <a:lnTo>
                    <a:pt x="1009" y="779"/>
                  </a:lnTo>
                  <a:lnTo>
                    <a:pt x="1009" y="779"/>
                  </a:lnTo>
                  <a:close/>
                  <a:moveTo>
                    <a:pt x="1014" y="785"/>
                  </a:moveTo>
                  <a:lnTo>
                    <a:pt x="1014" y="786"/>
                  </a:lnTo>
                  <a:lnTo>
                    <a:pt x="1013" y="787"/>
                  </a:lnTo>
                  <a:lnTo>
                    <a:pt x="1012" y="787"/>
                  </a:lnTo>
                  <a:lnTo>
                    <a:pt x="1012" y="786"/>
                  </a:lnTo>
                  <a:lnTo>
                    <a:pt x="1013" y="785"/>
                  </a:lnTo>
                  <a:lnTo>
                    <a:pt x="1014" y="785"/>
                  </a:lnTo>
                  <a:lnTo>
                    <a:pt x="1014" y="785"/>
                  </a:lnTo>
                  <a:close/>
                  <a:moveTo>
                    <a:pt x="1029" y="785"/>
                  </a:moveTo>
                  <a:lnTo>
                    <a:pt x="1030" y="787"/>
                  </a:lnTo>
                  <a:lnTo>
                    <a:pt x="1030" y="789"/>
                  </a:lnTo>
                  <a:lnTo>
                    <a:pt x="1027" y="789"/>
                  </a:lnTo>
                  <a:lnTo>
                    <a:pt x="1027" y="786"/>
                  </a:lnTo>
                  <a:lnTo>
                    <a:pt x="1027" y="785"/>
                  </a:lnTo>
                  <a:lnTo>
                    <a:pt x="1029" y="785"/>
                  </a:lnTo>
                  <a:lnTo>
                    <a:pt x="1029" y="785"/>
                  </a:lnTo>
                  <a:close/>
                  <a:moveTo>
                    <a:pt x="1033" y="793"/>
                  </a:moveTo>
                  <a:lnTo>
                    <a:pt x="1033" y="793"/>
                  </a:lnTo>
                  <a:lnTo>
                    <a:pt x="1032" y="796"/>
                  </a:lnTo>
                  <a:lnTo>
                    <a:pt x="1030" y="796"/>
                  </a:lnTo>
                  <a:lnTo>
                    <a:pt x="1030" y="795"/>
                  </a:lnTo>
                  <a:lnTo>
                    <a:pt x="1030" y="793"/>
                  </a:lnTo>
                  <a:lnTo>
                    <a:pt x="1033" y="793"/>
                  </a:lnTo>
                  <a:lnTo>
                    <a:pt x="1033" y="793"/>
                  </a:lnTo>
                  <a:close/>
                  <a:moveTo>
                    <a:pt x="1033" y="799"/>
                  </a:moveTo>
                  <a:lnTo>
                    <a:pt x="1033" y="800"/>
                  </a:lnTo>
                  <a:lnTo>
                    <a:pt x="1033" y="802"/>
                  </a:lnTo>
                  <a:lnTo>
                    <a:pt x="1033" y="803"/>
                  </a:lnTo>
                  <a:lnTo>
                    <a:pt x="1030" y="803"/>
                  </a:lnTo>
                  <a:lnTo>
                    <a:pt x="1029" y="803"/>
                  </a:lnTo>
                  <a:lnTo>
                    <a:pt x="1029" y="802"/>
                  </a:lnTo>
                  <a:lnTo>
                    <a:pt x="1030" y="800"/>
                  </a:lnTo>
                  <a:lnTo>
                    <a:pt x="1033" y="799"/>
                  </a:lnTo>
                  <a:lnTo>
                    <a:pt x="1033" y="799"/>
                  </a:lnTo>
                  <a:close/>
                  <a:moveTo>
                    <a:pt x="1037" y="792"/>
                  </a:moveTo>
                  <a:lnTo>
                    <a:pt x="1039" y="793"/>
                  </a:lnTo>
                  <a:lnTo>
                    <a:pt x="1039" y="795"/>
                  </a:lnTo>
                  <a:lnTo>
                    <a:pt x="1039" y="798"/>
                  </a:lnTo>
                  <a:lnTo>
                    <a:pt x="1037" y="799"/>
                  </a:lnTo>
                  <a:lnTo>
                    <a:pt x="1036" y="798"/>
                  </a:lnTo>
                  <a:lnTo>
                    <a:pt x="1036" y="793"/>
                  </a:lnTo>
                  <a:lnTo>
                    <a:pt x="1037" y="792"/>
                  </a:lnTo>
                  <a:lnTo>
                    <a:pt x="1037" y="792"/>
                  </a:lnTo>
                  <a:close/>
                  <a:moveTo>
                    <a:pt x="1044" y="793"/>
                  </a:moveTo>
                  <a:lnTo>
                    <a:pt x="1046" y="795"/>
                  </a:lnTo>
                  <a:lnTo>
                    <a:pt x="1046" y="796"/>
                  </a:lnTo>
                  <a:lnTo>
                    <a:pt x="1044" y="796"/>
                  </a:lnTo>
                  <a:lnTo>
                    <a:pt x="1043" y="796"/>
                  </a:lnTo>
                  <a:lnTo>
                    <a:pt x="1043" y="795"/>
                  </a:lnTo>
                  <a:lnTo>
                    <a:pt x="1043" y="793"/>
                  </a:lnTo>
                  <a:lnTo>
                    <a:pt x="1044" y="793"/>
                  </a:lnTo>
                  <a:lnTo>
                    <a:pt x="1044" y="793"/>
                  </a:lnTo>
                  <a:close/>
                  <a:moveTo>
                    <a:pt x="1032" y="808"/>
                  </a:moveTo>
                  <a:lnTo>
                    <a:pt x="1033" y="808"/>
                  </a:lnTo>
                  <a:lnTo>
                    <a:pt x="1033" y="809"/>
                  </a:lnTo>
                  <a:lnTo>
                    <a:pt x="1032" y="810"/>
                  </a:lnTo>
                  <a:lnTo>
                    <a:pt x="1030" y="810"/>
                  </a:lnTo>
                  <a:lnTo>
                    <a:pt x="1030" y="809"/>
                  </a:lnTo>
                  <a:lnTo>
                    <a:pt x="1030" y="808"/>
                  </a:lnTo>
                  <a:lnTo>
                    <a:pt x="1032" y="808"/>
                  </a:lnTo>
                  <a:lnTo>
                    <a:pt x="1032" y="808"/>
                  </a:lnTo>
                  <a:close/>
                  <a:moveTo>
                    <a:pt x="1043" y="802"/>
                  </a:moveTo>
                  <a:lnTo>
                    <a:pt x="1046" y="802"/>
                  </a:lnTo>
                  <a:lnTo>
                    <a:pt x="1044" y="803"/>
                  </a:lnTo>
                  <a:lnTo>
                    <a:pt x="1043" y="805"/>
                  </a:lnTo>
                  <a:lnTo>
                    <a:pt x="1042" y="806"/>
                  </a:lnTo>
                  <a:lnTo>
                    <a:pt x="1039" y="808"/>
                  </a:lnTo>
                  <a:lnTo>
                    <a:pt x="1037" y="806"/>
                  </a:lnTo>
                  <a:lnTo>
                    <a:pt x="1039" y="803"/>
                  </a:lnTo>
                  <a:lnTo>
                    <a:pt x="1043" y="802"/>
                  </a:lnTo>
                  <a:lnTo>
                    <a:pt x="1043" y="802"/>
                  </a:lnTo>
                  <a:close/>
                  <a:moveTo>
                    <a:pt x="1046" y="809"/>
                  </a:moveTo>
                  <a:lnTo>
                    <a:pt x="1046" y="809"/>
                  </a:lnTo>
                  <a:lnTo>
                    <a:pt x="1046" y="812"/>
                  </a:lnTo>
                  <a:lnTo>
                    <a:pt x="1043" y="812"/>
                  </a:lnTo>
                  <a:lnTo>
                    <a:pt x="1042" y="812"/>
                  </a:lnTo>
                  <a:lnTo>
                    <a:pt x="1040" y="810"/>
                  </a:lnTo>
                  <a:lnTo>
                    <a:pt x="1043" y="808"/>
                  </a:lnTo>
                  <a:lnTo>
                    <a:pt x="1046" y="809"/>
                  </a:lnTo>
                  <a:lnTo>
                    <a:pt x="1046" y="809"/>
                  </a:lnTo>
                  <a:close/>
                  <a:moveTo>
                    <a:pt x="1052" y="802"/>
                  </a:moveTo>
                  <a:lnTo>
                    <a:pt x="1053" y="802"/>
                  </a:lnTo>
                  <a:lnTo>
                    <a:pt x="1053" y="805"/>
                  </a:lnTo>
                  <a:lnTo>
                    <a:pt x="1050" y="806"/>
                  </a:lnTo>
                  <a:lnTo>
                    <a:pt x="1049" y="806"/>
                  </a:lnTo>
                  <a:lnTo>
                    <a:pt x="1049" y="803"/>
                  </a:lnTo>
                  <a:lnTo>
                    <a:pt x="1050" y="803"/>
                  </a:lnTo>
                  <a:lnTo>
                    <a:pt x="1052" y="802"/>
                  </a:lnTo>
                  <a:lnTo>
                    <a:pt x="1052" y="802"/>
                  </a:lnTo>
                  <a:close/>
                  <a:moveTo>
                    <a:pt x="1056" y="825"/>
                  </a:moveTo>
                  <a:lnTo>
                    <a:pt x="1059" y="826"/>
                  </a:lnTo>
                  <a:lnTo>
                    <a:pt x="1059" y="828"/>
                  </a:lnTo>
                  <a:lnTo>
                    <a:pt x="1057" y="828"/>
                  </a:lnTo>
                  <a:lnTo>
                    <a:pt x="1054" y="828"/>
                  </a:lnTo>
                  <a:lnTo>
                    <a:pt x="1053" y="828"/>
                  </a:lnTo>
                  <a:lnTo>
                    <a:pt x="1053" y="826"/>
                  </a:lnTo>
                  <a:lnTo>
                    <a:pt x="1053" y="825"/>
                  </a:lnTo>
                  <a:lnTo>
                    <a:pt x="1056" y="825"/>
                  </a:lnTo>
                  <a:lnTo>
                    <a:pt x="1056" y="825"/>
                  </a:lnTo>
                  <a:close/>
                  <a:moveTo>
                    <a:pt x="1052" y="830"/>
                  </a:moveTo>
                  <a:lnTo>
                    <a:pt x="1056" y="830"/>
                  </a:lnTo>
                  <a:lnTo>
                    <a:pt x="1062" y="830"/>
                  </a:lnTo>
                  <a:lnTo>
                    <a:pt x="1060" y="832"/>
                  </a:lnTo>
                  <a:lnTo>
                    <a:pt x="1060" y="833"/>
                  </a:lnTo>
                  <a:lnTo>
                    <a:pt x="1057" y="835"/>
                  </a:lnTo>
                  <a:lnTo>
                    <a:pt x="1053" y="836"/>
                  </a:lnTo>
                  <a:lnTo>
                    <a:pt x="1052" y="839"/>
                  </a:lnTo>
                  <a:lnTo>
                    <a:pt x="1049" y="840"/>
                  </a:lnTo>
                  <a:lnTo>
                    <a:pt x="1042" y="840"/>
                  </a:lnTo>
                  <a:lnTo>
                    <a:pt x="1040" y="840"/>
                  </a:lnTo>
                  <a:lnTo>
                    <a:pt x="1044" y="839"/>
                  </a:lnTo>
                  <a:lnTo>
                    <a:pt x="1047" y="835"/>
                  </a:lnTo>
                  <a:lnTo>
                    <a:pt x="1052" y="830"/>
                  </a:lnTo>
                  <a:lnTo>
                    <a:pt x="1052" y="830"/>
                  </a:lnTo>
                  <a:close/>
                  <a:moveTo>
                    <a:pt x="1039" y="843"/>
                  </a:moveTo>
                  <a:lnTo>
                    <a:pt x="1040" y="845"/>
                  </a:lnTo>
                  <a:lnTo>
                    <a:pt x="1039" y="846"/>
                  </a:lnTo>
                  <a:lnTo>
                    <a:pt x="1036" y="848"/>
                  </a:lnTo>
                  <a:lnTo>
                    <a:pt x="1034" y="846"/>
                  </a:lnTo>
                  <a:lnTo>
                    <a:pt x="1034" y="845"/>
                  </a:lnTo>
                  <a:lnTo>
                    <a:pt x="1036" y="845"/>
                  </a:lnTo>
                  <a:lnTo>
                    <a:pt x="1036" y="843"/>
                  </a:lnTo>
                  <a:lnTo>
                    <a:pt x="1039" y="843"/>
                  </a:lnTo>
                  <a:lnTo>
                    <a:pt x="1039" y="843"/>
                  </a:lnTo>
                  <a:close/>
                  <a:moveTo>
                    <a:pt x="1047" y="845"/>
                  </a:moveTo>
                  <a:lnTo>
                    <a:pt x="1049" y="845"/>
                  </a:lnTo>
                  <a:lnTo>
                    <a:pt x="1049" y="846"/>
                  </a:lnTo>
                  <a:lnTo>
                    <a:pt x="1047" y="846"/>
                  </a:lnTo>
                  <a:lnTo>
                    <a:pt x="1044" y="846"/>
                  </a:lnTo>
                  <a:lnTo>
                    <a:pt x="1044" y="846"/>
                  </a:lnTo>
                  <a:lnTo>
                    <a:pt x="1044" y="845"/>
                  </a:lnTo>
                  <a:lnTo>
                    <a:pt x="1047" y="845"/>
                  </a:lnTo>
                  <a:lnTo>
                    <a:pt x="1047" y="845"/>
                  </a:lnTo>
                  <a:close/>
                  <a:moveTo>
                    <a:pt x="1056" y="842"/>
                  </a:moveTo>
                  <a:lnTo>
                    <a:pt x="1056" y="842"/>
                  </a:lnTo>
                  <a:lnTo>
                    <a:pt x="1056" y="843"/>
                  </a:lnTo>
                  <a:lnTo>
                    <a:pt x="1054" y="845"/>
                  </a:lnTo>
                  <a:lnTo>
                    <a:pt x="1053" y="845"/>
                  </a:lnTo>
                  <a:lnTo>
                    <a:pt x="1052" y="843"/>
                  </a:lnTo>
                  <a:lnTo>
                    <a:pt x="1053" y="840"/>
                  </a:lnTo>
                  <a:lnTo>
                    <a:pt x="1054" y="840"/>
                  </a:lnTo>
                  <a:lnTo>
                    <a:pt x="1056" y="842"/>
                  </a:lnTo>
                  <a:lnTo>
                    <a:pt x="1056" y="842"/>
                  </a:lnTo>
                  <a:close/>
                  <a:moveTo>
                    <a:pt x="1067" y="835"/>
                  </a:moveTo>
                  <a:lnTo>
                    <a:pt x="1067" y="836"/>
                  </a:lnTo>
                  <a:lnTo>
                    <a:pt x="1067" y="836"/>
                  </a:lnTo>
                  <a:lnTo>
                    <a:pt x="1064" y="838"/>
                  </a:lnTo>
                  <a:lnTo>
                    <a:pt x="1062" y="838"/>
                  </a:lnTo>
                  <a:lnTo>
                    <a:pt x="1062" y="836"/>
                  </a:lnTo>
                  <a:lnTo>
                    <a:pt x="1063" y="835"/>
                  </a:lnTo>
                  <a:lnTo>
                    <a:pt x="1067" y="835"/>
                  </a:lnTo>
                  <a:lnTo>
                    <a:pt x="1067" y="835"/>
                  </a:lnTo>
                  <a:close/>
                  <a:moveTo>
                    <a:pt x="1070" y="838"/>
                  </a:moveTo>
                  <a:lnTo>
                    <a:pt x="1073" y="839"/>
                  </a:lnTo>
                  <a:lnTo>
                    <a:pt x="1072" y="840"/>
                  </a:lnTo>
                  <a:lnTo>
                    <a:pt x="1072" y="842"/>
                  </a:lnTo>
                  <a:lnTo>
                    <a:pt x="1070" y="842"/>
                  </a:lnTo>
                  <a:lnTo>
                    <a:pt x="1069" y="842"/>
                  </a:lnTo>
                  <a:lnTo>
                    <a:pt x="1069" y="839"/>
                  </a:lnTo>
                  <a:lnTo>
                    <a:pt x="1069" y="838"/>
                  </a:lnTo>
                  <a:lnTo>
                    <a:pt x="1070" y="838"/>
                  </a:lnTo>
                  <a:lnTo>
                    <a:pt x="1070" y="838"/>
                  </a:lnTo>
                  <a:close/>
                  <a:moveTo>
                    <a:pt x="1063" y="840"/>
                  </a:moveTo>
                  <a:lnTo>
                    <a:pt x="1066" y="842"/>
                  </a:lnTo>
                  <a:lnTo>
                    <a:pt x="1066" y="842"/>
                  </a:lnTo>
                  <a:lnTo>
                    <a:pt x="1066" y="843"/>
                  </a:lnTo>
                  <a:lnTo>
                    <a:pt x="1064" y="843"/>
                  </a:lnTo>
                  <a:lnTo>
                    <a:pt x="1063" y="843"/>
                  </a:lnTo>
                  <a:lnTo>
                    <a:pt x="1060" y="842"/>
                  </a:lnTo>
                  <a:lnTo>
                    <a:pt x="1060" y="840"/>
                  </a:lnTo>
                  <a:lnTo>
                    <a:pt x="1063" y="840"/>
                  </a:lnTo>
                  <a:lnTo>
                    <a:pt x="1063" y="840"/>
                  </a:lnTo>
                  <a:close/>
                  <a:moveTo>
                    <a:pt x="1070" y="856"/>
                  </a:moveTo>
                  <a:lnTo>
                    <a:pt x="1072" y="858"/>
                  </a:lnTo>
                  <a:lnTo>
                    <a:pt x="1072" y="859"/>
                  </a:lnTo>
                  <a:lnTo>
                    <a:pt x="1070" y="862"/>
                  </a:lnTo>
                  <a:lnTo>
                    <a:pt x="1067" y="862"/>
                  </a:lnTo>
                  <a:lnTo>
                    <a:pt x="1066" y="861"/>
                  </a:lnTo>
                  <a:lnTo>
                    <a:pt x="1064" y="861"/>
                  </a:lnTo>
                  <a:lnTo>
                    <a:pt x="1064" y="859"/>
                  </a:lnTo>
                  <a:lnTo>
                    <a:pt x="1064" y="858"/>
                  </a:lnTo>
                  <a:lnTo>
                    <a:pt x="1069" y="856"/>
                  </a:lnTo>
                  <a:lnTo>
                    <a:pt x="1070" y="856"/>
                  </a:lnTo>
                  <a:lnTo>
                    <a:pt x="1070" y="856"/>
                  </a:lnTo>
                  <a:close/>
                  <a:moveTo>
                    <a:pt x="1082" y="861"/>
                  </a:moveTo>
                  <a:lnTo>
                    <a:pt x="1083" y="862"/>
                  </a:lnTo>
                  <a:lnTo>
                    <a:pt x="1083" y="863"/>
                  </a:lnTo>
                  <a:lnTo>
                    <a:pt x="1083" y="865"/>
                  </a:lnTo>
                  <a:lnTo>
                    <a:pt x="1082" y="865"/>
                  </a:lnTo>
                  <a:lnTo>
                    <a:pt x="1080" y="865"/>
                  </a:lnTo>
                  <a:lnTo>
                    <a:pt x="1080" y="863"/>
                  </a:lnTo>
                  <a:lnTo>
                    <a:pt x="1080" y="861"/>
                  </a:lnTo>
                  <a:lnTo>
                    <a:pt x="1082" y="861"/>
                  </a:lnTo>
                  <a:lnTo>
                    <a:pt x="1082" y="861"/>
                  </a:lnTo>
                  <a:close/>
                  <a:moveTo>
                    <a:pt x="1075" y="871"/>
                  </a:moveTo>
                  <a:lnTo>
                    <a:pt x="1076" y="871"/>
                  </a:lnTo>
                  <a:lnTo>
                    <a:pt x="1075" y="873"/>
                  </a:lnTo>
                  <a:lnTo>
                    <a:pt x="1073" y="873"/>
                  </a:lnTo>
                  <a:lnTo>
                    <a:pt x="1072" y="872"/>
                  </a:lnTo>
                  <a:lnTo>
                    <a:pt x="1072" y="872"/>
                  </a:lnTo>
                  <a:lnTo>
                    <a:pt x="1072" y="869"/>
                  </a:lnTo>
                  <a:lnTo>
                    <a:pt x="1075" y="871"/>
                  </a:lnTo>
                  <a:lnTo>
                    <a:pt x="1075" y="871"/>
                  </a:lnTo>
                  <a:close/>
                  <a:moveTo>
                    <a:pt x="1072" y="878"/>
                  </a:moveTo>
                  <a:lnTo>
                    <a:pt x="1073" y="878"/>
                  </a:lnTo>
                  <a:lnTo>
                    <a:pt x="1073" y="881"/>
                  </a:lnTo>
                  <a:lnTo>
                    <a:pt x="1072" y="881"/>
                  </a:lnTo>
                  <a:lnTo>
                    <a:pt x="1070" y="881"/>
                  </a:lnTo>
                  <a:lnTo>
                    <a:pt x="1070" y="879"/>
                  </a:lnTo>
                  <a:lnTo>
                    <a:pt x="1070" y="878"/>
                  </a:lnTo>
                  <a:lnTo>
                    <a:pt x="1072" y="878"/>
                  </a:lnTo>
                  <a:lnTo>
                    <a:pt x="1072" y="878"/>
                  </a:lnTo>
                  <a:close/>
                  <a:moveTo>
                    <a:pt x="1057" y="875"/>
                  </a:moveTo>
                  <a:lnTo>
                    <a:pt x="1060" y="871"/>
                  </a:lnTo>
                  <a:lnTo>
                    <a:pt x="1063" y="869"/>
                  </a:lnTo>
                  <a:lnTo>
                    <a:pt x="1064" y="871"/>
                  </a:lnTo>
                  <a:lnTo>
                    <a:pt x="1064" y="872"/>
                  </a:lnTo>
                  <a:lnTo>
                    <a:pt x="1063" y="875"/>
                  </a:lnTo>
                  <a:lnTo>
                    <a:pt x="1059" y="879"/>
                  </a:lnTo>
                  <a:lnTo>
                    <a:pt x="1056" y="881"/>
                  </a:lnTo>
                  <a:lnTo>
                    <a:pt x="1052" y="879"/>
                  </a:lnTo>
                  <a:lnTo>
                    <a:pt x="1050" y="878"/>
                  </a:lnTo>
                  <a:lnTo>
                    <a:pt x="1050" y="875"/>
                  </a:lnTo>
                  <a:lnTo>
                    <a:pt x="1052" y="875"/>
                  </a:lnTo>
                  <a:lnTo>
                    <a:pt x="1053" y="876"/>
                  </a:lnTo>
                  <a:lnTo>
                    <a:pt x="1057" y="875"/>
                  </a:lnTo>
                  <a:lnTo>
                    <a:pt x="1057" y="875"/>
                  </a:lnTo>
                  <a:close/>
                  <a:moveTo>
                    <a:pt x="1054" y="886"/>
                  </a:moveTo>
                  <a:lnTo>
                    <a:pt x="1054" y="889"/>
                  </a:lnTo>
                  <a:lnTo>
                    <a:pt x="1054" y="891"/>
                  </a:lnTo>
                  <a:lnTo>
                    <a:pt x="1052" y="892"/>
                  </a:lnTo>
                  <a:lnTo>
                    <a:pt x="1050" y="892"/>
                  </a:lnTo>
                  <a:lnTo>
                    <a:pt x="1050" y="891"/>
                  </a:lnTo>
                  <a:lnTo>
                    <a:pt x="1052" y="888"/>
                  </a:lnTo>
                  <a:lnTo>
                    <a:pt x="1054" y="886"/>
                  </a:lnTo>
                  <a:lnTo>
                    <a:pt x="1054" y="886"/>
                  </a:lnTo>
                  <a:close/>
                  <a:moveTo>
                    <a:pt x="1063" y="882"/>
                  </a:moveTo>
                  <a:lnTo>
                    <a:pt x="1064" y="882"/>
                  </a:lnTo>
                  <a:lnTo>
                    <a:pt x="1063" y="886"/>
                  </a:lnTo>
                  <a:lnTo>
                    <a:pt x="1062" y="886"/>
                  </a:lnTo>
                  <a:lnTo>
                    <a:pt x="1060" y="886"/>
                  </a:lnTo>
                  <a:lnTo>
                    <a:pt x="1060" y="883"/>
                  </a:lnTo>
                  <a:lnTo>
                    <a:pt x="1063" y="882"/>
                  </a:lnTo>
                  <a:lnTo>
                    <a:pt x="1063" y="882"/>
                  </a:lnTo>
                  <a:close/>
                  <a:moveTo>
                    <a:pt x="1089" y="885"/>
                  </a:moveTo>
                  <a:lnTo>
                    <a:pt x="1089" y="886"/>
                  </a:lnTo>
                  <a:lnTo>
                    <a:pt x="1089" y="888"/>
                  </a:lnTo>
                  <a:lnTo>
                    <a:pt x="1087" y="888"/>
                  </a:lnTo>
                  <a:lnTo>
                    <a:pt x="1087" y="886"/>
                  </a:lnTo>
                  <a:lnTo>
                    <a:pt x="1087" y="885"/>
                  </a:lnTo>
                  <a:lnTo>
                    <a:pt x="1087" y="885"/>
                  </a:lnTo>
                  <a:lnTo>
                    <a:pt x="1089" y="885"/>
                  </a:lnTo>
                  <a:lnTo>
                    <a:pt x="1089" y="885"/>
                  </a:lnTo>
                  <a:close/>
                  <a:moveTo>
                    <a:pt x="1096" y="882"/>
                  </a:moveTo>
                  <a:lnTo>
                    <a:pt x="1096" y="885"/>
                  </a:lnTo>
                  <a:lnTo>
                    <a:pt x="1095" y="885"/>
                  </a:lnTo>
                  <a:lnTo>
                    <a:pt x="1093" y="886"/>
                  </a:lnTo>
                  <a:lnTo>
                    <a:pt x="1092" y="885"/>
                  </a:lnTo>
                  <a:lnTo>
                    <a:pt x="1092" y="882"/>
                  </a:lnTo>
                  <a:lnTo>
                    <a:pt x="1093" y="882"/>
                  </a:lnTo>
                  <a:lnTo>
                    <a:pt x="1096" y="882"/>
                  </a:lnTo>
                  <a:lnTo>
                    <a:pt x="1096" y="882"/>
                  </a:lnTo>
                  <a:close/>
                  <a:moveTo>
                    <a:pt x="1099" y="886"/>
                  </a:moveTo>
                  <a:lnTo>
                    <a:pt x="1099" y="891"/>
                  </a:lnTo>
                  <a:lnTo>
                    <a:pt x="1096" y="889"/>
                  </a:lnTo>
                  <a:lnTo>
                    <a:pt x="1095" y="889"/>
                  </a:lnTo>
                  <a:lnTo>
                    <a:pt x="1095" y="888"/>
                  </a:lnTo>
                  <a:lnTo>
                    <a:pt x="1096" y="886"/>
                  </a:lnTo>
                  <a:lnTo>
                    <a:pt x="1099" y="886"/>
                  </a:lnTo>
                  <a:lnTo>
                    <a:pt x="1099" y="886"/>
                  </a:lnTo>
                  <a:close/>
                  <a:moveTo>
                    <a:pt x="1096" y="909"/>
                  </a:moveTo>
                  <a:lnTo>
                    <a:pt x="1099" y="909"/>
                  </a:lnTo>
                  <a:lnTo>
                    <a:pt x="1100" y="909"/>
                  </a:lnTo>
                  <a:lnTo>
                    <a:pt x="1100" y="911"/>
                  </a:lnTo>
                  <a:lnTo>
                    <a:pt x="1100" y="912"/>
                  </a:lnTo>
                  <a:lnTo>
                    <a:pt x="1097" y="912"/>
                  </a:lnTo>
                  <a:lnTo>
                    <a:pt x="1096" y="911"/>
                  </a:lnTo>
                  <a:lnTo>
                    <a:pt x="1096" y="911"/>
                  </a:lnTo>
                  <a:lnTo>
                    <a:pt x="1096" y="909"/>
                  </a:lnTo>
                  <a:lnTo>
                    <a:pt x="1096" y="909"/>
                  </a:lnTo>
                  <a:close/>
                  <a:moveTo>
                    <a:pt x="1107" y="906"/>
                  </a:moveTo>
                  <a:lnTo>
                    <a:pt x="1109" y="905"/>
                  </a:lnTo>
                  <a:lnTo>
                    <a:pt x="1110" y="905"/>
                  </a:lnTo>
                  <a:lnTo>
                    <a:pt x="1110" y="908"/>
                  </a:lnTo>
                  <a:lnTo>
                    <a:pt x="1110" y="909"/>
                  </a:lnTo>
                  <a:lnTo>
                    <a:pt x="1109" y="909"/>
                  </a:lnTo>
                  <a:lnTo>
                    <a:pt x="1106" y="908"/>
                  </a:lnTo>
                  <a:lnTo>
                    <a:pt x="1106" y="908"/>
                  </a:lnTo>
                  <a:lnTo>
                    <a:pt x="1107" y="906"/>
                  </a:lnTo>
                  <a:lnTo>
                    <a:pt x="1107" y="906"/>
                  </a:lnTo>
                  <a:close/>
                  <a:moveTo>
                    <a:pt x="1103" y="915"/>
                  </a:moveTo>
                  <a:lnTo>
                    <a:pt x="1105" y="914"/>
                  </a:lnTo>
                  <a:lnTo>
                    <a:pt x="1106" y="912"/>
                  </a:lnTo>
                  <a:lnTo>
                    <a:pt x="1109" y="912"/>
                  </a:lnTo>
                  <a:lnTo>
                    <a:pt x="1107" y="914"/>
                  </a:lnTo>
                  <a:lnTo>
                    <a:pt x="1107" y="915"/>
                  </a:lnTo>
                  <a:lnTo>
                    <a:pt x="1106" y="918"/>
                  </a:lnTo>
                  <a:lnTo>
                    <a:pt x="1103" y="919"/>
                  </a:lnTo>
                  <a:lnTo>
                    <a:pt x="1100" y="921"/>
                  </a:lnTo>
                  <a:lnTo>
                    <a:pt x="1100" y="924"/>
                  </a:lnTo>
                  <a:lnTo>
                    <a:pt x="1102" y="926"/>
                  </a:lnTo>
                  <a:lnTo>
                    <a:pt x="1100" y="929"/>
                  </a:lnTo>
                  <a:lnTo>
                    <a:pt x="1099" y="929"/>
                  </a:lnTo>
                  <a:lnTo>
                    <a:pt x="1097" y="926"/>
                  </a:lnTo>
                  <a:lnTo>
                    <a:pt x="1092" y="926"/>
                  </a:lnTo>
                  <a:lnTo>
                    <a:pt x="1089" y="929"/>
                  </a:lnTo>
                  <a:lnTo>
                    <a:pt x="1086" y="928"/>
                  </a:lnTo>
                  <a:lnTo>
                    <a:pt x="1087" y="926"/>
                  </a:lnTo>
                  <a:lnTo>
                    <a:pt x="1090" y="924"/>
                  </a:lnTo>
                  <a:lnTo>
                    <a:pt x="1092" y="922"/>
                  </a:lnTo>
                  <a:lnTo>
                    <a:pt x="1093" y="919"/>
                  </a:lnTo>
                  <a:lnTo>
                    <a:pt x="1096" y="919"/>
                  </a:lnTo>
                  <a:lnTo>
                    <a:pt x="1097" y="918"/>
                  </a:lnTo>
                  <a:lnTo>
                    <a:pt x="1099" y="915"/>
                  </a:lnTo>
                  <a:lnTo>
                    <a:pt x="1103" y="915"/>
                  </a:lnTo>
                  <a:lnTo>
                    <a:pt x="1103" y="915"/>
                  </a:lnTo>
                  <a:close/>
                  <a:moveTo>
                    <a:pt x="1103" y="944"/>
                  </a:moveTo>
                  <a:lnTo>
                    <a:pt x="1103" y="945"/>
                  </a:lnTo>
                  <a:lnTo>
                    <a:pt x="1103" y="946"/>
                  </a:lnTo>
                  <a:lnTo>
                    <a:pt x="1102" y="946"/>
                  </a:lnTo>
                  <a:lnTo>
                    <a:pt x="1099" y="945"/>
                  </a:lnTo>
                  <a:lnTo>
                    <a:pt x="1099" y="944"/>
                  </a:lnTo>
                  <a:lnTo>
                    <a:pt x="1100" y="944"/>
                  </a:lnTo>
                  <a:lnTo>
                    <a:pt x="1103" y="944"/>
                  </a:lnTo>
                  <a:lnTo>
                    <a:pt x="1103" y="944"/>
                  </a:lnTo>
                  <a:close/>
                  <a:moveTo>
                    <a:pt x="1112" y="921"/>
                  </a:moveTo>
                  <a:lnTo>
                    <a:pt x="1113" y="924"/>
                  </a:lnTo>
                  <a:lnTo>
                    <a:pt x="1112" y="924"/>
                  </a:lnTo>
                  <a:lnTo>
                    <a:pt x="1110" y="924"/>
                  </a:lnTo>
                  <a:lnTo>
                    <a:pt x="1109" y="922"/>
                  </a:lnTo>
                  <a:lnTo>
                    <a:pt x="1109" y="921"/>
                  </a:lnTo>
                  <a:lnTo>
                    <a:pt x="1112" y="921"/>
                  </a:lnTo>
                  <a:lnTo>
                    <a:pt x="1112" y="921"/>
                  </a:lnTo>
                  <a:close/>
                  <a:moveTo>
                    <a:pt x="1110" y="926"/>
                  </a:moveTo>
                  <a:lnTo>
                    <a:pt x="1112" y="928"/>
                  </a:lnTo>
                  <a:lnTo>
                    <a:pt x="1112" y="929"/>
                  </a:lnTo>
                  <a:lnTo>
                    <a:pt x="1110" y="931"/>
                  </a:lnTo>
                  <a:lnTo>
                    <a:pt x="1110" y="934"/>
                  </a:lnTo>
                  <a:lnTo>
                    <a:pt x="1109" y="935"/>
                  </a:lnTo>
                  <a:lnTo>
                    <a:pt x="1106" y="936"/>
                  </a:lnTo>
                  <a:lnTo>
                    <a:pt x="1103" y="935"/>
                  </a:lnTo>
                  <a:lnTo>
                    <a:pt x="1103" y="932"/>
                  </a:lnTo>
                  <a:lnTo>
                    <a:pt x="1106" y="928"/>
                  </a:lnTo>
                  <a:lnTo>
                    <a:pt x="1109" y="926"/>
                  </a:lnTo>
                  <a:lnTo>
                    <a:pt x="1110" y="926"/>
                  </a:lnTo>
                  <a:lnTo>
                    <a:pt x="1110" y="926"/>
                  </a:lnTo>
                  <a:close/>
                  <a:moveTo>
                    <a:pt x="1285" y="882"/>
                  </a:moveTo>
                  <a:lnTo>
                    <a:pt x="1286" y="883"/>
                  </a:lnTo>
                  <a:lnTo>
                    <a:pt x="1285" y="883"/>
                  </a:lnTo>
                  <a:lnTo>
                    <a:pt x="1284" y="885"/>
                  </a:lnTo>
                  <a:lnTo>
                    <a:pt x="1282" y="885"/>
                  </a:lnTo>
                  <a:lnTo>
                    <a:pt x="1281" y="883"/>
                  </a:lnTo>
                  <a:lnTo>
                    <a:pt x="1281" y="882"/>
                  </a:lnTo>
                  <a:lnTo>
                    <a:pt x="1282" y="882"/>
                  </a:lnTo>
                  <a:lnTo>
                    <a:pt x="1285" y="882"/>
                  </a:lnTo>
                  <a:lnTo>
                    <a:pt x="1285" y="882"/>
                  </a:lnTo>
                  <a:close/>
                  <a:moveTo>
                    <a:pt x="1276" y="883"/>
                  </a:moveTo>
                  <a:lnTo>
                    <a:pt x="1278" y="883"/>
                  </a:lnTo>
                  <a:lnTo>
                    <a:pt x="1278" y="885"/>
                  </a:lnTo>
                  <a:lnTo>
                    <a:pt x="1278" y="886"/>
                  </a:lnTo>
                  <a:lnTo>
                    <a:pt x="1275" y="886"/>
                  </a:lnTo>
                  <a:lnTo>
                    <a:pt x="1274" y="886"/>
                  </a:lnTo>
                  <a:lnTo>
                    <a:pt x="1274" y="885"/>
                  </a:lnTo>
                  <a:lnTo>
                    <a:pt x="1274" y="883"/>
                  </a:lnTo>
                  <a:lnTo>
                    <a:pt x="1274" y="883"/>
                  </a:lnTo>
                  <a:lnTo>
                    <a:pt x="1276" y="883"/>
                  </a:lnTo>
                  <a:lnTo>
                    <a:pt x="1276" y="883"/>
                  </a:lnTo>
                  <a:close/>
                  <a:moveTo>
                    <a:pt x="1417" y="872"/>
                  </a:moveTo>
                  <a:lnTo>
                    <a:pt x="1417" y="871"/>
                  </a:lnTo>
                  <a:lnTo>
                    <a:pt x="1420" y="871"/>
                  </a:lnTo>
                  <a:lnTo>
                    <a:pt x="1423" y="872"/>
                  </a:lnTo>
                  <a:lnTo>
                    <a:pt x="1423" y="873"/>
                  </a:lnTo>
                  <a:lnTo>
                    <a:pt x="1421" y="873"/>
                  </a:lnTo>
                  <a:lnTo>
                    <a:pt x="1420" y="873"/>
                  </a:lnTo>
                  <a:lnTo>
                    <a:pt x="1418" y="873"/>
                  </a:lnTo>
                  <a:lnTo>
                    <a:pt x="1417" y="873"/>
                  </a:lnTo>
                  <a:lnTo>
                    <a:pt x="1417" y="872"/>
                  </a:lnTo>
                  <a:lnTo>
                    <a:pt x="1417" y="872"/>
                  </a:lnTo>
                  <a:close/>
                  <a:moveTo>
                    <a:pt x="1457" y="836"/>
                  </a:moveTo>
                  <a:lnTo>
                    <a:pt x="1458" y="838"/>
                  </a:lnTo>
                  <a:lnTo>
                    <a:pt x="1457" y="839"/>
                  </a:lnTo>
                  <a:lnTo>
                    <a:pt x="1455" y="839"/>
                  </a:lnTo>
                  <a:lnTo>
                    <a:pt x="1454" y="838"/>
                  </a:lnTo>
                  <a:lnTo>
                    <a:pt x="1454" y="836"/>
                  </a:lnTo>
                  <a:lnTo>
                    <a:pt x="1457" y="836"/>
                  </a:lnTo>
                  <a:lnTo>
                    <a:pt x="1457" y="836"/>
                  </a:lnTo>
                  <a:close/>
                  <a:moveTo>
                    <a:pt x="1497" y="825"/>
                  </a:moveTo>
                  <a:lnTo>
                    <a:pt x="1500" y="819"/>
                  </a:lnTo>
                  <a:lnTo>
                    <a:pt x="1503" y="815"/>
                  </a:lnTo>
                  <a:lnTo>
                    <a:pt x="1507" y="810"/>
                  </a:lnTo>
                  <a:lnTo>
                    <a:pt x="1513" y="809"/>
                  </a:lnTo>
                  <a:lnTo>
                    <a:pt x="1518" y="809"/>
                  </a:lnTo>
                  <a:lnTo>
                    <a:pt x="1518" y="805"/>
                  </a:lnTo>
                  <a:lnTo>
                    <a:pt x="1518" y="803"/>
                  </a:lnTo>
                  <a:lnTo>
                    <a:pt x="1521" y="800"/>
                  </a:lnTo>
                  <a:lnTo>
                    <a:pt x="1533" y="799"/>
                  </a:lnTo>
                  <a:lnTo>
                    <a:pt x="1539" y="799"/>
                  </a:lnTo>
                  <a:lnTo>
                    <a:pt x="1541" y="799"/>
                  </a:lnTo>
                  <a:lnTo>
                    <a:pt x="1544" y="805"/>
                  </a:lnTo>
                  <a:lnTo>
                    <a:pt x="1544" y="813"/>
                  </a:lnTo>
                  <a:lnTo>
                    <a:pt x="1543" y="822"/>
                  </a:lnTo>
                  <a:lnTo>
                    <a:pt x="1543" y="825"/>
                  </a:lnTo>
                  <a:lnTo>
                    <a:pt x="1540" y="826"/>
                  </a:lnTo>
                  <a:lnTo>
                    <a:pt x="1536" y="828"/>
                  </a:lnTo>
                  <a:lnTo>
                    <a:pt x="1531" y="828"/>
                  </a:lnTo>
                  <a:lnTo>
                    <a:pt x="1529" y="825"/>
                  </a:lnTo>
                  <a:lnTo>
                    <a:pt x="1526" y="823"/>
                  </a:lnTo>
                  <a:lnTo>
                    <a:pt x="1521" y="823"/>
                  </a:lnTo>
                  <a:lnTo>
                    <a:pt x="1520" y="822"/>
                  </a:lnTo>
                  <a:lnTo>
                    <a:pt x="1516" y="822"/>
                  </a:lnTo>
                  <a:lnTo>
                    <a:pt x="1510" y="823"/>
                  </a:lnTo>
                  <a:lnTo>
                    <a:pt x="1511" y="826"/>
                  </a:lnTo>
                  <a:lnTo>
                    <a:pt x="1511" y="826"/>
                  </a:lnTo>
                  <a:lnTo>
                    <a:pt x="1518" y="825"/>
                  </a:lnTo>
                  <a:lnTo>
                    <a:pt x="1521" y="826"/>
                  </a:lnTo>
                  <a:lnTo>
                    <a:pt x="1523" y="829"/>
                  </a:lnTo>
                  <a:lnTo>
                    <a:pt x="1523" y="832"/>
                  </a:lnTo>
                  <a:lnTo>
                    <a:pt x="1521" y="835"/>
                  </a:lnTo>
                  <a:lnTo>
                    <a:pt x="1517" y="833"/>
                  </a:lnTo>
                  <a:lnTo>
                    <a:pt x="1514" y="833"/>
                  </a:lnTo>
                  <a:lnTo>
                    <a:pt x="1510" y="832"/>
                  </a:lnTo>
                  <a:lnTo>
                    <a:pt x="1508" y="832"/>
                  </a:lnTo>
                  <a:lnTo>
                    <a:pt x="1504" y="830"/>
                  </a:lnTo>
                  <a:lnTo>
                    <a:pt x="1501" y="830"/>
                  </a:lnTo>
                  <a:lnTo>
                    <a:pt x="1498" y="830"/>
                  </a:lnTo>
                  <a:lnTo>
                    <a:pt x="1496" y="832"/>
                  </a:lnTo>
                  <a:lnTo>
                    <a:pt x="1494" y="832"/>
                  </a:lnTo>
                  <a:lnTo>
                    <a:pt x="1494" y="829"/>
                  </a:lnTo>
                  <a:lnTo>
                    <a:pt x="1497" y="828"/>
                  </a:lnTo>
                  <a:lnTo>
                    <a:pt x="1497" y="825"/>
                  </a:lnTo>
                  <a:lnTo>
                    <a:pt x="1497" y="825"/>
                  </a:lnTo>
                  <a:close/>
                  <a:moveTo>
                    <a:pt x="1533" y="740"/>
                  </a:moveTo>
                  <a:lnTo>
                    <a:pt x="1534" y="740"/>
                  </a:lnTo>
                  <a:lnTo>
                    <a:pt x="1534" y="742"/>
                  </a:lnTo>
                  <a:lnTo>
                    <a:pt x="1533" y="743"/>
                  </a:lnTo>
                  <a:lnTo>
                    <a:pt x="1531" y="745"/>
                  </a:lnTo>
                  <a:lnTo>
                    <a:pt x="1530" y="746"/>
                  </a:lnTo>
                  <a:lnTo>
                    <a:pt x="1530" y="747"/>
                  </a:lnTo>
                  <a:lnTo>
                    <a:pt x="1529" y="750"/>
                  </a:lnTo>
                  <a:lnTo>
                    <a:pt x="1527" y="752"/>
                  </a:lnTo>
                  <a:lnTo>
                    <a:pt x="1523" y="752"/>
                  </a:lnTo>
                  <a:lnTo>
                    <a:pt x="1524" y="750"/>
                  </a:lnTo>
                  <a:lnTo>
                    <a:pt x="1523" y="745"/>
                  </a:lnTo>
                  <a:lnTo>
                    <a:pt x="1526" y="740"/>
                  </a:lnTo>
                  <a:lnTo>
                    <a:pt x="1527" y="740"/>
                  </a:lnTo>
                  <a:lnTo>
                    <a:pt x="1533" y="740"/>
                  </a:lnTo>
                  <a:lnTo>
                    <a:pt x="1533" y="740"/>
                  </a:lnTo>
                  <a:close/>
                  <a:moveTo>
                    <a:pt x="1559" y="752"/>
                  </a:moveTo>
                  <a:lnTo>
                    <a:pt x="1561" y="753"/>
                  </a:lnTo>
                  <a:lnTo>
                    <a:pt x="1561" y="755"/>
                  </a:lnTo>
                  <a:lnTo>
                    <a:pt x="1561" y="757"/>
                  </a:lnTo>
                  <a:lnTo>
                    <a:pt x="1559" y="763"/>
                  </a:lnTo>
                  <a:lnTo>
                    <a:pt x="1556" y="769"/>
                  </a:lnTo>
                  <a:lnTo>
                    <a:pt x="1547" y="773"/>
                  </a:lnTo>
                  <a:lnTo>
                    <a:pt x="1543" y="773"/>
                  </a:lnTo>
                  <a:lnTo>
                    <a:pt x="1541" y="773"/>
                  </a:lnTo>
                  <a:lnTo>
                    <a:pt x="1541" y="770"/>
                  </a:lnTo>
                  <a:lnTo>
                    <a:pt x="1544" y="769"/>
                  </a:lnTo>
                  <a:lnTo>
                    <a:pt x="1546" y="769"/>
                  </a:lnTo>
                  <a:lnTo>
                    <a:pt x="1547" y="767"/>
                  </a:lnTo>
                  <a:lnTo>
                    <a:pt x="1547" y="765"/>
                  </a:lnTo>
                  <a:lnTo>
                    <a:pt x="1547" y="763"/>
                  </a:lnTo>
                  <a:lnTo>
                    <a:pt x="1549" y="760"/>
                  </a:lnTo>
                  <a:lnTo>
                    <a:pt x="1551" y="760"/>
                  </a:lnTo>
                  <a:lnTo>
                    <a:pt x="1553" y="759"/>
                  </a:lnTo>
                  <a:lnTo>
                    <a:pt x="1553" y="756"/>
                  </a:lnTo>
                  <a:lnTo>
                    <a:pt x="1554" y="756"/>
                  </a:lnTo>
                  <a:lnTo>
                    <a:pt x="1557" y="756"/>
                  </a:lnTo>
                  <a:lnTo>
                    <a:pt x="1557" y="756"/>
                  </a:lnTo>
                  <a:lnTo>
                    <a:pt x="1559" y="755"/>
                  </a:lnTo>
                  <a:lnTo>
                    <a:pt x="1559" y="752"/>
                  </a:lnTo>
                  <a:lnTo>
                    <a:pt x="1559" y="752"/>
                  </a:lnTo>
                  <a:close/>
                  <a:moveTo>
                    <a:pt x="1537" y="772"/>
                  </a:moveTo>
                  <a:lnTo>
                    <a:pt x="1539" y="772"/>
                  </a:lnTo>
                  <a:lnTo>
                    <a:pt x="1537" y="775"/>
                  </a:lnTo>
                  <a:lnTo>
                    <a:pt x="1537" y="775"/>
                  </a:lnTo>
                  <a:lnTo>
                    <a:pt x="1534" y="775"/>
                  </a:lnTo>
                  <a:lnTo>
                    <a:pt x="1534" y="773"/>
                  </a:lnTo>
                  <a:lnTo>
                    <a:pt x="1536" y="772"/>
                  </a:lnTo>
                  <a:lnTo>
                    <a:pt x="1537" y="772"/>
                  </a:lnTo>
                  <a:lnTo>
                    <a:pt x="1537" y="772"/>
                  </a:lnTo>
                  <a:close/>
                  <a:moveTo>
                    <a:pt x="967" y="925"/>
                  </a:moveTo>
                  <a:lnTo>
                    <a:pt x="973" y="924"/>
                  </a:lnTo>
                  <a:lnTo>
                    <a:pt x="977" y="919"/>
                  </a:lnTo>
                  <a:lnTo>
                    <a:pt x="976" y="924"/>
                  </a:lnTo>
                  <a:lnTo>
                    <a:pt x="976" y="926"/>
                  </a:lnTo>
                  <a:lnTo>
                    <a:pt x="974" y="928"/>
                  </a:lnTo>
                  <a:lnTo>
                    <a:pt x="969" y="932"/>
                  </a:lnTo>
                  <a:lnTo>
                    <a:pt x="967" y="935"/>
                  </a:lnTo>
                  <a:lnTo>
                    <a:pt x="971" y="935"/>
                  </a:lnTo>
                  <a:lnTo>
                    <a:pt x="974" y="934"/>
                  </a:lnTo>
                  <a:lnTo>
                    <a:pt x="977" y="931"/>
                  </a:lnTo>
                  <a:lnTo>
                    <a:pt x="979" y="924"/>
                  </a:lnTo>
                  <a:lnTo>
                    <a:pt x="981" y="919"/>
                  </a:lnTo>
                  <a:lnTo>
                    <a:pt x="981" y="921"/>
                  </a:lnTo>
                  <a:lnTo>
                    <a:pt x="984" y="922"/>
                  </a:lnTo>
                  <a:lnTo>
                    <a:pt x="989" y="922"/>
                  </a:lnTo>
                  <a:lnTo>
                    <a:pt x="989" y="925"/>
                  </a:lnTo>
                  <a:lnTo>
                    <a:pt x="984" y="928"/>
                  </a:lnTo>
                  <a:lnTo>
                    <a:pt x="980" y="929"/>
                  </a:lnTo>
                  <a:lnTo>
                    <a:pt x="980" y="932"/>
                  </a:lnTo>
                  <a:lnTo>
                    <a:pt x="976" y="936"/>
                  </a:lnTo>
                  <a:lnTo>
                    <a:pt x="970" y="939"/>
                  </a:lnTo>
                  <a:lnTo>
                    <a:pt x="961" y="942"/>
                  </a:lnTo>
                  <a:lnTo>
                    <a:pt x="959" y="939"/>
                  </a:lnTo>
                  <a:lnTo>
                    <a:pt x="956" y="939"/>
                  </a:lnTo>
                  <a:lnTo>
                    <a:pt x="953" y="936"/>
                  </a:lnTo>
                  <a:lnTo>
                    <a:pt x="953" y="934"/>
                  </a:lnTo>
                  <a:lnTo>
                    <a:pt x="953" y="932"/>
                  </a:lnTo>
                  <a:lnTo>
                    <a:pt x="953" y="931"/>
                  </a:lnTo>
                  <a:lnTo>
                    <a:pt x="954" y="931"/>
                  </a:lnTo>
                  <a:lnTo>
                    <a:pt x="956" y="931"/>
                  </a:lnTo>
                  <a:lnTo>
                    <a:pt x="959" y="931"/>
                  </a:lnTo>
                  <a:lnTo>
                    <a:pt x="961" y="931"/>
                  </a:lnTo>
                  <a:lnTo>
                    <a:pt x="963" y="931"/>
                  </a:lnTo>
                  <a:lnTo>
                    <a:pt x="966" y="929"/>
                  </a:lnTo>
                  <a:lnTo>
                    <a:pt x="967" y="925"/>
                  </a:lnTo>
                  <a:lnTo>
                    <a:pt x="967" y="925"/>
                  </a:lnTo>
                  <a:close/>
                  <a:moveTo>
                    <a:pt x="1023" y="892"/>
                  </a:moveTo>
                  <a:lnTo>
                    <a:pt x="1029" y="893"/>
                  </a:lnTo>
                  <a:lnTo>
                    <a:pt x="1034" y="892"/>
                  </a:lnTo>
                  <a:lnTo>
                    <a:pt x="1036" y="892"/>
                  </a:lnTo>
                  <a:lnTo>
                    <a:pt x="1044" y="895"/>
                  </a:lnTo>
                  <a:lnTo>
                    <a:pt x="1052" y="895"/>
                  </a:lnTo>
                  <a:lnTo>
                    <a:pt x="1059" y="892"/>
                  </a:lnTo>
                  <a:lnTo>
                    <a:pt x="1066" y="886"/>
                  </a:lnTo>
                  <a:lnTo>
                    <a:pt x="1070" y="885"/>
                  </a:lnTo>
                  <a:lnTo>
                    <a:pt x="1075" y="883"/>
                  </a:lnTo>
                  <a:lnTo>
                    <a:pt x="1077" y="883"/>
                  </a:lnTo>
                  <a:lnTo>
                    <a:pt x="1079" y="883"/>
                  </a:lnTo>
                  <a:lnTo>
                    <a:pt x="1083" y="883"/>
                  </a:lnTo>
                  <a:lnTo>
                    <a:pt x="1083" y="885"/>
                  </a:lnTo>
                  <a:lnTo>
                    <a:pt x="1080" y="888"/>
                  </a:lnTo>
                  <a:lnTo>
                    <a:pt x="1079" y="892"/>
                  </a:lnTo>
                  <a:lnTo>
                    <a:pt x="1079" y="895"/>
                  </a:lnTo>
                  <a:lnTo>
                    <a:pt x="1075" y="896"/>
                  </a:lnTo>
                  <a:lnTo>
                    <a:pt x="1075" y="898"/>
                  </a:lnTo>
                  <a:lnTo>
                    <a:pt x="1075" y="901"/>
                  </a:lnTo>
                  <a:lnTo>
                    <a:pt x="1072" y="905"/>
                  </a:lnTo>
                  <a:lnTo>
                    <a:pt x="1069" y="909"/>
                  </a:lnTo>
                  <a:lnTo>
                    <a:pt x="1067" y="911"/>
                  </a:lnTo>
                  <a:lnTo>
                    <a:pt x="1067" y="914"/>
                  </a:lnTo>
                  <a:lnTo>
                    <a:pt x="1070" y="912"/>
                  </a:lnTo>
                  <a:lnTo>
                    <a:pt x="1070" y="908"/>
                  </a:lnTo>
                  <a:lnTo>
                    <a:pt x="1075" y="906"/>
                  </a:lnTo>
                  <a:lnTo>
                    <a:pt x="1075" y="906"/>
                  </a:lnTo>
                  <a:lnTo>
                    <a:pt x="1076" y="905"/>
                  </a:lnTo>
                  <a:lnTo>
                    <a:pt x="1076" y="902"/>
                  </a:lnTo>
                  <a:lnTo>
                    <a:pt x="1077" y="898"/>
                  </a:lnTo>
                  <a:lnTo>
                    <a:pt x="1080" y="895"/>
                  </a:lnTo>
                  <a:lnTo>
                    <a:pt x="1082" y="891"/>
                  </a:lnTo>
                  <a:lnTo>
                    <a:pt x="1085" y="891"/>
                  </a:lnTo>
                  <a:lnTo>
                    <a:pt x="1089" y="891"/>
                  </a:lnTo>
                  <a:lnTo>
                    <a:pt x="1093" y="893"/>
                  </a:lnTo>
                  <a:lnTo>
                    <a:pt x="1096" y="895"/>
                  </a:lnTo>
                  <a:lnTo>
                    <a:pt x="1099" y="898"/>
                  </a:lnTo>
                  <a:lnTo>
                    <a:pt x="1099" y="899"/>
                  </a:lnTo>
                  <a:lnTo>
                    <a:pt x="1099" y="902"/>
                  </a:lnTo>
                  <a:lnTo>
                    <a:pt x="1096" y="903"/>
                  </a:lnTo>
                  <a:lnTo>
                    <a:pt x="1092" y="908"/>
                  </a:lnTo>
                  <a:lnTo>
                    <a:pt x="1089" y="912"/>
                  </a:lnTo>
                  <a:lnTo>
                    <a:pt x="1092" y="912"/>
                  </a:lnTo>
                  <a:lnTo>
                    <a:pt x="1093" y="912"/>
                  </a:lnTo>
                  <a:lnTo>
                    <a:pt x="1093" y="916"/>
                  </a:lnTo>
                  <a:lnTo>
                    <a:pt x="1090" y="919"/>
                  </a:lnTo>
                  <a:lnTo>
                    <a:pt x="1086" y="925"/>
                  </a:lnTo>
                  <a:lnTo>
                    <a:pt x="1082" y="926"/>
                  </a:lnTo>
                  <a:lnTo>
                    <a:pt x="1080" y="929"/>
                  </a:lnTo>
                  <a:lnTo>
                    <a:pt x="1079" y="931"/>
                  </a:lnTo>
                  <a:lnTo>
                    <a:pt x="1079" y="931"/>
                  </a:lnTo>
                  <a:lnTo>
                    <a:pt x="1083" y="932"/>
                  </a:lnTo>
                  <a:lnTo>
                    <a:pt x="1083" y="935"/>
                  </a:lnTo>
                  <a:lnTo>
                    <a:pt x="1085" y="935"/>
                  </a:lnTo>
                  <a:lnTo>
                    <a:pt x="1085" y="932"/>
                  </a:lnTo>
                  <a:lnTo>
                    <a:pt x="1090" y="931"/>
                  </a:lnTo>
                  <a:lnTo>
                    <a:pt x="1093" y="932"/>
                  </a:lnTo>
                  <a:lnTo>
                    <a:pt x="1093" y="935"/>
                  </a:lnTo>
                  <a:lnTo>
                    <a:pt x="1099" y="936"/>
                  </a:lnTo>
                  <a:lnTo>
                    <a:pt x="1105" y="938"/>
                  </a:lnTo>
                  <a:lnTo>
                    <a:pt x="1106" y="939"/>
                  </a:lnTo>
                  <a:lnTo>
                    <a:pt x="1105" y="941"/>
                  </a:lnTo>
                  <a:lnTo>
                    <a:pt x="1097" y="941"/>
                  </a:lnTo>
                  <a:lnTo>
                    <a:pt x="1099" y="939"/>
                  </a:lnTo>
                  <a:lnTo>
                    <a:pt x="1093" y="939"/>
                  </a:lnTo>
                  <a:lnTo>
                    <a:pt x="1092" y="939"/>
                  </a:lnTo>
                  <a:lnTo>
                    <a:pt x="1089" y="941"/>
                  </a:lnTo>
                  <a:lnTo>
                    <a:pt x="1089" y="942"/>
                  </a:lnTo>
                  <a:lnTo>
                    <a:pt x="1086" y="944"/>
                  </a:lnTo>
                  <a:lnTo>
                    <a:pt x="1086" y="942"/>
                  </a:lnTo>
                  <a:lnTo>
                    <a:pt x="1080" y="941"/>
                  </a:lnTo>
                  <a:lnTo>
                    <a:pt x="1077" y="939"/>
                  </a:lnTo>
                  <a:lnTo>
                    <a:pt x="1075" y="941"/>
                  </a:lnTo>
                  <a:lnTo>
                    <a:pt x="1069" y="941"/>
                  </a:lnTo>
                  <a:lnTo>
                    <a:pt x="1067" y="939"/>
                  </a:lnTo>
                  <a:lnTo>
                    <a:pt x="1067" y="938"/>
                  </a:lnTo>
                  <a:lnTo>
                    <a:pt x="1067" y="938"/>
                  </a:lnTo>
                  <a:lnTo>
                    <a:pt x="1066" y="936"/>
                  </a:lnTo>
                  <a:lnTo>
                    <a:pt x="1063" y="935"/>
                  </a:lnTo>
                  <a:lnTo>
                    <a:pt x="1062" y="934"/>
                  </a:lnTo>
                  <a:lnTo>
                    <a:pt x="1063" y="934"/>
                  </a:lnTo>
                  <a:lnTo>
                    <a:pt x="1063" y="932"/>
                  </a:lnTo>
                  <a:lnTo>
                    <a:pt x="1060" y="931"/>
                  </a:lnTo>
                  <a:lnTo>
                    <a:pt x="1054" y="931"/>
                  </a:lnTo>
                  <a:lnTo>
                    <a:pt x="1052" y="931"/>
                  </a:lnTo>
                  <a:lnTo>
                    <a:pt x="1049" y="934"/>
                  </a:lnTo>
                  <a:lnTo>
                    <a:pt x="1047" y="934"/>
                  </a:lnTo>
                  <a:lnTo>
                    <a:pt x="1047" y="936"/>
                  </a:lnTo>
                  <a:lnTo>
                    <a:pt x="1044" y="936"/>
                  </a:lnTo>
                  <a:lnTo>
                    <a:pt x="1039" y="936"/>
                  </a:lnTo>
                  <a:lnTo>
                    <a:pt x="1036" y="935"/>
                  </a:lnTo>
                  <a:lnTo>
                    <a:pt x="1029" y="932"/>
                  </a:lnTo>
                  <a:lnTo>
                    <a:pt x="1023" y="929"/>
                  </a:lnTo>
                  <a:lnTo>
                    <a:pt x="1020" y="929"/>
                  </a:lnTo>
                  <a:lnTo>
                    <a:pt x="1019" y="925"/>
                  </a:lnTo>
                  <a:lnTo>
                    <a:pt x="1017" y="925"/>
                  </a:lnTo>
                  <a:lnTo>
                    <a:pt x="1019" y="922"/>
                  </a:lnTo>
                  <a:lnTo>
                    <a:pt x="1022" y="924"/>
                  </a:lnTo>
                  <a:lnTo>
                    <a:pt x="1026" y="924"/>
                  </a:lnTo>
                  <a:lnTo>
                    <a:pt x="1026" y="922"/>
                  </a:lnTo>
                  <a:lnTo>
                    <a:pt x="1026" y="919"/>
                  </a:lnTo>
                  <a:lnTo>
                    <a:pt x="1024" y="919"/>
                  </a:lnTo>
                  <a:lnTo>
                    <a:pt x="1023" y="919"/>
                  </a:lnTo>
                  <a:lnTo>
                    <a:pt x="1019" y="919"/>
                  </a:lnTo>
                  <a:lnTo>
                    <a:pt x="1012" y="919"/>
                  </a:lnTo>
                  <a:lnTo>
                    <a:pt x="1004" y="919"/>
                  </a:lnTo>
                  <a:lnTo>
                    <a:pt x="1001" y="919"/>
                  </a:lnTo>
                  <a:lnTo>
                    <a:pt x="1001" y="916"/>
                  </a:lnTo>
                  <a:lnTo>
                    <a:pt x="1001" y="912"/>
                  </a:lnTo>
                  <a:lnTo>
                    <a:pt x="1006" y="909"/>
                  </a:lnTo>
                  <a:lnTo>
                    <a:pt x="1006" y="903"/>
                  </a:lnTo>
                  <a:lnTo>
                    <a:pt x="1007" y="902"/>
                  </a:lnTo>
                  <a:lnTo>
                    <a:pt x="1006" y="901"/>
                  </a:lnTo>
                  <a:lnTo>
                    <a:pt x="1003" y="902"/>
                  </a:lnTo>
                  <a:lnTo>
                    <a:pt x="1001" y="901"/>
                  </a:lnTo>
                  <a:lnTo>
                    <a:pt x="1003" y="896"/>
                  </a:lnTo>
                  <a:lnTo>
                    <a:pt x="1004" y="893"/>
                  </a:lnTo>
                  <a:lnTo>
                    <a:pt x="1007" y="892"/>
                  </a:lnTo>
                  <a:lnTo>
                    <a:pt x="1009" y="892"/>
                  </a:lnTo>
                  <a:lnTo>
                    <a:pt x="1009" y="889"/>
                  </a:lnTo>
                  <a:lnTo>
                    <a:pt x="1010" y="889"/>
                  </a:lnTo>
                  <a:lnTo>
                    <a:pt x="1012" y="889"/>
                  </a:lnTo>
                  <a:lnTo>
                    <a:pt x="1012" y="892"/>
                  </a:lnTo>
                  <a:lnTo>
                    <a:pt x="1013" y="892"/>
                  </a:lnTo>
                  <a:lnTo>
                    <a:pt x="1014" y="892"/>
                  </a:lnTo>
                  <a:lnTo>
                    <a:pt x="1016" y="889"/>
                  </a:lnTo>
                  <a:lnTo>
                    <a:pt x="1016" y="888"/>
                  </a:lnTo>
                  <a:lnTo>
                    <a:pt x="1017" y="888"/>
                  </a:lnTo>
                  <a:lnTo>
                    <a:pt x="1019" y="889"/>
                  </a:lnTo>
                  <a:lnTo>
                    <a:pt x="1019" y="892"/>
                  </a:lnTo>
                  <a:lnTo>
                    <a:pt x="1016" y="893"/>
                  </a:lnTo>
                  <a:lnTo>
                    <a:pt x="1019" y="893"/>
                  </a:lnTo>
                  <a:lnTo>
                    <a:pt x="1023" y="892"/>
                  </a:lnTo>
                  <a:lnTo>
                    <a:pt x="1023" y="892"/>
                  </a:lnTo>
                  <a:close/>
                  <a:moveTo>
                    <a:pt x="1046" y="863"/>
                  </a:moveTo>
                  <a:lnTo>
                    <a:pt x="1050" y="866"/>
                  </a:lnTo>
                  <a:lnTo>
                    <a:pt x="1059" y="868"/>
                  </a:lnTo>
                  <a:lnTo>
                    <a:pt x="1057" y="871"/>
                  </a:lnTo>
                  <a:lnTo>
                    <a:pt x="1053" y="872"/>
                  </a:lnTo>
                  <a:lnTo>
                    <a:pt x="1046" y="873"/>
                  </a:lnTo>
                  <a:lnTo>
                    <a:pt x="1046" y="875"/>
                  </a:lnTo>
                  <a:lnTo>
                    <a:pt x="1046" y="876"/>
                  </a:lnTo>
                  <a:lnTo>
                    <a:pt x="1047" y="878"/>
                  </a:lnTo>
                  <a:lnTo>
                    <a:pt x="1046" y="879"/>
                  </a:lnTo>
                  <a:lnTo>
                    <a:pt x="1046" y="879"/>
                  </a:lnTo>
                  <a:lnTo>
                    <a:pt x="1046" y="881"/>
                  </a:lnTo>
                  <a:lnTo>
                    <a:pt x="1049" y="881"/>
                  </a:lnTo>
                  <a:lnTo>
                    <a:pt x="1049" y="883"/>
                  </a:lnTo>
                  <a:lnTo>
                    <a:pt x="1049" y="885"/>
                  </a:lnTo>
                  <a:lnTo>
                    <a:pt x="1049" y="886"/>
                  </a:lnTo>
                  <a:lnTo>
                    <a:pt x="1047" y="888"/>
                  </a:lnTo>
                  <a:lnTo>
                    <a:pt x="1044" y="891"/>
                  </a:lnTo>
                  <a:lnTo>
                    <a:pt x="1042" y="889"/>
                  </a:lnTo>
                  <a:lnTo>
                    <a:pt x="1039" y="888"/>
                  </a:lnTo>
                  <a:lnTo>
                    <a:pt x="1037" y="889"/>
                  </a:lnTo>
                  <a:lnTo>
                    <a:pt x="1034" y="891"/>
                  </a:lnTo>
                  <a:lnTo>
                    <a:pt x="1033" y="891"/>
                  </a:lnTo>
                  <a:lnTo>
                    <a:pt x="1029" y="891"/>
                  </a:lnTo>
                  <a:lnTo>
                    <a:pt x="1023" y="891"/>
                  </a:lnTo>
                  <a:lnTo>
                    <a:pt x="1024" y="888"/>
                  </a:lnTo>
                  <a:lnTo>
                    <a:pt x="1024" y="885"/>
                  </a:lnTo>
                  <a:lnTo>
                    <a:pt x="1029" y="885"/>
                  </a:lnTo>
                  <a:lnTo>
                    <a:pt x="1027" y="883"/>
                  </a:lnTo>
                  <a:lnTo>
                    <a:pt x="1029" y="881"/>
                  </a:lnTo>
                  <a:lnTo>
                    <a:pt x="1029" y="879"/>
                  </a:lnTo>
                  <a:lnTo>
                    <a:pt x="1030" y="881"/>
                  </a:lnTo>
                  <a:lnTo>
                    <a:pt x="1030" y="878"/>
                  </a:lnTo>
                  <a:lnTo>
                    <a:pt x="1032" y="875"/>
                  </a:lnTo>
                  <a:lnTo>
                    <a:pt x="1033" y="876"/>
                  </a:lnTo>
                  <a:lnTo>
                    <a:pt x="1034" y="875"/>
                  </a:lnTo>
                  <a:lnTo>
                    <a:pt x="1034" y="873"/>
                  </a:lnTo>
                  <a:lnTo>
                    <a:pt x="1033" y="873"/>
                  </a:lnTo>
                  <a:lnTo>
                    <a:pt x="1030" y="872"/>
                  </a:lnTo>
                  <a:lnTo>
                    <a:pt x="1029" y="871"/>
                  </a:lnTo>
                  <a:lnTo>
                    <a:pt x="1029" y="869"/>
                  </a:lnTo>
                  <a:lnTo>
                    <a:pt x="1030" y="866"/>
                  </a:lnTo>
                  <a:lnTo>
                    <a:pt x="1033" y="865"/>
                  </a:lnTo>
                  <a:lnTo>
                    <a:pt x="1037" y="865"/>
                  </a:lnTo>
                  <a:lnTo>
                    <a:pt x="1042" y="865"/>
                  </a:lnTo>
                  <a:lnTo>
                    <a:pt x="1046" y="863"/>
                  </a:lnTo>
                  <a:lnTo>
                    <a:pt x="1046" y="863"/>
                  </a:lnTo>
                  <a:close/>
                  <a:moveTo>
                    <a:pt x="1023" y="851"/>
                  </a:moveTo>
                  <a:lnTo>
                    <a:pt x="1026" y="852"/>
                  </a:lnTo>
                  <a:lnTo>
                    <a:pt x="1033" y="851"/>
                  </a:lnTo>
                  <a:lnTo>
                    <a:pt x="1036" y="849"/>
                  </a:lnTo>
                  <a:lnTo>
                    <a:pt x="1040" y="849"/>
                  </a:lnTo>
                  <a:lnTo>
                    <a:pt x="1044" y="849"/>
                  </a:lnTo>
                  <a:lnTo>
                    <a:pt x="1047" y="849"/>
                  </a:lnTo>
                  <a:lnTo>
                    <a:pt x="1052" y="851"/>
                  </a:lnTo>
                  <a:lnTo>
                    <a:pt x="1062" y="848"/>
                  </a:lnTo>
                  <a:lnTo>
                    <a:pt x="1067" y="848"/>
                  </a:lnTo>
                  <a:lnTo>
                    <a:pt x="1067" y="848"/>
                  </a:lnTo>
                  <a:lnTo>
                    <a:pt x="1067" y="851"/>
                  </a:lnTo>
                  <a:lnTo>
                    <a:pt x="1062" y="852"/>
                  </a:lnTo>
                  <a:lnTo>
                    <a:pt x="1060" y="853"/>
                  </a:lnTo>
                  <a:lnTo>
                    <a:pt x="1062" y="856"/>
                  </a:lnTo>
                  <a:lnTo>
                    <a:pt x="1060" y="856"/>
                  </a:lnTo>
                  <a:lnTo>
                    <a:pt x="1062" y="859"/>
                  </a:lnTo>
                  <a:lnTo>
                    <a:pt x="1057" y="861"/>
                  </a:lnTo>
                  <a:lnTo>
                    <a:pt x="1050" y="859"/>
                  </a:lnTo>
                  <a:lnTo>
                    <a:pt x="1046" y="859"/>
                  </a:lnTo>
                  <a:lnTo>
                    <a:pt x="1044" y="862"/>
                  </a:lnTo>
                  <a:lnTo>
                    <a:pt x="1040" y="861"/>
                  </a:lnTo>
                  <a:lnTo>
                    <a:pt x="1037" y="862"/>
                  </a:lnTo>
                  <a:lnTo>
                    <a:pt x="1037" y="861"/>
                  </a:lnTo>
                  <a:lnTo>
                    <a:pt x="1036" y="858"/>
                  </a:lnTo>
                  <a:lnTo>
                    <a:pt x="1033" y="858"/>
                  </a:lnTo>
                  <a:lnTo>
                    <a:pt x="1032" y="859"/>
                  </a:lnTo>
                  <a:lnTo>
                    <a:pt x="1030" y="859"/>
                  </a:lnTo>
                  <a:lnTo>
                    <a:pt x="1026" y="861"/>
                  </a:lnTo>
                  <a:lnTo>
                    <a:pt x="1023" y="862"/>
                  </a:lnTo>
                  <a:lnTo>
                    <a:pt x="1019" y="862"/>
                  </a:lnTo>
                  <a:lnTo>
                    <a:pt x="1016" y="862"/>
                  </a:lnTo>
                  <a:lnTo>
                    <a:pt x="1013" y="863"/>
                  </a:lnTo>
                  <a:lnTo>
                    <a:pt x="1012" y="863"/>
                  </a:lnTo>
                  <a:lnTo>
                    <a:pt x="1012" y="861"/>
                  </a:lnTo>
                  <a:lnTo>
                    <a:pt x="1014" y="856"/>
                  </a:lnTo>
                  <a:lnTo>
                    <a:pt x="1017" y="853"/>
                  </a:lnTo>
                  <a:lnTo>
                    <a:pt x="1019" y="853"/>
                  </a:lnTo>
                  <a:lnTo>
                    <a:pt x="1023" y="852"/>
                  </a:lnTo>
                  <a:lnTo>
                    <a:pt x="1023" y="851"/>
                  </a:lnTo>
                  <a:lnTo>
                    <a:pt x="1023" y="851"/>
                  </a:lnTo>
                  <a:close/>
                  <a:moveTo>
                    <a:pt x="1047" y="828"/>
                  </a:moveTo>
                  <a:lnTo>
                    <a:pt x="1046" y="832"/>
                  </a:lnTo>
                  <a:lnTo>
                    <a:pt x="1042" y="836"/>
                  </a:lnTo>
                  <a:lnTo>
                    <a:pt x="1036" y="842"/>
                  </a:lnTo>
                  <a:lnTo>
                    <a:pt x="1032" y="843"/>
                  </a:lnTo>
                  <a:lnTo>
                    <a:pt x="1030" y="846"/>
                  </a:lnTo>
                  <a:lnTo>
                    <a:pt x="1026" y="848"/>
                  </a:lnTo>
                  <a:lnTo>
                    <a:pt x="1023" y="849"/>
                  </a:lnTo>
                  <a:lnTo>
                    <a:pt x="1020" y="849"/>
                  </a:lnTo>
                  <a:lnTo>
                    <a:pt x="1019" y="851"/>
                  </a:lnTo>
                  <a:lnTo>
                    <a:pt x="1017" y="853"/>
                  </a:lnTo>
                  <a:lnTo>
                    <a:pt x="1014" y="853"/>
                  </a:lnTo>
                  <a:lnTo>
                    <a:pt x="1014" y="852"/>
                  </a:lnTo>
                  <a:lnTo>
                    <a:pt x="1017" y="848"/>
                  </a:lnTo>
                  <a:lnTo>
                    <a:pt x="1017" y="845"/>
                  </a:lnTo>
                  <a:lnTo>
                    <a:pt x="1019" y="840"/>
                  </a:lnTo>
                  <a:lnTo>
                    <a:pt x="1022" y="838"/>
                  </a:lnTo>
                  <a:lnTo>
                    <a:pt x="1024" y="835"/>
                  </a:lnTo>
                  <a:lnTo>
                    <a:pt x="1032" y="830"/>
                  </a:lnTo>
                  <a:lnTo>
                    <a:pt x="1033" y="830"/>
                  </a:lnTo>
                  <a:lnTo>
                    <a:pt x="1037" y="830"/>
                  </a:lnTo>
                  <a:lnTo>
                    <a:pt x="1043" y="829"/>
                  </a:lnTo>
                  <a:lnTo>
                    <a:pt x="1047" y="828"/>
                  </a:lnTo>
                  <a:lnTo>
                    <a:pt x="1047" y="828"/>
                  </a:lnTo>
                  <a:close/>
                  <a:moveTo>
                    <a:pt x="1046" y="818"/>
                  </a:moveTo>
                  <a:lnTo>
                    <a:pt x="1047" y="815"/>
                  </a:lnTo>
                  <a:lnTo>
                    <a:pt x="1049" y="816"/>
                  </a:lnTo>
                  <a:lnTo>
                    <a:pt x="1049" y="818"/>
                  </a:lnTo>
                  <a:lnTo>
                    <a:pt x="1049" y="820"/>
                  </a:lnTo>
                  <a:lnTo>
                    <a:pt x="1049" y="822"/>
                  </a:lnTo>
                  <a:lnTo>
                    <a:pt x="1052" y="822"/>
                  </a:lnTo>
                  <a:lnTo>
                    <a:pt x="1052" y="823"/>
                  </a:lnTo>
                  <a:lnTo>
                    <a:pt x="1049" y="825"/>
                  </a:lnTo>
                  <a:lnTo>
                    <a:pt x="1046" y="826"/>
                  </a:lnTo>
                  <a:lnTo>
                    <a:pt x="1040" y="828"/>
                  </a:lnTo>
                  <a:lnTo>
                    <a:pt x="1034" y="829"/>
                  </a:lnTo>
                  <a:lnTo>
                    <a:pt x="1033" y="829"/>
                  </a:lnTo>
                  <a:lnTo>
                    <a:pt x="1036" y="826"/>
                  </a:lnTo>
                  <a:lnTo>
                    <a:pt x="1040" y="825"/>
                  </a:lnTo>
                  <a:lnTo>
                    <a:pt x="1043" y="823"/>
                  </a:lnTo>
                  <a:lnTo>
                    <a:pt x="1046" y="818"/>
                  </a:lnTo>
                  <a:lnTo>
                    <a:pt x="1046" y="818"/>
                  </a:lnTo>
                  <a:close/>
                  <a:moveTo>
                    <a:pt x="1030" y="813"/>
                  </a:moveTo>
                  <a:lnTo>
                    <a:pt x="1033" y="813"/>
                  </a:lnTo>
                  <a:lnTo>
                    <a:pt x="1039" y="815"/>
                  </a:lnTo>
                  <a:lnTo>
                    <a:pt x="1042" y="816"/>
                  </a:lnTo>
                  <a:lnTo>
                    <a:pt x="1043" y="816"/>
                  </a:lnTo>
                  <a:lnTo>
                    <a:pt x="1040" y="818"/>
                  </a:lnTo>
                  <a:lnTo>
                    <a:pt x="1040" y="820"/>
                  </a:lnTo>
                  <a:lnTo>
                    <a:pt x="1037" y="822"/>
                  </a:lnTo>
                  <a:lnTo>
                    <a:pt x="1034" y="823"/>
                  </a:lnTo>
                  <a:lnTo>
                    <a:pt x="1030" y="825"/>
                  </a:lnTo>
                  <a:lnTo>
                    <a:pt x="1029" y="828"/>
                  </a:lnTo>
                  <a:lnTo>
                    <a:pt x="1027" y="829"/>
                  </a:lnTo>
                  <a:lnTo>
                    <a:pt x="1027" y="826"/>
                  </a:lnTo>
                  <a:lnTo>
                    <a:pt x="1027" y="822"/>
                  </a:lnTo>
                  <a:lnTo>
                    <a:pt x="1030" y="813"/>
                  </a:lnTo>
                  <a:lnTo>
                    <a:pt x="1030" y="813"/>
                  </a:lnTo>
                  <a:close/>
                  <a:moveTo>
                    <a:pt x="1014" y="796"/>
                  </a:moveTo>
                  <a:lnTo>
                    <a:pt x="1016" y="789"/>
                  </a:lnTo>
                  <a:lnTo>
                    <a:pt x="1016" y="787"/>
                  </a:lnTo>
                  <a:lnTo>
                    <a:pt x="1020" y="786"/>
                  </a:lnTo>
                  <a:lnTo>
                    <a:pt x="1024" y="787"/>
                  </a:lnTo>
                  <a:lnTo>
                    <a:pt x="1026" y="790"/>
                  </a:lnTo>
                  <a:lnTo>
                    <a:pt x="1027" y="792"/>
                  </a:lnTo>
                  <a:lnTo>
                    <a:pt x="1027" y="795"/>
                  </a:lnTo>
                  <a:lnTo>
                    <a:pt x="1027" y="798"/>
                  </a:lnTo>
                  <a:lnTo>
                    <a:pt x="1027" y="802"/>
                  </a:lnTo>
                  <a:lnTo>
                    <a:pt x="1026" y="805"/>
                  </a:lnTo>
                  <a:lnTo>
                    <a:pt x="1027" y="808"/>
                  </a:lnTo>
                  <a:lnTo>
                    <a:pt x="1024" y="812"/>
                  </a:lnTo>
                  <a:lnTo>
                    <a:pt x="1023" y="815"/>
                  </a:lnTo>
                  <a:lnTo>
                    <a:pt x="1020" y="819"/>
                  </a:lnTo>
                  <a:lnTo>
                    <a:pt x="1016" y="825"/>
                  </a:lnTo>
                  <a:lnTo>
                    <a:pt x="1013" y="830"/>
                  </a:lnTo>
                  <a:lnTo>
                    <a:pt x="1009" y="832"/>
                  </a:lnTo>
                  <a:lnTo>
                    <a:pt x="1003" y="832"/>
                  </a:lnTo>
                  <a:lnTo>
                    <a:pt x="999" y="836"/>
                  </a:lnTo>
                  <a:lnTo>
                    <a:pt x="996" y="838"/>
                  </a:lnTo>
                  <a:lnTo>
                    <a:pt x="997" y="835"/>
                  </a:lnTo>
                  <a:lnTo>
                    <a:pt x="1003" y="830"/>
                  </a:lnTo>
                  <a:lnTo>
                    <a:pt x="1007" y="828"/>
                  </a:lnTo>
                  <a:lnTo>
                    <a:pt x="1013" y="820"/>
                  </a:lnTo>
                  <a:lnTo>
                    <a:pt x="1013" y="816"/>
                  </a:lnTo>
                  <a:lnTo>
                    <a:pt x="1014" y="810"/>
                  </a:lnTo>
                  <a:lnTo>
                    <a:pt x="1014" y="805"/>
                  </a:lnTo>
                  <a:lnTo>
                    <a:pt x="1014" y="799"/>
                  </a:lnTo>
                  <a:lnTo>
                    <a:pt x="1014" y="796"/>
                  </a:lnTo>
                  <a:lnTo>
                    <a:pt x="1014" y="79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63" name="Freeform 211"/>
            <p:cNvSpPr>
              <a:spLocks noEditPoints="1"/>
            </p:cNvSpPr>
            <p:nvPr/>
          </p:nvSpPr>
          <p:spPr bwMode="auto">
            <a:xfrm>
              <a:off x="7473425" y="1630620"/>
              <a:ext cx="967145" cy="1258082"/>
            </a:xfrm>
            <a:custGeom>
              <a:avLst/>
              <a:gdLst>
                <a:gd name="T0" fmla="*/ 686 w 1584"/>
                <a:gd name="T1" fmla="*/ 1803 h 1904"/>
                <a:gd name="T2" fmla="*/ 759 w 1584"/>
                <a:gd name="T3" fmla="*/ 1662 h 1904"/>
                <a:gd name="T4" fmla="*/ 944 w 1584"/>
                <a:gd name="T5" fmla="*/ 1491 h 1904"/>
                <a:gd name="T6" fmla="*/ 1196 w 1584"/>
                <a:gd name="T7" fmla="*/ 1546 h 1904"/>
                <a:gd name="T8" fmla="*/ 1335 w 1584"/>
                <a:gd name="T9" fmla="*/ 1417 h 1904"/>
                <a:gd name="T10" fmla="*/ 1477 w 1584"/>
                <a:gd name="T11" fmla="*/ 1285 h 1904"/>
                <a:gd name="T12" fmla="*/ 1497 w 1584"/>
                <a:gd name="T13" fmla="*/ 1142 h 1904"/>
                <a:gd name="T14" fmla="*/ 1485 w 1584"/>
                <a:gd name="T15" fmla="*/ 1057 h 1904"/>
                <a:gd name="T16" fmla="*/ 1465 w 1584"/>
                <a:gd name="T17" fmla="*/ 1047 h 1904"/>
                <a:gd name="T18" fmla="*/ 1498 w 1584"/>
                <a:gd name="T19" fmla="*/ 1026 h 1904"/>
                <a:gd name="T20" fmla="*/ 1544 w 1584"/>
                <a:gd name="T21" fmla="*/ 921 h 1904"/>
                <a:gd name="T22" fmla="*/ 1484 w 1584"/>
                <a:gd name="T23" fmla="*/ 885 h 1904"/>
                <a:gd name="T24" fmla="*/ 1427 w 1584"/>
                <a:gd name="T25" fmla="*/ 884 h 1904"/>
                <a:gd name="T26" fmla="*/ 1385 w 1584"/>
                <a:gd name="T27" fmla="*/ 894 h 1904"/>
                <a:gd name="T28" fmla="*/ 1362 w 1584"/>
                <a:gd name="T29" fmla="*/ 887 h 1904"/>
                <a:gd name="T30" fmla="*/ 1259 w 1584"/>
                <a:gd name="T31" fmla="*/ 865 h 1904"/>
                <a:gd name="T32" fmla="*/ 1159 w 1584"/>
                <a:gd name="T33" fmla="*/ 957 h 1904"/>
                <a:gd name="T34" fmla="*/ 1149 w 1584"/>
                <a:gd name="T35" fmla="*/ 927 h 1904"/>
                <a:gd name="T36" fmla="*/ 1133 w 1584"/>
                <a:gd name="T37" fmla="*/ 887 h 1904"/>
                <a:gd name="T38" fmla="*/ 1219 w 1584"/>
                <a:gd name="T39" fmla="*/ 829 h 1904"/>
                <a:gd name="T40" fmla="*/ 1120 w 1584"/>
                <a:gd name="T41" fmla="*/ 643 h 1904"/>
                <a:gd name="T42" fmla="*/ 1031 w 1584"/>
                <a:gd name="T43" fmla="*/ 629 h 1904"/>
                <a:gd name="T44" fmla="*/ 1034 w 1584"/>
                <a:gd name="T45" fmla="*/ 569 h 1904"/>
                <a:gd name="T46" fmla="*/ 1111 w 1584"/>
                <a:gd name="T47" fmla="*/ 587 h 1904"/>
                <a:gd name="T48" fmla="*/ 1215 w 1584"/>
                <a:gd name="T49" fmla="*/ 446 h 1904"/>
                <a:gd name="T50" fmla="*/ 1322 w 1584"/>
                <a:gd name="T51" fmla="*/ 426 h 1904"/>
                <a:gd name="T52" fmla="*/ 1437 w 1584"/>
                <a:gd name="T53" fmla="*/ 334 h 1904"/>
                <a:gd name="T54" fmla="*/ 1424 w 1584"/>
                <a:gd name="T55" fmla="*/ 267 h 1904"/>
                <a:gd name="T56" fmla="*/ 1374 w 1584"/>
                <a:gd name="T57" fmla="*/ 274 h 1904"/>
                <a:gd name="T58" fmla="*/ 1308 w 1584"/>
                <a:gd name="T59" fmla="*/ 218 h 1904"/>
                <a:gd name="T60" fmla="*/ 1239 w 1584"/>
                <a:gd name="T61" fmla="*/ 215 h 1904"/>
                <a:gd name="T62" fmla="*/ 1280 w 1584"/>
                <a:gd name="T63" fmla="*/ 152 h 1904"/>
                <a:gd name="T64" fmla="*/ 1279 w 1584"/>
                <a:gd name="T65" fmla="*/ 73 h 1904"/>
                <a:gd name="T66" fmla="*/ 1197 w 1584"/>
                <a:gd name="T67" fmla="*/ 36 h 1904"/>
                <a:gd name="T68" fmla="*/ 1070 w 1584"/>
                <a:gd name="T69" fmla="*/ 98 h 1904"/>
                <a:gd name="T70" fmla="*/ 1013 w 1584"/>
                <a:gd name="T71" fmla="*/ 178 h 1904"/>
                <a:gd name="T72" fmla="*/ 1046 w 1584"/>
                <a:gd name="T73" fmla="*/ 196 h 1904"/>
                <a:gd name="T74" fmla="*/ 991 w 1584"/>
                <a:gd name="T75" fmla="*/ 244 h 1904"/>
                <a:gd name="T76" fmla="*/ 1069 w 1584"/>
                <a:gd name="T77" fmla="*/ 277 h 1904"/>
                <a:gd name="T78" fmla="*/ 1090 w 1584"/>
                <a:gd name="T79" fmla="*/ 265 h 1904"/>
                <a:gd name="T80" fmla="*/ 1051 w 1584"/>
                <a:gd name="T81" fmla="*/ 311 h 1904"/>
                <a:gd name="T82" fmla="*/ 938 w 1584"/>
                <a:gd name="T83" fmla="*/ 272 h 1904"/>
                <a:gd name="T84" fmla="*/ 877 w 1584"/>
                <a:gd name="T85" fmla="*/ 288 h 1904"/>
                <a:gd name="T86" fmla="*/ 879 w 1584"/>
                <a:gd name="T87" fmla="*/ 325 h 1904"/>
                <a:gd name="T88" fmla="*/ 766 w 1584"/>
                <a:gd name="T89" fmla="*/ 377 h 1904"/>
                <a:gd name="T90" fmla="*/ 741 w 1584"/>
                <a:gd name="T91" fmla="*/ 398 h 1904"/>
                <a:gd name="T92" fmla="*/ 640 w 1584"/>
                <a:gd name="T93" fmla="*/ 440 h 1904"/>
                <a:gd name="T94" fmla="*/ 579 w 1584"/>
                <a:gd name="T95" fmla="*/ 494 h 1904"/>
                <a:gd name="T96" fmla="*/ 372 w 1584"/>
                <a:gd name="T97" fmla="*/ 640 h 1904"/>
                <a:gd name="T98" fmla="*/ 305 w 1584"/>
                <a:gd name="T99" fmla="*/ 766 h 1904"/>
                <a:gd name="T100" fmla="*/ 275 w 1584"/>
                <a:gd name="T101" fmla="*/ 809 h 1904"/>
                <a:gd name="T102" fmla="*/ 239 w 1584"/>
                <a:gd name="T103" fmla="*/ 955 h 1904"/>
                <a:gd name="T104" fmla="*/ 378 w 1584"/>
                <a:gd name="T105" fmla="*/ 1001 h 1904"/>
                <a:gd name="T106" fmla="*/ 222 w 1584"/>
                <a:gd name="T107" fmla="*/ 1082 h 1904"/>
                <a:gd name="T108" fmla="*/ 123 w 1584"/>
                <a:gd name="T109" fmla="*/ 1196 h 1904"/>
                <a:gd name="T110" fmla="*/ 46 w 1584"/>
                <a:gd name="T111" fmla="*/ 1359 h 1904"/>
                <a:gd name="T112" fmla="*/ 133 w 1584"/>
                <a:gd name="T113" fmla="*/ 1518 h 1904"/>
                <a:gd name="T114" fmla="*/ 102 w 1584"/>
                <a:gd name="T115" fmla="*/ 1766 h 1904"/>
                <a:gd name="T116" fmla="*/ 354 w 1584"/>
                <a:gd name="T117" fmla="*/ 1865 h 1904"/>
                <a:gd name="T118" fmla="*/ 1378 w 1584"/>
                <a:gd name="T119" fmla="*/ 224 h 1904"/>
                <a:gd name="T120" fmla="*/ 239 w 1584"/>
                <a:gd name="T121" fmla="*/ 970 h 1904"/>
                <a:gd name="T122" fmla="*/ 193 w 1584"/>
                <a:gd name="T123" fmla="*/ 983 h 1904"/>
                <a:gd name="T124" fmla="*/ 155 w 1584"/>
                <a:gd name="T125" fmla="*/ 1010 h 1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84" h="1904">
                  <a:moveTo>
                    <a:pt x="437" y="1879"/>
                  </a:moveTo>
                  <a:lnTo>
                    <a:pt x="447" y="1876"/>
                  </a:lnTo>
                  <a:lnTo>
                    <a:pt x="453" y="1878"/>
                  </a:lnTo>
                  <a:lnTo>
                    <a:pt x="457" y="1871"/>
                  </a:lnTo>
                  <a:lnTo>
                    <a:pt x="461" y="1868"/>
                  </a:lnTo>
                  <a:lnTo>
                    <a:pt x="468" y="1868"/>
                  </a:lnTo>
                  <a:lnTo>
                    <a:pt x="473" y="1865"/>
                  </a:lnTo>
                  <a:lnTo>
                    <a:pt x="478" y="1868"/>
                  </a:lnTo>
                  <a:lnTo>
                    <a:pt x="484" y="1868"/>
                  </a:lnTo>
                  <a:lnTo>
                    <a:pt x="488" y="1872"/>
                  </a:lnTo>
                  <a:lnTo>
                    <a:pt x="493" y="1875"/>
                  </a:lnTo>
                  <a:lnTo>
                    <a:pt x="498" y="1875"/>
                  </a:lnTo>
                  <a:lnTo>
                    <a:pt x="501" y="1875"/>
                  </a:lnTo>
                  <a:lnTo>
                    <a:pt x="504" y="1874"/>
                  </a:lnTo>
                  <a:lnTo>
                    <a:pt x="509" y="1872"/>
                  </a:lnTo>
                  <a:lnTo>
                    <a:pt x="509" y="1872"/>
                  </a:lnTo>
                  <a:lnTo>
                    <a:pt x="514" y="1872"/>
                  </a:lnTo>
                  <a:lnTo>
                    <a:pt x="514" y="1872"/>
                  </a:lnTo>
                  <a:lnTo>
                    <a:pt x="524" y="1872"/>
                  </a:lnTo>
                  <a:lnTo>
                    <a:pt x="531" y="1871"/>
                  </a:lnTo>
                  <a:lnTo>
                    <a:pt x="537" y="1868"/>
                  </a:lnTo>
                  <a:lnTo>
                    <a:pt x="541" y="1864"/>
                  </a:lnTo>
                  <a:lnTo>
                    <a:pt x="550" y="1852"/>
                  </a:lnTo>
                  <a:lnTo>
                    <a:pt x="556" y="1846"/>
                  </a:lnTo>
                  <a:lnTo>
                    <a:pt x="562" y="1841"/>
                  </a:lnTo>
                  <a:lnTo>
                    <a:pt x="562" y="1841"/>
                  </a:lnTo>
                  <a:lnTo>
                    <a:pt x="567" y="1835"/>
                  </a:lnTo>
                  <a:lnTo>
                    <a:pt x="574" y="1832"/>
                  </a:lnTo>
                  <a:lnTo>
                    <a:pt x="579" y="1831"/>
                  </a:lnTo>
                  <a:lnTo>
                    <a:pt x="584" y="1829"/>
                  </a:lnTo>
                  <a:lnTo>
                    <a:pt x="597" y="1829"/>
                  </a:lnTo>
                  <a:lnTo>
                    <a:pt x="613" y="1831"/>
                  </a:lnTo>
                  <a:lnTo>
                    <a:pt x="613" y="1831"/>
                  </a:lnTo>
                  <a:lnTo>
                    <a:pt x="625" y="1831"/>
                  </a:lnTo>
                  <a:lnTo>
                    <a:pt x="632" y="1831"/>
                  </a:lnTo>
                  <a:lnTo>
                    <a:pt x="637" y="1828"/>
                  </a:lnTo>
                  <a:lnTo>
                    <a:pt x="647" y="1821"/>
                  </a:lnTo>
                  <a:lnTo>
                    <a:pt x="647" y="1821"/>
                  </a:lnTo>
                  <a:lnTo>
                    <a:pt x="665" y="1808"/>
                  </a:lnTo>
                  <a:lnTo>
                    <a:pt x="669" y="1806"/>
                  </a:lnTo>
                  <a:lnTo>
                    <a:pt x="673" y="1803"/>
                  </a:lnTo>
                  <a:lnTo>
                    <a:pt x="686" y="1803"/>
                  </a:lnTo>
                  <a:lnTo>
                    <a:pt x="686" y="1803"/>
                  </a:lnTo>
                  <a:lnTo>
                    <a:pt x="689" y="1802"/>
                  </a:lnTo>
                  <a:lnTo>
                    <a:pt x="692" y="1800"/>
                  </a:lnTo>
                  <a:lnTo>
                    <a:pt x="693" y="1796"/>
                  </a:lnTo>
                  <a:lnTo>
                    <a:pt x="695" y="1790"/>
                  </a:lnTo>
                  <a:lnTo>
                    <a:pt x="695" y="1785"/>
                  </a:lnTo>
                  <a:lnTo>
                    <a:pt x="695" y="1785"/>
                  </a:lnTo>
                  <a:lnTo>
                    <a:pt x="695" y="1780"/>
                  </a:lnTo>
                  <a:lnTo>
                    <a:pt x="693" y="1779"/>
                  </a:lnTo>
                  <a:lnTo>
                    <a:pt x="690" y="1776"/>
                  </a:lnTo>
                  <a:lnTo>
                    <a:pt x="686" y="1773"/>
                  </a:lnTo>
                  <a:lnTo>
                    <a:pt x="685" y="1772"/>
                  </a:lnTo>
                  <a:lnTo>
                    <a:pt x="683" y="1769"/>
                  </a:lnTo>
                  <a:lnTo>
                    <a:pt x="682" y="1768"/>
                  </a:lnTo>
                  <a:lnTo>
                    <a:pt x="680" y="1768"/>
                  </a:lnTo>
                  <a:lnTo>
                    <a:pt x="679" y="1765"/>
                  </a:lnTo>
                  <a:lnTo>
                    <a:pt x="679" y="1760"/>
                  </a:lnTo>
                  <a:lnTo>
                    <a:pt x="686" y="1756"/>
                  </a:lnTo>
                  <a:lnTo>
                    <a:pt x="689" y="1755"/>
                  </a:lnTo>
                  <a:lnTo>
                    <a:pt x="689" y="1748"/>
                  </a:lnTo>
                  <a:lnTo>
                    <a:pt x="686" y="1739"/>
                  </a:lnTo>
                  <a:lnTo>
                    <a:pt x="686" y="1733"/>
                  </a:lnTo>
                  <a:lnTo>
                    <a:pt x="686" y="1725"/>
                  </a:lnTo>
                  <a:lnTo>
                    <a:pt x="689" y="1720"/>
                  </a:lnTo>
                  <a:lnTo>
                    <a:pt x="702" y="1720"/>
                  </a:lnTo>
                  <a:lnTo>
                    <a:pt x="705" y="1717"/>
                  </a:lnTo>
                  <a:lnTo>
                    <a:pt x="708" y="1710"/>
                  </a:lnTo>
                  <a:lnTo>
                    <a:pt x="708" y="1700"/>
                  </a:lnTo>
                  <a:lnTo>
                    <a:pt x="709" y="1692"/>
                  </a:lnTo>
                  <a:lnTo>
                    <a:pt x="716" y="1683"/>
                  </a:lnTo>
                  <a:lnTo>
                    <a:pt x="719" y="1682"/>
                  </a:lnTo>
                  <a:lnTo>
                    <a:pt x="723" y="1682"/>
                  </a:lnTo>
                  <a:lnTo>
                    <a:pt x="731" y="1682"/>
                  </a:lnTo>
                  <a:lnTo>
                    <a:pt x="741" y="1677"/>
                  </a:lnTo>
                  <a:lnTo>
                    <a:pt x="746" y="1673"/>
                  </a:lnTo>
                  <a:lnTo>
                    <a:pt x="751" y="1670"/>
                  </a:lnTo>
                  <a:lnTo>
                    <a:pt x="755" y="1672"/>
                  </a:lnTo>
                  <a:lnTo>
                    <a:pt x="759" y="1673"/>
                  </a:lnTo>
                  <a:lnTo>
                    <a:pt x="768" y="1673"/>
                  </a:lnTo>
                  <a:lnTo>
                    <a:pt x="768" y="1667"/>
                  </a:lnTo>
                  <a:lnTo>
                    <a:pt x="765" y="1663"/>
                  </a:lnTo>
                  <a:lnTo>
                    <a:pt x="759" y="1662"/>
                  </a:lnTo>
                  <a:lnTo>
                    <a:pt x="749" y="1656"/>
                  </a:lnTo>
                  <a:lnTo>
                    <a:pt x="748" y="1649"/>
                  </a:lnTo>
                  <a:lnTo>
                    <a:pt x="751" y="1644"/>
                  </a:lnTo>
                  <a:lnTo>
                    <a:pt x="753" y="1646"/>
                  </a:lnTo>
                  <a:lnTo>
                    <a:pt x="758" y="1649"/>
                  </a:lnTo>
                  <a:lnTo>
                    <a:pt x="762" y="1647"/>
                  </a:lnTo>
                  <a:lnTo>
                    <a:pt x="772" y="1642"/>
                  </a:lnTo>
                  <a:lnTo>
                    <a:pt x="783" y="1621"/>
                  </a:lnTo>
                  <a:lnTo>
                    <a:pt x="794" y="1623"/>
                  </a:lnTo>
                  <a:lnTo>
                    <a:pt x="804" y="1620"/>
                  </a:lnTo>
                  <a:lnTo>
                    <a:pt x="808" y="1621"/>
                  </a:lnTo>
                  <a:lnTo>
                    <a:pt x="808" y="1629"/>
                  </a:lnTo>
                  <a:lnTo>
                    <a:pt x="809" y="1633"/>
                  </a:lnTo>
                  <a:lnTo>
                    <a:pt x="812" y="1633"/>
                  </a:lnTo>
                  <a:lnTo>
                    <a:pt x="818" y="1627"/>
                  </a:lnTo>
                  <a:lnTo>
                    <a:pt x="821" y="1623"/>
                  </a:lnTo>
                  <a:lnTo>
                    <a:pt x="821" y="1617"/>
                  </a:lnTo>
                  <a:lnTo>
                    <a:pt x="821" y="1611"/>
                  </a:lnTo>
                  <a:lnTo>
                    <a:pt x="821" y="1609"/>
                  </a:lnTo>
                  <a:lnTo>
                    <a:pt x="826" y="1607"/>
                  </a:lnTo>
                  <a:lnTo>
                    <a:pt x="839" y="1593"/>
                  </a:lnTo>
                  <a:lnTo>
                    <a:pt x="849" y="1586"/>
                  </a:lnTo>
                  <a:lnTo>
                    <a:pt x="854" y="1579"/>
                  </a:lnTo>
                  <a:lnTo>
                    <a:pt x="859" y="1570"/>
                  </a:lnTo>
                  <a:lnTo>
                    <a:pt x="867" y="1561"/>
                  </a:lnTo>
                  <a:lnTo>
                    <a:pt x="865" y="1556"/>
                  </a:lnTo>
                  <a:lnTo>
                    <a:pt x="862" y="1547"/>
                  </a:lnTo>
                  <a:lnTo>
                    <a:pt x="858" y="1546"/>
                  </a:lnTo>
                  <a:lnTo>
                    <a:pt x="859" y="1543"/>
                  </a:lnTo>
                  <a:lnTo>
                    <a:pt x="864" y="1543"/>
                  </a:lnTo>
                  <a:lnTo>
                    <a:pt x="869" y="1540"/>
                  </a:lnTo>
                  <a:lnTo>
                    <a:pt x="882" y="1543"/>
                  </a:lnTo>
                  <a:lnTo>
                    <a:pt x="888" y="1541"/>
                  </a:lnTo>
                  <a:lnTo>
                    <a:pt x="895" y="1538"/>
                  </a:lnTo>
                  <a:lnTo>
                    <a:pt x="902" y="1536"/>
                  </a:lnTo>
                  <a:lnTo>
                    <a:pt x="914" y="1536"/>
                  </a:lnTo>
                  <a:lnTo>
                    <a:pt x="921" y="1530"/>
                  </a:lnTo>
                  <a:lnTo>
                    <a:pt x="932" y="1523"/>
                  </a:lnTo>
                  <a:lnTo>
                    <a:pt x="937" y="1510"/>
                  </a:lnTo>
                  <a:lnTo>
                    <a:pt x="938" y="1501"/>
                  </a:lnTo>
                  <a:lnTo>
                    <a:pt x="945" y="1498"/>
                  </a:lnTo>
                  <a:lnTo>
                    <a:pt x="944" y="1491"/>
                  </a:lnTo>
                  <a:lnTo>
                    <a:pt x="950" y="1487"/>
                  </a:lnTo>
                  <a:lnTo>
                    <a:pt x="954" y="1487"/>
                  </a:lnTo>
                  <a:lnTo>
                    <a:pt x="970" y="1487"/>
                  </a:lnTo>
                  <a:lnTo>
                    <a:pt x="975" y="1485"/>
                  </a:lnTo>
                  <a:lnTo>
                    <a:pt x="983" y="1484"/>
                  </a:lnTo>
                  <a:lnTo>
                    <a:pt x="991" y="1485"/>
                  </a:lnTo>
                  <a:lnTo>
                    <a:pt x="1004" y="1485"/>
                  </a:lnTo>
                  <a:lnTo>
                    <a:pt x="1014" y="1487"/>
                  </a:lnTo>
                  <a:lnTo>
                    <a:pt x="1020" y="1485"/>
                  </a:lnTo>
                  <a:lnTo>
                    <a:pt x="1034" y="1467"/>
                  </a:lnTo>
                  <a:lnTo>
                    <a:pt x="1046" y="1470"/>
                  </a:lnTo>
                  <a:lnTo>
                    <a:pt x="1048" y="1464"/>
                  </a:lnTo>
                  <a:lnTo>
                    <a:pt x="1053" y="1462"/>
                  </a:lnTo>
                  <a:lnTo>
                    <a:pt x="1063" y="1462"/>
                  </a:lnTo>
                  <a:lnTo>
                    <a:pt x="1074" y="1471"/>
                  </a:lnTo>
                  <a:lnTo>
                    <a:pt x="1084" y="1475"/>
                  </a:lnTo>
                  <a:lnTo>
                    <a:pt x="1086" y="1480"/>
                  </a:lnTo>
                  <a:lnTo>
                    <a:pt x="1090" y="1484"/>
                  </a:lnTo>
                  <a:lnTo>
                    <a:pt x="1093" y="1488"/>
                  </a:lnTo>
                  <a:lnTo>
                    <a:pt x="1093" y="1493"/>
                  </a:lnTo>
                  <a:lnTo>
                    <a:pt x="1091" y="1504"/>
                  </a:lnTo>
                  <a:lnTo>
                    <a:pt x="1093" y="1511"/>
                  </a:lnTo>
                  <a:lnTo>
                    <a:pt x="1096" y="1521"/>
                  </a:lnTo>
                  <a:lnTo>
                    <a:pt x="1097" y="1530"/>
                  </a:lnTo>
                  <a:lnTo>
                    <a:pt x="1097" y="1538"/>
                  </a:lnTo>
                  <a:lnTo>
                    <a:pt x="1100" y="1544"/>
                  </a:lnTo>
                  <a:lnTo>
                    <a:pt x="1104" y="1550"/>
                  </a:lnTo>
                  <a:lnTo>
                    <a:pt x="1104" y="1560"/>
                  </a:lnTo>
                  <a:lnTo>
                    <a:pt x="1114" y="1580"/>
                  </a:lnTo>
                  <a:lnTo>
                    <a:pt x="1121" y="1596"/>
                  </a:lnTo>
                  <a:lnTo>
                    <a:pt x="1126" y="1596"/>
                  </a:lnTo>
                  <a:lnTo>
                    <a:pt x="1127" y="1594"/>
                  </a:lnTo>
                  <a:lnTo>
                    <a:pt x="1132" y="1593"/>
                  </a:lnTo>
                  <a:lnTo>
                    <a:pt x="1134" y="1584"/>
                  </a:lnTo>
                  <a:lnTo>
                    <a:pt x="1140" y="1583"/>
                  </a:lnTo>
                  <a:lnTo>
                    <a:pt x="1146" y="1580"/>
                  </a:lnTo>
                  <a:lnTo>
                    <a:pt x="1153" y="1574"/>
                  </a:lnTo>
                  <a:lnTo>
                    <a:pt x="1157" y="1567"/>
                  </a:lnTo>
                  <a:lnTo>
                    <a:pt x="1159" y="1560"/>
                  </a:lnTo>
                  <a:lnTo>
                    <a:pt x="1169" y="1557"/>
                  </a:lnTo>
                  <a:lnTo>
                    <a:pt x="1180" y="1553"/>
                  </a:lnTo>
                  <a:lnTo>
                    <a:pt x="1196" y="1546"/>
                  </a:lnTo>
                  <a:lnTo>
                    <a:pt x="1207" y="1548"/>
                  </a:lnTo>
                  <a:lnTo>
                    <a:pt x="1215" y="1543"/>
                  </a:lnTo>
                  <a:lnTo>
                    <a:pt x="1220" y="1540"/>
                  </a:lnTo>
                  <a:lnTo>
                    <a:pt x="1232" y="1540"/>
                  </a:lnTo>
                  <a:lnTo>
                    <a:pt x="1236" y="1526"/>
                  </a:lnTo>
                  <a:lnTo>
                    <a:pt x="1237" y="1523"/>
                  </a:lnTo>
                  <a:lnTo>
                    <a:pt x="1243" y="1527"/>
                  </a:lnTo>
                  <a:lnTo>
                    <a:pt x="1250" y="1540"/>
                  </a:lnTo>
                  <a:lnTo>
                    <a:pt x="1252" y="1538"/>
                  </a:lnTo>
                  <a:lnTo>
                    <a:pt x="1256" y="1534"/>
                  </a:lnTo>
                  <a:lnTo>
                    <a:pt x="1260" y="1534"/>
                  </a:lnTo>
                  <a:lnTo>
                    <a:pt x="1266" y="1537"/>
                  </a:lnTo>
                  <a:lnTo>
                    <a:pt x="1270" y="1538"/>
                  </a:lnTo>
                  <a:lnTo>
                    <a:pt x="1279" y="1537"/>
                  </a:lnTo>
                  <a:lnTo>
                    <a:pt x="1286" y="1538"/>
                  </a:lnTo>
                  <a:lnTo>
                    <a:pt x="1292" y="1543"/>
                  </a:lnTo>
                  <a:lnTo>
                    <a:pt x="1298" y="1540"/>
                  </a:lnTo>
                  <a:lnTo>
                    <a:pt x="1299" y="1536"/>
                  </a:lnTo>
                  <a:lnTo>
                    <a:pt x="1298" y="1527"/>
                  </a:lnTo>
                  <a:lnTo>
                    <a:pt x="1311" y="1513"/>
                  </a:lnTo>
                  <a:lnTo>
                    <a:pt x="1322" y="1504"/>
                  </a:lnTo>
                  <a:lnTo>
                    <a:pt x="1321" y="1498"/>
                  </a:lnTo>
                  <a:lnTo>
                    <a:pt x="1323" y="1487"/>
                  </a:lnTo>
                  <a:lnTo>
                    <a:pt x="1321" y="1480"/>
                  </a:lnTo>
                  <a:lnTo>
                    <a:pt x="1315" y="1471"/>
                  </a:lnTo>
                  <a:lnTo>
                    <a:pt x="1318" y="1467"/>
                  </a:lnTo>
                  <a:lnTo>
                    <a:pt x="1322" y="1471"/>
                  </a:lnTo>
                  <a:lnTo>
                    <a:pt x="1328" y="1475"/>
                  </a:lnTo>
                  <a:lnTo>
                    <a:pt x="1329" y="1473"/>
                  </a:lnTo>
                  <a:lnTo>
                    <a:pt x="1325" y="1468"/>
                  </a:lnTo>
                  <a:lnTo>
                    <a:pt x="1326" y="1461"/>
                  </a:lnTo>
                  <a:lnTo>
                    <a:pt x="1328" y="1462"/>
                  </a:lnTo>
                  <a:lnTo>
                    <a:pt x="1331" y="1465"/>
                  </a:lnTo>
                  <a:lnTo>
                    <a:pt x="1333" y="1465"/>
                  </a:lnTo>
                  <a:lnTo>
                    <a:pt x="1338" y="1460"/>
                  </a:lnTo>
                  <a:lnTo>
                    <a:pt x="1341" y="1451"/>
                  </a:lnTo>
                  <a:lnTo>
                    <a:pt x="1341" y="1444"/>
                  </a:lnTo>
                  <a:lnTo>
                    <a:pt x="1338" y="1440"/>
                  </a:lnTo>
                  <a:lnTo>
                    <a:pt x="1342" y="1431"/>
                  </a:lnTo>
                  <a:lnTo>
                    <a:pt x="1342" y="1428"/>
                  </a:lnTo>
                  <a:lnTo>
                    <a:pt x="1338" y="1425"/>
                  </a:lnTo>
                  <a:lnTo>
                    <a:pt x="1335" y="1417"/>
                  </a:lnTo>
                  <a:lnTo>
                    <a:pt x="1335" y="1412"/>
                  </a:lnTo>
                  <a:lnTo>
                    <a:pt x="1338" y="1405"/>
                  </a:lnTo>
                  <a:lnTo>
                    <a:pt x="1342" y="1401"/>
                  </a:lnTo>
                  <a:lnTo>
                    <a:pt x="1346" y="1399"/>
                  </a:lnTo>
                  <a:lnTo>
                    <a:pt x="1354" y="1399"/>
                  </a:lnTo>
                  <a:lnTo>
                    <a:pt x="1355" y="1398"/>
                  </a:lnTo>
                  <a:lnTo>
                    <a:pt x="1355" y="1384"/>
                  </a:lnTo>
                  <a:lnTo>
                    <a:pt x="1355" y="1377"/>
                  </a:lnTo>
                  <a:lnTo>
                    <a:pt x="1362" y="1368"/>
                  </a:lnTo>
                  <a:lnTo>
                    <a:pt x="1368" y="1362"/>
                  </a:lnTo>
                  <a:lnTo>
                    <a:pt x="1375" y="1362"/>
                  </a:lnTo>
                  <a:lnTo>
                    <a:pt x="1378" y="1362"/>
                  </a:lnTo>
                  <a:lnTo>
                    <a:pt x="1376" y="1357"/>
                  </a:lnTo>
                  <a:lnTo>
                    <a:pt x="1375" y="1352"/>
                  </a:lnTo>
                  <a:lnTo>
                    <a:pt x="1379" y="1346"/>
                  </a:lnTo>
                  <a:lnTo>
                    <a:pt x="1379" y="1344"/>
                  </a:lnTo>
                  <a:lnTo>
                    <a:pt x="1375" y="1304"/>
                  </a:lnTo>
                  <a:lnTo>
                    <a:pt x="1378" y="1301"/>
                  </a:lnTo>
                  <a:lnTo>
                    <a:pt x="1381" y="1288"/>
                  </a:lnTo>
                  <a:lnTo>
                    <a:pt x="1385" y="1286"/>
                  </a:lnTo>
                  <a:lnTo>
                    <a:pt x="1399" y="1291"/>
                  </a:lnTo>
                  <a:lnTo>
                    <a:pt x="1405" y="1283"/>
                  </a:lnTo>
                  <a:lnTo>
                    <a:pt x="1406" y="1279"/>
                  </a:lnTo>
                  <a:lnTo>
                    <a:pt x="1406" y="1275"/>
                  </a:lnTo>
                  <a:lnTo>
                    <a:pt x="1412" y="1275"/>
                  </a:lnTo>
                  <a:lnTo>
                    <a:pt x="1418" y="1276"/>
                  </a:lnTo>
                  <a:lnTo>
                    <a:pt x="1422" y="1281"/>
                  </a:lnTo>
                  <a:lnTo>
                    <a:pt x="1422" y="1283"/>
                  </a:lnTo>
                  <a:lnTo>
                    <a:pt x="1425" y="1291"/>
                  </a:lnTo>
                  <a:lnTo>
                    <a:pt x="1425" y="1295"/>
                  </a:lnTo>
                  <a:lnTo>
                    <a:pt x="1429" y="1293"/>
                  </a:lnTo>
                  <a:lnTo>
                    <a:pt x="1435" y="1289"/>
                  </a:lnTo>
                  <a:lnTo>
                    <a:pt x="1444" y="1289"/>
                  </a:lnTo>
                  <a:lnTo>
                    <a:pt x="1448" y="1293"/>
                  </a:lnTo>
                  <a:lnTo>
                    <a:pt x="1451" y="1295"/>
                  </a:lnTo>
                  <a:lnTo>
                    <a:pt x="1457" y="1293"/>
                  </a:lnTo>
                  <a:lnTo>
                    <a:pt x="1462" y="1289"/>
                  </a:lnTo>
                  <a:lnTo>
                    <a:pt x="1467" y="1282"/>
                  </a:lnTo>
                  <a:lnTo>
                    <a:pt x="1470" y="1281"/>
                  </a:lnTo>
                  <a:lnTo>
                    <a:pt x="1471" y="1283"/>
                  </a:lnTo>
                  <a:lnTo>
                    <a:pt x="1475" y="1286"/>
                  </a:lnTo>
                  <a:lnTo>
                    <a:pt x="1477" y="1285"/>
                  </a:lnTo>
                  <a:lnTo>
                    <a:pt x="1480" y="1282"/>
                  </a:lnTo>
                  <a:lnTo>
                    <a:pt x="1487" y="1283"/>
                  </a:lnTo>
                  <a:lnTo>
                    <a:pt x="1498" y="1286"/>
                  </a:lnTo>
                  <a:lnTo>
                    <a:pt x="1510" y="1289"/>
                  </a:lnTo>
                  <a:lnTo>
                    <a:pt x="1515" y="1292"/>
                  </a:lnTo>
                  <a:lnTo>
                    <a:pt x="1515" y="1283"/>
                  </a:lnTo>
                  <a:lnTo>
                    <a:pt x="1514" y="1278"/>
                  </a:lnTo>
                  <a:lnTo>
                    <a:pt x="1514" y="1272"/>
                  </a:lnTo>
                  <a:lnTo>
                    <a:pt x="1512" y="1269"/>
                  </a:lnTo>
                  <a:lnTo>
                    <a:pt x="1512" y="1265"/>
                  </a:lnTo>
                  <a:lnTo>
                    <a:pt x="1508" y="1263"/>
                  </a:lnTo>
                  <a:lnTo>
                    <a:pt x="1508" y="1265"/>
                  </a:lnTo>
                  <a:lnTo>
                    <a:pt x="1507" y="1266"/>
                  </a:lnTo>
                  <a:lnTo>
                    <a:pt x="1501" y="1266"/>
                  </a:lnTo>
                  <a:lnTo>
                    <a:pt x="1498" y="1266"/>
                  </a:lnTo>
                  <a:lnTo>
                    <a:pt x="1498" y="1265"/>
                  </a:lnTo>
                  <a:lnTo>
                    <a:pt x="1500" y="1263"/>
                  </a:lnTo>
                  <a:lnTo>
                    <a:pt x="1502" y="1262"/>
                  </a:lnTo>
                  <a:lnTo>
                    <a:pt x="1504" y="1258"/>
                  </a:lnTo>
                  <a:lnTo>
                    <a:pt x="1507" y="1258"/>
                  </a:lnTo>
                  <a:lnTo>
                    <a:pt x="1507" y="1259"/>
                  </a:lnTo>
                  <a:lnTo>
                    <a:pt x="1508" y="1259"/>
                  </a:lnTo>
                  <a:lnTo>
                    <a:pt x="1508" y="1255"/>
                  </a:lnTo>
                  <a:lnTo>
                    <a:pt x="1510" y="1232"/>
                  </a:lnTo>
                  <a:lnTo>
                    <a:pt x="1507" y="1222"/>
                  </a:lnTo>
                  <a:lnTo>
                    <a:pt x="1502" y="1218"/>
                  </a:lnTo>
                  <a:lnTo>
                    <a:pt x="1494" y="1215"/>
                  </a:lnTo>
                  <a:lnTo>
                    <a:pt x="1492" y="1213"/>
                  </a:lnTo>
                  <a:lnTo>
                    <a:pt x="1492" y="1213"/>
                  </a:lnTo>
                  <a:lnTo>
                    <a:pt x="1497" y="1212"/>
                  </a:lnTo>
                  <a:lnTo>
                    <a:pt x="1498" y="1209"/>
                  </a:lnTo>
                  <a:lnTo>
                    <a:pt x="1495" y="1203"/>
                  </a:lnTo>
                  <a:lnTo>
                    <a:pt x="1498" y="1205"/>
                  </a:lnTo>
                  <a:lnTo>
                    <a:pt x="1500" y="1209"/>
                  </a:lnTo>
                  <a:lnTo>
                    <a:pt x="1502" y="1215"/>
                  </a:lnTo>
                  <a:lnTo>
                    <a:pt x="1505" y="1218"/>
                  </a:lnTo>
                  <a:lnTo>
                    <a:pt x="1505" y="1213"/>
                  </a:lnTo>
                  <a:lnTo>
                    <a:pt x="1501" y="1205"/>
                  </a:lnTo>
                  <a:lnTo>
                    <a:pt x="1501" y="1193"/>
                  </a:lnTo>
                  <a:lnTo>
                    <a:pt x="1497" y="1165"/>
                  </a:lnTo>
                  <a:lnTo>
                    <a:pt x="1495" y="1146"/>
                  </a:lnTo>
                  <a:lnTo>
                    <a:pt x="1497" y="1142"/>
                  </a:lnTo>
                  <a:lnTo>
                    <a:pt x="1501" y="1136"/>
                  </a:lnTo>
                  <a:lnTo>
                    <a:pt x="1501" y="1132"/>
                  </a:lnTo>
                  <a:lnTo>
                    <a:pt x="1500" y="1127"/>
                  </a:lnTo>
                  <a:lnTo>
                    <a:pt x="1495" y="1122"/>
                  </a:lnTo>
                  <a:lnTo>
                    <a:pt x="1491" y="1113"/>
                  </a:lnTo>
                  <a:lnTo>
                    <a:pt x="1491" y="1109"/>
                  </a:lnTo>
                  <a:lnTo>
                    <a:pt x="1491" y="1104"/>
                  </a:lnTo>
                  <a:lnTo>
                    <a:pt x="1491" y="1104"/>
                  </a:lnTo>
                  <a:lnTo>
                    <a:pt x="1490" y="1097"/>
                  </a:lnTo>
                  <a:lnTo>
                    <a:pt x="1490" y="1097"/>
                  </a:lnTo>
                  <a:lnTo>
                    <a:pt x="1490" y="1096"/>
                  </a:lnTo>
                  <a:lnTo>
                    <a:pt x="1488" y="1096"/>
                  </a:lnTo>
                  <a:lnTo>
                    <a:pt x="1485" y="1099"/>
                  </a:lnTo>
                  <a:lnTo>
                    <a:pt x="1485" y="1099"/>
                  </a:lnTo>
                  <a:lnTo>
                    <a:pt x="1485" y="1100"/>
                  </a:lnTo>
                  <a:lnTo>
                    <a:pt x="1484" y="1100"/>
                  </a:lnTo>
                  <a:lnTo>
                    <a:pt x="1482" y="1097"/>
                  </a:lnTo>
                  <a:lnTo>
                    <a:pt x="1482" y="1097"/>
                  </a:lnTo>
                  <a:lnTo>
                    <a:pt x="1480" y="1094"/>
                  </a:lnTo>
                  <a:lnTo>
                    <a:pt x="1478" y="1090"/>
                  </a:lnTo>
                  <a:lnTo>
                    <a:pt x="1478" y="1090"/>
                  </a:lnTo>
                  <a:lnTo>
                    <a:pt x="1480" y="1087"/>
                  </a:lnTo>
                  <a:lnTo>
                    <a:pt x="1480" y="1086"/>
                  </a:lnTo>
                  <a:lnTo>
                    <a:pt x="1481" y="1087"/>
                  </a:lnTo>
                  <a:lnTo>
                    <a:pt x="1481" y="1087"/>
                  </a:lnTo>
                  <a:lnTo>
                    <a:pt x="1484" y="1090"/>
                  </a:lnTo>
                  <a:lnTo>
                    <a:pt x="1485" y="1092"/>
                  </a:lnTo>
                  <a:lnTo>
                    <a:pt x="1487" y="1092"/>
                  </a:lnTo>
                  <a:lnTo>
                    <a:pt x="1487" y="1092"/>
                  </a:lnTo>
                  <a:lnTo>
                    <a:pt x="1487" y="1089"/>
                  </a:lnTo>
                  <a:lnTo>
                    <a:pt x="1487" y="1086"/>
                  </a:lnTo>
                  <a:lnTo>
                    <a:pt x="1484" y="1082"/>
                  </a:lnTo>
                  <a:lnTo>
                    <a:pt x="1484" y="1082"/>
                  </a:lnTo>
                  <a:lnTo>
                    <a:pt x="1484" y="1077"/>
                  </a:lnTo>
                  <a:lnTo>
                    <a:pt x="1484" y="1076"/>
                  </a:lnTo>
                  <a:lnTo>
                    <a:pt x="1484" y="1076"/>
                  </a:lnTo>
                  <a:lnTo>
                    <a:pt x="1485" y="1069"/>
                  </a:lnTo>
                  <a:lnTo>
                    <a:pt x="1485" y="1069"/>
                  </a:lnTo>
                  <a:lnTo>
                    <a:pt x="1484" y="1063"/>
                  </a:lnTo>
                  <a:lnTo>
                    <a:pt x="1484" y="1063"/>
                  </a:lnTo>
                  <a:lnTo>
                    <a:pt x="1484" y="1061"/>
                  </a:lnTo>
                  <a:lnTo>
                    <a:pt x="1485" y="1057"/>
                  </a:lnTo>
                  <a:lnTo>
                    <a:pt x="1485" y="1057"/>
                  </a:lnTo>
                  <a:lnTo>
                    <a:pt x="1485" y="1056"/>
                  </a:lnTo>
                  <a:lnTo>
                    <a:pt x="1484" y="1054"/>
                  </a:lnTo>
                  <a:lnTo>
                    <a:pt x="1482" y="1056"/>
                  </a:lnTo>
                  <a:lnTo>
                    <a:pt x="1482" y="1056"/>
                  </a:lnTo>
                  <a:lnTo>
                    <a:pt x="1481" y="1059"/>
                  </a:lnTo>
                  <a:lnTo>
                    <a:pt x="1481" y="1060"/>
                  </a:lnTo>
                  <a:lnTo>
                    <a:pt x="1481" y="1060"/>
                  </a:lnTo>
                  <a:lnTo>
                    <a:pt x="1480" y="1063"/>
                  </a:lnTo>
                  <a:lnTo>
                    <a:pt x="1478" y="1063"/>
                  </a:lnTo>
                  <a:lnTo>
                    <a:pt x="1478" y="1063"/>
                  </a:lnTo>
                  <a:lnTo>
                    <a:pt x="1475" y="1061"/>
                  </a:lnTo>
                  <a:lnTo>
                    <a:pt x="1474" y="1061"/>
                  </a:lnTo>
                  <a:lnTo>
                    <a:pt x="1474" y="1061"/>
                  </a:lnTo>
                  <a:lnTo>
                    <a:pt x="1465" y="1061"/>
                  </a:lnTo>
                  <a:lnTo>
                    <a:pt x="1465" y="1061"/>
                  </a:lnTo>
                  <a:lnTo>
                    <a:pt x="1462" y="1061"/>
                  </a:lnTo>
                  <a:lnTo>
                    <a:pt x="1459" y="1059"/>
                  </a:lnTo>
                  <a:lnTo>
                    <a:pt x="1459" y="1059"/>
                  </a:lnTo>
                  <a:lnTo>
                    <a:pt x="1458" y="1054"/>
                  </a:lnTo>
                  <a:lnTo>
                    <a:pt x="1458" y="1051"/>
                  </a:lnTo>
                  <a:lnTo>
                    <a:pt x="1458" y="1051"/>
                  </a:lnTo>
                  <a:lnTo>
                    <a:pt x="1458" y="1050"/>
                  </a:lnTo>
                  <a:lnTo>
                    <a:pt x="1457" y="1049"/>
                  </a:lnTo>
                  <a:lnTo>
                    <a:pt x="1457" y="1049"/>
                  </a:lnTo>
                  <a:lnTo>
                    <a:pt x="1454" y="1050"/>
                  </a:lnTo>
                  <a:lnTo>
                    <a:pt x="1448" y="1050"/>
                  </a:lnTo>
                  <a:lnTo>
                    <a:pt x="1448" y="1050"/>
                  </a:lnTo>
                  <a:lnTo>
                    <a:pt x="1444" y="1050"/>
                  </a:lnTo>
                  <a:lnTo>
                    <a:pt x="1439" y="1047"/>
                  </a:lnTo>
                  <a:lnTo>
                    <a:pt x="1439" y="1047"/>
                  </a:lnTo>
                  <a:lnTo>
                    <a:pt x="1438" y="1046"/>
                  </a:lnTo>
                  <a:lnTo>
                    <a:pt x="1439" y="1046"/>
                  </a:lnTo>
                  <a:lnTo>
                    <a:pt x="1445" y="1044"/>
                  </a:lnTo>
                  <a:lnTo>
                    <a:pt x="1445" y="1044"/>
                  </a:lnTo>
                  <a:lnTo>
                    <a:pt x="1448" y="1044"/>
                  </a:lnTo>
                  <a:lnTo>
                    <a:pt x="1451" y="1043"/>
                  </a:lnTo>
                  <a:lnTo>
                    <a:pt x="1451" y="1043"/>
                  </a:lnTo>
                  <a:lnTo>
                    <a:pt x="1457" y="1043"/>
                  </a:lnTo>
                  <a:lnTo>
                    <a:pt x="1464" y="1046"/>
                  </a:lnTo>
                  <a:lnTo>
                    <a:pt x="1464" y="1046"/>
                  </a:lnTo>
                  <a:lnTo>
                    <a:pt x="1465" y="1047"/>
                  </a:lnTo>
                  <a:lnTo>
                    <a:pt x="1467" y="1046"/>
                  </a:lnTo>
                  <a:lnTo>
                    <a:pt x="1467" y="1043"/>
                  </a:lnTo>
                  <a:lnTo>
                    <a:pt x="1467" y="1043"/>
                  </a:lnTo>
                  <a:lnTo>
                    <a:pt x="1468" y="1041"/>
                  </a:lnTo>
                  <a:lnTo>
                    <a:pt x="1470" y="1040"/>
                  </a:lnTo>
                  <a:lnTo>
                    <a:pt x="1470" y="1040"/>
                  </a:lnTo>
                  <a:lnTo>
                    <a:pt x="1470" y="1039"/>
                  </a:lnTo>
                  <a:lnTo>
                    <a:pt x="1468" y="1037"/>
                  </a:lnTo>
                  <a:lnTo>
                    <a:pt x="1464" y="1036"/>
                  </a:lnTo>
                  <a:lnTo>
                    <a:pt x="1464" y="1036"/>
                  </a:lnTo>
                  <a:lnTo>
                    <a:pt x="1461" y="1033"/>
                  </a:lnTo>
                  <a:lnTo>
                    <a:pt x="1461" y="1031"/>
                  </a:lnTo>
                  <a:lnTo>
                    <a:pt x="1459" y="1026"/>
                  </a:lnTo>
                  <a:lnTo>
                    <a:pt x="1459" y="1026"/>
                  </a:lnTo>
                  <a:lnTo>
                    <a:pt x="1458" y="1021"/>
                  </a:lnTo>
                  <a:lnTo>
                    <a:pt x="1458" y="1017"/>
                  </a:lnTo>
                  <a:lnTo>
                    <a:pt x="1458" y="1017"/>
                  </a:lnTo>
                  <a:lnTo>
                    <a:pt x="1459" y="1016"/>
                  </a:lnTo>
                  <a:lnTo>
                    <a:pt x="1459" y="1017"/>
                  </a:lnTo>
                  <a:lnTo>
                    <a:pt x="1462" y="1020"/>
                  </a:lnTo>
                  <a:lnTo>
                    <a:pt x="1462" y="1020"/>
                  </a:lnTo>
                  <a:lnTo>
                    <a:pt x="1465" y="1023"/>
                  </a:lnTo>
                  <a:lnTo>
                    <a:pt x="1465" y="1023"/>
                  </a:lnTo>
                  <a:lnTo>
                    <a:pt x="1465" y="1024"/>
                  </a:lnTo>
                  <a:lnTo>
                    <a:pt x="1465" y="1024"/>
                  </a:lnTo>
                  <a:lnTo>
                    <a:pt x="1465" y="1029"/>
                  </a:lnTo>
                  <a:lnTo>
                    <a:pt x="1467" y="1033"/>
                  </a:lnTo>
                  <a:lnTo>
                    <a:pt x="1467" y="1033"/>
                  </a:lnTo>
                  <a:lnTo>
                    <a:pt x="1468" y="1034"/>
                  </a:lnTo>
                  <a:lnTo>
                    <a:pt x="1471" y="1036"/>
                  </a:lnTo>
                  <a:lnTo>
                    <a:pt x="1478" y="1037"/>
                  </a:lnTo>
                  <a:lnTo>
                    <a:pt x="1478" y="1037"/>
                  </a:lnTo>
                  <a:lnTo>
                    <a:pt x="1481" y="1040"/>
                  </a:lnTo>
                  <a:lnTo>
                    <a:pt x="1482" y="1043"/>
                  </a:lnTo>
                  <a:lnTo>
                    <a:pt x="1487" y="1047"/>
                  </a:lnTo>
                  <a:lnTo>
                    <a:pt x="1487" y="1047"/>
                  </a:lnTo>
                  <a:lnTo>
                    <a:pt x="1488" y="1049"/>
                  </a:lnTo>
                  <a:lnTo>
                    <a:pt x="1491" y="1049"/>
                  </a:lnTo>
                  <a:lnTo>
                    <a:pt x="1494" y="1046"/>
                  </a:lnTo>
                  <a:lnTo>
                    <a:pt x="1495" y="1040"/>
                  </a:lnTo>
                  <a:lnTo>
                    <a:pt x="1497" y="1031"/>
                  </a:lnTo>
                  <a:lnTo>
                    <a:pt x="1498" y="1026"/>
                  </a:lnTo>
                  <a:lnTo>
                    <a:pt x="1497" y="1024"/>
                  </a:lnTo>
                  <a:lnTo>
                    <a:pt x="1491" y="1024"/>
                  </a:lnTo>
                  <a:lnTo>
                    <a:pt x="1487" y="1024"/>
                  </a:lnTo>
                  <a:lnTo>
                    <a:pt x="1487" y="1020"/>
                  </a:lnTo>
                  <a:lnTo>
                    <a:pt x="1487" y="1017"/>
                  </a:lnTo>
                  <a:lnTo>
                    <a:pt x="1488" y="1016"/>
                  </a:lnTo>
                  <a:lnTo>
                    <a:pt x="1492" y="1016"/>
                  </a:lnTo>
                  <a:lnTo>
                    <a:pt x="1495" y="1020"/>
                  </a:lnTo>
                  <a:lnTo>
                    <a:pt x="1497" y="1021"/>
                  </a:lnTo>
                  <a:lnTo>
                    <a:pt x="1501" y="1021"/>
                  </a:lnTo>
                  <a:lnTo>
                    <a:pt x="1508" y="1010"/>
                  </a:lnTo>
                  <a:lnTo>
                    <a:pt x="1512" y="998"/>
                  </a:lnTo>
                  <a:lnTo>
                    <a:pt x="1518" y="994"/>
                  </a:lnTo>
                  <a:lnTo>
                    <a:pt x="1525" y="990"/>
                  </a:lnTo>
                  <a:lnTo>
                    <a:pt x="1531" y="984"/>
                  </a:lnTo>
                  <a:lnTo>
                    <a:pt x="1543" y="974"/>
                  </a:lnTo>
                  <a:lnTo>
                    <a:pt x="1551" y="961"/>
                  </a:lnTo>
                  <a:lnTo>
                    <a:pt x="1558" y="955"/>
                  </a:lnTo>
                  <a:lnTo>
                    <a:pt x="1565" y="945"/>
                  </a:lnTo>
                  <a:lnTo>
                    <a:pt x="1570" y="940"/>
                  </a:lnTo>
                  <a:lnTo>
                    <a:pt x="1578" y="940"/>
                  </a:lnTo>
                  <a:lnTo>
                    <a:pt x="1583" y="940"/>
                  </a:lnTo>
                  <a:lnTo>
                    <a:pt x="1583" y="937"/>
                  </a:lnTo>
                  <a:lnTo>
                    <a:pt x="1584" y="934"/>
                  </a:lnTo>
                  <a:lnTo>
                    <a:pt x="1581" y="931"/>
                  </a:lnTo>
                  <a:lnTo>
                    <a:pt x="1577" y="930"/>
                  </a:lnTo>
                  <a:lnTo>
                    <a:pt x="1574" y="930"/>
                  </a:lnTo>
                  <a:lnTo>
                    <a:pt x="1568" y="928"/>
                  </a:lnTo>
                  <a:lnTo>
                    <a:pt x="1565" y="925"/>
                  </a:lnTo>
                  <a:lnTo>
                    <a:pt x="1561" y="925"/>
                  </a:lnTo>
                  <a:lnTo>
                    <a:pt x="1560" y="925"/>
                  </a:lnTo>
                  <a:lnTo>
                    <a:pt x="1560" y="928"/>
                  </a:lnTo>
                  <a:lnTo>
                    <a:pt x="1560" y="931"/>
                  </a:lnTo>
                  <a:lnTo>
                    <a:pt x="1555" y="934"/>
                  </a:lnTo>
                  <a:lnTo>
                    <a:pt x="1550" y="934"/>
                  </a:lnTo>
                  <a:lnTo>
                    <a:pt x="1547" y="933"/>
                  </a:lnTo>
                  <a:lnTo>
                    <a:pt x="1544" y="933"/>
                  </a:lnTo>
                  <a:lnTo>
                    <a:pt x="1540" y="933"/>
                  </a:lnTo>
                  <a:lnTo>
                    <a:pt x="1540" y="931"/>
                  </a:lnTo>
                  <a:lnTo>
                    <a:pt x="1540" y="928"/>
                  </a:lnTo>
                  <a:lnTo>
                    <a:pt x="1544" y="925"/>
                  </a:lnTo>
                  <a:lnTo>
                    <a:pt x="1544" y="921"/>
                  </a:lnTo>
                  <a:lnTo>
                    <a:pt x="1550" y="920"/>
                  </a:lnTo>
                  <a:lnTo>
                    <a:pt x="1553" y="921"/>
                  </a:lnTo>
                  <a:lnTo>
                    <a:pt x="1554" y="927"/>
                  </a:lnTo>
                  <a:lnTo>
                    <a:pt x="1555" y="928"/>
                  </a:lnTo>
                  <a:lnTo>
                    <a:pt x="1558" y="928"/>
                  </a:lnTo>
                  <a:lnTo>
                    <a:pt x="1558" y="927"/>
                  </a:lnTo>
                  <a:lnTo>
                    <a:pt x="1558" y="925"/>
                  </a:lnTo>
                  <a:lnTo>
                    <a:pt x="1557" y="923"/>
                  </a:lnTo>
                  <a:lnTo>
                    <a:pt x="1555" y="920"/>
                  </a:lnTo>
                  <a:lnTo>
                    <a:pt x="1555" y="915"/>
                  </a:lnTo>
                  <a:lnTo>
                    <a:pt x="1555" y="911"/>
                  </a:lnTo>
                  <a:lnTo>
                    <a:pt x="1558" y="908"/>
                  </a:lnTo>
                  <a:lnTo>
                    <a:pt x="1558" y="903"/>
                  </a:lnTo>
                  <a:lnTo>
                    <a:pt x="1554" y="900"/>
                  </a:lnTo>
                  <a:lnTo>
                    <a:pt x="1547" y="892"/>
                  </a:lnTo>
                  <a:lnTo>
                    <a:pt x="1544" y="892"/>
                  </a:lnTo>
                  <a:lnTo>
                    <a:pt x="1543" y="892"/>
                  </a:lnTo>
                  <a:lnTo>
                    <a:pt x="1540" y="897"/>
                  </a:lnTo>
                  <a:lnTo>
                    <a:pt x="1537" y="898"/>
                  </a:lnTo>
                  <a:lnTo>
                    <a:pt x="1534" y="901"/>
                  </a:lnTo>
                  <a:lnTo>
                    <a:pt x="1531" y="903"/>
                  </a:lnTo>
                  <a:lnTo>
                    <a:pt x="1528" y="901"/>
                  </a:lnTo>
                  <a:lnTo>
                    <a:pt x="1528" y="898"/>
                  </a:lnTo>
                  <a:lnTo>
                    <a:pt x="1530" y="897"/>
                  </a:lnTo>
                  <a:lnTo>
                    <a:pt x="1531" y="895"/>
                  </a:lnTo>
                  <a:lnTo>
                    <a:pt x="1533" y="894"/>
                  </a:lnTo>
                  <a:lnTo>
                    <a:pt x="1537" y="892"/>
                  </a:lnTo>
                  <a:lnTo>
                    <a:pt x="1541" y="892"/>
                  </a:lnTo>
                  <a:lnTo>
                    <a:pt x="1544" y="890"/>
                  </a:lnTo>
                  <a:lnTo>
                    <a:pt x="1544" y="887"/>
                  </a:lnTo>
                  <a:lnTo>
                    <a:pt x="1544" y="882"/>
                  </a:lnTo>
                  <a:lnTo>
                    <a:pt x="1543" y="878"/>
                  </a:lnTo>
                  <a:lnTo>
                    <a:pt x="1537" y="875"/>
                  </a:lnTo>
                  <a:lnTo>
                    <a:pt x="1527" y="872"/>
                  </a:lnTo>
                  <a:lnTo>
                    <a:pt x="1523" y="872"/>
                  </a:lnTo>
                  <a:lnTo>
                    <a:pt x="1517" y="872"/>
                  </a:lnTo>
                  <a:lnTo>
                    <a:pt x="1508" y="871"/>
                  </a:lnTo>
                  <a:lnTo>
                    <a:pt x="1505" y="871"/>
                  </a:lnTo>
                  <a:lnTo>
                    <a:pt x="1502" y="874"/>
                  </a:lnTo>
                  <a:lnTo>
                    <a:pt x="1500" y="881"/>
                  </a:lnTo>
                  <a:lnTo>
                    <a:pt x="1497" y="885"/>
                  </a:lnTo>
                  <a:lnTo>
                    <a:pt x="1484" y="885"/>
                  </a:lnTo>
                  <a:lnTo>
                    <a:pt x="1480" y="885"/>
                  </a:lnTo>
                  <a:lnTo>
                    <a:pt x="1475" y="884"/>
                  </a:lnTo>
                  <a:lnTo>
                    <a:pt x="1475" y="887"/>
                  </a:lnTo>
                  <a:lnTo>
                    <a:pt x="1474" y="890"/>
                  </a:lnTo>
                  <a:lnTo>
                    <a:pt x="1478" y="888"/>
                  </a:lnTo>
                  <a:lnTo>
                    <a:pt x="1481" y="888"/>
                  </a:lnTo>
                  <a:lnTo>
                    <a:pt x="1482" y="890"/>
                  </a:lnTo>
                  <a:lnTo>
                    <a:pt x="1481" y="892"/>
                  </a:lnTo>
                  <a:lnTo>
                    <a:pt x="1480" y="898"/>
                  </a:lnTo>
                  <a:lnTo>
                    <a:pt x="1477" y="901"/>
                  </a:lnTo>
                  <a:lnTo>
                    <a:pt x="1475" y="900"/>
                  </a:lnTo>
                  <a:lnTo>
                    <a:pt x="1472" y="897"/>
                  </a:lnTo>
                  <a:lnTo>
                    <a:pt x="1471" y="890"/>
                  </a:lnTo>
                  <a:lnTo>
                    <a:pt x="1472" y="881"/>
                  </a:lnTo>
                  <a:lnTo>
                    <a:pt x="1472" y="875"/>
                  </a:lnTo>
                  <a:lnTo>
                    <a:pt x="1475" y="874"/>
                  </a:lnTo>
                  <a:lnTo>
                    <a:pt x="1475" y="871"/>
                  </a:lnTo>
                  <a:lnTo>
                    <a:pt x="1474" y="868"/>
                  </a:lnTo>
                  <a:lnTo>
                    <a:pt x="1472" y="865"/>
                  </a:lnTo>
                  <a:lnTo>
                    <a:pt x="1470" y="865"/>
                  </a:lnTo>
                  <a:lnTo>
                    <a:pt x="1465" y="864"/>
                  </a:lnTo>
                  <a:lnTo>
                    <a:pt x="1459" y="864"/>
                  </a:lnTo>
                  <a:lnTo>
                    <a:pt x="1455" y="865"/>
                  </a:lnTo>
                  <a:lnTo>
                    <a:pt x="1444" y="871"/>
                  </a:lnTo>
                  <a:lnTo>
                    <a:pt x="1442" y="877"/>
                  </a:lnTo>
                  <a:lnTo>
                    <a:pt x="1438" y="878"/>
                  </a:lnTo>
                  <a:lnTo>
                    <a:pt x="1434" y="878"/>
                  </a:lnTo>
                  <a:lnTo>
                    <a:pt x="1434" y="880"/>
                  </a:lnTo>
                  <a:lnTo>
                    <a:pt x="1434" y="884"/>
                  </a:lnTo>
                  <a:lnTo>
                    <a:pt x="1429" y="888"/>
                  </a:lnTo>
                  <a:lnTo>
                    <a:pt x="1424" y="887"/>
                  </a:lnTo>
                  <a:lnTo>
                    <a:pt x="1421" y="888"/>
                  </a:lnTo>
                  <a:lnTo>
                    <a:pt x="1421" y="890"/>
                  </a:lnTo>
                  <a:lnTo>
                    <a:pt x="1422" y="892"/>
                  </a:lnTo>
                  <a:lnTo>
                    <a:pt x="1418" y="894"/>
                  </a:lnTo>
                  <a:lnTo>
                    <a:pt x="1414" y="894"/>
                  </a:lnTo>
                  <a:lnTo>
                    <a:pt x="1412" y="891"/>
                  </a:lnTo>
                  <a:lnTo>
                    <a:pt x="1412" y="888"/>
                  </a:lnTo>
                  <a:lnTo>
                    <a:pt x="1414" y="887"/>
                  </a:lnTo>
                  <a:lnTo>
                    <a:pt x="1418" y="884"/>
                  </a:lnTo>
                  <a:lnTo>
                    <a:pt x="1422" y="884"/>
                  </a:lnTo>
                  <a:lnTo>
                    <a:pt x="1427" y="884"/>
                  </a:lnTo>
                  <a:lnTo>
                    <a:pt x="1428" y="882"/>
                  </a:lnTo>
                  <a:lnTo>
                    <a:pt x="1428" y="881"/>
                  </a:lnTo>
                  <a:lnTo>
                    <a:pt x="1425" y="881"/>
                  </a:lnTo>
                  <a:lnTo>
                    <a:pt x="1419" y="881"/>
                  </a:lnTo>
                  <a:lnTo>
                    <a:pt x="1415" y="882"/>
                  </a:lnTo>
                  <a:lnTo>
                    <a:pt x="1405" y="884"/>
                  </a:lnTo>
                  <a:lnTo>
                    <a:pt x="1394" y="885"/>
                  </a:lnTo>
                  <a:lnTo>
                    <a:pt x="1384" y="881"/>
                  </a:lnTo>
                  <a:lnTo>
                    <a:pt x="1378" y="881"/>
                  </a:lnTo>
                  <a:lnTo>
                    <a:pt x="1378" y="884"/>
                  </a:lnTo>
                  <a:lnTo>
                    <a:pt x="1382" y="885"/>
                  </a:lnTo>
                  <a:lnTo>
                    <a:pt x="1392" y="887"/>
                  </a:lnTo>
                  <a:lnTo>
                    <a:pt x="1399" y="887"/>
                  </a:lnTo>
                  <a:lnTo>
                    <a:pt x="1406" y="887"/>
                  </a:lnTo>
                  <a:lnTo>
                    <a:pt x="1406" y="888"/>
                  </a:lnTo>
                  <a:lnTo>
                    <a:pt x="1408" y="892"/>
                  </a:lnTo>
                  <a:lnTo>
                    <a:pt x="1408" y="894"/>
                  </a:lnTo>
                  <a:lnTo>
                    <a:pt x="1408" y="894"/>
                  </a:lnTo>
                  <a:lnTo>
                    <a:pt x="1408" y="897"/>
                  </a:lnTo>
                  <a:lnTo>
                    <a:pt x="1406" y="900"/>
                  </a:lnTo>
                  <a:lnTo>
                    <a:pt x="1405" y="904"/>
                  </a:lnTo>
                  <a:lnTo>
                    <a:pt x="1401" y="905"/>
                  </a:lnTo>
                  <a:lnTo>
                    <a:pt x="1399" y="903"/>
                  </a:lnTo>
                  <a:lnTo>
                    <a:pt x="1399" y="898"/>
                  </a:lnTo>
                  <a:lnTo>
                    <a:pt x="1395" y="900"/>
                  </a:lnTo>
                  <a:lnTo>
                    <a:pt x="1392" y="900"/>
                  </a:lnTo>
                  <a:lnTo>
                    <a:pt x="1389" y="900"/>
                  </a:lnTo>
                  <a:lnTo>
                    <a:pt x="1389" y="897"/>
                  </a:lnTo>
                  <a:lnTo>
                    <a:pt x="1391" y="895"/>
                  </a:lnTo>
                  <a:lnTo>
                    <a:pt x="1394" y="895"/>
                  </a:lnTo>
                  <a:lnTo>
                    <a:pt x="1396" y="895"/>
                  </a:lnTo>
                  <a:lnTo>
                    <a:pt x="1396" y="892"/>
                  </a:lnTo>
                  <a:lnTo>
                    <a:pt x="1396" y="890"/>
                  </a:lnTo>
                  <a:lnTo>
                    <a:pt x="1395" y="891"/>
                  </a:lnTo>
                  <a:lnTo>
                    <a:pt x="1392" y="892"/>
                  </a:lnTo>
                  <a:lnTo>
                    <a:pt x="1392" y="891"/>
                  </a:lnTo>
                  <a:lnTo>
                    <a:pt x="1391" y="890"/>
                  </a:lnTo>
                  <a:lnTo>
                    <a:pt x="1389" y="888"/>
                  </a:lnTo>
                  <a:lnTo>
                    <a:pt x="1385" y="888"/>
                  </a:lnTo>
                  <a:lnTo>
                    <a:pt x="1385" y="888"/>
                  </a:lnTo>
                  <a:lnTo>
                    <a:pt x="1385" y="891"/>
                  </a:lnTo>
                  <a:lnTo>
                    <a:pt x="1385" y="894"/>
                  </a:lnTo>
                  <a:lnTo>
                    <a:pt x="1384" y="895"/>
                  </a:lnTo>
                  <a:lnTo>
                    <a:pt x="1382" y="892"/>
                  </a:lnTo>
                  <a:lnTo>
                    <a:pt x="1381" y="891"/>
                  </a:lnTo>
                  <a:lnTo>
                    <a:pt x="1379" y="891"/>
                  </a:lnTo>
                  <a:lnTo>
                    <a:pt x="1378" y="894"/>
                  </a:lnTo>
                  <a:lnTo>
                    <a:pt x="1378" y="895"/>
                  </a:lnTo>
                  <a:lnTo>
                    <a:pt x="1375" y="895"/>
                  </a:lnTo>
                  <a:lnTo>
                    <a:pt x="1375" y="898"/>
                  </a:lnTo>
                  <a:lnTo>
                    <a:pt x="1375" y="903"/>
                  </a:lnTo>
                  <a:lnTo>
                    <a:pt x="1376" y="905"/>
                  </a:lnTo>
                  <a:lnTo>
                    <a:pt x="1378" y="907"/>
                  </a:lnTo>
                  <a:lnTo>
                    <a:pt x="1378" y="911"/>
                  </a:lnTo>
                  <a:lnTo>
                    <a:pt x="1379" y="914"/>
                  </a:lnTo>
                  <a:lnTo>
                    <a:pt x="1378" y="917"/>
                  </a:lnTo>
                  <a:lnTo>
                    <a:pt x="1371" y="918"/>
                  </a:lnTo>
                  <a:lnTo>
                    <a:pt x="1368" y="918"/>
                  </a:lnTo>
                  <a:lnTo>
                    <a:pt x="1364" y="914"/>
                  </a:lnTo>
                  <a:lnTo>
                    <a:pt x="1359" y="911"/>
                  </a:lnTo>
                  <a:lnTo>
                    <a:pt x="1361" y="908"/>
                  </a:lnTo>
                  <a:lnTo>
                    <a:pt x="1362" y="908"/>
                  </a:lnTo>
                  <a:lnTo>
                    <a:pt x="1364" y="903"/>
                  </a:lnTo>
                  <a:lnTo>
                    <a:pt x="1366" y="901"/>
                  </a:lnTo>
                  <a:lnTo>
                    <a:pt x="1369" y="901"/>
                  </a:lnTo>
                  <a:lnTo>
                    <a:pt x="1371" y="901"/>
                  </a:lnTo>
                  <a:lnTo>
                    <a:pt x="1371" y="900"/>
                  </a:lnTo>
                  <a:lnTo>
                    <a:pt x="1368" y="897"/>
                  </a:lnTo>
                  <a:lnTo>
                    <a:pt x="1365" y="895"/>
                  </a:lnTo>
                  <a:lnTo>
                    <a:pt x="1366" y="892"/>
                  </a:lnTo>
                  <a:lnTo>
                    <a:pt x="1371" y="892"/>
                  </a:lnTo>
                  <a:lnTo>
                    <a:pt x="1375" y="892"/>
                  </a:lnTo>
                  <a:lnTo>
                    <a:pt x="1376" y="891"/>
                  </a:lnTo>
                  <a:lnTo>
                    <a:pt x="1376" y="888"/>
                  </a:lnTo>
                  <a:lnTo>
                    <a:pt x="1376" y="885"/>
                  </a:lnTo>
                  <a:lnTo>
                    <a:pt x="1374" y="884"/>
                  </a:lnTo>
                  <a:lnTo>
                    <a:pt x="1371" y="884"/>
                  </a:lnTo>
                  <a:lnTo>
                    <a:pt x="1369" y="884"/>
                  </a:lnTo>
                  <a:lnTo>
                    <a:pt x="1368" y="885"/>
                  </a:lnTo>
                  <a:lnTo>
                    <a:pt x="1368" y="887"/>
                  </a:lnTo>
                  <a:lnTo>
                    <a:pt x="1365" y="891"/>
                  </a:lnTo>
                  <a:lnTo>
                    <a:pt x="1361" y="891"/>
                  </a:lnTo>
                  <a:lnTo>
                    <a:pt x="1361" y="890"/>
                  </a:lnTo>
                  <a:lnTo>
                    <a:pt x="1362" y="887"/>
                  </a:lnTo>
                  <a:lnTo>
                    <a:pt x="1365" y="887"/>
                  </a:lnTo>
                  <a:lnTo>
                    <a:pt x="1366" y="884"/>
                  </a:lnTo>
                  <a:lnTo>
                    <a:pt x="1369" y="881"/>
                  </a:lnTo>
                  <a:lnTo>
                    <a:pt x="1372" y="881"/>
                  </a:lnTo>
                  <a:lnTo>
                    <a:pt x="1374" y="878"/>
                  </a:lnTo>
                  <a:lnTo>
                    <a:pt x="1365" y="877"/>
                  </a:lnTo>
                  <a:lnTo>
                    <a:pt x="1356" y="874"/>
                  </a:lnTo>
                  <a:lnTo>
                    <a:pt x="1323" y="865"/>
                  </a:lnTo>
                  <a:lnTo>
                    <a:pt x="1316" y="864"/>
                  </a:lnTo>
                  <a:lnTo>
                    <a:pt x="1312" y="864"/>
                  </a:lnTo>
                  <a:lnTo>
                    <a:pt x="1312" y="867"/>
                  </a:lnTo>
                  <a:lnTo>
                    <a:pt x="1315" y="867"/>
                  </a:lnTo>
                  <a:lnTo>
                    <a:pt x="1319" y="868"/>
                  </a:lnTo>
                  <a:lnTo>
                    <a:pt x="1319" y="871"/>
                  </a:lnTo>
                  <a:lnTo>
                    <a:pt x="1318" y="874"/>
                  </a:lnTo>
                  <a:lnTo>
                    <a:pt x="1315" y="875"/>
                  </a:lnTo>
                  <a:lnTo>
                    <a:pt x="1313" y="878"/>
                  </a:lnTo>
                  <a:lnTo>
                    <a:pt x="1313" y="880"/>
                  </a:lnTo>
                  <a:lnTo>
                    <a:pt x="1315" y="882"/>
                  </a:lnTo>
                  <a:lnTo>
                    <a:pt x="1313" y="882"/>
                  </a:lnTo>
                  <a:lnTo>
                    <a:pt x="1313" y="885"/>
                  </a:lnTo>
                  <a:lnTo>
                    <a:pt x="1312" y="887"/>
                  </a:lnTo>
                  <a:lnTo>
                    <a:pt x="1312" y="888"/>
                  </a:lnTo>
                  <a:lnTo>
                    <a:pt x="1311" y="888"/>
                  </a:lnTo>
                  <a:lnTo>
                    <a:pt x="1308" y="887"/>
                  </a:lnTo>
                  <a:lnTo>
                    <a:pt x="1308" y="882"/>
                  </a:lnTo>
                  <a:lnTo>
                    <a:pt x="1308" y="878"/>
                  </a:lnTo>
                  <a:lnTo>
                    <a:pt x="1306" y="878"/>
                  </a:lnTo>
                  <a:lnTo>
                    <a:pt x="1303" y="881"/>
                  </a:lnTo>
                  <a:lnTo>
                    <a:pt x="1302" y="881"/>
                  </a:lnTo>
                  <a:lnTo>
                    <a:pt x="1302" y="878"/>
                  </a:lnTo>
                  <a:lnTo>
                    <a:pt x="1302" y="875"/>
                  </a:lnTo>
                  <a:lnTo>
                    <a:pt x="1301" y="872"/>
                  </a:lnTo>
                  <a:lnTo>
                    <a:pt x="1301" y="870"/>
                  </a:lnTo>
                  <a:lnTo>
                    <a:pt x="1303" y="870"/>
                  </a:lnTo>
                  <a:lnTo>
                    <a:pt x="1306" y="870"/>
                  </a:lnTo>
                  <a:lnTo>
                    <a:pt x="1308" y="868"/>
                  </a:lnTo>
                  <a:lnTo>
                    <a:pt x="1308" y="867"/>
                  </a:lnTo>
                  <a:lnTo>
                    <a:pt x="1303" y="865"/>
                  </a:lnTo>
                  <a:lnTo>
                    <a:pt x="1298" y="867"/>
                  </a:lnTo>
                  <a:lnTo>
                    <a:pt x="1273" y="865"/>
                  </a:lnTo>
                  <a:lnTo>
                    <a:pt x="1259" y="865"/>
                  </a:lnTo>
                  <a:lnTo>
                    <a:pt x="1249" y="864"/>
                  </a:lnTo>
                  <a:lnTo>
                    <a:pt x="1239" y="865"/>
                  </a:lnTo>
                  <a:lnTo>
                    <a:pt x="1235" y="868"/>
                  </a:lnTo>
                  <a:lnTo>
                    <a:pt x="1235" y="870"/>
                  </a:lnTo>
                  <a:lnTo>
                    <a:pt x="1240" y="870"/>
                  </a:lnTo>
                  <a:lnTo>
                    <a:pt x="1245" y="870"/>
                  </a:lnTo>
                  <a:lnTo>
                    <a:pt x="1252" y="871"/>
                  </a:lnTo>
                  <a:lnTo>
                    <a:pt x="1256" y="872"/>
                  </a:lnTo>
                  <a:lnTo>
                    <a:pt x="1259" y="880"/>
                  </a:lnTo>
                  <a:lnTo>
                    <a:pt x="1260" y="885"/>
                  </a:lnTo>
                  <a:lnTo>
                    <a:pt x="1262" y="887"/>
                  </a:lnTo>
                  <a:lnTo>
                    <a:pt x="1269" y="887"/>
                  </a:lnTo>
                  <a:lnTo>
                    <a:pt x="1270" y="887"/>
                  </a:lnTo>
                  <a:lnTo>
                    <a:pt x="1270" y="890"/>
                  </a:lnTo>
                  <a:lnTo>
                    <a:pt x="1268" y="895"/>
                  </a:lnTo>
                  <a:lnTo>
                    <a:pt x="1265" y="900"/>
                  </a:lnTo>
                  <a:lnTo>
                    <a:pt x="1260" y="904"/>
                  </a:lnTo>
                  <a:lnTo>
                    <a:pt x="1245" y="908"/>
                  </a:lnTo>
                  <a:lnTo>
                    <a:pt x="1233" y="911"/>
                  </a:lnTo>
                  <a:lnTo>
                    <a:pt x="1232" y="913"/>
                  </a:lnTo>
                  <a:lnTo>
                    <a:pt x="1225" y="915"/>
                  </a:lnTo>
                  <a:lnTo>
                    <a:pt x="1212" y="915"/>
                  </a:lnTo>
                  <a:lnTo>
                    <a:pt x="1205" y="915"/>
                  </a:lnTo>
                  <a:lnTo>
                    <a:pt x="1199" y="914"/>
                  </a:lnTo>
                  <a:lnTo>
                    <a:pt x="1192" y="910"/>
                  </a:lnTo>
                  <a:lnTo>
                    <a:pt x="1186" y="904"/>
                  </a:lnTo>
                  <a:lnTo>
                    <a:pt x="1182" y="901"/>
                  </a:lnTo>
                  <a:lnTo>
                    <a:pt x="1179" y="900"/>
                  </a:lnTo>
                  <a:lnTo>
                    <a:pt x="1174" y="901"/>
                  </a:lnTo>
                  <a:lnTo>
                    <a:pt x="1169" y="904"/>
                  </a:lnTo>
                  <a:lnTo>
                    <a:pt x="1167" y="908"/>
                  </a:lnTo>
                  <a:lnTo>
                    <a:pt x="1167" y="911"/>
                  </a:lnTo>
                  <a:lnTo>
                    <a:pt x="1167" y="921"/>
                  </a:lnTo>
                  <a:lnTo>
                    <a:pt x="1167" y="928"/>
                  </a:lnTo>
                  <a:lnTo>
                    <a:pt x="1169" y="934"/>
                  </a:lnTo>
                  <a:lnTo>
                    <a:pt x="1173" y="941"/>
                  </a:lnTo>
                  <a:lnTo>
                    <a:pt x="1179" y="947"/>
                  </a:lnTo>
                  <a:lnTo>
                    <a:pt x="1180" y="951"/>
                  </a:lnTo>
                  <a:lnTo>
                    <a:pt x="1180" y="954"/>
                  </a:lnTo>
                  <a:lnTo>
                    <a:pt x="1174" y="953"/>
                  </a:lnTo>
                  <a:lnTo>
                    <a:pt x="1164" y="954"/>
                  </a:lnTo>
                  <a:lnTo>
                    <a:pt x="1159" y="957"/>
                  </a:lnTo>
                  <a:lnTo>
                    <a:pt x="1154" y="960"/>
                  </a:lnTo>
                  <a:lnTo>
                    <a:pt x="1154" y="964"/>
                  </a:lnTo>
                  <a:lnTo>
                    <a:pt x="1154" y="970"/>
                  </a:lnTo>
                  <a:lnTo>
                    <a:pt x="1160" y="976"/>
                  </a:lnTo>
                  <a:lnTo>
                    <a:pt x="1160" y="978"/>
                  </a:lnTo>
                  <a:lnTo>
                    <a:pt x="1159" y="981"/>
                  </a:lnTo>
                  <a:lnTo>
                    <a:pt x="1159" y="986"/>
                  </a:lnTo>
                  <a:lnTo>
                    <a:pt x="1159" y="988"/>
                  </a:lnTo>
                  <a:lnTo>
                    <a:pt x="1160" y="993"/>
                  </a:lnTo>
                  <a:lnTo>
                    <a:pt x="1159" y="993"/>
                  </a:lnTo>
                  <a:lnTo>
                    <a:pt x="1154" y="990"/>
                  </a:lnTo>
                  <a:lnTo>
                    <a:pt x="1153" y="986"/>
                  </a:lnTo>
                  <a:lnTo>
                    <a:pt x="1154" y="978"/>
                  </a:lnTo>
                  <a:lnTo>
                    <a:pt x="1153" y="974"/>
                  </a:lnTo>
                  <a:lnTo>
                    <a:pt x="1150" y="967"/>
                  </a:lnTo>
                  <a:lnTo>
                    <a:pt x="1147" y="968"/>
                  </a:lnTo>
                  <a:lnTo>
                    <a:pt x="1143" y="970"/>
                  </a:lnTo>
                  <a:lnTo>
                    <a:pt x="1137" y="970"/>
                  </a:lnTo>
                  <a:lnTo>
                    <a:pt x="1133" y="970"/>
                  </a:lnTo>
                  <a:lnTo>
                    <a:pt x="1127" y="968"/>
                  </a:lnTo>
                  <a:lnTo>
                    <a:pt x="1120" y="968"/>
                  </a:lnTo>
                  <a:lnTo>
                    <a:pt x="1116" y="967"/>
                  </a:lnTo>
                  <a:lnTo>
                    <a:pt x="1116" y="967"/>
                  </a:lnTo>
                  <a:lnTo>
                    <a:pt x="1117" y="966"/>
                  </a:lnTo>
                  <a:lnTo>
                    <a:pt x="1119" y="961"/>
                  </a:lnTo>
                  <a:lnTo>
                    <a:pt x="1124" y="957"/>
                  </a:lnTo>
                  <a:lnTo>
                    <a:pt x="1127" y="955"/>
                  </a:lnTo>
                  <a:lnTo>
                    <a:pt x="1130" y="955"/>
                  </a:lnTo>
                  <a:lnTo>
                    <a:pt x="1132" y="957"/>
                  </a:lnTo>
                  <a:lnTo>
                    <a:pt x="1134" y="957"/>
                  </a:lnTo>
                  <a:lnTo>
                    <a:pt x="1136" y="957"/>
                  </a:lnTo>
                  <a:lnTo>
                    <a:pt x="1136" y="954"/>
                  </a:lnTo>
                  <a:lnTo>
                    <a:pt x="1136" y="950"/>
                  </a:lnTo>
                  <a:lnTo>
                    <a:pt x="1134" y="947"/>
                  </a:lnTo>
                  <a:lnTo>
                    <a:pt x="1132" y="941"/>
                  </a:lnTo>
                  <a:lnTo>
                    <a:pt x="1133" y="937"/>
                  </a:lnTo>
                  <a:lnTo>
                    <a:pt x="1139" y="933"/>
                  </a:lnTo>
                  <a:lnTo>
                    <a:pt x="1140" y="927"/>
                  </a:lnTo>
                  <a:lnTo>
                    <a:pt x="1142" y="925"/>
                  </a:lnTo>
                  <a:lnTo>
                    <a:pt x="1142" y="925"/>
                  </a:lnTo>
                  <a:lnTo>
                    <a:pt x="1144" y="927"/>
                  </a:lnTo>
                  <a:lnTo>
                    <a:pt x="1149" y="927"/>
                  </a:lnTo>
                  <a:lnTo>
                    <a:pt x="1156" y="921"/>
                  </a:lnTo>
                  <a:lnTo>
                    <a:pt x="1156" y="910"/>
                  </a:lnTo>
                  <a:lnTo>
                    <a:pt x="1157" y="904"/>
                  </a:lnTo>
                  <a:lnTo>
                    <a:pt x="1154" y="904"/>
                  </a:lnTo>
                  <a:lnTo>
                    <a:pt x="1149" y="904"/>
                  </a:lnTo>
                  <a:lnTo>
                    <a:pt x="1146" y="901"/>
                  </a:lnTo>
                  <a:lnTo>
                    <a:pt x="1142" y="901"/>
                  </a:lnTo>
                  <a:lnTo>
                    <a:pt x="1137" y="901"/>
                  </a:lnTo>
                  <a:lnTo>
                    <a:pt x="1132" y="905"/>
                  </a:lnTo>
                  <a:lnTo>
                    <a:pt x="1126" y="905"/>
                  </a:lnTo>
                  <a:lnTo>
                    <a:pt x="1121" y="907"/>
                  </a:lnTo>
                  <a:lnTo>
                    <a:pt x="1119" y="908"/>
                  </a:lnTo>
                  <a:lnTo>
                    <a:pt x="1116" y="908"/>
                  </a:lnTo>
                  <a:lnTo>
                    <a:pt x="1114" y="908"/>
                  </a:lnTo>
                  <a:lnTo>
                    <a:pt x="1114" y="914"/>
                  </a:lnTo>
                  <a:lnTo>
                    <a:pt x="1113" y="921"/>
                  </a:lnTo>
                  <a:lnTo>
                    <a:pt x="1114" y="931"/>
                  </a:lnTo>
                  <a:lnTo>
                    <a:pt x="1111" y="937"/>
                  </a:lnTo>
                  <a:lnTo>
                    <a:pt x="1107" y="941"/>
                  </a:lnTo>
                  <a:lnTo>
                    <a:pt x="1103" y="943"/>
                  </a:lnTo>
                  <a:lnTo>
                    <a:pt x="1099" y="944"/>
                  </a:lnTo>
                  <a:lnTo>
                    <a:pt x="1099" y="945"/>
                  </a:lnTo>
                  <a:lnTo>
                    <a:pt x="1099" y="951"/>
                  </a:lnTo>
                  <a:lnTo>
                    <a:pt x="1097" y="951"/>
                  </a:lnTo>
                  <a:lnTo>
                    <a:pt x="1096" y="947"/>
                  </a:lnTo>
                  <a:lnTo>
                    <a:pt x="1094" y="945"/>
                  </a:lnTo>
                  <a:lnTo>
                    <a:pt x="1091" y="943"/>
                  </a:lnTo>
                  <a:lnTo>
                    <a:pt x="1091" y="941"/>
                  </a:lnTo>
                  <a:lnTo>
                    <a:pt x="1091" y="941"/>
                  </a:lnTo>
                  <a:lnTo>
                    <a:pt x="1097" y="938"/>
                  </a:lnTo>
                  <a:lnTo>
                    <a:pt x="1100" y="938"/>
                  </a:lnTo>
                  <a:lnTo>
                    <a:pt x="1101" y="935"/>
                  </a:lnTo>
                  <a:lnTo>
                    <a:pt x="1104" y="934"/>
                  </a:lnTo>
                  <a:lnTo>
                    <a:pt x="1107" y="934"/>
                  </a:lnTo>
                  <a:lnTo>
                    <a:pt x="1109" y="933"/>
                  </a:lnTo>
                  <a:lnTo>
                    <a:pt x="1107" y="917"/>
                  </a:lnTo>
                  <a:lnTo>
                    <a:pt x="1107" y="908"/>
                  </a:lnTo>
                  <a:lnTo>
                    <a:pt x="1111" y="904"/>
                  </a:lnTo>
                  <a:lnTo>
                    <a:pt x="1117" y="900"/>
                  </a:lnTo>
                  <a:lnTo>
                    <a:pt x="1120" y="895"/>
                  </a:lnTo>
                  <a:lnTo>
                    <a:pt x="1126" y="892"/>
                  </a:lnTo>
                  <a:lnTo>
                    <a:pt x="1133" y="887"/>
                  </a:lnTo>
                  <a:lnTo>
                    <a:pt x="1136" y="887"/>
                  </a:lnTo>
                  <a:lnTo>
                    <a:pt x="1144" y="890"/>
                  </a:lnTo>
                  <a:lnTo>
                    <a:pt x="1149" y="890"/>
                  </a:lnTo>
                  <a:lnTo>
                    <a:pt x="1149" y="888"/>
                  </a:lnTo>
                  <a:lnTo>
                    <a:pt x="1150" y="887"/>
                  </a:lnTo>
                  <a:lnTo>
                    <a:pt x="1153" y="885"/>
                  </a:lnTo>
                  <a:lnTo>
                    <a:pt x="1154" y="885"/>
                  </a:lnTo>
                  <a:lnTo>
                    <a:pt x="1157" y="885"/>
                  </a:lnTo>
                  <a:lnTo>
                    <a:pt x="1159" y="885"/>
                  </a:lnTo>
                  <a:lnTo>
                    <a:pt x="1160" y="888"/>
                  </a:lnTo>
                  <a:lnTo>
                    <a:pt x="1162" y="888"/>
                  </a:lnTo>
                  <a:lnTo>
                    <a:pt x="1164" y="890"/>
                  </a:lnTo>
                  <a:lnTo>
                    <a:pt x="1167" y="891"/>
                  </a:lnTo>
                  <a:lnTo>
                    <a:pt x="1170" y="890"/>
                  </a:lnTo>
                  <a:lnTo>
                    <a:pt x="1173" y="887"/>
                  </a:lnTo>
                  <a:lnTo>
                    <a:pt x="1174" y="887"/>
                  </a:lnTo>
                  <a:lnTo>
                    <a:pt x="1177" y="888"/>
                  </a:lnTo>
                  <a:lnTo>
                    <a:pt x="1180" y="890"/>
                  </a:lnTo>
                  <a:lnTo>
                    <a:pt x="1183" y="884"/>
                  </a:lnTo>
                  <a:lnTo>
                    <a:pt x="1189" y="877"/>
                  </a:lnTo>
                  <a:lnTo>
                    <a:pt x="1189" y="871"/>
                  </a:lnTo>
                  <a:lnTo>
                    <a:pt x="1193" y="868"/>
                  </a:lnTo>
                  <a:lnTo>
                    <a:pt x="1195" y="868"/>
                  </a:lnTo>
                  <a:lnTo>
                    <a:pt x="1196" y="868"/>
                  </a:lnTo>
                  <a:lnTo>
                    <a:pt x="1196" y="865"/>
                  </a:lnTo>
                  <a:lnTo>
                    <a:pt x="1196" y="860"/>
                  </a:lnTo>
                  <a:lnTo>
                    <a:pt x="1199" y="858"/>
                  </a:lnTo>
                  <a:lnTo>
                    <a:pt x="1200" y="852"/>
                  </a:lnTo>
                  <a:lnTo>
                    <a:pt x="1200" y="851"/>
                  </a:lnTo>
                  <a:lnTo>
                    <a:pt x="1203" y="852"/>
                  </a:lnTo>
                  <a:lnTo>
                    <a:pt x="1203" y="854"/>
                  </a:lnTo>
                  <a:lnTo>
                    <a:pt x="1205" y="854"/>
                  </a:lnTo>
                  <a:lnTo>
                    <a:pt x="1206" y="851"/>
                  </a:lnTo>
                  <a:lnTo>
                    <a:pt x="1207" y="847"/>
                  </a:lnTo>
                  <a:lnTo>
                    <a:pt x="1209" y="841"/>
                  </a:lnTo>
                  <a:lnTo>
                    <a:pt x="1209" y="837"/>
                  </a:lnTo>
                  <a:lnTo>
                    <a:pt x="1209" y="825"/>
                  </a:lnTo>
                  <a:lnTo>
                    <a:pt x="1212" y="821"/>
                  </a:lnTo>
                  <a:lnTo>
                    <a:pt x="1213" y="819"/>
                  </a:lnTo>
                  <a:lnTo>
                    <a:pt x="1216" y="819"/>
                  </a:lnTo>
                  <a:lnTo>
                    <a:pt x="1219" y="824"/>
                  </a:lnTo>
                  <a:lnTo>
                    <a:pt x="1219" y="829"/>
                  </a:lnTo>
                  <a:lnTo>
                    <a:pt x="1219" y="835"/>
                  </a:lnTo>
                  <a:lnTo>
                    <a:pt x="1219" y="839"/>
                  </a:lnTo>
                  <a:lnTo>
                    <a:pt x="1217" y="839"/>
                  </a:lnTo>
                  <a:lnTo>
                    <a:pt x="1220" y="842"/>
                  </a:lnTo>
                  <a:lnTo>
                    <a:pt x="1222" y="842"/>
                  </a:lnTo>
                  <a:lnTo>
                    <a:pt x="1223" y="835"/>
                  </a:lnTo>
                  <a:lnTo>
                    <a:pt x="1223" y="831"/>
                  </a:lnTo>
                  <a:lnTo>
                    <a:pt x="1220" y="825"/>
                  </a:lnTo>
                  <a:lnTo>
                    <a:pt x="1219" y="819"/>
                  </a:lnTo>
                  <a:lnTo>
                    <a:pt x="1217" y="814"/>
                  </a:lnTo>
                  <a:lnTo>
                    <a:pt x="1213" y="808"/>
                  </a:lnTo>
                  <a:lnTo>
                    <a:pt x="1209" y="799"/>
                  </a:lnTo>
                  <a:lnTo>
                    <a:pt x="1207" y="792"/>
                  </a:lnTo>
                  <a:lnTo>
                    <a:pt x="1207" y="786"/>
                  </a:lnTo>
                  <a:lnTo>
                    <a:pt x="1206" y="782"/>
                  </a:lnTo>
                  <a:lnTo>
                    <a:pt x="1207" y="771"/>
                  </a:lnTo>
                  <a:lnTo>
                    <a:pt x="1209" y="768"/>
                  </a:lnTo>
                  <a:lnTo>
                    <a:pt x="1210" y="766"/>
                  </a:lnTo>
                  <a:lnTo>
                    <a:pt x="1210" y="765"/>
                  </a:lnTo>
                  <a:lnTo>
                    <a:pt x="1207" y="756"/>
                  </a:lnTo>
                  <a:lnTo>
                    <a:pt x="1197" y="741"/>
                  </a:lnTo>
                  <a:lnTo>
                    <a:pt x="1187" y="725"/>
                  </a:lnTo>
                  <a:lnTo>
                    <a:pt x="1186" y="718"/>
                  </a:lnTo>
                  <a:lnTo>
                    <a:pt x="1186" y="716"/>
                  </a:lnTo>
                  <a:lnTo>
                    <a:pt x="1186" y="713"/>
                  </a:lnTo>
                  <a:lnTo>
                    <a:pt x="1185" y="709"/>
                  </a:lnTo>
                  <a:lnTo>
                    <a:pt x="1182" y="703"/>
                  </a:lnTo>
                  <a:lnTo>
                    <a:pt x="1180" y="699"/>
                  </a:lnTo>
                  <a:lnTo>
                    <a:pt x="1180" y="695"/>
                  </a:lnTo>
                  <a:lnTo>
                    <a:pt x="1180" y="692"/>
                  </a:lnTo>
                  <a:lnTo>
                    <a:pt x="1176" y="689"/>
                  </a:lnTo>
                  <a:lnTo>
                    <a:pt x="1174" y="686"/>
                  </a:lnTo>
                  <a:lnTo>
                    <a:pt x="1172" y="682"/>
                  </a:lnTo>
                  <a:lnTo>
                    <a:pt x="1167" y="678"/>
                  </a:lnTo>
                  <a:lnTo>
                    <a:pt x="1157" y="673"/>
                  </a:lnTo>
                  <a:lnTo>
                    <a:pt x="1149" y="665"/>
                  </a:lnTo>
                  <a:lnTo>
                    <a:pt x="1143" y="663"/>
                  </a:lnTo>
                  <a:lnTo>
                    <a:pt x="1139" y="658"/>
                  </a:lnTo>
                  <a:lnTo>
                    <a:pt x="1133" y="650"/>
                  </a:lnTo>
                  <a:lnTo>
                    <a:pt x="1130" y="645"/>
                  </a:lnTo>
                  <a:lnTo>
                    <a:pt x="1126" y="643"/>
                  </a:lnTo>
                  <a:lnTo>
                    <a:pt x="1120" y="643"/>
                  </a:lnTo>
                  <a:lnTo>
                    <a:pt x="1119" y="642"/>
                  </a:lnTo>
                  <a:lnTo>
                    <a:pt x="1114" y="639"/>
                  </a:lnTo>
                  <a:lnTo>
                    <a:pt x="1111" y="639"/>
                  </a:lnTo>
                  <a:lnTo>
                    <a:pt x="1110" y="640"/>
                  </a:lnTo>
                  <a:lnTo>
                    <a:pt x="1109" y="643"/>
                  </a:lnTo>
                  <a:lnTo>
                    <a:pt x="1109" y="645"/>
                  </a:lnTo>
                  <a:lnTo>
                    <a:pt x="1109" y="649"/>
                  </a:lnTo>
                  <a:lnTo>
                    <a:pt x="1106" y="650"/>
                  </a:lnTo>
                  <a:lnTo>
                    <a:pt x="1104" y="650"/>
                  </a:lnTo>
                  <a:lnTo>
                    <a:pt x="1104" y="649"/>
                  </a:lnTo>
                  <a:lnTo>
                    <a:pt x="1101" y="648"/>
                  </a:lnTo>
                  <a:lnTo>
                    <a:pt x="1099" y="649"/>
                  </a:lnTo>
                  <a:lnTo>
                    <a:pt x="1086" y="653"/>
                  </a:lnTo>
                  <a:lnTo>
                    <a:pt x="1080" y="655"/>
                  </a:lnTo>
                  <a:lnTo>
                    <a:pt x="1080" y="658"/>
                  </a:lnTo>
                  <a:lnTo>
                    <a:pt x="1080" y="659"/>
                  </a:lnTo>
                  <a:lnTo>
                    <a:pt x="1079" y="659"/>
                  </a:lnTo>
                  <a:lnTo>
                    <a:pt x="1076" y="658"/>
                  </a:lnTo>
                  <a:lnTo>
                    <a:pt x="1076" y="655"/>
                  </a:lnTo>
                  <a:lnTo>
                    <a:pt x="1073" y="655"/>
                  </a:lnTo>
                  <a:lnTo>
                    <a:pt x="1060" y="653"/>
                  </a:lnTo>
                  <a:lnTo>
                    <a:pt x="1053" y="650"/>
                  </a:lnTo>
                  <a:lnTo>
                    <a:pt x="1047" y="649"/>
                  </a:lnTo>
                  <a:lnTo>
                    <a:pt x="1046" y="648"/>
                  </a:lnTo>
                  <a:lnTo>
                    <a:pt x="1044" y="645"/>
                  </a:lnTo>
                  <a:lnTo>
                    <a:pt x="1040" y="645"/>
                  </a:lnTo>
                  <a:lnTo>
                    <a:pt x="1037" y="643"/>
                  </a:lnTo>
                  <a:lnTo>
                    <a:pt x="1036" y="643"/>
                  </a:lnTo>
                  <a:lnTo>
                    <a:pt x="1036" y="646"/>
                  </a:lnTo>
                  <a:lnTo>
                    <a:pt x="1036" y="649"/>
                  </a:lnTo>
                  <a:lnTo>
                    <a:pt x="1033" y="648"/>
                  </a:lnTo>
                  <a:lnTo>
                    <a:pt x="1033" y="648"/>
                  </a:lnTo>
                  <a:lnTo>
                    <a:pt x="1031" y="643"/>
                  </a:lnTo>
                  <a:lnTo>
                    <a:pt x="1031" y="642"/>
                  </a:lnTo>
                  <a:lnTo>
                    <a:pt x="1028" y="640"/>
                  </a:lnTo>
                  <a:lnTo>
                    <a:pt x="1028" y="638"/>
                  </a:lnTo>
                  <a:lnTo>
                    <a:pt x="1028" y="635"/>
                  </a:lnTo>
                  <a:lnTo>
                    <a:pt x="1024" y="633"/>
                  </a:lnTo>
                  <a:lnTo>
                    <a:pt x="1026" y="632"/>
                  </a:lnTo>
                  <a:lnTo>
                    <a:pt x="1027" y="629"/>
                  </a:lnTo>
                  <a:lnTo>
                    <a:pt x="1030" y="629"/>
                  </a:lnTo>
                  <a:lnTo>
                    <a:pt x="1031" y="629"/>
                  </a:lnTo>
                  <a:lnTo>
                    <a:pt x="1031" y="632"/>
                  </a:lnTo>
                  <a:lnTo>
                    <a:pt x="1031" y="635"/>
                  </a:lnTo>
                  <a:lnTo>
                    <a:pt x="1034" y="635"/>
                  </a:lnTo>
                  <a:lnTo>
                    <a:pt x="1036" y="632"/>
                  </a:lnTo>
                  <a:lnTo>
                    <a:pt x="1038" y="626"/>
                  </a:lnTo>
                  <a:lnTo>
                    <a:pt x="1040" y="620"/>
                  </a:lnTo>
                  <a:lnTo>
                    <a:pt x="1040" y="615"/>
                  </a:lnTo>
                  <a:lnTo>
                    <a:pt x="1036" y="609"/>
                  </a:lnTo>
                  <a:lnTo>
                    <a:pt x="1033" y="605"/>
                  </a:lnTo>
                  <a:lnTo>
                    <a:pt x="1027" y="605"/>
                  </a:lnTo>
                  <a:lnTo>
                    <a:pt x="1023" y="605"/>
                  </a:lnTo>
                  <a:lnTo>
                    <a:pt x="1018" y="607"/>
                  </a:lnTo>
                  <a:lnTo>
                    <a:pt x="1010" y="610"/>
                  </a:lnTo>
                  <a:lnTo>
                    <a:pt x="1003" y="612"/>
                  </a:lnTo>
                  <a:lnTo>
                    <a:pt x="1000" y="612"/>
                  </a:lnTo>
                  <a:lnTo>
                    <a:pt x="1001" y="612"/>
                  </a:lnTo>
                  <a:lnTo>
                    <a:pt x="1003" y="606"/>
                  </a:lnTo>
                  <a:lnTo>
                    <a:pt x="1005" y="603"/>
                  </a:lnTo>
                  <a:lnTo>
                    <a:pt x="1011" y="602"/>
                  </a:lnTo>
                  <a:lnTo>
                    <a:pt x="1014" y="599"/>
                  </a:lnTo>
                  <a:lnTo>
                    <a:pt x="1020" y="596"/>
                  </a:lnTo>
                  <a:lnTo>
                    <a:pt x="1020" y="593"/>
                  </a:lnTo>
                  <a:lnTo>
                    <a:pt x="1017" y="590"/>
                  </a:lnTo>
                  <a:lnTo>
                    <a:pt x="1013" y="589"/>
                  </a:lnTo>
                  <a:lnTo>
                    <a:pt x="1008" y="589"/>
                  </a:lnTo>
                  <a:lnTo>
                    <a:pt x="1007" y="587"/>
                  </a:lnTo>
                  <a:lnTo>
                    <a:pt x="1007" y="586"/>
                  </a:lnTo>
                  <a:lnTo>
                    <a:pt x="1014" y="586"/>
                  </a:lnTo>
                  <a:lnTo>
                    <a:pt x="1018" y="587"/>
                  </a:lnTo>
                  <a:lnTo>
                    <a:pt x="1021" y="589"/>
                  </a:lnTo>
                  <a:lnTo>
                    <a:pt x="1023" y="592"/>
                  </a:lnTo>
                  <a:lnTo>
                    <a:pt x="1026" y="592"/>
                  </a:lnTo>
                  <a:lnTo>
                    <a:pt x="1031" y="589"/>
                  </a:lnTo>
                  <a:lnTo>
                    <a:pt x="1037" y="590"/>
                  </a:lnTo>
                  <a:lnTo>
                    <a:pt x="1040" y="590"/>
                  </a:lnTo>
                  <a:lnTo>
                    <a:pt x="1044" y="587"/>
                  </a:lnTo>
                  <a:lnTo>
                    <a:pt x="1046" y="585"/>
                  </a:lnTo>
                  <a:lnTo>
                    <a:pt x="1043" y="580"/>
                  </a:lnTo>
                  <a:lnTo>
                    <a:pt x="1041" y="577"/>
                  </a:lnTo>
                  <a:lnTo>
                    <a:pt x="1041" y="573"/>
                  </a:lnTo>
                  <a:lnTo>
                    <a:pt x="1038" y="569"/>
                  </a:lnTo>
                  <a:lnTo>
                    <a:pt x="1034" y="569"/>
                  </a:lnTo>
                  <a:lnTo>
                    <a:pt x="1030" y="565"/>
                  </a:lnTo>
                  <a:lnTo>
                    <a:pt x="1027" y="560"/>
                  </a:lnTo>
                  <a:lnTo>
                    <a:pt x="1024" y="560"/>
                  </a:lnTo>
                  <a:lnTo>
                    <a:pt x="1021" y="559"/>
                  </a:lnTo>
                  <a:lnTo>
                    <a:pt x="1020" y="557"/>
                  </a:lnTo>
                  <a:lnTo>
                    <a:pt x="1020" y="553"/>
                  </a:lnTo>
                  <a:lnTo>
                    <a:pt x="1018" y="552"/>
                  </a:lnTo>
                  <a:lnTo>
                    <a:pt x="1016" y="549"/>
                  </a:lnTo>
                  <a:lnTo>
                    <a:pt x="1016" y="547"/>
                  </a:lnTo>
                  <a:lnTo>
                    <a:pt x="1017" y="547"/>
                  </a:lnTo>
                  <a:lnTo>
                    <a:pt x="1020" y="547"/>
                  </a:lnTo>
                  <a:lnTo>
                    <a:pt x="1023" y="549"/>
                  </a:lnTo>
                  <a:lnTo>
                    <a:pt x="1027" y="552"/>
                  </a:lnTo>
                  <a:lnTo>
                    <a:pt x="1033" y="552"/>
                  </a:lnTo>
                  <a:lnTo>
                    <a:pt x="1040" y="554"/>
                  </a:lnTo>
                  <a:lnTo>
                    <a:pt x="1044" y="557"/>
                  </a:lnTo>
                  <a:lnTo>
                    <a:pt x="1046" y="562"/>
                  </a:lnTo>
                  <a:lnTo>
                    <a:pt x="1053" y="563"/>
                  </a:lnTo>
                  <a:lnTo>
                    <a:pt x="1057" y="566"/>
                  </a:lnTo>
                  <a:lnTo>
                    <a:pt x="1058" y="572"/>
                  </a:lnTo>
                  <a:lnTo>
                    <a:pt x="1058" y="573"/>
                  </a:lnTo>
                  <a:lnTo>
                    <a:pt x="1061" y="576"/>
                  </a:lnTo>
                  <a:lnTo>
                    <a:pt x="1066" y="577"/>
                  </a:lnTo>
                  <a:lnTo>
                    <a:pt x="1070" y="582"/>
                  </a:lnTo>
                  <a:lnTo>
                    <a:pt x="1070" y="586"/>
                  </a:lnTo>
                  <a:lnTo>
                    <a:pt x="1067" y="589"/>
                  </a:lnTo>
                  <a:lnTo>
                    <a:pt x="1061" y="589"/>
                  </a:lnTo>
                  <a:lnTo>
                    <a:pt x="1060" y="590"/>
                  </a:lnTo>
                  <a:lnTo>
                    <a:pt x="1061" y="592"/>
                  </a:lnTo>
                  <a:lnTo>
                    <a:pt x="1070" y="590"/>
                  </a:lnTo>
                  <a:lnTo>
                    <a:pt x="1076" y="590"/>
                  </a:lnTo>
                  <a:lnTo>
                    <a:pt x="1077" y="593"/>
                  </a:lnTo>
                  <a:lnTo>
                    <a:pt x="1086" y="595"/>
                  </a:lnTo>
                  <a:lnTo>
                    <a:pt x="1087" y="595"/>
                  </a:lnTo>
                  <a:lnTo>
                    <a:pt x="1090" y="592"/>
                  </a:lnTo>
                  <a:lnTo>
                    <a:pt x="1094" y="592"/>
                  </a:lnTo>
                  <a:lnTo>
                    <a:pt x="1099" y="592"/>
                  </a:lnTo>
                  <a:lnTo>
                    <a:pt x="1101" y="593"/>
                  </a:lnTo>
                  <a:lnTo>
                    <a:pt x="1101" y="589"/>
                  </a:lnTo>
                  <a:lnTo>
                    <a:pt x="1103" y="587"/>
                  </a:lnTo>
                  <a:lnTo>
                    <a:pt x="1107" y="589"/>
                  </a:lnTo>
                  <a:lnTo>
                    <a:pt x="1111" y="587"/>
                  </a:lnTo>
                  <a:lnTo>
                    <a:pt x="1114" y="587"/>
                  </a:lnTo>
                  <a:lnTo>
                    <a:pt x="1111" y="583"/>
                  </a:lnTo>
                  <a:lnTo>
                    <a:pt x="1113" y="577"/>
                  </a:lnTo>
                  <a:lnTo>
                    <a:pt x="1120" y="577"/>
                  </a:lnTo>
                  <a:lnTo>
                    <a:pt x="1123" y="577"/>
                  </a:lnTo>
                  <a:lnTo>
                    <a:pt x="1126" y="580"/>
                  </a:lnTo>
                  <a:lnTo>
                    <a:pt x="1129" y="583"/>
                  </a:lnTo>
                  <a:lnTo>
                    <a:pt x="1133" y="585"/>
                  </a:lnTo>
                  <a:lnTo>
                    <a:pt x="1134" y="589"/>
                  </a:lnTo>
                  <a:lnTo>
                    <a:pt x="1139" y="589"/>
                  </a:lnTo>
                  <a:lnTo>
                    <a:pt x="1140" y="589"/>
                  </a:lnTo>
                  <a:lnTo>
                    <a:pt x="1143" y="589"/>
                  </a:lnTo>
                  <a:lnTo>
                    <a:pt x="1146" y="595"/>
                  </a:lnTo>
                  <a:lnTo>
                    <a:pt x="1149" y="600"/>
                  </a:lnTo>
                  <a:lnTo>
                    <a:pt x="1150" y="600"/>
                  </a:lnTo>
                  <a:lnTo>
                    <a:pt x="1152" y="597"/>
                  </a:lnTo>
                  <a:lnTo>
                    <a:pt x="1153" y="595"/>
                  </a:lnTo>
                  <a:lnTo>
                    <a:pt x="1157" y="592"/>
                  </a:lnTo>
                  <a:lnTo>
                    <a:pt x="1159" y="587"/>
                  </a:lnTo>
                  <a:lnTo>
                    <a:pt x="1160" y="582"/>
                  </a:lnTo>
                  <a:lnTo>
                    <a:pt x="1163" y="576"/>
                  </a:lnTo>
                  <a:lnTo>
                    <a:pt x="1164" y="575"/>
                  </a:lnTo>
                  <a:lnTo>
                    <a:pt x="1172" y="559"/>
                  </a:lnTo>
                  <a:lnTo>
                    <a:pt x="1176" y="543"/>
                  </a:lnTo>
                  <a:lnTo>
                    <a:pt x="1177" y="534"/>
                  </a:lnTo>
                  <a:lnTo>
                    <a:pt x="1179" y="523"/>
                  </a:lnTo>
                  <a:lnTo>
                    <a:pt x="1176" y="514"/>
                  </a:lnTo>
                  <a:lnTo>
                    <a:pt x="1170" y="510"/>
                  </a:lnTo>
                  <a:lnTo>
                    <a:pt x="1170" y="504"/>
                  </a:lnTo>
                  <a:lnTo>
                    <a:pt x="1172" y="497"/>
                  </a:lnTo>
                  <a:lnTo>
                    <a:pt x="1174" y="487"/>
                  </a:lnTo>
                  <a:lnTo>
                    <a:pt x="1179" y="480"/>
                  </a:lnTo>
                  <a:lnTo>
                    <a:pt x="1183" y="476"/>
                  </a:lnTo>
                  <a:lnTo>
                    <a:pt x="1186" y="469"/>
                  </a:lnTo>
                  <a:lnTo>
                    <a:pt x="1189" y="466"/>
                  </a:lnTo>
                  <a:lnTo>
                    <a:pt x="1190" y="466"/>
                  </a:lnTo>
                  <a:lnTo>
                    <a:pt x="1189" y="470"/>
                  </a:lnTo>
                  <a:lnTo>
                    <a:pt x="1189" y="471"/>
                  </a:lnTo>
                  <a:lnTo>
                    <a:pt x="1192" y="469"/>
                  </a:lnTo>
                  <a:lnTo>
                    <a:pt x="1202" y="459"/>
                  </a:lnTo>
                  <a:lnTo>
                    <a:pt x="1210" y="448"/>
                  </a:lnTo>
                  <a:lnTo>
                    <a:pt x="1215" y="446"/>
                  </a:lnTo>
                  <a:lnTo>
                    <a:pt x="1215" y="443"/>
                  </a:lnTo>
                  <a:lnTo>
                    <a:pt x="1212" y="443"/>
                  </a:lnTo>
                  <a:lnTo>
                    <a:pt x="1209" y="444"/>
                  </a:lnTo>
                  <a:lnTo>
                    <a:pt x="1210" y="443"/>
                  </a:lnTo>
                  <a:lnTo>
                    <a:pt x="1210" y="437"/>
                  </a:lnTo>
                  <a:lnTo>
                    <a:pt x="1210" y="436"/>
                  </a:lnTo>
                  <a:lnTo>
                    <a:pt x="1212" y="436"/>
                  </a:lnTo>
                  <a:lnTo>
                    <a:pt x="1213" y="437"/>
                  </a:lnTo>
                  <a:lnTo>
                    <a:pt x="1215" y="440"/>
                  </a:lnTo>
                  <a:lnTo>
                    <a:pt x="1217" y="436"/>
                  </a:lnTo>
                  <a:lnTo>
                    <a:pt x="1222" y="434"/>
                  </a:lnTo>
                  <a:lnTo>
                    <a:pt x="1227" y="434"/>
                  </a:lnTo>
                  <a:lnTo>
                    <a:pt x="1232" y="437"/>
                  </a:lnTo>
                  <a:lnTo>
                    <a:pt x="1235" y="437"/>
                  </a:lnTo>
                  <a:lnTo>
                    <a:pt x="1235" y="436"/>
                  </a:lnTo>
                  <a:lnTo>
                    <a:pt x="1242" y="434"/>
                  </a:lnTo>
                  <a:lnTo>
                    <a:pt x="1242" y="437"/>
                  </a:lnTo>
                  <a:lnTo>
                    <a:pt x="1239" y="440"/>
                  </a:lnTo>
                  <a:lnTo>
                    <a:pt x="1240" y="441"/>
                  </a:lnTo>
                  <a:lnTo>
                    <a:pt x="1246" y="441"/>
                  </a:lnTo>
                  <a:lnTo>
                    <a:pt x="1248" y="441"/>
                  </a:lnTo>
                  <a:lnTo>
                    <a:pt x="1250" y="438"/>
                  </a:lnTo>
                  <a:lnTo>
                    <a:pt x="1253" y="438"/>
                  </a:lnTo>
                  <a:lnTo>
                    <a:pt x="1258" y="437"/>
                  </a:lnTo>
                  <a:lnTo>
                    <a:pt x="1263" y="436"/>
                  </a:lnTo>
                  <a:lnTo>
                    <a:pt x="1270" y="438"/>
                  </a:lnTo>
                  <a:lnTo>
                    <a:pt x="1275" y="443"/>
                  </a:lnTo>
                  <a:lnTo>
                    <a:pt x="1279" y="444"/>
                  </a:lnTo>
                  <a:lnTo>
                    <a:pt x="1280" y="444"/>
                  </a:lnTo>
                  <a:lnTo>
                    <a:pt x="1282" y="450"/>
                  </a:lnTo>
                  <a:lnTo>
                    <a:pt x="1282" y="454"/>
                  </a:lnTo>
                  <a:lnTo>
                    <a:pt x="1289" y="451"/>
                  </a:lnTo>
                  <a:lnTo>
                    <a:pt x="1293" y="447"/>
                  </a:lnTo>
                  <a:lnTo>
                    <a:pt x="1299" y="443"/>
                  </a:lnTo>
                  <a:lnTo>
                    <a:pt x="1305" y="440"/>
                  </a:lnTo>
                  <a:lnTo>
                    <a:pt x="1309" y="436"/>
                  </a:lnTo>
                  <a:lnTo>
                    <a:pt x="1313" y="436"/>
                  </a:lnTo>
                  <a:lnTo>
                    <a:pt x="1318" y="437"/>
                  </a:lnTo>
                  <a:lnTo>
                    <a:pt x="1319" y="433"/>
                  </a:lnTo>
                  <a:lnTo>
                    <a:pt x="1319" y="426"/>
                  </a:lnTo>
                  <a:lnTo>
                    <a:pt x="1321" y="426"/>
                  </a:lnTo>
                  <a:lnTo>
                    <a:pt x="1322" y="426"/>
                  </a:lnTo>
                  <a:lnTo>
                    <a:pt x="1322" y="428"/>
                  </a:lnTo>
                  <a:lnTo>
                    <a:pt x="1325" y="434"/>
                  </a:lnTo>
                  <a:lnTo>
                    <a:pt x="1329" y="434"/>
                  </a:lnTo>
                  <a:lnTo>
                    <a:pt x="1331" y="433"/>
                  </a:lnTo>
                  <a:lnTo>
                    <a:pt x="1333" y="424"/>
                  </a:lnTo>
                  <a:lnTo>
                    <a:pt x="1336" y="416"/>
                  </a:lnTo>
                  <a:lnTo>
                    <a:pt x="1341" y="407"/>
                  </a:lnTo>
                  <a:lnTo>
                    <a:pt x="1341" y="404"/>
                  </a:lnTo>
                  <a:lnTo>
                    <a:pt x="1338" y="403"/>
                  </a:lnTo>
                  <a:lnTo>
                    <a:pt x="1331" y="401"/>
                  </a:lnTo>
                  <a:lnTo>
                    <a:pt x="1329" y="400"/>
                  </a:lnTo>
                  <a:lnTo>
                    <a:pt x="1326" y="398"/>
                  </a:lnTo>
                  <a:lnTo>
                    <a:pt x="1328" y="396"/>
                  </a:lnTo>
                  <a:lnTo>
                    <a:pt x="1332" y="396"/>
                  </a:lnTo>
                  <a:lnTo>
                    <a:pt x="1333" y="398"/>
                  </a:lnTo>
                  <a:lnTo>
                    <a:pt x="1338" y="398"/>
                  </a:lnTo>
                  <a:lnTo>
                    <a:pt x="1342" y="394"/>
                  </a:lnTo>
                  <a:lnTo>
                    <a:pt x="1348" y="390"/>
                  </a:lnTo>
                  <a:lnTo>
                    <a:pt x="1355" y="384"/>
                  </a:lnTo>
                  <a:lnTo>
                    <a:pt x="1371" y="371"/>
                  </a:lnTo>
                  <a:lnTo>
                    <a:pt x="1374" y="368"/>
                  </a:lnTo>
                  <a:lnTo>
                    <a:pt x="1374" y="364"/>
                  </a:lnTo>
                  <a:lnTo>
                    <a:pt x="1374" y="361"/>
                  </a:lnTo>
                  <a:lnTo>
                    <a:pt x="1375" y="360"/>
                  </a:lnTo>
                  <a:lnTo>
                    <a:pt x="1376" y="360"/>
                  </a:lnTo>
                  <a:lnTo>
                    <a:pt x="1376" y="365"/>
                  </a:lnTo>
                  <a:lnTo>
                    <a:pt x="1382" y="360"/>
                  </a:lnTo>
                  <a:lnTo>
                    <a:pt x="1391" y="355"/>
                  </a:lnTo>
                  <a:lnTo>
                    <a:pt x="1402" y="354"/>
                  </a:lnTo>
                  <a:lnTo>
                    <a:pt x="1409" y="357"/>
                  </a:lnTo>
                  <a:lnTo>
                    <a:pt x="1415" y="355"/>
                  </a:lnTo>
                  <a:lnTo>
                    <a:pt x="1422" y="351"/>
                  </a:lnTo>
                  <a:lnTo>
                    <a:pt x="1424" y="350"/>
                  </a:lnTo>
                  <a:lnTo>
                    <a:pt x="1421" y="345"/>
                  </a:lnTo>
                  <a:lnTo>
                    <a:pt x="1417" y="341"/>
                  </a:lnTo>
                  <a:lnTo>
                    <a:pt x="1415" y="338"/>
                  </a:lnTo>
                  <a:lnTo>
                    <a:pt x="1418" y="338"/>
                  </a:lnTo>
                  <a:lnTo>
                    <a:pt x="1422" y="340"/>
                  </a:lnTo>
                  <a:lnTo>
                    <a:pt x="1427" y="344"/>
                  </a:lnTo>
                  <a:lnTo>
                    <a:pt x="1428" y="343"/>
                  </a:lnTo>
                  <a:lnTo>
                    <a:pt x="1431" y="338"/>
                  </a:lnTo>
                  <a:lnTo>
                    <a:pt x="1437" y="334"/>
                  </a:lnTo>
                  <a:lnTo>
                    <a:pt x="1437" y="324"/>
                  </a:lnTo>
                  <a:lnTo>
                    <a:pt x="1434" y="317"/>
                  </a:lnTo>
                  <a:lnTo>
                    <a:pt x="1428" y="308"/>
                  </a:lnTo>
                  <a:lnTo>
                    <a:pt x="1417" y="302"/>
                  </a:lnTo>
                  <a:lnTo>
                    <a:pt x="1412" y="302"/>
                  </a:lnTo>
                  <a:lnTo>
                    <a:pt x="1405" y="304"/>
                  </a:lnTo>
                  <a:lnTo>
                    <a:pt x="1399" y="302"/>
                  </a:lnTo>
                  <a:lnTo>
                    <a:pt x="1399" y="301"/>
                  </a:lnTo>
                  <a:lnTo>
                    <a:pt x="1401" y="297"/>
                  </a:lnTo>
                  <a:lnTo>
                    <a:pt x="1405" y="300"/>
                  </a:lnTo>
                  <a:lnTo>
                    <a:pt x="1411" y="300"/>
                  </a:lnTo>
                  <a:lnTo>
                    <a:pt x="1417" y="298"/>
                  </a:lnTo>
                  <a:lnTo>
                    <a:pt x="1418" y="298"/>
                  </a:lnTo>
                  <a:lnTo>
                    <a:pt x="1425" y="302"/>
                  </a:lnTo>
                  <a:lnTo>
                    <a:pt x="1434" y="310"/>
                  </a:lnTo>
                  <a:lnTo>
                    <a:pt x="1441" y="315"/>
                  </a:lnTo>
                  <a:lnTo>
                    <a:pt x="1447" y="314"/>
                  </a:lnTo>
                  <a:lnTo>
                    <a:pt x="1451" y="311"/>
                  </a:lnTo>
                  <a:lnTo>
                    <a:pt x="1458" y="302"/>
                  </a:lnTo>
                  <a:lnTo>
                    <a:pt x="1461" y="295"/>
                  </a:lnTo>
                  <a:lnTo>
                    <a:pt x="1461" y="290"/>
                  </a:lnTo>
                  <a:lnTo>
                    <a:pt x="1459" y="287"/>
                  </a:lnTo>
                  <a:lnTo>
                    <a:pt x="1447" y="285"/>
                  </a:lnTo>
                  <a:lnTo>
                    <a:pt x="1441" y="285"/>
                  </a:lnTo>
                  <a:lnTo>
                    <a:pt x="1439" y="284"/>
                  </a:lnTo>
                  <a:lnTo>
                    <a:pt x="1439" y="282"/>
                  </a:lnTo>
                  <a:lnTo>
                    <a:pt x="1445" y="282"/>
                  </a:lnTo>
                  <a:lnTo>
                    <a:pt x="1451" y="281"/>
                  </a:lnTo>
                  <a:lnTo>
                    <a:pt x="1457" y="284"/>
                  </a:lnTo>
                  <a:lnTo>
                    <a:pt x="1458" y="282"/>
                  </a:lnTo>
                  <a:lnTo>
                    <a:pt x="1455" y="278"/>
                  </a:lnTo>
                  <a:lnTo>
                    <a:pt x="1451" y="277"/>
                  </a:lnTo>
                  <a:lnTo>
                    <a:pt x="1442" y="274"/>
                  </a:lnTo>
                  <a:lnTo>
                    <a:pt x="1434" y="269"/>
                  </a:lnTo>
                  <a:lnTo>
                    <a:pt x="1431" y="271"/>
                  </a:lnTo>
                  <a:lnTo>
                    <a:pt x="1428" y="274"/>
                  </a:lnTo>
                  <a:lnTo>
                    <a:pt x="1428" y="281"/>
                  </a:lnTo>
                  <a:lnTo>
                    <a:pt x="1429" y="285"/>
                  </a:lnTo>
                  <a:lnTo>
                    <a:pt x="1427" y="285"/>
                  </a:lnTo>
                  <a:lnTo>
                    <a:pt x="1424" y="282"/>
                  </a:lnTo>
                  <a:lnTo>
                    <a:pt x="1422" y="274"/>
                  </a:lnTo>
                  <a:lnTo>
                    <a:pt x="1424" y="267"/>
                  </a:lnTo>
                  <a:lnTo>
                    <a:pt x="1427" y="267"/>
                  </a:lnTo>
                  <a:lnTo>
                    <a:pt x="1432" y="267"/>
                  </a:lnTo>
                  <a:lnTo>
                    <a:pt x="1438" y="267"/>
                  </a:lnTo>
                  <a:lnTo>
                    <a:pt x="1442" y="267"/>
                  </a:lnTo>
                  <a:lnTo>
                    <a:pt x="1445" y="262"/>
                  </a:lnTo>
                  <a:lnTo>
                    <a:pt x="1448" y="258"/>
                  </a:lnTo>
                  <a:lnTo>
                    <a:pt x="1447" y="248"/>
                  </a:lnTo>
                  <a:lnTo>
                    <a:pt x="1447" y="242"/>
                  </a:lnTo>
                  <a:lnTo>
                    <a:pt x="1451" y="234"/>
                  </a:lnTo>
                  <a:lnTo>
                    <a:pt x="1449" y="232"/>
                  </a:lnTo>
                  <a:lnTo>
                    <a:pt x="1447" y="232"/>
                  </a:lnTo>
                  <a:lnTo>
                    <a:pt x="1439" y="237"/>
                  </a:lnTo>
                  <a:lnTo>
                    <a:pt x="1434" y="239"/>
                  </a:lnTo>
                  <a:lnTo>
                    <a:pt x="1421" y="241"/>
                  </a:lnTo>
                  <a:lnTo>
                    <a:pt x="1419" y="244"/>
                  </a:lnTo>
                  <a:lnTo>
                    <a:pt x="1415" y="251"/>
                  </a:lnTo>
                  <a:lnTo>
                    <a:pt x="1412" y="255"/>
                  </a:lnTo>
                  <a:lnTo>
                    <a:pt x="1408" y="258"/>
                  </a:lnTo>
                  <a:lnTo>
                    <a:pt x="1406" y="262"/>
                  </a:lnTo>
                  <a:lnTo>
                    <a:pt x="1406" y="265"/>
                  </a:lnTo>
                  <a:lnTo>
                    <a:pt x="1408" y="272"/>
                  </a:lnTo>
                  <a:lnTo>
                    <a:pt x="1408" y="275"/>
                  </a:lnTo>
                  <a:lnTo>
                    <a:pt x="1408" y="274"/>
                  </a:lnTo>
                  <a:lnTo>
                    <a:pt x="1404" y="269"/>
                  </a:lnTo>
                  <a:lnTo>
                    <a:pt x="1401" y="265"/>
                  </a:lnTo>
                  <a:lnTo>
                    <a:pt x="1396" y="264"/>
                  </a:lnTo>
                  <a:lnTo>
                    <a:pt x="1394" y="269"/>
                  </a:lnTo>
                  <a:lnTo>
                    <a:pt x="1395" y="277"/>
                  </a:lnTo>
                  <a:lnTo>
                    <a:pt x="1395" y="279"/>
                  </a:lnTo>
                  <a:lnTo>
                    <a:pt x="1394" y="279"/>
                  </a:lnTo>
                  <a:lnTo>
                    <a:pt x="1394" y="278"/>
                  </a:lnTo>
                  <a:lnTo>
                    <a:pt x="1391" y="271"/>
                  </a:lnTo>
                  <a:lnTo>
                    <a:pt x="1389" y="267"/>
                  </a:lnTo>
                  <a:lnTo>
                    <a:pt x="1389" y="261"/>
                  </a:lnTo>
                  <a:lnTo>
                    <a:pt x="1385" y="254"/>
                  </a:lnTo>
                  <a:lnTo>
                    <a:pt x="1381" y="251"/>
                  </a:lnTo>
                  <a:lnTo>
                    <a:pt x="1376" y="252"/>
                  </a:lnTo>
                  <a:lnTo>
                    <a:pt x="1372" y="257"/>
                  </a:lnTo>
                  <a:lnTo>
                    <a:pt x="1368" y="262"/>
                  </a:lnTo>
                  <a:lnTo>
                    <a:pt x="1368" y="267"/>
                  </a:lnTo>
                  <a:lnTo>
                    <a:pt x="1371" y="269"/>
                  </a:lnTo>
                  <a:lnTo>
                    <a:pt x="1374" y="274"/>
                  </a:lnTo>
                  <a:lnTo>
                    <a:pt x="1375" y="278"/>
                  </a:lnTo>
                  <a:lnTo>
                    <a:pt x="1375" y="282"/>
                  </a:lnTo>
                  <a:lnTo>
                    <a:pt x="1374" y="282"/>
                  </a:lnTo>
                  <a:lnTo>
                    <a:pt x="1371" y="279"/>
                  </a:lnTo>
                  <a:lnTo>
                    <a:pt x="1371" y="275"/>
                  </a:lnTo>
                  <a:lnTo>
                    <a:pt x="1371" y="274"/>
                  </a:lnTo>
                  <a:lnTo>
                    <a:pt x="1365" y="274"/>
                  </a:lnTo>
                  <a:lnTo>
                    <a:pt x="1364" y="269"/>
                  </a:lnTo>
                  <a:lnTo>
                    <a:pt x="1364" y="261"/>
                  </a:lnTo>
                  <a:lnTo>
                    <a:pt x="1365" y="258"/>
                  </a:lnTo>
                  <a:lnTo>
                    <a:pt x="1369" y="254"/>
                  </a:lnTo>
                  <a:lnTo>
                    <a:pt x="1368" y="248"/>
                  </a:lnTo>
                  <a:lnTo>
                    <a:pt x="1365" y="239"/>
                  </a:lnTo>
                  <a:lnTo>
                    <a:pt x="1362" y="225"/>
                  </a:lnTo>
                  <a:lnTo>
                    <a:pt x="1359" y="216"/>
                  </a:lnTo>
                  <a:lnTo>
                    <a:pt x="1354" y="209"/>
                  </a:lnTo>
                  <a:lnTo>
                    <a:pt x="1348" y="205"/>
                  </a:lnTo>
                  <a:lnTo>
                    <a:pt x="1343" y="201"/>
                  </a:lnTo>
                  <a:lnTo>
                    <a:pt x="1343" y="199"/>
                  </a:lnTo>
                  <a:lnTo>
                    <a:pt x="1341" y="198"/>
                  </a:lnTo>
                  <a:lnTo>
                    <a:pt x="1339" y="198"/>
                  </a:lnTo>
                  <a:lnTo>
                    <a:pt x="1339" y="201"/>
                  </a:lnTo>
                  <a:lnTo>
                    <a:pt x="1339" y="204"/>
                  </a:lnTo>
                  <a:lnTo>
                    <a:pt x="1338" y="204"/>
                  </a:lnTo>
                  <a:lnTo>
                    <a:pt x="1332" y="204"/>
                  </a:lnTo>
                  <a:lnTo>
                    <a:pt x="1332" y="202"/>
                  </a:lnTo>
                  <a:lnTo>
                    <a:pt x="1335" y="201"/>
                  </a:lnTo>
                  <a:lnTo>
                    <a:pt x="1335" y="198"/>
                  </a:lnTo>
                  <a:lnTo>
                    <a:pt x="1332" y="198"/>
                  </a:lnTo>
                  <a:lnTo>
                    <a:pt x="1331" y="198"/>
                  </a:lnTo>
                  <a:lnTo>
                    <a:pt x="1326" y="199"/>
                  </a:lnTo>
                  <a:lnTo>
                    <a:pt x="1322" y="199"/>
                  </a:lnTo>
                  <a:lnTo>
                    <a:pt x="1321" y="199"/>
                  </a:lnTo>
                  <a:lnTo>
                    <a:pt x="1316" y="205"/>
                  </a:lnTo>
                  <a:lnTo>
                    <a:pt x="1316" y="208"/>
                  </a:lnTo>
                  <a:lnTo>
                    <a:pt x="1315" y="212"/>
                  </a:lnTo>
                  <a:lnTo>
                    <a:pt x="1313" y="219"/>
                  </a:lnTo>
                  <a:lnTo>
                    <a:pt x="1313" y="225"/>
                  </a:lnTo>
                  <a:lnTo>
                    <a:pt x="1312" y="227"/>
                  </a:lnTo>
                  <a:lnTo>
                    <a:pt x="1309" y="231"/>
                  </a:lnTo>
                  <a:lnTo>
                    <a:pt x="1302" y="225"/>
                  </a:lnTo>
                  <a:lnTo>
                    <a:pt x="1308" y="218"/>
                  </a:lnTo>
                  <a:lnTo>
                    <a:pt x="1308" y="211"/>
                  </a:lnTo>
                  <a:lnTo>
                    <a:pt x="1309" y="208"/>
                  </a:lnTo>
                  <a:lnTo>
                    <a:pt x="1309" y="201"/>
                  </a:lnTo>
                  <a:lnTo>
                    <a:pt x="1312" y="201"/>
                  </a:lnTo>
                  <a:lnTo>
                    <a:pt x="1315" y="201"/>
                  </a:lnTo>
                  <a:lnTo>
                    <a:pt x="1315" y="199"/>
                  </a:lnTo>
                  <a:lnTo>
                    <a:pt x="1312" y="196"/>
                  </a:lnTo>
                  <a:lnTo>
                    <a:pt x="1309" y="195"/>
                  </a:lnTo>
                  <a:lnTo>
                    <a:pt x="1302" y="195"/>
                  </a:lnTo>
                  <a:lnTo>
                    <a:pt x="1296" y="195"/>
                  </a:lnTo>
                  <a:lnTo>
                    <a:pt x="1289" y="189"/>
                  </a:lnTo>
                  <a:lnTo>
                    <a:pt x="1280" y="182"/>
                  </a:lnTo>
                  <a:lnTo>
                    <a:pt x="1279" y="182"/>
                  </a:lnTo>
                  <a:lnTo>
                    <a:pt x="1278" y="182"/>
                  </a:lnTo>
                  <a:lnTo>
                    <a:pt x="1278" y="184"/>
                  </a:lnTo>
                  <a:lnTo>
                    <a:pt x="1283" y="191"/>
                  </a:lnTo>
                  <a:lnTo>
                    <a:pt x="1283" y="195"/>
                  </a:lnTo>
                  <a:lnTo>
                    <a:pt x="1280" y="199"/>
                  </a:lnTo>
                  <a:lnTo>
                    <a:pt x="1279" y="201"/>
                  </a:lnTo>
                  <a:lnTo>
                    <a:pt x="1278" y="206"/>
                  </a:lnTo>
                  <a:lnTo>
                    <a:pt x="1276" y="209"/>
                  </a:lnTo>
                  <a:lnTo>
                    <a:pt x="1275" y="209"/>
                  </a:lnTo>
                  <a:lnTo>
                    <a:pt x="1275" y="208"/>
                  </a:lnTo>
                  <a:lnTo>
                    <a:pt x="1276" y="204"/>
                  </a:lnTo>
                  <a:lnTo>
                    <a:pt x="1278" y="196"/>
                  </a:lnTo>
                  <a:lnTo>
                    <a:pt x="1278" y="195"/>
                  </a:lnTo>
                  <a:lnTo>
                    <a:pt x="1276" y="195"/>
                  </a:lnTo>
                  <a:lnTo>
                    <a:pt x="1272" y="195"/>
                  </a:lnTo>
                  <a:lnTo>
                    <a:pt x="1269" y="196"/>
                  </a:lnTo>
                  <a:lnTo>
                    <a:pt x="1262" y="199"/>
                  </a:lnTo>
                  <a:lnTo>
                    <a:pt x="1258" y="196"/>
                  </a:lnTo>
                  <a:lnTo>
                    <a:pt x="1255" y="199"/>
                  </a:lnTo>
                  <a:lnTo>
                    <a:pt x="1252" y="204"/>
                  </a:lnTo>
                  <a:lnTo>
                    <a:pt x="1249" y="206"/>
                  </a:lnTo>
                  <a:lnTo>
                    <a:pt x="1248" y="211"/>
                  </a:lnTo>
                  <a:lnTo>
                    <a:pt x="1245" y="214"/>
                  </a:lnTo>
                  <a:lnTo>
                    <a:pt x="1243" y="214"/>
                  </a:lnTo>
                  <a:lnTo>
                    <a:pt x="1242" y="211"/>
                  </a:lnTo>
                  <a:lnTo>
                    <a:pt x="1239" y="211"/>
                  </a:lnTo>
                  <a:lnTo>
                    <a:pt x="1239" y="212"/>
                  </a:lnTo>
                  <a:lnTo>
                    <a:pt x="1239" y="212"/>
                  </a:lnTo>
                  <a:lnTo>
                    <a:pt x="1239" y="215"/>
                  </a:lnTo>
                  <a:lnTo>
                    <a:pt x="1237" y="219"/>
                  </a:lnTo>
                  <a:lnTo>
                    <a:pt x="1235" y="221"/>
                  </a:lnTo>
                  <a:lnTo>
                    <a:pt x="1235" y="212"/>
                  </a:lnTo>
                  <a:lnTo>
                    <a:pt x="1235" y="211"/>
                  </a:lnTo>
                  <a:lnTo>
                    <a:pt x="1236" y="206"/>
                  </a:lnTo>
                  <a:lnTo>
                    <a:pt x="1236" y="205"/>
                  </a:lnTo>
                  <a:lnTo>
                    <a:pt x="1237" y="205"/>
                  </a:lnTo>
                  <a:lnTo>
                    <a:pt x="1237" y="205"/>
                  </a:lnTo>
                  <a:lnTo>
                    <a:pt x="1239" y="205"/>
                  </a:lnTo>
                  <a:lnTo>
                    <a:pt x="1239" y="199"/>
                  </a:lnTo>
                  <a:lnTo>
                    <a:pt x="1240" y="194"/>
                  </a:lnTo>
                  <a:lnTo>
                    <a:pt x="1243" y="192"/>
                  </a:lnTo>
                  <a:lnTo>
                    <a:pt x="1243" y="188"/>
                  </a:lnTo>
                  <a:lnTo>
                    <a:pt x="1246" y="186"/>
                  </a:lnTo>
                  <a:lnTo>
                    <a:pt x="1248" y="188"/>
                  </a:lnTo>
                  <a:lnTo>
                    <a:pt x="1248" y="191"/>
                  </a:lnTo>
                  <a:lnTo>
                    <a:pt x="1248" y="194"/>
                  </a:lnTo>
                  <a:lnTo>
                    <a:pt x="1250" y="194"/>
                  </a:lnTo>
                  <a:lnTo>
                    <a:pt x="1253" y="189"/>
                  </a:lnTo>
                  <a:lnTo>
                    <a:pt x="1259" y="188"/>
                  </a:lnTo>
                  <a:lnTo>
                    <a:pt x="1262" y="191"/>
                  </a:lnTo>
                  <a:lnTo>
                    <a:pt x="1263" y="194"/>
                  </a:lnTo>
                  <a:lnTo>
                    <a:pt x="1263" y="194"/>
                  </a:lnTo>
                  <a:lnTo>
                    <a:pt x="1263" y="191"/>
                  </a:lnTo>
                  <a:lnTo>
                    <a:pt x="1265" y="188"/>
                  </a:lnTo>
                  <a:lnTo>
                    <a:pt x="1266" y="185"/>
                  </a:lnTo>
                  <a:lnTo>
                    <a:pt x="1268" y="182"/>
                  </a:lnTo>
                  <a:lnTo>
                    <a:pt x="1266" y="175"/>
                  </a:lnTo>
                  <a:lnTo>
                    <a:pt x="1268" y="174"/>
                  </a:lnTo>
                  <a:lnTo>
                    <a:pt x="1272" y="172"/>
                  </a:lnTo>
                  <a:lnTo>
                    <a:pt x="1273" y="172"/>
                  </a:lnTo>
                  <a:lnTo>
                    <a:pt x="1275" y="163"/>
                  </a:lnTo>
                  <a:lnTo>
                    <a:pt x="1276" y="162"/>
                  </a:lnTo>
                  <a:lnTo>
                    <a:pt x="1278" y="162"/>
                  </a:lnTo>
                  <a:lnTo>
                    <a:pt x="1278" y="166"/>
                  </a:lnTo>
                  <a:lnTo>
                    <a:pt x="1278" y="171"/>
                  </a:lnTo>
                  <a:lnTo>
                    <a:pt x="1278" y="178"/>
                  </a:lnTo>
                  <a:lnTo>
                    <a:pt x="1278" y="179"/>
                  </a:lnTo>
                  <a:lnTo>
                    <a:pt x="1279" y="179"/>
                  </a:lnTo>
                  <a:lnTo>
                    <a:pt x="1280" y="176"/>
                  </a:lnTo>
                  <a:lnTo>
                    <a:pt x="1282" y="169"/>
                  </a:lnTo>
                  <a:lnTo>
                    <a:pt x="1280" y="152"/>
                  </a:lnTo>
                  <a:lnTo>
                    <a:pt x="1282" y="143"/>
                  </a:lnTo>
                  <a:lnTo>
                    <a:pt x="1282" y="131"/>
                  </a:lnTo>
                  <a:lnTo>
                    <a:pt x="1285" y="126"/>
                  </a:lnTo>
                  <a:lnTo>
                    <a:pt x="1289" y="123"/>
                  </a:lnTo>
                  <a:lnTo>
                    <a:pt x="1292" y="119"/>
                  </a:lnTo>
                  <a:lnTo>
                    <a:pt x="1292" y="113"/>
                  </a:lnTo>
                  <a:lnTo>
                    <a:pt x="1289" y="108"/>
                  </a:lnTo>
                  <a:lnTo>
                    <a:pt x="1286" y="103"/>
                  </a:lnTo>
                  <a:lnTo>
                    <a:pt x="1283" y="103"/>
                  </a:lnTo>
                  <a:lnTo>
                    <a:pt x="1280" y="105"/>
                  </a:lnTo>
                  <a:lnTo>
                    <a:pt x="1275" y="105"/>
                  </a:lnTo>
                  <a:lnTo>
                    <a:pt x="1269" y="109"/>
                  </a:lnTo>
                  <a:lnTo>
                    <a:pt x="1268" y="112"/>
                  </a:lnTo>
                  <a:lnTo>
                    <a:pt x="1265" y="116"/>
                  </a:lnTo>
                  <a:lnTo>
                    <a:pt x="1263" y="119"/>
                  </a:lnTo>
                  <a:lnTo>
                    <a:pt x="1255" y="122"/>
                  </a:lnTo>
                  <a:lnTo>
                    <a:pt x="1253" y="122"/>
                  </a:lnTo>
                  <a:lnTo>
                    <a:pt x="1253" y="121"/>
                  </a:lnTo>
                  <a:lnTo>
                    <a:pt x="1252" y="121"/>
                  </a:lnTo>
                  <a:lnTo>
                    <a:pt x="1249" y="121"/>
                  </a:lnTo>
                  <a:lnTo>
                    <a:pt x="1248" y="121"/>
                  </a:lnTo>
                  <a:lnTo>
                    <a:pt x="1245" y="123"/>
                  </a:lnTo>
                  <a:lnTo>
                    <a:pt x="1242" y="125"/>
                  </a:lnTo>
                  <a:lnTo>
                    <a:pt x="1239" y="125"/>
                  </a:lnTo>
                  <a:lnTo>
                    <a:pt x="1237" y="126"/>
                  </a:lnTo>
                  <a:lnTo>
                    <a:pt x="1235" y="128"/>
                  </a:lnTo>
                  <a:lnTo>
                    <a:pt x="1230" y="131"/>
                  </a:lnTo>
                  <a:lnTo>
                    <a:pt x="1230" y="128"/>
                  </a:lnTo>
                  <a:lnTo>
                    <a:pt x="1235" y="123"/>
                  </a:lnTo>
                  <a:lnTo>
                    <a:pt x="1245" y="119"/>
                  </a:lnTo>
                  <a:lnTo>
                    <a:pt x="1249" y="115"/>
                  </a:lnTo>
                  <a:lnTo>
                    <a:pt x="1252" y="113"/>
                  </a:lnTo>
                  <a:lnTo>
                    <a:pt x="1259" y="115"/>
                  </a:lnTo>
                  <a:lnTo>
                    <a:pt x="1260" y="113"/>
                  </a:lnTo>
                  <a:lnTo>
                    <a:pt x="1265" y="108"/>
                  </a:lnTo>
                  <a:lnTo>
                    <a:pt x="1269" y="99"/>
                  </a:lnTo>
                  <a:lnTo>
                    <a:pt x="1273" y="98"/>
                  </a:lnTo>
                  <a:lnTo>
                    <a:pt x="1278" y="95"/>
                  </a:lnTo>
                  <a:lnTo>
                    <a:pt x="1279" y="88"/>
                  </a:lnTo>
                  <a:lnTo>
                    <a:pt x="1282" y="82"/>
                  </a:lnTo>
                  <a:lnTo>
                    <a:pt x="1282" y="76"/>
                  </a:lnTo>
                  <a:lnTo>
                    <a:pt x="1279" y="73"/>
                  </a:lnTo>
                  <a:lnTo>
                    <a:pt x="1275" y="69"/>
                  </a:lnTo>
                  <a:lnTo>
                    <a:pt x="1269" y="68"/>
                  </a:lnTo>
                  <a:lnTo>
                    <a:pt x="1262" y="68"/>
                  </a:lnTo>
                  <a:lnTo>
                    <a:pt x="1256" y="68"/>
                  </a:lnTo>
                  <a:lnTo>
                    <a:pt x="1253" y="65"/>
                  </a:lnTo>
                  <a:lnTo>
                    <a:pt x="1246" y="63"/>
                  </a:lnTo>
                  <a:lnTo>
                    <a:pt x="1243" y="65"/>
                  </a:lnTo>
                  <a:lnTo>
                    <a:pt x="1245" y="68"/>
                  </a:lnTo>
                  <a:lnTo>
                    <a:pt x="1242" y="69"/>
                  </a:lnTo>
                  <a:lnTo>
                    <a:pt x="1239" y="65"/>
                  </a:lnTo>
                  <a:lnTo>
                    <a:pt x="1232" y="52"/>
                  </a:lnTo>
                  <a:lnTo>
                    <a:pt x="1232" y="47"/>
                  </a:lnTo>
                  <a:lnTo>
                    <a:pt x="1227" y="39"/>
                  </a:lnTo>
                  <a:lnTo>
                    <a:pt x="1223" y="35"/>
                  </a:lnTo>
                  <a:lnTo>
                    <a:pt x="1222" y="32"/>
                  </a:lnTo>
                  <a:lnTo>
                    <a:pt x="1222" y="23"/>
                  </a:lnTo>
                  <a:lnTo>
                    <a:pt x="1220" y="20"/>
                  </a:lnTo>
                  <a:lnTo>
                    <a:pt x="1226" y="17"/>
                  </a:lnTo>
                  <a:lnTo>
                    <a:pt x="1230" y="13"/>
                  </a:lnTo>
                  <a:lnTo>
                    <a:pt x="1233" y="9"/>
                  </a:lnTo>
                  <a:lnTo>
                    <a:pt x="1230" y="5"/>
                  </a:lnTo>
                  <a:lnTo>
                    <a:pt x="1226" y="3"/>
                  </a:lnTo>
                  <a:lnTo>
                    <a:pt x="1219" y="0"/>
                  </a:lnTo>
                  <a:lnTo>
                    <a:pt x="1213" y="2"/>
                  </a:lnTo>
                  <a:lnTo>
                    <a:pt x="1207" y="2"/>
                  </a:lnTo>
                  <a:lnTo>
                    <a:pt x="1202" y="6"/>
                  </a:lnTo>
                  <a:lnTo>
                    <a:pt x="1197" y="16"/>
                  </a:lnTo>
                  <a:lnTo>
                    <a:pt x="1195" y="20"/>
                  </a:lnTo>
                  <a:lnTo>
                    <a:pt x="1195" y="23"/>
                  </a:lnTo>
                  <a:lnTo>
                    <a:pt x="1197" y="23"/>
                  </a:lnTo>
                  <a:lnTo>
                    <a:pt x="1200" y="20"/>
                  </a:lnTo>
                  <a:lnTo>
                    <a:pt x="1200" y="16"/>
                  </a:lnTo>
                  <a:lnTo>
                    <a:pt x="1202" y="15"/>
                  </a:lnTo>
                  <a:lnTo>
                    <a:pt x="1205" y="15"/>
                  </a:lnTo>
                  <a:lnTo>
                    <a:pt x="1205" y="16"/>
                  </a:lnTo>
                  <a:lnTo>
                    <a:pt x="1203" y="19"/>
                  </a:lnTo>
                  <a:lnTo>
                    <a:pt x="1200" y="23"/>
                  </a:lnTo>
                  <a:lnTo>
                    <a:pt x="1200" y="26"/>
                  </a:lnTo>
                  <a:lnTo>
                    <a:pt x="1200" y="29"/>
                  </a:lnTo>
                  <a:lnTo>
                    <a:pt x="1200" y="32"/>
                  </a:lnTo>
                  <a:lnTo>
                    <a:pt x="1200" y="35"/>
                  </a:lnTo>
                  <a:lnTo>
                    <a:pt x="1197" y="36"/>
                  </a:lnTo>
                  <a:lnTo>
                    <a:pt x="1193" y="39"/>
                  </a:lnTo>
                  <a:lnTo>
                    <a:pt x="1190" y="42"/>
                  </a:lnTo>
                  <a:lnTo>
                    <a:pt x="1192" y="36"/>
                  </a:lnTo>
                  <a:lnTo>
                    <a:pt x="1195" y="32"/>
                  </a:lnTo>
                  <a:lnTo>
                    <a:pt x="1195" y="27"/>
                  </a:lnTo>
                  <a:lnTo>
                    <a:pt x="1193" y="26"/>
                  </a:lnTo>
                  <a:lnTo>
                    <a:pt x="1187" y="29"/>
                  </a:lnTo>
                  <a:lnTo>
                    <a:pt x="1177" y="30"/>
                  </a:lnTo>
                  <a:lnTo>
                    <a:pt x="1174" y="35"/>
                  </a:lnTo>
                  <a:lnTo>
                    <a:pt x="1172" y="37"/>
                  </a:lnTo>
                  <a:lnTo>
                    <a:pt x="1172" y="37"/>
                  </a:lnTo>
                  <a:lnTo>
                    <a:pt x="1176" y="37"/>
                  </a:lnTo>
                  <a:lnTo>
                    <a:pt x="1176" y="40"/>
                  </a:lnTo>
                  <a:lnTo>
                    <a:pt x="1176" y="46"/>
                  </a:lnTo>
                  <a:lnTo>
                    <a:pt x="1177" y="49"/>
                  </a:lnTo>
                  <a:lnTo>
                    <a:pt x="1180" y="50"/>
                  </a:lnTo>
                  <a:lnTo>
                    <a:pt x="1180" y="52"/>
                  </a:lnTo>
                  <a:lnTo>
                    <a:pt x="1174" y="52"/>
                  </a:lnTo>
                  <a:lnTo>
                    <a:pt x="1173" y="50"/>
                  </a:lnTo>
                  <a:lnTo>
                    <a:pt x="1173" y="50"/>
                  </a:lnTo>
                  <a:lnTo>
                    <a:pt x="1174" y="49"/>
                  </a:lnTo>
                  <a:lnTo>
                    <a:pt x="1173" y="46"/>
                  </a:lnTo>
                  <a:lnTo>
                    <a:pt x="1172" y="43"/>
                  </a:lnTo>
                  <a:lnTo>
                    <a:pt x="1172" y="42"/>
                  </a:lnTo>
                  <a:lnTo>
                    <a:pt x="1167" y="42"/>
                  </a:lnTo>
                  <a:lnTo>
                    <a:pt x="1163" y="47"/>
                  </a:lnTo>
                  <a:lnTo>
                    <a:pt x="1160" y="50"/>
                  </a:lnTo>
                  <a:lnTo>
                    <a:pt x="1153" y="52"/>
                  </a:lnTo>
                  <a:lnTo>
                    <a:pt x="1143" y="58"/>
                  </a:lnTo>
                  <a:lnTo>
                    <a:pt x="1134" y="63"/>
                  </a:lnTo>
                  <a:lnTo>
                    <a:pt x="1123" y="73"/>
                  </a:lnTo>
                  <a:lnTo>
                    <a:pt x="1120" y="76"/>
                  </a:lnTo>
                  <a:lnTo>
                    <a:pt x="1117" y="79"/>
                  </a:lnTo>
                  <a:lnTo>
                    <a:pt x="1109" y="85"/>
                  </a:lnTo>
                  <a:lnTo>
                    <a:pt x="1103" y="86"/>
                  </a:lnTo>
                  <a:lnTo>
                    <a:pt x="1096" y="89"/>
                  </a:lnTo>
                  <a:lnTo>
                    <a:pt x="1091" y="88"/>
                  </a:lnTo>
                  <a:lnTo>
                    <a:pt x="1087" y="85"/>
                  </a:lnTo>
                  <a:lnTo>
                    <a:pt x="1086" y="83"/>
                  </a:lnTo>
                  <a:lnTo>
                    <a:pt x="1081" y="88"/>
                  </a:lnTo>
                  <a:lnTo>
                    <a:pt x="1073" y="95"/>
                  </a:lnTo>
                  <a:lnTo>
                    <a:pt x="1070" y="98"/>
                  </a:lnTo>
                  <a:lnTo>
                    <a:pt x="1064" y="99"/>
                  </a:lnTo>
                  <a:lnTo>
                    <a:pt x="1060" y="99"/>
                  </a:lnTo>
                  <a:lnTo>
                    <a:pt x="1056" y="96"/>
                  </a:lnTo>
                  <a:lnTo>
                    <a:pt x="1051" y="95"/>
                  </a:lnTo>
                  <a:lnTo>
                    <a:pt x="1048" y="98"/>
                  </a:lnTo>
                  <a:lnTo>
                    <a:pt x="1046" y="105"/>
                  </a:lnTo>
                  <a:lnTo>
                    <a:pt x="1044" y="109"/>
                  </a:lnTo>
                  <a:lnTo>
                    <a:pt x="1041" y="110"/>
                  </a:lnTo>
                  <a:lnTo>
                    <a:pt x="1040" y="112"/>
                  </a:lnTo>
                  <a:lnTo>
                    <a:pt x="1041" y="118"/>
                  </a:lnTo>
                  <a:lnTo>
                    <a:pt x="1041" y="121"/>
                  </a:lnTo>
                  <a:lnTo>
                    <a:pt x="1040" y="123"/>
                  </a:lnTo>
                  <a:lnTo>
                    <a:pt x="1040" y="125"/>
                  </a:lnTo>
                  <a:lnTo>
                    <a:pt x="1036" y="131"/>
                  </a:lnTo>
                  <a:lnTo>
                    <a:pt x="1033" y="135"/>
                  </a:lnTo>
                  <a:lnTo>
                    <a:pt x="1030" y="141"/>
                  </a:lnTo>
                  <a:lnTo>
                    <a:pt x="1030" y="142"/>
                  </a:lnTo>
                  <a:lnTo>
                    <a:pt x="1033" y="142"/>
                  </a:lnTo>
                  <a:lnTo>
                    <a:pt x="1037" y="136"/>
                  </a:lnTo>
                  <a:lnTo>
                    <a:pt x="1040" y="129"/>
                  </a:lnTo>
                  <a:lnTo>
                    <a:pt x="1043" y="126"/>
                  </a:lnTo>
                  <a:lnTo>
                    <a:pt x="1044" y="125"/>
                  </a:lnTo>
                  <a:lnTo>
                    <a:pt x="1044" y="126"/>
                  </a:lnTo>
                  <a:lnTo>
                    <a:pt x="1043" y="129"/>
                  </a:lnTo>
                  <a:lnTo>
                    <a:pt x="1040" y="133"/>
                  </a:lnTo>
                  <a:lnTo>
                    <a:pt x="1038" y="138"/>
                  </a:lnTo>
                  <a:lnTo>
                    <a:pt x="1037" y="141"/>
                  </a:lnTo>
                  <a:lnTo>
                    <a:pt x="1036" y="143"/>
                  </a:lnTo>
                  <a:lnTo>
                    <a:pt x="1033" y="146"/>
                  </a:lnTo>
                  <a:lnTo>
                    <a:pt x="1031" y="149"/>
                  </a:lnTo>
                  <a:lnTo>
                    <a:pt x="1028" y="155"/>
                  </a:lnTo>
                  <a:lnTo>
                    <a:pt x="1026" y="161"/>
                  </a:lnTo>
                  <a:lnTo>
                    <a:pt x="1024" y="162"/>
                  </a:lnTo>
                  <a:lnTo>
                    <a:pt x="1023" y="162"/>
                  </a:lnTo>
                  <a:lnTo>
                    <a:pt x="1026" y="155"/>
                  </a:lnTo>
                  <a:lnTo>
                    <a:pt x="1028" y="148"/>
                  </a:lnTo>
                  <a:lnTo>
                    <a:pt x="1028" y="146"/>
                  </a:lnTo>
                  <a:lnTo>
                    <a:pt x="1027" y="146"/>
                  </a:lnTo>
                  <a:lnTo>
                    <a:pt x="1024" y="152"/>
                  </a:lnTo>
                  <a:lnTo>
                    <a:pt x="1018" y="162"/>
                  </a:lnTo>
                  <a:lnTo>
                    <a:pt x="1016" y="171"/>
                  </a:lnTo>
                  <a:lnTo>
                    <a:pt x="1013" y="178"/>
                  </a:lnTo>
                  <a:lnTo>
                    <a:pt x="1014" y="182"/>
                  </a:lnTo>
                  <a:lnTo>
                    <a:pt x="1017" y="182"/>
                  </a:lnTo>
                  <a:lnTo>
                    <a:pt x="1020" y="178"/>
                  </a:lnTo>
                  <a:lnTo>
                    <a:pt x="1021" y="172"/>
                  </a:lnTo>
                  <a:lnTo>
                    <a:pt x="1024" y="168"/>
                  </a:lnTo>
                  <a:lnTo>
                    <a:pt x="1027" y="166"/>
                  </a:lnTo>
                  <a:lnTo>
                    <a:pt x="1030" y="159"/>
                  </a:lnTo>
                  <a:lnTo>
                    <a:pt x="1033" y="152"/>
                  </a:lnTo>
                  <a:lnTo>
                    <a:pt x="1033" y="151"/>
                  </a:lnTo>
                  <a:lnTo>
                    <a:pt x="1037" y="146"/>
                  </a:lnTo>
                  <a:lnTo>
                    <a:pt x="1040" y="146"/>
                  </a:lnTo>
                  <a:lnTo>
                    <a:pt x="1043" y="146"/>
                  </a:lnTo>
                  <a:lnTo>
                    <a:pt x="1044" y="149"/>
                  </a:lnTo>
                  <a:lnTo>
                    <a:pt x="1046" y="153"/>
                  </a:lnTo>
                  <a:lnTo>
                    <a:pt x="1044" y="155"/>
                  </a:lnTo>
                  <a:lnTo>
                    <a:pt x="1043" y="158"/>
                  </a:lnTo>
                  <a:lnTo>
                    <a:pt x="1041" y="159"/>
                  </a:lnTo>
                  <a:lnTo>
                    <a:pt x="1043" y="163"/>
                  </a:lnTo>
                  <a:lnTo>
                    <a:pt x="1043" y="165"/>
                  </a:lnTo>
                  <a:lnTo>
                    <a:pt x="1041" y="171"/>
                  </a:lnTo>
                  <a:lnTo>
                    <a:pt x="1038" y="175"/>
                  </a:lnTo>
                  <a:lnTo>
                    <a:pt x="1038" y="178"/>
                  </a:lnTo>
                  <a:lnTo>
                    <a:pt x="1036" y="182"/>
                  </a:lnTo>
                  <a:lnTo>
                    <a:pt x="1033" y="184"/>
                  </a:lnTo>
                  <a:lnTo>
                    <a:pt x="1030" y="185"/>
                  </a:lnTo>
                  <a:lnTo>
                    <a:pt x="1024" y="184"/>
                  </a:lnTo>
                  <a:lnTo>
                    <a:pt x="1023" y="184"/>
                  </a:lnTo>
                  <a:lnTo>
                    <a:pt x="1023" y="185"/>
                  </a:lnTo>
                  <a:lnTo>
                    <a:pt x="1023" y="189"/>
                  </a:lnTo>
                  <a:lnTo>
                    <a:pt x="1026" y="191"/>
                  </a:lnTo>
                  <a:lnTo>
                    <a:pt x="1028" y="192"/>
                  </a:lnTo>
                  <a:lnTo>
                    <a:pt x="1033" y="195"/>
                  </a:lnTo>
                  <a:lnTo>
                    <a:pt x="1033" y="198"/>
                  </a:lnTo>
                  <a:lnTo>
                    <a:pt x="1034" y="199"/>
                  </a:lnTo>
                  <a:lnTo>
                    <a:pt x="1034" y="195"/>
                  </a:lnTo>
                  <a:lnTo>
                    <a:pt x="1034" y="195"/>
                  </a:lnTo>
                  <a:lnTo>
                    <a:pt x="1037" y="195"/>
                  </a:lnTo>
                  <a:lnTo>
                    <a:pt x="1041" y="194"/>
                  </a:lnTo>
                  <a:lnTo>
                    <a:pt x="1043" y="192"/>
                  </a:lnTo>
                  <a:lnTo>
                    <a:pt x="1044" y="192"/>
                  </a:lnTo>
                  <a:lnTo>
                    <a:pt x="1046" y="196"/>
                  </a:lnTo>
                  <a:lnTo>
                    <a:pt x="1046" y="196"/>
                  </a:lnTo>
                  <a:lnTo>
                    <a:pt x="1046" y="198"/>
                  </a:lnTo>
                  <a:lnTo>
                    <a:pt x="1046" y="202"/>
                  </a:lnTo>
                  <a:lnTo>
                    <a:pt x="1044" y="208"/>
                  </a:lnTo>
                  <a:lnTo>
                    <a:pt x="1041" y="208"/>
                  </a:lnTo>
                  <a:lnTo>
                    <a:pt x="1040" y="208"/>
                  </a:lnTo>
                  <a:lnTo>
                    <a:pt x="1038" y="204"/>
                  </a:lnTo>
                  <a:lnTo>
                    <a:pt x="1036" y="202"/>
                  </a:lnTo>
                  <a:lnTo>
                    <a:pt x="1033" y="204"/>
                  </a:lnTo>
                  <a:lnTo>
                    <a:pt x="1030" y="201"/>
                  </a:lnTo>
                  <a:lnTo>
                    <a:pt x="1023" y="202"/>
                  </a:lnTo>
                  <a:lnTo>
                    <a:pt x="1021" y="198"/>
                  </a:lnTo>
                  <a:lnTo>
                    <a:pt x="1021" y="192"/>
                  </a:lnTo>
                  <a:lnTo>
                    <a:pt x="1021" y="191"/>
                  </a:lnTo>
                  <a:lnTo>
                    <a:pt x="1018" y="189"/>
                  </a:lnTo>
                  <a:lnTo>
                    <a:pt x="1017" y="192"/>
                  </a:lnTo>
                  <a:lnTo>
                    <a:pt x="1014" y="196"/>
                  </a:lnTo>
                  <a:lnTo>
                    <a:pt x="1010" y="198"/>
                  </a:lnTo>
                  <a:lnTo>
                    <a:pt x="1008" y="198"/>
                  </a:lnTo>
                  <a:lnTo>
                    <a:pt x="1010" y="195"/>
                  </a:lnTo>
                  <a:lnTo>
                    <a:pt x="1013" y="191"/>
                  </a:lnTo>
                  <a:lnTo>
                    <a:pt x="1013" y="188"/>
                  </a:lnTo>
                  <a:lnTo>
                    <a:pt x="1013" y="185"/>
                  </a:lnTo>
                  <a:lnTo>
                    <a:pt x="1011" y="185"/>
                  </a:lnTo>
                  <a:lnTo>
                    <a:pt x="1007" y="189"/>
                  </a:lnTo>
                  <a:lnTo>
                    <a:pt x="1004" y="198"/>
                  </a:lnTo>
                  <a:lnTo>
                    <a:pt x="1004" y="201"/>
                  </a:lnTo>
                  <a:lnTo>
                    <a:pt x="1004" y="202"/>
                  </a:lnTo>
                  <a:lnTo>
                    <a:pt x="1005" y="204"/>
                  </a:lnTo>
                  <a:lnTo>
                    <a:pt x="1008" y="205"/>
                  </a:lnTo>
                  <a:lnTo>
                    <a:pt x="1010" y="209"/>
                  </a:lnTo>
                  <a:lnTo>
                    <a:pt x="1007" y="211"/>
                  </a:lnTo>
                  <a:lnTo>
                    <a:pt x="1004" y="209"/>
                  </a:lnTo>
                  <a:lnTo>
                    <a:pt x="1004" y="208"/>
                  </a:lnTo>
                  <a:lnTo>
                    <a:pt x="1003" y="206"/>
                  </a:lnTo>
                  <a:lnTo>
                    <a:pt x="1000" y="211"/>
                  </a:lnTo>
                  <a:lnTo>
                    <a:pt x="995" y="212"/>
                  </a:lnTo>
                  <a:lnTo>
                    <a:pt x="995" y="215"/>
                  </a:lnTo>
                  <a:lnTo>
                    <a:pt x="997" y="219"/>
                  </a:lnTo>
                  <a:lnTo>
                    <a:pt x="998" y="228"/>
                  </a:lnTo>
                  <a:lnTo>
                    <a:pt x="995" y="234"/>
                  </a:lnTo>
                  <a:lnTo>
                    <a:pt x="991" y="238"/>
                  </a:lnTo>
                  <a:lnTo>
                    <a:pt x="991" y="244"/>
                  </a:lnTo>
                  <a:lnTo>
                    <a:pt x="985" y="252"/>
                  </a:lnTo>
                  <a:lnTo>
                    <a:pt x="984" y="262"/>
                  </a:lnTo>
                  <a:lnTo>
                    <a:pt x="984" y="271"/>
                  </a:lnTo>
                  <a:lnTo>
                    <a:pt x="987" y="275"/>
                  </a:lnTo>
                  <a:lnTo>
                    <a:pt x="990" y="275"/>
                  </a:lnTo>
                  <a:lnTo>
                    <a:pt x="990" y="272"/>
                  </a:lnTo>
                  <a:lnTo>
                    <a:pt x="990" y="269"/>
                  </a:lnTo>
                  <a:lnTo>
                    <a:pt x="988" y="264"/>
                  </a:lnTo>
                  <a:lnTo>
                    <a:pt x="990" y="251"/>
                  </a:lnTo>
                  <a:lnTo>
                    <a:pt x="991" y="249"/>
                  </a:lnTo>
                  <a:lnTo>
                    <a:pt x="991" y="254"/>
                  </a:lnTo>
                  <a:lnTo>
                    <a:pt x="991" y="259"/>
                  </a:lnTo>
                  <a:lnTo>
                    <a:pt x="991" y="264"/>
                  </a:lnTo>
                  <a:lnTo>
                    <a:pt x="993" y="269"/>
                  </a:lnTo>
                  <a:lnTo>
                    <a:pt x="994" y="272"/>
                  </a:lnTo>
                  <a:lnTo>
                    <a:pt x="994" y="271"/>
                  </a:lnTo>
                  <a:lnTo>
                    <a:pt x="994" y="262"/>
                  </a:lnTo>
                  <a:lnTo>
                    <a:pt x="994" y="257"/>
                  </a:lnTo>
                  <a:lnTo>
                    <a:pt x="994" y="252"/>
                  </a:lnTo>
                  <a:lnTo>
                    <a:pt x="994" y="248"/>
                  </a:lnTo>
                  <a:lnTo>
                    <a:pt x="995" y="248"/>
                  </a:lnTo>
                  <a:lnTo>
                    <a:pt x="997" y="255"/>
                  </a:lnTo>
                  <a:lnTo>
                    <a:pt x="1000" y="251"/>
                  </a:lnTo>
                  <a:lnTo>
                    <a:pt x="1001" y="251"/>
                  </a:lnTo>
                  <a:lnTo>
                    <a:pt x="1003" y="251"/>
                  </a:lnTo>
                  <a:lnTo>
                    <a:pt x="1004" y="255"/>
                  </a:lnTo>
                  <a:lnTo>
                    <a:pt x="1007" y="258"/>
                  </a:lnTo>
                  <a:lnTo>
                    <a:pt x="1008" y="257"/>
                  </a:lnTo>
                  <a:lnTo>
                    <a:pt x="1007" y="252"/>
                  </a:lnTo>
                  <a:lnTo>
                    <a:pt x="1007" y="245"/>
                  </a:lnTo>
                  <a:lnTo>
                    <a:pt x="1008" y="245"/>
                  </a:lnTo>
                  <a:lnTo>
                    <a:pt x="1016" y="245"/>
                  </a:lnTo>
                  <a:lnTo>
                    <a:pt x="1020" y="245"/>
                  </a:lnTo>
                  <a:lnTo>
                    <a:pt x="1026" y="244"/>
                  </a:lnTo>
                  <a:lnTo>
                    <a:pt x="1030" y="245"/>
                  </a:lnTo>
                  <a:lnTo>
                    <a:pt x="1040" y="248"/>
                  </a:lnTo>
                  <a:lnTo>
                    <a:pt x="1051" y="251"/>
                  </a:lnTo>
                  <a:lnTo>
                    <a:pt x="1060" y="252"/>
                  </a:lnTo>
                  <a:lnTo>
                    <a:pt x="1063" y="258"/>
                  </a:lnTo>
                  <a:lnTo>
                    <a:pt x="1064" y="264"/>
                  </a:lnTo>
                  <a:lnTo>
                    <a:pt x="1066" y="272"/>
                  </a:lnTo>
                  <a:lnTo>
                    <a:pt x="1069" y="277"/>
                  </a:lnTo>
                  <a:lnTo>
                    <a:pt x="1073" y="278"/>
                  </a:lnTo>
                  <a:lnTo>
                    <a:pt x="1077" y="279"/>
                  </a:lnTo>
                  <a:lnTo>
                    <a:pt x="1081" y="279"/>
                  </a:lnTo>
                  <a:lnTo>
                    <a:pt x="1081" y="278"/>
                  </a:lnTo>
                  <a:lnTo>
                    <a:pt x="1080" y="277"/>
                  </a:lnTo>
                  <a:lnTo>
                    <a:pt x="1077" y="275"/>
                  </a:lnTo>
                  <a:lnTo>
                    <a:pt x="1074" y="274"/>
                  </a:lnTo>
                  <a:lnTo>
                    <a:pt x="1074" y="271"/>
                  </a:lnTo>
                  <a:lnTo>
                    <a:pt x="1076" y="269"/>
                  </a:lnTo>
                  <a:lnTo>
                    <a:pt x="1079" y="269"/>
                  </a:lnTo>
                  <a:lnTo>
                    <a:pt x="1079" y="267"/>
                  </a:lnTo>
                  <a:lnTo>
                    <a:pt x="1079" y="265"/>
                  </a:lnTo>
                  <a:lnTo>
                    <a:pt x="1079" y="262"/>
                  </a:lnTo>
                  <a:lnTo>
                    <a:pt x="1081" y="258"/>
                  </a:lnTo>
                  <a:lnTo>
                    <a:pt x="1084" y="254"/>
                  </a:lnTo>
                  <a:lnTo>
                    <a:pt x="1086" y="251"/>
                  </a:lnTo>
                  <a:lnTo>
                    <a:pt x="1087" y="251"/>
                  </a:lnTo>
                  <a:lnTo>
                    <a:pt x="1093" y="251"/>
                  </a:lnTo>
                  <a:lnTo>
                    <a:pt x="1096" y="249"/>
                  </a:lnTo>
                  <a:lnTo>
                    <a:pt x="1100" y="247"/>
                  </a:lnTo>
                  <a:lnTo>
                    <a:pt x="1107" y="248"/>
                  </a:lnTo>
                  <a:lnTo>
                    <a:pt x="1110" y="251"/>
                  </a:lnTo>
                  <a:lnTo>
                    <a:pt x="1111" y="259"/>
                  </a:lnTo>
                  <a:lnTo>
                    <a:pt x="1113" y="261"/>
                  </a:lnTo>
                  <a:lnTo>
                    <a:pt x="1117" y="261"/>
                  </a:lnTo>
                  <a:lnTo>
                    <a:pt x="1120" y="262"/>
                  </a:lnTo>
                  <a:lnTo>
                    <a:pt x="1123" y="267"/>
                  </a:lnTo>
                  <a:lnTo>
                    <a:pt x="1126" y="269"/>
                  </a:lnTo>
                  <a:lnTo>
                    <a:pt x="1126" y="271"/>
                  </a:lnTo>
                  <a:lnTo>
                    <a:pt x="1123" y="272"/>
                  </a:lnTo>
                  <a:lnTo>
                    <a:pt x="1123" y="274"/>
                  </a:lnTo>
                  <a:lnTo>
                    <a:pt x="1116" y="274"/>
                  </a:lnTo>
                  <a:lnTo>
                    <a:pt x="1113" y="274"/>
                  </a:lnTo>
                  <a:lnTo>
                    <a:pt x="1110" y="271"/>
                  </a:lnTo>
                  <a:lnTo>
                    <a:pt x="1111" y="267"/>
                  </a:lnTo>
                  <a:lnTo>
                    <a:pt x="1110" y="265"/>
                  </a:lnTo>
                  <a:lnTo>
                    <a:pt x="1109" y="265"/>
                  </a:lnTo>
                  <a:lnTo>
                    <a:pt x="1101" y="265"/>
                  </a:lnTo>
                  <a:lnTo>
                    <a:pt x="1100" y="264"/>
                  </a:lnTo>
                  <a:lnTo>
                    <a:pt x="1096" y="262"/>
                  </a:lnTo>
                  <a:lnTo>
                    <a:pt x="1093" y="262"/>
                  </a:lnTo>
                  <a:lnTo>
                    <a:pt x="1090" y="265"/>
                  </a:lnTo>
                  <a:lnTo>
                    <a:pt x="1090" y="268"/>
                  </a:lnTo>
                  <a:lnTo>
                    <a:pt x="1089" y="272"/>
                  </a:lnTo>
                  <a:lnTo>
                    <a:pt x="1089" y="278"/>
                  </a:lnTo>
                  <a:lnTo>
                    <a:pt x="1090" y="277"/>
                  </a:lnTo>
                  <a:lnTo>
                    <a:pt x="1097" y="275"/>
                  </a:lnTo>
                  <a:lnTo>
                    <a:pt x="1100" y="279"/>
                  </a:lnTo>
                  <a:lnTo>
                    <a:pt x="1103" y="285"/>
                  </a:lnTo>
                  <a:lnTo>
                    <a:pt x="1104" y="291"/>
                  </a:lnTo>
                  <a:lnTo>
                    <a:pt x="1106" y="291"/>
                  </a:lnTo>
                  <a:lnTo>
                    <a:pt x="1110" y="290"/>
                  </a:lnTo>
                  <a:lnTo>
                    <a:pt x="1114" y="292"/>
                  </a:lnTo>
                  <a:lnTo>
                    <a:pt x="1116" y="297"/>
                  </a:lnTo>
                  <a:lnTo>
                    <a:pt x="1113" y="298"/>
                  </a:lnTo>
                  <a:lnTo>
                    <a:pt x="1109" y="298"/>
                  </a:lnTo>
                  <a:lnTo>
                    <a:pt x="1106" y="298"/>
                  </a:lnTo>
                  <a:lnTo>
                    <a:pt x="1104" y="297"/>
                  </a:lnTo>
                  <a:lnTo>
                    <a:pt x="1104" y="294"/>
                  </a:lnTo>
                  <a:lnTo>
                    <a:pt x="1103" y="294"/>
                  </a:lnTo>
                  <a:lnTo>
                    <a:pt x="1096" y="295"/>
                  </a:lnTo>
                  <a:lnTo>
                    <a:pt x="1093" y="294"/>
                  </a:lnTo>
                  <a:lnTo>
                    <a:pt x="1089" y="294"/>
                  </a:lnTo>
                  <a:lnTo>
                    <a:pt x="1086" y="292"/>
                  </a:lnTo>
                  <a:lnTo>
                    <a:pt x="1083" y="292"/>
                  </a:lnTo>
                  <a:lnTo>
                    <a:pt x="1089" y="288"/>
                  </a:lnTo>
                  <a:lnTo>
                    <a:pt x="1090" y="285"/>
                  </a:lnTo>
                  <a:lnTo>
                    <a:pt x="1087" y="284"/>
                  </a:lnTo>
                  <a:lnTo>
                    <a:pt x="1084" y="285"/>
                  </a:lnTo>
                  <a:lnTo>
                    <a:pt x="1083" y="287"/>
                  </a:lnTo>
                  <a:lnTo>
                    <a:pt x="1079" y="287"/>
                  </a:lnTo>
                  <a:lnTo>
                    <a:pt x="1076" y="287"/>
                  </a:lnTo>
                  <a:lnTo>
                    <a:pt x="1071" y="288"/>
                  </a:lnTo>
                  <a:lnTo>
                    <a:pt x="1067" y="291"/>
                  </a:lnTo>
                  <a:lnTo>
                    <a:pt x="1064" y="294"/>
                  </a:lnTo>
                  <a:lnTo>
                    <a:pt x="1063" y="297"/>
                  </a:lnTo>
                  <a:lnTo>
                    <a:pt x="1060" y="300"/>
                  </a:lnTo>
                  <a:lnTo>
                    <a:pt x="1057" y="301"/>
                  </a:lnTo>
                  <a:lnTo>
                    <a:pt x="1057" y="304"/>
                  </a:lnTo>
                  <a:lnTo>
                    <a:pt x="1058" y="307"/>
                  </a:lnTo>
                  <a:lnTo>
                    <a:pt x="1057" y="307"/>
                  </a:lnTo>
                  <a:lnTo>
                    <a:pt x="1053" y="308"/>
                  </a:lnTo>
                  <a:lnTo>
                    <a:pt x="1053" y="311"/>
                  </a:lnTo>
                  <a:lnTo>
                    <a:pt x="1051" y="311"/>
                  </a:lnTo>
                  <a:lnTo>
                    <a:pt x="1047" y="311"/>
                  </a:lnTo>
                  <a:lnTo>
                    <a:pt x="1044" y="315"/>
                  </a:lnTo>
                  <a:lnTo>
                    <a:pt x="1041" y="317"/>
                  </a:lnTo>
                  <a:lnTo>
                    <a:pt x="1043" y="314"/>
                  </a:lnTo>
                  <a:lnTo>
                    <a:pt x="1043" y="311"/>
                  </a:lnTo>
                  <a:lnTo>
                    <a:pt x="1041" y="308"/>
                  </a:lnTo>
                  <a:lnTo>
                    <a:pt x="1038" y="308"/>
                  </a:lnTo>
                  <a:lnTo>
                    <a:pt x="1038" y="305"/>
                  </a:lnTo>
                  <a:lnTo>
                    <a:pt x="1036" y="302"/>
                  </a:lnTo>
                  <a:lnTo>
                    <a:pt x="1033" y="300"/>
                  </a:lnTo>
                  <a:lnTo>
                    <a:pt x="1033" y="298"/>
                  </a:lnTo>
                  <a:lnTo>
                    <a:pt x="1037" y="297"/>
                  </a:lnTo>
                  <a:lnTo>
                    <a:pt x="1041" y="297"/>
                  </a:lnTo>
                  <a:lnTo>
                    <a:pt x="1041" y="295"/>
                  </a:lnTo>
                  <a:lnTo>
                    <a:pt x="1031" y="294"/>
                  </a:lnTo>
                  <a:lnTo>
                    <a:pt x="1023" y="292"/>
                  </a:lnTo>
                  <a:lnTo>
                    <a:pt x="1017" y="291"/>
                  </a:lnTo>
                  <a:lnTo>
                    <a:pt x="1011" y="291"/>
                  </a:lnTo>
                  <a:lnTo>
                    <a:pt x="1007" y="290"/>
                  </a:lnTo>
                  <a:lnTo>
                    <a:pt x="1007" y="287"/>
                  </a:lnTo>
                  <a:lnTo>
                    <a:pt x="1005" y="285"/>
                  </a:lnTo>
                  <a:lnTo>
                    <a:pt x="1004" y="288"/>
                  </a:lnTo>
                  <a:lnTo>
                    <a:pt x="1001" y="290"/>
                  </a:lnTo>
                  <a:lnTo>
                    <a:pt x="998" y="291"/>
                  </a:lnTo>
                  <a:lnTo>
                    <a:pt x="994" y="292"/>
                  </a:lnTo>
                  <a:lnTo>
                    <a:pt x="991" y="292"/>
                  </a:lnTo>
                  <a:lnTo>
                    <a:pt x="988" y="291"/>
                  </a:lnTo>
                  <a:lnTo>
                    <a:pt x="985" y="292"/>
                  </a:lnTo>
                  <a:lnTo>
                    <a:pt x="975" y="291"/>
                  </a:lnTo>
                  <a:lnTo>
                    <a:pt x="973" y="287"/>
                  </a:lnTo>
                  <a:lnTo>
                    <a:pt x="970" y="285"/>
                  </a:lnTo>
                  <a:lnTo>
                    <a:pt x="965" y="285"/>
                  </a:lnTo>
                  <a:lnTo>
                    <a:pt x="955" y="284"/>
                  </a:lnTo>
                  <a:lnTo>
                    <a:pt x="947" y="279"/>
                  </a:lnTo>
                  <a:lnTo>
                    <a:pt x="944" y="277"/>
                  </a:lnTo>
                  <a:lnTo>
                    <a:pt x="945" y="274"/>
                  </a:lnTo>
                  <a:lnTo>
                    <a:pt x="947" y="272"/>
                  </a:lnTo>
                  <a:lnTo>
                    <a:pt x="950" y="272"/>
                  </a:lnTo>
                  <a:lnTo>
                    <a:pt x="950" y="269"/>
                  </a:lnTo>
                  <a:lnTo>
                    <a:pt x="948" y="269"/>
                  </a:lnTo>
                  <a:lnTo>
                    <a:pt x="942" y="271"/>
                  </a:lnTo>
                  <a:lnTo>
                    <a:pt x="938" y="272"/>
                  </a:lnTo>
                  <a:lnTo>
                    <a:pt x="937" y="274"/>
                  </a:lnTo>
                  <a:lnTo>
                    <a:pt x="932" y="274"/>
                  </a:lnTo>
                  <a:lnTo>
                    <a:pt x="931" y="274"/>
                  </a:lnTo>
                  <a:lnTo>
                    <a:pt x="931" y="277"/>
                  </a:lnTo>
                  <a:lnTo>
                    <a:pt x="928" y="278"/>
                  </a:lnTo>
                  <a:lnTo>
                    <a:pt x="925" y="278"/>
                  </a:lnTo>
                  <a:lnTo>
                    <a:pt x="925" y="275"/>
                  </a:lnTo>
                  <a:lnTo>
                    <a:pt x="927" y="274"/>
                  </a:lnTo>
                  <a:lnTo>
                    <a:pt x="922" y="274"/>
                  </a:lnTo>
                  <a:lnTo>
                    <a:pt x="920" y="275"/>
                  </a:lnTo>
                  <a:lnTo>
                    <a:pt x="918" y="278"/>
                  </a:lnTo>
                  <a:lnTo>
                    <a:pt x="917" y="279"/>
                  </a:lnTo>
                  <a:lnTo>
                    <a:pt x="915" y="281"/>
                  </a:lnTo>
                  <a:lnTo>
                    <a:pt x="918" y="281"/>
                  </a:lnTo>
                  <a:lnTo>
                    <a:pt x="922" y="279"/>
                  </a:lnTo>
                  <a:lnTo>
                    <a:pt x="927" y="281"/>
                  </a:lnTo>
                  <a:lnTo>
                    <a:pt x="931" y="285"/>
                  </a:lnTo>
                  <a:lnTo>
                    <a:pt x="934" y="290"/>
                  </a:lnTo>
                  <a:lnTo>
                    <a:pt x="934" y="291"/>
                  </a:lnTo>
                  <a:lnTo>
                    <a:pt x="934" y="298"/>
                  </a:lnTo>
                  <a:lnTo>
                    <a:pt x="931" y="305"/>
                  </a:lnTo>
                  <a:lnTo>
                    <a:pt x="931" y="308"/>
                  </a:lnTo>
                  <a:lnTo>
                    <a:pt x="930" y="307"/>
                  </a:lnTo>
                  <a:lnTo>
                    <a:pt x="928" y="304"/>
                  </a:lnTo>
                  <a:lnTo>
                    <a:pt x="925" y="297"/>
                  </a:lnTo>
                  <a:lnTo>
                    <a:pt x="924" y="295"/>
                  </a:lnTo>
                  <a:lnTo>
                    <a:pt x="921" y="294"/>
                  </a:lnTo>
                  <a:lnTo>
                    <a:pt x="920" y="292"/>
                  </a:lnTo>
                  <a:lnTo>
                    <a:pt x="920" y="290"/>
                  </a:lnTo>
                  <a:lnTo>
                    <a:pt x="917" y="290"/>
                  </a:lnTo>
                  <a:lnTo>
                    <a:pt x="910" y="290"/>
                  </a:lnTo>
                  <a:lnTo>
                    <a:pt x="907" y="290"/>
                  </a:lnTo>
                  <a:lnTo>
                    <a:pt x="910" y="287"/>
                  </a:lnTo>
                  <a:lnTo>
                    <a:pt x="914" y="282"/>
                  </a:lnTo>
                  <a:lnTo>
                    <a:pt x="911" y="282"/>
                  </a:lnTo>
                  <a:lnTo>
                    <a:pt x="901" y="287"/>
                  </a:lnTo>
                  <a:lnTo>
                    <a:pt x="895" y="288"/>
                  </a:lnTo>
                  <a:lnTo>
                    <a:pt x="888" y="291"/>
                  </a:lnTo>
                  <a:lnTo>
                    <a:pt x="884" y="290"/>
                  </a:lnTo>
                  <a:lnTo>
                    <a:pt x="882" y="287"/>
                  </a:lnTo>
                  <a:lnTo>
                    <a:pt x="879" y="287"/>
                  </a:lnTo>
                  <a:lnTo>
                    <a:pt x="877" y="288"/>
                  </a:lnTo>
                  <a:lnTo>
                    <a:pt x="867" y="297"/>
                  </a:lnTo>
                  <a:lnTo>
                    <a:pt x="855" y="304"/>
                  </a:lnTo>
                  <a:lnTo>
                    <a:pt x="851" y="307"/>
                  </a:lnTo>
                  <a:lnTo>
                    <a:pt x="849" y="311"/>
                  </a:lnTo>
                  <a:lnTo>
                    <a:pt x="849" y="312"/>
                  </a:lnTo>
                  <a:lnTo>
                    <a:pt x="852" y="311"/>
                  </a:lnTo>
                  <a:lnTo>
                    <a:pt x="854" y="312"/>
                  </a:lnTo>
                  <a:lnTo>
                    <a:pt x="854" y="317"/>
                  </a:lnTo>
                  <a:lnTo>
                    <a:pt x="857" y="320"/>
                  </a:lnTo>
                  <a:lnTo>
                    <a:pt x="857" y="324"/>
                  </a:lnTo>
                  <a:lnTo>
                    <a:pt x="857" y="327"/>
                  </a:lnTo>
                  <a:lnTo>
                    <a:pt x="859" y="328"/>
                  </a:lnTo>
                  <a:lnTo>
                    <a:pt x="862" y="321"/>
                  </a:lnTo>
                  <a:lnTo>
                    <a:pt x="864" y="320"/>
                  </a:lnTo>
                  <a:lnTo>
                    <a:pt x="868" y="320"/>
                  </a:lnTo>
                  <a:lnTo>
                    <a:pt x="869" y="324"/>
                  </a:lnTo>
                  <a:lnTo>
                    <a:pt x="874" y="324"/>
                  </a:lnTo>
                  <a:lnTo>
                    <a:pt x="874" y="321"/>
                  </a:lnTo>
                  <a:lnTo>
                    <a:pt x="871" y="318"/>
                  </a:lnTo>
                  <a:lnTo>
                    <a:pt x="874" y="315"/>
                  </a:lnTo>
                  <a:lnTo>
                    <a:pt x="878" y="314"/>
                  </a:lnTo>
                  <a:lnTo>
                    <a:pt x="882" y="312"/>
                  </a:lnTo>
                  <a:lnTo>
                    <a:pt x="887" y="315"/>
                  </a:lnTo>
                  <a:lnTo>
                    <a:pt x="888" y="312"/>
                  </a:lnTo>
                  <a:lnTo>
                    <a:pt x="891" y="310"/>
                  </a:lnTo>
                  <a:lnTo>
                    <a:pt x="892" y="312"/>
                  </a:lnTo>
                  <a:lnTo>
                    <a:pt x="894" y="312"/>
                  </a:lnTo>
                  <a:lnTo>
                    <a:pt x="895" y="312"/>
                  </a:lnTo>
                  <a:lnTo>
                    <a:pt x="895" y="307"/>
                  </a:lnTo>
                  <a:lnTo>
                    <a:pt x="895" y="305"/>
                  </a:lnTo>
                  <a:lnTo>
                    <a:pt x="898" y="305"/>
                  </a:lnTo>
                  <a:lnTo>
                    <a:pt x="900" y="305"/>
                  </a:lnTo>
                  <a:lnTo>
                    <a:pt x="901" y="308"/>
                  </a:lnTo>
                  <a:lnTo>
                    <a:pt x="898" y="311"/>
                  </a:lnTo>
                  <a:lnTo>
                    <a:pt x="897" y="315"/>
                  </a:lnTo>
                  <a:lnTo>
                    <a:pt x="892" y="315"/>
                  </a:lnTo>
                  <a:lnTo>
                    <a:pt x="888" y="317"/>
                  </a:lnTo>
                  <a:lnTo>
                    <a:pt x="887" y="318"/>
                  </a:lnTo>
                  <a:lnTo>
                    <a:pt x="882" y="324"/>
                  </a:lnTo>
                  <a:lnTo>
                    <a:pt x="882" y="325"/>
                  </a:lnTo>
                  <a:lnTo>
                    <a:pt x="881" y="328"/>
                  </a:lnTo>
                  <a:lnTo>
                    <a:pt x="879" y="325"/>
                  </a:lnTo>
                  <a:lnTo>
                    <a:pt x="877" y="325"/>
                  </a:lnTo>
                  <a:lnTo>
                    <a:pt x="875" y="328"/>
                  </a:lnTo>
                  <a:lnTo>
                    <a:pt x="874" y="335"/>
                  </a:lnTo>
                  <a:lnTo>
                    <a:pt x="868" y="344"/>
                  </a:lnTo>
                  <a:lnTo>
                    <a:pt x="859" y="347"/>
                  </a:lnTo>
                  <a:lnTo>
                    <a:pt x="859" y="350"/>
                  </a:lnTo>
                  <a:lnTo>
                    <a:pt x="859" y="355"/>
                  </a:lnTo>
                  <a:lnTo>
                    <a:pt x="857" y="360"/>
                  </a:lnTo>
                  <a:lnTo>
                    <a:pt x="851" y="367"/>
                  </a:lnTo>
                  <a:lnTo>
                    <a:pt x="845" y="373"/>
                  </a:lnTo>
                  <a:lnTo>
                    <a:pt x="845" y="370"/>
                  </a:lnTo>
                  <a:lnTo>
                    <a:pt x="847" y="367"/>
                  </a:lnTo>
                  <a:lnTo>
                    <a:pt x="851" y="363"/>
                  </a:lnTo>
                  <a:lnTo>
                    <a:pt x="855" y="358"/>
                  </a:lnTo>
                  <a:lnTo>
                    <a:pt x="855" y="353"/>
                  </a:lnTo>
                  <a:lnTo>
                    <a:pt x="855" y="348"/>
                  </a:lnTo>
                  <a:lnTo>
                    <a:pt x="854" y="345"/>
                  </a:lnTo>
                  <a:lnTo>
                    <a:pt x="852" y="343"/>
                  </a:lnTo>
                  <a:lnTo>
                    <a:pt x="857" y="335"/>
                  </a:lnTo>
                  <a:lnTo>
                    <a:pt x="857" y="330"/>
                  </a:lnTo>
                  <a:lnTo>
                    <a:pt x="854" y="330"/>
                  </a:lnTo>
                  <a:lnTo>
                    <a:pt x="848" y="332"/>
                  </a:lnTo>
                  <a:lnTo>
                    <a:pt x="844" y="327"/>
                  </a:lnTo>
                  <a:lnTo>
                    <a:pt x="841" y="324"/>
                  </a:lnTo>
                  <a:lnTo>
                    <a:pt x="841" y="320"/>
                  </a:lnTo>
                  <a:lnTo>
                    <a:pt x="841" y="315"/>
                  </a:lnTo>
                  <a:lnTo>
                    <a:pt x="839" y="315"/>
                  </a:lnTo>
                  <a:lnTo>
                    <a:pt x="835" y="321"/>
                  </a:lnTo>
                  <a:lnTo>
                    <a:pt x="826" y="328"/>
                  </a:lnTo>
                  <a:lnTo>
                    <a:pt x="812" y="338"/>
                  </a:lnTo>
                  <a:lnTo>
                    <a:pt x="794" y="351"/>
                  </a:lnTo>
                  <a:lnTo>
                    <a:pt x="772" y="364"/>
                  </a:lnTo>
                  <a:lnTo>
                    <a:pt x="768" y="367"/>
                  </a:lnTo>
                  <a:lnTo>
                    <a:pt x="768" y="368"/>
                  </a:lnTo>
                  <a:lnTo>
                    <a:pt x="769" y="368"/>
                  </a:lnTo>
                  <a:lnTo>
                    <a:pt x="772" y="368"/>
                  </a:lnTo>
                  <a:lnTo>
                    <a:pt x="775" y="370"/>
                  </a:lnTo>
                  <a:lnTo>
                    <a:pt x="775" y="373"/>
                  </a:lnTo>
                  <a:lnTo>
                    <a:pt x="775" y="374"/>
                  </a:lnTo>
                  <a:lnTo>
                    <a:pt x="771" y="377"/>
                  </a:lnTo>
                  <a:lnTo>
                    <a:pt x="768" y="378"/>
                  </a:lnTo>
                  <a:lnTo>
                    <a:pt x="766" y="377"/>
                  </a:lnTo>
                  <a:lnTo>
                    <a:pt x="765" y="375"/>
                  </a:lnTo>
                  <a:lnTo>
                    <a:pt x="763" y="377"/>
                  </a:lnTo>
                  <a:lnTo>
                    <a:pt x="761" y="378"/>
                  </a:lnTo>
                  <a:lnTo>
                    <a:pt x="759" y="377"/>
                  </a:lnTo>
                  <a:lnTo>
                    <a:pt x="765" y="373"/>
                  </a:lnTo>
                  <a:lnTo>
                    <a:pt x="766" y="371"/>
                  </a:lnTo>
                  <a:lnTo>
                    <a:pt x="765" y="370"/>
                  </a:lnTo>
                  <a:lnTo>
                    <a:pt x="762" y="370"/>
                  </a:lnTo>
                  <a:lnTo>
                    <a:pt x="761" y="373"/>
                  </a:lnTo>
                  <a:lnTo>
                    <a:pt x="755" y="374"/>
                  </a:lnTo>
                  <a:lnTo>
                    <a:pt x="751" y="377"/>
                  </a:lnTo>
                  <a:lnTo>
                    <a:pt x="748" y="378"/>
                  </a:lnTo>
                  <a:lnTo>
                    <a:pt x="749" y="378"/>
                  </a:lnTo>
                  <a:lnTo>
                    <a:pt x="752" y="380"/>
                  </a:lnTo>
                  <a:lnTo>
                    <a:pt x="752" y="380"/>
                  </a:lnTo>
                  <a:lnTo>
                    <a:pt x="749" y="383"/>
                  </a:lnTo>
                  <a:lnTo>
                    <a:pt x="748" y="384"/>
                  </a:lnTo>
                  <a:lnTo>
                    <a:pt x="752" y="387"/>
                  </a:lnTo>
                  <a:lnTo>
                    <a:pt x="752" y="390"/>
                  </a:lnTo>
                  <a:lnTo>
                    <a:pt x="753" y="393"/>
                  </a:lnTo>
                  <a:lnTo>
                    <a:pt x="756" y="394"/>
                  </a:lnTo>
                  <a:lnTo>
                    <a:pt x="756" y="396"/>
                  </a:lnTo>
                  <a:lnTo>
                    <a:pt x="753" y="396"/>
                  </a:lnTo>
                  <a:lnTo>
                    <a:pt x="752" y="397"/>
                  </a:lnTo>
                  <a:lnTo>
                    <a:pt x="751" y="400"/>
                  </a:lnTo>
                  <a:lnTo>
                    <a:pt x="756" y="401"/>
                  </a:lnTo>
                  <a:lnTo>
                    <a:pt x="762" y="401"/>
                  </a:lnTo>
                  <a:lnTo>
                    <a:pt x="768" y="401"/>
                  </a:lnTo>
                  <a:lnTo>
                    <a:pt x="778" y="400"/>
                  </a:lnTo>
                  <a:lnTo>
                    <a:pt x="785" y="400"/>
                  </a:lnTo>
                  <a:lnTo>
                    <a:pt x="785" y="401"/>
                  </a:lnTo>
                  <a:lnTo>
                    <a:pt x="779" y="401"/>
                  </a:lnTo>
                  <a:lnTo>
                    <a:pt x="766" y="403"/>
                  </a:lnTo>
                  <a:lnTo>
                    <a:pt x="762" y="404"/>
                  </a:lnTo>
                  <a:lnTo>
                    <a:pt x="758" y="404"/>
                  </a:lnTo>
                  <a:lnTo>
                    <a:pt x="753" y="403"/>
                  </a:lnTo>
                  <a:lnTo>
                    <a:pt x="751" y="401"/>
                  </a:lnTo>
                  <a:lnTo>
                    <a:pt x="748" y="400"/>
                  </a:lnTo>
                  <a:lnTo>
                    <a:pt x="745" y="400"/>
                  </a:lnTo>
                  <a:lnTo>
                    <a:pt x="743" y="401"/>
                  </a:lnTo>
                  <a:lnTo>
                    <a:pt x="741" y="401"/>
                  </a:lnTo>
                  <a:lnTo>
                    <a:pt x="741" y="398"/>
                  </a:lnTo>
                  <a:lnTo>
                    <a:pt x="739" y="396"/>
                  </a:lnTo>
                  <a:lnTo>
                    <a:pt x="736" y="394"/>
                  </a:lnTo>
                  <a:lnTo>
                    <a:pt x="733" y="396"/>
                  </a:lnTo>
                  <a:lnTo>
                    <a:pt x="732" y="398"/>
                  </a:lnTo>
                  <a:lnTo>
                    <a:pt x="732" y="401"/>
                  </a:lnTo>
                  <a:lnTo>
                    <a:pt x="733" y="407"/>
                  </a:lnTo>
                  <a:lnTo>
                    <a:pt x="738" y="411"/>
                  </a:lnTo>
                  <a:lnTo>
                    <a:pt x="738" y="416"/>
                  </a:lnTo>
                  <a:lnTo>
                    <a:pt x="736" y="420"/>
                  </a:lnTo>
                  <a:lnTo>
                    <a:pt x="735" y="421"/>
                  </a:lnTo>
                  <a:lnTo>
                    <a:pt x="732" y="418"/>
                  </a:lnTo>
                  <a:lnTo>
                    <a:pt x="729" y="413"/>
                  </a:lnTo>
                  <a:lnTo>
                    <a:pt x="728" y="410"/>
                  </a:lnTo>
                  <a:lnTo>
                    <a:pt x="726" y="408"/>
                  </a:lnTo>
                  <a:lnTo>
                    <a:pt x="722" y="411"/>
                  </a:lnTo>
                  <a:lnTo>
                    <a:pt x="719" y="411"/>
                  </a:lnTo>
                  <a:lnTo>
                    <a:pt x="713" y="410"/>
                  </a:lnTo>
                  <a:lnTo>
                    <a:pt x="710" y="410"/>
                  </a:lnTo>
                  <a:lnTo>
                    <a:pt x="703" y="414"/>
                  </a:lnTo>
                  <a:lnTo>
                    <a:pt x="698" y="418"/>
                  </a:lnTo>
                  <a:lnTo>
                    <a:pt x="695" y="420"/>
                  </a:lnTo>
                  <a:lnTo>
                    <a:pt x="692" y="424"/>
                  </a:lnTo>
                  <a:lnTo>
                    <a:pt x="690" y="426"/>
                  </a:lnTo>
                  <a:lnTo>
                    <a:pt x="689" y="428"/>
                  </a:lnTo>
                  <a:lnTo>
                    <a:pt x="686" y="433"/>
                  </a:lnTo>
                  <a:lnTo>
                    <a:pt x="680" y="437"/>
                  </a:lnTo>
                  <a:lnTo>
                    <a:pt x="678" y="440"/>
                  </a:lnTo>
                  <a:lnTo>
                    <a:pt x="676" y="440"/>
                  </a:lnTo>
                  <a:lnTo>
                    <a:pt x="670" y="438"/>
                  </a:lnTo>
                  <a:lnTo>
                    <a:pt x="666" y="437"/>
                  </a:lnTo>
                  <a:lnTo>
                    <a:pt x="662" y="437"/>
                  </a:lnTo>
                  <a:lnTo>
                    <a:pt x="659" y="436"/>
                  </a:lnTo>
                  <a:lnTo>
                    <a:pt x="660" y="434"/>
                  </a:lnTo>
                  <a:lnTo>
                    <a:pt x="669" y="428"/>
                  </a:lnTo>
                  <a:lnTo>
                    <a:pt x="675" y="428"/>
                  </a:lnTo>
                  <a:lnTo>
                    <a:pt x="675" y="426"/>
                  </a:lnTo>
                  <a:lnTo>
                    <a:pt x="675" y="424"/>
                  </a:lnTo>
                  <a:lnTo>
                    <a:pt x="672" y="424"/>
                  </a:lnTo>
                  <a:lnTo>
                    <a:pt x="662" y="428"/>
                  </a:lnTo>
                  <a:lnTo>
                    <a:pt x="645" y="436"/>
                  </a:lnTo>
                  <a:lnTo>
                    <a:pt x="640" y="437"/>
                  </a:lnTo>
                  <a:lnTo>
                    <a:pt x="640" y="440"/>
                  </a:lnTo>
                  <a:lnTo>
                    <a:pt x="640" y="444"/>
                  </a:lnTo>
                  <a:lnTo>
                    <a:pt x="640" y="446"/>
                  </a:lnTo>
                  <a:lnTo>
                    <a:pt x="637" y="444"/>
                  </a:lnTo>
                  <a:lnTo>
                    <a:pt x="636" y="444"/>
                  </a:lnTo>
                  <a:lnTo>
                    <a:pt x="635" y="446"/>
                  </a:lnTo>
                  <a:lnTo>
                    <a:pt x="632" y="448"/>
                  </a:lnTo>
                  <a:lnTo>
                    <a:pt x="629" y="451"/>
                  </a:lnTo>
                  <a:lnTo>
                    <a:pt x="627" y="453"/>
                  </a:lnTo>
                  <a:lnTo>
                    <a:pt x="626" y="454"/>
                  </a:lnTo>
                  <a:lnTo>
                    <a:pt x="625" y="459"/>
                  </a:lnTo>
                  <a:lnTo>
                    <a:pt x="623" y="460"/>
                  </a:lnTo>
                  <a:lnTo>
                    <a:pt x="620" y="461"/>
                  </a:lnTo>
                  <a:lnTo>
                    <a:pt x="619" y="461"/>
                  </a:lnTo>
                  <a:lnTo>
                    <a:pt x="619" y="459"/>
                  </a:lnTo>
                  <a:lnTo>
                    <a:pt x="623" y="453"/>
                  </a:lnTo>
                  <a:lnTo>
                    <a:pt x="627" y="450"/>
                  </a:lnTo>
                  <a:lnTo>
                    <a:pt x="632" y="446"/>
                  </a:lnTo>
                  <a:lnTo>
                    <a:pt x="632" y="444"/>
                  </a:lnTo>
                  <a:lnTo>
                    <a:pt x="627" y="446"/>
                  </a:lnTo>
                  <a:lnTo>
                    <a:pt x="620" y="453"/>
                  </a:lnTo>
                  <a:lnTo>
                    <a:pt x="612" y="459"/>
                  </a:lnTo>
                  <a:lnTo>
                    <a:pt x="607" y="463"/>
                  </a:lnTo>
                  <a:lnTo>
                    <a:pt x="603" y="471"/>
                  </a:lnTo>
                  <a:lnTo>
                    <a:pt x="596" y="480"/>
                  </a:lnTo>
                  <a:lnTo>
                    <a:pt x="590" y="486"/>
                  </a:lnTo>
                  <a:lnTo>
                    <a:pt x="586" y="491"/>
                  </a:lnTo>
                  <a:lnTo>
                    <a:pt x="580" y="499"/>
                  </a:lnTo>
                  <a:lnTo>
                    <a:pt x="576" y="501"/>
                  </a:lnTo>
                  <a:lnTo>
                    <a:pt x="572" y="501"/>
                  </a:lnTo>
                  <a:lnTo>
                    <a:pt x="566" y="503"/>
                  </a:lnTo>
                  <a:lnTo>
                    <a:pt x="564" y="506"/>
                  </a:lnTo>
                  <a:lnTo>
                    <a:pt x="562" y="506"/>
                  </a:lnTo>
                  <a:lnTo>
                    <a:pt x="559" y="504"/>
                  </a:lnTo>
                  <a:lnTo>
                    <a:pt x="554" y="506"/>
                  </a:lnTo>
                  <a:lnTo>
                    <a:pt x="554" y="503"/>
                  </a:lnTo>
                  <a:lnTo>
                    <a:pt x="557" y="501"/>
                  </a:lnTo>
                  <a:lnTo>
                    <a:pt x="563" y="501"/>
                  </a:lnTo>
                  <a:lnTo>
                    <a:pt x="564" y="500"/>
                  </a:lnTo>
                  <a:lnTo>
                    <a:pt x="567" y="500"/>
                  </a:lnTo>
                  <a:lnTo>
                    <a:pt x="570" y="499"/>
                  </a:lnTo>
                  <a:lnTo>
                    <a:pt x="573" y="496"/>
                  </a:lnTo>
                  <a:lnTo>
                    <a:pt x="579" y="494"/>
                  </a:lnTo>
                  <a:lnTo>
                    <a:pt x="583" y="491"/>
                  </a:lnTo>
                  <a:lnTo>
                    <a:pt x="583" y="489"/>
                  </a:lnTo>
                  <a:lnTo>
                    <a:pt x="583" y="487"/>
                  </a:lnTo>
                  <a:lnTo>
                    <a:pt x="582" y="489"/>
                  </a:lnTo>
                  <a:lnTo>
                    <a:pt x="574" y="491"/>
                  </a:lnTo>
                  <a:lnTo>
                    <a:pt x="564" y="496"/>
                  </a:lnTo>
                  <a:lnTo>
                    <a:pt x="547" y="501"/>
                  </a:lnTo>
                  <a:lnTo>
                    <a:pt x="539" y="503"/>
                  </a:lnTo>
                  <a:lnTo>
                    <a:pt x="531" y="506"/>
                  </a:lnTo>
                  <a:lnTo>
                    <a:pt x="530" y="507"/>
                  </a:lnTo>
                  <a:lnTo>
                    <a:pt x="517" y="510"/>
                  </a:lnTo>
                  <a:lnTo>
                    <a:pt x="510" y="516"/>
                  </a:lnTo>
                  <a:lnTo>
                    <a:pt x="497" y="526"/>
                  </a:lnTo>
                  <a:lnTo>
                    <a:pt x="483" y="539"/>
                  </a:lnTo>
                  <a:lnTo>
                    <a:pt x="473" y="547"/>
                  </a:lnTo>
                  <a:lnTo>
                    <a:pt x="471" y="550"/>
                  </a:lnTo>
                  <a:lnTo>
                    <a:pt x="473" y="550"/>
                  </a:lnTo>
                  <a:lnTo>
                    <a:pt x="477" y="550"/>
                  </a:lnTo>
                  <a:lnTo>
                    <a:pt x="477" y="552"/>
                  </a:lnTo>
                  <a:lnTo>
                    <a:pt x="477" y="554"/>
                  </a:lnTo>
                  <a:lnTo>
                    <a:pt x="474" y="557"/>
                  </a:lnTo>
                  <a:lnTo>
                    <a:pt x="473" y="560"/>
                  </a:lnTo>
                  <a:lnTo>
                    <a:pt x="471" y="563"/>
                  </a:lnTo>
                  <a:lnTo>
                    <a:pt x="467" y="566"/>
                  </a:lnTo>
                  <a:lnTo>
                    <a:pt x="460" y="572"/>
                  </a:lnTo>
                  <a:lnTo>
                    <a:pt x="451" y="579"/>
                  </a:lnTo>
                  <a:lnTo>
                    <a:pt x="440" y="585"/>
                  </a:lnTo>
                  <a:lnTo>
                    <a:pt x="434" y="589"/>
                  </a:lnTo>
                  <a:lnTo>
                    <a:pt x="433" y="593"/>
                  </a:lnTo>
                  <a:lnTo>
                    <a:pt x="428" y="599"/>
                  </a:lnTo>
                  <a:lnTo>
                    <a:pt x="423" y="607"/>
                  </a:lnTo>
                  <a:lnTo>
                    <a:pt x="411" y="617"/>
                  </a:lnTo>
                  <a:lnTo>
                    <a:pt x="398" y="629"/>
                  </a:lnTo>
                  <a:lnTo>
                    <a:pt x="388" y="633"/>
                  </a:lnTo>
                  <a:lnTo>
                    <a:pt x="384" y="636"/>
                  </a:lnTo>
                  <a:lnTo>
                    <a:pt x="384" y="639"/>
                  </a:lnTo>
                  <a:lnTo>
                    <a:pt x="384" y="642"/>
                  </a:lnTo>
                  <a:lnTo>
                    <a:pt x="382" y="643"/>
                  </a:lnTo>
                  <a:lnTo>
                    <a:pt x="380" y="643"/>
                  </a:lnTo>
                  <a:lnTo>
                    <a:pt x="381" y="640"/>
                  </a:lnTo>
                  <a:lnTo>
                    <a:pt x="378" y="638"/>
                  </a:lnTo>
                  <a:lnTo>
                    <a:pt x="372" y="640"/>
                  </a:lnTo>
                  <a:lnTo>
                    <a:pt x="367" y="640"/>
                  </a:lnTo>
                  <a:lnTo>
                    <a:pt x="360" y="642"/>
                  </a:lnTo>
                  <a:lnTo>
                    <a:pt x="360" y="643"/>
                  </a:lnTo>
                  <a:lnTo>
                    <a:pt x="358" y="650"/>
                  </a:lnTo>
                  <a:lnTo>
                    <a:pt x="352" y="658"/>
                  </a:lnTo>
                  <a:lnTo>
                    <a:pt x="350" y="665"/>
                  </a:lnTo>
                  <a:lnTo>
                    <a:pt x="347" y="672"/>
                  </a:lnTo>
                  <a:lnTo>
                    <a:pt x="347" y="676"/>
                  </a:lnTo>
                  <a:lnTo>
                    <a:pt x="348" y="676"/>
                  </a:lnTo>
                  <a:lnTo>
                    <a:pt x="352" y="675"/>
                  </a:lnTo>
                  <a:lnTo>
                    <a:pt x="351" y="679"/>
                  </a:lnTo>
                  <a:lnTo>
                    <a:pt x="350" y="682"/>
                  </a:lnTo>
                  <a:lnTo>
                    <a:pt x="350" y="686"/>
                  </a:lnTo>
                  <a:lnTo>
                    <a:pt x="350" y="689"/>
                  </a:lnTo>
                  <a:lnTo>
                    <a:pt x="348" y="693"/>
                  </a:lnTo>
                  <a:lnTo>
                    <a:pt x="347" y="693"/>
                  </a:lnTo>
                  <a:lnTo>
                    <a:pt x="347" y="691"/>
                  </a:lnTo>
                  <a:lnTo>
                    <a:pt x="347" y="686"/>
                  </a:lnTo>
                  <a:lnTo>
                    <a:pt x="347" y="682"/>
                  </a:lnTo>
                  <a:lnTo>
                    <a:pt x="347" y="681"/>
                  </a:lnTo>
                  <a:lnTo>
                    <a:pt x="342" y="682"/>
                  </a:lnTo>
                  <a:lnTo>
                    <a:pt x="342" y="689"/>
                  </a:lnTo>
                  <a:lnTo>
                    <a:pt x="342" y="695"/>
                  </a:lnTo>
                  <a:lnTo>
                    <a:pt x="341" y="699"/>
                  </a:lnTo>
                  <a:lnTo>
                    <a:pt x="337" y="703"/>
                  </a:lnTo>
                  <a:lnTo>
                    <a:pt x="337" y="709"/>
                  </a:lnTo>
                  <a:lnTo>
                    <a:pt x="335" y="713"/>
                  </a:lnTo>
                  <a:lnTo>
                    <a:pt x="331" y="721"/>
                  </a:lnTo>
                  <a:lnTo>
                    <a:pt x="328" y="728"/>
                  </a:lnTo>
                  <a:lnTo>
                    <a:pt x="327" y="731"/>
                  </a:lnTo>
                  <a:lnTo>
                    <a:pt x="319" y="735"/>
                  </a:lnTo>
                  <a:lnTo>
                    <a:pt x="319" y="739"/>
                  </a:lnTo>
                  <a:lnTo>
                    <a:pt x="315" y="744"/>
                  </a:lnTo>
                  <a:lnTo>
                    <a:pt x="312" y="749"/>
                  </a:lnTo>
                  <a:lnTo>
                    <a:pt x="311" y="752"/>
                  </a:lnTo>
                  <a:lnTo>
                    <a:pt x="311" y="755"/>
                  </a:lnTo>
                  <a:lnTo>
                    <a:pt x="315" y="758"/>
                  </a:lnTo>
                  <a:lnTo>
                    <a:pt x="314" y="758"/>
                  </a:lnTo>
                  <a:lnTo>
                    <a:pt x="311" y="758"/>
                  </a:lnTo>
                  <a:lnTo>
                    <a:pt x="311" y="759"/>
                  </a:lnTo>
                  <a:lnTo>
                    <a:pt x="308" y="764"/>
                  </a:lnTo>
                  <a:lnTo>
                    <a:pt x="305" y="766"/>
                  </a:lnTo>
                  <a:lnTo>
                    <a:pt x="307" y="766"/>
                  </a:lnTo>
                  <a:lnTo>
                    <a:pt x="311" y="766"/>
                  </a:lnTo>
                  <a:lnTo>
                    <a:pt x="312" y="768"/>
                  </a:lnTo>
                  <a:lnTo>
                    <a:pt x="312" y="769"/>
                  </a:lnTo>
                  <a:lnTo>
                    <a:pt x="305" y="769"/>
                  </a:lnTo>
                  <a:lnTo>
                    <a:pt x="304" y="768"/>
                  </a:lnTo>
                  <a:lnTo>
                    <a:pt x="304" y="765"/>
                  </a:lnTo>
                  <a:lnTo>
                    <a:pt x="301" y="768"/>
                  </a:lnTo>
                  <a:lnTo>
                    <a:pt x="297" y="768"/>
                  </a:lnTo>
                  <a:lnTo>
                    <a:pt x="288" y="771"/>
                  </a:lnTo>
                  <a:lnTo>
                    <a:pt x="287" y="775"/>
                  </a:lnTo>
                  <a:lnTo>
                    <a:pt x="287" y="779"/>
                  </a:lnTo>
                  <a:lnTo>
                    <a:pt x="287" y="784"/>
                  </a:lnTo>
                  <a:lnTo>
                    <a:pt x="287" y="788"/>
                  </a:lnTo>
                  <a:lnTo>
                    <a:pt x="287" y="789"/>
                  </a:lnTo>
                  <a:lnTo>
                    <a:pt x="291" y="791"/>
                  </a:lnTo>
                  <a:lnTo>
                    <a:pt x="291" y="786"/>
                  </a:lnTo>
                  <a:lnTo>
                    <a:pt x="297" y="784"/>
                  </a:lnTo>
                  <a:lnTo>
                    <a:pt x="301" y="781"/>
                  </a:lnTo>
                  <a:lnTo>
                    <a:pt x="308" y="782"/>
                  </a:lnTo>
                  <a:lnTo>
                    <a:pt x="311" y="784"/>
                  </a:lnTo>
                  <a:lnTo>
                    <a:pt x="311" y="786"/>
                  </a:lnTo>
                  <a:lnTo>
                    <a:pt x="311" y="788"/>
                  </a:lnTo>
                  <a:lnTo>
                    <a:pt x="311" y="792"/>
                  </a:lnTo>
                  <a:lnTo>
                    <a:pt x="309" y="792"/>
                  </a:lnTo>
                  <a:lnTo>
                    <a:pt x="309" y="794"/>
                  </a:lnTo>
                  <a:lnTo>
                    <a:pt x="307" y="794"/>
                  </a:lnTo>
                  <a:lnTo>
                    <a:pt x="307" y="795"/>
                  </a:lnTo>
                  <a:lnTo>
                    <a:pt x="307" y="798"/>
                  </a:lnTo>
                  <a:lnTo>
                    <a:pt x="305" y="801"/>
                  </a:lnTo>
                  <a:lnTo>
                    <a:pt x="302" y="801"/>
                  </a:lnTo>
                  <a:lnTo>
                    <a:pt x="302" y="795"/>
                  </a:lnTo>
                  <a:lnTo>
                    <a:pt x="301" y="792"/>
                  </a:lnTo>
                  <a:lnTo>
                    <a:pt x="301" y="794"/>
                  </a:lnTo>
                  <a:lnTo>
                    <a:pt x="297" y="794"/>
                  </a:lnTo>
                  <a:lnTo>
                    <a:pt x="295" y="795"/>
                  </a:lnTo>
                  <a:lnTo>
                    <a:pt x="295" y="798"/>
                  </a:lnTo>
                  <a:lnTo>
                    <a:pt x="294" y="801"/>
                  </a:lnTo>
                  <a:lnTo>
                    <a:pt x="288" y="802"/>
                  </a:lnTo>
                  <a:lnTo>
                    <a:pt x="284" y="805"/>
                  </a:lnTo>
                  <a:lnTo>
                    <a:pt x="278" y="809"/>
                  </a:lnTo>
                  <a:lnTo>
                    <a:pt x="275" y="809"/>
                  </a:lnTo>
                  <a:lnTo>
                    <a:pt x="274" y="807"/>
                  </a:lnTo>
                  <a:lnTo>
                    <a:pt x="269" y="807"/>
                  </a:lnTo>
                  <a:lnTo>
                    <a:pt x="266" y="807"/>
                  </a:lnTo>
                  <a:lnTo>
                    <a:pt x="265" y="808"/>
                  </a:lnTo>
                  <a:lnTo>
                    <a:pt x="265" y="814"/>
                  </a:lnTo>
                  <a:lnTo>
                    <a:pt x="262" y="822"/>
                  </a:lnTo>
                  <a:lnTo>
                    <a:pt x="254" y="831"/>
                  </a:lnTo>
                  <a:lnTo>
                    <a:pt x="245" y="839"/>
                  </a:lnTo>
                  <a:lnTo>
                    <a:pt x="241" y="848"/>
                  </a:lnTo>
                  <a:lnTo>
                    <a:pt x="234" y="855"/>
                  </a:lnTo>
                  <a:lnTo>
                    <a:pt x="222" y="862"/>
                  </a:lnTo>
                  <a:lnTo>
                    <a:pt x="218" y="867"/>
                  </a:lnTo>
                  <a:lnTo>
                    <a:pt x="215" y="874"/>
                  </a:lnTo>
                  <a:lnTo>
                    <a:pt x="212" y="877"/>
                  </a:lnTo>
                  <a:lnTo>
                    <a:pt x="206" y="881"/>
                  </a:lnTo>
                  <a:lnTo>
                    <a:pt x="202" y="882"/>
                  </a:lnTo>
                  <a:lnTo>
                    <a:pt x="199" y="890"/>
                  </a:lnTo>
                  <a:lnTo>
                    <a:pt x="196" y="895"/>
                  </a:lnTo>
                  <a:lnTo>
                    <a:pt x="188" y="903"/>
                  </a:lnTo>
                  <a:lnTo>
                    <a:pt x="181" y="907"/>
                  </a:lnTo>
                  <a:lnTo>
                    <a:pt x="179" y="911"/>
                  </a:lnTo>
                  <a:lnTo>
                    <a:pt x="181" y="913"/>
                  </a:lnTo>
                  <a:lnTo>
                    <a:pt x="182" y="913"/>
                  </a:lnTo>
                  <a:lnTo>
                    <a:pt x="188" y="911"/>
                  </a:lnTo>
                  <a:lnTo>
                    <a:pt x="191" y="911"/>
                  </a:lnTo>
                  <a:lnTo>
                    <a:pt x="195" y="911"/>
                  </a:lnTo>
                  <a:lnTo>
                    <a:pt x="198" y="914"/>
                  </a:lnTo>
                  <a:lnTo>
                    <a:pt x="206" y="923"/>
                  </a:lnTo>
                  <a:lnTo>
                    <a:pt x="211" y="924"/>
                  </a:lnTo>
                  <a:lnTo>
                    <a:pt x="215" y="924"/>
                  </a:lnTo>
                  <a:lnTo>
                    <a:pt x="222" y="927"/>
                  </a:lnTo>
                  <a:lnTo>
                    <a:pt x="224" y="930"/>
                  </a:lnTo>
                  <a:lnTo>
                    <a:pt x="229" y="933"/>
                  </a:lnTo>
                  <a:lnTo>
                    <a:pt x="235" y="933"/>
                  </a:lnTo>
                  <a:lnTo>
                    <a:pt x="239" y="934"/>
                  </a:lnTo>
                  <a:lnTo>
                    <a:pt x="239" y="940"/>
                  </a:lnTo>
                  <a:lnTo>
                    <a:pt x="238" y="943"/>
                  </a:lnTo>
                  <a:lnTo>
                    <a:pt x="236" y="947"/>
                  </a:lnTo>
                  <a:lnTo>
                    <a:pt x="232" y="953"/>
                  </a:lnTo>
                  <a:lnTo>
                    <a:pt x="232" y="954"/>
                  </a:lnTo>
                  <a:lnTo>
                    <a:pt x="235" y="954"/>
                  </a:lnTo>
                  <a:lnTo>
                    <a:pt x="239" y="955"/>
                  </a:lnTo>
                  <a:lnTo>
                    <a:pt x="239" y="960"/>
                  </a:lnTo>
                  <a:lnTo>
                    <a:pt x="239" y="963"/>
                  </a:lnTo>
                  <a:lnTo>
                    <a:pt x="244" y="964"/>
                  </a:lnTo>
                  <a:lnTo>
                    <a:pt x="249" y="968"/>
                  </a:lnTo>
                  <a:lnTo>
                    <a:pt x="254" y="970"/>
                  </a:lnTo>
                  <a:lnTo>
                    <a:pt x="255" y="970"/>
                  </a:lnTo>
                  <a:lnTo>
                    <a:pt x="256" y="968"/>
                  </a:lnTo>
                  <a:lnTo>
                    <a:pt x="256" y="966"/>
                  </a:lnTo>
                  <a:lnTo>
                    <a:pt x="256" y="961"/>
                  </a:lnTo>
                  <a:lnTo>
                    <a:pt x="256" y="958"/>
                  </a:lnTo>
                  <a:lnTo>
                    <a:pt x="256" y="953"/>
                  </a:lnTo>
                  <a:lnTo>
                    <a:pt x="259" y="947"/>
                  </a:lnTo>
                  <a:lnTo>
                    <a:pt x="261" y="945"/>
                  </a:lnTo>
                  <a:lnTo>
                    <a:pt x="264" y="945"/>
                  </a:lnTo>
                  <a:lnTo>
                    <a:pt x="272" y="945"/>
                  </a:lnTo>
                  <a:lnTo>
                    <a:pt x="278" y="948"/>
                  </a:lnTo>
                  <a:lnTo>
                    <a:pt x="282" y="951"/>
                  </a:lnTo>
                  <a:lnTo>
                    <a:pt x="287" y="951"/>
                  </a:lnTo>
                  <a:lnTo>
                    <a:pt x="291" y="953"/>
                  </a:lnTo>
                  <a:lnTo>
                    <a:pt x="295" y="955"/>
                  </a:lnTo>
                  <a:lnTo>
                    <a:pt x="299" y="957"/>
                  </a:lnTo>
                  <a:lnTo>
                    <a:pt x="301" y="955"/>
                  </a:lnTo>
                  <a:lnTo>
                    <a:pt x="305" y="954"/>
                  </a:lnTo>
                  <a:lnTo>
                    <a:pt x="308" y="953"/>
                  </a:lnTo>
                  <a:lnTo>
                    <a:pt x="312" y="955"/>
                  </a:lnTo>
                  <a:lnTo>
                    <a:pt x="318" y="957"/>
                  </a:lnTo>
                  <a:lnTo>
                    <a:pt x="325" y="960"/>
                  </a:lnTo>
                  <a:lnTo>
                    <a:pt x="329" y="966"/>
                  </a:lnTo>
                  <a:lnTo>
                    <a:pt x="334" y="966"/>
                  </a:lnTo>
                  <a:lnTo>
                    <a:pt x="337" y="964"/>
                  </a:lnTo>
                  <a:lnTo>
                    <a:pt x="341" y="966"/>
                  </a:lnTo>
                  <a:lnTo>
                    <a:pt x="347" y="966"/>
                  </a:lnTo>
                  <a:lnTo>
                    <a:pt x="351" y="967"/>
                  </a:lnTo>
                  <a:lnTo>
                    <a:pt x="355" y="971"/>
                  </a:lnTo>
                  <a:lnTo>
                    <a:pt x="355" y="973"/>
                  </a:lnTo>
                  <a:lnTo>
                    <a:pt x="357" y="977"/>
                  </a:lnTo>
                  <a:lnTo>
                    <a:pt x="362" y="984"/>
                  </a:lnTo>
                  <a:lnTo>
                    <a:pt x="362" y="996"/>
                  </a:lnTo>
                  <a:lnTo>
                    <a:pt x="362" y="997"/>
                  </a:lnTo>
                  <a:lnTo>
                    <a:pt x="370" y="997"/>
                  </a:lnTo>
                  <a:lnTo>
                    <a:pt x="375" y="998"/>
                  </a:lnTo>
                  <a:lnTo>
                    <a:pt x="378" y="1001"/>
                  </a:lnTo>
                  <a:lnTo>
                    <a:pt x="378" y="1003"/>
                  </a:lnTo>
                  <a:lnTo>
                    <a:pt x="374" y="1003"/>
                  </a:lnTo>
                  <a:lnTo>
                    <a:pt x="370" y="1001"/>
                  </a:lnTo>
                  <a:lnTo>
                    <a:pt x="362" y="1000"/>
                  </a:lnTo>
                  <a:lnTo>
                    <a:pt x="362" y="1001"/>
                  </a:lnTo>
                  <a:lnTo>
                    <a:pt x="364" y="1006"/>
                  </a:lnTo>
                  <a:lnTo>
                    <a:pt x="365" y="1013"/>
                  </a:lnTo>
                  <a:lnTo>
                    <a:pt x="367" y="1017"/>
                  </a:lnTo>
                  <a:lnTo>
                    <a:pt x="368" y="1017"/>
                  </a:lnTo>
                  <a:lnTo>
                    <a:pt x="370" y="1014"/>
                  </a:lnTo>
                  <a:lnTo>
                    <a:pt x="374" y="1013"/>
                  </a:lnTo>
                  <a:lnTo>
                    <a:pt x="377" y="1014"/>
                  </a:lnTo>
                  <a:lnTo>
                    <a:pt x="381" y="1016"/>
                  </a:lnTo>
                  <a:lnTo>
                    <a:pt x="378" y="1016"/>
                  </a:lnTo>
                  <a:lnTo>
                    <a:pt x="375" y="1019"/>
                  </a:lnTo>
                  <a:lnTo>
                    <a:pt x="374" y="1021"/>
                  </a:lnTo>
                  <a:lnTo>
                    <a:pt x="371" y="1019"/>
                  </a:lnTo>
                  <a:lnTo>
                    <a:pt x="368" y="1019"/>
                  </a:lnTo>
                  <a:lnTo>
                    <a:pt x="367" y="1023"/>
                  </a:lnTo>
                  <a:lnTo>
                    <a:pt x="367" y="1029"/>
                  </a:lnTo>
                  <a:lnTo>
                    <a:pt x="364" y="1036"/>
                  </a:lnTo>
                  <a:lnTo>
                    <a:pt x="364" y="1040"/>
                  </a:lnTo>
                  <a:lnTo>
                    <a:pt x="361" y="1044"/>
                  </a:lnTo>
                  <a:lnTo>
                    <a:pt x="358" y="1053"/>
                  </a:lnTo>
                  <a:lnTo>
                    <a:pt x="354" y="1063"/>
                  </a:lnTo>
                  <a:lnTo>
                    <a:pt x="341" y="1067"/>
                  </a:lnTo>
                  <a:lnTo>
                    <a:pt x="334" y="1067"/>
                  </a:lnTo>
                  <a:lnTo>
                    <a:pt x="328" y="1064"/>
                  </a:lnTo>
                  <a:lnTo>
                    <a:pt x="322" y="1057"/>
                  </a:lnTo>
                  <a:lnTo>
                    <a:pt x="318" y="1056"/>
                  </a:lnTo>
                  <a:lnTo>
                    <a:pt x="309" y="1053"/>
                  </a:lnTo>
                  <a:lnTo>
                    <a:pt x="299" y="1053"/>
                  </a:lnTo>
                  <a:lnTo>
                    <a:pt x="297" y="1057"/>
                  </a:lnTo>
                  <a:lnTo>
                    <a:pt x="291" y="1063"/>
                  </a:lnTo>
                  <a:lnTo>
                    <a:pt x="278" y="1067"/>
                  </a:lnTo>
                  <a:lnTo>
                    <a:pt x="265" y="1073"/>
                  </a:lnTo>
                  <a:lnTo>
                    <a:pt x="259" y="1083"/>
                  </a:lnTo>
                  <a:lnTo>
                    <a:pt x="254" y="1090"/>
                  </a:lnTo>
                  <a:lnTo>
                    <a:pt x="246" y="1093"/>
                  </a:lnTo>
                  <a:lnTo>
                    <a:pt x="239" y="1090"/>
                  </a:lnTo>
                  <a:lnTo>
                    <a:pt x="229" y="1087"/>
                  </a:lnTo>
                  <a:lnTo>
                    <a:pt x="222" y="1082"/>
                  </a:lnTo>
                  <a:lnTo>
                    <a:pt x="212" y="1076"/>
                  </a:lnTo>
                  <a:lnTo>
                    <a:pt x="205" y="1067"/>
                  </a:lnTo>
                  <a:lnTo>
                    <a:pt x="199" y="1067"/>
                  </a:lnTo>
                  <a:lnTo>
                    <a:pt x="195" y="1069"/>
                  </a:lnTo>
                  <a:lnTo>
                    <a:pt x="186" y="1073"/>
                  </a:lnTo>
                  <a:lnTo>
                    <a:pt x="183" y="1074"/>
                  </a:lnTo>
                  <a:lnTo>
                    <a:pt x="179" y="1067"/>
                  </a:lnTo>
                  <a:lnTo>
                    <a:pt x="178" y="1064"/>
                  </a:lnTo>
                  <a:lnTo>
                    <a:pt x="175" y="1064"/>
                  </a:lnTo>
                  <a:lnTo>
                    <a:pt x="175" y="1067"/>
                  </a:lnTo>
                  <a:lnTo>
                    <a:pt x="172" y="1069"/>
                  </a:lnTo>
                  <a:lnTo>
                    <a:pt x="168" y="1069"/>
                  </a:lnTo>
                  <a:lnTo>
                    <a:pt x="162" y="1073"/>
                  </a:lnTo>
                  <a:lnTo>
                    <a:pt x="160" y="1076"/>
                  </a:lnTo>
                  <a:lnTo>
                    <a:pt x="162" y="1082"/>
                  </a:lnTo>
                  <a:lnTo>
                    <a:pt x="168" y="1094"/>
                  </a:lnTo>
                  <a:lnTo>
                    <a:pt x="171" y="1110"/>
                  </a:lnTo>
                  <a:lnTo>
                    <a:pt x="175" y="1124"/>
                  </a:lnTo>
                  <a:lnTo>
                    <a:pt x="178" y="1139"/>
                  </a:lnTo>
                  <a:lnTo>
                    <a:pt x="176" y="1143"/>
                  </a:lnTo>
                  <a:lnTo>
                    <a:pt x="175" y="1146"/>
                  </a:lnTo>
                  <a:lnTo>
                    <a:pt x="171" y="1149"/>
                  </a:lnTo>
                  <a:lnTo>
                    <a:pt x="171" y="1152"/>
                  </a:lnTo>
                  <a:lnTo>
                    <a:pt x="171" y="1153"/>
                  </a:lnTo>
                  <a:lnTo>
                    <a:pt x="171" y="1157"/>
                  </a:lnTo>
                  <a:lnTo>
                    <a:pt x="172" y="1160"/>
                  </a:lnTo>
                  <a:lnTo>
                    <a:pt x="175" y="1165"/>
                  </a:lnTo>
                  <a:lnTo>
                    <a:pt x="178" y="1167"/>
                  </a:lnTo>
                  <a:lnTo>
                    <a:pt x="173" y="1167"/>
                  </a:lnTo>
                  <a:lnTo>
                    <a:pt x="171" y="1165"/>
                  </a:lnTo>
                  <a:lnTo>
                    <a:pt x="168" y="1159"/>
                  </a:lnTo>
                  <a:lnTo>
                    <a:pt x="166" y="1150"/>
                  </a:lnTo>
                  <a:lnTo>
                    <a:pt x="165" y="1147"/>
                  </a:lnTo>
                  <a:lnTo>
                    <a:pt x="163" y="1147"/>
                  </a:lnTo>
                  <a:lnTo>
                    <a:pt x="162" y="1149"/>
                  </a:lnTo>
                  <a:lnTo>
                    <a:pt x="159" y="1157"/>
                  </a:lnTo>
                  <a:lnTo>
                    <a:pt x="155" y="1163"/>
                  </a:lnTo>
                  <a:lnTo>
                    <a:pt x="150" y="1169"/>
                  </a:lnTo>
                  <a:lnTo>
                    <a:pt x="142" y="1176"/>
                  </a:lnTo>
                  <a:lnTo>
                    <a:pt x="132" y="1182"/>
                  </a:lnTo>
                  <a:lnTo>
                    <a:pt x="126" y="1189"/>
                  </a:lnTo>
                  <a:lnTo>
                    <a:pt x="123" y="1196"/>
                  </a:lnTo>
                  <a:lnTo>
                    <a:pt x="118" y="1200"/>
                  </a:lnTo>
                  <a:lnTo>
                    <a:pt x="109" y="1208"/>
                  </a:lnTo>
                  <a:lnTo>
                    <a:pt x="106" y="1213"/>
                  </a:lnTo>
                  <a:lnTo>
                    <a:pt x="106" y="1213"/>
                  </a:lnTo>
                  <a:lnTo>
                    <a:pt x="105" y="1218"/>
                  </a:lnTo>
                  <a:lnTo>
                    <a:pt x="100" y="1229"/>
                  </a:lnTo>
                  <a:lnTo>
                    <a:pt x="95" y="1238"/>
                  </a:lnTo>
                  <a:lnTo>
                    <a:pt x="86" y="1243"/>
                  </a:lnTo>
                  <a:lnTo>
                    <a:pt x="77" y="1246"/>
                  </a:lnTo>
                  <a:lnTo>
                    <a:pt x="70" y="1248"/>
                  </a:lnTo>
                  <a:lnTo>
                    <a:pt x="59" y="1246"/>
                  </a:lnTo>
                  <a:lnTo>
                    <a:pt x="50" y="1246"/>
                  </a:lnTo>
                  <a:lnTo>
                    <a:pt x="46" y="1252"/>
                  </a:lnTo>
                  <a:lnTo>
                    <a:pt x="44" y="1258"/>
                  </a:lnTo>
                  <a:lnTo>
                    <a:pt x="47" y="1265"/>
                  </a:lnTo>
                  <a:lnTo>
                    <a:pt x="47" y="1271"/>
                  </a:lnTo>
                  <a:lnTo>
                    <a:pt x="47" y="1273"/>
                  </a:lnTo>
                  <a:lnTo>
                    <a:pt x="40" y="1281"/>
                  </a:lnTo>
                  <a:lnTo>
                    <a:pt x="30" y="1289"/>
                  </a:lnTo>
                  <a:lnTo>
                    <a:pt x="26" y="1298"/>
                  </a:lnTo>
                  <a:lnTo>
                    <a:pt x="22" y="1315"/>
                  </a:lnTo>
                  <a:lnTo>
                    <a:pt x="20" y="1321"/>
                  </a:lnTo>
                  <a:lnTo>
                    <a:pt x="14" y="1324"/>
                  </a:lnTo>
                  <a:lnTo>
                    <a:pt x="10" y="1328"/>
                  </a:lnTo>
                  <a:lnTo>
                    <a:pt x="10" y="1332"/>
                  </a:lnTo>
                  <a:lnTo>
                    <a:pt x="7" y="1335"/>
                  </a:lnTo>
                  <a:lnTo>
                    <a:pt x="2" y="1335"/>
                  </a:lnTo>
                  <a:lnTo>
                    <a:pt x="0" y="1336"/>
                  </a:lnTo>
                  <a:lnTo>
                    <a:pt x="2" y="1339"/>
                  </a:lnTo>
                  <a:lnTo>
                    <a:pt x="4" y="1339"/>
                  </a:lnTo>
                  <a:lnTo>
                    <a:pt x="7" y="1335"/>
                  </a:lnTo>
                  <a:lnTo>
                    <a:pt x="10" y="1338"/>
                  </a:lnTo>
                  <a:lnTo>
                    <a:pt x="14" y="1345"/>
                  </a:lnTo>
                  <a:lnTo>
                    <a:pt x="19" y="1348"/>
                  </a:lnTo>
                  <a:lnTo>
                    <a:pt x="19" y="1351"/>
                  </a:lnTo>
                  <a:lnTo>
                    <a:pt x="22" y="1352"/>
                  </a:lnTo>
                  <a:lnTo>
                    <a:pt x="27" y="1352"/>
                  </a:lnTo>
                  <a:lnTo>
                    <a:pt x="32" y="1352"/>
                  </a:lnTo>
                  <a:lnTo>
                    <a:pt x="34" y="1355"/>
                  </a:lnTo>
                  <a:lnTo>
                    <a:pt x="40" y="1361"/>
                  </a:lnTo>
                  <a:lnTo>
                    <a:pt x="42" y="1361"/>
                  </a:lnTo>
                  <a:lnTo>
                    <a:pt x="46" y="1359"/>
                  </a:lnTo>
                  <a:lnTo>
                    <a:pt x="47" y="1359"/>
                  </a:lnTo>
                  <a:lnTo>
                    <a:pt x="53" y="1359"/>
                  </a:lnTo>
                  <a:lnTo>
                    <a:pt x="62" y="1364"/>
                  </a:lnTo>
                  <a:lnTo>
                    <a:pt x="73" y="1361"/>
                  </a:lnTo>
                  <a:lnTo>
                    <a:pt x="77" y="1368"/>
                  </a:lnTo>
                  <a:lnTo>
                    <a:pt x="80" y="1371"/>
                  </a:lnTo>
                  <a:lnTo>
                    <a:pt x="85" y="1375"/>
                  </a:lnTo>
                  <a:lnTo>
                    <a:pt x="82" y="1378"/>
                  </a:lnTo>
                  <a:lnTo>
                    <a:pt x="77" y="1382"/>
                  </a:lnTo>
                  <a:lnTo>
                    <a:pt x="80" y="1387"/>
                  </a:lnTo>
                  <a:lnTo>
                    <a:pt x="86" y="1387"/>
                  </a:lnTo>
                  <a:lnTo>
                    <a:pt x="92" y="1388"/>
                  </a:lnTo>
                  <a:lnTo>
                    <a:pt x="100" y="1395"/>
                  </a:lnTo>
                  <a:lnTo>
                    <a:pt x="110" y="1395"/>
                  </a:lnTo>
                  <a:lnTo>
                    <a:pt x="116" y="1391"/>
                  </a:lnTo>
                  <a:lnTo>
                    <a:pt x="119" y="1395"/>
                  </a:lnTo>
                  <a:lnTo>
                    <a:pt x="125" y="1394"/>
                  </a:lnTo>
                  <a:lnTo>
                    <a:pt x="129" y="1395"/>
                  </a:lnTo>
                  <a:lnTo>
                    <a:pt x="132" y="1398"/>
                  </a:lnTo>
                  <a:lnTo>
                    <a:pt x="132" y="1405"/>
                  </a:lnTo>
                  <a:lnTo>
                    <a:pt x="129" y="1408"/>
                  </a:lnTo>
                  <a:lnTo>
                    <a:pt x="128" y="1412"/>
                  </a:lnTo>
                  <a:lnTo>
                    <a:pt x="140" y="1421"/>
                  </a:lnTo>
                  <a:lnTo>
                    <a:pt x="146" y="1420"/>
                  </a:lnTo>
                  <a:lnTo>
                    <a:pt x="152" y="1420"/>
                  </a:lnTo>
                  <a:lnTo>
                    <a:pt x="159" y="1422"/>
                  </a:lnTo>
                  <a:lnTo>
                    <a:pt x="165" y="1427"/>
                  </a:lnTo>
                  <a:lnTo>
                    <a:pt x="165" y="1431"/>
                  </a:lnTo>
                  <a:lnTo>
                    <a:pt x="165" y="1440"/>
                  </a:lnTo>
                  <a:lnTo>
                    <a:pt x="166" y="1442"/>
                  </a:lnTo>
                  <a:lnTo>
                    <a:pt x="179" y="1452"/>
                  </a:lnTo>
                  <a:lnTo>
                    <a:pt x="186" y="1460"/>
                  </a:lnTo>
                  <a:lnTo>
                    <a:pt x="189" y="1465"/>
                  </a:lnTo>
                  <a:lnTo>
                    <a:pt x="188" y="1468"/>
                  </a:lnTo>
                  <a:lnTo>
                    <a:pt x="183" y="1471"/>
                  </a:lnTo>
                  <a:lnTo>
                    <a:pt x="171" y="1480"/>
                  </a:lnTo>
                  <a:lnTo>
                    <a:pt x="158" y="1487"/>
                  </a:lnTo>
                  <a:lnTo>
                    <a:pt x="153" y="1493"/>
                  </a:lnTo>
                  <a:lnTo>
                    <a:pt x="146" y="1497"/>
                  </a:lnTo>
                  <a:lnTo>
                    <a:pt x="142" y="1500"/>
                  </a:lnTo>
                  <a:lnTo>
                    <a:pt x="138" y="1508"/>
                  </a:lnTo>
                  <a:lnTo>
                    <a:pt x="133" y="1518"/>
                  </a:lnTo>
                  <a:lnTo>
                    <a:pt x="135" y="1534"/>
                  </a:lnTo>
                  <a:lnTo>
                    <a:pt x="135" y="1540"/>
                  </a:lnTo>
                  <a:lnTo>
                    <a:pt x="132" y="1557"/>
                  </a:lnTo>
                  <a:lnTo>
                    <a:pt x="128" y="1564"/>
                  </a:lnTo>
                  <a:lnTo>
                    <a:pt x="120" y="1577"/>
                  </a:lnTo>
                  <a:lnTo>
                    <a:pt x="105" y="1589"/>
                  </a:lnTo>
                  <a:lnTo>
                    <a:pt x="99" y="1596"/>
                  </a:lnTo>
                  <a:lnTo>
                    <a:pt x="99" y="1603"/>
                  </a:lnTo>
                  <a:lnTo>
                    <a:pt x="105" y="1607"/>
                  </a:lnTo>
                  <a:lnTo>
                    <a:pt x="106" y="1610"/>
                  </a:lnTo>
                  <a:lnTo>
                    <a:pt x="106" y="1611"/>
                  </a:lnTo>
                  <a:lnTo>
                    <a:pt x="102" y="1613"/>
                  </a:lnTo>
                  <a:lnTo>
                    <a:pt x="95" y="1616"/>
                  </a:lnTo>
                  <a:lnTo>
                    <a:pt x="93" y="1621"/>
                  </a:lnTo>
                  <a:lnTo>
                    <a:pt x="87" y="1624"/>
                  </a:lnTo>
                  <a:lnTo>
                    <a:pt x="83" y="1627"/>
                  </a:lnTo>
                  <a:lnTo>
                    <a:pt x="83" y="1637"/>
                  </a:lnTo>
                  <a:lnTo>
                    <a:pt x="80" y="1640"/>
                  </a:lnTo>
                  <a:lnTo>
                    <a:pt x="79" y="1646"/>
                  </a:lnTo>
                  <a:lnTo>
                    <a:pt x="82" y="1656"/>
                  </a:lnTo>
                  <a:lnTo>
                    <a:pt x="79" y="1659"/>
                  </a:lnTo>
                  <a:lnTo>
                    <a:pt x="73" y="1663"/>
                  </a:lnTo>
                  <a:lnTo>
                    <a:pt x="70" y="1679"/>
                  </a:lnTo>
                  <a:lnTo>
                    <a:pt x="67" y="1687"/>
                  </a:lnTo>
                  <a:lnTo>
                    <a:pt x="67" y="1692"/>
                  </a:lnTo>
                  <a:lnTo>
                    <a:pt x="72" y="1700"/>
                  </a:lnTo>
                  <a:lnTo>
                    <a:pt x="79" y="1712"/>
                  </a:lnTo>
                  <a:lnTo>
                    <a:pt x="79" y="1716"/>
                  </a:lnTo>
                  <a:lnTo>
                    <a:pt x="80" y="1722"/>
                  </a:lnTo>
                  <a:lnTo>
                    <a:pt x="82" y="1725"/>
                  </a:lnTo>
                  <a:lnTo>
                    <a:pt x="86" y="1723"/>
                  </a:lnTo>
                  <a:lnTo>
                    <a:pt x="93" y="1720"/>
                  </a:lnTo>
                  <a:lnTo>
                    <a:pt x="100" y="1725"/>
                  </a:lnTo>
                  <a:lnTo>
                    <a:pt x="102" y="1729"/>
                  </a:lnTo>
                  <a:lnTo>
                    <a:pt x="99" y="1735"/>
                  </a:lnTo>
                  <a:lnTo>
                    <a:pt x="93" y="1736"/>
                  </a:lnTo>
                  <a:lnTo>
                    <a:pt x="92" y="1742"/>
                  </a:lnTo>
                  <a:lnTo>
                    <a:pt x="92" y="1748"/>
                  </a:lnTo>
                  <a:lnTo>
                    <a:pt x="97" y="1752"/>
                  </a:lnTo>
                  <a:lnTo>
                    <a:pt x="100" y="1756"/>
                  </a:lnTo>
                  <a:lnTo>
                    <a:pt x="100" y="1760"/>
                  </a:lnTo>
                  <a:lnTo>
                    <a:pt x="102" y="1766"/>
                  </a:lnTo>
                  <a:lnTo>
                    <a:pt x="107" y="1776"/>
                  </a:lnTo>
                  <a:lnTo>
                    <a:pt x="116" y="1783"/>
                  </a:lnTo>
                  <a:lnTo>
                    <a:pt x="123" y="1785"/>
                  </a:lnTo>
                  <a:lnTo>
                    <a:pt x="132" y="1780"/>
                  </a:lnTo>
                  <a:lnTo>
                    <a:pt x="136" y="1782"/>
                  </a:lnTo>
                  <a:lnTo>
                    <a:pt x="139" y="1790"/>
                  </a:lnTo>
                  <a:lnTo>
                    <a:pt x="143" y="1793"/>
                  </a:lnTo>
                  <a:lnTo>
                    <a:pt x="158" y="1790"/>
                  </a:lnTo>
                  <a:lnTo>
                    <a:pt x="169" y="1790"/>
                  </a:lnTo>
                  <a:lnTo>
                    <a:pt x="179" y="1789"/>
                  </a:lnTo>
                  <a:lnTo>
                    <a:pt x="203" y="1779"/>
                  </a:lnTo>
                  <a:lnTo>
                    <a:pt x="213" y="1780"/>
                  </a:lnTo>
                  <a:lnTo>
                    <a:pt x="221" y="1782"/>
                  </a:lnTo>
                  <a:lnTo>
                    <a:pt x="226" y="1789"/>
                  </a:lnTo>
                  <a:lnTo>
                    <a:pt x="229" y="1790"/>
                  </a:lnTo>
                  <a:lnTo>
                    <a:pt x="238" y="1790"/>
                  </a:lnTo>
                  <a:lnTo>
                    <a:pt x="248" y="1796"/>
                  </a:lnTo>
                  <a:lnTo>
                    <a:pt x="256" y="1799"/>
                  </a:lnTo>
                  <a:lnTo>
                    <a:pt x="256" y="1799"/>
                  </a:lnTo>
                  <a:lnTo>
                    <a:pt x="255" y="1811"/>
                  </a:lnTo>
                  <a:lnTo>
                    <a:pt x="258" y="1818"/>
                  </a:lnTo>
                  <a:lnTo>
                    <a:pt x="262" y="1828"/>
                  </a:lnTo>
                  <a:lnTo>
                    <a:pt x="272" y="1842"/>
                  </a:lnTo>
                  <a:lnTo>
                    <a:pt x="274" y="1848"/>
                  </a:lnTo>
                  <a:lnTo>
                    <a:pt x="275" y="1859"/>
                  </a:lnTo>
                  <a:lnTo>
                    <a:pt x="275" y="1861"/>
                  </a:lnTo>
                  <a:lnTo>
                    <a:pt x="275" y="1861"/>
                  </a:lnTo>
                  <a:lnTo>
                    <a:pt x="289" y="1862"/>
                  </a:lnTo>
                  <a:lnTo>
                    <a:pt x="297" y="1862"/>
                  </a:lnTo>
                  <a:lnTo>
                    <a:pt x="304" y="1859"/>
                  </a:lnTo>
                  <a:lnTo>
                    <a:pt x="321" y="1849"/>
                  </a:lnTo>
                  <a:lnTo>
                    <a:pt x="321" y="1849"/>
                  </a:lnTo>
                  <a:lnTo>
                    <a:pt x="329" y="1845"/>
                  </a:lnTo>
                  <a:lnTo>
                    <a:pt x="337" y="1843"/>
                  </a:lnTo>
                  <a:lnTo>
                    <a:pt x="341" y="1843"/>
                  </a:lnTo>
                  <a:lnTo>
                    <a:pt x="344" y="1843"/>
                  </a:lnTo>
                  <a:lnTo>
                    <a:pt x="344" y="1843"/>
                  </a:lnTo>
                  <a:lnTo>
                    <a:pt x="347" y="1848"/>
                  </a:lnTo>
                  <a:lnTo>
                    <a:pt x="351" y="1853"/>
                  </a:lnTo>
                  <a:lnTo>
                    <a:pt x="351" y="1853"/>
                  </a:lnTo>
                  <a:lnTo>
                    <a:pt x="352" y="1858"/>
                  </a:lnTo>
                  <a:lnTo>
                    <a:pt x="354" y="1865"/>
                  </a:lnTo>
                  <a:lnTo>
                    <a:pt x="357" y="1872"/>
                  </a:lnTo>
                  <a:lnTo>
                    <a:pt x="360" y="1875"/>
                  </a:lnTo>
                  <a:lnTo>
                    <a:pt x="362" y="1876"/>
                  </a:lnTo>
                  <a:lnTo>
                    <a:pt x="365" y="1881"/>
                  </a:lnTo>
                  <a:lnTo>
                    <a:pt x="367" y="1885"/>
                  </a:lnTo>
                  <a:lnTo>
                    <a:pt x="367" y="1889"/>
                  </a:lnTo>
                  <a:lnTo>
                    <a:pt x="370" y="1891"/>
                  </a:lnTo>
                  <a:lnTo>
                    <a:pt x="374" y="1895"/>
                  </a:lnTo>
                  <a:lnTo>
                    <a:pt x="375" y="1898"/>
                  </a:lnTo>
                  <a:lnTo>
                    <a:pt x="381" y="1898"/>
                  </a:lnTo>
                  <a:lnTo>
                    <a:pt x="382" y="1904"/>
                  </a:lnTo>
                  <a:lnTo>
                    <a:pt x="387" y="1904"/>
                  </a:lnTo>
                  <a:lnTo>
                    <a:pt x="388" y="1904"/>
                  </a:lnTo>
                  <a:lnTo>
                    <a:pt x="391" y="1898"/>
                  </a:lnTo>
                  <a:lnTo>
                    <a:pt x="397" y="1898"/>
                  </a:lnTo>
                  <a:lnTo>
                    <a:pt x="403" y="1896"/>
                  </a:lnTo>
                  <a:lnTo>
                    <a:pt x="408" y="1895"/>
                  </a:lnTo>
                  <a:lnTo>
                    <a:pt x="413" y="1892"/>
                  </a:lnTo>
                  <a:lnTo>
                    <a:pt x="417" y="1888"/>
                  </a:lnTo>
                  <a:lnTo>
                    <a:pt x="424" y="1884"/>
                  </a:lnTo>
                  <a:lnTo>
                    <a:pt x="428" y="1882"/>
                  </a:lnTo>
                  <a:lnTo>
                    <a:pt x="437" y="1879"/>
                  </a:lnTo>
                  <a:lnTo>
                    <a:pt x="437" y="1879"/>
                  </a:lnTo>
                  <a:lnTo>
                    <a:pt x="437" y="1879"/>
                  </a:lnTo>
                  <a:close/>
                  <a:moveTo>
                    <a:pt x="1392" y="206"/>
                  </a:moveTo>
                  <a:lnTo>
                    <a:pt x="1395" y="212"/>
                  </a:lnTo>
                  <a:lnTo>
                    <a:pt x="1395" y="216"/>
                  </a:lnTo>
                  <a:lnTo>
                    <a:pt x="1396" y="221"/>
                  </a:lnTo>
                  <a:lnTo>
                    <a:pt x="1398" y="225"/>
                  </a:lnTo>
                  <a:lnTo>
                    <a:pt x="1398" y="228"/>
                  </a:lnTo>
                  <a:lnTo>
                    <a:pt x="1398" y="234"/>
                  </a:lnTo>
                  <a:lnTo>
                    <a:pt x="1396" y="239"/>
                  </a:lnTo>
                  <a:lnTo>
                    <a:pt x="1399" y="244"/>
                  </a:lnTo>
                  <a:lnTo>
                    <a:pt x="1399" y="247"/>
                  </a:lnTo>
                  <a:lnTo>
                    <a:pt x="1398" y="249"/>
                  </a:lnTo>
                  <a:lnTo>
                    <a:pt x="1394" y="249"/>
                  </a:lnTo>
                  <a:lnTo>
                    <a:pt x="1388" y="248"/>
                  </a:lnTo>
                  <a:lnTo>
                    <a:pt x="1384" y="244"/>
                  </a:lnTo>
                  <a:lnTo>
                    <a:pt x="1382" y="238"/>
                  </a:lnTo>
                  <a:lnTo>
                    <a:pt x="1378" y="235"/>
                  </a:lnTo>
                  <a:lnTo>
                    <a:pt x="1376" y="231"/>
                  </a:lnTo>
                  <a:lnTo>
                    <a:pt x="1378" y="224"/>
                  </a:lnTo>
                  <a:lnTo>
                    <a:pt x="1379" y="219"/>
                  </a:lnTo>
                  <a:lnTo>
                    <a:pt x="1386" y="212"/>
                  </a:lnTo>
                  <a:lnTo>
                    <a:pt x="1392" y="206"/>
                  </a:lnTo>
                  <a:lnTo>
                    <a:pt x="1392" y="206"/>
                  </a:lnTo>
                  <a:close/>
                  <a:moveTo>
                    <a:pt x="1406" y="239"/>
                  </a:moveTo>
                  <a:lnTo>
                    <a:pt x="1409" y="239"/>
                  </a:lnTo>
                  <a:lnTo>
                    <a:pt x="1411" y="245"/>
                  </a:lnTo>
                  <a:lnTo>
                    <a:pt x="1411" y="252"/>
                  </a:lnTo>
                  <a:lnTo>
                    <a:pt x="1408" y="254"/>
                  </a:lnTo>
                  <a:lnTo>
                    <a:pt x="1402" y="254"/>
                  </a:lnTo>
                  <a:lnTo>
                    <a:pt x="1402" y="251"/>
                  </a:lnTo>
                  <a:lnTo>
                    <a:pt x="1404" y="241"/>
                  </a:lnTo>
                  <a:lnTo>
                    <a:pt x="1406" y="239"/>
                  </a:lnTo>
                  <a:lnTo>
                    <a:pt x="1406" y="239"/>
                  </a:lnTo>
                  <a:close/>
                  <a:moveTo>
                    <a:pt x="236" y="973"/>
                  </a:moveTo>
                  <a:lnTo>
                    <a:pt x="235" y="971"/>
                  </a:lnTo>
                  <a:lnTo>
                    <a:pt x="235" y="971"/>
                  </a:lnTo>
                  <a:lnTo>
                    <a:pt x="235" y="971"/>
                  </a:lnTo>
                  <a:lnTo>
                    <a:pt x="235" y="971"/>
                  </a:lnTo>
                  <a:lnTo>
                    <a:pt x="235" y="971"/>
                  </a:lnTo>
                  <a:lnTo>
                    <a:pt x="235" y="971"/>
                  </a:lnTo>
                  <a:lnTo>
                    <a:pt x="234" y="970"/>
                  </a:lnTo>
                  <a:lnTo>
                    <a:pt x="234" y="970"/>
                  </a:lnTo>
                  <a:lnTo>
                    <a:pt x="234" y="970"/>
                  </a:lnTo>
                  <a:lnTo>
                    <a:pt x="234" y="970"/>
                  </a:lnTo>
                  <a:lnTo>
                    <a:pt x="232" y="970"/>
                  </a:lnTo>
                  <a:lnTo>
                    <a:pt x="232" y="970"/>
                  </a:lnTo>
                  <a:lnTo>
                    <a:pt x="232" y="970"/>
                  </a:lnTo>
                  <a:lnTo>
                    <a:pt x="232" y="968"/>
                  </a:lnTo>
                  <a:lnTo>
                    <a:pt x="232" y="968"/>
                  </a:lnTo>
                  <a:lnTo>
                    <a:pt x="232" y="968"/>
                  </a:lnTo>
                  <a:lnTo>
                    <a:pt x="232" y="968"/>
                  </a:lnTo>
                  <a:lnTo>
                    <a:pt x="234" y="968"/>
                  </a:lnTo>
                  <a:lnTo>
                    <a:pt x="234" y="968"/>
                  </a:lnTo>
                  <a:lnTo>
                    <a:pt x="236" y="968"/>
                  </a:lnTo>
                  <a:lnTo>
                    <a:pt x="236" y="968"/>
                  </a:lnTo>
                  <a:lnTo>
                    <a:pt x="238" y="970"/>
                  </a:lnTo>
                  <a:lnTo>
                    <a:pt x="238" y="970"/>
                  </a:lnTo>
                  <a:lnTo>
                    <a:pt x="238" y="970"/>
                  </a:lnTo>
                  <a:lnTo>
                    <a:pt x="238" y="970"/>
                  </a:lnTo>
                  <a:lnTo>
                    <a:pt x="239" y="970"/>
                  </a:lnTo>
                  <a:lnTo>
                    <a:pt x="239" y="970"/>
                  </a:lnTo>
                  <a:lnTo>
                    <a:pt x="238" y="970"/>
                  </a:lnTo>
                  <a:lnTo>
                    <a:pt x="238" y="970"/>
                  </a:lnTo>
                  <a:lnTo>
                    <a:pt x="238" y="971"/>
                  </a:lnTo>
                  <a:lnTo>
                    <a:pt x="238" y="971"/>
                  </a:lnTo>
                  <a:lnTo>
                    <a:pt x="236" y="970"/>
                  </a:lnTo>
                  <a:lnTo>
                    <a:pt x="236" y="973"/>
                  </a:lnTo>
                  <a:lnTo>
                    <a:pt x="236" y="973"/>
                  </a:lnTo>
                  <a:close/>
                  <a:moveTo>
                    <a:pt x="224" y="968"/>
                  </a:moveTo>
                  <a:lnTo>
                    <a:pt x="224" y="968"/>
                  </a:lnTo>
                  <a:lnTo>
                    <a:pt x="222" y="967"/>
                  </a:lnTo>
                  <a:lnTo>
                    <a:pt x="222" y="966"/>
                  </a:lnTo>
                  <a:lnTo>
                    <a:pt x="222" y="966"/>
                  </a:lnTo>
                  <a:lnTo>
                    <a:pt x="224" y="964"/>
                  </a:lnTo>
                  <a:lnTo>
                    <a:pt x="224" y="963"/>
                  </a:lnTo>
                  <a:lnTo>
                    <a:pt x="224" y="963"/>
                  </a:lnTo>
                  <a:lnTo>
                    <a:pt x="225" y="954"/>
                  </a:lnTo>
                  <a:lnTo>
                    <a:pt x="225" y="954"/>
                  </a:lnTo>
                  <a:lnTo>
                    <a:pt x="226" y="953"/>
                  </a:lnTo>
                  <a:lnTo>
                    <a:pt x="228" y="953"/>
                  </a:lnTo>
                  <a:lnTo>
                    <a:pt x="228" y="953"/>
                  </a:lnTo>
                  <a:lnTo>
                    <a:pt x="229" y="955"/>
                  </a:lnTo>
                  <a:lnTo>
                    <a:pt x="229" y="957"/>
                  </a:lnTo>
                  <a:lnTo>
                    <a:pt x="229" y="958"/>
                  </a:lnTo>
                  <a:lnTo>
                    <a:pt x="229" y="958"/>
                  </a:lnTo>
                  <a:lnTo>
                    <a:pt x="232" y="961"/>
                  </a:lnTo>
                  <a:lnTo>
                    <a:pt x="232" y="961"/>
                  </a:lnTo>
                  <a:lnTo>
                    <a:pt x="234" y="964"/>
                  </a:lnTo>
                  <a:lnTo>
                    <a:pt x="232" y="966"/>
                  </a:lnTo>
                  <a:lnTo>
                    <a:pt x="226" y="966"/>
                  </a:lnTo>
                  <a:lnTo>
                    <a:pt x="226" y="966"/>
                  </a:lnTo>
                  <a:lnTo>
                    <a:pt x="225" y="966"/>
                  </a:lnTo>
                  <a:lnTo>
                    <a:pt x="224" y="968"/>
                  </a:lnTo>
                  <a:lnTo>
                    <a:pt x="224" y="968"/>
                  </a:lnTo>
                  <a:close/>
                  <a:moveTo>
                    <a:pt x="162" y="1004"/>
                  </a:moveTo>
                  <a:lnTo>
                    <a:pt x="165" y="1006"/>
                  </a:lnTo>
                  <a:lnTo>
                    <a:pt x="166" y="1003"/>
                  </a:lnTo>
                  <a:lnTo>
                    <a:pt x="169" y="1000"/>
                  </a:lnTo>
                  <a:lnTo>
                    <a:pt x="175" y="996"/>
                  </a:lnTo>
                  <a:lnTo>
                    <a:pt x="181" y="991"/>
                  </a:lnTo>
                  <a:lnTo>
                    <a:pt x="183" y="986"/>
                  </a:lnTo>
                  <a:lnTo>
                    <a:pt x="189" y="983"/>
                  </a:lnTo>
                  <a:lnTo>
                    <a:pt x="193" y="983"/>
                  </a:lnTo>
                  <a:lnTo>
                    <a:pt x="198" y="984"/>
                  </a:lnTo>
                  <a:lnTo>
                    <a:pt x="203" y="988"/>
                  </a:lnTo>
                  <a:lnTo>
                    <a:pt x="203" y="993"/>
                  </a:lnTo>
                  <a:lnTo>
                    <a:pt x="202" y="997"/>
                  </a:lnTo>
                  <a:lnTo>
                    <a:pt x="203" y="998"/>
                  </a:lnTo>
                  <a:lnTo>
                    <a:pt x="206" y="1000"/>
                  </a:lnTo>
                  <a:lnTo>
                    <a:pt x="208" y="1004"/>
                  </a:lnTo>
                  <a:lnTo>
                    <a:pt x="215" y="1004"/>
                  </a:lnTo>
                  <a:lnTo>
                    <a:pt x="218" y="1007"/>
                  </a:lnTo>
                  <a:lnTo>
                    <a:pt x="224" y="1011"/>
                  </a:lnTo>
                  <a:lnTo>
                    <a:pt x="228" y="1020"/>
                  </a:lnTo>
                  <a:lnTo>
                    <a:pt x="224" y="1024"/>
                  </a:lnTo>
                  <a:lnTo>
                    <a:pt x="221" y="1027"/>
                  </a:lnTo>
                  <a:lnTo>
                    <a:pt x="219" y="1034"/>
                  </a:lnTo>
                  <a:lnTo>
                    <a:pt x="218" y="1037"/>
                  </a:lnTo>
                  <a:lnTo>
                    <a:pt x="211" y="1043"/>
                  </a:lnTo>
                  <a:lnTo>
                    <a:pt x="206" y="1049"/>
                  </a:lnTo>
                  <a:lnTo>
                    <a:pt x="196" y="1051"/>
                  </a:lnTo>
                  <a:lnTo>
                    <a:pt x="189" y="1054"/>
                  </a:lnTo>
                  <a:lnTo>
                    <a:pt x="186" y="1056"/>
                  </a:lnTo>
                  <a:lnTo>
                    <a:pt x="183" y="1059"/>
                  </a:lnTo>
                  <a:lnTo>
                    <a:pt x="176" y="1060"/>
                  </a:lnTo>
                  <a:lnTo>
                    <a:pt x="166" y="1061"/>
                  </a:lnTo>
                  <a:lnTo>
                    <a:pt x="159" y="1067"/>
                  </a:lnTo>
                  <a:lnTo>
                    <a:pt x="156" y="1067"/>
                  </a:lnTo>
                  <a:lnTo>
                    <a:pt x="149" y="1059"/>
                  </a:lnTo>
                  <a:lnTo>
                    <a:pt x="146" y="1051"/>
                  </a:lnTo>
                  <a:lnTo>
                    <a:pt x="143" y="1049"/>
                  </a:lnTo>
                  <a:lnTo>
                    <a:pt x="140" y="1047"/>
                  </a:lnTo>
                  <a:lnTo>
                    <a:pt x="136" y="1043"/>
                  </a:lnTo>
                  <a:lnTo>
                    <a:pt x="136" y="1041"/>
                  </a:lnTo>
                  <a:lnTo>
                    <a:pt x="138" y="1039"/>
                  </a:lnTo>
                  <a:lnTo>
                    <a:pt x="133" y="1037"/>
                  </a:lnTo>
                  <a:lnTo>
                    <a:pt x="133" y="1036"/>
                  </a:lnTo>
                  <a:lnTo>
                    <a:pt x="136" y="1031"/>
                  </a:lnTo>
                  <a:lnTo>
                    <a:pt x="136" y="1029"/>
                  </a:lnTo>
                  <a:lnTo>
                    <a:pt x="139" y="1026"/>
                  </a:lnTo>
                  <a:lnTo>
                    <a:pt x="143" y="1019"/>
                  </a:lnTo>
                  <a:lnTo>
                    <a:pt x="146" y="1019"/>
                  </a:lnTo>
                  <a:lnTo>
                    <a:pt x="150" y="1017"/>
                  </a:lnTo>
                  <a:lnTo>
                    <a:pt x="152" y="1013"/>
                  </a:lnTo>
                  <a:lnTo>
                    <a:pt x="155" y="1010"/>
                  </a:lnTo>
                  <a:lnTo>
                    <a:pt x="159" y="1007"/>
                  </a:lnTo>
                  <a:lnTo>
                    <a:pt x="159" y="1004"/>
                  </a:lnTo>
                  <a:lnTo>
                    <a:pt x="162" y="100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64" name="Freeform 212"/>
            <p:cNvSpPr>
              <a:spLocks noEditPoints="1"/>
            </p:cNvSpPr>
            <p:nvPr/>
          </p:nvSpPr>
          <p:spPr bwMode="auto">
            <a:xfrm>
              <a:off x="7473425" y="1630620"/>
              <a:ext cx="967145" cy="1258082"/>
            </a:xfrm>
            <a:custGeom>
              <a:avLst/>
              <a:gdLst>
                <a:gd name="T0" fmla="*/ 686 w 1584"/>
                <a:gd name="T1" fmla="*/ 1803 h 1904"/>
                <a:gd name="T2" fmla="*/ 759 w 1584"/>
                <a:gd name="T3" fmla="*/ 1662 h 1904"/>
                <a:gd name="T4" fmla="*/ 944 w 1584"/>
                <a:gd name="T5" fmla="*/ 1491 h 1904"/>
                <a:gd name="T6" fmla="*/ 1196 w 1584"/>
                <a:gd name="T7" fmla="*/ 1546 h 1904"/>
                <a:gd name="T8" fmla="*/ 1335 w 1584"/>
                <a:gd name="T9" fmla="*/ 1417 h 1904"/>
                <a:gd name="T10" fmla="*/ 1477 w 1584"/>
                <a:gd name="T11" fmla="*/ 1285 h 1904"/>
                <a:gd name="T12" fmla="*/ 1497 w 1584"/>
                <a:gd name="T13" fmla="*/ 1142 h 1904"/>
                <a:gd name="T14" fmla="*/ 1485 w 1584"/>
                <a:gd name="T15" fmla="*/ 1057 h 1904"/>
                <a:gd name="T16" fmla="*/ 1465 w 1584"/>
                <a:gd name="T17" fmla="*/ 1047 h 1904"/>
                <a:gd name="T18" fmla="*/ 1498 w 1584"/>
                <a:gd name="T19" fmla="*/ 1026 h 1904"/>
                <a:gd name="T20" fmla="*/ 1544 w 1584"/>
                <a:gd name="T21" fmla="*/ 921 h 1904"/>
                <a:gd name="T22" fmla="*/ 1484 w 1584"/>
                <a:gd name="T23" fmla="*/ 885 h 1904"/>
                <a:gd name="T24" fmla="*/ 1427 w 1584"/>
                <a:gd name="T25" fmla="*/ 884 h 1904"/>
                <a:gd name="T26" fmla="*/ 1385 w 1584"/>
                <a:gd name="T27" fmla="*/ 894 h 1904"/>
                <a:gd name="T28" fmla="*/ 1362 w 1584"/>
                <a:gd name="T29" fmla="*/ 887 h 1904"/>
                <a:gd name="T30" fmla="*/ 1259 w 1584"/>
                <a:gd name="T31" fmla="*/ 865 h 1904"/>
                <a:gd name="T32" fmla="*/ 1159 w 1584"/>
                <a:gd name="T33" fmla="*/ 957 h 1904"/>
                <a:gd name="T34" fmla="*/ 1149 w 1584"/>
                <a:gd name="T35" fmla="*/ 927 h 1904"/>
                <a:gd name="T36" fmla="*/ 1133 w 1584"/>
                <a:gd name="T37" fmla="*/ 887 h 1904"/>
                <a:gd name="T38" fmla="*/ 1219 w 1584"/>
                <a:gd name="T39" fmla="*/ 829 h 1904"/>
                <a:gd name="T40" fmla="*/ 1120 w 1584"/>
                <a:gd name="T41" fmla="*/ 643 h 1904"/>
                <a:gd name="T42" fmla="*/ 1031 w 1584"/>
                <a:gd name="T43" fmla="*/ 629 h 1904"/>
                <a:gd name="T44" fmla="*/ 1034 w 1584"/>
                <a:gd name="T45" fmla="*/ 569 h 1904"/>
                <a:gd name="T46" fmla="*/ 1111 w 1584"/>
                <a:gd name="T47" fmla="*/ 587 h 1904"/>
                <a:gd name="T48" fmla="*/ 1215 w 1584"/>
                <a:gd name="T49" fmla="*/ 446 h 1904"/>
                <a:gd name="T50" fmla="*/ 1322 w 1584"/>
                <a:gd name="T51" fmla="*/ 426 h 1904"/>
                <a:gd name="T52" fmla="*/ 1437 w 1584"/>
                <a:gd name="T53" fmla="*/ 334 h 1904"/>
                <a:gd name="T54" fmla="*/ 1424 w 1584"/>
                <a:gd name="T55" fmla="*/ 267 h 1904"/>
                <a:gd name="T56" fmla="*/ 1374 w 1584"/>
                <a:gd name="T57" fmla="*/ 274 h 1904"/>
                <a:gd name="T58" fmla="*/ 1308 w 1584"/>
                <a:gd name="T59" fmla="*/ 218 h 1904"/>
                <a:gd name="T60" fmla="*/ 1239 w 1584"/>
                <a:gd name="T61" fmla="*/ 215 h 1904"/>
                <a:gd name="T62" fmla="*/ 1280 w 1584"/>
                <a:gd name="T63" fmla="*/ 152 h 1904"/>
                <a:gd name="T64" fmla="*/ 1279 w 1584"/>
                <a:gd name="T65" fmla="*/ 73 h 1904"/>
                <a:gd name="T66" fmla="*/ 1197 w 1584"/>
                <a:gd name="T67" fmla="*/ 36 h 1904"/>
                <a:gd name="T68" fmla="*/ 1070 w 1584"/>
                <a:gd name="T69" fmla="*/ 98 h 1904"/>
                <a:gd name="T70" fmla="*/ 1013 w 1584"/>
                <a:gd name="T71" fmla="*/ 178 h 1904"/>
                <a:gd name="T72" fmla="*/ 1046 w 1584"/>
                <a:gd name="T73" fmla="*/ 196 h 1904"/>
                <a:gd name="T74" fmla="*/ 991 w 1584"/>
                <a:gd name="T75" fmla="*/ 244 h 1904"/>
                <a:gd name="T76" fmla="*/ 1069 w 1584"/>
                <a:gd name="T77" fmla="*/ 277 h 1904"/>
                <a:gd name="T78" fmla="*/ 1090 w 1584"/>
                <a:gd name="T79" fmla="*/ 265 h 1904"/>
                <a:gd name="T80" fmla="*/ 1051 w 1584"/>
                <a:gd name="T81" fmla="*/ 311 h 1904"/>
                <a:gd name="T82" fmla="*/ 938 w 1584"/>
                <a:gd name="T83" fmla="*/ 272 h 1904"/>
                <a:gd name="T84" fmla="*/ 877 w 1584"/>
                <a:gd name="T85" fmla="*/ 288 h 1904"/>
                <a:gd name="T86" fmla="*/ 879 w 1584"/>
                <a:gd name="T87" fmla="*/ 325 h 1904"/>
                <a:gd name="T88" fmla="*/ 766 w 1584"/>
                <a:gd name="T89" fmla="*/ 377 h 1904"/>
                <a:gd name="T90" fmla="*/ 741 w 1584"/>
                <a:gd name="T91" fmla="*/ 398 h 1904"/>
                <a:gd name="T92" fmla="*/ 640 w 1584"/>
                <a:gd name="T93" fmla="*/ 440 h 1904"/>
                <a:gd name="T94" fmla="*/ 579 w 1584"/>
                <a:gd name="T95" fmla="*/ 494 h 1904"/>
                <a:gd name="T96" fmla="*/ 372 w 1584"/>
                <a:gd name="T97" fmla="*/ 640 h 1904"/>
                <a:gd name="T98" fmla="*/ 305 w 1584"/>
                <a:gd name="T99" fmla="*/ 766 h 1904"/>
                <a:gd name="T100" fmla="*/ 275 w 1584"/>
                <a:gd name="T101" fmla="*/ 809 h 1904"/>
                <a:gd name="T102" fmla="*/ 239 w 1584"/>
                <a:gd name="T103" fmla="*/ 955 h 1904"/>
                <a:gd name="T104" fmla="*/ 378 w 1584"/>
                <a:gd name="T105" fmla="*/ 1001 h 1904"/>
                <a:gd name="T106" fmla="*/ 222 w 1584"/>
                <a:gd name="T107" fmla="*/ 1082 h 1904"/>
                <a:gd name="T108" fmla="*/ 123 w 1584"/>
                <a:gd name="T109" fmla="*/ 1196 h 1904"/>
                <a:gd name="T110" fmla="*/ 46 w 1584"/>
                <a:gd name="T111" fmla="*/ 1359 h 1904"/>
                <a:gd name="T112" fmla="*/ 133 w 1584"/>
                <a:gd name="T113" fmla="*/ 1518 h 1904"/>
                <a:gd name="T114" fmla="*/ 102 w 1584"/>
                <a:gd name="T115" fmla="*/ 1766 h 1904"/>
                <a:gd name="T116" fmla="*/ 354 w 1584"/>
                <a:gd name="T117" fmla="*/ 1865 h 1904"/>
                <a:gd name="T118" fmla="*/ 1395 w 1584"/>
                <a:gd name="T119" fmla="*/ 212 h 1904"/>
                <a:gd name="T120" fmla="*/ 235 w 1584"/>
                <a:gd name="T121" fmla="*/ 971 h 1904"/>
                <a:gd name="T122" fmla="*/ 136 w 1584"/>
                <a:gd name="T123" fmla="*/ 1031 h 1904"/>
                <a:gd name="T124" fmla="*/ 165 w 1584"/>
                <a:gd name="T125" fmla="*/ 1006 h 1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84" h="1904">
                  <a:moveTo>
                    <a:pt x="437" y="1879"/>
                  </a:moveTo>
                  <a:lnTo>
                    <a:pt x="447" y="1876"/>
                  </a:lnTo>
                  <a:lnTo>
                    <a:pt x="453" y="1878"/>
                  </a:lnTo>
                  <a:lnTo>
                    <a:pt x="457" y="1871"/>
                  </a:lnTo>
                  <a:lnTo>
                    <a:pt x="461" y="1868"/>
                  </a:lnTo>
                  <a:lnTo>
                    <a:pt x="468" y="1868"/>
                  </a:lnTo>
                  <a:lnTo>
                    <a:pt x="473" y="1865"/>
                  </a:lnTo>
                  <a:lnTo>
                    <a:pt x="478" y="1868"/>
                  </a:lnTo>
                  <a:lnTo>
                    <a:pt x="484" y="1868"/>
                  </a:lnTo>
                  <a:lnTo>
                    <a:pt x="488" y="1872"/>
                  </a:lnTo>
                  <a:lnTo>
                    <a:pt x="493" y="1875"/>
                  </a:lnTo>
                  <a:lnTo>
                    <a:pt x="498" y="1875"/>
                  </a:lnTo>
                  <a:lnTo>
                    <a:pt x="501" y="1875"/>
                  </a:lnTo>
                  <a:lnTo>
                    <a:pt x="504" y="1874"/>
                  </a:lnTo>
                  <a:lnTo>
                    <a:pt x="509" y="1872"/>
                  </a:lnTo>
                  <a:lnTo>
                    <a:pt x="509" y="1872"/>
                  </a:lnTo>
                  <a:lnTo>
                    <a:pt x="514" y="1872"/>
                  </a:lnTo>
                  <a:lnTo>
                    <a:pt x="514" y="1872"/>
                  </a:lnTo>
                  <a:lnTo>
                    <a:pt x="524" y="1872"/>
                  </a:lnTo>
                  <a:lnTo>
                    <a:pt x="531" y="1871"/>
                  </a:lnTo>
                  <a:lnTo>
                    <a:pt x="537" y="1868"/>
                  </a:lnTo>
                  <a:lnTo>
                    <a:pt x="541" y="1864"/>
                  </a:lnTo>
                  <a:lnTo>
                    <a:pt x="550" y="1852"/>
                  </a:lnTo>
                  <a:lnTo>
                    <a:pt x="556" y="1846"/>
                  </a:lnTo>
                  <a:lnTo>
                    <a:pt x="562" y="1841"/>
                  </a:lnTo>
                  <a:lnTo>
                    <a:pt x="562" y="1841"/>
                  </a:lnTo>
                  <a:lnTo>
                    <a:pt x="567" y="1835"/>
                  </a:lnTo>
                  <a:lnTo>
                    <a:pt x="574" y="1832"/>
                  </a:lnTo>
                  <a:lnTo>
                    <a:pt x="579" y="1831"/>
                  </a:lnTo>
                  <a:lnTo>
                    <a:pt x="584" y="1829"/>
                  </a:lnTo>
                  <a:lnTo>
                    <a:pt x="597" y="1829"/>
                  </a:lnTo>
                  <a:lnTo>
                    <a:pt x="613" y="1831"/>
                  </a:lnTo>
                  <a:lnTo>
                    <a:pt x="613" y="1831"/>
                  </a:lnTo>
                  <a:lnTo>
                    <a:pt x="625" y="1831"/>
                  </a:lnTo>
                  <a:lnTo>
                    <a:pt x="632" y="1831"/>
                  </a:lnTo>
                  <a:lnTo>
                    <a:pt x="637" y="1828"/>
                  </a:lnTo>
                  <a:lnTo>
                    <a:pt x="647" y="1821"/>
                  </a:lnTo>
                  <a:lnTo>
                    <a:pt x="647" y="1821"/>
                  </a:lnTo>
                  <a:lnTo>
                    <a:pt x="665" y="1808"/>
                  </a:lnTo>
                  <a:lnTo>
                    <a:pt x="669" y="1806"/>
                  </a:lnTo>
                  <a:lnTo>
                    <a:pt x="673" y="1803"/>
                  </a:lnTo>
                  <a:lnTo>
                    <a:pt x="686" y="1803"/>
                  </a:lnTo>
                  <a:lnTo>
                    <a:pt x="686" y="1803"/>
                  </a:lnTo>
                  <a:lnTo>
                    <a:pt x="689" y="1802"/>
                  </a:lnTo>
                  <a:lnTo>
                    <a:pt x="692" y="1800"/>
                  </a:lnTo>
                  <a:lnTo>
                    <a:pt x="693" y="1796"/>
                  </a:lnTo>
                  <a:lnTo>
                    <a:pt x="695" y="1790"/>
                  </a:lnTo>
                  <a:lnTo>
                    <a:pt x="695" y="1785"/>
                  </a:lnTo>
                  <a:lnTo>
                    <a:pt x="695" y="1785"/>
                  </a:lnTo>
                  <a:lnTo>
                    <a:pt x="695" y="1780"/>
                  </a:lnTo>
                  <a:lnTo>
                    <a:pt x="693" y="1779"/>
                  </a:lnTo>
                  <a:lnTo>
                    <a:pt x="690" y="1776"/>
                  </a:lnTo>
                  <a:lnTo>
                    <a:pt x="686" y="1773"/>
                  </a:lnTo>
                  <a:lnTo>
                    <a:pt x="685" y="1772"/>
                  </a:lnTo>
                  <a:lnTo>
                    <a:pt x="683" y="1769"/>
                  </a:lnTo>
                  <a:lnTo>
                    <a:pt x="682" y="1768"/>
                  </a:lnTo>
                  <a:lnTo>
                    <a:pt x="680" y="1768"/>
                  </a:lnTo>
                  <a:lnTo>
                    <a:pt x="679" y="1765"/>
                  </a:lnTo>
                  <a:lnTo>
                    <a:pt x="679" y="1760"/>
                  </a:lnTo>
                  <a:lnTo>
                    <a:pt x="686" y="1756"/>
                  </a:lnTo>
                  <a:lnTo>
                    <a:pt x="689" y="1755"/>
                  </a:lnTo>
                  <a:lnTo>
                    <a:pt x="689" y="1748"/>
                  </a:lnTo>
                  <a:lnTo>
                    <a:pt x="686" y="1739"/>
                  </a:lnTo>
                  <a:lnTo>
                    <a:pt x="686" y="1733"/>
                  </a:lnTo>
                  <a:lnTo>
                    <a:pt x="686" y="1725"/>
                  </a:lnTo>
                  <a:lnTo>
                    <a:pt x="689" y="1720"/>
                  </a:lnTo>
                  <a:lnTo>
                    <a:pt x="702" y="1720"/>
                  </a:lnTo>
                  <a:lnTo>
                    <a:pt x="705" y="1717"/>
                  </a:lnTo>
                  <a:lnTo>
                    <a:pt x="708" y="1710"/>
                  </a:lnTo>
                  <a:lnTo>
                    <a:pt x="708" y="1700"/>
                  </a:lnTo>
                  <a:lnTo>
                    <a:pt x="709" y="1692"/>
                  </a:lnTo>
                  <a:lnTo>
                    <a:pt x="716" y="1683"/>
                  </a:lnTo>
                  <a:lnTo>
                    <a:pt x="719" y="1682"/>
                  </a:lnTo>
                  <a:lnTo>
                    <a:pt x="723" y="1682"/>
                  </a:lnTo>
                  <a:lnTo>
                    <a:pt x="731" y="1682"/>
                  </a:lnTo>
                  <a:lnTo>
                    <a:pt x="741" y="1677"/>
                  </a:lnTo>
                  <a:lnTo>
                    <a:pt x="746" y="1673"/>
                  </a:lnTo>
                  <a:lnTo>
                    <a:pt x="751" y="1670"/>
                  </a:lnTo>
                  <a:lnTo>
                    <a:pt x="755" y="1672"/>
                  </a:lnTo>
                  <a:lnTo>
                    <a:pt x="759" y="1673"/>
                  </a:lnTo>
                  <a:lnTo>
                    <a:pt x="768" y="1673"/>
                  </a:lnTo>
                  <a:lnTo>
                    <a:pt x="768" y="1667"/>
                  </a:lnTo>
                  <a:lnTo>
                    <a:pt x="765" y="1663"/>
                  </a:lnTo>
                  <a:lnTo>
                    <a:pt x="759" y="1662"/>
                  </a:lnTo>
                  <a:lnTo>
                    <a:pt x="749" y="1656"/>
                  </a:lnTo>
                  <a:lnTo>
                    <a:pt x="748" y="1649"/>
                  </a:lnTo>
                  <a:lnTo>
                    <a:pt x="751" y="1644"/>
                  </a:lnTo>
                  <a:lnTo>
                    <a:pt x="753" y="1646"/>
                  </a:lnTo>
                  <a:lnTo>
                    <a:pt x="758" y="1649"/>
                  </a:lnTo>
                  <a:lnTo>
                    <a:pt x="762" y="1647"/>
                  </a:lnTo>
                  <a:lnTo>
                    <a:pt x="772" y="1642"/>
                  </a:lnTo>
                  <a:lnTo>
                    <a:pt x="783" y="1621"/>
                  </a:lnTo>
                  <a:lnTo>
                    <a:pt x="794" y="1623"/>
                  </a:lnTo>
                  <a:lnTo>
                    <a:pt x="804" y="1620"/>
                  </a:lnTo>
                  <a:lnTo>
                    <a:pt x="808" y="1621"/>
                  </a:lnTo>
                  <a:lnTo>
                    <a:pt x="808" y="1629"/>
                  </a:lnTo>
                  <a:lnTo>
                    <a:pt x="809" y="1633"/>
                  </a:lnTo>
                  <a:lnTo>
                    <a:pt x="812" y="1633"/>
                  </a:lnTo>
                  <a:lnTo>
                    <a:pt x="818" y="1627"/>
                  </a:lnTo>
                  <a:lnTo>
                    <a:pt x="821" y="1623"/>
                  </a:lnTo>
                  <a:lnTo>
                    <a:pt x="821" y="1617"/>
                  </a:lnTo>
                  <a:lnTo>
                    <a:pt x="821" y="1611"/>
                  </a:lnTo>
                  <a:lnTo>
                    <a:pt x="821" y="1609"/>
                  </a:lnTo>
                  <a:lnTo>
                    <a:pt x="826" y="1607"/>
                  </a:lnTo>
                  <a:lnTo>
                    <a:pt x="839" y="1593"/>
                  </a:lnTo>
                  <a:lnTo>
                    <a:pt x="849" y="1586"/>
                  </a:lnTo>
                  <a:lnTo>
                    <a:pt x="854" y="1579"/>
                  </a:lnTo>
                  <a:lnTo>
                    <a:pt x="859" y="1570"/>
                  </a:lnTo>
                  <a:lnTo>
                    <a:pt x="867" y="1561"/>
                  </a:lnTo>
                  <a:lnTo>
                    <a:pt x="865" y="1556"/>
                  </a:lnTo>
                  <a:lnTo>
                    <a:pt x="862" y="1547"/>
                  </a:lnTo>
                  <a:lnTo>
                    <a:pt x="858" y="1546"/>
                  </a:lnTo>
                  <a:lnTo>
                    <a:pt x="859" y="1543"/>
                  </a:lnTo>
                  <a:lnTo>
                    <a:pt x="864" y="1543"/>
                  </a:lnTo>
                  <a:lnTo>
                    <a:pt x="869" y="1540"/>
                  </a:lnTo>
                  <a:lnTo>
                    <a:pt x="882" y="1543"/>
                  </a:lnTo>
                  <a:lnTo>
                    <a:pt x="888" y="1541"/>
                  </a:lnTo>
                  <a:lnTo>
                    <a:pt x="895" y="1538"/>
                  </a:lnTo>
                  <a:lnTo>
                    <a:pt x="902" y="1536"/>
                  </a:lnTo>
                  <a:lnTo>
                    <a:pt x="914" y="1536"/>
                  </a:lnTo>
                  <a:lnTo>
                    <a:pt x="921" y="1530"/>
                  </a:lnTo>
                  <a:lnTo>
                    <a:pt x="932" y="1523"/>
                  </a:lnTo>
                  <a:lnTo>
                    <a:pt x="937" y="1510"/>
                  </a:lnTo>
                  <a:lnTo>
                    <a:pt x="938" y="1501"/>
                  </a:lnTo>
                  <a:lnTo>
                    <a:pt x="945" y="1498"/>
                  </a:lnTo>
                  <a:lnTo>
                    <a:pt x="944" y="1491"/>
                  </a:lnTo>
                  <a:lnTo>
                    <a:pt x="950" y="1487"/>
                  </a:lnTo>
                  <a:lnTo>
                    <a:pt x="954" y="1487"/>
                  </a:lnTo>
                  <a:lnTo>
                    <a:pt x="970" y="1487"/>
                  </a:lnTo>
                  <a:lnTo>
                    <a:pt x="975" y="1485"/>
                  </a:lnTo>
                  <a:lnTo>
                    <a:pt x="983" y="1484"/>
                  </a:lnTo>
                  <a:lnTo>
                    <a:pt x="991" y="1485"/>
                  </a:lnTo>
                  <a:lnTo>
                    <a:pt x="1004" y="1485"/>
                  </a:lnTo>
                  <a:lnTo>
                    <a:pt x="1014" y="1487"/>
                  </a:lnTo>
                  <a:lnTo>
                    <a:pt x="1020" y="1485"/>
                  </a:lnTo>
                  <a:lnTo>
                    <a:pt x="1034" y="1467"/>
                  </a:lnTo>
                  <a:lnTo>
                    <a:pt x="1046" y="1470"/>
                  </a:lnTo>
                  <a:lnTo>
                    <a:pt x="1048" y="1464"/>
                  </a:lnTo>
                  <a:lnTo>
                    <a:pt x="1053" y="1462"/>
                  </a:lnTo>
                  <a:lnTo>
                    <a:pt x="1063" y="1462"/>
                  </a:lnTo>
                  <a:lnTo>
                    <a:pt x="1074" y="1471"/>
                  </a:lnTo>
                  <a:lnTo>
                    <a:pt x="1084" y="1475"/>
                  </a:lnTo>
                  <a:lnTo>
                    <a:pt x="1086" y="1480"/>
                  </a:lnTo>
                  <a:lnTo>
                    <a:pt x="1090" y="1484"/>
                  </a:lnTo>
                  <a:lnTo>
                    <a:pt x="1093" y="1488"/>
                  </a:lnTo>
                  <a:lnTo>
                    <a:pt x="1093" y="1493"/>
                  </a:lnTo>
                  <a:lnTo>
                    <a:pt x="1091" y="1504"/>
                  </a:lnTo>
                  <a:lnTo>
                    <a:pt x="1093" y="1511"/>
                  </a:lnTo>
                  <a:lnTo>
                    <a:pt x="1096" y="1521"/>
                  </a:lnTo>
                  <a:lnTo>
                    <a:pt x="1097" y="1530"/>
                  </a:lnTo>
                  <a:lnTo>
                    <a:pt x="1097" y="1538"/>
                  </a:lnTo>
                  <a:lnTo>
                    <a:pt x="1100" y="1544"/>
                  </a:lnTo>
                  <a:lnTo>
                    <a:pt x="1104" y="1550"/>
                  </a:lnTo>
                  <a:lnTo>
                    <a:pt x="1104" y="1560"/>
                  </a:lnTo>
                  <a:lnTo>
                    <a:pt x="1114" y="1580"/>
                  </a:lnTo>
                  <a:lnTo>
                    <a:pt x="1121" y="1596"/>
                  </a:lnTo>
                  <a:lnTo>
                    <a:pt x="1126" y="1596"/>
                  </a:lnTo>
                  <a:lnTo>
                    <a:pt x="1127" y="1594"/>
                  </a:lnTo>
                  <a:lnTo>
                    <a:pt x="1132" y="1593"/>
                  </a:lnTo>
                  <a:lnTo>
                    <a:pt x="1134" y="1584"/>
                  </a:lnTo>
                  <a:lnTo>
                    <a:pt x="1140" y="1583"/>
                  </a:lnTo>
                  <a:lnTo>
                    <a:pt x="1146" y="1580"/>
                  </a:lnTo>
                  <a:lnTo>
                    <a:pt x="1153" y="1574"/>
                  </a:lnTo>
                  <a:lnTo>
                    <a:pt x="1157" y="1567"/>
                  </a:lnTo>
                  <a:lnTo>
                    <a:pt x="1159" y="1560"/>
                  </a:lnTo>
                  <a:lnTo>
                    <a:pt x="1169" y="1557"/>
                  </a:lnTo>
                  <a:lnTo>
                    <a:pt x="1180" y="1553"/>
                  </a:lnTo>
                  <a:lnTo>
                    <a:pt x="1196" y="1546"/>
                  </a:lnTo>
                  <a:lnTo>
                    <a:pt x="1207" y="1548"/>
                  </a:lnTo>
                  <a:lnTo>
                    <a:pt x="1215" y="1543"/>
                  </a:lnTo>
                  <a:lnTo>
                    <a:pt x="1220" y="1540"/>
                  </a:lnTo>
                  <a:lnTo>
                    <a:pt x="1232" y="1540"/>
                  </a:lnTo>
                  <a:lnTo>
                    <a:pt x="1236" y="1526"/>
                  </a:lnTo>
                  <a:lnTo>
                    <a:pt x="1237" y="1523"/>
                  </a:lnTo>
                  <a:lnTo>
                    <a:pt x="1243" y="1527"/>
                  </a:lnTo>
                  <a:lnTo>
                    <a:pt x="1250" y="1540"/>
                  </a:lnTo>
                  <a:lnTo>
                    <a:pt x="1252" y="1538"/>
                  </a:lnTo>
                  <a:lnTo>
                    <a:pt x="1256" y="1534"/>
                  </a:lnTo>
                  <a:lnTo>
                    <a:pt x="1260" y="1534"/>
                  </a:lnTo>
                  <a:lnTo>
                    <a:pt x="1266" y="1537"/>
                  </a:lnTo>
                  <a:lnTo>
                    <a:pt x="1270" y="1538"/>
                  </a:lnTo>
                  <a:lnTo>
                    <a:pt x="1279" y="1537"/>
                  </a:lnTo>
                  <a:lnTo>
                    <a:pt x="1286" y="1538"/>
                  </a:lnTo>
                  <a:lnTo>
                    <a:pt x="1292" y="1543"/>
                  </a:lnTo>
                  <a:lnTo>
                    <a:pt x="1298" y="1540"/>
                  </a:lnTo>
                  <a:lnTo>
                    <a:pt x="1299" y="1536"/>
                  </a:lnTo>
                  <a:lnTo>
                    <a:pt x="1298" y="1527"/>
                  </a:lnTo>
                  <a:lnTo>
                    <a:pt x="1311" y="1513"/>
                  </a:lnTo>
                  <a:lnTo>
                    <a:pt x="1322" y="1504"/>
                  </a:lnTo>
                  <a:lnTo>
                    <a:pt x="1321" y="1498"/>
                  </a:lnTo>
                  <a:lnTo>
                    <a:pt x="1323" y="1487"/>
                  </a:lnTo>
                  <a:lnTo>
                    <a:pt x="1321" y="1480"/>
                  </a:lnTo>
                  <a:lnTo>
                    <a:pt x="1315" y="1471"/>
                  </a:lnTo>
                  <a:lnTo>
                    <a:pt x="1318" y="1467"/>
                  </a:lnTo>
                  <a:lnTo>
                    <a:pt x="1322" y="1471"/>
                  </a:lnTo>
                  <a:lnTo>
                    <a:pt x="1328" y="1475"/>
                  </a:lnTo>
                  <a:lnTo>
                    <a:pt x="1329" y="1473"/>
                  </a:lnTo>
                  <a:lnTo>
                    <a:pt x="1325" y="1468"/>
                  </a:lnTo>
                  <a:lnTo>
                    <a:pt x="1326" y="1461"/>
                  </a:lnTo>
                  <a:lnTo>
                    <a:pt x="1328" y="1462"/>
                  </a:lnTo>
                  <a:lnTo>
                    <a:pt x="1331" y="1465"/>
                  </a:lnTo>
                  <a:lnTo>
                    <a:pt x="1333" y="1465"/>
                  </a:lnTo>
                  <a:lnTo>
                    <a:pt x="1338" y="1460"/>
                  </a:lnTo>
                  <a:lnTo>
                    <a:pt x="1341" y="1451"/>
                  </a:lnTo>
                  <a:lnTo>
                    <a:pt x="1341" y="1444"/>
                  </a:lnTo>
                  <a:lnTo>
                    <a:pt x="1338" y="1440"/>
                  </a:lnTo>
                  <a:lnTo>
                    <a:pt x="1342" y="1431"/>
                  </a:lnTo>
                  <a:lnTo>
                    <a:pt x="1342" y="1428"/>
                  </a:lnTo>
                  <a:lnTo>
                    <a:pt x="1338" y="1425"/>
                  </a:lnTo>
                  <a:lnTo>
                    <a:pt x="1335" y="1417"/>
                  </a:lnTo>
                  <a:lnTo>
                    <a:pt x="1335" y="1412"/>
                  </a:lnTo>
                  <a:lnTo>
                    <a:pt x="1338" y="1405"/>
                  </a:lnTo>
                  <a:lnTo>
                    <a:pt x="1342" y="1401"/>
                  </a:lnTo>
                  <a:lnTo>
                    <a:pt x="1346" y="1399"/>
                  </a:lnTo>
                  <a:lnTo>
                    <a:pt x="1354" y="1399"/>
                  </a:lnTo>
                  <a:lnTo>
                    <a:pt x="1355" y="1398"/>
                  </a:lnTo>
                  <a:lnTo>
                    <a:pt x="1355" y="1384"/>
                  </a:lnTo>
                  <a:lnTo>
                    <a:pt x="1355" y="1377"/>
                  </a:lnTo>
                  <a:lnTo>
                    <a:pt x="1362" y="1368"/>
                  </a:lnTo>
                  <a:lnTo>
                    <a:pt x="1368" y="1362"/>
                  </a:lnTo>
                  <a:lnTo>
                    <a:pt x="1375" y="1362"/>
                  </a:lnTo>
                  <a:lnTo>
                    <a:pt x="1378" y="1362"/>
                  </a:lnTo>
                  <a:lnTo>
                    <a:pt x="1376" y="1357"/>
                  </a:lnTo>
                  <a:lnTo>
                    <a:pt x="1375" y="1352"/>
                  </a:lnTo>
                  <a:lnTo>
                    <a:pt x="1379" y="1346"/>
                  </a:lnTo>
                  <a:lnTo>
                    <a:pt x="1379" y="1344"/>
                  </a:lnTo>
                  <a:lnTo>
                    <a:pt x="1375" y="1304"/>
                  </a:lnTo>
                  <a:lnTo>
                    <a:pt x="1378" y="1301"/>
                  </a:lnTo>
                  <a:lnTo>
                    <a:pt x="1381" y="1288"/>
                  </a:lnTo>
                  <a:lnTo>
                    <a:pt x="1385" y="1286"/>
                  </a:lnTo>
                  <a:lnTo>
                    <a:pt x="1399" y="1291"/>
                  </a:lnTo>
                  <a:lnTo>
                    <a:pt x="1405" y="1283"/>
                  </a:lnTo>
                  <a:lnTo>
                    <a:pt x="1406" y="1279"/>
                  </a:lnTo>
                  <a:lnTo>
                    <a:pt x="1406" y="1275"/>
                  </a:lnTo>
                  <a:lnTo>
                    <a:pt x="1412" y="1275"/>
                  </a:lnTo>
                  <a:lnTo>
                    <a:pt x="1418" y="1276"/>
                  </a:lnTo>
                  <a:lnTo>
                    <a:pt x="1422" y="1281"/>
                  </a:lnTo>
                  <a:lnTo>
                    <a:pt x="1422" y="1283"/>
                  </a:lnTo>
                  <a:lnTo>
                    <a:pt x="1425" y="1291"/>
                  </a:lnTo>
                  <a:lnTo>
                    <a:pt x="1425" y="1295"/>
                  </a:lnTo>
                  <a:lnTo>
                    <a:pt x="1429" y="1293"/>
                  </a:lnTo>
                  <a:lnTo>
                    <a:pt x="1435" y="1289"/>
                  </a:lnTo>
                  <a:lnTo>
                    <a:pt x="1444" y="1289"/>
                  </a:lnTo>
                  <a:lnTo>
                    <a:pt x="1448" y="1293"/>
                  </a:lnTo>
                  <a:lnTo>
                    <a:pt x="1451" y="1295"/>
                  </a:lnTo>
                  <a:lnTo>
                    <a:pt x="1457" y="1293"/>
                  </a:lnTo>
                  <a:lnTo>
                    <a:pt x="1462" y="1289"/>
                  </a:lnTo>
                  <a:lnTo>
                    <a:pt x="1467" y="1282"/>
                  </a:lnTo>
                  <a:lnTo>
                    <a:pt x="1470" y="1281"/>
                  </a:lnTo>
                  <a:lnTo>
                    <a:pt x="1471" y="1283"/>
                  </a:lnTo>
                  <a:lnTo>
                    <a:pt x="1475" y="1286"/>
                  </a:lnTo>
                  <a:lnTo>
                    <a:pt x="1477" y="1285"/>
                  </a:lnTo>
                  <a:lnTo>
                    <a:pt x="1480" y="1282"/>
                  </a:lnTo>
                  <a:lnTo>
                    <a:pt x="1487" y="1283"/>
                  </a:lnTo>
                  <a:lnTo>
                    <a:pt x="1498" y="1286"/>
                  </a:lnTo>
                  <a:lnTo>
                    <a:pt x="1510" y="1289"/>
                  </a:lnTo>
                  <a:lnTo>
                    <a:pt x="1515" y="1292"/>
                  </a:lnTo>
                  <a:lnTo>
                    <a:pt x="1515" y="1283"/>
                  </a:lnTo>
                  <a:lnTo>
                    <a:pt x="1514" y="1278"/>
                  </a:lnTo>
                  <a:lnTo>
                    <a:pt x="1514" y="1272"/>
                  </a:lnTo>
                  <a:lnTo>
                    <a:pt x="1512" y="1269"/>
                  </a:lnTo>
                  <a:lnTo>
                    <a:pt x="1512" y="1265"/>
                  </a:lnTo>
                  <a:lnTo>
                    <a:pt x="1508" y="1263"/>
                  </a:lnTo>
                  <a:lnTo>
                    <a:pt x="1508" y="1265"/>
                  </a:lnTo>
                  <a:lnTo>
                    <a:pt x="1507" y="1266"/>
                  </a:lnTo>
                  <a:lnTo>
                    <a:pt x="1501" y="1266"/>
                  </a:lnTo>
                  <a:lnTo>
                    <a:pt x="1498" y="1266"/>
                  </a:lnTo>
                  <a:lnTo>
                    <a:pt x="1498" y="1265"/>
                  </a:lnTo>
                  <a:lnTo>
                    <a:pt x="1500" y="1263"/>
                  </a:lnTo>
                  <a:lnTo>
                    <a:pt x="1502" y="1262"/>
                  </a:lnTo>
                  <a:lnTo>
                    <a:pt x="1504" y="1258"/>
                  </a:lnTo>
                  <a:lnTo>
                    <a:pt x="1507" y="1258"/>
                  </a:lnTo>
                  <a:lnTo>
                    <a:pt x="1507" y="1259"/>
                  </a:lnTo>
                  <a:lnTo>
                    <a:pt x="1508" y="1259"/>
                  </a:lnTo>
                  <a:lnTo>
                    <a:pt x="1508" y="1255"/>
                  </a:lnTo>
                  <a:lnTo>
                    <a:pt x="1510" y="1232"/>
                  </a:lnTo>
                  <a:lnTo>
                    <a:pt x="1507" y="1222"/>
                  </a:lnTo>
                  <a:lnTo>
                    <a:pt x="1502" y="1218"/>
                  </a:lnTo>
                  <a:lnTo>
                    <a:pt x="1494" y="1215"/>
                  </a:lnTo>
                  <a:lnTo>
                    <a:pt x="1492" y="1213"/>
                  </a:lnTo>
                  <a:lnTo>
                    <a:pt x="1492" y="1213"/>
                  </a:lnTo>
                  <a:lnTo>
                    <a:pt x="1497" y="1212"/>
                  </a:lnTo>
                  <a:lnTo>
                    <a:pt x="1498" y="1209"/>
                  </a:lnTo>
                  <a:lnTo>
                    <a:pt x="1495" y="1203"/>
                  </a:lnTo>
                  <a:lnTo>
                    <a:pt x="1498" y="1205"/>
                  </a:lnTo>
                  <a:lnTo>
                    <a:pt x="1500" y="1209"/>
                  </a:lnTo>
                  <a:lnTo>
                    <a:pt x="1502" y="1215"/>
                  </a:lnTo>
                  <a:lnTo>
                    <a:pt x="1505" y="1218"/>
                  </a:lnTo>
                  <a:lnTo>
                    <a:pt x="1505" y="1213"/>
                  </a:lnTo>
                  <a:lnTo>
                    <a:pt x="1501" y="1205"/>
                  </a:lnTo>
                  <a:lnTo>
                    <a:pt x="1501" y="1193"/>
                  </a:lnTo>
                  <a:lnTo>
                    <a:pt x="1497" y="1165"/>
                  </a:lnTo>
                  <a:lnTo>
                    <a:pt x="1495" y="1146"/>
                  </a:lnTo>
                  <a:lnTo>
                    <a:pt x="1497" y="1142"/>
                  </a:lnTo>
                  <a:lnTo>
                    <a:pt x="1501" y="1136"/>
                  </a:lnTo>
                  <a:lnTo>
                    <a:pt x="1501" y="1132"/>
                  </a:lnTo>
                  <a:lnTo>
                    <a:pt x="1500" y="1127"/>
                  </a:lnTo>
                  <a:lnTo>
                    <a:pt x="1495" y="1122"/>
                  </a:lnTo>
                  <a:lnTo>
                    <a:pt x="1491" y="1113"/>
                  </a:lnTo>
                  <a:lnTo>
                    <a:pt x="1491" y="1109"/>
                  </a:lnTo>
                  <a:lnTo>
                    <a:pt x="1491" y="1104"/>
                  </a:lnTo>
                  <a:lnTo>
                    <a:pt x="1491" y="1104"/>
                  </a:lnTo>
                  <a:lnTo>
                    <a:pt x="1490" y="1097"/>
                  </a:lnTo>
                  <a:lnTo>
                    <a:pt x="1490" y="1097"/>
                  </a:lnTo>
                  <a:lnTo>
                    <a:pt x="1490" y="1096"/>
                  </a:lnTo>
                  <a:lnTo>
                    <a:pt x="1488" y="1096"/>
                  </a:lnTo>
                  <a:lnTo>
                    <a:pt x="1485" y="1099"/>
                  </a:lnTo>
                  <a:lnTo>
                    <a:pt x="1485" y="1099"/>
                  </a:lnTo>
                  <a:lnTo>
                    <a:pt x="1485" y="1100"/>
                  </a:lnTo>
                  <a:lnTo>
                    <a:pt x="1484" y="1100"/>
                  </a:lnTo>
                  <a:lnTo>
                    <a:pt x="1482" y="1097"/>
                  </a:lnTo>
                  <a:lnTo>
                    <a:pt x="1482" y="1097"/>
                  </a:lnTo>
                  <a:lnTo>
                    <a:pt x="1480" y="1094"/>
                  </a:lnTo>
                  <a:lnTo>
                    <a:pt x="1478" y="1090"/>
                  </a:lnTo>
                  <a:lnTo>
                    <a:pt x="1478" y="1090"/>
                  </a:lnTo>
                  <a:lnTo>
                    <a:pt x="1480" y="1087"/>
                  </a:lnTo>
                  <a:lnTo>
                    <a:pt x="1480" y="1086"/>
                  </a:lnTo>
                  <a:lnTo>
                    <a:pt x="1481" y="1087"/>
                  </a:lnTo>
                  <a:lnTo>
                    <a:pt x="1481" y="1087"/>
                  </a:lnTo>
                  <a:lnTo>
                    <a:pt x="1484" y="1090"/>
                  </a:lnTo>
                  <a:lnTo>
                    <a:pt x="1485" y="1092"/>
                  </a:lnTo>
                  <a:lnTo>
                    <a:pt x="1487" y="1092"/>
                  </a:lnTo>
                  <a:lnTo>
                    <a:pt x="1487" y="1092"/>
                  </a:lnTo>
                  <a:lnTo>
                    <a:pt x="1487" y="1089"/>
                  </a:lnTo>
                  <a:lnTo>
                    <a:pt x="1487" y="1086"/>
                  </a:lnTo>
                  <a:lnTo>
                    <a:pt x="1484" y="1082"/>
                  </a:lnTo>
                  <a:lnTo>
                    <a:pt x="1484" y="1082"/>
                  </a:lnTo>
                  <a:lnTo>
                    <a:pt x="1484" y="1077"/>
                  </a:lnTo>
                  <a:lnTo>
                    <a:pt x="1484" y="1076"/>
                  </a:lnTo>
                  <a:lnTo>
                    <a:pt x="1484" y="1076"/>
                  </a:lnTo>
                  <a:lnTo>
                    <a:pt x="1485" y="1069"/>
                  </a:lnTo>
                  <a:lnTo>
                    <a:pt x="1485" y="1069"/>
                  </a:lnTo>
                  <a:lnTo>
                    <a:pt x="1484" y="1063"/>
                  </a:lnTo>
                  <a:lnTo>
                    <a:pt x="1484" y="1063"/>
                  </a:lnTo>
                  <a:lnTo>
                    <a:pt x="1484" y="1061"/>
                  </a:lnTo>
                  <a:lnTo>
                    <a:pt x="1485" y="1057"/>
                  </a:lnTo>
                  <a:lnTo>
                    <a:pt x="1485" y="1057"/>
                  </a:lnTo>
                  <a:lnTo>
                    <a:pt x="1485" y="1056"/>
                  </a:lnTo>
                  <a:lnTo>
                    <a:pt x="1484" y="1054"/>
                  </a:lnTo>
                  <a:lnTo>
                    <a:pt x="1482" y="1056"/>
                  </a:lnTo>
                  <a:lnTo>
                    <a:pt x="1482" y="1056"/>
                  </a:lnTo>
                  <a:lnTo>
                    <a:pt x="1481" y="1059"/>
                  </a:lnTo>
                  <a:lnTo>
                    <a:pt x="1481" y="1060"/>
                  </a:lnTo>
                  <a:lnTo>
                    <a:pt x="1481" y="1060"/>
                  </a:lnTo>
                  <a:lnTo>
                    <a:pt x="1480" y="1063"/>
                  </a:lnTo>
                  <a:lnTo>
                    <a:pt x="1478" y="1063"/>
                  </a:lnTo>
                  <a:lnTo>
                    <a:pt x="1478" y="1063"/>
                  </a:lnTo>
                  <a:lnTo>
                    <a:pt x="1475" y="1061"/>
                  </a:lnTo>
                  <a:lnTo>
                    <a:pt x="1474" y="1061"/>
                  </a:lnTo>
                  <a:lnTo>
                    <a:pt x="1474" y="1061"/>
                  </a:lnTo>
                  <a:lnTo>
                    <a:pt x="1465" y="1061"/>
                  </a:lnTo>
                  <a:lnTo>
                    <a:pt x="1465" y="1061"/>
                  </a:lnTo>
                  <a:lnTo>
                    <a:pt x="1462" y="1061"/>
                  </a:lnTo>
                  <a:lnTo>
                    <a:pt x="1459" y="1059"/>
                  </a:lnTo>
                  <a:lnTo>
                    <a:pt x="1459" y="1059"/>
                  </a:lnTo>
                  <a:lnTo>
                    <a:pt x="1458" y="1054"/>
                  </a:lnTo>
                  <a:lnTo>
                    <a:pt x="1458" y="1051"/>
                  </a:lnTo>
                  <a:lnTo>
                    <a:pt x="1458" y="1051"/>
                  </a:lnTo>
                  <a:lnTo>
                    <a:pt x="1458" y="1050"/>
                  </a:lnTo>
                  <a:lnTo>
                    <a:pt x="1457" y="1049"/>
                  </a:lnTo>
                  <a:lnTo>
                    <a:pt x="1457" y="1049"/>
                  </a:lnTo>
                  <a:lnTo>
                    <a:pt x="1454" y="1050"/>
                  </a:lnTo>
                  <a:lnTo>
                    <a:pt x="1448" y="1050"/>
                  </a:lnTo>
                  <a:lnTo>
                    <a:pt x="1448" y="1050"/>
                  </a:lnTo>
                  <a:lnTo>
                    <a:pt x="1444" y="1050"/>
                  </a:lnTo>
                  <a:lnTo>
                    <a:pt x="1439" y="1047"/>
                  </a:lnTo>
                  <a:lnTo>
                    <a:pt x="1439" y="1047"/>
                  </a:lnTo>
                  <a:lnTo>
                    <a:pt x="1438" y="1046"/>
                  </a:lnTo>
                  <a:lnTo>
                    <a:pt x="1439" y="1046"/>
                  </a:lnTo>
                  <a:lnTo>
                    <a:pt x="1445" y="1044"/>
                  </a:lnTo>
                  <a:lnTo>
                    <a:pt x="1445" y="1044"/>
                  </a:lnTo>
                  <a:lnTo>
                    <a:pt x="1448" y="1044"/>
                  </a:lnTo>
                  <a:lnTo>
                    <a:pt x="1451" y="1043"/>
                  </a:lnTo>
                  <a:lnTo>
                    <a:pt x="1451" y="1043"/>
                  </a:lnTo>
                  <a:lnTo>
                    <a:pt x="1457" y="1043"/>
                  </a:lnTo>
                  <a:lnTo>
                    <a:pt x="1464" y="1046"/>
                  </a:lnTo>
                  <a:lnTo>
                    <a:pt x="1464" y="1046"/>
                  </a:lnTo>
                  <a:lnTo>
                    <a:pt x="1465" y="1047"/>
                  </a:lnTo>
                  <a:lnTo>
                    <a:pt x="1467" y="1046"/>
                  </a:lnTo>
                  <a:lnTo>
                    <a:pt x="1467" y="1043"/>
                  </a:lnTo>
                  <a:lnTo>
                    <a:pt x="1467" y="1043"/>
                  </a:lnTo>
                  <a:lnTo>
                    <a:pt x="1468" y="1041"/>
                  </a:lnTo>
                  <a:lnTo>
                    <a:pt x="1470" y="1040"/>
                  </a:lnTo>
                  <a:lnTo>
                    <a:pt x="1470" y="1040"/>
                  </a:lnTo>
                  <a:lnTo>
                    <a:pt x="1470" y="1039"/>
                  </a:lnTo>
                  <a:lnTo>
                    <a:pt x="1468" y="1037"/>
                  </a:lnTo>
                  <a:lnTo>
                    <a:pt x="1464" y="1036"/>
                  </a:lnTo>
                  <a:lnTo>
                    <a:pt x="1464" y="1036"/>
                  </a:lnTo>
                  <a:lnTo>
                    <a:pt x="1461" y="1033"/>
                  </a:lnTo>
                  <a:lnTo>
                    <a:pt x="1461" y="1031"/>
                  </a:lnTo>
                  <a:lnTo>
                    <a:pt x="1459" y="1026"/>
                  </a:lnTo>
                  <a:lnTo>
                    <a:pt x="1459" y="1026"/>
                  </a:lnTo>
                  <a:lnTo>
                    <a:pt x="1458" y="1021"/>
                  </a:lnTo>
                  <a:lnTo>
                    <a:pt x="1458" y="1017"/>
                  </a:lnTo>
                  <a:lnTo>
                    <a:pt x="1458" y="1017"/>
                  </a:lnTo>
                  <a:lnTo>
                    <a:pt x="1459" y="1016"/>
                  </a:lnTo>
                  <a:lnTo>
                    <a:pt x="1459" y="1017"/>
                  </a:lnTo>
                  <a:lnTo>
                    <a:pt x="1462" y="1020"/>
                  </a:lnTo>
                  <a:lnTo>
                    <a:pt x="1462" y="1020"/>
                  </a:lnTo>
                  <a:lnTo>
                    <a:pt x="1465" y="1023"/>
                  </a:lnTo>
                  <a:lnTo>
                    <a:pt x="1465" y="1023"/>
                  </a:lnTo>
                  <a:lnTo>
                    <a:pt x="1465" y="1024"/>
                  </a:lnTo>
                  <a:lnTo>
                    <a:pt x="1465" y="1024"/>
                  </a:lnTo>
                  <a:lnTo>
                    <a:pt x="1465" y="1029"/>
                  </a:lnTo>
                  <a:lnTo>
                    <a:pt x="1467" y="1033"/>
                  </a:lnTo>
                  <a:lnTo>
                    <a:pt x="1467" y="1033"/>
                  </a:lnTo>
                  <a:lnTo>
                    <a:pt x="1468" y="1034"/>
                  </a:lnTo>
                  <a:lnTo>
                    <a:pt x="1471" y="1036"/>
                  </a:lnTo>
                  <a:lnTo>
                    <a:pt x="1478" y="1037"/>
                  </a:lnTo>
                  <a:lnTo>
                    <a:pt x="1478" y="1037"/>
                  </a:lnTo>
                  <a:lnTo>
                    <a:pt x="1481" y="1040"/>
                  </a:lnTo>
                  <a:lnTo>
                    <a:pt x="1482" y="1043"/>
                  </a:lnTo>
                  <a:lnTo>
                    <a:pt x="1487" y="1047"/>
                  </a:lnTo>
                  <a:lnTo>
                    <a:pt x="1487" y="1047"/>
                  </a:lnTo>
                  <a:lnTo>
                    <a:pt x="1488" y="1049"/>
                  </a:lnTo>
                  <a:lnTo>
                    <a:pt x="1491" y="1049"/>
                  </a:lnTo>
                  <a:lnTo>
                    <a:pt x="1494" y="1046"/>
                  </a:lnTo>
                  <a:lnTo>
                    <a:pt x="1495" y="1040"/>
                  </a:lnTo>
                  <a:lnTo>
                    <a:pt x="1497" y="1031"/>
                  </a:lnTo>
                  <a:lnTo>
                    <a:pt x="1498" y="1026"/>
                  </a:lnTo>
                  <a:lnTo>
                    <a:pt x="1497" y="1024"/>
                  </a:lnTo>
                  <a:lnTo>
                    <a:pt x="1491" y="1024"/>
                  </a:lnTo>
                  <a:lnTo>
                    <a:pt x="1487" y="1024"/>
                  </a:lnTo>
                  <a:lnTo>
                    <a:pt x="1487" y="1020"/>
                  </a:lnTo>
                  <a:lnTo>
                    <a:pt x="1487" y="1017"/>
                  </a:lnTo>
                  <a:lnTo>
                    <a:pt x="1488" y="1016"/>
                  </a:lnTo>
                  <a:lnTo>
                    <a:pt x="1492" y="1016"/>
                  </a:lnTo>
                  <a:lnTo>
                    <a:pt x="1495" y="1020"/>
                  </a:lnTo>
                  <a:lnTo>
                    <a:pt x="1497" y="1021"/>
                  </a:lnTo>
                  <a:lnTo>
                    <a:pt x="1501" y="1021"/>
                  </a:lnTo>
                  <a:lnTo>
                    <a:pt x="1508" y="1010"/>
                  </a:lnTo>
                  <a:lnTo>
                    <a:pt x="1512" y="998"/>
                  </a:lnTo>
                  <a:lnTo>
                    <a:pt x="1518" y="994"/>
                  </a:lnTo>
                  <a:lnTo>
                    <a:pt x="1525" y="990"/>
                  </a:lnTo>
                  <a:lnTo>
                    <a:pt x="1531" y="984"/>
                  </a:lnTo>
                  <a:lnTo>
                    <a:pt x="1543" y="974"/>
                  </a:lnTo>
                  <a:lnTo>
                    <a:pt x="1551" y="961"/>
                  </a:lnTo>
                  <a:lnTo>
                    <a:pt x="1558" y="955"/>
                  </a:lnTo>
                  <a:lnTo>
                    <a:pt x="1565" y="945"/>
                  </a:lnTo>
                  <a:lnTo>
                    <a:pt x="1570" y="940"/>
                  </a:lnTo>
                  <a:lnTo>
                    <a:pt x="1578" y="940"/>
                  </a:lnTo>
                  <a:lnTo>
                    <a:pt x="1583" y="940"/>
                  </a:lnTo>
                  <a:lnTo>
                    <a:pt x="1583" y="937"/>
                  </a:lnTo>
                  <a:lnTo>
                    <a:pt x="1584" y="934"/>
                  </a:lnTo>
                  <a:lnTo>
                    <a:pt x="1581" y="931"/>
                  </a:lnTo>
                  <a:lnTo>
                    <a:pt x="1577" y="930"/>
                  </a:lnTo>
                  <a:lnTo>
                    <a:pt x="1574" y="930"/>
                  </a:lnTo>
                  <a:lnTo>
                    <a:pt x="1568" y="928"/>
                  </a:lnTo>
                  <a:lnTo>
                    <a:pt x="1565" y="925"/>
                  </a:lnTo>
                  <a:lnTo>
                    <a:pt x="1561" y="925"/>
                  </a:lnTo>
                  <a:lnTo>
                    <a:pt x="1560" y="925"/>
                  </a:lnTo>
                  <a:lnTo>
                    <a:pt x="1560" y="928"/>
                  </a:lnTo>
                  <a:lnTo>
                    <a:pt x="1560" y="931"/>
                  </a:lnTo>
                  <a:lnTo>
                    <a:pt x="1555" y="934"/>
                  </a:lnTo>
                  <a:lnTo>
                    <a:pt x="1550" y="934"/>
                  </a:lnTo>
                  <a:lnTo>
                    <a:pt x="1547" y="933"/>
                  </a:lnTo>
                  <a:lnTo>
                    <a:pt x="1544" y="933"/>
                  </a:lnTo>
                  <a:lnTo>
                    <a:pt x="1540" y="933"/>
                  </a:lnTo>
                  <a:lnTo>
                    <a:pt x="1540" y="931"/>
                  </a:lnTo>
                  <a:lnTo>
                    <a:pt x="1540" y="928"/>
                  </a:lnTo>
                  <a:lnTo>
                    <a:pt x="1544" y="925"/>
                  </a:lnTo>
                  <a:lnTo>
                    <a:pt x="1544" y="921"/>
                  </a:lnTo>
                  <a:lnTo>
                    <a:pt x="1550" y="920"/>
                  </a:lnTo>
                  <a:lnTo>
                    <a:pt x="1553" y="921"/>
                  </a:lnTo>
                  <a:lnTo>
                    <a:pt x="1554" y="927"/>
                  </a:lnTo>
                  <a:lnTo>
                    <a:pt x="1555" y="928"/>
                  </a:lnTo>
                  <a:lnTo>
                    <a:pt x="1558" y="928"/>
                  </a:lnTo>
                  <a:lnTo>
                    <a:pt x="1558" y="927"/>
                  </a:lnTo>
                  <a:lnTo>
                    <a:pt x="1558" y="925"/>
                  </a:lnTo>
                  <a:lnTo>
                    <a:pt x="1557" y="923"/>
                  </a:lnTo>
                  <a:lnTo>
                    <a:pt x="1555" y="920"/>
                  </a:lnTo>
                  <a:lnTo>
                    <a:pt x="1555" y="915"/>
                  </a:lnTo>
                  <a:lnTo>
                    <a:pt x="1555" y="911"/>
                  </a:lnTo>
                  <a:lnTo>
                    <a:pt x="1558" y="908"/>
                  </a:lnTo>
                  <a:lnTo>
                    <a:pt x="1558" y="903"/>
                  </a:lnTo>
                  <a:lnTo>
                    <a:pt x="1554" y="900"/>
                  </a:lnTo>
                  <a:lnTo>
                    <a:pt x="1547" y="892"/>
                  </a:lnTo>
                  <a:lnTo>
                    <a:pt x="1544" y="892"/>
                  </a:lnTo>
                  <a:lnTo>
                    <a:pt x="1543" y="892"/>
                  </a:lnTo>
                  <a:lnTo>
                    <a:pt x="1540" y="897"/>
                  </a:lnTo>
                  <a:lnTo>
                    <a:pt x="1537" y="898"/>
                  </a:lnTo>
                  <a:lnTo>
                    <a:pt x="1534" y="901"/>
                  </a:lnTo>
                  <a:lnTo>
                    <a:pt x="1531" y="903"/>
                  </a:lnTo>
                  <a:lnTo>
                    <a:pt x="1528" y="901"/>
                  </a:lnTo>
                  <a:lnTo>
                    <a:pt x="1528" y="898"/>
                  </a:lnTo>
                  <a:lnTo>
                    <a:pt x="1530" y="897"/>
                  </a:lnTo>
                  <a:lnTo>
                    <a:pt x="1531" y="895"/>
                  </a:lnTo>
                  <a:lnTo>
                    <a:pt x="1533" y="894"/>
                  </a:lnTo>
                  <a:lnTo>
                    <a:pt x="1537" y="892"/>
                  </a:lnTo>
                  <a:lnTo>
                    <a:pt x="1541" y="892"/>
                  </a:lnTo>
                  <a:lnTo>
                    <a:pt x="1544" y="890"/>
                  </a:lnTo>
                  <a:lnTo>
                    <a:pt x="1544" y="887"/>
                  </a:lnTo>
                  <a:lnTo>
                    <a:pt x="1544" y="882"/>
                  </a:lnTo>
                  <a:lnTo>
                    <a:pt x="1543" y="878"/>
                  </a:lnTo>
                  <a:lnTo>
                    <a:pt x="1537" y="875"/>
                  </a:lnTo>
                  <a:lnTo>
                    <a:pt x="1527" y="872"/>
                  </a:lnTo>
                  <a:lnTo>
                    <a:pt x="1523" y="872"/>
                  </a:lnTo>
                  <a:lnTo>
                    <a:pt x="1517" y="872"/>
                  </a:lnTo>
                  <a:lnTo>
                    <a:pt x="1508" y="871"/>
                  </a:lnTo>
                  <a:lnTo>
                    <a:pt x="1505" y="871"/>
                  </a:lnTo>
                  <a:lnTo>
                    <a:pt x="1502" y="874"/>
                  </a:lnTo>
                  <a:lnTo>
                    <a:pt x="1500" y="881"/>
                  </a:lnTo>
                  <a:lnTo>
                    <a:pt x="1497" y="885"/>
                  </a:lnTo>
                  <a:lnTo>
                    <a:pt x="1484" y="885"/>
                  </a:lnTo>
                  <a:lnTo>
                    <a:pt x="1480" y="885"/>
                  </a:lnTo>
                  <a:lnTo>
                    <a:pt x="1475" y="884"/>
                  </a:lnTo>
                  <a:lnTo>
                    <a:pt x="1475" y="887"/>
                  </a:lnTo>
                  <a:lnTo>
                    <a:pt x="1474" y="890"/>
                  </a:lnTo>
                  <a:lnTo>
                    <a:pt x="1478" y="888"/>
                  </a:lnTo>
                  <a:lnTo>
                    <a:pt x="1481" y="888"/>
                  </a:lnTo>
                  <a:lnTo>
                    <a:pt x="1482" y="890"/>
                  </a:lnTo>
                  <a:lnTo>
                    <a:pt x="1481" y="892"/>
                  </a:lnTo>
                  <a:lnTo>
                    <a:pt x="1480" y="898"/>
                  </a:lnTo>
                  <a:lnTo>
                    <a:pt x="1477" y="901"/>
                  </a:lnTo>
                  <a:lnTo>
                    <a:pt x="1475" y="900"/>
                  </a:lnTo>
                  <a:lnTo>
                    <a:pt x="1472" y="897"/>
                  </a:lnTo>
                  <a:lnTo>
                    <a:pt x="1471" y="890"/>
                  </a:lnTo>
                  <a:lnTo>
                    <a:pt x="1472" y="881"/>
                  </a:lnTo>
                  <a:lnTo>
                    <a:pt x="1472" y="875"/>
                  </a:lnTo>
                  <a:lnTo>
                    <a:pt x="1475" y="874"/>
                  </a:lnTo>
                  <a:lnTo>
                    <a:pt x="1475" y="871"/>
                  </a:lnTo>
                  <a:lnTo>
                    <a:pt x="1474" y="868"/>
                  </a:lnTo>
                  <a:lnTo>
                    <a:pt x="1472" y="865"/>
                  </a:lnTo>
                  <a:lnTo>
                    <a:pt x="1470" y="865"/>
                  </a:lnTo>
                  <a:lnTo>
                    <a:pt x="1465" y="864"/>
                  </a:lnTo>
                  <a:lnTo>
                    <a:pt x="1459" y="864"/>
                  </a:lnTo>
                  <a:lnTo>
                    <a:pt x="1455" y="865"/>
                  </a:lnTo>
                  <a:lnTo>
                    <a:pt x="1444" y="871"/>
                  </a:lnTo>
                  <a:lnTo>
                    <a:pt x="1442" y="877"/>
                  </a:lnTo>
                  <a:lnTo>
                    <a:pt x="1438" y="878"/>
                  </a:lnTo>
                  <a:lnTo>
                    <a:pt x="1434" y="878"/>
                  </a:lnTo>
                  <a:lnTo>
                    <a:pt x="1434" y="880"/>
                  </a:lnTo>
                  <a:lnTo>
                    <a:pt x="1434" y="884"/>
                  </a:lnTo>
                  <a:lnTo>
                    <a:pt x="1429" y="888"/>
                  </a:lnTo>
                  <a:lnTo>
                    <a:pt x="1424" y="887"/>
                  </a:lnTo>
                  <a:lnTo>
                    <a:pt x="1421" y="888"/>
                  </a:lnTo>
                  <a:lnTo>
                    <a:pt x="1421" y="890"/>
                  </a:lnTo>
                  <a:lnTo>
                    <a:pt x="1422" y="892"/>
                  </a:lnTo>
                  <a:lnTo>
                    <a:pt x="1418" y="894"/>
                  </a:lnTo>
                  <a:lnTo>
                    <a:pt x="1414" y="894"/>
                  </a:lnTo>
                  <a:lnTo>
                    <a:pt x="1412" y="891"/>
                  </a:lnTo>
                  <a:lnTo>
                    <a:pt x="1412" y="888"/>
                  </a:lnTo>
                  <a:lnTo>
                    <a:pt x="1414" y="887"/>
                  </a:lnTo>
                  <a:lnTo>
                    <a:pt x="1418" y="884"/>
                  </a:lnTo>
                  <a:lnTo>
                    <a:pt x="1422" y="884"/>
                  </a:lnTo>
                  <a:lnTo>
                    <a:pt x="1427" y="884"/>
                  </a:lnTo>
                  <a:lnTo>
                    <a:pt x="1428" y="882"/>
                  </a:lnTo>
                  <a:lnTo>
                    <a:pt x="1428" y="881"/>
                  </a:lnTo>
                  <a:lnTo>
                    <a:pt x="1425" y="881"/>
                  </a:lnTo>
                  <a:lnTo>
                    <a:pt x="1419" y="881"/>
                  </a:lnTo>
                  <a:lnTo>
                    <a:pt x="1415" y="882"/>
                  </a:lnTo>
                  <a:lnTo>
                    <a:pt x="1405" y="884"/>
                  </a:lnTo>
                  <a:lnTo>
                    <a:pt x="1394" y="885"/>
                  </a:lnTo>
                  <a:lnTo>
                    <a:pt x="1384" y="881"/>
                  </a:lnTo>
                  <a:lnTo>
                    <a:pt x="1378" y="881"/>
                  </a:lnTo>
                  <a:lnTo>
                    <a:pt x="1378" y="884"/>
                  </a:lnTo>
                  <a:lnTo>
                    <a:pt x="1382" y="885"/>
                  </a:lnTo>
                  <a:lnTo>
                    <a:pt x="1392" y="887"/>
                  </a:lnTo>
                  <a:lnTo>
                    <a:pt x="1399" y="887"/>
                  </a:lnTo>
                  <a:lnTo>
                    <a:pt x="1406" y="887"/>
                  </a:lnTo>
                  <a:lnTo>
                    <a:pt x="1406" y="888"/>
                  </a:lnTo>
                  <a:lnTo>
                    <a:pt x="1408" y="892"/>
                  </a:lnTo>
                  <a:lnTo>
                    <a:pt x="1408" y="894"/>
                  </a:lnTo>
                  <a:lnTo>
                    <a:pt x="1408" y="894"/>
                  </a:lnTo>
                  <a:lnTo>
                    <a:pt x="1408" y="897"/>
                  </a:lnTo>
                  <a:lnTo>
                    <a:pt x="1406" y="900"/>
                  </a:lnTo>
                  <a:lnTo>
                    <a:pt x="1405" y="904"/>
                  </a:lnTo>
                  <a:lnTo>
                    <a:pt x="1401" y="905"/>
                  </a:lnTo>
                  <a:lnTo>
                    <a:pt x="1399" y="903"/>
                  </a:lnTo>
                  <a:lnTo>
                    <a:pt x="1399" y="898"/>
                  </a:lnTo>
                  <a:lnTo>
                    <a:pt x="1395" y="900"/>
                  </a:lnTo>
                  <a:lnTo>
                    <a:pt x="1392" y="900"/>
                  </a:lnTo>
                  <a:lnTo>
                    <a:pt x="1389" y="900"/>
                  </a:lnTo>
                  <a:lnTo>
                    <a:pt x="1389" y="897"/>
                  </a:lnTo>
                  <a:lnTo>
                    <a:pt x="1391" y="895"/>
                  </a:lnTo>
                  <a:lnTo>
                    <a:pt x="1394" y="895"/>
                  </a:lnTo>
                  <a:lnTo>
                    <a:pt x="1396" y="895"/>
                  </a:lnTo>
                  <a:lnTo>
                    <a:pt x="1396" y="892"/>
                  </a:lnTo>
                  <a:lnTo>
                    <a:pt x="1396" y="890"/>
                  </a:lnTo>
                  <a:lnTo>
                    <a:pt x="1395" y="891"/>
                  </a:lnTo>
                  <a:lnTo>
                    <a:pt x="1392" y="892"/>
                  </a:lnTo>
                  <a:lnTo>
                    <a:pt x="1392" y="891"/>
                  </a:lnTo>
                  <a:lnTo>
                    <a:pt x="1391" y="890"/>
                  </a:lnTo>
                  <a:lnTo>
                    <a:pt x="1389" y="888"/>
                  </a:lnTo>
                  <a:lnTo>
                    <a:pt x="1385" y="888"/>
                  </a:lnTo>
                  <a:lnTo>
                    <a:pt x="1385" y="888"/>
                  </a:lnTo>
                  <a:lnTo>
                    <a:pt x="1385" y="891"/>
                  </a:lnTo>
                  <a:lnTo>
                    <a:pt x="1385" y="894"/>
                  </a:lnTo>
                  <a:lnTo>
                    <a:pt x="1384" y="895"/>
                  </a:lnTo>
                  <a:lnTo>
                    <a:pt x="1382" y="892"/>
                  </a:lnTo>
                  <a:lnTo>
                    <a:pt x="1381" y="891"/>
                  </a:lnTo>
                  <a:lnTo>
                    <a:pt x="1379" y="891"/>
                  </a:lnTo>
                  <a:lnTo>
                    <a:pt x="1378" y="894"/>
                  </a:lnTo>
                  <a:lnTo>
                    <a:pt x="1378" y="895"/>
                  </a:lnTo>
                  <a:lnTo>
                    <a:pt x="1375" y="895"/>
                  </a:lnTo>
                  <a:lnTo>
                    <a:pt x="1375" y="898"/>
                  </a:lnTo>
                  <a:lnTo>
                    <a:pt x="1375" y="903"/>
                  </a:lnTo>
                  <a:lnTo>
                    <a:pt x="1376" y="905"/>
                  </a:lnTo>
                  <a:lnTo>
                    <a:pt x="1378" y="907"/>
                  </a:lnTo>
                  <a:lnTo>
                    <a:pt x="1378" y="911"/>
                  </a:lnTo>
                  <a:lnTo>
                    <a:pt x="1379" y="914"/>
                  </a:lnTo>
                  <a:lnTo>
                    <a:pt x="1378" y="917"/>
                  </a:lnTo>
                  <a:lnTo>
                    <a:pt x="1371" y="918"/>
                  </a:lnTo>
                  <a:lnTo>
                    <a:pt x="1368" y="918"/>
                  </a:lnTo>
                  <a:lnTo>
                    <a:pt x="1364" y="914"/>
                  </a:lnTo>
                  <a:lnTo>
                    <a:pt x="1359" y="911"/>
                  </a:lnTo>
                  <a:lnTo>
                    <a:pt x="1361" y="908"/>
                  </a:lnTo>
                  <a:lnTo>
                    <a:pt x="1362" y="908"/>
                  </a:lnTo>
                  <a:lnTo>
                    <a:pt x="1364" y="903"/>
                  </a:lnTo>
                  <a:lnTo>
                    <a:pt x="1366" y="901"/>
                  </a:lnTo>
                  <a:lnTo>
                    <a:pt x="1369" y="901"/>
                  </a:lnTo>
                  <a:lnTo>
                    <a:pt x="1371" y="901"/>
                  </a:lnTo>
                  <a:lnTo>
                    <a:pt x="1371" y="900"/>
                  </a:lnTo>
                  <a:lnTo>
                    <a:pt x="1368" y="897"/>
                  </a:lnTo>
                  <a:lnTo>
                    <a:pt x="1365" y="895"/>
                  </a:lnTo>
                  <a:lnTo>
                    <a:pt x="1366" y="892"/>
                  </a:lnTo>
                  <a:lnTo>
                    <a:pt x="1371" y="892"/>
                  </a:lnTo>
                  <a:lnTo>
                    <a:pt x="1375" y="892"/>
                  </a:lnTo>
                  <a:lnTo>
                    <a:pt x="1376" y="891"/>
                  </a:lnTo>
                  <a:lnTo>
                    <a:pt x="1376" y="888"/>
                  </a:lnTo>
                  <a:lnTo>
                    <a:pt x="1376" y="885"/>
                  </a:lnTo>
                  <a:lnTo>
                    <a:pt x="1374" y="884"/>
                  </a:lnTo>
                  <a:lnTo>
                    <a:pt x="1371" y="884"/>
                  </a:lnTo>
                  <a:lnTo>
                    <a:pt x="1369" y="884"/>
                  </a:lnTo>
                  <a:lnTo>
                    <a:pt x="1368" y="885"/>
                  </a:lnTo>
                  <a:lnTo>
                    <a:pt x="1368" y="887"/>
                  </a:lnTo>
                  <a:lnTo>
                    <a:pt x="1365" y="891"/>
                  </a:lnTo>
                  <a:lnTo>
                    <a:pt x="1361" y="891"/>
                  </a:lnTo>
                  <a:lnTo>
                    <a:pt x="1361" y="890"/>
                  </a:lnTo>
                  <a:lnTo>
                    <a:pt x="1362" y="887"/>
                  </a:lnTo>
                  <a:lnTo>
                    <a:pt x="1365" y="887"/>
                  </a:lnTo>
                  <a:lnTo>
                    <a:pt x="1366" y="884"/>
                  </a:lnTo>
                  <a:lnTo>
                    <a:pt x="1369" y="881"/>
                  </a:lnTo>
                  <a:lnTo>
                    <a:pt x="1372" y="881"/>
                  </a:lnTo>
                  <a:lnTo>
                    <a:pt x="1374" y="878"/>
                  </a:lnTo>
                  <a:lnTo>
                    <a:pt x="1365" y="877"/>
                  </a:lnTo>
                  <a:lnTo>
                    <a:pt x="1356" y="874"/>
                  </a:lnTo>
                  <a:lnTo>
                    <a:pt x="1323" y="865"/>
                  </a:lnTo>
                  <a:lnTo>
                    <a:pt x="1316" y="864"/>
                  </a:lnTo>
                  <a:lnTo>
                    <a:pt x="1312" y="864"/>
                  </a:lnTo>
                  <a:lnTo>
                    <a:pt x="1312" y="867"/>
                  </a:lnTo>
                  <a:lnTo>
                    <a:pt x="1315" y="867"/>
                  </a:lnTo>
                  <a:lnTo>
                    <a:pt x="1319" y="868"/>
                  </a:lnTo>
                  <a:lnTo>
                    <a:pt x="1319" y="871"/>
                  </a:lnTo>
                  <a:lnTo>
                    <a:pt x="1318" y="874"/>
                  </a:lnTo>
                  <a:lnTo>
                    <a:pt x="1315" y="875"/>
                  </a:lnTo>
                  <a:lnTo>
                    <a:pt x="1313" y="878"/>
                  </a:lnTo>
                  <a:lnTo>
                    <a:pt x="1313" y="880"/>
                  </a:lnTo>
                  <a:lnTo>
                    <a:pt x="1315" y="882"/>
                  </a:lnTo>
                  <a:lnTo>
                    <a:pt x="1313" y="882"/>
                  </a:lnTo>
                  <a:lnTo>
                    <a:pt x="1313" y="885"/>
                  </a:lnTo>
                  <a:lnTo>
                    <a:pt x="1312" y="887"/>
                  </a:lnTo>
                  <a:lnTo>
                    <a:pt x="1312" y="888"/>
                  </a:lnTo>
                  <a:lnTo>
                    <a:pt x="1311" y="888"/>
                  </a:lnTo>
                  <a:lnTo>
                    <a:pt x="1308" y="887"/>
                  </a:lnTo>
                  <a:lnTo>
                    <a:pt x="1308" y="882"/>
                  </a:lnTo>
                  <a:lnTo>
                    <a:pt x="1308" y="878"/>
                  </a:lnTo>
                  <a:lnTo>
                    <a:pt x="1306" y="878"/>
                  </a:lnTo>
                  <a:lnTo>
                    <a:pt x="1303" y="881"/>
                  </a:lnTo>
                  <a:lnTo>
                    <a:pt x="1302" y="881"/>
                  </a:lnTo>
                  <a:lnTo>
                    <a:pt x="1302" y="878"/>
                  </a:lnTo>
                  <a:lnTo>
                    <a:pt x="1302" y="875"/>
                  </a:lnTo>
                  <a:lnTo>
                    <a:pt x="1301" y="872"/>
                  </a:lnTo>
                  <a:lnTo>
                    <a:pt x="1301" y="870"/>
                  </a:lnTo>
                  <a:lnTo>
                    <a:pt x="1303" y="870"/>
                  </a:lnTo>
                  <a:lnTo>
                    <a:pt x="1306" y="870"/>
                  </a:lnTo>
                  <a:lnTo>
                    <a:pt x="1308" y="868"/>
                  </a:lnTo>
                  <a:lnTo>
                    <a:pt x="1308" y="867"/>
                  </a:lnTo>
                  <a:lnTo>
                    <a:pt x="1303" y="865"/>
                  </a:lnTo>
                  <a:lnTo>
                    <a:pt x="1298" y="867"/>
                  </a:lnTo>
                  <a:lnTo>
                    <a:pt x="1273" y="865"/>
                  </a:lnTo>
                  <a:lnTo>
                    <a:pt x="1259" y="865"/>
                  </a:lnTo>
                  <a:lnTo>
                    <a:pt x="1249" y="864"/>
                  </a:lnTo>
                  <a:lnTo>
                    <a:pt x="1239" y="865"/>
                  </a:lnTo>
                  <a:lnTo>
                    <a:pt x="1235" y="868"/>
                  </a:lnTo>
                  <a:lnTo>
                    <a:pt x="1235" y="870"/>
                  </a:lnTo>
                  <a:lnTo>
                    <a:pt x="1240" y="870"/>
                  </a:lnTo>
                  <a:lnTo>
                    <a:pt x="1245" y="870"/>
                  </a:lnTo>
                  <a:lnTo>
                    <a:pt x="1252" y="871"/>
                  </a:lnTo>
                  <a:lnTo>
                    <a:pt x="1256" y="872"/>
                  </a:lnTo>
                  <a:lnTo>
                    <a:pt x="1259" y="880"/>
                  </a:lnTo>
                  <a:lnTo>
                    <a:pt x="1260" y="885"/>
                  </a:lnTo>
                  <a:lnTo>
                    <a:pt x="1262" y="887"/>
                  </a:lnTo>
                  <a:lnTo>
                    <a:pt x="1269" y="887"/>
                  </a:lnTo>
                  <a:lnTo>
                    <a:pt x="1270" y="887"/>
                  </a:lnTo>
                  <a:lnTo>
                    <a:pt x="1270" y="890"/>
                  </a:lnTo>
                  <a:lnTo>
                    <a:pt x="1268" y="895"/>
                  </a:lnTo>
                  <a:lnTo>
                    <a:pt x="1265" y="900"/>
                  </a:lnTo>
                  <a:lnTo>
                    <a:pt x="1260" y="904"/>
                  </a:lnTo>
                  <a:lnTo>
                    <a:pt x="1245" y="908"/>
                  </a:lnTo>
                  <a:lnTo>
                    <a:pt x="1233" y="911"/>
                  </a:lnTo>
                  <a:lnTo>
                    <a:pt x="1232" y="913"/>
                  </a:lnTo>
                  <a:lnTo>
                    <a:pt x="1225" y="915"/>
                  </a:lnTo>
                  <a:lnTo>
                    <a:pt x="1212" y="915"/>
                  </a:lnTo>
                  <a:lnTo>
                    <a:pt x="1205" y="915"/>
                  </a:lnTo>
                  <a:lnTo>
                    <a:pt x="1199" y="914"/>
                  </a:lnTo>
                  <a:lnTo>
                    <a:pt x="1192" y="910"/>
                  </a:lnTo>
                  <a:lnTo>
                    <a:pt x="1186" y="904"/>
                  </a:lnTo>
                  <a:lnTo>
                    <a:pt x="1182" y="901"/>
                  </a:lnTo>
                  <a:lnTo>
                    <a:pt x="1179" y="900"/>
                  </a:lnTo>
                  <a:lnTo>
                    <a:pt x="1174" y="901"/>
                  </a:lnTo>
                  <a:lnTo>
                    <a:pt x="1169" y="904"/>
                  </a:lnTo>
                  <a:lnTo>
                    <a:pt x="1167" y="908"/>
                  </a:lnTo>
                  <a:lnTo>
                    <a:pt x="1167" y="911"/>
                  </a:lnTo>
                  <a:lnTo>
                    <a:pt x="1167" y="921"/>
                  </a:lnTo>
                  <a:lnTo>
                    <a:pt x="1167" y="928"/>
                  </a:lnTo>
                  <a:lnTo>
                    <a:pt x="1169" y="934"/>
                  </a:lnTo>
                  <a:lnTo>
                    <a:pt x="1173" y="941"/>
                  </a:lnTo>
                  <a:lnTo>
                    <a:pt x="1179" y="947"/>
                  </a:lnTo>
                  <a:lnTo>
                    <a:pt x="1180" y="951"/>
                  </a:lnTo>
                  <a:lnTo>
                    <a:pt x="1180" y="954"/>
                  </a:lnTo>
                  <a:lnTo>
                    <a:pt x="1174" y="953"/>
                  </a:lnTo>
                  <a:lnTo>
                    <a:pt x="1164" y="954"/>
                  </a:lnTo>
                  <a:lnTo>
                    <a:pt x="1159" y="957"/>
                  </a:lnTo>
                  <a:lnTo>
                    <a:pt x="1154" y="960"/>
                  </a:lnTo>
                  <a:lnTo>
                    <a:pt x="1154" y="964"/>
                  </a:lnTo>
                  <a:lnTo>
                    <a:pt x="1154" y="970"/>
                  </a:lnTo>
                  <a:lnTo>
                    <a:pt x="1160" y="976"/>
                  </a:lnTo>
                  <a:lnTo>
                    <a:pt x="1160" y="978"/>
                  </a:lnTo>
                  <a:lnTo>
                    <a:pt x="1159" y="981"/>
                  </a:lnTo>
                  <a:lnTo>
                    <a:pt x="1159" y="986"/>
                  </a:lnTo>
                  <a:lnTo>
                    <a:pt x="1159" y="988"/>
                  </a:lnTo>
                  <a:lnTo>
                    <a:pt x="1160" y="993"/>
                  </a:lnTo>
                  <a:lnTo>
                    <a:pt x="1159" y="993"/>
                  </a:lnTo>
                  <a:lnTo>
                    <a:pt x="1154" y="990"/>
                  </a:lnTo>
                  <a:lnTo>
                    <a:pt x="1153" y="986"/>
                  </a:lnTo>
                  <a:lnTo>
                    <a:pt x="1154" y="978"/>
                  </a:lnTo>
                  <a:lnTo>
                    <a:pt x="1153" y="974"/>
                  </a:lnTo>
                  <a:lnTo>
                    <a:pt x="1150" y="967"/>
                  </a:lnTo>
                  <a:lnTo>
                    <a:pt x="1147" y="968"/>
                  </a:lnTo>
                  <a:lnTo>
                    <a:pt x="1143" y="970"/>
                  </a:lnTo>
                  <a:lnTo>
                    <a:pt x="1137" y="970"/>
                  </a:lnTo>
                  <a:lnTo>
                    <a:pt x="1133" y="970"/>
                  </a:lnTo>
                  <a:lnTo>
                    <a:pt x="1127" y="968"/>
                  </a:lnTo>
                  <a:lnTo>
                    <a:pt x="1120" y="968"/>
                  </a:lnTo>
                  <a:lnTo>
                    <a:pt x="1116" y="967"/>
                  </a:lnTo>
                  <a:lnTo>
                    <a:pt x="1116" y="967"/>
                  </a:lnTo>
                  <a:lnTo>
                    <a:pt x="1117" y="966"/>
                  </a:lnTo>
                  <a:lnTo>
                    <a:pt x="1119" y="961"/>
                  </a:lnTo>
                  <a:lnTo>
                    <a:pt x="1124" y="957"/>
                  </a:lnTo>
                  <a:lnTo>
                    <a:pt x="1127" y="955"/>
                  </a:lnTo>
                  <a:lnTo>
                    <a:pt x="1130" y="955"/>
                  </a:lnTo>
                  <a:lnTo>
                    <a:pt x="1132" y="957"/>
                  </a:lnTo>
                  <a:lnTo>
                    <a:pt x="1134" y="957"/>
                  </a:lnTo>
                  <a:lnTo>
                    <a:pt x="1136" y="957"/>
                  </a:lnTo>
                  <a:lnTo>
                    <a:pt x="1136" y="954"/>
                  </a:lnTo>
                  <a:lnTo>
                    <a:pt x="1136" y="950"/>
                  </a:lnTo>
                  <a:lnTo>
                    <a:pt x="1134" y="947"/>
                  </a:lnTo>
                  <a:lnTo>
                    <a:pt x="1132" y="941"/>
                  </a:lnTo>
                  <a:lnTo>
                    <a:pt x="1133" y="937"/>
                  </a:lnTo>
                  <a:lnTo>
                    <a:pt x="1139" y="933"/>
                  </a:lnTo>
                  <a:lnTo>
                    <a:pt x="1140" y="927"/>
                  </a:lnTo>
                  <a:lnTo>
                    <a:pt x="1142" y="925"/>
                  </a:lnTo>
                  <a:lnTo>
                    <a:pt x="1142" y="925"/>
                  </a:lnTo>
                  <a:lnTo>
                    <a:pt x="1144" y="927"/>
                  </a:lnTo>
                  <a:lnTo>
                    <a:pt x="1149" y="927"/>
                  </a:lnTo>
                  <a:lnTo>
                    <a:pt x="1156" y="921"/>
                  </a:lnTo>
                  <a:lnTo>
                    <a:pt x="1156" y="910"/>
                  </a:lnTo>
                  <a:lnTo>
                    <a:pt x="1157" y="904"/>
                  </a:lnTo>
                  <a:lnTo>
                    <a:pt x="1154" y="904"/>
                  </a:lnTo>
                  <a:lnTo>
                    <a:pt x="1149" y="904"/>
                  </a:lnTo>
                  <a:lnTo>
                    <a:pt x="1146" y="901"/>
                  </a:lnTo>
                  <a:lnTo>
                    <a:pt x="1142" y="901"/>
                  </a:lnTo>
                  <a:lnTo>
                    <a:pt x="1137" y="901"/>
                  </a:lnTo>
                  <a:lnTo>
                    <a:pt x="1132" y="905"/>
                  </a:lnTo>
                  <a:lnTo>
                    <a:pt x="1126" y="905"/>
                  </a:lnTo>
                  <a:lnTo>
                    <a:pt x="1121" y="907"/>
                  </a:lnTo>
                  <a:lnTo>
                    <a:pt x="1119" y="908"/>
                  </a:lnTo>
                  <a:lnTo>
                    <a:pt x="1116" y="908"/>
                  </a:lnTo>
                  <a:lnTo>
                    <a:pt x="1114" y="908"/>
                  </a:lnTo>
                  <a:lnTo>
                    <a:pt x="1114" y="914"/>
                  </a:lnTo>
                  <a:lnTo>
                    <a:pt x="1113" y="921"/>
                  </a:lnTo>
                  <a:lnTo>
                    <a:pt x="1114" y="931"/>
                  </a:lnTo>
                  <a:lnTo>
                    <a:pt x="1111" y="937"/>
                  </a:lnTo>
                  <a:lnTo>
                    <a:pt x="1107" y="941"/>
                  </a:lnTo>
                  <a:lnTo>
                    <a:pt x="1103" y="943"/>
                  </a:lnTo>
                  <a:lnTo>
                    <a:pt x="1099" y="944"/>
                  </a:lnTo>
                  <a:lnTo>
                    <a:pt x="1099" y="945"/>
                  </a:lnTo>
                  <a:lnTo>
                    <a:pt x="1099" y="951"/>
                  </a:lnTo>
                  <a:lnTo>
                    <a:pt x="1097" y="951"/>
                  </a:lnTo>
                  <a:lnTo>
                    <a:pt x="1096" y="947"/>
                  </a:lnTo>
                  <a:lnTo>
                    <a:pt x="1094" y="945"/>
                  </a:lnTo>
                  <a:lnTo>
                    <a:pt x="1091" y="943"/>
                  </a:lnTo>
                  <a:lnTo>
                    <a:pt x="1091" y="941"/>
                  </a:lnTo>
                  <a:lnTo>
                    <a:pt x="1091" y="941"/>
                  </a:lnTo>
                  <a:lnTo>
                    <a:pt x="1097" y="938"/>
                  </a:lnTo>
                  <a:lnTo>
                    <a:pt x="1100" y="938"/>
                  </a:lnTo>
                  <a:lnTo>
                    <a:pt x="1101" y="935"/>
                  </a:lnTo>
                  <a:lnTo>
                    <a:pt x="1104" y="934"/>
                  </a:lnTo>
                  <a:lnTo>
                    <a:pt x="1107" y="934"/>
                  </a:lnTo>
                  <a:lnTo>
                    <a:pt x="1109" y="933"/>
                  </a:lnTo>
                  <a:lnTo>
                    <a:pt x="1107" y="917"/>
                  </a:lnTo>
                  <a:lnTo>
                    <a:pt x="1107" y="908"/>
                  </a:lnTo>
                  <a:lnTo>
                    <a:pt x="1111" y="904"/>
                  </a:lnTo>
                  <a:lnTo>
                    <a:pt x="1117" y="900"/>
                  </a:lnTo>
                  <a:lnTo>
                    <a:pt x="1120" y="895"/>
                  </a:lnTo>
                  <a:lnTo>
                    <a:pt x="1126" y="892"/>
                  </a:lnTo>
                  <a:lnTo>
                    <a:pt x="1133" y="887"/>
                  </a:lnTo>
                  <a:lnTo>
                    <a:pt x="1136" y="887"/>
                  </a:lnTo>
                  <a:lnTo>
                    <a:pt x="1144" y="890"/>
                  </a:lnTo>
                  <a:lnTo>
                    <a:pt x="1149" y="890"/>
                  </a:lnTo>
                  <a:lnTo>
                    <a:pt x="1149" y="888"/>
                  </a:lnTo>
                  <a:lnTo>
                    <a:pt x="1150" y="887"/>
                  </a:lnTo>
                  <a:lnTo>
                    <a:pt x="1153" y="885"/>
                  </a:lnTo>
                  <a:lnTo>
                    <a:pt x="1154" y="885"/>
                  </a:lnTo>
                  <a:lnTo>
                    <a:pt x="1157" y="885"/>
                  </a:lnTo>
                  <a:lnTo>
                    <a:pt x="1159" y="885"/>
                  </a:lnTo>
                  <a:lnTo>
                    <a:pt x="1160" y="888"/>
                  </a:lnTo>
                  <a:lnTo>
                    <a:pt x="1162" y="888"/>
                  </a:lnTo>
                  <a:lnTo>
                    <a:pt x="1164" y="890"/>
                  </a:lnTo>
                  <a:lnTo>
                    <a:pt x="1167" y="891"/>
                  </a:lnTo>
                  <a:lnTo>
                    <a:pt x="1170" y="890"/>
                  </a:lnTo>
                  <a:lnTo>
                    <a:pt x="1173" y="887"/>
                  </a:lnTo>
                  <a:lnTo>
                    <a:pt x="1174" y="887"/>
                  </a:lnTo>
                  <a:lnTo>
                    <a:pt x="1177" y="888"/>
                  </a:lnTo>
                  <a:lnTo>
                    <a:pt x="1180" y="890"/>
                  </a:lnTo>
                  <a:lnTo>
                    <a:pt x="1183" y="884"/>
                  </a:lnTo>
                  <a:lnTo>
                    <a:pt x="1189" y="877"/>
                  </a:lnTo>
                  <a:lnTo>
                    <a:pt x="1189" y="871"/>
                  </a:lnTo>
                  <a:lnTo>
                    <a:pt x="1193" y="868"/>
                  </a:lnTo>
                  <a:lnTo>
                    <a:pt x="1195" y="868"/>
                  </a:lnTo>
                  <a:lnTo>
                    <a:pt x="1196" y="868"/>
                  </a:lnTo>
                  <a:lnTo>
                    <a:pt x="1196" y="865"/>
                  </a:lnTo>
                  <a:lnTo>
                    <a:pt x="1196" y="860"/>
                  </a:lnTo>
                  <a:lnTo>
                    <a:pt x="1199" y="858"/>
                  </a:lnTo>
                  <a:lnTo>
                    <a:pt x="1200" y="852"/>
                  </a:lnTo>
                  <a:lnTo>
                    <a:pt x="1200" y="851"/>
                  </a:lnTo>
                  <a:lnTo>
                    <a:pt x="1203" y="852"/>
                  </a:lnTo>
                  <a:lnTo>
                    <a:pt x="1203" y="854"/>
                  </a:lnTo>
                  <a:lnTo>
                    <a:pt x="1205" y="854"/>
                  </a:lnTo>
                  <a:lnTo>
                    <a:pt x="1206" y="851"/>
                  </a:lnTo>
                  <a:lnTo>
                    <a:pt x="1207" y="847"/>
                  </a:lnTo>
                  <a:lnTo>
                    <a:pt x="1209" y="841"/>
                  </a:lnTo>
                  <a:lnTo>
                    <a:pt x="1209" y="837"/>
                  </a:lnTo>
                  <a:lnTo>
                    <a:pt x="1209" y="825"/>
                  </a:lnTo>
                  <a:lnTo>
                    <a:pt x="1212" y="821"/>
                  </a:lnTo>
                  <a:lnTo>
                    <a:pt x="1213" y="819"/>
                  </a:lnTo>
                  <a:lnTo>
                    <a:pt x="1216" y="819"/>
                  </a:lnTo>
                  <a:lnTo>
                    <a:pt x="1219" y="824"/>
                  </a:lnTo>
                  <a:lnTo>
                    <a:pt x="1219" y="829"/>
                  </a:lnTo>
                  <a:lnTo>
                    <a:pt x="1219" y="835"/>
                  </a:lnTo>
                  <a:lnTo>
                    <a:pt x="1219" y="839"/>
                  </a:lnTo>
                  <a:lnTo>
                    <a:pt x="1217" y="839"/>
                  </a:lnTo>
                  <a:lnTo>
                    <a:pt x="1220" y="842"/>
                  </a:lnTo>
                  <a:lnTo>
                    <a:pt x="1222" y="842"/>
                  </a:lnTo>
                  <a:lnTo>
                    <a:pt x="1223" y="835"/>
                  </a:lnTo>
                  <a:lnTo>
                    <a:pt x="1223" y="831"/>
                  </a:lnTo>
                  <a:lnTo>
                    <a:pt x="1220" y="825"/>
                  </a:lnTo>
                  <a:lnTo>
                    <a:pt x="1219" y="819"/>
                  </a:lnTo>
                  <a:lnTo>
                    <a:pt x="1217" y="814"/>
                  </a:lnTo>
                  <a:lnTo>
                    <a:pt x="1213" y="808"/>
                  </a:lnTo>
                  <a:lnTo>
                    <a:pt x="1209" y="799"/>
                  </a:lnTo>
                  <a:lnTo>
                    <a:pt x="1207" y="792"/>
                  </a:lnTo>
                  <a:lnTo>
                    <a:pt x="1207" y="786"/>
                  </a:lnTo>
                  <a:lnTo>
                    <a:pt x="1206" y="782"/>
                  </a:lnTo>
                  <a:lnTo>
                    <a:pt x="1207" y="771"/>
                  </a:lnTo>
                  <a:lnTo>
                    <a:pt x="1209" y="768"/>
                  </a:lnTo>
                  <a:lnTo>
                    <a:pt x="1210" y="766"/>
                  </a:lnTo>
                  <a:lnTo>
                    <a:pt x="1210" y="765"/>
                  </a:lnTo>
                  <a:lnTo>
                    <a:pt x="1207" y="756"/>
                  </a:lnTo>
                  <a:lnTo>
                    <a:pt x="1197" y="741"/>
                  </a:lnTo>
                  <a:lnTo>
                    <a:pt x="1187" y="725"/>
                  </a:lnTo>
                  <a:lnTo>
                    <a:pt x="1186" y="718"/>
                  </a:lnTo>
                  <a:lnTo>
                    <a:pt x="1186" y="716"/>
                  </a:lnTo>
                  <a:lnTo>
                    <a:pt x="1186" y="713"/>
                  </a:lnTo>
                  <a:lnTo>
                    <a:pt x="1185" y="709"/>
                  </a:lnTo>
                  <a:lnTo>
                    <a:pt x="1182" y="703"/>
                  </a:lnTo>
                  <a:lnTo>
                    <a:pt x="1180" y="699"/>
                  </a:lnTo>
                  <a:lnTo>
                    <a:pt x="1180" y="695"/>
                  </a:lnTo>
                  <a:lnTo>
                    <a:pt x="1180" y="692"/>
                  </a:lnTo>
                  <a:lnTo>
                    <a:pt x="1176" y="689"/>
                  </a:lnTo>
                  <a:lnTo>
                    <a:pt x="1174" y="686"/>
                  </a:lnTo>
                  <a:lnTo>
                    <a:pt x="1172" y="682"/>
                  </a:lnTo>
                  <a:lnTo>
                    <a:pt x="1167" y="678"/>
                  </a:lnTo>
                  <a:lnTo>
                    <a:pt x="1157" y="673"/>
                  </a:lnTo>
                  <a:lnTo>
                    <a:pt x="1149" y="665"/>
                  </a:lnTo>
                  <a:lnTo>
                    <a:pt x="1143" y="663"/>
                  </a:lnTo>
                  <a:lnTo>
                    <a:pt x="1139" y="658"/>
                  </a:lnTo>
                  <a:lnTo>
                    <a:pt x="1133" y="650"/>
                  </a:lnTo>
                  <a:lnTo>
                    <a:pt x="1130" y="645"/>
                  </a:lnTo>
                  <a:lnTo>
                    <a:pt x="1126" y="643"/>
                  </a:lnTo>
                  <a:lnTo>
                    <a:pt x="1120" y="643"/>
                  </a:lnTo>
                  <a:lnTo>
                    <a:pt x="1119" y="642"/>
                  </a:lnTo>
                  <a:lnTo>
                    <a:pt x="1114" y="639"/>
                  </a:lnTo>
                  <a:lnTo>
                    <a:pt x="1111" y="639"/>
                  </a:lnTo>
                  <a:lnTo>
                    <a:pt x="1110" y="640"/>
                  </a:lnTo>
                  <a:lnTo>
                    <a:pt x="1109" y="643"/>
                  </a:lnTo>
                  <a:lnTo>
                    <a:pt x="1109" y="645"/>
                  </a:lnTo>
                  <a:lnTo>
                    <a:pt x="1109" y="649"/>
                  </a:lnTo>
                  <a:lnTo>
                    <a:pt x="1106" y="650"/>
                  </a:lnTo>
                  <a:lnTo>
                    <a:pt x="1104" y="650"/>
                  </a:lnTo>
                  <a:lnTo>
                    <a:pt x="1104" y="649"/>
                  </a:lnTo>
                  <a:lnTo>
                    <a:pt x="1101" y="648"/>
                  </a:lnTo>
                  <a:lnTo>
                    <a:pt x="1099" y="649"/>
                  </a:lnTo>
                  <a:lnTo>
                    <a:pt x="1086" y="653"/>
                  </a:lnTo>
                  <a:lnTo>
                    <a:pt x="1080" y="655"/>
                  </a:lnTo>
                  <a:lnTo>
                    <a:pt x="1080" y="658"/>
                  </a:lnTo>
                  <a:lnTo>
                    <a:pt x="1080" y="659"/>
                  </a:lnTo>
                  <a:lnTo>
                    <a:pt x="1079" y="659"/>
                  </a:lnTo>
                  <a:lnTo>
                    <a:pt x="1076" y="658"/>
                  </a:lnTo>
                  <a:lnTo>
                    <a:pt x="1076" y="655"/>
                  </a:lnTo>
                  <a:lnTo>
                    <a:pt x="1073" y="655"/>
                  </a:lnTo>
                  <a:lnTo>
                    <a:pt x="1060" y="653"/>
                  </a:lnTo>
                  <a:lnTo>
                    <a:pt x="1053" y="650"/>
                  </a:lnTo>
                  <a:lnTo>
                    <a:pt x="1047" y="649"/>
                  </a:lnTo>
                  <a:lnTo>
                    <a:pt x="1046" y="648"/>
                  </a:lnTo>
                  <a:lnTo>
                    <a:pt x="1044" y="645"/>
                  </a:lnTo>
                  <a:lnTo>
                    <a:pt x="1040" y="645"/>
                  </a:lnTo>
                  <a:lnTo>
                    <a:pt x="1037" y="643"/>
                  </a:lnTo>
                  <a:lnTo>
                    <a:pt x="1036" y="643"/>
                  </a:lnTo>
                  <a:lnTo>
                    <a:pt x="1036" y="646"/>
                  </a:lnTo>
                  <a:lnTo>
                    <a:pt x="1036" y="649"/>
                  </a:lnTo>
                  <a:lnTo>
                    <a:pt x="1033" y="648"/>
                  </a:lnTo>
                  <a:lnTo>
                    <a:pt x="1033" y="648"/>
                  </a:lnTo>
                  <a:lnTo>
                    <a:pt x="1031" y="643"/>
                  </a:lnTo>
                  <a:lnTo>
                    <a:pt x="1031" y="642"/>
                  </a:lnTo>
                  <a:lnTo>
                    <a:pt x="1028" y="640"/>
                  </a:lnTo>
                  <a:lnTo>
                    <a:pt x="1028" y="638"/>
                  </a:lnTo>
                  <a:lnTo>
                    <a:pt x="1028" y="635"/>
                  </a:lnTo>
                  <a:lnTo>
                    <a:pt x="1024" y="633"/>
                  </a:lnTo>
                  <a:lnTo>
                    <a:pt x="1026" y="632"/>
                  </a:lnTo>
                  <a:lnTo>
                    <a:pt x="1027" y="629"/>
                  </a:lnTo>
                  <a:lnTo>
                    <a:pt x="1030" y="629"/>
                  </a:lnTo>
                  <a:lnTo>
                    <a:pt x="1031" y="629"/>
                  </a:lnTo>
                  <a:lnTo>
                    <a:pt x="1031" y="632"/>
                  </a:lnTo>
                  <a:lnTo>
                    <a:pt x="1031" y="635"/>
                  </a:lnTo>
                  <a:lnTo>
                    <a:pt x="1034" y="635"/>
                  </a:lnTo>
                  <a:lnTo>
                    <a:pt x="1036" y="632"/>
                  </a:lnTo>
                  <a:lnTo>
                    <a:pt x="1038" y="626"/>
                  </a:lnTo>
                  <a:lnTo>
                    <a:pt x="1040" y="620"/>
                  </a:lnTo>
                  <a:lnTo>
                    <a:pt x="1040" y="615"/>
                  </a:lnTo>
                  <a:lnTo>
                    <a:pt x="1036" y="609"/>
                  </a:lnTo>
                  <a:lnTo>
                    <a:pt x="1033" y="605"/>
                  </a:lnTo>
                  <a:lnTo>
                    <a:pt x="1027" y="605"/>
                  </a:lnTo>
                  <a:lnTo>
                    <a:pt x="1023" y="605"/>
                  </a:lnTo>
                  <a:lnTo>
                    <a:pt x="1018" y="607"/>
                  </a:lnTo>
                  <a:lnTo>
                    <a:pt x="1010" y="610"/>
                  </a:lnTo>
                  <a:lnTo>
                    <a:pt x="1003" y="612"/>
                  </a:lnTo>
                  <a:lnTo>
                    <a:pt x="1000" y="612"/>
                  </a:lnTo>
                  <a:lnTo>
                    <a:pt x="1001" y="612"/>
                  </a:lnTo>
                  <a:lnTo>
                    <a:pt x="1003" y="606"/>
                  </a:lnTo>
                  <a:lnTo>
                    <a:pt x="1005" y="603"/>
                  </a:lnTo>
                  <a:lnTo>
                    <a:pt x="1011" y="602"/>
                  </a:lnTo>
                  <a:lnTo>
                    <a:pt x="1014" y="599"/>
                  </a:lnTo>
                  <a:lnTo>
                    <a:pt x="1020" y="596"/>
                  </a:lnTo>
                  <a:lnTo>
                    <a:pt x="1020" y="593"/>
                  </a:lnTo>
                  <a:lnTo>
                    <a:pt x="1017" y="590"/>
                  </a:lnTo>
                  <a:lnTo>
                    <a:pt x="1013" y="589"/>
                  </a:lnTo>
                  <a:lnTo>
                    <a:pt x="1008" y="589"/>
                  </a:lnTo>
                  <a:lnTo>
                    <a:pt x="1007" y="587"/>
                  </a:lnTo>
                  <a:lnTo>
                    <a:pt x="1007" y="586"/>
                  </a:lnTo>
                  <a:lnTo>
                    <a:pt x="1014" y="586"/>
                  </a:lnTo>
                  <a:lnTo>
                    <a:pt x="1018" y="587"/>
                  </a:lnTo>
                  <a:lnTo>
                    <a:pt x="1021" y="589"/>
                  </a:lnTo>
                  <a:lnTo>
                    <a:pt x="1023" y="592"/>
                  </a:lnTo>
                  <a:lnTo>
                    <a:pt x="1026" y="592"/>
                  </a:lnTo>
                  <a:lnTo>
                    <a:pt x="1031" y="589"/>
                  </a:lnTo>
                  <a:lnTo>
                    <a:pt x="1037" y="590"/>
                  </a:lnTo>
                  <a:lnTo>
                    <a:pt x="1040" y="590"/>
                  </a:lnTo>
                  <a:lnTo>
                    <a:pt x="1044" y="587"/>
                  </a:lnTo>
                  <a:lnTo>
                    <a:pt x="1046" y="585"/>
                  </a:lnTo>
                  <a:lnTo>
                    <a:pt x="1043" y="580"/>
                  </a:lnTo>
                  <a:lnTo>
                    <a:pt x="1041" y="577"/>
                  </a:lnTo>
                  <a:lnTo>
                    <a:pt x="1041" y="573"/>
                  </a:lnTo>
                  <a:lnTo>
                    <a:pt x="1038" y="569"/>
                  </a:lnTo>
                  <a:lnTo>
                    <a:pt x="1034" y="569"/>
                  </a:lnTo>
                  <a:lnTo>
                    <a:pt x="1030" y="565"/>
                  </a:lnTo>
                  <a:lnTo>
                    <a:pt x="1027" y="560"/>
                  </a:lnTo>
                  <a:lnTo>
                    <a:pt x="1024" y="560"/>
                  </a:lnTo>
                  <a:lnTo>
                    <a:pt x="1021" y="559"/>
                  </a:lnTo>
                  <a:lnTo>
                    <a:pt x="1020" y="557"/>
                  </a:lnTo>
                  <a:lnTo>
                    <a:pt x="1020" y="553"/>
                  </a:lnTo>
                  <a:lnTo>
                    <a:pt x="1018" y="552"/>
                  </a:lnTo>
                  <a:lnTo>
                    <a:pt x="1016" y="549"/>
                  </a:lnTo>
                  <a:lnTo>
                    <a:pt x="1016" y="547"/>
                  </a:lnTo>
                  <a:lnTo>
                    <a:pt x="1017" y="547"/>
                  </a:lnTo>
                  <a:lnTo>
                    <a:pt x="1020" y="547"/>
                  </a:lnTo>
                  <a:lnTo>
                    <a:pt x="1023" y="549"/>
                  </a:lnTo>
                  <a:lnTo>
                    <a:pt x="1027" y="552"/>
                  </a:lnTo>
                  <a:lnTo>
                    <a:pt x="1033" y="552"/>
                  </a:lnTo>
                  <a:lnTo>
                    <a:pt x="1040" y="554"/>
                  </a:lnTo>
                  <a:lnTo>
                    <a:pt x="1044" y="557"/>
                  </a:lnTo>
                  <a:lnTo>
                    <a:pt x="1046" y="562"/>
                  </a:lnTo>
                  <a:lnTo>
                    <a:pt x="1053" y="563"/>
                  </a:lnTo>
                  <a:lnTo>
                    <a:pt x="1057" y="566"/>
                  </a:lnTo>
                  <a:lnTo>
                    <a:pt x="1058" y="572"/>
                  </a:lnTo>
                  <a:lnTo>
                    <a:pt x="1058" y="573"/>
                  </a:lnTo>
                  <a:lnTo>
                    <a:pt x="1061" y="576"/>
                  </a:lnTo>
                  <a:lnTo>
                    <a:pt x="1066" y="577"/>
                  </a:lnTo>
                  <a:lnTo>
                    <a:pt x="1070" y="582"/>
                  </a:lnTo>
                  <a:lnTo>
                    <a:pt x="1070" y="586"/>
                  </a:lnTo>
                  <a:lnTo>
                    <a:pt x="1067" y="589"/>
                  </a:lnTo>
                  <a:lnTo>
                    <a:pt x="1061" y="589"/>
                  </a:lnTo>
                  <a:lnTo>
                    <a:pt x="1060" y="590"/>
                  </a:lnTo>
                  <a:lnTo>
                    <a:pt x="1061" y="592"/>
                  </a:lnTo>
                  <a:lnTo>
                    <a:pt x="1070" y="590"/>
                  </a:lnTo>
                  <a:lnTo>
                    <a:pt x="1076" y="590"/>
                  </a:lnTo>
                  <a:lnTo>
                    <a:pt x="1077" y="593"/>
                  </a:lnTo>
                  <a:lnTo>
                    <a:pt x="1086" y="595"/>
                  </a:lnTo>
                  <a:lnTo>
                    <a:pt x="1087" y="595"/>
                  </a:lnTo>
                  <a:lnTo>
                    <a:pt x="1090" y="592"/>
                  </a:lnTo>
                  <a:lnTo>
                    <a:pt x="1094" y="592"/>
                  </a:lnTo>
                  <a:lnTo>
                    <a:pt x="1099" y="592"/>
                  </a:lnTo>
                  <a:lnTo>
                    <a:pt x="1101" y="593"/>
                  </a:lnTo>
                  <a:lnTo>
                    <a:pt x="1101" y="589"/>
                  </a:lnTo>
                  <a:lnTo>
                    <a:pt x="1103" y="587"/>
                  </a:lnTo>
                  <a:lnTo>
                    <a:pt x="1107" y="589"/>
                  </a:lnTo>
                  <a:lnTo>
                    <a:pt x="1111" y="587"/>
                  </a:lnTo>
                  <a:lnTo>
                    <a:pt x="1114" y="587"/>
                  </a:lnTo>
                  <a:lnTo>
                    <a:pt x="1111" y="583"/>
                  </a:lnTo>
                  <a:lnTo>
                    <a:pt x="1113" y="577"/>
                  </a:lnTo>
                  <a:lnTo>
                    <a:pt x="1120" y="577"/>
                  </a:lnTo>
                  <a:lnTo>
                    <a:pt x="1123" y="577"/>
                  </a:lnTo>
                  <a:lnTo>
                    <a:pt x="1126" y="580"/>
                  </a:lnTo>
                  <a:lnTo>
                    <a:pt x="1129" y="583"/>
                  </a:lnTo>
                  <a:lnTo>
                    <a:pt x="1133" y="585"/>
                  </a:lnTo>
                  <a:lnTo>
                    <a:pt x="1134" y="589"/>
                  </a:lnTo>
                  <a:lnTo>
                    <a:pt x="1139" y="589"/>
                  </a:lnTo>
                  <a:lnTo>
                    <a:pt x="1140" y="589"/>
                  </a:lnTo>
                  <a:lnTo>
                    <a:pt x="1143" y="589"/>
                  </a:lnTo>
                  <a:lnTo>
                    <a:pt x="1146" y="595"/>
                  </a:lnTo>
                  <a:lnTo>
                    <a:pt x="1149" y="600"/>
                  </a:lnTo>
                  <a:lnTo>
                    <a:pt x="1150" y="600"/>
                  </a:lnTo>
                  <a:lnTo>
                    <a:pt x="1152" y="597"/>
                  </a:lnTo>
                  <a:lnTo>
                    <a:pt x="1153" y="595"/>
                  </a:lnTo>
                  <a:lnTo>
                    <a:pt x="1157" y="592"/>
                  </a:lnTo>
                  <a:lnTo>
                    <a:pt x="1159" y="587"/>
                  </a:lnTo>
                  <a:lnTo>
                    <a:pt x="1160" y="582"/>
                  </a:lnTo>
                  <a:lnTo>
                    <a:pt x="1163" y="576"/>
                  </a:lnTo>
                  <a:lnTo>
                    <a:pt x="1164" y="575"/>
                  </a:lnTo>
                  <a:lnTo>
                    <a:pt x="1172" y="559"/>
                  </a:lnTo>
                  <a:lnTo>
                    <a:pt x="1176" y="543"/>
                  </a:lnTo>
                  <a:lnTo>
                    <a:pt x="1177" y="534"/>
                  </a:lnTo>
                  <a:lnTo>
                    <a:pt x="1179" y="523"/>
                  </a:lnTo>
                  <a:lnTo>
                    <a:pt x="1176" y="514"/>
                  </a:lnTo>
                  <a:lnTo>
                    <a:pt x="1170" y="510"/>
                  </a:lnTo>
                  <a:lnTo>
                    <a:pt x="1170" y="504"/>
                  </a:lnTo>
                  <a:lnTo>
                    <a:pt x="1172" y="497"/>
                  </a:lnTo>
                  <a:lnTo>
                    <a:pt x="1174" y="487"/>
                  </a:lnTo>
                  <a:lnTo>
                    <a:pt x="1179" y="480"/>
                  </a:lnTo>
                  <a:lnTo>
                    <a:pt x="1183" y="476"/>
                  </a:lnTo>
                  <a:lnTo>
                    <a:pt x="1186" y="469"/>
                  </a:lnTo>
                  <a:lnTo>
                    <a:pt x="1189" y="466"/>
                  </a:lnTo>
                  <a:lnTo>
                    <a:pt x="1190" y="466"/>
                  </a:lnTo>
                  <a:lnTo>
                    <a:pt x="1189" y="470"/>
                  </a:lnTo>
                  <a:lnTo>
                    <a:pt x="1189" y="471"/>
                  </a:lnTo>
                  <a:lnTo>
                    <a:pt x="1192" y="469"/>
                  </a:lnTo>
                  <a:lnTo>
                    <a:pt x="1202" y="459"/>
                  </a:lnTo>
                  <a:lnTo>
                    <a:pt x="1210" y="448"/>
                  </a:lnTo>
                  <a:lnTo>
                    <a:pt x="1215" y="446"/>
                  </a:lnTo>
                  <a:lnTo>
                    <a:pt x="1215" y="443"/>
                  </a:lnTo>
                  <a:lnTo>
                    <a:pt x="1212" y="443"/>
                  </a:lnTo>
                  <a:lnTo>
                    <a:pt x="1209" y="444"/>
                  </a:lnTo>
                  <a:lnTo>
                    <a:pt x="1210" y="443"/>
                  </a:lnTo>
                  <a:lnTo>
                    <a:pt x="1210" y="437"/>
                  </a:lnTo>
                  <a:lnTo>
                    <a:pt x="1210" y="436"/>
                  </a:lnTo>
                  <a:lnTo>
                    <a:pt x="1212" y="436"/>
                  </a:lnTo>
                  <a:lnTo>
                    <a:pt x="1213" y="437"/>
                  </a:lnTo>
                  <a:lnTo>
                    <a:pt x="1215" y="440"/>
                  </a:lnTo>
                  <a:lnTo>
                    <a:pt x="1217" y="436"/>
                  </a:lnTo>
                  <a:lnTo>
                    <a:pt x="1222" y="434"/>
                  </a:lnTo>
                  <a:lnTo>
                    <a:pt x="1227" y="434"/>
                  </a:lnTo>
                  <a:lnTo>
                    <a:pt x="1232" y="437"/>
                  </a:lnTo>
                  <a:lnTo>
                    <a:pt x="1235" y="437"/>
                  </a:lnTo>
                  <a:lnTo>
                    <a:pt x="1235" y="436"/>
                  </a:lnTo>
                  <a:lnTo>
                    <a:pt x="1242" y="434"/>
                  </a:lnTo>
                  <a:lnTo>
                    <a:pt x="1242" y="437"/>
                  </a:lnTo>
                  <a:lnTo>
                    <a:pt x="1239" y="440"/>
                  </a:lnTo>
                  <a:lnTo>
                    <a:pt x="1240" y="441"/>
                  </a:lnTo>
                  <a:lnTo>
                    <a:pt x="1246" y="441"/>
                  </a:lnTo>
                  <a:lnTo>
                    <a:pt x="1248" y="441"/>
                  </a:lnTo>
                  <a:lnTo>
                    <a:pt x="1250" y="438"/>
                  </a:lnTo>
                  <a:lnTo>
                    <a:pt x="1253" y="438"/>
                  </a:lnTo>
                  <a:lnTo>
                    <a:pt x="1258" y="437"/>
                  </a:lnTo>
                  <a:lnTo>
                    <a:pt x="1263" y="436"/>
                  </a:lnTo>
                  <a:lnTo>
                    <a:pt x="1270" y="438"/>
                  </a:lnTo>
                  <a:lnTo>
                    <a:pt x="1275" y="443"/>
                  </a:lnTo>
                  <a:lnTo>
                    <a:pt x="1279" y="444"/>
                  </a:lnTo>
                  <a:lnTo>
                    <a:pt x="1280" y="444"/>
                  </a:lnTo>
                  <a:lnTo>
                    <a:pt x="1282" y="450"/>
                  </a:lnTo>
                  <a:lnTo>
                    <a:pt x="1282" y="454"/>
                  </a:lnTo>
                  <a:lnTo>
                    <a:pt x="1289" y="451"/>
                  </a:lnTo>
                  <a:lnTo>
                    <a:pt x="1293" y="447"/>
                  </a:lnTo>
                  <a:lnTo>
                    <a:pt x="1299" y="443"/>
                  </a:lnTo>
                  <a:lnTo>
                    <a:pt x="1305" y="440"/>
                  </a:lnTo>
                  <a:lnTo>
                    <a:pt x="1309" y="436"/>
                  </a:lnTo>
                  <a:lnTo>
                    <a:pt x="1313" y="436"/>
                  </a:lnTo>
                  <a:lnTo>
                    <a:pt x="1318" y="437"/>
                  </a:lnTo>
                  <a:lnTo>
                    <a:pt x="1319" y="433"/>
                  </a:lnTo>
                  <a:lnTo>
                    <a:pt x="1319" y="426"/>
                  </a:lnTo>
                  <a:lnTo>
                    <a:pt x="1321" y="426"/>
                  </a:lnTo>
                  <a:lnTo>
                    <a:pt x="1322" y="426"/>
                  </a:lnTo>
                  <a:lnTo>
                    <a:pt x="1322" y="428"/>
                  </a:lnTo>
                  <a:lnTo>
                    <a:pt x="1325" y="434"/>
                  </a:lnTo>
                  <a:lnTo>
                    <a:pt x="1329" y="434"/>
                  </a:lnTo>
                  <a:lnTo>
                    <a:pt x="1331" y="433"/>
                  </a:lnTo>
                  <a:lnTo>
                    <a:pt x="1333" y="424"/>
                  </a:lnTo>
                  <a:lnTo>
                    <a:pt x="1336" y="416"/>
                  </a:lnTo>
                  <a:lnTo>
                    <a:pt x="1341" y="407"/>
                  </a:lnTo>
                  <a:lnTo>
                    <a:pt x="1341" y="404"/>
                  </a:lnTo>
                  <a:lnTo>
                    <a:pt x="1338" y="403"/>
                  </a:lnTo>
                  <a:lnTo>
                    <a:pt x="1331" y="401"/>
                  </a:lnTo>
                  <a:lnTo>
                    <a:pt x="1329" y="400"/>
                  </a:lnTo>
                  <a:lnTo>
                    <a:pt x="1326" y="398"/>
                  </a:lnTo>
                  <a:lnTo>
                    <a:pt x="1328" y="396"/>
                  </a:lnTo>
                  <a:lnTo>
                    <a:pt x="1332" y="396"/>
                  </a:lnTo>
                  <a:lnTo>
                    <a:pt x="1333" y="398"/>
                  </a:lnTo>
                  <a:lnTo>
                    <a:pt x="1338" y="398"/>
                  </a:lnTo>
                  <a:lnTo>
                    <a:pt x="1342" y="394"/>
                  </a:lnTo>
                  <a:lnTo>
                    <a:pt x="1348" y="390"/>
                  </a:lnTo>
                  <a:lnTo>
                    <a:pt x="1355" y="384"/>
                  </a:lnTo>
                  <a:lnTo>
                    <a:pt x="1371" y="371"/>
                  </a:lnTo>
                  <a:lnTo>
                    <a:pt x="1374" y="368"/>
                  </a:lnTo>
                  <a:lnTo>
                    <a:pt x="1374" y="364"/>
                  </a:lnTo>
                  <a:lnTo>
                    <a:pt x="1374" y="361"/>
                  </a:lnTo>
                  <a:lnTo>
                    <a:pt x="1375" y="360"/>
                  </a:lnTo>
                  <a:lnTo>
                    <a:pt x="1376" y="360"/>
                  </a:lnTo>
                  <a:lnTo>
                    <a:pt x="1376" y="365"/>
                  </a:lnTo>
                  <a:lnTo>
                    <a:pt x="1382" y="360"/>
                  </a:lnTo>
                  <a:lnTo>
                    <a:pt x="1391" y="355"/>
                  </a:lnTo>
                  <a:lnTo>
                    <a:pt x="1402" y="354"/>
                  </a:lnTo>
                  <a:lnTo>
                    <a:pt x="1409" y="357"/>
                  </a:lnTo>
                  <a:lnTo>
                    <a:pt x="1415" y="355"/>
                  </a:lnTo>
                  <a:lnTo>
                    <a:pt x="1422" y="351"/>
                  </a:lnTo>
                  <a:lnTo>
                    <a:pt x="1424" y="350"/>
                  </a:lnTo>
                  <a:lnTo>
                    <a:pt x="1421" y="345"/>
                  </a:lnTo>
                  <a:lnTo>
                    <a:pt x="1417" y="341"/>
                  </a:lnTo>
                  <a:lnTo>
                    <a:pt x="1415" y="338"/>
                  </a:lnTo>
                  <a:lnTo>
                    <a:pt x="1418" y="338"/>
                  </a:lnTo>
                  <a:lnTo>
                    <a:pt x="1422" y="340"/>
                  </a:lnTo>
                  <a:lnTo>
                    <a:pt x="1427" y="344"/>
                  </a:lnTo>
                  <a:lnTo>
                    <a:pt x="1428" y="343"/>
                  </a:lnTo>
                  <a:lnTo>
                    <a:pt x="1431" y="338"/>
                  </a:lnTo>
                  <a:lnTo>
                    <a:pt x="1437" y="334"/>
                  </a:lnTo>
                  <a:lnTo>
                    <a:pt x="1437" y="324"/>
                  </a:lnTo>
                  <a:lnTo>
                    <a:pt x="1434" y="317"/>
                  </a:lnTo>
                  <a:lnTo>
                    <a:pt x="1428" y="308"/>
                  </a:lnTo>
                  <a:lnTo>
                    <a:pt x="1417" y="302"/>
                  </a:lnTo>
                  <a:lnTo>
                    <a:pt x="1412" y="302"/>
                  </a:lnTo>
                  <a:lnTo>
                    <a:pt x="1405" y="304"/>
                  </a:lnTo>
                  <a:lnTo>
                    <a:pt x="1399" y="302"/>
                  </a:lnTo>
                  <a:lnTo>
                    <a:pt x="1399" y="301"/>
                  </a:lnTo>
                  <a:lnTo>
                    <a:pt x="1401" y="297"/>
                  </a:lnTo>
                  <a:lnTo>
                    <a:pt x="1405" y="300"/>
                  </a:lnTo>
                  <a:lnTo>
                    <a:pt x="1411" y="300"/>
                  </a:lnTo>
                  <a:lnTo>
                    <a:pt x="1417" y="298"/>
                  </a:lnTo>
                  <a:lnTo>
                    <a:pt x="1418" y="298"/>
                  </a:lnTo>
                  <a:lnTo>
                    <a:pt x="1425" y="302"/>
                  </a:lnTo>
                  <a:lnTo>
                    <a:pt x="1434" y="310"/>
                  </a:lnTo>
                  <a:lnTo>
                    <a:pt x="1441" y="315"/>
                  </a:lnTo>
                  <a:lnTo>
                    <a:pt x="1447" y="314"/>
                  </a:lnTo>
                  <a:lnTo>
                    <a:pt x="1451" y="311"/>
                  </a:lnTo>
                  <a:lnTo>
                    <a:pt x="1458" y="302"/>
                  </a:lnTo>
                  <a:lnTo>
                    <a:pt x="1461" y="295"/>
                  </a:lnTo>
                  <a:lnTo>
                    <a:pt x="1461" y="290"/>
                  </a:lnTo>
                  <a:lnTo>
                    <a:pt x="1459" y="287"/>
                  </a:lnTo>
                  <a:lnTo>
                    <a:pt x="1447" y="285"/>
                  </a:lnTo>
                  <a:lnTo>
                    <a:pt x="1441" y="285"/>
                  </a:lnTo>
                  <a:lnTo>
                    <a:pt x="1439" y="284"/>
                  </a:lnTo>
                  <a:lnTo>
                    <a:pt x="1439" y="282"/>
                  </a:lnTo>
                  <a:lnTo>
                    <a:pt x="1445" y="282"/>
                  </a:lnTo>
                  <a:lnTo>
                    <a:pt x="1451" y="281"/>
                  </a:lnTo>
                  <a:lnTo>
                    <a:pt x="1457" y="284"/>
                  </a:lnTo>
                  <a:lnTo>
                    <a:pt x="1458" y="282"/>
                  </a:lnTo>
                  <a:lnTo>
                    <a:pt x="1455" y="278"/>
                  </a:lnTo>
                  <a:lnTo>
                    <a:pt x="1451" y="277"/>
                  </a:lnTo>
                  <a:lnTo>
                    <a:pt x="1442" y="274"/>
                  </a:lnTo>
                  <a:lnTo>
                    <a:pt x="1434" y="269"/>
                  </a:lnTo>
                  <a:lnTo>
                    <a:pt x="1431" y="271"/>
                  </a:lnTo>
                  <a:lnTo>
                    <a:pt x="1428" y="274"/>
                  </a:lnTo>
                  <a:lnTo>
                    <a:pt x="1428" y="281"/>
                  </a:lnTo>
                  <a:lnTo>
                    <a:pt x="1429" y="285"/>
                  </a:lnTo>
                  <a:lnTo>
                    <a:pt x="1427" y="285"/>
                  </a:lnTo>
                  <a:lnTo>
                    <a:pt x="1424" y="282"/>
                  </a:lnTo>
                  <a:lnTo>
                    <a:pt x="1422" y="274"/>
                  </a:lnTo>
                  <a:lnTo>
                    <a:pt x="1424" y="267"/>
                  </a:lnTo>
                  <a:lnTo>
                    <a:pt x="1427" y="267"/>
                  </a:lnTo>
                  <a:lnTo>
                    <a:pt x="1432" y="267"/>
                  </a:lnTo>
                  <a:lnTo>
                    <a:pt x="1438" y="267"/>
                  </a:lnTo>
                  <a:lnTo>
                    <a:pt x="1442" y="267"/>
                  </a:lnTo>
                  <a:lnTo>
                    <a:pt x="1445" y="262"/>
                  </a:lnTo>
                  <a:lnTo>
                    <a:pt x="1448" y="258"/>
                  </a:lnTo>
                  <a:lnTo>
                    <a:pt x="1447" y="248"/>
                  </a:lnTo>
                  <a:lnTo>
                    <a:pt x="1447" y="242"/>
                  </a:lnTo>
                  <a:lnTo>
                    <a:pt x="1451" y="234"/>
                  </a:lnTo>
                  <a:lnTo>
                    <a:pt x="1449" y="232"/>
                  </a:lnTo>
                  <a:lnTo>
                    <a:pt x="1447" y="232"/>
                  </a:lnTo>
                  <a:lnTo>
                    <a:pt x="1439" y="237"/>
                  </a:lnTo>
                  <a:lnTo>
                    <a:pt x="1434" y="239"/>
                  </a:lnTo>
                  <a:lnTo>
                    <a:pt x="1421" y="241"/>
                  </a:lnTo>
                  <a:lnTo>
                    <a:pt x="1419" y="244"/>
                  </a:lnTo>
                  <a:lnTo>
                    <a:pt x="1415" y="251"/>
                  </a:lnTo>
                  <a:lnTo>
                    <a:pt x="1412" y="255"/>
                  </a:lnTo>
                  <a:lnTo>
                    <a:pt x="1408" y="258"/>
                  </a:lnTo>
                  <a:lnTo>
                    <a:pt x="1406" y="262"/>
                  </a:lnTo>
                  <a:lnTo>
                    <a:pt x="1406" y="265"/>
                  </a:lnTo>
                  <a:lnTo>
                    <a:pt x="1408" y="272"/>
                  </a:lnTo>
                  <a:lnTo>
                    <a:pt x="1408" y="275"/>
                  </a:lnTo>
                  <a:lnTo>
                    <a:pt x="1408" y="274"/>
                  </a:lnTo>
                  <a:lnTo>
                    <a:pt x="1404" y="269"/>
                  </a:lnTo>
                  <a:lnTo>
                    <a:pt x="1401" y="265"/>
                  </a:lnTo>
                  <a:lnTo>
                    <a:pt x="1396" y="264"/>
                  </a:lnTo>
                  <a:lnTo>
                    <a:pt x="1394" y="269"/>
                  </a:lnTo>
                  <a:lnTo>
                    <a:pt x="1395" y="277"/>
                  </a:lnTo>
                  <a:lnTo>
                    <a:pt x="1395" y="279"/>
                  </a:lnTo>
                  <a:lnTo>
                    <a:pt x="1394" y="279"/>
                  </a:lnTo>
                  <a:lnTo>
                    <a:pt x="1394" y="278"/>
                  </a:lnTo>
                  <a:lnTo>
                    <a:pt x="1391" y="271"/>
                  </a:lnTo>
                  <a:lnTo>
                    <a:pt x="1389" y="267"/>
                  </a:lnTo>
                  <a:lnTo>
                    <a:pt x="1389" y="261"/>
                  </a:lnTo>
                  <a:lnTo>
                    <a:pt x="1385" y="254"/>
                  </a:lnTo>
                  <a:lnTo>
                    <a:pt x="1381" y="251"/>
                  </a:lnTo>
                  <a:lnTo>
                    <a:pt x="1376" y="252"/>
                  </a:lnTo>
                  <a:lnTo>
                    <a:pt x="1372" y="257"/>
                  </a:lnTo>
                  <a:lnTo>
                    <a:pt x="1368" y="262"/>
                  </a:lnTo>
                  <a:lnTo>
                    <a:pt x="1368" y="267"/>
                  </a:lnTo>
                  <a:lnTo>
                    <a:pt x="1371" y="269"/>
                  </a:lnTo>
                  <a:lnTo>
                    <a:pt x="1374" y="274"/>
                  </a:lnTo>
                  <a:lnTo>
                    <a:pt x="1375" y="278"/>
                  </a:lnTo>
                  <a:lnTo>
                    <a:pt x="1375" y="282"/>
                  </a:lnTo>
                  <a:lnTo>
                    <a:pt x="1374" y="282"/>
                  </a:lnTo>
                  <a:lnTo>
                    <a:pt x="1371" y="279"/>
                  </a:lnTo>
                  <a:lnTo>
                    <a:pt x="1371" y="275"/>
                  </a:lnTo>
                  <a:lnTo>
                    <a:pt x="1371" y="274"/>
                  </a:lnTo>
                  <a:lnTo>
                    <a:pt x="1365" y="274"/>
                  </a:lnTo>
                  <a:lnTo>
                    <a:pt x="1364" y="269"/>
                  </a:lnTo>
                  <a:lnTo>
                    <a:pt x="1364" y="261"/>
                  </a:lnTo>
                  <a:lnTo>
                    <a:pt x="1365" y="258"/>
                  </a:lnTo>
                  <a:lnTo>
                    <a:pt x="1369" y="254"/>
                  </a:lnTo>
                  <a:lnTo>
                    <a:pt x="1368" y="248"/>
                  </a:lnTo>
                  <a:lnTo>
                    <a:pt x="1365" y="239"/>
                  </a:lnTo>
                  <a:lnTo>
                    <a:pt x="1362" y="225"/>
                  </a:lnTo>
                  <a:lnTo>
                    <a:pt x="1359" y="216"/>
                  </a:lnTo>
                  <a:lnTo>
                    <a:pt x="1354" y="209"/>
                  </a:lnTo>
                  <a:lnTo>
                    <a:pt x="1348" y="205"/>
                  </a:lnTo>
                  <a:lnTo>
                    <a:pt x="1343" y="201"/>
                  </a:lnTo>
                  <a:lnTo>
                    <a:pt x="1343" y="199"/>
                  </a:lnTo>
                  <a:lnTo>
                    <a:pt x="1341" y="198"/>
                  </a:lnTo>
                  <a:lnTo>
                    <a:pt x="1339" y="198"/>
                  </a:lnTo>
                  <a:lnTo>
                    <a:pt x="1339" y="201"/>
                  </a:lnTo>
                  <a:lnTo>
                    <a:pt x="1339" y="204"/>
                  </a:lnTo>
                  <a:lnTo>
                    <a:pt x="1338" y="204"/>
                  </a:lnTo>
                  <a:lnTo>
                    <a:pt x="1332" y="204"/>
                  </a:lnTo>
                  <a:lnTo>
                    <a:pt x="1332" y="202"/>
                  </a:lnTo>
                  <a:lnTo>
                    <a:pt x="1335" y="201"/>
                  </a:lnTo>
                  <a:lnTo>
                    <a:pt x="1335" y="198"/>
                  </a:lnTo>
                  <a:lnTo>
                    <a:pt x="1332" y="198"/>
                  </a:lnTo>
                  <a:lnTo>
                    <a:pt x="1331" y="198"/>
                  </a:lnTo>
                  <a:lnTo>
                    <a:pt x="1326" y="199"/>
                  </a:lnTo>
                  <a:lnTo>
                    <a:pt x="1322" y="199"/>
                  </a:lnTo>
                  <a:lnTo>
                    <a:pt x="1321" y="199"/>
                  </a:lnTo>
                  <a:lnTo>
                    <a:pt x="1316" y="205"/>
                  </a:lnTo>
                  <a:lnTo>
                    <a:pt x="1316" y="208"/>
                  </a:lnTo>
                  <a:lnTo>
                    <a:pt x="1315" y="212"/>
                  </a:lnTo>
                  <a:lnTo>
                    <a:pt x="1313" y="219"/>
                  </a:lnTo>
                  <a:lnTo>
                    <a:pt x="1313" y="225"/>
                  </a:lnTo>
                  <a:lnTo>
                    <a:pt x="1312" y="227"/>
                  </a:lnTo>
                  <a:lnTo>
                    <a:pt x="1309" y="231"/>
                  </a:lnTo>
                  <a:lnTo>
                    <a:pt x="1302" y="225"/>
                  </a:lnTo>
                  <a:lnTo>
                    <a:pt x="1308" y="218"/>
                  </a:lnTo>
                  <a:lnTo>
                    <a:pt x="1308" y="211"/>
                  </a:lnTo>
                  <a:lnTo>
                    <a:pt x="1309" y="208"/>
                  </a:lnTo>
                  <a:lnTo>
                    <a:pt x="1309" y="201"/>
                  </a:lnTo>
                  <a:lnTo>
                    <a:pt x="1312" y="201"/>
                  </a:lnTo>
                  <a:lnTo>
                    <a:pt x="1315" y="201"/>
                  </a:lnTo>
                  <a:lnTo>
                    <a:pt x="1315" y="199"/>
                  </a:lnTo>
                  <a:lnTo>
                    <a:pt x="1312" y="196"/>
                  </a:lnTo>
                  <a:lnTo>
                    <a:pt x="1309" y="195"/>
                  </a:lnTo>
                  <a:lnTo>
                    <a:pt x="1302" y="195"/>
                  </a:lnTo>
                  <a:lnTo>
                    <a:pt x="1296" y="195"/>
                  </a:lnTo>
                  <a:lnTo>
                    <a:pt x="1289" y="189"/>
                  </a:lnTo>
                  <a:lnTo>
                    <a:pt x="1280" y="182"/>
                  </a:lnTo>
                  <a:lnTo>
                    <a:pt x="1279" y="182"/>
                  </a:lnTo>
                  <a:lnTo>
                    <a:pt x="1278" y="182"/>
                  </a:lnTo>
                  <a:lnTo>
                    <a:pt x="1278" y="184"/>
                  </a:lnTo>
                  <a:lnTo>
                    <a:pt x="1283" y="191"/>
                  </a:lnTo>
                  <a:lnTo>
                    <a:pt x="1283" y="195"/>
                  </a:lnTo>
                  <a:lnTo>
                    <a:pt x="1280" y="199"/>
                  </a:lnTo>
                  <a:lnTo>
                    <a:pt x="1279" y="201"/>
                  </a:lnTo>
                  <a:lnTo>
                    <a:pt x="1278" y="206"/>
                  </a:lnTo>
                  <a:lnTo>
                    <a:pt x="1276" y="209"/>
                  </a:lnTo>
                  <a:lnTo>
                    <a:pt x="1275" y="209"/>
                  </a:lnTo>
                  <a:lnTo>
                    <a:pt x="1275" y="208"/>
                  </a:lnTo>
                  <a:lnTo>
                    <a:pt x="1276" y="204"/>
                  </a:lnTo>
                  <a:lnTo>
                    <a:pt x="1278" y="196"/>
                  </a:lnTo>
                  <a:lnTo>
                    <a:pt x="1278" y="195"/>
                  </a:lnTo>
                  <a:lnTo>
                    <a:pt x="1276" y="195"/>
                  </a:lnTo>
                  <a:lnTo>
                    <a:pt x="1272" y="195"/>
                  </a:lnTo>
                  <a:lnTo>
                    <a:pt x="1269" y="196"/>
                  </a:lnTo>
                  <a:lnTo>
                    <a:pt x="1262" y="199"/>
                  </a:lnTo>
                  <a:lnTo>
                    <a:pt x="1258" y="196"/>
                  </a:lnTo>
                  <a:lnTo>
                    <a:pt x="1255" y="199"/>
                  </a:lnTo>
                  <a:lnTo>
                    <a:pt x="1252" y="204"/>
                  </a:lnTo>
                  <a:lnTo>
                    <a:pt x="1249" y="206"/>
                  </a:lnTo>
                  <a:lnTo>
                    <a:pt x="1248" y="211"/>
                  </a:lnTo>
                  <a:lnTo>
                    <a:pt x="1245" y="214"/>
                  </a:lnTo>
                  <a:lnTo>
                    <a:pt x="1243" y="214"/>
                  </a:lnTo>
                  <a:lnTo>
                    <a:pt x="1242" y="211"/>
                  </a:lnTo>
                  <a:lnTo>
                    <a:pt x="1239" y="211"/>
                  </a:lnTo>
                  <a:lnTo>
                    <a:pt x="1239" y="212"/>
                  </a:lnTo>
                  <a:lnTo>
                    <a:pt x="1239" y="212"/>
                  </a:lnTo>
                  <a:lnTo>
                    <a:pt x="1239" y="215"/>
                  </a:lnTo>
                  <a:lnTo>
                    <a:pt x="1237" y="219"/>
                  </a:lnTo>
                  <a:lnTo>
                    <a:pt x="1235" y="221"/>
                  </a:lnTo>
                  <a:lnTo>
                    <a:pt x="1235" y="212"/>
                  </a:lnTo>
                  <a:lnTo>
                    <a:pt x="1235" y="211"/>
                  </a:lnTo>
                  <a:lnTo>
                    <a:pt x="1236" y="206"/>
                  </a:lnTo>
                  <a:lnTo>
                    <a:pt x="1236" y="205"/>
                  </a:lnTo>
                  <a:lnTo>
                    <a:pt x="1237" y="205"/>
                  </a:lnTo>
                  <a:lnTo>
                    <a:pt x="1237" y="205"/>
                  </a:lnTo>
                  <a:lnTo>
                    <a:pt x="1239" y="205"/>
                  </a:lnTo>
                  <a:lnTo>
                    <a:pt x="1239" y="199"/>
                  </a:lnTo>
                  <a:lnTo>
                    <a:pt x="1240" y="194"/>
                  </a:lnTo>
                  <a:lnTo>
                    <a:pt x="1243" y="192"/>
                  </a:lnTo>
                  <a:lnTo>
                    <a:pt x="1243" y="188"/>
                  </a:lnTo>
                  <a:lnTo>
                    <a:pt x="1246" y="186"/>
                  </a:lnTo>
                  <a:lnTo>
                    <a:pt x="1248" y="188"/>
                  </a:lnTo>
                  <a:lnTo>
                    <a:pt x="1248" y="191"/>
                  </a:lnTo>
                  <a:lnTo>
                    <a:pt x="1248" y="194"/>
                  </a:lnTo>
                  <a:lnTo>
                    <a:pt x="1250" y="194"/>
                  </a:lnTo>
                  <a:lnTo>
                    <a:pt x="1253" y="189"/>
                  </a:lnTo>
                  <a:lnTo>
                    <a:pt x="1259" y="188"/>
                  </a:lnTo>
                  <a:lnTo>
                    <a:pt x="1262" y="191"/>
                  </a:lnTo>
                  <a:lnTo>
                    <a:pt x="1263" y="194"/>
                  </a:lnTo>
                  <a:lnTo>
                    <a:pt x="1263" y="194"/>
                  </a:lnTo>
                  <a:lnTo>
                    <a:pt x="1263" y="191"/>
                  </a:lnTo>
                  <a:lnTo>
                    <a:pt x="1265" y="188"/>
                  </a:lnTo>
                  <a:lnTo>
                    <a:pt x="1266" y="185"/>
                  </a:lnTo>
                  <a:lnTo>
                    <a:pt x="1268" y="182"/>
                  </a:lnTo>
                  <a:lnTo>
                    <a:pt x="1266" y="175"/>
                  </a:lnTo>
                  <a:lnTo>
                    <a:pt x="1268" y="174"/>
                  </a:lnTo>
                  <a:lnTo>
                    <a:pt x="1272" y="172"/>
                  </a:lnTo>
                  <a:lnTo>
                    <a:pt x="1273" y="172"/>
                  </a:lnTo>
                  <a:lnTo>
                    <a:pt x="1275" y="163"/>
                  </a:lnTo>
                  <a:lnTo>
                    <a:pt x="1276" y="162"/>
                  </a:lnTo>
                  <a:lnTo>
                    <a:pt x="1278" y="162"/>
                  </a:lnTo>
                  <a:lnTo>
                    <a:pt x="1278" y="166"/>
                  </a:lnTo>
                  <a:lnTo>
                    <a:pt x="1278" y="171"/>
                  </a:lnTo>
                  <a:lnTo>
                    <a:pt x="1278" y="178"/>
                  </a:lnTo>
                  <a:lnTo>
                    <a:pt x="1278" y="179"/>
                  </a:lnTo>
                  <a:lnTo>
                    <a:pt x="1279" y="179"/>
                  </a:lnTo>
                  <a:lnTo>
                    <a:pt x="1280" y="176"/>
                  </a:lnTo>
                  <a:lnTo>
                    <a:pt x="1282" y="169"/>
                  </a:lnTo>
                  <a:lnTo>
                    <a:pt x="1280" y="152"/>
                  </a:lnTo>
                  <a:lnTo>
                    <a:pt x="1282" y="143"/>
                  </a:lnTo>
                  <a:lnTo>
                    <a:pt x="1282" y="131"/>
                  </a:lnTo>
                  <a:lnTo>
                    <a:pt x="1285" y="126"/>
                  </a:lnTo>
                  <a:lnTo>
                    <a:pt x="1289" y="123"/>
                  </a:lnTo>
                  <a:lnTo>
                    <a:pt x="1292" y="119"/>
                  </a:lnTo>
                  <a:lnTo>
                    <a:pt x="1292" y="113"/>
                  </a:lnTo>
                  <a:lnTo>
                    <a:pt x="1289" y="108"/>
                  </a:lnTo>
                  <a:lnTo>
                    <a:pt x="1286" y="103"/>
                  </a:lnTo>
                  <a:lnTo>
                    <a:pt x="1283" y="103"/>
                  </a:lnTo>
                  <a:lnTo>
                    <a:pt x="1280" y="105"/>
                  </a:lnTo>
                  <a:lnTo>
                    <a:pt x="1275" y="105"/>
                  </a:lnTo>
                  <a:lnTo>
                    <a:pt x="1269" y="109"/>
                  </a:lnTo>
                  <a:lnTo>
                    <a:pt x="1268" y="112"/>
                  </a:lnTo>
                  <a:lnTo>
                    <a:pt x="1265" y="116"/>
                  </a:lnTo>
                  <a:lnTo>
                    <a:pt x="1263" y="119"/>
                  </a:lnTo>
                  <a:lnTo>
                    <a:pt x="1255" y="122"/>
                  </a:lnTo>
                  <a:lnTo>
                    <a:pt x="1253" y="122"/>
                  </a:lnTo>
                  <a:lnTo>
                    <a:pt x="1253" y="121"/>
                  </a:lnTo>
                  <a:lnTo>
                    <a:pt x="1252" y="121"/>
                  </a:lnTo>
                  <a:lnTo>
                    <a:pt x="1249" y="121"/>
                  </a:lnTo>
                  <a:lnTo>
                    <a:pt x="1248" y="121"/>
                  </a:lnTo>
                  <a:lnTo>
                    <a:pt x="1245" y="123"/>
                  </a:lnTo>
                  <a:lnTo>
                    <a:pt x="1242" y="125"/>
                  </a:lnTo>
                  <a:lnTo>
                    <a:pt x="1239" y="125"/>
                  </a:lnTo>
                  <a:lnTo>
                    <a:pt x="1237" y="126"/>
                  </a:lnTo>
                  <a:lnTo>
                    <a:pt x="1235" y="128"/>
                  </a:lnTo>
                  <a:lnTo>
                    <a:pt x="1230" y="131"/>
                  </a:lnTo>
                  <a:lnTo>
                    <a:pt x="1230" y="128"/>
                  </a:lnTo>
                  <a:lnTo>
                    <a:pt x="1235" y="123"/>
                  </a:lnTo>
                  <a:lnTo>
                    <a:pt x="1245" y="119"/>
                  </a:lnTo>
                  <a:lnTo>
                    <a:pt x="1249" y="115"/>
                  </a:lnTo>
                  <a:lnTo>
                    <a:pt x="1252" y="113"/>
                  </a:lnTo>
                  <a:lnTo>
                    <a:pt x="1259" y="115"/>
                  </a:lnTo>
                  <a:lnTo>
                    <a:pt x="1260" y="113"/>
                  </a:lnTo>
                  <a:lnTo>
                    <a:pt x="1265" y="108"/>
                  </a:lnTo>
                  <a:lnTo>
                    <a:pt x="1269" y="99"/>
                  </a:lnTo>
                  <a:lnTo>
                    <a:pt x="1273" y="98"/>
                  </a:lnTo>
                  <a:lnTo>
                    <a:pt x="1278" y="95"/>
                  </a:lnTo>
                  <a:lnTo>
                    <a:pt x="1279" y="88"/>
                  </a:lnTo>
                  <a:lnTo>
                    <a:pt x="1282" y="82"/>
                  </a:lnTo>
                  <a:lnTo>
                    <a:pt x="1282" y="76"/>
                  </a:lnTo>
                  <a:lnTo>
                    <a:pt x="1279" y="73"/>
                  </a:lnTo>
                  <a:lnTo>
                    <a:pt x="1275" y="69"/>
                  </a:lnTo>
                  <a:lnTo>
                    <a:pt x="1269" y="68"/>
                  </a:lnTo>
                  <a:lnTo>
                    <a:pt x="1262" y="68"/>
                  </a:lnTo>
                  <a:lnTo>
                    <a:pt x="1256" y="68"/>
                  </a:lnTo>
                  <a:lnTo>
                    <a:pt x="1253" y="65"/>
                  </a:lnTo>
                  <a:lnTo>
                    <a:pt x="1246" y="63"/>
                  </a:lnTo>
                  <a:lnTo>
                    <a:pt x="1243" y="65"/>
                  </a:lnTo>
                  <a:lnTo>
                    <a:pt x="1245" y="68"/>
                  </a:lnTo>
                  <a:lnTo>
                    <a:pt x="1242" y="69"/>
                  </a:lnTo>
                  <a:lnTo>
                    <a:pt x="1239" y="65"/>
                  </a:lnTo>
                  <a:lnTo>
                    <a:pt x="1232" y="52"/>
                  </a:lnTo>
                  <a:lnTo>
                    <a:pt x="1232" y="47"/>
                  </a:lnTo>
                  <a:lnTo>
                    <a:pt x="1227" y="39"/>
                  </a:lnTo>
                  <a:lnTo>
                    <a:pt x="1223" y="35"/>
                  </a:lnTo>
                  <a:lnTo>
                    <a:pt x="1222" y="32"/>
                  </a:lnTo>
                  <a:lnTo>
                    <a:pt x="1222" y="23"/>
                  </a:lnTo>
                  <a:lnTo>
                    <a:pt x="1220" y="20"/>
                  </a:lnTo>
                  <a:lnTo>
                    <a:pt x="1226" y="17"/>
                  </a:lnTo>
                  <a:lnTo>
                    <a:pt x="1230" y="13"/>
                  </a:lnTo>
                  <a:lnTo>
                    <a:pt x="1233" y="9"/>
                  </a:lnTo>
                  <a:lnTo>
                    <a:pt x="1230" y="5"/>
                  </a:lnTo>
                  <a:lnTo>
                    <a:pt x="1226" y="3"/>
                  </a:lnTo>
                  <a:lnTo>
                    <a:pt x="1219" y="0"/>
                  </a:lnTo>
                  <a:lnTo>
                    <a:pt x="1213" y="2"/>
                  </a:lnTo>
                  <a:lnTo>
                    <a:pt x="1207" y="2"/>
                  </a:lnTo>
                  <a:lnTo>
                    <a:pt x="1202" y="6"/>
                  </a:lnTo>
                  <a:lnTo>
                    <a:pt x="1197" y="16"/>
                  </a:lnTo>
                  <a:lnTo>
                    <a:pt x="1195" y="20"/>
                  </a:lnTo>
                  <a:lnTo>
                    <a:pt x="1195" y="23"/>
                  </a:lnTo>
                  <a:lnTo>
                    <a:pt x="1197" y="23"/>
                  </a:lnTo>
                  <a:lnTo>
                    <a:pt x="1200" y="20"/>
                  </a:lnTo>
                  <a:lnTo>
                    <a:pt x="1200" y="16"/>
                  </a:lnTo>
                  <a:lnTo>
                    <a:pt x="1202" y="15"/>
                  </a:lnTo>
                  <a:lnTo>
                    <a:pt x="1205" y="15"/>
                  </a:lnTo>
                  <a:lnTo>
                    <a:pt x="1205" y="16"/>
                  </a:lnTo>
                  <a:lnTo>
                    <a:pt x="1203" y="19"/>
                  </a:lnTo>
                  <a:lnTo>
                    <a:pt x="1200" y="23"/>
                  </a:lnTo>
                  <a:lnTo>
                    <a:pt x="1200" y="26"/>
                  </a:lnTo>
                  <a:lnTo>
                    <a:pt x="1200" y="29"/>
                  </a:lnTo>
                  <a:lnTo>
                    <a:pt x="1200" y="32"/>
                  </a:lnTo>
                  <a:lnTo>
                    <a:pt x="1200" y="35"/>
                  </a:lnTo>
                  <a:lnTo>
                    <a:pt x="1197" y="36"/>
                  </a:lnTo>
                  <a:lnTo>
                    <a:pt x="1193" y="39"/>
                  </a:lnTo>
                  <a:lnTo>
                    <a:pt x="1190" y="42"/>
                  </a:lnTo>
                  <a:lnTo>
                    <a:pt x="1192" y="36"/>
                  </a:lnTo>
                  <a:lnTo>
                    <a:pt x="1195" y="32"/>
                  </a:lnTo>
                  <a:lnTo>
                    <a:pt x="1195" y="27"/>
                  </a:lnTo>
                  <a:lnTo>
                    <a:pt x="1193" y="26"/>
                  </a:lnTo>
                  <a:lnTo>
                    <a:pt x="1187" y="29"/>
                  </a:lnTo>
                  <a:lnTo>
                    <a:pt x="1177" y="30"/>
                  </a:lnTo>
                  <a:lnTo>
                    <a:pt x="1174" y="35"/>
                  </a:lnTo>
                  <a:lnTo>
                    <a:pt x="1172" y="37"/>
                  </a:lnTo>
                  <a:lnTo>
                    <a:pt x="1172" y="37"/>
                  </a:lnTo>
                  <a:lnTo>
                    <a:pt x="1176" y="37"/>
                  </a:lnTo>
                  <a:lnTo>
                    <a:pt x="1176" y="40"/>
                  </a:lnTo>
                  <a:lnTo>
                    <a:pt x="1176" y="46"/>
                  </a:lnTo>
                  <a:lnTo>
                    <a:pt x="1177" y="49"/>
                  </a:lnTo>
                  <a:lnTo>
                    <a:pt x="1180" y="50"/>
                  </a:lnTo>
                  <a:lnTo>
                    <a:pt x="1180" y="52"/>
                  </a:lnTo>
                  <a:lnTo>
                    <a:pt x="1174" y="52"/>
                  </a:lnTo>
                  <a:lnTo>
                    <a:pt x="1173" y="50"/>
                  </a:lnTo>
                  <a:lnTo>
                    <a:pt x="1173" y="50"/>
                  </a:lnTo>
                  <a:lnTo>
                    <a:pt x="1174" y="49"/>
                  </a:lnTo>
                  <a:lnTo>
                    <a:pt x="1173" y="46"/>
                  </a:lnTo>
                  <a:lnTo>
                    <a:pt x="1172" y="43"/>
                  </a:lnTo>
                  <a:lnTo>
                    <a:pt x="1172" y="42"/>
                  </a:lnTo>
                  <a:lnTo>
                    <a:pt x="1167" y="42"/>
                  </a:lnTo>
                  <a:lnTo>
                    <a:pt x="1163" y="47"/>
                  </a:lnTo>
                  <a:lnTo>
                    <a:pt x="1160" y="50"/>
                  </a:lnTo>
                  <a:lnTo>
                    <a:pt x="1153" y="52"/>
                  </a:lnTo>
                  <a:lnTo>
                    <a:pt x="1143" y="58"/>
                  </a:lnTo>
                  <a:lnTo>
                    <a:pt x="1134" y="63"/>
                  </a:lnTo>
                  <a:lnTo>
                    <a:pt x="1123" y="73"/>
                  </a:lnTo>
                  <a:lnTo>
                    <a:pt x="1120" y="76"/>
                  </a:lnTo>
                  <a:lnTo>
                    <a:pt x="1117" y="79"/>
                  </a:lnTo>
                  <a:lnTo>
                    <a:pt x="1109" y="85"/>
                  </a:lnTo>
                  <a:lnTo>
                    <a:pt x="1103" y="86"/>
                  </a:lnTo>
                  <a:lnTo>
                    <a:pt x="1096" y="89"/>
                  </a:lnTo>
                  <a:lnTo>
                    <a:pt x="1091" y="88"/>
                  </a:lnTo>
                  <a:lnTo>
                    <a:pt x="1087" y="85"/>
                  </a:lnTo>
                  <a:lnTo>
                    <a:pt x="1086" y="83"/>
                  </a:lnTo>
                  <a:lnTo>
                    <a:pt x="1081" y="88"/>
                  </a:lnTo>
                  <a:lnTo>
                    <a:pt x="1073" y="95"/>
                  </a:lnTo>
                  <a:lnTo>
                    <a:pt x="1070" y="98"/>
                  </a:lnTo>
                  <a:lnTo>
                    <a:pt x="1064" y="99"/>
                  </a:lnTo>
                  <a:lnTo>
                    <a:pt x="1060" y="99"/>
                  </a:lnTo>
                  <a:lnTo>
                    <a:pt x="1056" y="96"/>
                  </a:lnTo>
                  <a:lnTo>
                    <a:pt x="1051" y="95"/>
                  </a:lnTo>
                  <a:lnTo>
                    <a:pt x="1048" y="98"/>
                  </a:lnTo>
                  <a:lnTo>
                    <a:pt x="1046" y="105"/>
                  </a:lnTo>
                  <a:lnTo>
                    <a:pt x="1044" y="109"/>
                  </a:lnTo>
                  <a:lnTo>
                    <a:pt x="1041" y="110"/>
                  </a:lnTo>
                  <a:lnTo>
                    <a:pt x="1040" y="112"/>
                  </a:lnTo>
                  <a:lnTo>
                    <a:pt x="1041" y="118"/>
                  </a:lnTo>
                  <a:lnTo>
                    <a:pt x="1041" y="121"/>
                  </a:lnTo>
                  <a:lnTo>
                    <a:pt x="1040" y="123"/>
                  </a:lnTo>
                  <a:lnTo>
                    <a:pt x="1040" y="125"/>
                  </a:lnTo>
                  <a:lnTo>
                    <a:pt x="1036" y="131"/>
                  </a:lnTo>
                  <a:lnTo>
                    <a:pt x="1033" y="135"/>
                  </a:lnTo>
                  <a:lnTo>
                    <a:pt x="1030" y="141"/>
                  </a:lnTo>
                  <a:lnTo>
                    <a:pt x="1030" y="142"/>
                  </a:lnTo>
                  <a:lnTo>
                    <a:pt x="1033" y="142"/>
                  </a:lnTo>
                  <a:lnTo>
                    <a:pt x="1037" y="136"/>
                  </a:lnTo>
                  <a:lnTo>
                    <a:pt x="1040" y="129"/>
                  </a:lnTo>
                  <a:lnTo>
                    <a:pt x="1043" y="126"/>
                  </a:lnTo>
                  <a:lnTo>
                    <a:pt x="1044" y="125"/>
                  </a:lnTo>
                  <a:lnTo>
                    <a:pt x="1044" y="126"/>
                  </a:lnTo>
                  <a:lnTo>
                    <a:pt x="1043" y="129"/>
                  </a:lnTo>
                  <a:lnTo>
                    <a:pt x="1040" y="133"/>
                  </a:lnTo>
                  <a:lnTo>
                    <a:pt x="1038" y="138"/>
                  </a:lnTo>
                  <a:lnTo>
                    <a:pt x="1037" y="141"/>
                  </a:lnTo>
                  <a:lnTo>
                    <a:pt x="1036" y="143"/>
                  </a:lnTo>
                  <a:lnTo>
                    <a:pt x="1033" y="146"/>
                  </a:lnTo>
                  <a:lnTo>
                    <a:pt x="1031" y="149"/>
                  </a:lnTo>
                  <a:lnTo>
                    <a:pt x="1028" y="155"/>
                  </a:lnTo>
                  <a:lnTo>
                    <a:pt x="1026" y="161"/>
                  </a:lnTo>
                  <a:lnTo>
                    <a:pt x="1024" y="162"/>
                  </a:lnTo>
                  <a:lnTo>
                    <a:pt x="1023" y="162"/>
                  </a:lnTo>
                  <a:lnTo>
                    <a:pt x="1026" y="155"/>
                  </a:lnTo>
                  <a:lnTo>
                    <a:pt x="1028" y="148"/>
                  </a:lnTo>
                  <a:lnTo>
                    <a:pt x="1028" y="146"/>
                  </a:lnTo>
                  <a:lnTo>
                    <a:pt x="1027" y="146"/>
                  </a:lnTo>
                  <a:lnTo>
                    <a:pt x="1024" y="152"/>
                  </a:lnTo>
                  <a:lnTo>
                    <a:pt x="1018" y="162"/>
                  </a:lnTo>
                  <a:lnTo>
                    <a:pt x="1016" y="171"/>
                  </a:lnTo>
                  <a:lnTo>
                    <a:pt x="1013" y="178"/>
                  </a:lnTo>
                  <a:lnTo>
                    <a:pt x="1014" y="182"/>
                  </a:lnTo>
                  <a:lnTo>
                    <a:pt x="1017" y="182"/>
                  </a:lnTo>
                  <a:lnTo>
                    <a:pt x="1020" y="178"/>
                  </a:lnTo>
                  <a:lnTo>
                    <a:pt x="1021" y="172"/>
                  </a:lnTo>
                  <a:lnTo>
                    <a:pt x="1024" y="168"/>
                  </a:lnTo>
                  <a:lnTo>
                    <a:pt x="1027" y="166"/>
                  </a:lnTo>
                  <a:lnTo>
                    <a:pt x="1030" y="159"/>
                  </a:lnTo>
                  <a:lnTo>
                    <a:pt x="1033" y="152"/>
                  </a:lnTo>
                  <a:lnTo>
                    <a:pt x="1033" y="151"/>
                  </a:lnTo>
                  <a:lnTo>
                    <a:pt x="1037" y="146"/>
                  </a:lnTo>
                  <a:lnTo>
                    <a:pt x="1040" y="146"/>
                  </a:lnTo>
                  <a:lnTo>
                    <a:pt x="1043" y="146"/>
                  </a:lnTo>
                  <a:lnTo>
                    <a:pt x="1044" y="149"/>
                  </a:lnTo>
                  <a:lnTo>
                    <a:pt x="1046" y="153"/>
                  </a:lnTo>
                  <a:lnTo>
                    <a:pt x="1044" y="155"/>
                  </a:lnTo>
                  <a:lnTo>
                    <a:pt x="1043" y="158"/>
                  </a:lnTo>
                  <a:lnTo>
                    <a:pt x="1041" y="159"/>
                  </a:lnTo>
                  <a:lnTo>
                    <a:pt x="1043" y="163"/>
                  </a:lnTo>
                  <a:lnTo>
                    <a:pt x="1043" y="165"/>
                  </a:lnTo>
                  <a:lnTo>
                    <a:pt x="1041" y="171"/>
                  </a:lnTo>
                  <a:lnTo>
                    <a:pt x="1038" y="175"/>
                  </a:lnTo>
                  <a:lnTo>
                    <a:pt x="1038" y="178"/>
                  </a:lnTo>
                  <a:lnTo>
                    <a:pt x="1036" y="182"/>
                  </a:lnTo>
                  <a:lnTo>
                    <a:pt x="1033" y="184"/>
                  </a:lnTo>
                  <a:lnTo>
                    <a:pt x="1030" y="185"/>
                  </a:lnTo>
                  <a:lnTo>
                    <a:pt x="1024" y="184"/>
                  </a:lnTo>
                  <a:lnTo>
                    <a:pt x="1023" y="184"/>
                  </a:lnTo>
                  <a:lnTo>
                    <a:pt x="1023" y="185"/>
                  </a:lnTo>
                  <a:lnTo>
                    <a:pt x="1023" y="189"/>
                  </a:lnTo>
                  <a:lnTo>
                    <a:pt x="1026" y="191"/>
                  </a:lnTo>
                  <a:lnTo>
                    <a:pt x="1028" y="192"/>
                  </a:lnTo>
                  <a:lnTo>
                    <a:pt x="1033" y="195"/>
                  </a:lnTo>
                  <a:lnTo>
                    <a:pt x="1033" y="198"/>
                  </a:lnTo>
                  <a:lnTo>
                    <a:pt x="1034" y="199"/>
                  </a:lnTo>
                  <a:lnTo>
                    <a:pt x="1034" y="195"/>
                  </a:lnTo>
                  <a:lnTo>
                    <a:pt x="1034" y="195"/>
                  </a:lnTo>
                  <a:lnTo>
                    <a:pt x="1037" y="195"/>
                  </a:lnTo>
                  <a:lnTo>
                    <a:pt x="1041" y="194"/>
                  </a:lnTo>
                  <a:lnTo>
                    <a:pt x="1043" y="192"/>
                  </a:lnTo>
                  <a:lnTo>
                    <a:pt x="1044" y="192"/>
                  </a:lnTo>
                  <a:lnTo>
                    <a:pt x="1046" y="196"/>
                  </a:lnTo>
                  <a:lnTo>
                    <a:pt x="1046" y="196"/>
                  </a:lnTo>
                  <a:lnTo>
                    <a:pt x="1046" y="198"/>
                  </a:lnTo>
                  <a:lnTo>
                    <a:pt x="1046" y="202"/>
                  </a:lnTo>
                  <a:lnTo>
                    <a:pt x="1044" y="208"/>
                  </a:lnTo>
                  <a:lnTo>
                    <a:pt x="1041" y="208"/>
                  </a:lnTo>
                  <a:lnTo>
                    <a:pt x="1040" y="208"/>
                  </a:lnTo>
                  <a:lnTo>
                    <a:pt x="1038" y="204"/>
                  </a:lnTo>
                  <a:lnTo>
                    <a:pt x="1036" y="202"/>
                  </a:lnTo>
                  <a:lnTo>
                    <a:pt x="1033" y="204"/>
                  </a:lnTo>
                  <a:lnTo>
                    <a:pt x="1030" y="201"/>
                  </a:lnTo>
                  <a:lnTo>
                    <a:pt x="1023" y="202"/>
                  </a:lnTo>
                  <a:lnTo>
                    <a:pt x="1021" y="198"/>
                  </a:lnTo>
                  <a:lnTo>
                    <a:pt x="1021" y="192"/>
                  </a:lnTo>
                  <a:lnTo>
                    <a:pt x="1021" y="191"/>
                  </a:lnTo>
                  <a:lnTo>
                    <a:pt x="1018" y="189"/>
                  </a:lnTo>
                  <a:lnTo>
                    <a:pt x="1017" y="192"/>
                  </a:lnTo>
                  <a:lnTo>
                    <a:pt x="1014" y="196"/>
                  </a:lnTo>
                  <a:lnTo>
                    <a:pt x="1010" y="198"/>
                  </a:lnTo>
                  <a:lnTo>
                    <a:pt x="1008" y="198"/>
                  </a:lnTo>
                  <a:lnTo>
                    <a:pt x="1010" y="195"/>
                  </a:lnTo>
                  <a:lnTo>
                    <a:pt x="1013" y="191"/>
                  </a:lnTo>
                  <a:lnTo>
                    <a:pt x="1013" y="188"/>
                  </a:lnTo>
                  <a:lnTo>
                    <a:pt x="1013" y="185"/>
                  </a:lnTo>
                  <a:lnTo>
                    <a:pt x="1011" y="185"/>
                  </a:lnTo>
                  <a:lnTo>
                    <a:pt x="1007" y="189"/>
                  </a:lnTo>
                  <a:lnTo>
                    <a:pt x="1004" y="198"/>
                  </a:lnTo>
                  <a:lnTo>
                    <a:pt x="1004" y="201"/>
                  </a:lnTo>
                  <a:lnTo>
                    <a:pt x="1004" y="202"/>
                  </a:lnTo>
                  <a:lnTo>
                    <a:pt x="1005" y="204"/>
                  </a:lnTo>
                  <a:lnTo>
                    <a:pt x="1008" y="205"/>
                  </a:lnTo>
                  <a:lnTo>
                    <a:pt x="1010" y="209"/>
                  </a:lnTo>
                  <a:lnTo>
                    <a:pt x="1007" y="211"/>
                  </a:lnTo>
                  <a:lnTo>
                    <a:pt x="1004" y="209"/>
                  </a:lnTo>
                  <a:lnTo>
                    <a:pt x="1004" y="208"/>
                  </a:lnTo>
                  <a:lnTo>
                    <a:pt x="1003" y="206"/>
                  </a:lnTo>
                  <a:lnTo>
                    <a:pt x="1000" y="211"/>
                  </a:lnTo>
                  <a:lnTo>
                    <a:pt x="995" y="212"/>
                  </a:lnTo>
                  <a:lnTo>
                    <a:pt x="995" y="215"/>
                  </a:lnTo>
                  <a:lnTo>
                    <a:pt x="997" y="219"/>
                  </a:lnTo>
                  <a:lnTo>
                    <a:pt x="998" y="228"/>
                  </a:lnTo>
                  <a:lnTo>
                    <a:pt x="995" y="234"/>
                  </a:lnTo>
                  <a:lnTo>
                    <a:pt x="991" y="238"/>
                  </a:lnTo>
                  <a:lnTo>
                    <a:pt x="991" y="244"/>
                  </a:lnTo>
                  <a:lnTo>
                    <a:pt x="985" y="252"/>
                  </a:lnTo>
                  <a:lnTo>
                    <a:pt x="984" y="262"/>
                  </a:lnTo>
                  <a:lnTo>
                    <a:pt x="984" y="271"/>
                  </a:lnTo>
                  <a:lnTo>
                    <a:pt x="987" y="275"/>
                  </a:lnTo>
                  <a:lnTo>
                    <a:pt x="990" y="275"/>
                  </a:lnTo>
                  <a:lnTo>
                    <a:pt x="990" y="272"/>
                  </a:lnTo>
                  <a:lnTo>
                    <a:pt x="990" y="269"/>
                  </a:lnTo>
                  <a:lnTo>
                    <a:pt x="988" y="264"/>
                  </a:lnTo>
                  <a:lnTo>
                    <a:pt x="990" y="251"/>
                  </a:lnTo>
                  <a:lnTo>
                    <a:pt x="991" y="249"/>
                  </a:lnTo>
                  <a:lnTo>
                    <a:pt x="991" y="254"/>
                  </a:lnTo>
                  <a:lnTo>
                    <a:pt x="991" y="259"/>
                  </a:lnTo>
                  <a:lnTo>
                    <a:pt x="991" y="264"/>
                  </a:lnTo>
                  <a:lnTo>
                    <a:pt x="993" y="269"/>
                  </a:lnTo>
                  <a:lnTo>
                    <a:pt x="994" y="272"/>
                  </a:lnTo>
                  <a:lnTo>
                    <a:pt x="994" y="271"/>
                  </a:lnTo>
                  <a:lnTo>
                    <a:pt x="994" y="262"/>
                  </a:lnTo>
                  <a:lnTo>
                    <a:pt x="994" y="257"/>
                  </a:lnTo>
                  <a:lnTo>
                    <a:pt x="994" y="252"/>
                  </a:lnTo>
                  <a:lnTo>
                    <a:pt x="994" y="248"/>
                  </a:lnTo>
                  <a:lnTo>
                    <a:pt x="995" y="248"/>
                  </a:lnTo>
                  <a:lnTo>
                    <a:pt x="997" y="255"/>
                  </a:lnTo>
                  <a:lnTo>
                    <a:pt x="1000" y="251"/>
                  </a:lnTo>
                  <a:lnTo>
                    <a:pt x="1001" y="251"/>
                  </a:lnTo>
                  <a:lnTo>
                    <a:pt x="1003" y="251"/>
                  </a:lnTo>
                  <a:lnTo>
                    <a:pt x="1004" y="255"/>
                  </a:lnTo>
                  <a:lnTo>
                    <a:pt x="1007" y="258"/>
                  </a:lnTo>
                  <a:lnTo>
                    <a:pt x="1008" y="257"/>
                  </a:lnTo>
                  <a:lnTo>
                    <a:pt x="1007" y="252"/>
                  </a:lnTo>
                  <a:lnTo>
                    <a:pt x="1007" y="245"/>
                  </a:lnTo>
                  <a:lnTo>
                    <a:pt x="1008" y="245"/>
                  </a:lnTo>
                  <a:lnTo>
                    <a:pt x="1016" y="245"/>
                  </a:lnTo>
                  <a:lnTo>
                    <a:pt x="1020" y="245"/>
                  </a:lnTo>
                  <a:lnTo>
                    <a:pt x="1026" y="244"/>
                  </a:lnTo>
                  <a:lnTo>
                    <a:pt x="1030" y="245"/>
                  </a:lnTo>
                  <a:lnTo>
                    <a:pt x="1040" y="248"/>
                  </a:lnTo>
                  <a:lnTo>
                    <a:pt x="1051" y="251"/>
                  </a:lnTo>
                  <a:lnTo>
                    <a:pt x="1060" y="252"/>
                  </a:lnTo>
                  <a:lnTo>
                    <a:pt x="1063" y="258"/>
                  </a:lnTo>
                  <a:lnTo>
                    <a:pt x="1064" y="264"/>
                  </a:lnTo>
                  <a:lnTo>
                    <a:pt x="1066" y="272"/>
                  </a:lnTo>
                  <a:lnTo>
                    <a:pt x="1069" y="277"/>
                  </a:lnTo>
                  <a:lnTo>
                    <a:pt x="1073" y="278"/>
                  </a:lnTo>
                  <a:lnTo>
                    <a:pt x="1077" y="279"/>
                  </a:lnTo>
                  <a:lnTo>
                    <a:pt x="1081" y="279"/>
                  </a:lnTo>
                  <a:lnTo>
                    <a:pt x="1081" y="278"/>
                  </a:lnTo>
                  <a:lnTo>
                    <a:pt x="1080" y="277"/>
                  </a:lnTo>
                  <a:lnTo>
                    <a:pt x="1077" y="275"/>
                  </a:lnTo>
                  <a:lnTo>
                    <a:pt x="1074" y="274"/>
                  </a:lnTo>
                  <a:lnTo>
                    <a:pt x="1074" y="271"/>
                  </a:lnTo>
                  <a:lnTo>
                    <a:pt x="1076" y="269"/>
                  </a:lnTo>
                  <a:lnTo>
                    <a:pt x="1079" y="269"/>
                  </a:lnTo>
                  <a:lnTo>
                    <a:pt x="1079" y="267"/>
                  </a:lnTo>
                  <a:lnTo>
                    <a:pt x="1079" y="265"/>
                  </a:lnTo>
                  <a:lnTo>
                    <a:pt x="1079" y="262"/>
                  </a:lnTo>
                  <a:lnTo>
                    <a:pt x="1081" y="258"/>
                  </a:lnTo>
                  <a:lnTo>
                    <a:pt x="1084" y="254"/>
                  </a:lnTo>
                  <a:lnTo>
                    <a:pt x="1086" y="251"/>
                  </a:lnTo>
                  <a:lnTo>
                    <a:pt x="1087" y="251"/>
                  </a:lnTo>
                  <a:lnTo>
                    <a:pt x="1093" y="251"/>
                  </a:lnTo>
                  <a:lnTo>
                    <a:pt x="1096" y="249"/>
                  </a:lnTo>
                  <a:lnTo>
                    <a:pt x="1100" y="247"/>
                  </a:lnTo>
                  <a:lnTo>
                    <a:pt x="1107" y="248"/>
                  </a:lnTo>
                  <a:lnTo>
                    <a:pt x="1110" y="251"/>
                  </a:lnTo>
                  <a:lnTo>
                    <a:pt x="1111" y="259"/>
                  </a:lnTo>
                  <a:lnTo>
                    <a:pt x="1113" y="261"/>
                  </a:lnTo>
                  <a:lnTo>
                    <a:pt x="1117" y="261"/>
                  </a:lnTo>
                  <a:lnTo>
                    <a:pt x="1120" y="262"/>
                  </a:lnTo>
                  <a:lnTo>
                    <a:pt x="1123" y="267"/>
                  </a:lnTo>
                  <a:lnTo>
                    <a:pt x="1126" y="269"/>
                  </a:lnTo>
                  <a:lnTo>
                    <a:pt x="1126" y="271"/>
                  </a:lnTo>
                  <a:lnTo>
                    <a:pt x="1123" y="272"/>
                  </a:lnTo>
                  <a:lnTo>
                    <a:pt x="1123" y="274"/>
                  </a:lnTo>
                  <a:lnTo>
                    <a:pt x="1116" y="274"/>
                  </a:lnTo>
                  <a:lnTo>
                    <a:pt x="1113" y="274"/>
                  </a:lnTo>
                  <a:lnTo>
                    <a:pt x="1110" y="271"/>
                  </a:lnTo>
                  <a:lnTo>
                    <a:pt x="1111" y="267"/>
                  </a:lnTo>
                  <a:lnTo>
                    <a:pt x="1110" y="265"/>
                  </a:lnTo>
                  <a:lnTo>
                    <a:pt x="1109" y="265"/>
                  </a:lnTo>
                  <a:lnTo>
                    <a:pt x="1101" y="265"/>
                  </a:lnTo>
                  <a:lnTo>
                    <a:pt x="1100" y="264"/>
                  </a:lnTo>
                  <a:lnTo>
                    <a:pt x="1096" y="262"/>
                  </a:lnTo>
                  <a:lnTo>
                    <a:pt x="1093" y="262"/>
                  </a:lnTo>
                  <a:lnTo>
                    <a:pt x="1090" y="265"/>
                  </a:lnTo>
                  <a:lnTo>
                    <a:pt x="1090" y="268"/>
                  </a:lnTo>
                  <a:lnTo>
                    <a:pt x="1089" y="272"/>
                  </a:lnTo>
                  <a:lnTo>
                    <a:pt x="1089" y="278"/>
                  </a:lnTo>
                  <a:lnTo>
                    <a:pt x="1090" y="277"/>
                  </a:lnTo>
                  <a:lnTo>
                    <a:pt x="1097" y="275"/>
                  </a:lnTo>
                  <a:lnTo>
                    <a:pt x="1100" y="279"/>
                  </a:lnTo>
                  <a:lnTo>
                    <a:pt x="1103" y="285"/>
                  </a:lnTo>
                  <a:lnTo>
                    <a:pt x="1104" y="291"/>
                  </a:lnTo>
                  <a:lnTo>
                    <a:pt x="1106" y="291"/>
                  </a:lnTo>
                  <a:lnTo>
                    <a:pt x="1110" y="290"/>
                  </a:lnTo>
                  <a:lnTo>
                    <a:pt x="1114" y="292"/>
                  </a:lnTo>
                  <a:lnTo>
                    <a:pt x="1116" y="297"/>
                  </a:lnTo>
                  <a:lnTo>
                    <a:pt x="1113" y="298"/>
                  </a:lnTo>
                  <a:lnTo>
                    <a:pt x="1109" y="298"/>
                  </a:lnTo>
                  <a:lnTo>
                    <a:pt x="1106" y="298"/>
                  </a:lnTo>
                  <a:lnTo>
                    <a:pt x="1104" y="297"/>
                  </a:lnTo>
                  <a:lnTo>
                    <a:pt x="1104" y="294"/>
                  </a:lnTo>
                  <a:lnTo>
                    <a:pt x="1103" y="294"/>
                  </a:lnTo>
                  <a:lnTo>
                    <a:pt x="1096" y="295"/>
                  </a:lnTo>
                  <a:lnTo>
                    <a:pt x="1093" y="294"/>
                  </a:lnTo>
                  <a:lnTo>
                    <a:pt x="1089" y="294"/>
                  </a:lnTo>
                  <a:lnTo>
                    <a:pt x="1086" y="292"/>
                  </a:lnTo>
                  <a:lnTo>
                    <a:pt x="1083" y="292"/>
                  </a:lnTo>
                  <a:lnTo>
                    <a:pt x="1089" y="288"/>
                  </a:lnTo>
                  <a:lnTo>
                    <a:pt x="1090" y="285"/>
                  </a:lnTo>
                  <a:lnTo>
                    <a:pt x="1087" y="284"/>
                  </a:lnTo>
                  <a:lnTo>
                    <a:pt x="1084" y="285"/>
                  </a:lnTo>
                  <a:lnTo>
                    <a:pt x="1083" y="287"/>
                  </a:lnTo>
                  <a:lnTo>
                    <a:pt x="1079" y="287"/>
                  </a:lnTo>
                  <a:lnTo>
                    <a:pt x="1076" y="287"/>
                  </a:lnTo>
                  <a:lnTo>
                    <a:pt x="1071" y="288"/>
                  </a:lnTo>
                  <a:lnTo>
                    <a:pt x="1067" y="291"/>
                  </a:lnTo>
                  <a:lnTo>
                    <a:pt x="1064" y="294"/>
                  </a:lnTo>
                  <a:lnTo>
                    <a:pt x="1063" y="297"/>
                  </a:lnTo>
                  <a:lnTo>
                    <a:pt x="1060" y="300"/>
                  </a:lnTo>
                  <a:lnTo>
                    <a:pt x="1057" y="301"/>
                  </a:lnTo>
                  <a:lnTo>
                    <a:pt x="1057" y="304"/>
                  </a:lnTo>
                  <a:lnTo>
                    <a:pt x="1058" y="307"/>
                  </a:lnTo>
                  <a:lnTo>
                    <a:pt x="1057" y="307"/>
                  </a:lnTo>
                  <a:lnTo>
                    <a:pt x="1053" y="308"/>
                  </a:lnTo>
                  <a:lnTo>
                    <a:pt x="1053" y="311"/>
                  </a:lnTo>
                  <a:lnTo>
                    <a:pt x="1051" y="311"/>
                  </a:lnTo>
                  <a:lnTo>
                    <a:pt x="1047" y="311"/>
                  </a:lnTo>
                  <a:lnTo>
                    <a:pt x="1044" y="315"/>
                  </a:lnTo>
                  <a:lnTo>
                    <a:pt x="1041" y="317"/>
                  </a:lnTo>
                  <a:lnTo>
                    <a:pt x="1043" y="314"/>
                  </a:lnTo>
                  <a:lnTo>
                    <a:pt x="1043" y="311"/>
                  </a:lnTo>
                  <a:lnTo>
                    <a:pt x="1041" y="308"/>
                  </a:lnTo>
                  <a:lnTo>
                    <a:pt x="1038" y="308"/>
                  </a:lnTo>
                  <a:lnTo>
                    <a:pt x="1038" y="305"/>
                  </a:lnTo>
                  <a:lnTo>
                    <a:pt x="1036" y="302"/>
                  </a:lnTo>
                  <a:lnTo>
                    <a:pt x="1033" y="300"/>
                  </a:lnTo>
                  <a:lnTo>
                    <a:pt x="1033" y="298"/>
                  </a:lnTo>
                  <a:lnTo>
                    <a:pt x="1037" y="297"/>
                  </a:lnTo>
                  <a:lnTo>
                    <a:pt x="1041" y="297"/>
                  </a:lnTo>
                  <a:lnTo>
                    <a:pt x="1041" y="295"/>
                  </a:lnTo>
                  <a:lnTo>
                    <a:pt x="1031" y="294"/>
                  </a:lnTo>
                  <a:lnTo>
                    <a:pt x="1023" y="292"/>
                  </a:lnTo>
                  <a:lnTo>
                    <a:pt x="1017" y="291"/>
                  </a:lnTo>
                  <a:lnTo>
                    <a:pt x="1011" y="291"/>
                  </a:lnTo>
                  <a:lnTo>
                    <a:pt x="1007" y="290"/>
                  </a:lnTo>
                  <a:lnTo>
                    <a:pt x="1007" y="287"/>
                  </a:lnTo>
                  <a:lnTo>
                    <a:pt x="1005" y="285"/>
                  </a:lnTo>
                  <a:lnTo>
                    <a:pt x="1004" y="288"/>
                  </a:lnTo>
                  <a:lnTo>
                    <a:pt x="1001" y="290"/>
                  </a:lnTo>
                  <a:lnTo>
                    <a:pt x="998" y="291"/>
                  </a:lnTo>
                  <a:lnTo>
                    <a:pt x="994" y="292"/>
                  </a:lnTo>
                  <a:lnTo>
                    <a:pt x="991" y="292"/>
                  </a:lnTo>
                  <a:lnTo>
                    <a:pt x="988" y="291"/>
                  </a:lnTo>
                  <a:lnTo>
                    <a:pt x="985" y="292"/>
                  </a:lnTo>
                  <a:lnTo>
                    <a:pt x="975" y="291"/>
                  </a:lnTo>
                  <a:lnTo>
                    <a:pt x="973" y="287"/>
                  </a:lnTo>
                  <a:lnTo>
                    <a:pt x="970" y="285"/>
                  </a:lnTo>
                  <a:lnTo>
                    <a:pt x="965" y="285"/>
                  </a:lnTo>
                  <a:lnTo>
                    <a:pt x="955" y="284"/>
                  </a:lnTo>
                  <a:lnTo>
                    <a:pt x="947" y="279"/>
                  </a:lnTo>
                  <a:lnTo>
                    <a:pt x="944" y="277"/>
                  </a:lnTo>
                  <a:lnTo>
                    <a:pt x="945" y="274"/>
                  </a:lnTo>
                  <a:lnTo>
                    <a:pt x="947" y="272"/>
                  </a:lnTo>
                  <a:lnTo>
                    <a:pt x="950" y="272"/>
                  </a:lnTo>
                  <a:lnTo>
                    <a:pt x="950" y="269"/>
                  </a:lnTo>
                  <a:lnTo>
                    <a:pt x="948" y="269"/>
                  </a:lnTo>
                  <a:lnTo>
                    <a:pt x="942" y="271"/>
                  </a:lnTo>
                  <a:lnTo>
                    <a:pt x="938" y="272"/>
                  </a:lnTo>
                  <a:lnTo>
                    <a:pt x="937" y="274"/>
                  </a:lnTo>
                  <a:lnTo>
                    <a:pt x="932" y="274"/>
                  </a:lnTo>
                  <a:lnTo>
                    <a:pt x="931" y="274"/>
                  </a:lnTo>
                  <a:lnTo>
                    <a:pt x="931" y="277"/>
                  </a:lnTo>
                  <a:lnTo>
                    <a:pt x="928" y="278"/>
                  </a:lnTo>
                  <a:lnTo>
                    <a:pt x="925" y="278"/>
                  </a:lnTo>
                  <a:lnTo>
                    <a:pt x="925" y="275"/>
                  </a:lnTo>
                  <a:lnTo>
                    <a:pt x="927" y="274"/>
                  </a:lnTo>
                  <a:lnTo>
                    <a:pt x="922" y="274"/>
                  </a:lnTo>
                  <a:lnTo>
                    <a:pt x="920" y="275"/>
                  </a:lnTo>
                  <a:lnTo>
                    <a:pt x="918" y="278"/>
                  </a:lnTo>
                  <a:lnTo>
                    <a:pt x="917" y="279"/>
                  </a:lnTo>
                  <a:lnTo>
                    <a:pt x="915" y="281"/>
                  </a:lnTo>
                  <a:lnTo>
                    <a:pt x="918" y="281"/>
                  </a:lnTo>
                  <a:lnTo>
                    <a:pt x="922" y="279"/>
                  </a:lnTo>
                  <a:lnTo>
                    <a:pt x="927" y="281"/>
                  </a:lnTo>
                  <a:lnTo>
                    <a:pt x="931" y="285"/>
                  </a:lnTo>
                  <a:lnTo>
                    <a:pt x="934" y="290"/>
                  </a:lnTo>
                  <a:lnTo>
                    <a:pt x="934" y="291"/>
                  </a:lnTo>
                  <a:lnTo>
                    <a:pt x="934" y="298"/>
                  </a:lnTo>
                  <a:lnTo>
                    <a:pt x="931" y="305"/>
                  </a:lnTo>
                  <a:lnTo>
                    <a:pt x="931" y="308"/>
                  </a:lnTo>
                  <a:lnTo>
                    <a:pt x="930" y="307"/>
                  </a:lnTo>
                  <a:lnTo>
                    <a:pt x="928" y="304"/>
                  </a:lnTo>
                  <a:lnTo>
                    <a:pt x="925" y="297"/>
                  </a:lnTo>
                  <a:lnTo>
                    <a:pt x="924" y="295"/>
                  </a:lnTo>
                  <a:lnTo>
                    <a:pt x="921" y="294"/>
                  </a:lnTo>
                  <a:lnTo>
                    <a:pt x="920" y="292"/>
                  </a:lnTo>
                  <a:lnTo>
                    <a:pt x="920" y="290"/>
                  </a:lnTo>
                  <a:lnTo>
                    <a:pt x="917" y="290"/>
                  </a:lnTo>
                  <a:lnTo>
                    <a:pt x="910" y="290"/>
                  </a:lnTo>
                  <a:lnTo>
                    <a:pt x="907" y="290"/>
                  </a:lnTo>
                  <a:lnTo>
                    <a:pt x="910" y="287"/>
                  </a:lnTo>
                  <a:lnTo>
                    <a:pt x="914" y="282"/>
                  </a:lnTo>
                  <a:lnTo>
                    <a:pt x="911" y="282"/>
                  </a:lnTo>
                  <a:lnTo>
                    <a:pt x="901" y="287"/>
                  </a:lnTo>
                  <a:lnTo>
                    <a:pt x="895" y="288"/>
                  </a:lnTo>
                  <a:lnTo>
                    <a:pt x="888" y="291"/>
                  </a:lnTo>
                  <a:lnTo>
                    <a:pt x="884" y="290"/>
                  </a:lnTo>
                  <a:lnTo>
                    <a:pt x="882" y="287"/>
                  </a:lnTo>
                  <a:lnTo>
                    <a:pt x="879" y="287"/>
                  </a:lnTo>
                  <a:lnTo>
                    <a:pt x="877" y="288"/>
                  </a:lnTo>
                  <a:lnTo>
                    <a:pt x="867" y="297"/>
                  </a:lnTo>
                  <a:lnTo>
                    <a:pt x="855" y="304"/>
                  </a:lnTo>
                  <a:lnTo>
                    <a:pt x="851" y="307"/>
                  </a:lnTo>
                  <a:lnTo>
                    <a:pt x="849" y="311"/>
                  </a:lnTo>
                  <a:lnTo>
                    <a:pt x="849" y="312"/>
                  </a:lnTo>
                  <a:lnTo>
                    <a:pt x="852" y="311"/>
                  </a:lnTo>
                  <a:lnTo>
                    <a:pt x="854" y="312"/>
                  </a:lnTo>
                  <a:lnTo>
                    <a:pt x="854" y="317"/>
                  </a:lnTo>
                  <a:lnTo>
                    <a:pt x="857" y="320"/>
                  </a:lnTo>
                  <a:lnTo>
                    <a:pt x="857" y="324"/>
                  </a:lnTo>
                  <a:lnTo>
                    <a:pt x="857" y="327"/>
                  </a:lnTo>
                  <a:lnTo>
                    <a:pt x="859" y="328"/>
                  </a:lnTo>
                  <a:lnTo>
                    <a:pt x="862" y="321"/>
                  </a:lnTo>
                  <a:lnTo>
                    <a:pt x="864" y="320"/>
                  </a:lnTo>
                  <a:lnTo>
                    <a:pt x="868" y="320"/>
                  </a:lnTo>
                  <a:lnTo>
                    <a:pt x="869" y="324"/>
                  </a:lnTo>
                  <a:lnTo>
                    <a:pt x="874" y="324"/>
                  </a:lnTo>
                  <a:lnTo>
                    <a:pt x="874" y="321"/>
                  </a:lnTo>
                  <a:lnTo>
                    <a:pt x="871" y="318"/>
                  </a:lnTo>
                  <a:lnTo>
                    <a:pt x="874" y="315"/>
                  </a:lnTo>
                  <a:lnTo>
                    <a:pt x="878" y="314"/>
                  </a:lnTo>
                  <a:lnTo>
                    <a:pt x="882" y="312"/>
                  </a:lnTo>
                  <a:lnTo>
                    <a:pt x="887" y="315"/>
                  </a:lnTo>
                  <a:lnTo>
                    <a:pt x="888" y="312"/>
                  </a:lnTo>
                  <a:lnTo>
                    <a:pt x="891" y="310"/>
                  </a:lnTo>
                  <a:lnTo>
                    <a:pt x="892" y="312"/>
                  </a:lnTo>
                  <a:lnTo>
                    <a:pt x="894" y="312"/>
                  </a:lnTo>
                  <a:lnTo>
                    <a:pt x="895" y="312"/>
                  </a:lnTo>
                  <a:lnTo>
                    <a:pt x="895" y="307"/>
                  </a:lnTo>
                  <a:lnTo>
                    <a:pt x="895" y="305"/>
                  </a:lnTo>
                  <a:lnTo>
                    <a:pt x="898" y="305"/>
                  </a:lnTo>
                  <a:lnTo>
                    <a:pt x="900" y="305"/>
                  </a:lnTo>
                  <a:lnTo>
                    <a:pt x="901" y="308"/>
                  </a:lnTo>
                  <a:lnTo>
                    <a:pt x="898" y="311"/>
                  </a:lnTo>
                  <a:lnTo>
                    <a:pt x="897" y="315"/>
                  </a:lnTo>
                  <a:lnTo>
                    <a:pt x="892" y="315"/>
                  </a:lnTo>
                  <a:lnTo>
                    <a:pt x="888" y="317"/>
                  </a:lnTo>
                  <a:lnTo>
                    <a:pt x="887" y="318"/>
                  </a:lnTo>
                  <a:lnTo>
                    <a:pt x="882" y="324"/>
                  </a:lnTo>
                  <a:lnTo>
                    <a:pt x="882" y="325"/>
                  </a:lnTo>
                  <a:lnTo>
                    <a:pt x="881" y="328"/>
                  </a:lnTo>
                  <a:lnTo>
                    <a:pt x="879" y="325"/>
                  </a:lnTo>
                  <a:lnTo>
                    <a:pt x="877" y="325"/>
                  </a:lnTo>
                  <a:lnTo>
                    <a:pt x="875" y="328"/>
                  </a:lnTo>
                  <a:lnTo>
                    <a:pt x="874" y="335"/>
                  </a:lnTo>
                  <a:lnTo>
                    <a:pt x="868" y="344"/>
                  </a:lnTo>
                  <a:lnTo>
                    <a:pt x="859" y="347"/>
                  </a:lnTo>
                  <a:lnTo>
                    <a:pt x="859" y="350"/>
                  </a:lnTo>
                  <a:lnTo>
                    <a:pt x="859" y="355"/>
                  </a:lnTo>
                  <a:lnTo>
                    <a:pt x="857" y="360"/>
                  </a:lnTo>
                  <a:lnTo>
                    <a:pt x="851" y="367"/>
                  </a:lnTo>
                  <a:lnTo>
                    <a:pt x="845" y="373"/>
                  </a:lnTo>
                  <a:lnTo>
                    <a:pt x="845" y="370"/>
                  </a:lnTo>
                  <a:lnTo>
                    <a:pt x="847" y="367"/>
                  </a:lnTo>
                  <a:lnTo>
                    <a:pt x="851" y="363"/>
                  </a:lnTo>
                  <a:lnTo>
                    <a:pt x="855" y="358"/>
                  </a:lnTo>
                  <a:lnTo>
                    <a:pt x="855" y="353"/>
                  </a:lnTo>
                  <a:lnTo>
                    <a:pt x="855" y="348"/>
                  </a:lnTo>
                  <a:lnTo>
                    <a:pt x="854" y="345"/>
                  </a:lnTo>
                  <a:lnTo>
                    <a:pt x="852" y="343"/>
                  </a:lnTo>
                  <a:lnTo>
                    <a:pt x="857" y="335"/>
                  </a:lnTo>
                  <a:lnTo>
                    <a:pt x="857" y="330"/>
                  </a:lnTo>
                  <a:lnTo>
                    <a:pt x="854" y="330"/>
                  </a:lnTo>
                  <a:lnTo>
                    <a:pt x="848" y="332"/>
                  </a:lnTo>
                  <a:lnTo>
                    <a:pt x="844" y="327"/>
                  </a:lnTo>
                  <a:lnTo>
                    <a:pt x="841" y="324"/>
                  </a:lnTo>
                  <a:lnTo>
                    <a:pt x="841" y="320"/>
                  </a:lnTo>
                  <a:lnTo>
                    <a:pt x="841" y="315"/>
                  </a:lnTo>
                  <a:lnTo>
                    <a:pt x="839" y="315"/>
                  </a:lnTo>
                  <a:lnTo>
                    <a:pt x="835" y="321"/>
                  </a:lnTo>
                  <a:lnTo>
                    <a:pt x="826" y="328"/>
                  </a:lnTo>
                  <a:lnTo>
                    <a:pt x="812" y="338"/>
                  </a:lnTo>
                  <a:lnTo>
                    <a:pt x="794" y="351"/>
                  </a:lnTo>
                  <a:lnTo>
                    <a:pt x="772" y="364"/>
                  </a:lnTo>
                  <a:lnTo>
                    <a:pt x="768" y="367"/>
                  </a:lnTo>
                  <a:lnTo>
                    <a:pt x="768" y="368"/>
                  </a:lnTo>
                  <a:lnTo>
                    <a:pt x="769" y="368"/>
                  </a:lnTo>
                  <a:lnTo>
                    <a:pt x="772" y="368"/>
                  </a:lnTo>
                  <a:lnTo>
                    <a:pt x="775" y="370"/>
                  </a:lnTo>
                  <a:lnTo>
                    <a:pt x="775" y="373"/>
                  </a:lnTo>
                  <a:lnTo>
                    <a:pt x="775" y="374"/>
                  </a:lnTo>
                  <a:lnTo>
                    <a:pt x="771" y="377"/>
                  </a:lnTo>
                  <a:lnTo>
                    <a:pt x="768" y="378"/>
                  </a:lnTo>
                  <a:lnTo>
                    <a:pt x="766" y="377"/>
                  </a:lnTo>
                  <a:lnTo>
                    <a:pt x="765" y="375"/>
                  </a:lnTo>
                  <a:lnTo>
                    <a:pt x="763" y="377"/>
                  </a:lnTo>
                  <a:lnTo>
                    <a:pt x="761" y="378"/>
                  </a:lnTo>
                  <a:lnTo>
                    <a:pt x="759" y="377"/>
                  </a:lnTo>
                  <a:lnTo>
                    <a:pt x="765" y="373"/>
                  </a:lnTo>
                  <a:lnTo>
                    <a:pt x="766" y="371"/>
                  </a:lnTo>
                  <a:lnTo>
                    <a:pt x="765" y="370"/>
                  </a:lnTo>
                  <a:lnTo>
                    <a:pt x="762" y="370"/>
                  </a:lnTo>
                  <a:lnTo>
                    <a:pt x="761" y="373"/>
                  </a:lnTo>
                  <a:lnTo>
                    <a:pt x="755" y="374"/>
                  </a:lnTo>
                  <a:lnTo>
                    <a:pt x="751" y="377"/>
                  </a:lnTo>
                  <a:lnTo>
                    <a:pt x="748" y="378"/>
                  </a:lnTo>
                  <a:lnTo>
                    <a:pt x="749" y="378"/>
                  </a:lnTo>
                  <a:lnTo>
                    <a:pt x="752" y="380"/>
                  </a:lnTo>
                  <a:lnTo>
                    <a:pt x="752" y="380"/>
                  </a:lnTo>
                  <a:lnTo>
                    <a:pt x="749" y="383"/>
                  </a:lnTo>
                  <a:lnTo>
                    <a:pt x="748" y="384"/>
                  </a:lnTo>
                  <a:lnTo>
                    <a:pt x="752" y="387"/>
                  </a:lnTo>
                  <a:lnTo>
                    <a:pt x="752" y="390"/>
                  </a:lnTo>
                  <a:lnTo>
                    <a:pt x="753" y="393"/>
                  </a:lnTo>
                  <a:lnTo>
                    <a:pt x="756" y="394"/>
                  </a:lnTo>
                  <a:lnTo>
                    <a:pt x="756" y="396"/>
                  </a:lnTo>
                  <a:lnTo>
                    <a:pt x="753" y="396"/>
                  </a:lnTo>
                  <a:lnTo>
                    <a:pt x="752" y="397"/>
                  </a:lnTo>
                  <a:lnTo>
                    <a:pt x="751" y="400"/>
                  </a:lnTo>
                  <a:lnTo>
                    <a:pt x="756" y="401"/>
                  </a:lnTo>
                  <a:lnTo>
                    <a:pt x="762" y="401"/>
                  </a:lnTo>
                  <a:lnTo>
                    <a:pt x="768" y="401"/>
                  </a:lnTo>
                  <a:lnTo>
                    <a:pt x="778" y="400"/>
                  </a:lnTo>
                  <a:lnTo>
                    <a:pt x="785" y="400"/>
                  </a:lnTo>
                  <a:lnTo>
                    <a:pt x="785" y="401"/>
                  </a:lnTo>
                  <a:lnTo>
                    <a:pt x="779" y="401"/>
                  </a:lnTo>
                  <a:lnTo>
                    <a:pt x="766" y="403"/>
                  </a:lnTo>
                  <a:lnTo>
                    <a:pt x="762" y="404"/>
                  </a:lnTo>
                  <a:lnTo>
                    <a:pt x="758" y="404"/>
                  </a:lnTo>
                  <a:lnTo>
                    <a:pt x="753" y="403"/>
                  </a:lnTo>
                  <a:lnTo>
                    <a:pt x="751" y="401"/>
                  </a:lnTo>
                  <a:lnTo>
                    <a:pt x="748" y="400"/>
                  </a:lnTo>
                  <a:lnTo>
                    <a:pt x="745" y="400"/>
                  </a:lnTo>
                  <a:lnTo>
                    <a:pt x="743" y="401"/>
                  </a:lnTo>
                  <a:lnTo>
                    <a:pt x="741" y="401"/>
                  </a:lnTo>
                  <a:lnTo>
                    <a:pt x="741" y="398"/>
                  </a:lnTo>
                  <a:lnTo>
                    <a:pt x="739" y="396"/>
                  </a:lnTo>
                  <a:lnTo>
                    <a:pt x="736" y="394"/>
                  </a:lnTo>
                  <a:lnTo>
                    <a:pt x="733" y="396"/>
                  </a:lnTo>
                  <a:lnTo>
                    <a:pt x="732" y="398"/>
                  </a:lnTo>
                  <a:lnTo>
                    <a:pt x="732" y="401"/>
                  </a:lnTo>
                  <a:lnTo>
                    <a:pt x="733" y="407"/>
                  </a:lnTo>
                  <a:lnTo>
                    <a:pt x="738" y="411"/>
                  </a:lnTo>
                  <a:lnTo>
                    <a:pt x="738" y="416"/>
                  </a:lnTo>
                  <a:lnTo>
                    <a:pt x="736" y="420"/>
                  </a:lnTo>
                  <a:lnTo>
                    <a:pt x="735" y="421"/>
                  </a:lnTo>
                  <a:lnTo>
                    <a:pt x="732" y="418"/>
                  </a:lnTo>
                  <a:lnTo>
                    <a:pt x="729" y="413"/>
                  </a:lnTo>
                  <a:lnTo>
                    <a:pt x="728" y="410"/>
                  </a:lnTo>
                  <a:lnTo>
                    <a:pt x="726" y="408"/>
                  </a:lnTo>
                  <a:lnTo>
                    <a:pt x="722" y="411"/>
                  </a:lnTo>
                  <a:lnTo>
                    <a:pt x="719" y="411"/>
                  </a:lnTo>
                  <a:lnTo>
                    <a:pt x="713" y="410"/>
                  </a:lnTo>
                  <a:lnTo>
                    <a:pt x="710" y="410"/>
                  </a:lnTo>
                  <a:lnTo>
                    <a:pt x="703" y="414"/>
                  </a:lnTo>
                  <a:lnTo>
                    <a:pt x="698" y="418"/>
                  </a:lnTo>
                  <a:lnTo>
                    <a:pt x="695" y="420"/>
                  </a:lnTo>
                  <a:lnTo>
                    <a:pt x="692" y="424"/>
                  </a:lnTo>
                  <a:lnTo>
                    <a:pt x="690" y="426"/>
                  </a:lnTo>
                  <a:lnTo>
                    <a:pt x="689" y="428"/>
                  </a:lnTo>
                  <a:lnTo>
                    <a:pt x="686" y="433"/>
                  </a:lnTo>
                  <a:lnTo>
                    <a:pt x="680" y="437"/>
                  </a:lnTo>
                  <a:lnTo>
                    <a:pt x="678" y="440"/>
                  </a:lnTo>
                  <a:lnTo>
                    <a:pt x="676" y="440"/>
                  </a:lnTo>
                  <a:lnTo>
                    <a:pt x="670" y="438"/>
                  </a:lnTo>
                  <a:lnTo>
                    <a:pt x="666" y="437"/>
                  </a:lnTo>
                  <a:lnTo>
                    <a:pt x="662" y="437"/>
                  </a:lnTo>
                  <a:lnTo>
                    <a:pt x="659" y="436"/>
                  </a:lnTo>
                  <a:lnTo>
                    <a:pt x="660" y="434"/>
                  </a:lnTo>
                  <a:lnTo>
                    <a:pt x="669" y="428"/>
                  </a:lnTo>
                  <a:lnTo>
                    <a:pt x="675" y="428"/>
                  </a:lnTo>
                  <a:lnTo>
                    <a:pt x="675" y="426"/>
                  </a:lnTo>
                  <a:lnTo>
                    <a:pt x="675" y="424"/>
                  </a:lnTo>
                  <a:lnTo>
                    <a:pt x="672" y="424"/>
                  </a:lnTo>
                  <a:lnTo>
                    <a:pt x="662" y="428"/>
                  </a:lnTo>
                  <a:lnTo>
                    <a:pt x="645" y="436"/>
                  </a:lnTo>
                  <a:lnTo>
                    <a:pt x="640" y="437"/>
                  </a:lnTo>
                  <a:lnTo>
                    <a:pt x="640" y="440"/>
                  </a:lnTo>
                  <a:lnTo>
                    <a:pt x="640" y="444"/>
                  </a:lnTo>
                  <a:lnTo>
                    <a:pt x="640" y="446"/>
                  </a:lnTo>
                  <a:lnTo>
                    <a:pt x="637" y="444"/>
                  </a:lnTo>
                  <a:lnTo>
                    <a:pt x="636" y="444"/>
                  </a:lnTo>
                  <a:lnTo>
                    <a:pt x="635" y="446"/>
                  </a:lnTo>
                  <a:lnTo>
                    <a:pt x="632" y="448"/>
                  </a:lnTo>
                  <a:lnTo>
                    <a:pt x="629" y="451"/>
                  </a:lnTo>
                  <a:lnTo>
                    <a:pt x="627" y="453"/>
                  </a:lnTo>
                  <a:lnTo>
                    <a:pt x="626" y="454"/>
                  </a:lnTo>
                  <a:lnTo>
                    <a:pt x="625" y="459"/>
                  </a:lnTo>
                  <a:lnTo>
                    <a:pt x="623" y="460"/>
                  </a:lnTo>
                  <a:lnTo>
                    <a:pt x="620" y="461"/>
                  </a:lnTo>
                  <a:lnTo>
                    <a:pt x="619" y="461"/>
                  </a:lnTo>
                  <a:lnTo>
                    <a:pt x="619" y="459"/>
                  </a:lnTo>
                  <a:lnTo>
                    <a:pt x="623" y="453"/>
                  </a:lnTo>
                  <a:lnTo>
                    <a:pt x="627" y="450"/>
                  </a:lnTo>
                  <a:lnTo>
                    <a:pt x="632" y="446"/>
                  </a:lnTo>
                  <a:lnTo>
                    <a:pt x="632" y="444"/>
                  </a:lnTo>
                  <a:lnTo>
                    <a:pt x="627" y="446"/>
                  </a:lnTo>
                  <a:lnTo>
                    <a:pt x="620" y="453"/>
                  </a:lnTo>
                  <a:lnTo>
                    <a:pt x="612" y="459"/>
                  </a:lnTo>
                  <a:lnTo>
                    <a:pt x="607" y="463"/>
                  </a:lnTo>
                  <a:lnTo>
                    <a:pt x="603" y="471"/>
                  </a:lnTo>
                  <a:lnTo>
                    <a:pt x="596" y="480"/>
                  </a:lnTo>
                  <a:lnTo>
                    <a:pt x="590" y="486"/>
                  </a:lnTo>
                  <a:lnTo>
                    <a:pt x="586" y="491"/>
                  </a:lnTo>
                  <a:lnTo>
                    <a:pt x="580" y="499"/>
                  </a:lnTo>
                  <a:lnTo>
                    <a:pt x="576" y="501"/>
                  </a:lnTo>
                  <a:lnTo>
                    <a:pt x="572" y="501"/>
                  </a:lnTo>
                  <a:lnTo>
                    <a:pt x="566" y="503"/>
                  </a:lnTo>
                  <a:lnTo>
                    <a:pt x="564" y="506"/>
                  </a:lnTo>
                  <a:lnTo>
                    <a:pt x="562" y="506"/>
                  </a:lnTo>
                  <a:lnTo>
                    <a:pt x="559" y="504"/>
                  </a:lnTo>
                  <a:lnTo>
                    <a:pt x="554" y="506"/>
                  </a:lnTo>
                  <a:lnTo>
                    <a:pt x="554" y="503"/>
                  </a:lnTo>
                  <a:lnTo>
                    <a:pt x="557" y="501"/>
                  </a:lnTo>
                  <a:lnTo>
                    <a:pt x="563" y="501"/>
                  </a:lnTo>
                  <a:lnTo>
                    <a:pt x="564" y="500"/>
                  </a:lnTo>
                  <a:lnTo>
                    <a:pt x="567" y="500"/>
                  </a:lnTo>
                  <a:lnTo>
                    <a:pt x="570" y="499"/>
                  </a:lnTo>
                  <a:lnTo>
                    <a:pt x="573" y="496"/>
                  </a:lnTo>
                  <a:lnTo>
                    <a:pt x="579" y="494"/>
                  </a:lnTo>
                  <a:lnTo>
                    <a:pt x="583" y="491"/>
                  </a:lnTo>
                  <a:lnTo>
                    <a:pt x="583" y="489"/>
                  </a:lnTo>
                  <a:lnTo>
                    <a:pt x="583" y="487"/>
                  </a:lnTo>
                  <a:lnTo>
                    <a:pt x="582" y="489"/>
                  </a:lnTo>
                  <a:lnTo>
                    <a:pt x="574" y="491"/>
                  </a:lnTo>
                  <a:lnTo>
                    <a:pt x="564" y="496"/>
                  </a:lnTo>
                  <a:lnTo>
                    <a:pt x="547" y="501"/>
                  </a:lnTo>
                  <a:lnTo>
                    <a:pt x="539" y="503"/>
                  </a:lnTo>
                  <a:lnTo>
                    <a:pt x="531" y="506"/>
                  </a:lnTo>
                  <a:lnTo>
                    <a:pt x="530" y="507"/>
                  </a:lnTo>
                  <a:lnTo>
                    <a:pt x="517" y="510"/>
                  </a:lnTo>
                  <a:lnTo>
                    <a:pt x="510" y="516"/>
                  </a:lnTo>
                  <a:lnTo>
                    <a:pt x="497" y="526"/>
                  </a:lnTo>
                  <a:lnTo>
                    <a:pt x="483" y="539"/>
                  </a:lnTo>
                  <a:lnTo>
                    <a:pt x="473" y="547"/>
                  </a:lnTo>
                  <a:lnTo>
                    <a:pt x="471" y="550"/>
                  </a:lnTo>
                  <a:lnTo>
                    <a:pt x="473" y="550"/>
                  </a:lnTo>
                  <a:lnTo>
                    <a:pt x="477" y="550"/>
                  </a:lnTo>
                  <a:lnTo>
                    <a:pt x="477" y="552"/>
                  </a:lnTo>
                  <a:lnTo>
                    <a:pt x="477" y="554"/>
                  </a:lnTo>
                  <a:lnTo>
                    <a:pt x="474" y="557"/>
                  </a:lnTo>
                  <a:lnTo>
                    <a:pt x="473" y="560"/>
                  </a:lnTo>
                  <a:lnTo>
                    <a:pt x="471" y="563"/>
                  </a:lnTo>
                  <a:lnTo>
                    <a:pt x="467" y="566"/>
                  </a:lnTo>
                  <a:lnTo>
                    <a:pt x="460" y="572"/>
                  </a:lnTo>
                  <a:lnTo>
                    <a:pt x="451" y="579"/>
                  </a:lnTo>
                  <a:lnTo>
                    <a:pt x="440" y="585"/>
                  </a:lnTo>
                  <a:lnTo>
                    <a:pt x="434" y="589"/>
                  </a:lnTo>
                  <a:lnTo>
                    <a:pt x="433" y="593"/>
                  </a:lnTo>
                  <a:lnTo>
                    <a:pt x="428" y="599"/>
                  </a:lnTo>
                  <a:lnTo>
                    <a:pt x="423" y="607"/>
                  </a:lnTo>
                  <a:lnTo>
                    <a:pt x="411" y="617"/>
                  </a:lnTo>
                  <a:lnTo>
                    <a:pt x="398" y="629"/>
                  </a:lnTo>
                  <a:lnTo>
                    <a:pt x="388" y="633"/>
                  </a:lnTo>
                  <a:lnTo>
                    <a:pt x="384" y="636"/>
                  </a:lnTo>
                  <a:lnTo>
                    <a:pt x="384" y="639"/>
                  </a:lnTo>
                  <a:lnTo>
                    <a:pt x="384" y="642"/>
                  </a:lnTo>
                  <a:lnTo>
                    <a:pt x="382" y="643"/>
                  </a:lnTo>
                  <a:lnTo>
                    <a:pt x="380" y="643"/>
                  </a:lnTo>
                  <a:lnTo>
                    <a:pt x="381" y="640"/>
                  </a:lnTo>
                  <a:lnTo>
                    <a:pt x="378" y="638"/>
                  </a:lnTo>
                  <a:lnTo>
                    <a:pt x="372" y="640"/>
                  </a:lnTo>
                  <a:lnTo>
                    <a:pt x="367" y="640"/>
                  </a:lnTo>
                  <a:lnTo>
                    <a:pt x="360" y="642"/>
                  </a:lnTo>
                  <a:lnTo>
                    <a:pt x="360" y="643"/>
                  </a:lnTo>
                  <a:lnTo>
                    <a:pt x="358" y="650"/>
                  </a:lnTo>
                  <a:lnTo>
                    <a:pt x="352" y="658"/>
                  </a:lnTo>
                  <a:lnTo>
                    <a:pt x="350" y="665"/>
                  </a:lnTo>
                  <a:lnTo>
                    <a:pt x="347" y="672"/>
                  </a:lnTo>
                  <a:lnTo>
                    <a:pt x="347" y="676"/>
                  </a:lnTo>
                  <a:lnTo>
                    <a:pt x="348" y="676"/>
                  </a:lnTo>
                  <a:lnTo>
                    <a:pt x="352" y="675"/>
                  </a:lnTo>
                  <a:lnTo>
                    <a:pt x="351" y="679"/>
                  </a:lnTo>
                  <a:lnTo>
                    <a:pt x="350" y="682"/>
                  </a:lnTo>
                  <a:lnTo>
                    <a:pt x="350" y="686"/>
                  </a:lnTo>
                  <a:lnTo>
                    <a:pt x="350" y="689"/>
                  </a:lnTo>
                  <a:lnTo>
                    <a:pt x="348" y="693"/>
                  </a:lnTo>
                  <a:lnTo>
                    <a:pt x="347" y="693"/>
                  </a:lnTo>
                  <a:lnTo>
                    <a:pt x="347" y="691"/>
                  </a:lnTo>
                  <a:lnTo>
                    <a:pt x="347" y="686"/>
                  </a:lnTo>
                  <a:lnTo>
                    <a:pt x="347" y="682"/>
                  </a:lnTo>
                  <a:lnTo>
                    <a:pt x="347" y="681"/>
                  </a:lnTo>
                  <a:lnTo>
                    <a:pt x="342" y="682"/>
                  </a:lnTo>
                  <a:lnTo>
                    <a:pt x="342" y="689"/>
                  </a:lnTo>
                  <a:lnTo>
                    <a:pt x="342" y="695"/>
                  </a:lnTo>
                  <a:lnTo>
                    <a:pt x="341" y="699"/>
                  </a:lnTo>
                  <a:lnTo>
                    <a:pt x="337" y="703"/>
                  </a:lnTo>
                  <a:lnTo>
                    <a:pt x="337" y="709"/>
                  </a:lnTo>
                  <a:lnTo>
                    <a:pt x="335" y="713"/>
                  </a:lnTo>
                  <a:lnTo>
                    <a:pt x="331" y="721"/>
                  </a:lnTo>
                  <a:lnTo>
                    <a:pt x="328" y="728"/>
                  </a:lnTo>
                  <a:lnTo>
                    <a:pt x="327" y="731"/>
                  </a:lnTo>
                  <a:lnTo>
                    <a:pt x="319" y="735"/>
                  </a:lnTo>
                  <a:lnTo>
                    <a:pt x="319" y="739"/>
                  </a:lnTo>
                  <a:lnTo>
                    <a:pt x="315" y="744"/>
                  </a:lnTo>
                  <a:lnTo>
                    <a:pt x="312" y="749"/>
                  </a:lnTo>
                  <a:lnTo>
                    <a:pt x="311" y="752"/>
                  </a:lnTo>
                  <a:lnTo>
                    <a:pt x="311" y="755"/>
                  </a:lnTo>
                  <a:lnTo>
                    <a:pt x="315" y="758"/>
                  </a:lnTo>
                  <a:lnTo>
                    <a:pt x="314" y="758"/>
                  </a:lnTo>
                  <a:lnTo>
                    <a:pt x="311" y="758"/>
                  </a:lnTo>
                  <a:lnTo>
                    <a:pt x="311" y="759"/>
                  </a:lnTo>
                  <a:lnTo>
                    <a:pt x="308" y="764"/>
                  </a:lnTo>
                  <a:lnTo>
                    <a:pt x="305" y="766"/>
                  </a:lnTo>
                  <a:lnTo>
                    <a:pt x="307" y="766"/>
                  </a:lnTo>
                  <a:lnTo>
                    <a:pt x="311" y="766"/>
                  </a:lnTo>
                  <a:lnTo>
                    <a:pt x="312" y="768"/>
                  </a:lnTo>
                  <a:lnTo>
                    <a:pt x="312" y="769"/>
                  </a:lnTo>
                  <a:lnTo>
                    <a:pt x="305" y="769"/>
                  </a:lnTo>
                  <a:lnTo>
                    <a:pt x="304" y="768"/>
                  </a:lnTo>
                  <a:lnTo>
                    <a:pt x="304" y="765"/>
                  </a:lnTo>
                  <a:lnTo>
                    <a:pt x="301" y="768"/>
                  </a:lnTo>
                  <a:lnTo>
                    <a:pt x="297" y="768"/>
                  </a:lnTo>
                  <a:lnTo>
                    <a:pt x="288" y="771"/>
                  </a:lnTo>
                  <a:lnTo>
                    <a:pt x="287" y="775"/>
                  </a:lnTo>
                  <a:lnTo>
                    <a:pt x="287" y="779"/>
                  </a:lnTo>
                  <a:lnTo>
                    <a:pt x="287" y="784"/>
                  </a:lnTo>
                  <a:lnTo>
                    <a:pt x="287" y="788"/>
                  </a:lnTo>
                  <a:lnTo>
                    <a:pt x="287" y="789"/>
                  </a:lnTo>
                  <a:lnTo>
                    <a:pt x="291" y="791"/>
                  </a:lnTo>
                  <a:lnTo>
                    <a:pt x="291" y="786"/>
                  </a:lnTo>
                  <a:lnTo>
                    <a:pt x="297" y="784"/>
                  </a:lnTo>
                  <a:lnTo>
                    <a:pt x="301" y="781"/>
                  </a:lnTo>
                  <a:lnTo>
                    <a:pt x="308" y="782"/>
                  </a:lnTo>
                  <a:lnTo>
                    <a:pt x="311" y="784"/>
                  </a:lnTo>
                  <a:lnTo>
                    <a:pt x="311" y="786"/>
                  </a:lnTo>
                  <a:lnTo>
                    <a:pt x="311" y="788"/>
                  </a:lnTo>
                  <a:lnTo>
                    <a:pt x="311" y="792"/>
                  </a:lnTo>
                  <a:lnTo>
                    <a:pt x="309" y="792"/>
                  </a:lnTo>
                  <a:lnTo>
                    <a:pt x="309" y="794"/>
                  </a:lnTo>
                  <a:lnTo>
                    <a:pt x="307" y="794"/>
                  </a:lnTo>
                  <a:lnTo>
                    <a:pt x="307" y="795"/>
                  </a:lnTo>
                  <a:lnTo>
                    <a:pt x="307" y="798"/>
                  </a:lnTo>
                  <a:lnTo>
                    <a:pt x="305" y="801"/>
                  </a:lnTo>
                  <a:lnTo>
                    <a:pt x="302" y="801"/>
                  </a:lnTo>
                  <a:lnTo>
                    <a:pt x="302" y="795"/>
                  </a:lnTo>
                  <a:lnTo>
                    <a:pt x="301" y="792"/>
                  </a:lnTo>
                  <a:lnTo>
                    <a:pt x="301" y="794"/>
                  </a:lnTo>
                  <a:lnTo>
                    <a:pt x="297" y="794"/>
                  </a:lnTo>
                  <a:lnTo>
                    <a:pt x="295" y="795"/>
                  </a:lnTo>
                  <a:lnTo>
                    <a:pt x="295" y="798"/>
                  </a:lnTo>
                  <a:lnTo>
                    <a:pt x="294" y="801"/>
                  </a:lnTo>
                  <a:lnTo>
                    <a:pt x="288" y="802"/>
                  </a:lnTo>
                  <a:lnTo>
                    <a:pt x="284" y="805"/>
                  </a:lnTo>
                  <a:lnTo>
                    <a:pt x="278" y="809"/>
                  </a:lnTo>
                  <a:lnTo>
                    <a:pt x="275" y="809"/>
                  </a:lnTo>
                  <a:lnTo>
                    <a:pt x="274" y="807"/>
                  </a:lnTo>
                  <a:lnTo>
                    <a:pt x="269" y="807"/>
                  </a:lnTo>
                  <a:lnTo>
                    <a:pt x="266" y="807"/>
                  </a:lnTo>
                  <a:lnTo>
                    <a:pt x="265" y="808"/>
                  </a:lnTo>
                  <a:lnTo>
                    <a:pt x="265" y="814"/>
                  </a:lnTo>
                  <a:lnTo>
                    <a:pt x="262" y="822"/>
                  </a:lnTo>
                  <a:lnTo>
                    <a:pt x="254" y="831"/>
                  </a:lnTo>
                  <a:lnTo>
                    <a:pt x="245" y="839"/>
                  </a:lnTo>
                  <a:lnTo>
                    <a:pt x="241" y="848"/>
                  </a:lnTo>
                  <a:lnTo>
                    <a:pt x="234" y="855"/>
                  </a:lnTo>
                  <a:lnTo>
                    <a:pt x="222" y="862"/>
                  </a:lnTo>
                  <a:lnTo>
                    <a:pt x="218" y="867"/>
                  </a:lnTo>
                  <a:lnTo>
                    <a:pt x="215" y="874"/>
                  </a:lnTo>
                  <a:lnTo>
                    <a:pt x="212" y="877"/>
                  </a:lnTo>
                  <a:lnTo>
                    <a:pt x="206" y="881"/>
                  </a:lnTo>
                  <a:lnTo>
                    <a:pt x="202" y="882"/>
                  </a:lnTo>
                  <a:lnTo>
                    <a:pt x="199" y="890"/>
                  </a:lnTo>
                  <a:lnTo>
                    <a:pt x="196" y="895"/>
                  </a:lnTo>
                  <a:lnTo>
                    <a:pt x="188" y="903"/>
                  </a:lnTo>
                  <a:lnTo>
                    <a:pt x="181" y="907"/>
                  </a:lnTo>
                  <a:lnTo>
                    <a:pt x="179" y="911"/>
                  </a:lnTo>
                  <a:lnTo>
                    <a:pt x="181" y="913"/>
                  </a:lnTo>
                  <a:lnTo>
                    <a:pt x="182" y="913"/>
                  </a:lnTo>
                  <a:lnTo>
                    <a:pt x="188" y="911"/>
                  </a:lnTo>
                  <a:lnTo>
                    <a:pt x="191" y="911"/>
                  </a:lnTo>
                  <a:lnTo>
                    <a:pt x="195" y="911"/>
                  </a:lnTo>
                  <a:lnTo>
                    <a:pt x="198" y="914"/>
                  </a:lnTo>
                  <a:lnTo>
                    <a:pt x="206" y="923"/>
                  </a:lnTo>
                  <a:lnTo>
                    <a:pt x="211" y="924"/>
                  </a:lnTo>
                  <a:lnTo>
                    <a:pt x="215" y="924"/>
                  </a:lnTo>
                  <a:lnTo>
                    <a:pt x="222" y="927"/>
                  </a:lnTo>
                  <a:lnTo>
                    <a:pt x="224" y="930"/>
                  </a:lnTo>
                  <a:lnTo>
                    <a:pt x="229" y="933"/>
                  </a:lnTo>
                  <a:lnTo>
                    <a:pt x="235" y="933"/>
                  </a:lnTo>
                  <a:lnTo>
                    <a:pt x="239" y="934"/>
                  </a:lnTo>
                  <a:lnTo>
                    <a:pt x="239" y="940"/>
                  </a:lnTo>
                  <a:lnTo>
                    <a:pt x="238" y="943"/>
                  </a:lnTo>
                  <a:lnTo>
                    <a:pt x="236" y="947"/>
                  </a:lnTo>
                  <a:lnTo>
                    <a:pt x="232" y="953"/>
                  </a:lnTo>
                  <a:lnTo>
                    <a:pt x="232" y="954"/>
                  </a:lnTo>
                  <a:lnTo>
                    <a:pt x="235" y="954"/>
                  </a:lnTo>
                  <a:lnTo>
                    <a:pt x="239" y="955"/>
                  </a:lnTo>
                  <a:lnTo>
                    <a:pt x="239" y="960"/>
                  </a:lnTo>
                  <a:lnTo>
                    <a:pt x="239" y="963"/>
                  </a:lnTo>
                  <a:lnTo>
                    <a:pt x="244" y="964"/>
                  </a:lnTo>
                  <a:lnTo>
                    <a:pt x="249" y="968"/>
                  </a:lnTo>
                  <a:lnTo>
                    <a:pt x="254" y="970"/>
                  </a:lnTo>
                  <a:lnTo>
                    <a:pt x="255" y="970"/>
                  </a:lnTo>
                  <a:lnTo>
                    <a:pt x="256" y="968"/>
                  </a:lnTo>
                  <a:lnTo>
                    <a:pt x="256" y="966"/>
                  </a:lnTo>
                  <a:lnTo>
                    <a:pt x="256" y="961"/>
                  </a:lnTo>
                  <a:lnTo>
                    <a:pt x="256" y="958"/>
                  </a:lnTo>
                  <a:lnTo>
                    <a:pt x="256" y="953"/>
                  </a:lnTo>
                  <a:lnTo>
                    <a:pt x="259" y="947"/>
                  </a:lnTo>
                  <a:lnTo>
                    <a:pt x="261" y="945"/>
                  </a:lnTo>
                  <a:lnTo>
                    <a:pt x="264" y="945"/>
                  </a:lnTo>
                  <a:lnTo>
                    <a:pt x="272" y="945"/>
                  </a:lnTo>
                  <a:lnTo>
                    <a:pt x="278" y="948"/>
                  </a:lnTo>
                  <a:lnTo>
                    <a:pt x="282" y="951"/>
                  </a:lnTo>
                  <a:lnTo>
                    <a:pt x="287" y="951"/>
                  </a:lnTo>
                  <a:lnTo>
                    <a:pt x="291" y="953"/>
                  </a:lnTo>
                  <a:lnTo>
                    <a:pt x="295" y="955"/>
                  </a:lnTo>
                  <a:lnTo>
                    <a:pt x="299" y="957"/>
                  </a:lnTo>
                  <a:lnTo>
                    <a:pt x="301" y="955"/>
                  </a:lnTo>
                  <a:lnTo>
                    <a:pt x="305" y="954"/>
                  </a:lnTo>
                  <a:lnTo>
                    <a:pt x="308" y="953"/>
                  </a:lnTo>
                  <a:lnTo>
                    <a:pt x="312" y="955"/>
                  </a:lnTo>
                  <a:lnTo>
                    <a:pt x="318" y="957"/>
                  </a:lnTo>
                  <a:lnTo>
                    <a:pt x="325" y="960"/>
                  </a:lnTo>
                  <a:lnTo>
                    <a:pt x="329" y="966"/>
                  </a:lnTo>
                  <a:lnTo>
                    <a:pt x="334" y="966"/>
                  </a:lnTo>
                  <a:lnTo>
                    <a:pt x="337" y="964"/>
                  </a:lnTo>
                  <a:lnTo>
                    <a:pt x="341" y="966"/>
                  </a:lnTo>
                  <a:lnTo>
                    <a:pt x="347" y="966"/>
                  </a:lnTo>
                  <a:lnTo>
                    <a:pt x="351" y="967"/>
                  </a:lnTo>
                  <a:lnTo>
                    <a:pt x="355" y="971"/>
                  </a:lnTo>
                  <a:lnTo>
                    <a:pt x="355" y="973"/>
                  </a:lnTo>
                  <a:lnTo>
                    <a:pt x="357" y="977"/>
                  </a:lnTo>
                  <a:lnTo>
                    <a:pt x="362" y="984"/>
                  </a:lnTo>
                  <a:lnTo>
                    <a:pt x="362" y="996"/>
                  </a:lnTo>
                  <a:lnTo>
                    <a:pt x="362" y="997"/>
                  </a:lnTo>
                  <a:lnTo>
                    <a:pt x="370" y="997"/>
                  </a:lnTo>
                  <a:lnTo>
                    <a:pt x="375" y="998"/>
                  </a:lnTo>
                  <a:lnTo>
                    <a:pt x="378" y="1001"/>
                  </a:lnTo>
                  <a:lnTo>
                    <a:pt x="378" y="1003"/>
                  </a:lnTo>
                  <a:lnTo>
                    <a:pt x="374" y="1003"/>
                  </a:lnTo>
                  <a:lnTo>
                    <a:pt x="370" y="1001"/>
                  </a:lnTo>
                  <a:lnTo>
                    <a:pt x="362" y="1000"/>
                  </a:lnTo>
                  <a:lnTo>
                    <a:pt x="362" y="1001"/>
                  </a:lnTo>
                  <a:lnTo>
                    <a:pt x="364" y="1006"/>
                  </a:lnTo>
                  <a:lnTo>
                    <a:pt x="365" y="1013"/>
                  </a:lnTo>
                  <a:lnTo>
                    <a:pt x="367" y="1017"/>
                  </a:lnTo>
                  <a:lnTo>
                    <a:pt x="368" y="1017"/>
                  </a:lnTo>
                  <a:lnTo>
                    <a:pt x="370" y="1014"/>
                  </a:lnTo>
                  <a:lnTo>
                    <a:pt x="374" y="1013"/>
                  </a:lnTo>
                  <a:lnTo>
                    <a:pt x="377" y="1014"/>
                  </a:lnTo>
                  <a:lnTo>
                    <a:pt x="381" y="1016"/>
                  </a:lnTo>
                  <a:lnTo>
                    <a:pt x="378" y="1016"/>
                  </a:lnTo>
                  <a:lnTo>
                    <a:pt x="375" y="1019"/>
                  </a:lnTo>
                  <a:lnTo>
                    <a:pt x="374" y="1021"/>
                  </a:lnTo>
                  <a:lnTo>
                    <a:pt x="371" y="1019"/>
                  </a:lnTo>
                  <a:lnTo>
                    <a:pt x="368" y="1019"/>
                  </a:lnTo>
                  <a:lnTo>
                    <a:pt x="367" y="1023"/>
                  </a:lnTo>
                  <a:lnTo>
                    <a:pt x="367" y="1029"/>
                  </a:lnTo>
                  <a:lnTo>
                    <a:pt x="364" y="1036"/>
                  </a:lnTo>
                  <a:lnTo>
                    <a:pt x="364" y="1040"/>
                  </a:lnTo>
                  <a:lnTo>
                    <a:pt x="361" y="1044"/>
                  </a:lnTo>
                  <a:lnTo>
                    <a:pt x="358" y="1053"/>
                  </a:lnTo>
                  <a:lnTo>
                    <a:pt x="354" y="1063"/>
                  </a:lnTo>
                  <a:lnTo>
                    <a:pt x="341" y="1067"/>
                  </a:lnTo>
                  <a:lnTo>
                    <a:pt x="334" y="1067"/>
                  </a:lnTo>
                  <a:lnTo>
                    <a:pt x="328" y="1064"/>
                  </a:lnTo>
                  <a:lnTo>
                    <a:pt x="322" y="1057"/>
                  </a:lnTo>
                  <a:lnTo>
                    <a:pt x="318" y="1056"/>
                  </a:lnTo>
                  <a:lnTo>
                    <a:pt x="309" y="1053"/>
                  </a:lnTo>
                  <a:lnTo>
                    <a:pt x="299" y="1053"/>
                  </a:lnTo>
                  <a:lnTo>
                    <a:pt x="297" y="1057"/>
                  </a:lnTo>
                  <a:lnTo>
                    <a:pt x="291" y="1063"/>
                  </a:lnTo>
                  <a:lnTo>
                    <a:pt x="278" y="1067"/>
                  </a:lnTo>
                  <a:lnTo>
                    <a:pt x="265" y="1073"/>
                  </a:lnTo>
                  <a:lnTo>
                    <a:pt x="259" y="1083"/>
                  </a:lnTo>
                  <a:lnTo>
                    <a:pt x="254" y="1090"/>
                  </a:lnTo>
                  <a:lnTo>
                    <a:pt x="246" y="1093"/>
                  </a:lnTo>
                  <a:lnTo>
                    <a:pt x="239" y="1090"/>
                  </a:lnTo>
                  <a:lnTo>
                    <a:pt x="229" y="1087"/>
                  </a:lnTo>
                  <a:lnTo>
                    <a:pt x="222" y="1082"/>
                  </a:lnTo>
                  <a:lnTo>
                    <a:pt x="212" y="1076"/>
                  </a:lnTo>
                  <a:lnTo>
                    <a:pt x="205" y="1067"/>
                  </a:lnTo>
                  <a:lnTo>
                    <a:pt x="199" y="1067"/>
                  </a:lnTo>
                  <a:lnTo>
                    <a:pt x="195" y="1069"/>
                  </a:lnTo>
                  <a:lnTo>
                    <a:pt x="186" y="1073"/>
                  </a:lnTo>
                  <a:lnTo>
                    <a:pt x="183" y="1074"/>
                  </a:lnTo>
                  <a:lnTo>
                    <a:pt x="179" y="1067"/>
                  </a:lnTo>
                  <a:lnTo>
                    <a:pt x="178" y="1064"/>
                  </a:lnTo>
                  <a:lnTo>
                    <a:pt x="175" y="1064"/>
                  </a:lnTo>
                  <a:lnTo>
                    <a:pt x="175" y="1067"/>
                  </a:lnTo>
                  <a:lnTo>
                    <a:pt x="172" y="1069"/>
                  </a:lnTo>
                  <a:lnTo>
                    <a:pt x="168" y="1069"/>
                  </a:lnTo>
                  <a:lnTo>
                    <a:pt x="162" y="1073"/>
                  </a:lnTo>
                  <a:lnTo>
                    <a:pt x="160" y="1076"/>
                  </a:lnTo>
                  <a:lnTo>
                    <a:pt x="162" y="1082"/>
                  </a:lnTo>
                  <a:lnTo>
                    <a:pt x="168" y="1094"/>
                  </a:lnTo>
                  <a:lnTo>
                    <a:pt x="171" y="1110"/>
                  </a:lnTo>
                  <a:lnTo>
                    <a:pt x="175" y="1124"/>
                  </a:lnTo>
                  <a:lnTo>
                    <a:pt x="178" y="1139"/>
                  </a:lnTo>
                  <a:lnTo>
                    <a:pt x="176" y="1143"/>
                  </a:lnTo>
                  <a:lnTo>
                    <a:pt x="175" y="1146"/>
                  </a:lnTo>
                  <a:lnTo>
                    <a:pt x="171" y="1149"/>
                  </a:lnTo>
                  <a:lnTo>
                    <a:pt x="171" y="1152"/>
                  </a:lnTo>
                  <a:lnTo>
                    <a:pt x="171" y="1153"/>
                  </a:lnTo>
                  <a:lnTo>
                    <a:pt x="171" y="1157"/>
                  </a:lnTo>
                  <a:lnTo>
                    <a:pt x="172" y="1160"/>
                  </a:lnTo>
                  <a:lnTo>
                    <a:pt x="175" y="1165"/>
                  </a:lnTo>
                  <a:lnTo>
                    <a:pt x="178" y="1167"/>
                  </a:lnTo>
                  <a:lnTo>
                    <a:pt x="173" y="1167"/>
                  </a:lnTo>
                  <a:lnTo>
                    <a:pt x="171" y="1165"/>
                  </a:lnTo>
                  <a:lnTo>
                    <a:pt x="168" y="1159"/>
                  </a:lnTo>
                  <a:lnTo>
                    <a:pt x="166" y="1150"/>
                  </a:lnTo>
                  <a:lnTo>
                    <a:pt x="165" y="1147"/>
                  </a:lnTo>
                  <a:lnTo>
                    <a:pt x="163" y="1147"/>
                  </a:lnTo>
                  <a:lnTo>
                    <a:pt x="162" y="1149"/>
                  </a:lnTo>
                  <a:lnTo>
                    <a:pt x="159" y="1157"/>
                  </a:lnTo>
                  <a:lnTo>
                    <a:pt x="155" y="1163"/>
                  </a:lnTo>
                  <a:lnTo>
                    <a:pt x="150" y="1169"/>
                  </a:lnTo>
                  <a:lnTo>
                    <a:pt x="142" y="1176"/>
                  </a:lnTo>
                  <a:lnTo>
                    <a:pt x="132" y="1182"/>
                  </a:lnTo>
                  <a:lnTo>
                    <a:pt x="126" y="1189"/>
                  </a:lnTo>
                  <a:lnTo>
                    <a:pt x="123" y="1196"/>
                  </a:lnTo>
                  <a:lnTo>
                    <a:pt x="118" y="1200"/>
                  </a:lnTo>
                  <a:lnTo>
                    <a:pt x="109" y="1208"/>
                  </a:lnTo>
                  <a:lnTo>
                    <a:pt x="106" y="1213"/>
                  </a:lnTo>
                  <a:lnTo>
                    <a:pt x="106" y="1213"/>
                  </a:lnTo>
                  <a:lnTo>
                    <a:pt x="105" y="1218"/>
                  </a:lnTo>
                  <a:lnTo>
                    <a:pt x="100" y="1229"/>
                  </a:lnTo>
                  <a:lnTo>
                    <a:pt x="95" y="1238"/>
                  </a:lnTo>
                  <a:lnTo>
                    <a:pt x="86" y="1243"/>
                  </a:lnTo>
                  <a:lnTo>
                    <a:pt x="77" y="1246"/>
                  </a:lnTo>
                  <a:lnTo>
                    <a:pt x="70" y="1248"/>
                  </a:lnTo>
                  <a:lnTo>
                    <a:pt x="59" y="1246"/>
                  </a:lnTo>
                  <a:lnTo>
                    <a:pt x="50" y="1246"/>
                  </a:lnTo>
                  <a:lnTo>
                    <a:pt x="46" y="1252"/>
                  </a:lnTo>
                  <a:lnTo>
                    <a:pt x="44" y="1258"/>
                  </a:lnTo>
                  <a:lnTo>
                    <a:pt x="47" y="1265"/>
                  </a:lnTo>
                  <a:lnTo>
                    <a:pt x="47" y="1271"/>
                  </a:lnTo>
                  <a:lnTo>
                    <a:pt x="47" y="1273"/>
                  </a:lnTo>
                  <a:lnTo>
                    <a:pt x="40" y="1281"/>
                  </a:lnTo>
                  <a:lnTo>
                    <a:pt x="30" y="1289"/>
                  </a:lnTo>
                  <a:lnTo>
                    <a:pt x="26" y="1298"/>
                  </a:lnTo>
                  <a:lnTo>
                    <a:pt x="22" y="1315"/>
                  </a:lnTo>
                  <a:lnTo>
                    <a:pt x="20" y="1321"/>
                  </a:lnTo>
                  <a:lnTo>
                    <a:pt x="14" y="1324"/>
                  </a:lnTo>
                  <a:lnTo>
                    <a:pt x="10" y="1328"/>
                  </a:lnTo>
                  <a:lnTo>
                    <a:pt x="10" y="1332"/>
                  </a:lnTo>
                  <a:lnTo>
                    <a:pt x="7" y="1335"/>
                  </a:lnTo>
                  <a:lnTo>
                    <a:pt x="2" y="1335"/>
                  </a:lnTo>
                  <a:lnTo>
                    <a:pt x="0" y="1336"/>
                  </a:lnTo>
                  <a:lnTo>
                    <a:pt x="2" y="1339"/>
                  </a:lnTo>
                  <a:lnTo>
                    <a:pt x="4" y="1339"/>
                  </a:lnTo>
                  <a:lnTo>
                    <a:pt x="7" y="1335"/>
                  </a:lnTo>
                  <a:lnTo>
                    <a:pt x="10" y="1338"/>
                  </a:lnTo>
                  <a:lnTo>
                    <a:pt x="14" y="1345"/>
                  </a:lnTo>
                  <a:lnTo>
                    <a:pt x="19" y="1348"/>
                  </a:lnTo>
                  <a:lnTo>
                    <a:pt x="19" y="1351"/>
                  </a:lnTo>
                  <a:lnTo>
                    <a:pt x="22" y="1352"/>
                  </a:lnTo>
                  <a:lnTo>
                    <a:pt x="27" y="1352"/>
                  </a:lnTo>
                  <a:lnTo>
                    <a:pt x="32" y="1352"/>
                  </a:lnTo>
                  <a:lnTo>
                    <a:pt x="34" y="1355"/>
                  </a:lnTo>
                  <a:lnTo>
                    <a:pt x="40" y="1361"/>
                  </a:lnTo>
                  <a:lnTo>
                    <a:pt x="42" y="1361"/>
                  </a:lnTo>
                  <a:lnTo>
                    <a:pt x="46" y="1359"/>
                  </a:lnTo>
                  <a:lnTo>
                    <a:pt x="47" y="1359"/>
                  </a:lnTo>
                  <a:lnTo>
                    <a:pt x="53" y="1359"/>
                  </a:lnTo>
                  <a:lnTo>
                    <a:pt x="62" y="1364"/>
                  </a:lnTo>
                  <a:lnTo>
                    <a:pt x="73" y="1361"/>
                  </a:lnTo>
                  <a:lnTo>
                    <a:pt x="77" y="1368"/>
                  </a:lnTo>
                  <a:lnTo>
                    <a:pt x="80" y="1371"/>
                  </a:lnTo>
                  <a:lnTo>
                    <a:pt x="85" y="1375"/>
                  </a:lnTo>
                  <a:lnTo>
                    <a:pt x="82" y="1378"/>
                  </a:lnTo>
                  <a:lnTo>
                    <a:pt x="77" y="1382"/>
                  </a:lnTo>
                  <a:lnTo>
                    <a:pt x="80" y="1387"/>
                  </a:lnTo>
                  <a:lnTo>
                    <a:pt x="86" y="1387"/>
                  </a:lnTo>
                  <a:lnTo>
                    <a:pt x="92" y="1388"/>
                  </a:lnTo>
                  <a:lnTo>
                    <a:pt x="100" y="1395"/>
                  </a:lnTo>
                  <a:lnTo>
                    <a:pt x="110" y="1395"/>
                  </a:lnTo>
                  <a:lnTo>
                    <a:pt x="116" y="1391"/>
                  </a:lnTo>
                  <a:lnTo>
                    <a:pt x="119" y="1395"/>
                  </a:lnTo>
                  <a:lnTo>
                    <a:pt x="125" y="1394"/>
                  </a:lnTo>
                  <a:lnTo>
                    <a:pt x="129" y="1395"/>
                  </a:lnTo>
                  <a:lnTo>
                    <a:pt x="132" y="1398"/>
                  </a:lnTo>
                  <a:lnTo>
                    <a:pt x="132" y="1405"/>
                  </a:lnTo>
                  <a:lnTo>
                    <a:pt x="129" y="1408"/>
                  </a:lnTo>
                  <a:lnTo>
                    <a:pt x="128" y="1412"/>
                  </a:lnTo>
                  <a:lnTo>
                    <a:pt x="140" y="1421"/>
                  </a:lnTo>
                  <a:lnTo>
                    <a:pt x="146" y="1420"/>
                  </a:lnTo>
                  <a:lnTo>
                    <a:pt x="152" y="1420"/>
                  </a:lnTo>
                  <a:lnTo>
                    <a:pt x="159" y="1422"/>
                  </a:lnTo>
                  <a:lnTo>
                    <a:pt x="165" y="1427"/>
                  </a:lnTo>
                  <a:lnTo>
                    <a:pt x="165" y="1431"/>
                  </a:lnTo>
                  <a:lnTo>
                    <a:pt x="165" y="1440"/>
                  </a:lnTo>
                  <a:lnTo>
                    <a:pt x="166" y="1442"/>
                  </a:lnTo>
                  <a:lnTo>
                    <a:pt x="179" y="1452"/>
                  </a:lnTo>
                  <a:lnTo>
                    <a:pt x="186" y="1460"/>
                  </a:lnTo>
                  <a:lnTo>
                    <a:pt x="189" y="1465"/>
                  </a:lnTo>
                  <a:lnTo>
                    <a:pt x="188" y="1468"/>
                  </a:lnTo>
                  <a:lnTo>
                    <a:pt x="183" y="1471"/>
                  </a:lnTo>
                  <a:lnTo>
                    <a:pt x="171" y="1480"/>
                  </a:lnTo>
                  <a:lnTo>
                    <a:pt x="158" y="1487"/>
                  </a:lnTo>
                  <a:lnTo>
                    <a:pt x="153" y="1493"/>
                  </a:lnTo>
                  <a:lnTo>
                    <a:pt x="146" y="1497"/>
                  </a:lnTo>
                  <a:lnTo>
                    <a:pt x="142" y="1500"/>
                  </a:lnTo>
                  <a:lnTo>
                    <a:pt x="138" y="1508"/>
                  </a:lnTo>
                  <a:lnTo>
                    <a:pt x="133" y="1518"/>
                  </a:lnTo>
                  <a:lnTo>
                    <a:pt x="135" y="1534"/>
                  </a:lnTo>
                  <a:lnTo>
                    <a:pt x="135" y="1540"/>
                  </a:lnTo>
                  <a:lnTo>
                    <a:pt x="132" y="1557"/>
                  </a:lnTo>
                  <a:lnTo>
                    <a:pt x="128" y="1564"/>
                  </a:lnTo>
                  <a:lnTo>
                    <a:pt x="120" y="1577"/>
                  </a:lnTo>
                  <a:lnTo>
                    <a:pt x="105" y="1589"/>
                  </a:lnTo>
                  <a:lnTo>
                    <a:pt x="99" y="1596"/>
                  </a:lnTo>
                  <a:lnTo>
                    <a:pt x="99" y="1603"/>
                  </a:lnTo>
                  <a:lnTo>
                    <a:pt x="105" y="1607"/>
                  </a:lnTo>
                  <a:lnTo>
                    <a:pt x="106" y="1610"/>
                  </a:lnTo>
                  <a:lnTo>
                    <a:pt x="106" y="1611"/>
                  </a:lnTo>
                  <a:lnTo>
                    <a:pt x="102" y="1613"/>
                  </a:lnTo>
                  <a:lnTo>
                    <a:pt x="95" y="1616"/>
                  </a:lnTo>
                  <a:lnTo>
                    <a:pt x="93" y="1621"/>
                  </a:lnTo>
                  <a:lnTo>
                    <a:pt x="87" y="1624"/>
                  </a:lnTo>
                  <a:lnTo>
                    <a:pt x="83" y="1627"/>
                  </a:lnTo>
                  <a:lnTo>
                    <a:pt x="83" y="1637"/>
                  </a:lnTo>
                  <a:lnTo>
                    <a:pt x="80" y="1640"/>
                  </a:lnTo>
                  <a:lnTo>
                    <a:pt x="79" y="1646"/>
                  </a:lnTo>
                  <a:lnTo>
                    <a:pt x="82" y="1656"/>
                  </a:lnTo>
                  <a:lnTo>
                    <a:pt x="79" y="1659"/>
                  </a:lnTo>
                  <a:lnTo>
                    <a:pt x="73" y="1663"/>
                  </a:lnTo>
                  <a:lnTo>
                    <a:pt x="70" y="1679"/>
                  </a:lnTo>
                  <a:lnTo>
                    <a:pt x="67" y="1687"/>
                  </a:lnTo>
                  <a:lnTo>
                    <a:pt x="67" y="1692"/>
                  </a:lnTo>
                  <a:lnTo>
                    <a:pt x="72" y="1700"/>
                  </a:lnTo>
                  <a:lnTo>
                    <a:pt x="79" y="1712"/>
                  </a:lnTo>
                  <a:lnTo>
                    <a:pt x="79" y="1716"/>
                  </a:lnTo>
                  <a:lnTo>
                    <a:pt x="80" y="1722"/>
                  </a:lnTo>
                  <a:lnTo>
                    <a:pt x="82" y="1725"/>
                  </a:lnTo>
                  <a:lnTo>
                    <a:pt x="86" y="1723"/>
                  </a:lnTo>
                  <a:lnTo>
                    <a:pt x="93" y="1720"/>
                  </a:lnTo>
                  <a:lnTo>
                    <a:pt x="100" y="1725"/>
                  </a:lnTo>
                  <a:lnTo>
                    <a:pt x="102" y="1729"/>
                  </a:lnTo>
                  <a:lnTo>
                    <a:pt x="99" y="1735"/>
                  </a:lnTo>
                  <a:lnTo>
                    <a:pt x="93" y="1736"/>
                  </a:lnTo>
                  <a:lnTo>
                    <a:pt x="92" y="1742"/>
                  </a:lnTo>
                  <a:lnTo>
                    <a:pt x="92" y="1748"/>
                  </a:lnTo>
                  <a:lnTo>
                    <a:pt x="97" y="1752"/>
                  </a:lnTo>
                  <a:lnTo>
                    <a:pt x="100" y="1756"/>
                  </a:lnTo>
                  <a:lnTo>
                    <a:pt x="100" y="1760"/>
                  </a:lnTo>
                  <a:lnTo>
                    <a:pt x="102" y="1766"/>
                  </a:lnTo>
                  <a:lnTo>
                    <a:pt x="107" y="1776"/>
                  </a:lnTo>
                  <a:lnTo>
                    <a:pt x="116" y="1783"/>
                  </a:lnTo>
                  <a:lnTo>
                    <a:pt x="123" y="1785"/>
                  </a:lnTo>
                  <a:lnTo>
                    <a:pt x="132" y="1780"/>
                  </a:lnTo>
                  <a:lnTo>
                    <a:pt x="136" y="1782"/>
                  </a:lnTo>
                  <a:lnTo>
                    <a:pt x="139" y="1790"/>
                  </a:lnTo>
                  <a:lnTo>
                    <a:pt x="143" y="1793"/>
                  </a:lnTo>
                  <a:lnTo>
                    <a:pt x="158" y="1790"/>
                  </a:lnTo>
                  <a:lnTo>
                    <a:pt x="169" y="1790"/>
                  </a:lnTo>
                  <a:lnTo>
                    <a:pt x="179" y="1789"/>
                  </a:lnTo>
                  <a:lnTo>
                    <a:pt x="203" y="1779"/>
                  </a:lnTo>
                  <a:lnTo>
                    <a:pt x="213" y="1780"/>
                  </a:lnTo>
                  <a:lnTo>
                    <a:pt x="221" y="1782"/>
                  </a:lnTo>
                  <a:lnTo>
                    <a:pt x="226" y="1789"/>
                  </a:lnTo>
                  <a:lnTo>
                    <a:pt x="229" y="1790"/>
                  </a:lnTo>
                  <a:lnTo>
                    <a:pt x="238" y="1790"/>
                  </a:lnTo>
                  <a:lnTo>
                    <a:pt x="248" y="1796"/>
                  </a:lnTo>
                  <a:lnTo>
                    <a:pt x="256" y="1799"/>
                  </a:lnTo>
                  <a:lnTo>
                    <a:pt x="256" y="1799"/>
                  </a:lnTo>
                  <a:lnTo>
                    <a:pt x="255" y="1811"/>
                  </a:lnTo>
                  <a:lnTo>
                    <a:pt x="258" y="1818"/>
                  </a:lnTo>
                  <a:lnTo>
                    <a:pt x="262" y="1828"/>
                  </a:lnTo>
                  <a:lnTo>
                    <a:pt x="272" y="1842"/>
                  </a:lnTo>
                  <a:lnTo>
                    <a:pt x="274" y="1848"/>
                  </a:lnTo>
                  <a:lnTo>
                    <a:pt x="275" y="1859"/>
                  </a:lnTo>
                  <a:lnTo>
                    <a:pt x="275" y="1861"/>
                  </a:lnTo>
                  <a:lnTo>
                    <a:pt x="275" y="1861"/>
                  </a:lnTo>
                  <a:lnTo>
                    <a:pt x="289" y="1862"/>
                  </a:lnTo>
                  <a:lnTo>
                    <a:pt x="297" y="1862"/>
                  </a:lnTo>
                  <a:lnTo>
                    <a:pt x="304" y="1859"/>
                  </a:lnTo>
                  <a:lnTo>
                    <a:pt x="321" y="1849"/>
                  </a:lnTo>
                  <a:lnTo>
                    <a:pt x="321" y="1849"/>
                  </a:lnTo>
                  <a:lnTo>
                    <a:pt x="329" y="1845"/>
                  </a:lnTo>
                  <a:lnTo>
                    <a:pt x="337" y="1843"/>
                  </a:lnTo>
                  <a:lnTo>
                    <a:pt x="341" y="1843"/>
                  </a:lnTo>
                  <a:lnTo>
                    <a:pt x="344" y="1843"/>
                  </a:lnTo>
                  <a:lnTo>
                    <a:pt x="344" y="1843"/>
                  </a:lnTo>
                  <a:lnTo>
                    <a:pt x="347" y="1848"/>
                  </a:lnTo>
                  <a:lnTo>
                    <a:pt x="351" y="1853"/>
                  </a:lnTo>
                  <a:lnTo>
                    <a:pt x="351" y="1853"/>
                  </a:lnTo>
                  <a:lnTo>
                    <a:pt x="352" y="1858"/>
                  </a:lnTo>
                  <a:lnTo>
                    <a:pt x="354" y="1865"/>
                  </a:lnTo>
                  <a:lnTo>
                    <a:pt x="357" y="1872"/>
                  </a:lnTo>
                  <a:lnTo>
                    <a:pt x="360" y="1875"/>
                  </a:lnTo>
                  <a:lnTo>
                    <a:pt x="362" y="1876"/>
                  </a:lnTo>
                  <a:lnTo>
                    <a:pt x="365" y="1881"/>
                  </a:lnTo>
                  <a:lnTo>
                    <a:pt x="367" y="1885"/>
                  </a:lnTo>
                  <a:lnTo>
                    <a:pt x="367" y="1889"/>
                  </a:lnTo>
                  <a:lnTo>
                    <a:pt x="370" y="1891"/>
                  </a:lnTo>
                  <a:lnTo>
                    <a:pt x="374" y="1895"/>
                  </a:lnTo>
                  <a:lnTo>
                    <a:pt x="375" y="1898"/>
                  </a:lnTo>
                  <a:lnTo>
                    <a:pt x="381" y="1898"/>
                  </a:lnTo>
                  <a:lnTo>
                    <a:pt x="382" y="1904"/>
                  </a:lnTo>
                  <a:lnTo>
                    <a:pt x="387" y="1904"/>
                  </a:lnTo>
                  <a:lnTo>
                    <a:pt x="388" y="1904"/>
                  </a:lnTo>
                  <a:lnTo>
                    <a:pt x="391" y="1898"/>
                  </a:lnTo>
                  <a:lnTo>
                    <a:pt x="397" y="1898"/>
                  </a:lnTo>
                  <a:lnTo>
                    <a:pt x="403" y="1896"/>
                  </a:lnTo>
                  <a:lnTo>
                    <a:pt x="408" y="1895"/>
                  </a:lnTo>
                  <a:lnTo>
                    <a:pt x="413" y="1892"/>
                  </a:lnTo>
                  <a:lnTo>
                    <a:pt x="417" y="1888"/>
                  </a:lnTo>
                  <a:lnTo>
                    <a:pt x="424" y="1884"/>
                  </a:lnTo>
                  <a:lnTo>
                    <a:pt x="428" y="1882"/>
                  </a:lnTo>
                  <a:lnTo>
                    <a:pt x="437" y="1879"/>
                  </a:lnTo>
                  <a:close/>
                  <a:moveTo>
                    <a:pt x="1392" y="206"/>
                  </a:moveTo>
                  <a:lnTo>
                    <a:pt x="1386" y="212"/>
                  </a:lnTo>
                  <a:lnTo>
                    <a:pt x="1379" y="219"/>
                  </a:lnTo>
                  <a:lnTo>
                    <a:pt x="1378" y="224"/>
                  </a:lnTo>
                  <a:lnTo>
                    <a:pt x="1376" y="231"/>
                  </a:lnTo>
                  <a:lnTo>
                    <a:pt x="1378" y="235"/>
                  </a:lnTo>
                  <a:lnTo>
                    <a:pt x="1382" y="238"/>
                  </a:lnTo>
                  <a:lnTo>
                    <a:pt x="1384" y="244"/>
                  </a:lnTo>
                  <a:lnTo>
                    <a:pt x="1388" y="248"/>
                  </a:lnTo>
                  <a:lnTo>
                    <a:pt x="1394" y="249"/>
                  </a:lnTo>
                  <a:lnTo>
                    <a:pt x="1398" y="249"/>
                  </a:lnTo>
                  <a:lnTo>
                    <a:pt x="1399" y="247"/>
                  </a:lnTo>
                  <a:lnTo>
                    <a:pt x="1399" y="244"/>
                  </a:lnTo>
                  <a:lnTo>
                    <a:pt x="1396" y="239"/>
                  </a:lnTo>
                  <a:lnTo>
                    <a:pt x="1398" y="234"/>
                  </a:lnTo>
                  <a:lnTo>
                    <a:pt x="1398" y="228"/>
                  </a:lnTo>
                  <a:lnTo>
                    <a:pt x="1398" y="225"/>
                  </a:lnTo>
                  <a:lnTo>
                    <a:pt x="1396" y="221"/>
                  </a:lnTo>
                  <a:lnTo>
                    <a:pt x="1395" y="216"/>
                  </a:lnTo>
                  <a:lnTo>
                    <a:pt x="1395" y="212"/>
                  </a:lnTo>
                  <a:lnTo>
                    <a:pt x="1392" y="206"/>
                  </a:lnTo>
                  <a:lnTo>
                    <a:pt x="1392" y="206"/>
                  </a:lnTo>
                  <a:close/>
                  <a:moveTo>
                    <a:pt x="1406" y="239"/>
                  </a:moveTo>
                  <a:lnTo>
                    <a:pt x="1404" y="241"/>
                  </a:lnTo>
                  <a:lnTo>
                    <a:pt x="1402" y="251"/>
                  </a:lnTo>
                  <a:lnTo>
                    <a:pt x="1402" y="254"/>
                  </a:lnTo>
                  <a:lnTo>
                    <a:pt x="1408" y="254"/>
                  </a:lnTo>
                  <a:lnTo>
                    <a:pt x="1411" y="252"/>
                  </a:lnTo>
                  <a:lnTo>
                    <a:pt x="1411" y="245"/>
                  </a:lnTo>
                  <a:lnTo>
                    <a:pt x="1409" y="239"/>
                  </a:lnTo>
                  <a:lnTo>
                    <a:pt x="1406" y="239"/>
                  </a:lnTo>
                  <a:lnTo>
                    <a:pt x="1406" y="239"/>
                  </a:lnTo>
                  <a:close/>
                  <a:moveTo>
                    <a:pt x="236" y="973"/>
                  </a:moveTo>
                  <a:lnTo>
                    <a:pt x="236" y="973"/>
                  </a:lnTo>
                  <a:lnTo>
                    <a:pt x="236" y="970"/>
                  </a:lnTo>
                  <a:lnTo>
                    <a:pt x="238" y="971"/>
                  </a:lnTo>
                  <a:lnTo>
                    <a:pt x="238" y="971"/>
                  </a:lnTo>
                  <a:lnTo>
                    <a:pt x="238" y="970"/>
                  </a:lnTo>
                  <a:lnTo>
                    <a:pt x="238" y="970"/>
                  </a:lnTo>
                  <a:lnTo>
                    <a:pt x="239" y="970"/>
                  </a:lnTo>
                  <a:lnTo>
                    <a:pt x="239" y="970"/>
                  </a:lnTo>
                  <a:lnTo>
                    <a:pt x="238" y="970"/>
                  </a:lnTo>
                  <a:lnTo>
                    <a:pt x="238" y="970"/>
                  </a:lnTo>
                  <a:lnTo>
                    <a:pt x="238" y="970"/>
                  </a:lnTo>
                  <a:lnTo>
                    <a:pt x="238" y="970"/>
                  </a:lnTo>
                  <a:lnTo>
                    <a:pt x="236" y="968"/>
                  </a:lnTo>
                  <a:lnTo>
                    <a:pt x="236" y="968"/>
                  </a:lnTo>
                  <a:lnTo>
                    <a:pt x="234" y="968"/>
                  </a:lnTo>
                  <a:lnTo>
                    <a:pt x="234" y="968"/>
                  </a:lnTo>
                  <a:lnTo>
                    <a:pt x="232" y="968"/>
                  </a:lnTo>
                  <a:lnTo>
                    <a:pt x="232" y="968"/>
                  </a:lnTo>
                  <a:lnTo>
                    <a:pt x="232" y="968"/>
                  </a:lnTo>
                  <a:lnTo>
                    <a:pt x="232" y="968"/>
                  </a:lnTo>
                  <a:lnTo>
                    <a:pt x="232" y="970"/>
                  </a:lnTo>
                  <a:lnTo>
                    <a:pt x="232" y="970"/>
                  </a:lnTo>
                  <a:lnTo>
                    <a:pt x="232" y="970"/>
                  </a:lnTo>
                  <a:lnTo>
                    <a:pt x="234" y="970"/>
                  </a:lnTo>
                  <a:lnTo>
                    <a:pt x="234" y="970"/>
                  </a:lnTo>
                  <a:lnTo>
                    <a:pt x="234" y="970"/>
                  </a:lnTo>
                  <a:lnTo>
                    <a:pt x="234" y="970"/>
                  </a:lnTo>
                  <a:lnTo>
                    <a:pt x="235" y="971"/>
                  </a:lnTo>
                  <a:lnTo>
                    <a:pt x="235" y="971"/>
                  </a:lnTo>
                  <a:lnTo>
                    <a:pt x="235" y="971"/>
                  </a:lnTo>
                  <a:lnTo>
                    <a:pt x="235" y="971"/>
                  </a:lnTo>
                  <a:lnTo>
                    <a:pt x="235" y="971"/>
                  </a:lnTo>
                  <a:lnTo>
                    <a:pt x="236" y="973"/>
                  </a:lnTo>
                  <a:lnTo>
                    <a:pt x="236" y="973"/>
                  </a:lnTo>
                  <a:close/>
                  <a:moveTo>
                    <a:pt x="224" y="968"/>
                  </a:moveTo>
                  <a:lnTo>
                    <a:pt x="224" y="968"/>
                  </a:lnTo>
                  <a:lnTo>
                    <a:pt x="225" y="966"/>
                  </a:lnTo>
                  <a:lnTo>
                    <a:pt x="226" y="966"/>
                  </a:lnTo>
                  <a:lnTo>
                    <a:pt x="226" y="966"/>
                  </a:lnTo>
                  <a:lnTo>
                    <a:pt x="232" y="966"/>
                  </a:lnTo>
                  <a:lnTo>
                    <a:pt x="234" y="964"/>
                  </a:lnTo>
                  <a:lnTo>
                    <a:pt x="232" y="961"/>
                  </a:lnTo>
                  <a:lnTo>
                    <a:pt x="232" y="961"/>
                  </a:lnTo>
                  <a:lnTo>
                    <a:pt x="229" y="958"/>
                  </a:lnTo>
                  <a:lnTo>
                    <a:pt x="229" y="958"/>
                  </a:lnTo>
                  <a:lnTo>
                    <a:pt x="229" y="957"/>
                  </a:lnTo>
                  <a:lnTo>
                    <a:pt x="229" y="955"/>
                  </a:lnTo>
                  <a:lnTo>
                    <a:pt x="228" y="953"/>
                  </a:lnTo>
                  <a:lnTo>
                    <a:pt x="228" y="953"/>
                  </a:lnTo>
                  <a:lnTo>
                    <a:pt x="226" y="953"/>
                  </a:lnTo>
                  <a:lnTo>
                    <a:pt x="225" y="954"/>
                  </a:lnTo>
                  <a:lnTo>
                    <a:pt x="225" y="954"/>
                  </a:lnTo>
                  <a:lnTo>
                    <a:pt x="224" y="963"/>
                  </a:lnTo>
                  <a:lnTo>
                    <a:pt x="224" y="963"/>
                  </a:lnTo>
                  <a:lnTo>
                    <a:pt x="224" y="964"/>
                  </a:lnTo>
                  <a:lnTo>
                    <a:pt x="222" y="966"/>
                  </a:lnTo>
                  <a:lnTo>
                    <a:pt x="222" y="966"/>
                  </a:lnTo>
                  <a:lnTo>
                    <a:pt x="222" y="967"/>
                  </a:lnTo>
                  <a:lnTo>
                    <a:pt x="224" y="968"/>
                  </a:lnTo>
                  <a:lnTo>
                    <a:pt x="224" y="968"/>
                  </a:lnTo>
                  <a:close/>
                  <a:moveTo>
                    <a:pt x="162" y="1004"/>
                  </a:moveTo>
                  <a:lnTo>
                    <a:pt x="159" y="1004"/>
                  </a:lnTo>
                  <a:lnTo>
                    <a:pt x="159" y="1007"/>
                  </a:lnTo>
                  <a:lnTo>
                    <a:pt x="155" y="1010"/>
                  </a:lnTo>
                  <a:lnTo>
                    <a:pt x="152" y="1013"/>
                  </a:lnTo>
                  <a:lnTo>
                    <a:pt x="150" y="1017"/>
                  </a:lnTo>
                  <a:lnTo>
                    <a:pt x="146" y="1019"/>
                  </a:lnTo>
                  <a:lnTo>
                    <a:pt x="143" y="1019"/>
                  </a:lnTo>
                  <a:lnTo>
                    <a:pt x="139" y="1026"/>
                  </a:lnTo>
                  <a:lnTo>
                    <a:pt x="136" y="1029"/>
                  </a:lnTo>
                  <a:lnTo>
                    <a:pt x="136" y="1031"/>
                  </a:lnTo>
                  <a:lnTo>
                    <a:pt x="133" y="1036"/>
                  </a:lnTo>
                  <a:lnTo>
                    <a:pt x="133" y="1037"/>
                  </a:lnTo>
                  <a:lnTo>
                    <a:pt x="138" y="1039"/>
                  </a:lnTo>
                  <a:lnTo>
                    <a:pt x="136" y="1041"/>
                  </a:lnTo>
                  <a:lnTo>
                    <a:pt x="136" y="1043"/>
                  </a:lnTo>
                  <a:lnTo>
                    <a:pt x="140" y="1047"/>
                  </a:lnTo>
                  <a:lnTo>
                    <a:pt x="143" y="1049"/>
                  </a:lnTo>
                  <a:lnTo>
                    <a:pt x="146" y="1051"/>
                  </a:lnTo>
                  <a:lnTo>
                    <a:pt x="149" y="1059"/>
                  </a:lnTo>
                  <a:lnTo>
                    <a:pt x="156" y="1067"/>
                  </a:lnTo>
                  <a:lnTo>
                    <a:pt x="159" y="1067"/>
                  </a:lnTo>
                  <a:lnTo>
                    <a:pt x="166" y="1061"/>
                  </a:lnTo>
                  <a:lnTo>
                    <a:pt x="176" y="1060"/>
                  </a:lnTo>
                  <a:lnTo>
                    <a:pt x="183" y="1059"/>
                  </a:lnTo>
                  <a:lnTo>
                    <a:pt x="186" y="1056"/>
                  </a:lnTo>
                  <a:lnTo>
                    <a:pt x="189" y="1054"/>
                  </a:lnTo>
                  <a:lnTo>
                    <a:pt x="196" y="1051"/>
                  </a:lnTo>
                  <a:lnTo>
                    <a:pt x="206" y="1049"/>
                  </a:lnTo>
                  <a:lnTo>
                    <a:pt x="211" y="1043"/>
                  </a:lnTo>
                  <a:lnTo>
                    <a:pt x="218" y="1037"/>
                  </a:lnTo>
                  <a:lnTo>
                    <a:pt x="219" y="1034"/>
                  </a:lnTo>
                  <a:lnTo>
                    <a:pt x="221" y="1027"/>
                  </a:lnTo>
                  <a:lnTo>
                    <a:pt x="224" y="1024"/>
                  </a:lnTo>
                  <a:lnTo>
                    <a:pt x="228" y="1020"/>
                  </a:lnTo>
                  <a:lnTo>
                    <a:pt x="224" y="1011"/>
                  </a:lnTo>
                  <a:lnTo>
                    <a:pt x="218" y="1007"/>
                  </a:lnTo>
                  <a:lnTo>
                    <a:pt x="215" y="1004"/>
                  </a:lnTo>
                  <a:lnTo>
                    <a:pt x="208" y="1004"/>
                  </a:lnTo>
                  <a:lnTo>
                    <a:pt x="206" y="1000"/>
                  </a:lnTo>
                  <a:lnTo>
                    <a:pt x="203" y="998"/>
                  </a:lnTo>
                  <a:lnTo>
                    <a:pt x="202" y="997"/>
                  </a:lnTo>
                  <a:lnTo>
                    <a:pt x="203" y="993"/>
                  </a:lnTo>
                  <a:lnTo>
                    <a:pt x="203" y="988"/>
                  </a:lnTo>
                  <a:lnTo>
                    <a:pt x="198" y="984"/>
                  </a:lnTo>
                  <a:lnTo>
                    <a:pt x="193" y="983"/>
                  </a:lnTo>
                  <a:lnTo>
                    <a:pt x="189" y="983"/>
                  </a:lnTo>
                  <a:lnTo>
                    <a:pt x="183" y="986"/>
                  </a:lnTo>
                  <a:lnTo>
                    <a:pt x="181" y="991"/>
                  </a:lnTo>
                  <a:lnTo>
                    <a:pt x="175" y="996"/>
                  </a:lnTo>
                  <a:lnTo>
                    <a:pt x="169" y="1000"/>
                  </a:lnTo>
                  <a:lnTo>
                    <a:pt x="166" y="1003"/>
                  </a:lnTo>
                  <a:lnTo>
                    <a:pt x="165" y="1006"/>
                  </a:lnTo>
                  <a:lnTo>
                    <a:pt x="162" y="1004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65" name="Freeform 213"/>
            <p:cNvSpPr>
              <a:spLocks/>
            </p:cNvSpPr>
            <p:nvPr/>
          </p:nvSpPr>
          <p:spPr bwMode="auto">
            <a:xfrm>
              <a:off x="7473425" y="1630620"/>
              <a:ext cx="967145" cy="1258082"/>
            </a:xfrm>
            <a:custGeom>
              <a:avLst/>
              <a:gdLst>
                <a:gd name="T0" fmla="*/ 669 w 1584"/>
                <a:gd name="T1" fmla="*/ 1806 h 1904"/>
                <a:gd name="T2" fmla="*/ 759 w 1584"/>
                <a:gd name="T3" fmla="*/ 1673 h 1904"/>
                <a:gd name="T4" fmla="*/ 914 w 1584"/>
                <a:gd name="T5" fmla="*/ 1536 h 1904"/>
                <a:gd name="T6" fmla="*/ 1134 w 1584"/>
                <a:gd name="T7" fmla="*/ 1584 h 1904"/>
                <a:gd name="T8" fmla="*/ 1328 w 1584"/>
                <a:gd name="T9" fmla="*/ 1462 h 1904"/>
                <a:gd name="T10" fmla="*/ 1425 w 1584"/>
                <a:gd name="T11" fmla="*/ 1295 h 1904"/>
                <a:gd name="T12" fmla="*/ 1492 w 1584"/>
                <a:gd name="T13" fmla="*/ 1213 h 1904"/>
                <a:gd name="T14" fmla="*/ 1484 w 1584"/>
                <a:gd name="T15" fmla="*/ 1090 h 1904"/>
                <a:gd name="T16" fmla="*/ 1457 w 1584"/>
                <a:gd name="T17" fmla="*/ 1049 h 1904"/>
                <a:gd name="T18" fmla="*/ 1465 w 1584"/>
                <a:gd name="T19" fmla="*/ 1023 h 1904"/>
                <a:gd name="T20" fmla="*/ 1570 w 1584"/>
                <a:gd name="T21" fmla="*/ 940 h 1904"/>
                <a:gd name="T22" fmla="*/ 1540 w 1584"/>
                <a:gd name="T23" fmla="*/ 897 h 1904"/>
                <a:gd name="T24" fmla="*/ 1475 w 1584"/>
                <a:gd name="T25" fmla="*/ 874 h 1904"/>
                <a:gd name="T26" fmla="*/ 1406 w 1584"/>
                <a:gd name="T27" fmla="*/ 887 h 1904"/>
                <a:gd name="T28" fmla="*/ 1378 w 1584"/>
                <a:gd name="T29" fmla="*/ 911 h 1904"/>
                <a:gd name="T30" fmla="*/ 1312 w 1584"/>
                <a:gd name="T31" fmla="*/ 864 h 1904"/>
                <a:gd name="T32" fmla="*/ 1256 w 1584"/>
                <a:gd name="T33" fmla="*/ 872 h 1904"/>
                <a:gd name="T34" fmla="*/ 1159 w 1584"/>
                <a:gd name="T35" fmla="*/ 981 h 1904"/>
                <a:gd name="T36" fmla="*/ 1154 w 1584"/>
                <a:gd name="T37" fmla="*/ 904 h 1904"/>
                <a:gd name="T38" fmla="*/ 1144 w 1584"/>
                <a:gd name="T39" fmla="*/ 890 h 1904"/>
                <a:gd name="T40" fmla="*/ 1219 w 1584"/>
                <a:gd name="T41" fmla="*/ 829 h 1904"/>
                <a:gd name="T42" fmla="*/ 1130 w 1584"/>
                <a:gd name="T43" fmla="*/ 645 h 1904"/>
                <a:gd name="T44" fmla="*/ 1024 w 1584"/>
                <a:gd name="T45" fmla="*/ 633 h 1904"/>
                <a:gd name="T46" fmla="*/ 1044 w 1584"/>
                <a:gd name="T47" fmla="*/ 587 h 1904"/>
                <a:gd name="T48" fmla="*/ 1087 w 1584"/>
                <a:gd name="T49" fmla="*/ 595 h 1904"/>
                <a:gd name="T50" fmla="*/ 1179 w 1584"/>
                <a:gd name="T51" fmla="*/ 480 h 1904"/>
                <a:gd name="T52" fmla="*/ 1282 w 1584"/>
                <a:gd name="T53" fmla="*/ 450 h 1904"/>
                <a:gd name="T54" fmla="*/ 1391 w 1584"/>
                <a:gd name="T55" fmla="*/ 355 h 1904"/>
                <a:gd name="T56" fmla="*/ 1439 w 1584"/>
                <a:gd name="T57" fmla="*/ 282 h 1904"/>
                <a:gd name="T58" fmla="*/ 1404 w 1584"/>
                <a:gd name="T59" fmla="*/ 269 h 1904"/>
                <a:gd name="T60" fmla="*/ 1339 w 1584"/>
                <a:gd name="T61" fmla="*/ 201 h 1904"/>
                <a:gd name="T62" fmla="*/ 1278 w 1584"/>
                <a:gd name="T63" fmla="*/ 206 h 1904"/>
                <a:gd name="T64" fmla="*/ 1250 w 1584"/>
                <a:gd name="T65" fmla="*/ 194 h 1904"/>
                <a:gd name="T66" fmla="*/ 1255 w 1584"/>
                <a:gd name="T67" fmla="*/ 122 h 1904"/>
                <a:gd name="T68" fmla="*/ 1223 w 1584"/>
                <a:gd name="T69" fmla="*/ 35 h 1904"/>
                <a:gd name="T70" fmla="*/ 1176 w 1584"/>
                <a:gd name="T71" fmla="*/ 37 h 1904"/>
                <a:gd name="T72" fmla="*/ 1041 w 1584"/>
                <a:gd name="T73" fmla="*/ 118 h 1904"/>
                <a:gd name="T74" fmla="*/ 1033 w 1584"/>
                <a:gd name="T75" fmla="*/ 152 h 1904"/>
                <a:gd name="T76" fmla="*/ 1038 w 1584"/>
                <a:gd name="T77" fmla="*/ 204 h 1904"/>
                <a:gd name="T78" fmla="*/ 987 w 1584"/>
                <a:gd name="T79" fmla="*/ 275 h 1904"/>
                <a:gd name="T80" fmla="*/ 1077 w 1584"/>
                <a:gd name="T81" fmla="*/ 279 h 1904"/>
                <a:gd name="T82" fmla="*/ 1090 w 1584"/>
                <a:gd name="T83" fmla="*/ 265 h 1904"/>
                <a:gd name="T84" fmla="*/ 1053 w 1584"/>
                <a:gd name="T85" fmla="*/ 308 h 1904"/>
                <a:gd name="T86" fmla="*/ 950 w 1584"/>
                <a:gd name="T87" fmla="*/ 272 h 1904"/>
                <a:gd name="T88" fmla="*/ 901 w 1584"/>
                <a:gd name="T89" fmla="*/ 287 h 1904"/>
                <a:gd name="T90" fmla="*/ 898 w 1584"/>
                <a:gd name="T91" fmla="*/ 311 h 1904"/>
                <a:gd name="T92" fmla="*/ 772 w 1584"/>
                <a:gd name="T93" fmla="*/ 364 h 1904"/>
                <a:gd name="T94" fmla="*/ 785 w 1584"/>
                <a:gd name="T95" fmla="*/ 400 h 1904"/>
                <a:gd name="T96" fmla="*/ 676 w 1584"/>
                <a:gd name="T97" fmla="*/ 440 h 1904"/>
                <a:gd name="T98" fmla="*/ 586 w 1584"/>
                <a:gd name="T99" fmla="*/ 491 h 1904"/>
                <a:gd name="T100" fmla="*/ 467 w 1584"/>
                <a:gd name="T101" fmla="*/ 566 h 1904"/>
                <a:gd name="T102" fmla="*/ 342 w 1584"/>
                <a:gd name="T103" fmla="*/ 689 h 1904"/>
                <a:gd name="T104" fmla="*/ 308 w 1584"/>
                <a:gd name="T105" fmla="*/ 782 h 1904"/>
                <a:gd name="T106" fmla="*/ 196 w 1584"/>
                <a:gd name="T107" fmla="*/ 895 h 1904"/>
                <a:gd name="T108" fmla="*/ 278 w 1584"/>
                <a:gd name="T109" fmla="*/ 948 h 1904"/>
                <a:gd name="T110" fmla="*/ 378 w 1584"/>
                <a:gd name="T111" fmla="*/ 1016 h 1904"/>
                <a:gd name="T112" fmla="*/ 168 w 1584"/>
                <a:gd name="T113" fmla="*/ 1069 h 1904"/>
                <a:gd name="T114" fmla="*/ 70 w 1584"/>
                <a:gd name="T115" fmla="*/ 1248 h 1904"/>
                <a:gd name="T116" fmla="*/ 82 w 1584"/>
                <a:gd name="T117" fmla="*/ 1378 h 1904"/>
                <a:gd name="T118" fmla="*/ 105 w 1584"/>
                <a:gd name="T119" fmla="*/ 1589 h 1904"/>
                <a:gd name="T120" fmla="*/ 132 w 1584"/>
                <a:gd name="T121" fmla="*/ 1780 h 1904"/>
                <a:gd name="T122" fmla="*/ 360 w 1584"/>
                <a:gd name="T123" fmla="*/ 1875 h 1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84" h="1904">
                  <a:moveTo>
                    <a:pt x="437" y="1879"/>
                  </a:moveTo>
                  <a:lnTo>
                    <a:pt x="447" y="1876"/>
                  </a:lnTo>
                  <a:lnTo>
                    <a:pt x="453" y="1878"/>
                  </a:lnTo>
                  <a:lnTo>
                    <a:pt x="457" y="1871"/>
                  </a:lnTo>
                  <a:lnTo>
                    <a:pt x="461" y="1868"/>
                  </a:lnTo>
                  <a:lnTo>
                    <a:pt x="468" y="1868"/>
                  </a:lnTo>
                  <a:lnTo>
                    <a:pt x="473" y="1865"/>
                  </a:lnTo>
                  <a:lnTo>
                    <a:pt x="478" y="1868"/>
                  </a:lnTo>
                  <a:lnTo>
                    <a:pt x="484" y="1868"/>
                  </a:lnTo>
                  <a:lnTo>
                    <a:pt x="488" y="1872"/>
                  </a:lnTo>
                  <a:lnTo>
                    <a:pt x="493" y="1875"/>
                  </a:lnTo>
                  <a:lnTo>
                    <a:pt x="498" y="1875"/>
                  </a:lnTo>
                  <a:lnTo>
                    <a:pt x="501" y="1875"/>
                  </a:lnTo>
                  <a:lnTo>
                    <a:pt x="504" y="1874"/>
                  </a:lnTo>
                  <a:lnTo>
                    <a:pt x="509" y="1872"/>
                  </a:lnTo>
                  <a:lnTo>
                    <a:pt x="509" y="1872"/>
                  </a:lnTo>
                  <a:lnTo>
                    <a:pt x="514" y="1872"/>
                  </a:lnTo>
                  <a:lnTo>
                    <a:pt x="514" y="1872"/>
                  </a:lnTo>
                  <a:lnTo>
                    <a:pt x="524" y="1872"/>
                  </a:lnTo>
                  <a:lnTo>
                    <a:pt x="531" y="1871"/>
                  </a:lnTo>
                  <a:lnTo>
                    <a:pt x="537" y="1868"/>
                  </a:lnTo>
                  <a:lnTo>
                    <a:pt x="541" y="1864"/>
                  </a:lnTo>
                  <a:lnTo>
                    <a:pt x="550" y="1852"/>
                  </a:lnTo>
                  <a:lnTo>
                    <a:pt x="556" y="1846"/>
                  </a:lnTo>
                  <a:lnTo>
                    <a:pt x="562" y="1841"/>
                  </a:lnTo>
                  <a:lnTo>
                    <a:pt x="562" y="1841"/>
                  </a:lnTo>
                  <a:lnTo>
                    <a:pt x="567" y="1835"/>
                  </a:lnTo>
                  <a:lnTo>
                    <a:pt x="574" y="1832"/>
                  </a:lnTo>
                  <a:lnTo>
                    <a:pt x="579" y="1831"/>
                  </a:lnTo>
                  <a:lnTo>
                    <a:pt x="584" y="1829"/>
                  </a:lnTo>
                  <a:lnTo>
                    <a:pt x="597" y="1829"/>
                  </a:lnTo>
                  <a:lnTo>
                    <a:pt x="613" y="1831"/>
                  </a:lnTo>
                  <a:lnTo>
                    <a:pt x="613" y="1831"/>
                  </a:lnTo>
                  <a:lnTo>
                    <a:pt x="625" y="1831"/>
                  </a:lnTo>
                  <a:lnTo>
                    <a:pt x="632" y="1831"/>
                  </a:lnTo>
                  <a:lnTo>
                    <a:pt x="637" y="1828"/>
                  </a:lnTo>
                  <a:lnTo>
                    <a:pt x="647" y="1821"/>
                  </a:lnTo>
                  <a:lnTo>
                    <a:pt x="647" y="1821"/>
                  </a:lnTo>
                  <a:lnTo>
                    <a:pt x="665" y="1808"/>
                  </a:lnTo>
                  <a:lnTo>
                    <a:pt x="669" y="1806"/>
                  </a:lnTo>
                  <a:lnTo>
                    <a:pt x="673" y="1803"/>
                  </a:lnTo>
                  <a:lnTo>
                    <a:pt x="686" y="1803"/>
                  </a:lnTo>
                  <a:lnTo>
                    <a:pt x="686" y="1803"/>
                  </a:lnTo>
                  <a:lnTo>
                    <a:pt x="689" y="1802"/>
                  </a:lnTo>
                  <a:lnTo>
                    <a:pt x="692" y="1800"/>
                  </a:lnTo>
                  <a:lnTo>
                    <a:pt x="693" y="1796"/>
                  </a:lnTo>
                  <a:lnTo>
                    <a:pt x="695" y="1790"/>
                  </a:lnTo>
                  <a:lnTo>
                    <a:pt x="695" y="1785"/>
                  </a:lnTo>
                  <a:lnTo>
                    <a:pt x="695" y="1785"/>
                  </a:lnTo>
                  <a:lnTo>
                    <a:pt x="695" y="1780"/>
                  </a:lnTo>
                  <a:lnTo>
                    <a:pt x="693" y="1779"/>
                  </a:lnTo>
                  <a:lnTo>
                    <a:pt x="690" y="1776"/>
                  </a:lnTo>
                  <a:lnTo>
                    <a:pt x="686" y="1773"/>
                  </a:lnTo>
                  <a:lnTo>
                    <a:pt x="685" y="1772"/>
                  </a:lnTo>
                  <a:lnTo>
                    <a:pt x="683" y="1769"/>
                  </a:lnTo>
                  <a:lnTo>
                    <a:pt x="682" y="1768"/>
                  </a:lnTo>
                  <a:lnTo>
                    <a:pt x="680" y="1768"/>
                  </a:lnTo>
                  <a:lnTo>
                    <a:pt x="679" y="1765"/>
                  </a:lnTo>
                  <a:lnTo>
                    <a:pt x="679" y="1760"/>
                  </a:lnTo>
                  <a:lnTo>
                    <a:pt x="686" y="1756"/>
                  </a:lnTo>
                  <a:lnTo>
                    <a:pt x="689" y="1755"/>
                  </a:lnTo>
                  <a:lnTo>
                    <a:pt x="689" y="1748"/>
                  </a:lnTo>
                  <a:lnTo>
                    <a:pt x="686" y="1739"/>
                  </a:lnTo>
                  <a:lnTo>
                    <a:pt x="686" y="1733"/>
                  </a:lnTo>
                  <a:lnTo>
                    <a:pt x="686" y="1725"/>
                  </a:lnTo>
                  <a:lnTo>
                    <a:pt x="689" y="1720"/>
                  </a:lnTo>
                  <a:lnTo>
                    <a:pt x="702" y="1720"/>
                  </a:lnTo>
                  <a:lnTo>
                    <a:pt x="705" y="1717"/>
                  </a:lnTo>
                  <a:lnTo>
                    <a:pt x="708" y="1710"/>
                  </a:lnTo>
                  <a:lnTo>
                    <a:pt x="708" y="1700"/>
                  </a:lnTo>
                  <a:lnTo>
                    <a:pt x="709" y="1692"/>
                  </a:lnTo>
                  <a:lnTo>
                    <a:pt x="716" y="1683"/>
                  </a:lnTo>
                  <a:lnTo>
                    <a:pt x="719" y="1682"/>
                  </a:lnTo>
                  <a:lnTo>
                    <a:pt x="723" y="1682"/>
                  </a:lnTo>
                  <a:lnTo>
                    <a:pt x="731" y="1682"/>
                  </a:lnTo>
                  <a:lnTo>
                    <a:pt x="741" y="1677"/>
                  </a:lnTo>
                  <a:lnTo>
                    <a:pt x="746" y="1673"/>
                  </a:lnTo>
                  <a:lnTo>
                    <a:pt x="751" y="1670"/>
                  </a:lnTo>
                  <a:lnTo>
                    <a:pt x="755" y="1672"/>
                  </a:lnTo>
                  <a:lnTo>
                    <a:pt x="759" y="1673"/>
                  </a:lnTo>
                  <a:lnTo>
                    <a:pt x="768" y="1673"/>
                  </a:lnTo>
                  <a:lnTo>
                    <a:pt x="768" y="1667"/>
                  </a:lnTo>
                  <a:lnTo>
                    <a:pt x="765" y="1663"/>
                  </a:lnTo>
                  <a:lnTo>
                    <a:pt x="759" y="1662"/>
                  </a:lnTo>
                  <a:lnTo>
                    <a:pt x="749" y="1656"/>
                  </a:lnTo>
                  <a:lnTo>
                    <a:pt x="748" y="1649"/>
                  </a:lnTo>
                  <a:lnTo>
                    <a:pt x="751" y="1644"/>
                  </a:lnTo>
                  <a:lnTo>
                    <a:pt x="753" y="1646"/>
                  </a:lnTo>
                  <a:lnTo>
                    <a:pt x="758" y="1649"/>
                  </a:lnTo>
                  <a:lnTo>
                    <a:pt x="762" y="1647"/>
                  </a:lnTo>
                  <a:lnTo>
                    <a:pt x="772" y="1642"/>
                  </a:lnTo>
                  <a:lnTo>
                    <a:pt x="783" y="1621"/>
                  </a:lnTo>
                  <a:lnTo>
                    <a:pt x="794" y="1623"/>
                  </a:lnTo>
                  <a:lnTo>
                    <a:pt x="804" y="1620"/>
                  </a:lnTo>
                  <a:lnTo>
                    <a:pt x="808" y="1621"/>
                  </a:lnTo>
                  <a:lnTo>
                    <a:pt x="808" y="1629"/>
                  </a:lnTo>
                  <a:lnTo>
                    <a:pt x="809" y="1633"/>
                  </a:lnTo>
                  <a:lnTo>
                    <a:pt x="812" y="1633"/>
                  </a:lnTo>
                  <a:lnTo>
                    <a:pt x="818" y="1627"/>
                  </a:lnTo>
                  <a:lnTo>
                    <a:pt x="821" y="1623"/>
                  </a:lnTo>
                  <a:lnTo>
                    <a:pt x="821" y="1617"/>
                  </a:lnTo>
                  <a:lnTo>
                    <a:pt x="821" y="1611"/>
                  </a:lnTo>
                  <a:lnTo>
                    <a:pt x="821" y="1609"/>
                  </a:lnTo>
                  <a:lnTo>
                    <a:pt x="826" y="1607"/>
                  </a:lnTo>
                  <a:lnTo>
                    <a:pt x="839" y="1593"/>
                  </a:lnTo>
                  <a:lnTo>
                    <a:pt x="849" y="1586"/>
                  </a:lnTo>
                  <a:lnTo>
                    <a:pt x="854" y="1579"/>
                  </a:lnTo>
                  <a:lnTo>
                    <a:pt x="859" y="1570"/>
                  </a:lnTo>
                  <a:lnTo>
                    <a:pt x="867" y="1561"/>
                  </a:lnTo>
                  <a:lnTo>
                    <a:pt x="865" y="1556"/>
                  </a:lnTo>
                  <a:lnTo>
                    <a:pt x="862" y="1547"/>
                  </a:lnTo>
                  <a:lnTo>
                    <a:pt x="858" y="1546"/>
                  </a:lnTo>
                  <a:lnTo>
                    <a:pt x="859" y="1543"/>
                  </a:lnTo>
                  <a:lnTo>
                    <a:pt x="864" y="1543"/>
                  </a:lnTo>
                  <a:lnTo>
                    <a:pt x="869" y="1540"/>
                  </a:lnTo>
                  <a:lnTo>
                    <a:pt x="882" y="1543"/>
                  </a:lnTo>
                  <a:lnTo>
                    <a:pt x="888" y="1541"/>
                  </a:lnTo>
                  <a:lnTo>
                    <a:pt x="895" y="1538"/>
                  </a:lnTo>
                  <a:lnTo>
                    <a:pt x="902" y="1536"/>
                  </a:lnTo>
                  <a:lnTo>
                    <a:pt x="914" y="1536"/>
                  </a:lnTo>
                  <a:lnTo>
                    <a:pt x="921" y="1530"/>
                  </a:lnTo>
                  <a:lnTo>
                    <a:pt x="932" y="1523"/>
                  </a:lnTo>
                  <a:lnTo>
                    <a:pt x="937" y="1510"/>
                  </a:lnTo>
                  <a:lnTo>
                    <a:pt x="938" y="1501"/>
                  </a:lnTo>
                  <a:lnTo>
                    <a:pt x="945" y="1498"/>
                  </a:lnTo>
                  <a:lnTo>
                    <a:pt x="944" y="1491"/>
                  </a:lnTo>
                  <a:lnTo>
                    <a:pt x="950" y="1487"/>
                  </a:lnTo>
                  <a:lnTo>
                    <a:pt x="954" y="1487"/>
                  </a:lnTo>
                  <a:lnTo>
                    <a:pt x="970" y="1487"/>
                  </a:lnTo>
                  <a:lnTo>
                    <a:pt x="975" y="1485"/>
                  </a:lnTo>
                  <a:lnTo>
                    <a:pt x="983" y="1484"/>
                  </a:lnTo>
                  <a:lnTo>
                    <a:pt x="991" y="1485"/>
                  </a:lnTo>
                  <a:lnTo>
                    <a:pt x="1004" y="1485"/>
                  </a:lnTo>
                  <a:lnTo>
                    <a:pt x="1014" y="1487"/>
                  </a:lnTo>
                  <a:lnTo>
                    <a:pt x="1020" y="1485"/>
                  </a:lnTo>
                  <a:lnTo>
                    <a:pt x="1034" y="1467"/>
                  </a:lnTo>
                  <a:lnTo>
                    <a:pt x="1046" y="1470"/>
                  </a:lnTo>
                  <a:lnTo>
                    <a:pt x="1048" y="1464"/>
                  </a:lnTo>
                  <a:lnTo>
                    <a:pt x="1053" y="1462"/>
                  </a:lnTo>
                  <a:lnTo>
                    <a:pt x="1063" y="1462"/>
                  </a:lnTo>
                  <a:lnTo>
                    <a:pt x="1074" y="1471"/>
                  </a:lnTo>
                  <a:lnTo>
                    <a:pt x="1084" y="1475"/>
                  </a:lnTo>
                  <a:lnTo>
                    <a:pt x="1086" y="1480"/>
                  </a:lnTo>
                  <a:lnTo>
                    <a:pt x="1090" y="1484"/>
                  </a:lnTo>
                  <a:lnTo>
                    <a:pt x="1093" y="1488"/>
                  </a:lnTo>
                  <a:lnTo>
                    <a:pt x="1093" y="1493"/>
                  </a:lnTo>
                  <a:lnTo>
                    <a:pt x="1091" y="1504"/>
                  </a:lnTo>
                  <a:lnTo>
                    <a:pt x="1093" y="1511"/>
                  </a:lnTo>
                  <a:lnTo>
                    <a:pt x="1096" y="1521"/>
                  </a:lnTo>
                  <a:lnTo>
                    <a:pt x="1097" y="1530"/>
                  </a:lnTo>
                  <a:lnTo>
                    <a:pt x="1097" y="1538"/>
                  </a:lnTo>
                  <a:lnTo>
                    <a:pt x="1100" y="1544"/>
                  </a:lnTo>
                  <a:lnTo>
                    <a:pt x="1104" y="1550"/>
                  </a:lnTo>
                  <a:lnTo>
                    <a:pt x="1104" y="1560"/>
                  </a:lnTo>
                  <a:lnTo>
                    <a:pt x="1114" y="1580"/>
                  </a:lnTo>
                  <a:lnTo>
                    <a:pt x="1121" y="1596"/>
                  </a:lnTo>
                  <a:lnTo>
                    <a:pt x="1126" y="1596"/>
                  </a:lnTo>
                  <a:lnTo>
                    <a:pt x="1127" y="1594"/>
                  </a:lnTo>
                  <a:lnTo>
                    <a:pt x="1132" y="1593"/>
                  </a:lnTo>
                  <a:lnTo>
                    <a:pt x="1134" y="1584"/>
                  </a:lnTo>
                  <a:lnTo>
                    <a:pt x="1140" y="1583"/>
                  </a:lnTo>
                  <a:lnTo>
                    <a:pt x="1146" y="1580"/>
                  </a:lnTo>
                  <a:lnTo>
                    <a:pt x="1153" y="1574"/>
                  </a:lnTo>
                  <a:lnTo>
                    <a:pt x="1157" y="1567"/>
                  </a:lnTo>
                  <a:lnTo>
                    <a:pt x="1159" y="1560"/>
                  </a:lnTo>
                  <a:lnTo>
                    <a:pt x="1169" y="1557"/>
                  </a:lnTo>
                  <a:lnTo>
                    <a:pt x="1180" y="1553"/>
                  </a:lnTo>
                  <a:lnTo>
                    <a:pt x="1196" y="1546"/>
                  </a:lnTo>
                  <a:lnTo>
                    <a:pt x="1207" y="1548"/>
                  </a:lnTo>
                  <a:lnTo>
                    <a:pt x="1215" y="1543"/>
                  </a:lnTo>
                  <a:lnTo>
                    <a:pt x="1220" y="1540"/>
                  </a:lnTo>
                  <a:lnTo>
                    <a:pt x="1232" y="1540"/>
                  </a:lnTo>
                  <a:lnTo>
                    <a:pt x="1236" y="1526"/>
                  </a:lnTo>
                  <a:lnTo>
                    <a:pt x="1237" y="1523"/>
                  </a:lnTo>
                  <a:lnTo>
                    <a:pt x="1243" y="1527"/>
                  </a:lnTo>
                  <a:lnTo>
                    <a:pt x="1250" y="1540"/>
                  </a:lnTo>
                  <a:lnTo>
                    <a:pt x="1252" y="1538"/>
                  </a:lnTo>
                  <a:lnTo>
                    <a:pt x="1256" y="1534"/>
                  </a:lnTo>
                  <a:lnTo>
                    <a:pt x="1260" y="1534"/>
                  </a:lnTo>
                  <a:lnTo>
                    <a:pt x="1266" y="1537"/>
                  </a:lnTo>
                  <a:lnTo>
                    <a:pt x="1270" y="1538"/>
                  </a:lnTo>
                  <a:lnTo>
                    <a:pt x="1279" y="1537"/>
                  </a:lnTo>
                  <a:lnTo>
                    <a:pt x="1286" y="1538"/>
                  </a:lnTo>
                  <a:lnTo>
                    <a:pt x="1292" y="1543"/>
                  </a:lnTo>
                  <a:lnTo>
                    <a:pt x="1298" y="1540"/>
                  </a:lnTo>
                  <a:lnTo>
                    <a:pt x="1299" y="1536"/>
                  </a:lnTo>
                  <a:lnTo>
                    <a:pt x="1298" y="1527"/>
                  </a:lnTo>
                  <a:lnTo>
                    <a:pt x="1311" y="1513"/>
                  </a:lnTo>
                  <a:lnTo>
                    <a:pt x="1322" y="1504"/>
                  </a:lnTo>
                  <a:lnTo>
                    <a:pt x="1321" y="1498"/>
                  </a:lnTo>
                  <a:lnTo>
                    <a:pt x="1323" y="1487"/>
                  </a:lnTo>
                  <a:lnTo>
                    <a:pt x="1321" y="1480"/>
                  </a:lnTo>
                  <a:lnTo>
                    <a:pt x="1315" y="1471"/>
                  </a:lnTo>
                  <a:lnTo>
                    <a:pt x="1318" y="1467"/>
                  </a:lnTo>
                  <a:lnTo>
                    <a:pt x="1322" y="1471"/>
                  </a:lnTo>
                  <a:lnTo>
                    <a:pt x="1328" y="1475"/>
                  </a:lnTo>
                  <a:lnTo>
                    <a:pt x="1329" y="1473"/>
                  </a:lnTo>
                  <a:lnTo>
                    <a:pt x="1325" y="1468"/>
                  </a:lnTo>
                  <a:lnTo>
                    <a:pt x="1326" y="1461"/>
                  </a:lnTo>
                  <a:lnTo>
                    <a:pt x="1328" y="1462"/>
                  </a:lnTo>
                  <a:lnTo>
                    <a:pt x="1331" y="1465"/>
                  </a:lnTo>
                  <a:lnTo>
                    <a:pt x="1333" y="1465"/>
                  </a:lnTo>
                  <a:lnTo>
                    <a:pt x="1338" y="1460"/>
                  </a:lnTo>
                  <a:lnTo>
                    <a:pt x="1341" y="1451"/>
                  </a:lnTo>
                  <a:lnTo>
                    <a:pt x="1341" y="1444"/>
                  </a:lnTo>
                  <a:lnTo>
                    <a:pt x="1338" y="1440"/>
                  </a:lnTo>
                  <a:lnTo>
                    <a:pt x="1342" y="1431"/>
                  </a:lnTo>
                  <a:lnTo>
                    <a:pt x="1342" y="1428"/>
                  </a:lnTo>
                  <a:lnTo>
                    <a:pt x="1338" y="1425"/>
                  </a:lnTo>
                  <a:lnTo>
                    <a:pt x="1335" y="1417"/>
                  </a:lnTo>
                  <a:lnTo>
                    <a:pt x="1335" y="1412"/>
                  </a:lnTo>
                  <a:lnTo>
                    <a:pt x="1338" y="1405"/>
                  </a:lnTo>
                  <a:lnTo>
                    <a:pt x="1342" y="1401"/>
                  </a:lnTo>
                  <a:lnTo>
                    <a:pt x="1346" y="1399"/>
                  </a:lnTo>
                  <a:lnTo>
                    <a:pt x="1354" y="1399"/>
                  </a:lnTo>
                  <a:lnTo>
                    <a:pt x="1355" y="1398"/>
                  </a:lnTo>
                  <a:lnTo>
                    <a:pt x="1355" y="1384"/>
                  </a:lnTo>
                  <a:lnTo>
                    <a:pt x="1355" y="1377"/>
                  </a:lnTo>
                  <a:lnTo>
                    <a:pt x="1362" y="1368"/>
                  </a:lnTo>
                  <a:lnTo>
                    <a:pt x="1368" y="1362"/>
                  </a:lnTo>
                  <a:lnTo>
                    <a:pt x="1375" y="1362"/>
                  </a:lnTo>
                  <a:lnTo>
                    <a:pt x="1378" y="1362"/>
                  </a:lnTo>
                  <a:lnTo>
                    <a:pt x="1376" y="1357"/>
                  </a:lnTo>
                  <a:lnTo>
                    <a:pt x="1375" y="1352"/>
                  </a:lnTo>
                  <a:lnTo>
                    <a:pt x="1379" y="1346"/>
                  </a:lnTo>
                  <a:lnTo>
                    <a:pt x="1379" y="1344"/>
                  </a:lnTo>
                  <a:lnTo>
                    <a:pt x="1375" y="1304"/>
                  </a:lnTo>
                  <a:lnTo>
                    <a:pt x="1378" y="1301"/>
                  </a:lnTo>
                  <a:lnTo>
                    <a:pt x="1381" y="1288"/>
                  </a:lnTo>
                  <a:lnTo>
                    <a:pt x="1385" y="1286"/>
                  </a:lnTo>
                  <a:lnTo>
                    <a:pt x="1399" y="1291"/>
                  </a:lnTo>
                  <a:lnTo>
                    <a:pt x="1405" y="1283"/>
                  </a:lnTo>
                  <a:lnTo>
                    <a:pt x="1406" y="1279"/>
                  </a:lnTo>
                  <a:lnTo>
                    <a:pt x="1406" y="1275"/>
                  </a:lnTo>
                  <a:lnTo>
                    <a:pt x="1412" y="1275"/>
                  </a:lnTo>
                  <a:lnTo>
                    <a:pt x="1418" y="1276"/>
                  </a:lnTo>
                  <a:lnTo>
                    <a:pt x="1422" y="1281"/>
                  </a:lnTo>
                  <a:lnTo>
                    <a:pt x="1422" y="1283"/>
                  </a:lnTo>
                  <a:lnTo>
                    <a:pt x="1425" y="1291"/>
                  </a:lnTo>
                  <a:lnTo>
                    <a:pt x="1425" y="1295"/>
                  </a:lnTo>
                  <a:lnTo>
                    <a:pt x="1429" y="1293"/>
                  </a:lnTo>
                  <a:lnTo>
                    <a:pt x="1435" y="1289"/>
                  </a:lnTo>
                  <a:lnTo>
                    <a:pt x="1444" y="1289"/>
                  </a:lnTo>
                  <a:lnTo>
                    <a:pt x="1448" y="1293"/>
                  </a:lnTo>
                  <a:lnTo>
                    <a:pt x="1451" y="1295"/>
                  </a:lnTo>
                  <a:lnTo>
                    <a:pt x="1457" y="1293"/>
                  </a:lnTo>
                  <a:lnTo>
                    <a:pt x="1462" y="1289"/>
                  </a:lnTo>
                  <a:lnTo>
                    <a:pt x="1467" y="1282"/>
                  </a:lnTo>
                  <a:lnTo>
                    <a:pt x="1470" y="1281"/>
                  </a:lnTo>
                  <a:lnTo>
                    <a:pt x="1471" y="1283"/>
                  </a:lnTo>
                  <a:lnTo>
                    <a:pt x="1475" y="1286"/>
                  </a:lnTo>
                  <a:lnTo>
                    <a:pt x="1477" y="1285"/>
                  </a:lnTo>
                  <a:lnTo>
                    <a:pt x="1480" y="1282"/>
                  </a:lnTo>
                  <a:lnTo>
                    <a:pt x="1487" y="1283"/>
                  </a:lnTo>
                  <a:lnTo>
                    <a:pt x="1498" y="1286"/>
                  </a:lnTo>
                  <a:lnTo>
                    <a:pt x="1510" y="1289"/>
                  </a:lnTo>
                  <a:lnTo>
                    <a:pt x="1515" y="1292"/>
                  </a:lnTo>
                  <a:lnTo>
                    <a:pt x="1515" y="1283"/>
                  </a:lnTo>
                  <a:lnTo>
                    <a:pt x="1514" y="1278"/>
                  </a:lnTo>
                  <a:lnTo>
                    <a:pt x="1514" y="1272"/>
                  </a:lnTo>
                  <a:lnTo>
                    <a:pt x="1512" y="1269"/>
                  </a:lnTo>
                  <a:lnTo>
                    <a:pt x="1512" y="1265"/>
                  </a:lnTo>
                  <a:lnTo>
                    <a:pt x="1508" y="1263"/>
                  </a:lnTo>
                  <a:lnTo>
                    <a:pt x="1508" y="1265"/>
                  </a:lnTo>
                  <a:lnTo>
                    <a:pt x="1507" y="1266"/>
                  </a:lnTo>
                  <a:lnTo>
                    <a:pt x="1501" y="1266"/>
                  </a:lnTo>
                  <a:lnTo>
                    <a:pt x="1498" y="1266"/>
                  </a:lnTo>
                  <a:lnTo>
                    <a:pt x="1498" y="1265"/>
                  </a:lnTo>
                  <a:lnTo>
                    <a:pt x="1500" y="1263"/>
                  </a:lnTo>
                  <a:lnTo>
                    <a:pt x="1502" y="1262"/>
                  </a:lnTo>
                  <a:lnTo>
                    <a:pt x="1504" y="1258"/>
                  </a:lnTo>
                  <a:lnTo>
                    <a:pt x="1507" y="1258"/>
                  </a:lnTo>
                  <a:lnTo>
                    <a:pt x="1507" y="1259"/>
                  </a:lnTo>
                  <a:lnTo>
                    <a:pt x="1508" y="1259"/>
                  </a:lnTo>
                  <a:lnTo>
                    <a:pt x="1508" y="1255"/>
                  </a:lnTo>
                  <a:lnTo>
                    <a:pt x="1510" y="1232"/>
                  </a:lnTo>
                  <a:lnTo>
                    <a:pt x="1507" y="1222"/>
                  </a:lnTo>
                  <a:lnTo>
                    <a:pt x="1502" y="1218"/>
                  </a:lnTo>
                  <a:lnTo>
                    <a:pt x="1494" y="1215"/>
                  </a:lnTo>
                  <a:lnTo>
                    <a:pt x="1492" y="1213"/>
                  </a:lnTo>
                  <a:lnTo>
                    <a:pt x="1492" y="1213"/>
                  </a:lnTo>
                  <a:lnTo>
                    <a:pt x="1497" y="1212"/>
                  </a:lnTo>
                  <a:lnTo>
                    <a:pt x="1498" y="1209"/>
                  </a:lnTo>
                  <a:lnTo>
                    <a:pt x="1495" y="1203"/>
                  </a:lnTo>
                  <a:lnTo>
                    <a:pt x="1498" y="1205"/>
                  </a:lnTo>
                  <a:lnTo>
                    <a:pt x="1500" y="1209"/>
                  </a:lnTo>
                  <a:lnTo>
                    <a:pt x="1502" y="1215"/>
                  </a:lnTo>
                  <a:lnTo>
                    <a:pt x="1505" y="1218"/>
                  </a:lnTo>
                  <a:lnTo>
                    <a:pt x="1505" y="1213"/>
                  </a:lnTo>
                  <a:lnTo>
                    <a:pt x="1501" y="1205"/>
                  </a:lnTo>
                  <a:lnTo>
                    <a:pt x="1501" y="1193"/>
                  </a:lnTo>
                  <a:lnTo>
                    <a:pt x="1497" y="1165"/>
                  </a:lnTo>
                  <a:lnTo>
                    <a:pt x="1495" y="1146"/>
                  </a:lnTo>
                  <a:lnTo>
                    <a:pt x="1497" y="1142"/>
                  </a:lnTo>
                  <a:lnTo>
                    <a:pt x="1501" y="1136"/>
                  </a:lnTo>
                  <a:lnTo>
                    <a:pt x="1501" y="1132"/>
                  </a:lnTo>
                  <a:lnTo>
                    <a:pt x="1500" y="1127"/>
                  </a:lnTo>
                  <a:lnTo>
                    <a:pt x="1495" y="1122"/>
                  </a:lnTo>
                  <a:lnTo>
                    <a:pt x="1491" y="1113"/>
                  </a:lnTo>
                  <a:lnTo>
                    <a:pt x="1491" y="1109"/>
                  </a:lnTo>
                  <a:lnTo>
                    <a:pt x="1491" y="1104"/>
                  </a:lnTo>
                  <a:lnTo>
                    <a:pt x="1491" y="1104"/>
                  </a:lnTo>
                  <a:lnTo>
                    <a:pt x="1490" y="1097"/>
                  </a:lnTo>
                  <a:lnTo>
                    <a:pt x="1490" y="1097"/>
                  </a:lnTo>
                  <a:lnTo>
                    <a:pt x="1490" y="1096"/>
                  </a:lnTo>
                  <a:lnTo>
                    <a:pt x="1488" y="1096"/>
                  </a:lnTo>
                  <a:lnTo>
                    <a:pt x="1485" y="1099"/>
                  </a:lnTo>
                  <a:lnTo>
                    <a:pt x="1485" y="1099"/>
                  </a:lnTo>
                  <a:lnTo>
                    <a:pt x="1485" y="1100"/>
                  </a:lnTo>
                  <a:lnTo>
                    <a:pt x="1484" y="1100"/>
                  </a:lnTo>
                  <a:lnTo>
                    <a:pt x="1482" y="1097"/>
                  </a:lnTo>
                  <a:lnTo>
                    <a:pt x="1482" y="1097"/>
                  </a:lnTo>
                  <a:lnTo>
                    <a:pt x="1480" y="1094"/>
                  </a:lnTo>
                  <a:lnTo>
                    <a:pt x="1478" y="1090"/>
                  </a:lnTo>
                  <a:lnTo>
                    <a:pt x="1478" y="1090"/>
                  </a:lnTo>
                  <a:lnTo>
                    <a:pt x="1480" y="1087"/>
                  </a:lnTo>
                  <a:lnTo>
                    <a:pt x="1480" y="1086"/>
                  </a:lnTo>
                  <a:lnTo>
                    <a:pt x="1481" y="1087"/>
                  </a:lnTo>
                  <a:lnTo>
                    <a:pt x="1481" y="1087"/>
                  </a:lnTo>
                  <a:lnTo>
                    <a:pt x="1484" y="1090"/>
                  </a:lnTo>
                  <a:lnTo>
                    <a:pt x="1485" y="1092"/>
                  </a:lnTo>
                  <a:lnTo>
                    <a:pt x="1487" y="1092"/>
                  </a:lnTo>
                  <a:lnTo>
                    <a:pt x="1487" y="1092"/>
                  </a:lnTo>
                  <a:lnTo>
                    <a:pt x="1487" y="1089"/>
                  </a:lnTo>
                  <a:lnTo>
                    <a:pt x="1487" y="1086"/>
                  </a:lnTo>
                  <a:lnTo>
                    <a:pt x="1484" y="1082"/>
                  </a:lnTo>
                  <a:lnTo>
                    <a:pt x="1484" y="1082"/>
                  </a:lnTo>
                  <a:lnTo>
                    <a:pt x="1484" y="1077"/>
                  </a:lnTo>
                  <a:lnTo>
                    <a:pt x="1484" y="1076"/>
                  </a:lnTo>
                  <a:lnTo>
                    <a:pt x="1484" y="1076"/>
                  </a:lnTo>
                  <a:lnTo>
                    <a:pt x="1485" y="1069"/>
                  </a:lnTo>
                  <a:lnTo>
                    <a:pt x="1485" y="1069"/>
                  </a:lnTo>
                  <a:lnTo>
                    <a:pt x="1484" y="1063"/>
                  </a:lnTo>
                  <a:lnTo>
                    <a:pt x="1484" y="1063"/>
                  </a:lnTo>
                  <a:lnTo>
                    <a:pt x="1484" y="1061"/>
                  </a:lnTo>
                  <a:lnTo>
                    <a:pt x="1485" y="1057"/>
                  </a:lnTo>
                  <a:lnTo>
                    <a:pt x="1485" y="1057"/>
                  </a:lnTo>
                  <a:lnTo>
                    <a:pt x="1485" y="1056"/>
                  </a:lnTo>
                  <a:lnTo>
                    <a:pt x="1484" y="1054"/>
                  </a:lnTo>
                  <a:lnTo>
                    <a:pt x="1482" y="1056"/>
                  </a:lnTo>
                  <a:lnTo>
                    <a:pt x="1482" y="1056"/>
                  </a:lnTo>
                  <a:lnTo>
                    <a:pt x="1481" y="1059"/>
                  </a:lnTo>
                  <a:lnTo>
                    <a:pt x="1481" y="1060"/>
                  </a:lnTo>
                  <a:lnTo>
                    <a:pt x="1481" y="1060"/>
                  </a:lnTo>
                  <a:lnTo>
                    <a:pt x="1480" y="1063"/>
                  </a:lnTo>
                  <a:lnTo>
                    <a:pt x="1478" y="1063"/>
                  </a:lnTo>
                  <a:lnTo>
                    <a:pt x="1478" y="1063"/>
                  </a:lnTo>
                  <a:lnTo>
                    <a:pt x="1475" y="1061"/>
                  </a:lnTo>
                  <a:lnTo>
                    <a:pt x="1474" y="1061"/>
                  </a:lnTo>
                  <a:lnTo>
                    <a:pt x="1474" y="1061"/>
                  </a:lnTo>
                  <a:lnTo>
                    <a:pt x="1465" y="1061"/>
                  </a:lnTo>
                  <a:lnTo>
                    <a:pt x="1465" y="1061"/>
                  </a:lnTo>
                  <a:lnTo>
                    <a:pt x="1462" y="1061"/>
                  </a:lnTo>
                  <a:lnTo>
                    <a:pt x="1459" y="1059"/>
                  </a:lnTo>
                  <a:lnTo>
                    <a:pt x="1459" y="1059"/>
                  </a:lnTo>
                  <a:lnTo>
                    <a:pt x="1458" y="1054"/>
                  </a:lnTo>
                  <a:lnTo>
                    <a:pt x="1458" y="1051"/>
                  </a:lnTo>
                  <a:lnTo>
                    <a:pt x="1458" y="1051"/>
                  </a:lnTo>
                  <a:lnTo>
                    <a:pt x="1458" y="1050"/>
                  </a:lnTo>
                  <a:lnTo>
                    <a:pt x="1457" y="1049"/>
                  </a:lnTo>
                  <a:lnTo>
                    <a:pt x="1457" y="1049"/>
                  </a:lnTo>
                  <a:lnTo>
                    <a:pt x="1454" y="1050"/>
                  </a:lnTo>
                  <a:lnTo>
                    <a:pt x="1448" y="1050"/>
                  </a:lnTo>
                  <a:lnTo>
                    <a:pt x="1448" y="1050"/>
                  </a:lnTo>
                  <a:lnTo>
                    <a:pt x="1444" y="1050"/>
                  </a:lnTo>
                  <a:lnTo>
                    <a:pt x="1439" y="1047"/>
                  </a:lnTo>
                  <a:lnTo>
                    <a:pt x="1439" y="1047"/>
                  </a:lnTo>
                  <a:lnTo>
                    <a:pt x="1438" y="1046"/>
                  </a:lnTo>
                  <a:lnTo>
                    <a:pt x="1439" y="1046"/>
                  </a:lnTo>
                  <a:lnTo>
                    <a:pt x="1445" y="1044"/>
                  </a:lnTo>
                  <a:lnTo>
                    <a:pt x="1445" y="1044"/>
                  </a:lnTo>
                  <a:lnTo>
                    <a:pt x="1448" y="1044"/>
                  </a:lnTo>
                  <a:lnTo>
                    <a:pt x="1451" y="1043"/>
                  </a:lnTo>
                  <a:lnTo>
                    <a:pt x="1451" y="1043"/>
                  </a:lnTo>
                  <a:lnTo>
                    <a:pt x="1457" y="1043"/>
                  </a:lnTo>
                  <a:lnTo>
                    <a:pt x="1464" y="1046"/>
                  </a:lnTo>
                  <a:lnTo>
                    <a:pt x="1464" y="1046"/>
                  </a:lnTo>
                  <a:lnTo>
                    <a:pt x="1465" y="1047"/>
                  </a:lnTo>
                  <a:lnTo>
                    <a:pt x="1467" y="1046"/>
                  </a:lnTo>
                  <a:lnTo>
                    <a:pt x="1467" y="1043"/>
                  </a:lnTo>
                  <a:lnTo>
                    <a:pt x="1467" y="1043"/>
                  </a:lnTo>
                  <a:lnTo>
                    <a:pt x="1468" y="1041"/>
                  </a:lnTo>
                  <a:lnTo>
                    <a:pt x="1470" y="1040"/>
                  </a:lnTo>
                  <a:lnTo>
                    <a:pt x="1470" y="1040"/>
                  </a:lnTo>
                  <a:lnTo>
                    <a:pt x="1470" y="1039"/>
                  </a:lnTo>
                  <a:lnTo>
                    <a:pt x="1468" y="1037"/>
                  </a:lnTo>
                  <a:lnTo>
                    <a:pt x="1464" y="1036"/>
                  </a:lnTo>
                  <a:lnTo>
                    <a:pt x="1464" y="1036"/>
                  </a:lnTo>
                  <a:lnTo>
                    <a:pt x="1461" y="1033"/>
                  </a:lnTo>
                  <a:lnTo>
                    <a:pt x="1461" y="1031"/>
                  </a:lnTo>
                  <a:lnTo>
                    <a:pt x="1459" y="1026"/>
                  </a:lnTo>
                  <a:lnTo>
                    <a:pt x="1459" y="1026"/>
                  </a:lnTo>
                  <a:lnTo>
                    <a:pt x="1458" y="1021"/>
                  </a:lnTo>
                  <a:lnTo>
                    <a:pt x="1458" y="1017"/>
                  </a:lnTo>
                  <a:lnTo>
                    <a:pt x="1458" y="1017"/>
                  </a:lnTo>
                  <a:lnTo>
                    <a:pt x="1459" y="1016"/>
                  </a:lnTo>
                  <a:lnTo>
                    <a:pt x="1459" y="1017"/>
                  </a:lnTo>
                  <a:lnTo>
                    <a:pt x="1462" y="1020"/>
                  </a:lnTo>
                  <a:lnTo>
                    <a:pt x="1462" y="1020"/>
                  </a:lnTo>
                  <a:lnTo>
                    <a:pt x="1465" y="1023"/>
                  </a:lnTo>
                  <a:lnTo>
                    <a:pt x="1465" y="1023"/>
                  </a:lnTo>
                  <a:lnTo>
                    <a:pt x="1465" y="1024"/>
                  </a:lnTo>
                  <a:lnTo>
                    <a:pt x="1465" y="1024"/>
                  </a:lnTo>
                  <a:lnTo>
                    <a:pt x="1465" y="1029"/>
                  </a:lnTo>
                  <a:lnTo>
                    <a:pt x="1467" y="1033"/>
                  </a:lnTo>
                  <a:lnTo>
                    <a:pt x="1467" y="1033"/>
                  </a:lnTo>
                  <a:lnTo>
                    <a:pt x="1468" y="1034"/>
                  </a:lnTo>
                  <a:lnTo>
                    <a:pt x="1471" y="1036"/>
                  </a:lnTo>
                  <a:lnTo>
                    <a:pt x="1478" y="1037"/>
                  </a:lnTo>
                  <a:lnTo>
                    <a:pt x="1478" y="1037"/>
                  </a:lnTo>
                  <a:lnTo>
                    <a:pt x="1481" y="1040"/>
                  </a:lnTo>
                  <a:lnTo>
                    <a:pt x="1482" y="1043"/>
                  </a:lnTo>
                  <a:lnTo>
                    <a:pt x="1487" y="1047"/>
                  </a:lnTo>
                  <a:lnTo>
                    <a:pt x="1487" y="1047"/>
                  </a:lnTo>
                  <a:lnTo>
                    <a:pt x="1488" y="1049"/>
                  </a:lnTo>
                  <a:lnTo>
                    <a:pt x="1491" y="1049"/>
                  </a:lnTo>
                  <a:lnTo>
                    <a:pt x="1494" y="1046"/>
                  </a:lnTo>
                  <a:lnTo>
                    <a:pt x="1495" y="1040"/>
                  </a:lnTo>
                  <a:lnTo>
                    <a:pt x="1497" y="1031"/>
                  </a:lnTo>
                  <a:lnTo>
                    <a:pt x="1498" y="1026"/>
                  </a:lnTo>
                  <a:lnTo>
                    <a:pt x="1497" y="1024"/>
                  </a:lnTo>
                  <a:lnTo>
                    <a:pt x="1491" y="1024"/>
                  </a:lnTo>
                  <a:lnTo>
                    <a:pt x="1487" y="1024"/>
                  </a:lnTo>
                  <a:lnTo>
                    <a:pt x="1487" y="1020"/>
                  </a:lnTo>
                  <a:lnTo>
                    <a:pt x="1487" y="1017"/>
                  </a:lnTo>
                  <a:lnTo>
                    <a:pt x="1488" y="1016"/>
                  </a:lnTo>
                  <a:lnTo>
                    <a:pt x="1492" y="1016"/>
                  </a:lnTo>
                  <a:lnTo>
                    <a:pt x="1495" y="1020"/>
                  </a:lnTo>
                  <a:lnTo>
                    <a:pt x="1497" y="1021"/>
                  </a:lnTo>
                  <a:lnTo>
                    <a:pt x="1501" y="1021"/>
                  </a:lnTo>
                  <a:lnTo>
                    <a:pt x="1508" y="1010"/>
                  </a:lnTo>
                  <a:lnTo>
                    <a:pt x="1512" y="998"/>
                  </a:lnTo>
                  <a:lnTo>
                    <a:pt x="1518" y="994"/>
                  </a:lnTo>
                  <a:lnTo>
                    <a:pt x="1525" y="990"/>
                  </a:lnTo>
                  <a:lnTo>
                    <a:pt x="1531" y="984"/>
                  </a:lnTo>
                  <a:lnTo>
                    <a:pt x="1543" y="974"/>
                  </a:lnTo>
                  <a:lnTo>
                    <a:pt x="1551" y="961"/>
                  </a:lnTo>
                  <a:lnTo>
                    <a:pt x="1558" y="955"/>
                  </a:lnTo>
                  <a:lnTo>
                    <a:pt x="1565" y="945"/>
                  </a:lnTo>
                  <a:lnTo>
                    <a:pt x="1570" y="940"/>
                  </a:lnTo>
                  <a:lnTo>
                    <a:pt x="1578" y="940"/>
                  </a:lnTo>
                  <a:lnTo>
                    <a:pt x="1583" y="940"/>
                  </a:lnTo>
                  <a:lnTo>
                    <a:pt x="1583" y="937"/>
                  </a:lnTo>
                  <a:lnTo>
                    <a:pt x="1584" y="934"/>
                  </a:lnTo>
                  <a:lnTo>
                    <a:pt x="1581" y="931"/>
                  </a:lnTo>
                  <a:lnTo>
                    <a:pt x="1577" y="930"/>
                  </a:lnTo>
                  <a:lnTo>
                    <a:pt x="1574" y="930"/>
                  </a:lnTo>
                  <a:lnTo>
                    <a:pt x="1568" y="928"/>
                  </a:lnTo>
                  <a:lnTo>
                    <a:pt x="1565" y="925"/>
                  </a:lnTo>
                  <a:lnTo>
                    <a:pt x="1561" y="925"/>
                  </a:lnTo>
                  <a:lnTo>
                    <a:pt x="1560" y="925"/>
                  </a:lnTo>
                  <a:lnTo>
                    <a:pt x="1560" y="928"/>
                  </a:lnTo>
                  <a:lnTo>
                    <a:pt x="1560" y="931"/>
                  </a:lnTo>
                  <a:lnTo>
                    <a:pt x="1555" y="934"/>
                  </a:lnTo>
                  <a:lnTo>
                    <a:pt x="1550" y="934"/>
                  </a:lnTo>
                  <a:lnTo>
                    <a:pt x="1547" y="933"/>
                  </a:lnTo>
                  <a:lnTo>
                    <a:pt x="1544" y="933"/>
                  </a:lnTo>
                  <a:lnTo>
                    <a:pt x="1540" y="933"/>
                  </a:lnTo>
                  <a:lnTo>
                    <a:pt x="1540" y="931"/>
                  </a:lnTo>
                  <a:lnTo>
                    <a:pt x="1540" y="928"/>
                  </a:lnTo>
                  <a:lnTo>
                    <a:pt x="1544" y="925"/>
                  </a:lnTo>
                  <a:lnTo>
                    <a:pt x="1544" y="921"/>
                  </a:lnTo>
                  <a:lnTo>
                    <a:pt x="1550" y="920"/>
                  </a:lnTo>
                  <a:lnTo>
                    <a:pt x="1553" y="921"/>
                  </a:lnTo>
                  <a:lnTo>
                    <a:pt x="1554" y="927"/>
                  </a:lnTo>
                  <a:lnTo>
                    <a:pt x="1555" y="928"/>
                  </a:lnTo>
                  <a:lnTo>
                    <a:pt x="1558" y="928"/>
                  </a:lnTo>
                  <a:lnTo>
                    <a:pt x="1558" y="927"/>
                  </a:lnTo>
                  <a:lnTo>
                    <a:pt x="1558" y="925"/>
                  </a:lnTo>
                  <a:lnTo>
                    <a:pt x="1557" y="923"/>
                  </a:lnTo>
                  <a:lnTo>
                    <a:pt x="1555" y="920"/>
                  </a:lnTo>
                  <a:lnTo>
                    <a:pt x="1555" y="915"/>
                  </a:lnTo>
                  <a:lnTo>
                    <a:pt x="1555" y="911"/>
                  </a:lnTo>
                  <a:lnTo>
                    <a:pt x="1558" y="908"/>
                  </a:lnTo>
                  <a:lnTo>
                    <a:pt x="1558" y="903"/>
                  </a:lnTo>
                  <a:lnTo>
                    <a:pt x="1554" y="900"/>
                  </a:lnTo>
                  <a:lnTo>
                    <a:pt x="1547" y="892"/>
                  </a:lnTo>
                  <a:lnTo>
                    <a:pt x="1544" y="892"/>
                  </a:lnTo>
                  <a:lnTo>
                    <a:pt x="1543" y="892"/>
                  </a:lnTo>
                  <a:lnTo>
                    <a:pt x="1540" y="897"/>
                  </a:lnTo>
                  <a:lnTo>
                    <a:pt x="1537" y="898"/>
                  </a:lnTo>
                  <a:lnTo>
                    <a:pt x="1534" y="901"/>
                  </a:lnTo>
                  <a:lnTo>
                    <a:pt x="1531" y="903"/>
                  </a:lnTo>
                  <a:lnTo>
                    <a:pt x="1528" y="901"/>
                  </a:lnTo>
                  <a:lnTo>
                    <a:pt x="1528" y="898"/>
                  </a:lnTo>
                  <a:lnTo>
                    <a:pt x="1530" y="897"/>
                  </a:lnTo>
                  <a:lnTo>
                    <a:pt x="1531" y="895"/>
                  </a:lnTo>
                  <a:lnTo>
                    <a:pt x="1533" y="894"/>
                  </a:lnTo>
                  <a:lnTo>
                    <a:pt x="1537" y="892"/>
                  </a:lnTo>
                  <a:lnTo>
                    <a:pt x="1541" y="892"/>
                  </a:lnTo>
                  <a:lnTo>
                    <a:pt x="1544" y="890"/>
                  </a:lnTo>
                  <a:lnTo>
                    <a:pt x="1544" y="887"/>
                  </a:lnTo>
                  <a:lnTo>
                    <a:pt x="1544" y="882"/>
                  </a:lnTo>
                  <a:lnTo>
                    <a:pt x="1543" y="878"/>
                  </a:lnTo>
                  <a:lnTo>
                    <a:pt x="1537" y="875"/>
                  </a:lnTo>
                  <a:lnTo>
                    <a:pt x="1527" y="872"/>
                  </a:lnTo>
                  <a:lnTo>
                    <a:pt x="1523" y="872"/>
                  </a:lnTo>
                  <a:lnTo>
                    <a:pt x="1517" y="872"/>
                  </a:lnTo>
                  <a:lnTo>
                    <a:pt x="1508" y="871"/>
                  </a:lnTo>
                  <a:lnTo>
                    <a:pt x="1505" y="871"/>
                  </a:lnTo>
                  <a:lnTo>
                    <a:pt x="1502" y="874"/>
                  </a:lnTo>
                  <a:lnTo>
                    <a:pt x="1500" y="881"/>
                  </a:lnTo>
                  <a:lnTo>
                    <a:pt x="1497" y="885"/>
                  </a:lnTo>
                  <a:lnTo>
                    <a:pt x="1484" y="885"/>
                  </a:lnTo>
                  <a:lnTo>
                    <a:pt x="1480" y="885"/>
                  </a:lnTo>
                  <a:lnTo>
                    <a:pt x="1475" y="884"/>
                  </a:lnTo>
                  <a:lnTo>
                    <a:pt x="1475" y="887"/>
                  </a:lnTo>
                  <a:lnTo>
                    <a:pt x="1474" y="890"/>
                  </a:lnTo>
                  <a:lnTo>
                    <a:pt x="1478" y="888"/>
                  </a:lnTo>
                  <a:lnTo>
                    <a:pt x="1481" y="888"/>
                  </a:lnTo>
                  <a:lnTo>
                    <a:pt x="1482" y="890"/>
                  </a:lnTo>
                  <a:lnTo>
                    <a:pt x="1481" y="892"/>
                  </a:lnTo>
                  <a:lnTo>
                    <a:pt x="1480" y="898"/>
                  </a:lnTo>
                  <a:lnTo>
                    <a:pt x="1477" y="901"/>
                  </a:lnTo>
                  <a:lnTo>
                    <a:pt x="1475" y="900"/>
                  </a:lnTo>
                  <a:lnTo>
                    <a:pt x="1472" y="897"/>
                  </a:lnTo>
                  <a:lnTo>
                    <a:pt x="1471" y="890"/>
                  </a:lnTo>
                  <a:lnTo>
                    <a:pt x="1472" y="881"/>
                  </a:lnTo>
                  <a:lnTo>
                    <a:pt x="1472" y="875"/>
                  </a:lnTo>
                  <a:lnTo>
                    <a:pt x="1475" y="874"/>
                  </a:lnTo>
                  <a:lnTo>
                    <a:pt x="1475" y="871"/>
                  </a:lnTo>
                  <a:lnTo>
                    <a:pt x="1474" y="868"/>
                  </a:lnTo>
                  <a:lnTo>
                    <a:pt x="1472" y="865"/>
                  </a:lnTo>
                  <a:lnTo>
                    <a:pt x="1470" y="865"/>
                  </a:lnTo>
                  <a:lnTo>
                    <a:pt x="1465" y="864"/>
                  </a:lnTo>
                  <a:lnTo>
                    <a:pt x="1459" y="864"/>
                  </a:lnTo>
                  <a:lnTo>
                    <a:pt x="1455" y="865"/>
                  </a:lnTo>
                  <a:lnTo>
                    <a:pt x="1444" y="871"/>
                  </a:lnTo>
                  <a:lnTo>
                    <a:pt x="1442" y="877"/>
                  </a:lnTo>
                  <a:lnTo>
                    <a:pt x="1438" y="878"/>
                  </a:lnTo>
                  <a:lnTo>
                    <a:pt x="1434" y="878"/>
                  </a:lnTo>
                  <a:lnTo>
                    <a:pt x="1434" y="880"/>
                  </a:lnTo>
                  <a:lnTo>
                    <a:pt x="1434" y="884"/>
                  </a:lnTo>
                  <a:lnTo>
                    <a:pt x="1429" y="888"/>
                  </a:lnTo>
                  <a:lnTo>
                    <a:pt x="1424" y="887"/>
                  </a:lnTo>
                  <a:lnTo>
                    <a:pt x="1421" y="888"/>
                  </a:lnTo>
                  <a:lnTo>
                    <a:pt x="1421" y="890"/>
                  </a:lnTo>
                  <a:lnTo>
                    <a:pt x="1422" y="892"/>
                  </a:lnTo>
                  <a:lnTo>
                    <a:pt x="1418" y="894"/>
                  </a:lnTo>
                  <a:lnTo>
                    <a:pt x="1414" y="894"/>
                  </a:lnTo>
                  <a:lnTo>
                    <a:pt x="1412" y="891"/>
                  </a:lnTo>
                  <a:lnTo>
                    <a:pt x="1412" y="888"/>
                  </a:lnTo>
                  <a:lnTo>
                    <a:pt x="1414" y="887"/>
                  </a:lnTo>
                  <a:lnTo>
                    <a:pt x="1418" y="884"/>
                  </a:lnTo>
                  <a:lnTo>
                    <a:pt x="1422" y="884"/>
                  </a:lnTo>
                  <a:lnTo>
                    <a:pt x="1427" y="884"/>
                  </a:lnTo>
                  <a:lnTo>
                    <a:pt x="1428" y="882"/>
                  </a:lnTo>
                  <a:lnTo>
                    <a:pt x="1428" y="881"/>
                  </a:lnTo>
                  <a:lnTo>
                    <a:pt x="1425" y="881"/>
                  </a:lnTo>
                  <a:lnTo>
                    <a:pt x="1419" y="881"/>
                  </a:lnTo>
                  <a:lnTo>
                    <a:pt x="1415" y="882"/>
                  </a:lnTo>
                  <a:lnTo>
                    <a:pt x="1405" y="884"/>
                  </a:lnTo>
                  <a:lnTo>
                    <a:pt x="1394" y="885"/>
                  </a:lnTo>
                  <a:lnTo>
                    <a:pt x="1384" y="881"/>
                  </a:lnTo>
                  <a:lnTo>
                    <a:pt x="1378" y="881"/>
                  </a:lnTo>
                  <a:lnTo>
                    <a:pt x="1378" y="884"/>
                  </a:lnTo>
                  <a:lnTo>
                    <a:pt x="1382" y="885"/>
                  </a:lnTo>
                  <a:lnTo>
                    <a:pt x="1392" y="887"/>
                  </a:lnTo>
                  <a:lnTo>
                    <a:pt x="1399" y="887"/>
                  </a:lnTo>
                  <a:lnTo>
                    <a:pt x="1406" y="887"/>
                  </a:lnTo>
                  <a:lnTo>
                    <a:pt x="1406" y="888"/>
                  </a:lnTo>
                  <a:lnTo>
                    <a:pt x="1408" y="892"/>
                  </a:lnTo>
                  <a:lnTo>
                    <a:pt x="1408" y="894"/>
                  </a:lnTo>
                  <a:lnTo>
                    <a:pt x="1408" y="894"/>
                  </a:lnTo>
                  <a:lnTo>
                    <a:pt x="1408" y="897"/>
                  </a:lnTo>
                  <a:lnTo>
                    <a:pt x="1406" y="900"/>
                  </a:lnTo>
                  <a:lnTo>
                    <a:pt x="1405" y="904"/>
                  </a:lnTo>
                  <a:lnTo>
                    <a:pt x="1401" y="905"/>
                  </a:lnTo>
                  <a:lnTo>
                    <a:pt x="1399" y="903"/>
                  </a:lnTo>
                  <a:lnTo>
                    <a:pt x="1399" y="898"/>
                  </a:lnTo>
                  <a:lnTo>
                    <a:pt x="1395" y="900"/>
                  </a:lnTo>
                  <a:lnTo>
                    <a:pt x="1392" y="900"/>
                  </a:lnTo>
                  <a:lnTo>
                    <a:pt x="1389" y="900"/>
                  </a:lnTo>
                  <a:lnTo>
                    <a:pt x="1389" y="897"/>
                  </a:lnTo>
                  <a:lnTo>
                    <a:pt x="1391" y="895"/>
                  </a:lnTo>
                  <a:lnTo>
                    <a:pt x="1394" y="895"/>
                  </a:lnTo>
                  <a:lnTo>
                    <a:pt x="1396" y="895"/>
                  </a:lnTo>
                  <a:lnTo>
                    <a:pt x="1396" y="892"/>
                  </a:lnTo>
                  <a:lnTo>
                    <a:pt x="1396" y="890"/>
                  </a:lnTo>
                  <a:lnTo>
                    <a:pt x="1395" y="891"/>
                  </a:lnTo>
                  <a:lnTo>
                    <a:pt x="1392" y="892"/>
                  </a:lnTo>
                  <a:lnTo>
                    <a:pt x="1392" y="891"/>
                  </a:lnTo>
                  <a:lnTo>
                    <a:pt x="1391" y="890"/>
                  </a:lnTo>
                  <a:lnTo>
                    <a:pt x="1389" y="888"/>
                  </a:lnTo>
                  <a:lnTo>
                    <a:pt x="1385" y="888"/>
                  </a:lnTo>
                  <a:lnTo>
                    <a:pt x="1385" y="888"/>
                  </a:lnTo>
                  <a:lnTo>
                    <a:pt x="1385" y="891"/>
                  </a:lnTo>
                  <a:lnTo>
                    <a:pt x="1385" y="894"/>
                  </a:lnTo>
                  <a:lnTo>
                    <a:pt x="1384" y="895"/>
                  </a:lnTo>
                  <a:lnTo>
                    <a:pt x="1382" y="892"/>
                  </a:lnTo>
                  <a:lnTo>
                    <a:pt x="1381" y="891"/>
                  </a:lnTo>
                  <a:lnTo>
                    <a:pt x="1379" y="891"/>
                  </a:lnTo>
                  <a:lnTo>
                    <a:pt x="1378" y="894"/>
                  </a:lnTo>
                  <a:lnTo>
                    <a:pt x="1378" y="895"/>
                  </a:lnTo>
                  <a:lnTo>
                    <a:pt x="1375" y="895"/>
                  </a:lnTo>
                  <a:lnTo>
                    <a:pt x="1375" y="898"/>
                  </a:lnTo>
                  <a:lnTo>
                    <a:pt x="1375" y="903"/>
                  </a:lnTo>
                  <a:lnTo>
                    <a:pt x="1376" y="905"/>
                  </a:lnTo>
                  <a:lnTo>
                    <a:pt x="1378" y="907"/>
                  </a:lnTo>
                  <a:lnTo>
                    <a:pt x="1378" y="911"/>
                  </a:lnTo>
                  <a:lnTo>
                    <a:pt x="1379" y="914"/>
                  </a:lnTo>
                  <a:lnTo>
                    <a:pt x="1378" y="917"/>
                  </a:lnTo>
                  <a:lnTo>
                    <a:pt x="1371" y="918"/>
                  </a:lnTo>
                  <a:lnTo>
                    <a:pt x="1368" y="918"/>
                  </a:lnTo>
                  <a:lnTo>
                    <a:pt x="1364" y="914"/>
                  </a:lnTo>
                  <a:lnTo>
                    <a:pt x="1359" y="911"/>
                  </a:lnTo>
                  <a:lnTo>
                    <a:pt x="1361" y="908"/>
                  </a:lnTo>
                  <a:lnTo>
                    <a:pt x="1362" y="908"/>
                  </a:lnTo>
                  <a:lnTo>
                    <a:pt x="1364" y="903"/>
                  </a:lnTo>
                  <a:lnTo>
                    <a:pt x="1366" y="901"/>
                  </a:lnTo>
                  <a:lnTo>
                    <a:pt x="1369" y="901"/>
                  </a:lnTo>
                  <a:lnTo>
                    <a:pt x="1371" y="901"/>
                  </a:lnTo>
                  <a:lnTo>
                    <a:pt x="1371" y="900"/>
                  </a:lnTo>
                  <a:lnTo>
                    <a:pt x="1368" y="897"/>
                  </a:lnTo>
                  <a:lnTo>
                    <a:pt x="1365" y="895"/>
                  </a:lnTo>
                  <a:lnTo>
                    <a:pt x="1366" y="892"/>
                  </a:lnTo>
                  <a:lnTo>
                    <a:pt x="1371" y="892"/>
                  </a:lnTo>
                  <a:lnTo>
                    <a:pt x="1375" y="892"/>
                  </a:lnTo>
                  <a:lnTo>
                    <a:pt x="1376" y="891"/>
                  </a:lnTo>
                  <a:lnTo>
                    <a:pt x="1376" y="888"/>
                  </a:lnTo>
                  <a:lnTo>
                    <a:pt x="1376" y="885"/>
                  </a:lnTo>
                  <a:lnTo>
                    <a:pt x="1374" y="884"/>
                  </a:lnTo>
                  <a:lnTo>
                    <a:pt x="1371" y="884"/>
                  </a:lnTo>
                  <a:lnTo>
                    <a:pt x="1369" y="884"/>
                  </a:lnTo>
                  <a:lnTo>
                    <a:pt x="1368" y="885"/>
                  </a:lnTo>
                  <a:lnTo>
                    <a:pt x="1368" y="887"/>
                  </a:lnTo>
                  <a:lnTo>
                    <a:pt x="1365" y="891"/>
                  </a:lnTo>
                  <a:lnTo>
                    <a:pt x="1361" y="891"/>
                  </a:lnTo>
                  <a:lnTo>
                    <a:pt x="1361" y="890"/>
                  </a:lnTo>
                  <a:lnTo>
                    <a:pt x="1362" y="887"/>
                  </a:lnTo>
                  <a:lnTo>
                    <a:pt x="1365" y="887"/>
                  </a:lnTo>
                  <a:lnTo>
                    <a:pt x="1366" y="884"/>
                  </a:lnTo>
                  <a:lnTo>
                    <a:pt x="1369" y="881"/>
                  </a:lnTo>
                  <a:lnTo>
                    <a:pt x="1372" y="881"/>
                  </a:lnTo>
                  <a:lnTo>
                    <a:pt x="1374" y="878"/>
                  </a:lnTo>
                  <a:lnTo>
                    <a:pt x="1365" y="877"/>
                  </a:lnTo>
                  <a:lnTo>
                    <a:pt x="1356" y="874"/>
                  </a:lnTo>
                  <a:lnTo>
                    <a:pt x="1323" y="865"/>
                  </a:lnTo>
                  <a:lnTo>
                    <a:pt x="1316" y="864"/>
                  </a:lnTo>
                  <a:lnTo>
                    <a:pt x="1312" y="864"/>
                  </a:lnTo>
                  <a:lnTo>
                    <a:pt x="1312" y="867"/>
                  </a:lnTo>
                  <a:lnTo>
                    <a:pt x="1315" y="867"/>
                  </a:lnTo>
                  <a:lnTo>
                    <a:pt x="1319" y="868"/>
                  </a:lnTo>
                  <a:lnTo>
                    <a:pt x="1319" y="871"/>
                  </a:lnTo>
                  <a:lnTo>
                    <a:pt x="1318" y="874"/>
                  </a:lnTo>
                  <a:lnTo>
                    <a:pt x="1315" y="875"/>
                  </a:lnTo>
                  <a:lnTo>
                    <a:pt x="1313" y="878"/>
                  </a:lnTo>
                  <a:lnTo>
                    <a:pt x="1313" y="880"/>
                  </a:lnTo>
                  <a:lnTo>
                    <a:pt x="1315" y="882"/>
                  </a:lnTo>
                  <a:lnTo>
                    <a:pt x="1313" y="882"/>
                  </a:lnTo>
                  <a:lnTo>
                    <a:pt x="1313" y="885"/>
                  </a:lnTo>
                  <a:lnTo>
                    <a:pt x="1312" y="887"/>
                  </a:lnTo>
                  <a:lnTo>
                    <a:pt x="1312" y="888"/>
                  </a:lnTo>
                  <a:lnTo>
                    <a:pt x="1311" y="888"/>
                  </a:lnTo>
                  <a:lnTo>
                    <a:pt x="1308" y="887"/>
                  </a:lnTo>
                  <a:lnTo>
                    <a:pt x="1308" y="882"/>
                  </a:lnTo>
                  <a:lnTo>
                    <a:pt x="1308" y="878"/>
                  </a:lnTo>
                  <a:lnTo>
                    <a:pt x="1306" y="878"/>
                  </a:lnTo>
                  <a:lnTo>
                    <a:pt x="1303" y="881"/>
                  </a:lnTo>
                  <a:lnTo>
                    <a:pt x="1302" y="881"/>
                  </a:lnTo>
                  <a:lnTo>
                    <a:pt x="1302" y="878"/>
                  </a:lnTo>
                  <a:lnTo>
                    <a:pt x="1302" y="875"/>
                  </a:lnTo>
                  <a:lnTo>
                    <a:pt x="1301" y="872"/>
                  </a:lnTo>
                  <a:lnTo>
                    <a:pt x="1301" y="870"/>
                  </a:lnTo>
                  <a:lnTo>
                    <a:pt x="1303" y="870"/>
                  </a:lnTo>
                  <a:lnTo>
                    <a:pt x="1306" y="870"/>
                  </a:lnTo>
                  <a:lnTo>
                    <a:pt x="1308" y="868"/>
                  </a:lnTo>
                  <a:lnTo>
                    <a:pt x="1308" y="867"/>
                  </a:lnTo>
                  <a:lnTo>
                    <a:pt x="1303" y="865"/>
                  </a:lnTo>
                  <a:lnTo>
                    <a:pt x="1298" y="867"/>
                  </a:lnTo>
                  <a:lnTo>
                    <a:pt x="1273" y="865"/>
                  </a:lnTo>
                  <a:lnTo>
                    <a:pt x="1259" y="865"/>
                  </a:lnTo>
                  <a:lnTo>
                    <a:pt x="1249" y="864"/>
                  </a:lnTo>
                  <a:lnTo>
                    <a:pt x="1239" y="865"/>
                  </a:lnTo>
                  <a:lnTo>
                    <a:pt x="1235" y="868"/>
                  </a:lnTo>
                  <a:lnTo>
                    <a:pt x="1235" y="870"/>
                  </a:lnTo>
                  <a:lnTo>
                    <a:pt x="1240" y="870"/>
                  </a:lnTo>
                  <a:lnTo>
                    <a:pt x="1245" y="870"/>
                  </a:lnTo>
                  <a:lnTo>
                    <a:pt x="1252" y="871"/>
                  </a:lnTo>
                  <a:lnTo>
                    <a:pt x="1256" y="872"/>
                  </a:lnTo>
                  <a:lnTo>
                    <a:pt x="1259" y="880"/>
                  </a:lnTo>
                  <a:lnTo>
                    <a:pt x="1260" y="885"/>
                  </a:lnTo>
                  <a:lnTo>
                    <a:pt x="1262" y="887"/>
                  </a:lnTo>
                  <a:lnTo>
                    <a:pt x="1269" y="887"/>
                  </a:lnTo>
                  <a:lnTo>
                    <a:pt x="1270" y="887"/>
                  </a:lnTo>
                  <a:lnTo>
                    <a:pt x="1270" y="890"/>
                  </a:lnTo>
                  <a:lnTo>
                    <a:pt x="1268" y="895"/>
                  </a:lnTo>
                  <a:lnTo>
                    <a:pt x="1265" y="900"/>
                  </a:lnTo>
                  <a:lnTo>
                    <a:pt x="1260" y="904"/>
                  </a:lnTo>
                  <a:lnTo>
                    <a:pt x="1245" y="908"/>
                  </a:lnTo>
                  <a:lnTo>
                    <a:pt x="1233" y="911"/>
                  </a:lnTo>
                  <a:lnTo>
                    <a:pt x="1232" y="913"/>
                  </a:lnTo>
                  <a:lnTo>
                    <a:pt x="1225" y="915"/>
                  </a:lnTo>
                  <a:lnTo>
                    <a:pt x="1212" y="915"/>
                  </a:lnTo>
                  <a:lnTo>
                    <a:pt x="1205" y="915"/>
                  </a:lnTo>
                  <a:lnTo>
                    <a:pt x="1199" y="914"/>
                  </a:lnTo>
                  <a:lnTo>
                    <a:pt x="1192" y="910"/>
                  </a:lnTo>
                  <a:lnTo>
                    <a:pt x="1186" y="904"/>
                  </a:lnTo>
                  <a:lnTo>
                    <a:pt x="1182" y="901"/>
                  </a:lnTo>
                  <a:lnTo>
                    <a:pt x="1179" y="900"/>
                  </a:lnTo>
                  <a:lnTo>
                    <a:pt x="1174" y="901"/>
                  </a:lnTo>
                  <a:lnTo>
                    <a:pt x="1169" y="904"/>
                  </a:lnTo>
                  <a:lnTo>
                    <a:pt x="1167" y="908"/>
                  </a:lnTo>
                  <a:lnTo>
                    <a:pt x="1167" y="911"/>
                  </a:lnTo>
                  <a:lnTo>
                    <a:pt x="1167" y="921"/>
                  </a:lnTo>
                  <a:lnTo>
                    <a:pt x="1167" y="928"/>
                  </a:lnTo>
                  <a:lnTo>
                    <a:pt x="1169" y="934"/>
                  </a:lnTo>
                  <a:lnTo>
                    <a:pt x="1173" y="941"/>
                  </a:lnTo>
                  <a:lnTo>
                    <a:pt x="1179" y="947"/>
                  </a:lnTo>
                  <a:lnTo>
                    <a:pt x="1180" y="951"/>
                  </a:lnTo>
                  <a:lnTo>
                    <a:pt x="1180" y="954"/>
                  </a:lnTo>
                  <a:lnTo>
                    <a:pt x="1174" y="953"/>
                  </a:lnTo>
                  <a:lnTo>
                    <a:pt x="1164" y="954"/>
                  </a:lnTo>
                  <a:lnTo>
                    <a:pt x="1159" y="957"/>
                  </a:lnTo>
                  <a:lnTo>
                    <a:pt x="1154" y="960"/>
                  </a:lnTo>
                  <a:lnTo>
                    <a:pt x="1154" y="964"/>
                  </a:lnTo>
                  <a:lnTo>
                    <a:pt x="1154" y="970"/>
                  </a:lnTo>
                  <a:lnTo>
                    <a:pt x="1160" y="976"/>
                  </a:lnTo>
                  <a:lnTo>
                    <a:pt x="1160" y="978"/>
                  </a:lnTo>
                  <a:lnTo>
                    <a:pt x="1159" y="981"/>
                  </a:lnTo>
                  <a:lnTo>
                    <a:pt x="1159" y="986"/>
                  </a:lnTo>
                  <a:lnTo>
                    <a:pt x="1159" y="988"/>
                  </a:lnTo>
                  <a:lnTo>
                    <a:pt x="1160" y="993"/>
                  </a:lnTo>
                  <a:lnTo>
                    <a:pt x="1159" y="993"/>
                  </a:lnTo>
                  <a:lnTo>
                    <a:pt x="1154" y="990"/>
                  </a:lnTo>
                  <a:lnTo>
                    <a:pt x="1153" y="986"/>
                  </a:lnTo>
                  <a:lnTo>
                    <a:pt x="1154" y="978"/>
                  </a:lnTo>
                  <a:lnTo>
                    <a:pt x="1153" y="974"/>
                  </a:lnTo>
                  <a:lnTo>
                    <a:pt x="1150" y="967"/>
                  </a:lnTo>
                  <a:lnTo>
                    <a:pt x="1147" y="968"/>
                  </a:lnTo>
                  <a:lnTo>
                    <a:pt x="1143" y="970"/>
                  </a:lnTo>
                  <a:lnTo>
                    <a:pt x="1137" y="970"/>
                  </a:lnTo>
                  <a:lnTo>
                    <a:pt x="1133" y="970"/>
                  </a:lnTo>
                  <a:lnTo>
                    <a:pt x="1127" y="968"/>
                  </a:lnTo>
                  <a:lnTo>
                    <a:pt x="1120" y="968"/>
                  </a:lnTo>
                  <a:lnTo>
                    <a:pt x="1116" y="967"/>
                  </a:lnTo>
                  <a:lnTo>
                    <a:pt x="1116" y="967"/>
                  </a:lnTo>
                  <a:lnTo>
                    <a:pt x="1117" y="966"/>
                  </a:lnTo>
                  <a:lnTo>
                    <a:pt x="1119" y="961"/>
                  </a:lnTo>
                  <a:lnTo>
                    <a:pt x="1124" y="957"/>
                  </a:lnTo>
                  <a:lnTo>
                    <a:pt x="1127" y="955"/>
                  </a:lnTo>
                  <a:lnTo>
                    <a:pt x="1130" y="955"/>
                  </a:lnTo>
                  <a:lnTo>
                    <a:pt x="1132" y="957"/>
                  </a:lnTo>
                  <a:lnTo>
                    <a:pt x="1134" y="957"/>
                  </a:lnTo>
                  <a:lnTo>
                    <a:pt x="1136" y="957"/>
                  </a:lnTo>
                  <a:lnTo>
                    <a:pt x="1136" y="954"/>
                  </a:lnTo>
                  <a:lnTo>
                    <a:pt x="1136" y="950"/>
                  </a:lnTo>
                  <a:lnTo>
                    <a:pt x="1134" y="947"/>
                  </a:lnTo>
                  <a:lnTo>
                    <a:pt x="1132" y="941"/>
                  </a:lnTo>
                  <a:lnTo>
                    <a:pt x="1133" y="937"/>
                  </a:lnTo>
                  <a:lnTo>
                    <a:pt x="1139" y="933"/>
                  </a:lnTo>
                  <a:lnTo>
                    <a:pt x="1140" y="927"/>
                  </a:lnTo>
                  <a:lnTo>
                    <a:pt x="1142" y="925"/>
                  </a:lnTo>
                  <a:lnTo>
                    <a:pt x="1142" y="925"/>
                  </a:lnTo>
                  <a:lnTo>
                    <a:pt x="1144" y="927"/>
                  </a:lnTo>
                  <a:lnTo>
                    <a:pt x="1149" y="927"/>
                  </a:lnTo>
                  <a:lnTo>
                    <a:pt x="1156" y="921"/>
                  </a:lnTo>
                  <a:lnTo>
                    <a:pt x="1156" y="910"/>
                  </a:lnTo>
                  <a:lnTo>
                    <a:pt x="1157" y="904"/>
                  </a:lnTo>
                  <a:lnTo>
                    <a:pt x="1154" y="904"/>
                  </a:lnTo>
                  <a:lnTo>
                    <a:pt x="1149" y="904"/>
                  </a:lnTo>
                  <a:lnTo>
                    <a:pt x="1146" y="901"/>
                  </a:lnTo>
                  <a:lnTo>
                    <a:pt x="1142" y="901"/>
                  </a:lnTo>
                  <a:lnTo>
                    <a:pt x="1137" y="901"/>
                  </a:lnTo>
                  <a:lnTo>
                    <a:pt x="1132" y="905"/>
                  </a:lnTo>
                  <a:lnTo>
                    <a:pt x="1126" y="905"/>
                  </a:lnTo>
                  <a:lnTo>
                    <a:pt x="1121" y="907"/>
                  </a:lnTo>
                  <a:lnTo>
                    <a:pt x="1119" y="908"/>
                  </a:lnTo>
                  <a:lnTo>
                    <a:pt x="1116" y="908"/>
                  </a:lnTo>
                  <a:lnTo>
                    <a:pt x="1114" y="908"/>
                  </a:lnTo>
                  <a:lnTo>
                    <a:pt x="1114" y="914"/>
                  </a:lnTo>
                  <a:lnTo>
                    <a:pt x="1113" y="921"/>
                  </a:lnTo>
                  <a:lnTo>
                    <a:pt x="1114" y="931"/>
                  </a:lnTo>
                  <a:lnTo>
                    <a:pt x="1111" y="937"/>
                  </a:lnTo>
                  <a:lnTo>
                    <a:pt x="1107" y="941"/>
                  </a:lnTo>
                  <a:lnTo>
                    <a:pt x="1103" y="943"/>
                  </a:lnTo>
                  <a:lnTo>
                    <a:pt x="1099" y="944"/>
                  </a:lnTo>
                  <a:lnTo>
                    <a:pt x="1099" y="945"/>
                  </a:lnTo>
                  <a:lnTo>
                    <a:pt x="1099" y="951"/>
                  </a:lnTo>
                  <a:lnTo>
                    <a:pt x="1097" y="951"/>
                  </a:lnTo>
                  <a:lnTo>
                    <a:pt x="1096" y="947"/>
                  </a:lnTo>
                  <a:lnTo>
                    <a:pt x="1094" y="945"/>
                  </a:lnTo>
                  <a:lnTo>
                    <a:pt x="1091" y="943"/>
                  </a:lnTo>
                  <a:lnTo>
                    <a:pt x="1091" y="941"/>
                  </a:lnTo>
                  <a:lnTo>
                    <a:pt x="1091" y="941"/>
                  </a:lnTo>
                  <a:lnTo>
                    <a:pt x="1097" y="938"/>
                  </a:lnTo>
                  <a:lnTo>
                    <a:pt x="1100" y="938"/>
                  </a:lnTo>
                  <a:lnTo>
                    <a:pt x="1101" y="935"/>
                  </a:lnTo>
                  <a:lnTo>
                    <a:pt x="1104" y="934"/>
                  </a:lnTo>
                  <a:lnTo>
                    <a:pt x="1107" y="934"/>
                  </a:lnTo>
                  <a:lnTo>
                    <a:pt x="1109" y="933"/>
                  </a:lnTo>
                  <a:lnTo>
                    <a:pt x="1107" y="917"/>
                  </a:lnTo>
                  <a:lnTo>
                    <a:pt x="1107" y="908"/>
                  </a:lnTo>
                  <a:lnTo>
                    <a:pt x="1111" y="904"/>
                  </a:lnTo>
                  <a:lnTo>
                    <a:pt x="1117" y="900"/>
                  </a:lnTo>
                  <a:lnTo>
                    <a:pt x="1120" y="895"/>
                  </a:lnTo>
                  <a:lnTo>
                    <a:pt x="1126" y="892"/>
                  </a:lnTo>
                  <a:lnTo>
                    <a:pt x="1133" y="887"/>
                  </a:lnTo>
                  <a:lnTo>
                    <a:pt x="1136" y="887"/>
                  </a:lnTo>
                  <a:lnTo>
                    <a:pt x="1144" y="890"/>
                  </a:lnTo>
                  <a:lnTo>
                    <a:pt x="1149" y="890"/>
                  </a:lnTo>
                  <a:lnTo>
                    <a:pt x="1149" y="888"/>
                  </a:lnTo>
                  <a:lnTo>
                    <a:pt x="1150" y="887"/>
                  </a:lnTo>
                  <a:lnTo>
                    <a:pt x="1153" y="885"/>
                  </a:lnTo>
                  <a:lnTo>
                    <a:pt x="1154" y="885"/>
                  </a:lnTo>
                  <a:lnTo>
                    <a:pt x="1157" y="885"/>
                  </a:lnTo>
                  <a:lnTo>
                    <a:pt x="1159" y="885"/>
                  </a:lnTo>
                  <a:lnTo>
                    <a:pt x="1160" y="888"/>
                  </a:lnTo>
                  <a:lnTo>
                    <a:pt x="1162" y="888"/>
                  </a:lnTo>
                  <a:lnTo>
                    <a:pt x="1164" y="890"/>
                  </a:lnTo>
                  <a:lnTo>
                    <a:pt x="1167" y="891"/>
                  </a:lnTo>
                  <a:lnTo>
                    <a:pt x="1170" y="890"/>
                  </a:lnTo>
                  <a:lnTo>
                    <a:pt x="1173" y="887"/>
                  </a:lnTo>
                  <a:lnTo>
                    <a:pt x="1174" y="887"/>
                  </a:lnTo>
                  <a:lnTo>
                    <a:pt x="1177" y="888"/>
                  </a:lnTo>
                  <a:lnTo>
                    <a:pt x="1180" y="890"/>
                  </a:lnTo>
                  <a:lnTo>
                    <a:pt x="1183" y="884"/>
                  </a:lnTo>
                  <a:lnTo>
                    <a:pt x="1189" y="877"/>
                  </a:lnTo>
                  <a:lnTo>
                    <a:pt x="1189" y="871"/>
                  </a:lnTo>
                  <a:lnTo>
                    <a:pt x="1193" y="868"/>
                  </a:lnTo>
                  <a:lnTo>
                    <a:pt x="1195" y="868"/>
                  </a:lnTo>
                  <a:lnTo>
                    <a:pt x="1196" y="868"/>
                  </a:lnTo>
                  <a:lnTo>
                    <a:pt x="1196" y="865"/>
                  </a:lnTo>
                  <a:lnTo>
                    <a:pt x="1196" y="860"/>
                  </a:lnTo>
                  <a:lnTo>
                    <a:pt x="1199" y="858"/>
                  </a:lnTo>
                  <a:lnTo>
                    <a:pt x="1200" y="852"/>
                  </a:lnTo>
                  <a:lnTo>
                    <a:pt x="1200" y="851"/>
                  </a:lnTo>
                  <a:lnTo>
                    <a:pt x="1203" y="852"/>
                  </a:lnTo>
                  <a:lnTo>
                    <a:pt x="1203" y="854"/>
                  </a:lnTo>
                  <a:lnTo>
                    <a:pt x="1205" y="854"/>
                  </a:lnTo>
                  <a:lnTo>
                    <a:pt x="1206" y="851"/>
                  </a:lnTo>
                  <a:lnTo>
                    <a:pt x="1207" y="847"/>
                  </a:lnTo>
                  <a:lnTo>
                    <a:pt x="1209" y="841"/>
                  </a:lnTo>
                  <a:lnTo>
                    <a:pt x="1209" y="837"/>
                  </a:lnTo>
                  <a:lnTo>
                    <a:pt x="1209" y="825"/>
                  </a:lnTo>
                  <a:lnTo>
                    <a:pt x="1212" y="821"/>
                  </a:lnTo>
                  <a:lnTo>
                    <a:pt x="1213" y="819"/>
                  </a:lnTo>
                  <a:lnTo>
                    <a:pt x="1216" y="819"/>
                  </a:lnTo>
                  <a:lnTo>
                    <a:pt x="1219" y="824"/>
                  </a:lnTo>
                  <a:lnTo>
                    <a:pt x="1219" y="829"/>
                  </a:lnTo>
                  <a:lnTo>
                    <a:pt x="1219" y="835"/>
                  </a:lnTo>
                  <a:lnTo>
                    <a:pt x="1219" y="839"/>
                  </a:lnTo>
                  <a:lnTo>
                    <a:pt x="1217" y="839"/>
                  </a:lnTo>
                  <a:lnTo>
                    <a:pt x="1220" y="842"/>
                  </a:lnTo>
                  <a:lnTo>
                    <a:pt x="1222" y="842"/>
                  </a:lnTo>
                  <a:lnTo>
                    <a:pt x="1223" y="835"/>
                  </a:lnTo>
                  <a:lnTo>
                    <a:pt x="1223" y="831"/>
                  </a:lnTo>
                  <a:lnTo>
                    <a:pt x="1220" y="825"/>
                  </a:lnTo>
                  <a:lnTo>
                    <a:pt x="1219" y="819"/>
                  </a:lnTo>
                  <a:lnTo>
                    <a:pt x="1217" y="814"/>
                  </a:lnTo>
                  <a:lnTo>
                    <a:pt x="1213" y="808"/>
                  </a:lnTo>
                  <a:lnTo>
                    <a:pt x="1209" y="799"/>
                  </a:lnTo>
                  <a:lnTo>
                    <a:pt x="1207" y="792"/>
                  </a:lnTo>
                  <a:lnTo>
                    <a:pt x="1207" y="786"/>
                  </a:lnTo>
                  <a:lnTo>
                    <a:pt x="1206" y="782"/>
                  </a:lnTo>
                  <a:lnTo>
                    <a:pt x="1207" y="771"/>
                  </a:lnTo>
                  <a:lnTo>
                    <a:pt x="1209" y="768"/>
                  </a:lnTo>
                  <a:lnTo>
                    <a:pt x="1210" y="766"/>
                  </a:lnTo>
                  <a:lnTo>
                    <a:pt x="1210" y="765"/>
                  </a:lnTo>
                  <a:lnTo>
                    <a:pt x="1207" y="756"/>
                  </a:lnTo>
                  <a:lnTo>
                    <a:pt x="1197" y="741"/>
                  </a:lnTo>
                  <a:lnTo>
                    <a:pt x="1187" y="725"/>
                  </a:lnTo>
                  <a:lnTo>
                    <a:pt x="1186" y="718"/>
                  </a:lnTo>
                  <a:lnTo>
                    <a:pt x="1186" y="716"/>
                  </a:lnTo>
                  <a:lnTo>
                    <a:pt x="1186" y="713"/>
                  </a:lnTo>
                  <a:lnTo>
                    <a:pt x="1185" y="709"/>
                  </a:lnTo>
                  <a:lnTo>
                    <a:pt x="1182" y="703"/>
                  </a:lnTo>
                  <a:lnTo>
                    <a:pt x="1180" y="699"/>
                  </a:lnTo>
                  <a:lnTo>
                    <a:pt x="1180" y="695"/>
                  </a:lnTo>
                  <a:lnTo>
                    <a:pt x="1180" y="692"/>
                  </a:lnTo>
                  <a:lnTo>
                    <a:pt x="1176" y="689"/>
                  </a:lnTo>
                  <a:lnTo>
                    <a:pt x="1174" y="686"/>
                  </a:lnTo>
                  <a:lnTo>
                    <a:pt x="1172" y="682"/>
                  </a:lnTo>
                  <a:lnTo>
                    <a:pt x="1167" y="678"/>
                  </a:lnTo>
                  <a:lnTo>
                    <a:pt x="1157" y="673"/>
                  </a:lnTo>
                  <a:lnTo>
                    <a:pt x="1149" y="665"/>
                  </a:lnTo>
                  <a:lnTo>
                    <a:pt x="1143" y="663"/>
                  </a:lnTo>
                  <a:lnTo>
                    <a:pt x="1139" y="658"/>
                  </a:lnTo>
                  <a:lnTo>
                    <a:pt x="1133" y="650"/>
                  </a:lnTo>
                  <a:lnTo>
                    <a:pt x="1130" y="645"/>
                  </a:lnTo>
                  <a:lnTo>
                    <a:pt x="1126" y="643"/>
                  </a:lnTo>
                  <a:lnTo>
                    <a:pt x="1120" y="643"/>
                  </a:lnTo>
                  <a:lnTo>
                    <a:pt x="1119" y="642"/>
                  </a:lnTo>
                  <a:lnTo>
                    <a:pt x="1114" y="639"/>
                  </a:lnTo>
                  <a:lnTo>
                    <a:pt x="1111" y="639"/>
                  </a:lnTo>
                  <a:lnTo>
                    <a:pt x="1110" y="640"/>
                  </a:lnTo>
                  <a:lnTo>
                    <a:pt x="1109" y="643"/>
                  </a:lnTo>
                  <a:lnTo>
                    <a:pt x="1109" y="645"/>
                  </a:lnTo>
                  <a:lnTo>
                    <a:pt x="1109" y="649"/>
                  </a:lnTo>
                  <a:lnTo>
                    <a:pt x="1106" y="650"/>
                  </a:lnTo>
                  <a:lnTo>
                    <a:pt x="1104" y="650"/>
                  </a:lnTo>
                  <a:lnTo>
                    <a:pt x="1104" y="649"/>
                  </a:lnTo>
                  <a:lnTo>
                    <a:pt x="1101" y="648"/>
                  </a:lnTo>
                  <a:lnTo>
                    <a:pt x="1099" y="649"/>
                  </a:lnTo>
                  <a:lnTo>
                    <a:pt x="1086" y="653"/>
                  </a:lnTo>
                  <a:lnTo>
                    <a:pt x="1080" y="655"/>
                  </a:lnTo>
                  <a:lnTo>
                    <a:pt x="1080" y="658"/>
                  </a:lnTo>
                  <a:lnTo>
                    <a:pt x="1080" y="659"/>
                  </a:lnTo>
                  <a:lnTo>
                    <a:pt x="1079" y="659"/>
                  </a:lnTo>
                  <a:lnTo>
                    <a:pt x="1076" y="658"/>
                  </a:lnTo>
                  <a:lnTo>
                    <a:pt x="1076" y="655"/>
                  </a:lnTo>
                  <a:lnTo>
                    <a:pt x="1073" y="655"/>
                  </a:lnTo>
                  <a:lnTo>
                    <a:pt x="1060" y="653"/>
                  </a:lnTo>
                  <a:lnTo>
                    <a:pt x="1053" y="650"/>
                  </a:lnTo>
                  <a:lnTo>
                    <a:pt x="1047" y="649"/>
                  </a:lnTo>
                  <a:lnTo>
                    <a:pt x="1046" y="648"/>
                  </a:lnTo>
                  <a:lnTo>
                    <a:pt x="1044" y="645"/>
                  </a:lnTo>
                  <a:lnTo>
                    <a:pt x="1040" y="645"/>
                  </a:lnTo>
                  <a:lnTo>
                    <a:pt x="1037" y="643"/>
                  </a:lnTo>
                  <a:lnTo>
                    <a:pt x="1036" y="643"/>
                  </a:lnTo>
                  <a:lnTo>
                    <a:pt x="1036" y="646"/>
                  </a:lnTo>
                  <a:lnTo>
                    <a:pt x="1036" y="649"/>
                  </a:lnTo>
                  <a:lnTo>
                    <a:pt x="1033" y="648"/>
                  </a:lnTo>
                  <a:lnTo>
                    <a:pt x="1033" y="648"/>
                  </a:lnTo>
                  <a:lnTo>
                    <a:pt x="1031" y="643"/>
                  </a:lnTo>
                  <a:lnTo>
                    <a:pt x="1031" y="642"/>
                  </a:lnTo>
                  <a:lnTo>
                    <a:pt x="1028" y="640"/>
                  </a:lnTo>
                  <a:lnTo>
                    <a:pt x="1028" y="638"/>
                  </a:lnTo>
                  <a:lnTo>
                    <a:pt x="1028" y="635"/>
                  </a:lnTo>
                  <a:lnTo>
                    <a:pt x="1024" y="633"/>
                  </a:lnTo>
                  <a:lnTo>
                    <a:pt x="1026" y="632"/>
                  </a:lnTo>
                  <a:lnTo>
                    <a:pt x="1027" y="629"/>
                  </a:lnTo>
                  <a:lnTo>
                    <a:pt x="1030" y="629"/>
                  </a:lnTo>
                  <a:lnTo>
                    <a:pt x="1031" y="629"/>
                  </a:lnTo>
                  <a:lnTo>
                    <a:pt x="1031" y="632"/>
                  </a:lnTo>
                  <a:lnTo>
                    <a:pt x="1031" y="635"/>
                  </a:lnTo>
                  <a:lnTo>
                    <a:pt x="1034" y="635"/>
                  </a:lnTo>
                  <a:lnTo>
                    <a:pt x="1036" y="632"/>
                  </a:lnTo>
                  <a:lnTo>
                    <a:pt x="1038" y="626"/>
                  </a:lnTo>
                  <a:lnTo>
                    <a:pt x="1040" y="620"/>
                  </a:lnTo>
                  <a:lnTo>
                    <a:pt x="1040" y="615"/>
                  </a:lnTo>
                  <a:lnTo>
                    <a:pt x="1036" y="609"/>
                  </a:lnTo>
                  <a:lnTo>
                    <a:pt x="1033" y="605"/>
                  </a:lnTo>
                  <a:lnTo>
                    <a:pt x="1027" y="605"/>
                  </a:lnTo>
                  <a:lnTo>
                    <a:pt x="1023" y="605"/>
                  </a:lnTo>
                  <a:lnTo>
                    <a:pt x="1018" y="607"/>
                  </a:lnTo>
                  <a:lnTo>
                    <a:pt x="1010" y="610"/>
                  </a:lnTo>
                  <a:lnTo>
                    <a:pt x="1003" y="612"/>
                  </a:lnTo>
                  <a:lnTo>
                    <a:pt x="1000" y="612"/>
                  </a:lnTo>
                  <a:lnTo>
                    <a:pt x="1001" y="612"/>
                  </a:lnTo>
                  <a:lnTo>
                    <a:pt x="1003" y="606"/>
                  </a:lnTo>
                  <a:lnTo>
                    <a:pt x="1005" y="603"/>
                  </a:lnTo>
                  <a:lnTo>
                    <a:pt x="1011" y="602"/>
                  </a:lnTo>
                  <a:lnTo>
                    <a:pt x="1014" y="599"/>
                  </a:lnTo>
                  <a:lnTo>
                    <a:pt x="1020" y="596"/>
                  </a:lnTo>
                  <a:lnTo>
                    <a:pt x="1020" y="593"/>
                  </a:lnTo>
                  <a:lnTo>
                    <a:pt x="1017" y="590"/>
                  </a:lnTo>
                  <a:lnTo>
                    <a:pt x="1013" y="589"/>
                  </a:lnTo>
                  <a:lnTo>
                    <a:pt x="1008" y="589"/>
                  </a:lnTo>
                  <a:lnTo>
                    <a:pt x="1007" y="587"/>
                  </a:lnTo>
                  <a:lnTo>
                    <a:pt x="1007" y="586"/>
                  </a:lnTo>
                  <a:lnTo>
                    <a:pt x="1014" y="586"/>
                  </a:lnTo>
                  <a:lnTo>
                    <a:pt x="1018" y="587"/>
                  </a:lnTo>
                  <a:lnTo>
                    <a:pt x="1021" y="589"/>
                  </a:lnTo>
                  <a:lnTo>
                    <a:pt x="1023" y="592"/>
                  </a:lnTo>
                  <a:lnTo>
                    <a:pt x="1026" y="592"/>
                  </a:lnTo>
                  <a:lnTo>
                    <a:pt x="1031" y="589"/>
                  </a:lnTo>
                  <a:lnTo>
                    <a:pt x="1037" y="590"/>
                  </a:lnTo>
                  <a:lnTo>
                    <a:pt x="1040" y="590"/>
                  </a:lnTo>
                  <a:lnTo>
                    <a:pt x="1044" y="587"/>
                  </a:lnTo>
                  <a:lnTo>
                    <a:pt x="1046" y="585"/>
                  </a:lnTo>
                  <a:lnTo>
                    <a:pt x="1043" y="580"/>
                  </a:lnTo>
                  <a:lnTo>
                    <a:pt x="1041" y="577"/>
                  </a:lnTo>
                  <a:lnTo>
                    <a:pt x="1041" y="573"/>
                  </a:lnTo>
                  <a:lnTo>
                    <a:pt x="1038" y="569"/>
                  </a:lnTo>
                  <a:lnTo>
                    <a:pt x="1034" y="569"/>
                  </a:lnTo>
                  <a:lnTo>
                    <a:pt x="1030" y="565"/>
                  </a:lnTo>
                  <a:lnTo>
                    <a:pt x="1027" y="560"/>
                  </a:lnTo>
                  <a:lnTo>
                    <a:pt x="1024" y="560"/>
                  </a:lnTo>
                  <a:lnTo>
                    <a:pt x="1021" y="559"/>
                  </a:lnTo>
                  <a:lnTo>
                    <a:pt x="1020" y="557"/>
                  </a:lnTo>
                  <a:lnTo>
                    <a:pt x="1020" y="553"/>
                  </a:lnTo>
                  <a:lnTo>
                    <a:pt x="1018" y="552"/>
                  </a:lnTo>
                  <a:lnTo>
                    <a:pt x="1016" y="549"/>
                  </a:lnTo>
                  <a:lnTo>
                    <a:pt x="1016" y="547"/>
                  </a:lnTo>
                  <a:lnTo>
                    <a:pt x="1017" y="547"/>
                  </a:lnTo>
                  <a:lnTo>
                    <a:pt x="1020" y="547"/>
                  </a:lnTo>
                  <a:lnTo>
                    <a:pt x="1023" y="549"/>
                  </a:lnTo>
                  <a:lnTo>
                    <a:pt x="1027" y="552"/>
                  </a:lnTo>
                  <a:lnTo>
                    <a:pt x="1033" y="552"/>
                  </a:lnTo>
                  <a:lnTo>
                    <a:pt x="1040" y="554"/>
                  </a:lnTo>
                  <a:lnTo>
                    <a:pt x="1044" y="557"/>
                  </a:lnTo>
                  <a:lnTo>
                    <a:pt x="1046" y="562"/>
                  </a:lnTo>
                  <a:lnTo>
                    <a:pt x="1053" y="563"/>
                  </a:lnTo>
                  <a:lnTo>
                    <a:pt x="1057" y="566"/>
                  </a:lnTo>
                  <a:lnTo>
                    <a:pt x="1058" y="572"/>
                  </a:lnTo>
                  <a:lnTo>
                    <a:pt x="1058" y="573"/>
                  </a:lnTo>
                  <a:lnTo>
                    <a:pt x="1061" y="576"/>
                  </a:lnTo>
                  <a:lnTo>
                    <a:pt x="1066" y="577"/>
                  </a:lnTo>
                  <a:lnTo>
                    <a:pt x="1070" y="582"/>
                  </a:lnTo>
                  <a:lnTo>
                    <a:pt x="1070" y="586"/>
                  </a:lnTo>
                  <a:lnTo>
                    <a:pt x="1067" y="589"/>
                  </a:lnTo>
                  <a:lnTo>
                    <a:pt x="1061" y="589"/>
                  </a:lnTo>
                  <a:lnTo>
                    <a:pt x="1060" y="590"/>
                  </a:lnTo>
                  <a:lnTo>
                    <a:pt x="1061" y="592"/>
                  </a:lnTo>
                  <a:lnTo>
                    <a:pt x="1070" y="590"/>
                  </a:lnTo>
                  <a:lnTo>
                    <a:pt x="1076" y="590"/>
                  </a:lnTo>
                  <a:lnTo>
                    <a:pt x="1077" y="593"/>
                  </a:lnTo>
                  <a:lnTo>
                    <a:pt x="1086" y="595"/>
                  </a:lnTo>
                  <a:lnTo>
                    <a:pt x="1087" y="595"/>
                  </a:lnTo>
                  <a:lnTo>
                    <a:pt x="1090" y="592"/>
                  </a:lnTo>
                  <a:lnTo>
                    <a:pt x="1094" y="592"/>
                  </a:lnTo>
                  <a:lnTo>
                    <a:pt x="1099" y="592"/>
                  </a:lnTo>
                  <a:lnTo>
                    <a:pt x="1101" y="593"/>
                  </a:lnTo>
                  <a:lnTo>
                    <a:pt x="1101" y="589"/>
                  </a:lnTo>
                  <a:lnTo>
                    <a:pt x="1103" y="587"/>
                  </a:lnTo>
                  <a:lnTo>
                    <a:pt x="1107" y="589"/>
                  </a:lnTo>
                  <a:lnTo>
                    <a:pt x="1111" y="587"/>
                  </a:lnTo>
                  <a:lnTo>
                    <a:pt x="1114" y="587"/>
                  </a:lnTo>
                  <a:lnTo>
                    <a:pt x="1111" y="583"/>
                  </a:lnTo>
                  <a:lnTo>
                    <a:pt x="1113" y="577"/>
                  </a:lnTo>
                  <a:lnTo>
                    <a:pt x="1120" y="577"/>
                  </a:lnTo>
                  <a:lnTo>
                    <a:pt x="1123" y="577"/>
                  </a:lnTo>
                  <a:lnTo>
                    <a:pt x="1126" y="580"/>
                  </a:lnTo>
                  <a:lnTo>
                    <a:pt x="1129" y="583"/>
                  </a:lnTo>
                  <a:lnTo>
                    <a:pt x="1133" y="585"/>
                  </a:lnTo>
                  <a:lnTo>
                    <a:pt x="1134" y="589"/>
                  </a:lnTo>
                  <a:lnTo>
                    <a:pt x="1139" y="589"/>
                  </a:lnTo>
                  <a:lnTo>
                    <a:pt x="1140" y="589"/>
                  </a:lnTo>
                  <a:lnTo>
                    <a:pt x="1143" y="589"/>
                  </a:lnTo>
                  <a:lnTo>
                    <a:pt x="1146" y="595"/>
                  </a:lnTo>
                  <a:lnTo>
                    <a:pt x="1149" y="600"/>
                  </a:lnTo>
                  <a:lnTo>
                    <a:pt x="1150" y="600"/>
                  </a:lnTo>
                  <a:lnTo>
                    <a:pt x="1152" y="597"/>
                  </a:lnTo>
                  <a:lnTo>
                    <a:pt x="1153" y="595"/>
                  </a:lnTo>
                  <a:lnTo>
                    <a:pt x="1157" y="592"/>
                  </a:lnTo>
                  <a:lnTo>
                    <a:pt x="1159" y="587"/>
                  </a:lnTo>
                  <a:lnTo>
                    <a:pt x="1160" y="582"/>
                  </a:lnTo>
                  <a:lnTo>
                    <a:pt x="1163" y="576"/>
                  </a:lnTo>
                  <a:lnTo>
                    <a:pt x="1164" y="575"/>
                  </a:lnTo>
                  <a:lnTo>
                    <a:pt x="1172" y="559"/>
                  </a:lnTo>
                  <a:lnTo>
                    <a:pt x="1176" y="543"/>
                  </a:lnTo>
                  <a:lnTo>
                    <a:pt x="1177" y="534"/>
                  </a:lnTo>
                  <a:lnTo>
                    <a:pt x="1179" y="523"/>
                  </a:lnTo>
                  <a:lnTo>
                    <a:pt x="1176" y="514"/>
                  </a:lnTo>
                  <a:lnTo>
                    <a:pt x="1170" y="510"/>
                  </a:lnTo>
                  <a:lnTo>
                    <a:pt x="1170" y="504"/>
                  </a:lnTo>
                  <a:lnTo>
                    <a:pt x="1172" y="497"/>
                  </a:lnTo>
                  <a:lnTo>
                    <a:pt x="1174" y="487"/>
                  </a:lnTo>
                  <a:lnTo>
                    <a:pt x="1179" y="480"/>
                  </a:lnTo>
                  <a:lnTo>
                    <a:pt x="1183" y="476"/>
                  </a:lnTo>
                  <a:lnTo>
                    <a:pt x="1186" y="469"/>
                  </a:lnTo>
                  <a:lnTo>
                    <a:pt x="1189" y="466"/>
                  </a:lnTo>
                  <a:lnTo>
                    <a:pt x="1190" y="466"/>
                  </a:lnTo>
                  <a:lnTo>
                    <a:pt x="1189" y="470"/>
                  </a:lnTo>
                  <a:lnTo>
                    <a:pt x="1189" y="471"/>
                  </a:lnTo>
                  <a:lnTo>
                    <a:pt x="1192" y="469"/>
                  </a:lnTo>
                  <a:lnTo>
                    <a:pt x="1202" y="459"/>
                  </a:lnTo>
                  <a:lnTo>
                    <a:pt x="1210" y="448"/>
                  </a:lnTo>
                  <a:lnTo>
                    <a:pt x="1215" y="446"/>
                  </a:lnTo>
                  <a:lnTo>
                    <a:pt x="1215" y="443"/>
                  </a:lnTo>
                  <a:lnTo>
                    <a:pt x="1212" y="443"/>
                  </a:lnTo>
                  <a:lnTo>
                    <a:pt x="1209" y="444"/>
                  </a:lnTo>
                  <a:lnTo>
                    <a:pt x="1210" y="443"/>
                  </a:lnTo>
                  <a:lnTo>
                    <a:pt x="1210" y="437"/>
                  </a:lnTo>
                  <a:lnTo>
                    <a:pt x="1210" y="436"/>
                  </a:lnTo>
                  <a:lnTo>
                    <a:pt x="1212" y="436"/>
                  </a:lnTo>
                  <a:lnTo>
                    <a:pt x="1213" y="437"/>
                  </a:lnTo>
                  <a:lnTo>
                    <a:pt x="1215" y="440"/>
                  </a:lnTo>
                  <a:lnTo>
                    <a:pt x="1217" y="436"/>
                  </a:lnTo>
                  <a:lnTo>
                    <a:pt x="1222" y="434"/>
                  </a:lnTo>
                  <a:lnTo>
                    <a:pt x="1227" y="434"/>
                  </a:lnTo>
                  <a:lnTo>
                    <a:pt x="1232" y="437"/>
                  </a:lnTo>
                  <a:lnTo>
                    <a:pt x="1235" y="437"/>
                  </a:lnTo>
                  <a:lnTo>
                    <a:pt x="1235" y="436"/>
                  </a:lnTo>
                  <a:lnTo>
                    <a:pt x="1242" y="434"/>
                  </a:lnTo>
                  <a:lnTo>
                    <a:pt x="1242" y="437"/>
                  </a:lnTo>
                  <a:lnTo>
                    <a:pt x="1239" y="440"/>
                  </a:lnTo>
                  <a:lnTo>
                    <a:pt x="1240" y="441"/>
                  </a:lnTo>
                  <a:lnTo>
                    <a:pt x="1246" y="441"/>
                  </a:lnTo>
                  <a:lnTo>
                    <a:pt x="1248" y="441"/>
                  </a:lnTo>
                  <a:lnTo>
                    <a:pt x="1250" y="438"/>
                  </a:lnTo>
                  <a:lnTo>
                    <a:pt x="1253" y="438"/>
                  </a:lnTo>
                  <a:lnTo>
                    <a:pt x="1258" y="437"/>
                  </a:lnTo>
                  <a:lnTo>
                    <a:pt x="1263" y="436"/>
                  </a:lnTo>
                  <a:lnTo>
                    <a:pt x="1270" y="438"/>
                  </a:lnTo>
                  <a:lnTo>
                    <a:pt x="1275" y="443"/>
                  </a:lnTo>
                  <a:lnTo>
                    <a:pt x="1279" y="444"/>
                  </a:lnTo>
                  <a:lnTo>
                    <a:pt x="1280" y="444"/>
                  </a:lnTo>
                  <a:lnTo>
                    <a:pt x="1282" y="450"/>
                  </a:lnTo>
                  <a:lnTo>
                    <a:pt x="1282" y="454"/>
                  </a:lnTo>
                  <a:lnTo>
                    <a:pt x="1289" y="451"/>
                  </a:lnTo>
                  <a:lnTo>
                    <a:pt x="1293" y="447"/>
                  </a:lnTo>
                  <a:lnTo>
                    <a:pt x="1299" y="443"/>
                  </a:lnTo>
                  <a:lnTo>
                    <a:pt x="1305" y="440"/>
                  </a:lnTo>
                  <a:lnTo>
                    <a:pt x="1309" y="436"/>
                  </a:lnTo>
                  <a:lnTo>
                    <a:pt x="1313" y="436"/>
                  </a:lnTo>
                  <a:lnTo>
                    <a:pt x="1318" y="437"/>
                  </a:lnTo>
                  <a:lnTo>
                    <a:pt x="1319" y="433"/>
                  </a:lnTo>
                  <a:lnTo>
                    <a:pt x="1319" y="426"/>
                  </a:lnTo>
                  <a:lnTo>
                    <a:pt x="1321" y="426"/>
                  </a:lnTo>
                  <a:lnTo>
                    <a:pt x="1322" y="426"/>
                  </a:lnTo>
                  <a:lnTo>
                    <a:pt x="1322" y="428"/>
                  </a:lnTo>
                  <a:lnTo>
                    <a:pt x="1325" y="434"/>
                  </a:lnTo>
                  <a:lnTo>
                    <a:pt x="1329" y="434"/>
                  </a:lnTo>
                  <a:lnTo>
                    <a:pt x="1331" y="433"/>
                  </a:lnTo>
                  <a:lnTo>
                    <a:pt x="1333" y="424"/>
                  </a:lnTo>
                  <a:lnTo>
                    <a:pt x="1336" y="416"/>
                  </a:lnTo>
                  <a:lnTo>
                    <a:pt x="1341" y="407"/>
                  </a:lnTo>
                  <a:lnTo>
                    <a:pt x="1341" y="404"/>
                  </a:lnTo>
                  <a:lnTo>
                    <a:pt x="1338" y="403"/>
                  </a:lnTo>
                  <a:lnTo>
                    <a:pt x="1331" y="401"/>
                  </a:lnTo>
                  <a:lnTo>
                    <a:pt x="1329" y="400"/>
                  </a:lnTo>
                  <a:lnTo>
                    <a:pt x="1326" y="398"/>
                  </a:lnTo>
                  <a:lnTo>
                    <a:pt x="1328" y="396"/>
                  </a:lnTo>
                  <a:lnTo>
                    <a:pt x="1332" y="396"/>
                  </a:lnTo>
                  <a:lnTo>
                    <a:pt x="1333" y="398"/>
                  </a:lnTo>
                  <a:lnTo>
                    <a:pt x="1338" y="398"/>
                  </a:lnTo>
                  <a:lnTo>
                    <a:pt x="1342" y="394"/>
                  </a:lnTo>
                  <a:lnTo>
                    <a:pt x="1348" y="390"/>
                  </a:lnTo>
                  <a:lnTo>
                    <a:pt x="1355" y="384"/>
                  </a:lnTo>
                  <a:lnTo>
                    <a:pt x="1371" y="371"/>
                  </a:lnTo>
                  <a:lnTo>
                    <a:pt x="1374" y="368"/>
                  </a:lnTo>
                  <a:lnTo>
                    <a:pt x="1374" y="364"/>
                  </a:lnTo>
                  <a:lnTo>
                    <a:pt x="1374" y="361"/>
                  </a:lnTo>
                  <a:lnTo>
                    <a:pt x="1375" y="360"/>
                  </a:lnTo>
                  <a:lnTo>
                    <a:pt x="1376" y="360"/>
                  </a:lnTo>
                  <a:lnTo>
                    <a:pt x="1376" y="365"/>
                  </a:lnTo>
                  <a:lnTo>
                    <a:pt x="1382" y="360"/>
                  </a:lnTo>
                  <a:lnTo>
                    <a:pt x="1391" y="355"/>
                  </a:lnTo>
                  <a:lnTo>
                    <a:pt x="1402" y="354"/>
                  </a:lnTo>
                  <a:lnTo>
                    <a:pt x="1409" y="357"/>
                  </a:lnTo>
                  <a:lnTo>
                    <a:pt x="1415" y="355"/>
                  </a:lnTo>
                  <a:lnTo>
                    <a:pt x="1422" y="351"/>
                  </a:lnTo>
                  <a:lnTo>
                    <a:pt x="1424" y="350"/>
                  </a:lnTo>
                  <a:lnTo>
                    <a:pt x="1421" y="345"/>
                  </a:lnTo>
                  <a:lnTo>
                    <a:pt x="1417" y="341"/>
                  </a:lnTo>
                  <a:lnTo>
                    <a:pt x="1415" y="338"/>
                  </a:lnTo>
                  <a:lnTo>
                    <a:pt x="1418" y="338"/>
                  </a:lnTo>
                  <a:lnTo>
                    <a:pt x="1422" y="340"/>
                  </a:lnTo>
                  <a:lnTo>
                    <a:pt x="1427" y="344"/>
                  </a:lnTo>
                  <a:lnTo>
                    <a:pt x="1428" y="343"/>
                  </a:lnTo>
                  <a:lnTo>
                    <a:pt x="1431" y="338"/>
                  </a:lnTo>
                  <a:lnTo>
                    <a:pt x="1437" y="334"/>
                  </a:lnTo>
                  <a:lnTo>
                    <a:pt x="1437" y="324"/>
                  </a:lnTo>
                  <a:lnTo>
                    <a:pt x="1434" y="317"/>
                  </a:lnTo>
                  <a:lnTo>
                    <a:pt x="1428" y="308"/>
                  </a:lnTo>
                  <a:lnTo>
                    <a:pt x="1417" y="302"/>
                  </a:lnTo>
                  <a:lnTo>
                    <a:pt x="1412" y="302"/>
                  </a:lnTo>
                  <a:lnTo>
                    <a:pt x="1405" y="304"/>
                  </a:lnTo>
                  <a:lnTo>
                    <a:pt x="1399" y="302"/>
                  </a:lnTo>
                  <a:lnTo>
                    <a:pt x="1399" y="301"/>
                  </a:lnTo>
                  <a:lnTo>
                    <a:pt x="1401" y="297"/>
                  </a:lnTo>
                  <a:lnTo>
                    <a:pt x="1405" y="300"/>
                  </a:lnTo>
                  <a:lnTo>
                    <a:pt x="1411" y="300"/>
                  </a:lnTo>
                  <a:lnTo>
                    <a:pt x="1417" y="298"/>
                  </a:lnTo>
                  <a:lnTo>
                    <a:pt x="1418" y="298"/>
                  </a:lnTo>
                  <a:lnTo>
                    <a:pt x="1425" y="302"/>
                  </a:lnTo>
                  <a:lnTo>
                    <a:pt x="1434" y="310"/>
                  </a:lnTo>
                  <a:lnTo>
                    <a:pt x="1441" y="315"/>
                  </a:lnTo>
                  <a:lnTo>
                    <a:pt x="1447" y="314"/>
                  </a:lnTo>
                  <a:lnTo>
                    <a:pt x="1451" y="311"/>
                  </a:lnTo>
                  <a:lnTo>
                    <a:pt x="1458" y="302"/>
                  </a:lnTo>
                  <a:lnTo>
                    <a:pt x="1461" y="295"/>
                  </a:lnTo>
                  <a:lnTo>
                    <a:pt x="1461" y="290"/>
                  </a:lnTo>
                  <a:lnTo>
                    <a:pt x="1459" y="287"/>
                  </a:lnTo>
                  <a:lnTo>
                    <a:pt x="1447" y="285"/>
                  </a:lnTo>
                  <a:lnTo>
                    <a:pt x="1441" y="285"/>
                  </a:lnTo>
                  <a:lnTo>
                    <a:pt x="1439" y="284"/>
                  </a:lnTo>
                  <a:lnTo>
                    <a:pt x="1439" y="282"/>
                  </a:lnTo>
                  <a:lnTo>
                    <a:pt x="1445" y="282"/>
                  </a:lnTo>
                  <a:lnTo>
                    <a:pt x="1451" y="281"/>
                  </a:lnTo>
                  <a:lnTo>
                    <a:pt x="1457" y="284"/>
                  </a:lnTo>
                  <a:lnTo>
                    <a:pt x="1458" y="282"/>
                  </a:lnTo>
                  <a:lnTo>
                    <a:pt x="1455" y="278"/>
                  </a:lnTo>
                  <a:lnTo>
                    <a:pt x="1451" y="277"/>
                  </a:lnTo>
                  <a:lnTo>
                    <a:pt x="1442" y="274"/>
                  </a:lnTo>
                  <a:lnTo>
                    <a:pt x="1434" y="269"/>
                  </a:lnTo>
                  <a:lnTo>
                    <a:pt x="1431" y="271"/>
                  </a:lnTo>
                  <a:lnTo>
                    <a:pt x="1428" y="274"/>
                  </a:lnTo>
                  <a:lnTo>
                    <a:pt x="1428" y="281"/>
                  </a:lnTo>
                  <a:lnTo>
                    <a:pt x="1429" y="285"/>
                  </a:lnTo>
                  <a:lnTo>
                    <a:pt x="1427" y="285"/>
                  </a:lnTo>
                  <a:lnTo>
                    <a:pt x="1424" y="282"/>
                  </a:lnTo>
                  <a:lnTo>
                    <a:pt x="1422" y="274"/>
                  </a:lnTo>
                  <a:lnTo>
                    <a:pt x="1424" y="267"/>
                  </a:lnTo>
                  <a:lnTo>
                    <a:pt x="1427" y="267"/>
                  </a:lnTo>
                  <a:lnTo>
                    <a:pt x="1432" y="267"/>
                  </a:lnTo>
                  <a:lnTo>
                    <a:pt x="1438" y="267"/>
                  </a:lnTo>
                  <a:lnTo>
                    <a:pt x="1442" y="267"/>
                  </a:lnTo>
                  <a:lnTo>
                    <a:pt x="1445" y="262"/>
                  </a:lnTo>
                  <a:lnTo>
                    <a:pt x="1448" y="258"/>
                  </a:lnTo>
                  <a:lnTo>
                    <a:pt x="1447" y="248"/>
                  </a:lnTo>
                  <a:lnTo>
                    <a:pt x="1447" y="242"/>
                  </a:lnTo>
                  <a:lnTo>
                    <a:pt x="1451" y="234"/>
                  </a:lnTo>
                  <a:lnTo>
                    <a:pt x="1449" y="232"/>
                  </a:lnTo>
                  <a:lnTo>
                    <a:pt x="1447" y="232"/>
                  </a:lnTo>
                  <a:lnTo>
                    <a:pt x="1439" y="237"/>
                  </a:lnTo>
                  <a:lnTo>
                    <a:pt x="1434" y="239"/>
                  </a:lnTo>
                  <a:lnTo>
                    <a:pt x="1421" y="241"/>
                  </a:lnTo>
                  <a:lnTo>
                    <a:pt x="1419" y="244"/>
                  </a:lnTo>
                  <a:lnTo>
                    <a:pt x="1415" y="251"/>
                  </a:lnTo>
                  <a:lnTo>
                    <a:pt x="1412" y="255"/>
                  </a:lnTo>
                  <a:lnTo>
                    <a:pt x="1408" y="258"/>
                  </a:lnTo>
                  <a:lnTo>
                    <a:pt x="1406" y="262"/>
                  </a:lnTo>
                  <a:lnTo>
                    <a:pt x="1406" y="265"/>
                  </a:lnTo>
                  <a:lnTo>
                    <a:pt x="1408" y="272"/>
                  </a:lnTo>
                  <a:lnTo>
                    <a:pt x="1408" y="275"/>
                  </a:lnTo>
                  <a:lnTo>
                    <a:pt x="1408" y="274"/>
                  </a:lnTo>
                  <a:lnTo>
                    <a:pt x="1404" y="269"/>
                  </a:lnTo>
                  <a:lnTo>
                    <a:pt x="1401" y="265"/>
                  </a:lnTo>
                  <a:lnTo>
                    <a:pt x="1396" y="264"/>
                  </a:lnTo>
                  <a:lnTo>
                    <a:pt x="1394" y="269"/>
                  </a:lnTo>
                  <a:lnTo>
                    <a:pt x="1395" y="277"/>
                  </a:lnTo>
                  <a:lnTo>
                    <a:pt x="1395" y="279"/>
                  </a:lnTo>
                  <a:lnTo>
                    <a:pt x="1394" y="279"/>
                  </a:lnTo>
                  <a:lnTo>
                    <a:pt x="1394" y="278"/>
                  </a:lnTo>
                  <a:lnTo>
                    <a:pt x="1391" y="271"/>
                  </a:lnTo>
                  <a:lnTo>
                    <a:pt x="1389" y="267"/>
                  </a:lnTo>
                  <a:lnTo>
                    <a:pt x="1389" y="261"/>
                  </a:lnTo>
                  <a:lnTo>
                    <a:pt x="1385" y="254"/>
                  </a:lnTo>
                  <a:lnTo>
                    <a:pt x="1381" y="251"/>
                  </a:lnTo>
                  <a:lnTo>
                    <a:pt x="1376" y="252"/>
                  </a:lnTo>
                  <a:lnTo>
                    <a:pt x="1372" y="257"/>
                  </a:lnTo>
                  <a:lnTo>
                    <a:pt x="1368" y="262"/>
                  </a:lnTo>
                  <a:lnTo>
                    <a:pt x="1368" y="267"/>
                  </a:lnTo>
                  <a:lnTo>
                    <a:pt x="1371" y="269"/>
                  </a:lnTo>
                  <a:lnTo>
                    <a:pt x="1374" y="274"/>
                  </a:lnTo>
                  <a:lnTo>
                    <a:pt x="1375" y="278"/>
                  </a:lnTo>
                  <a:lnTo>
                    <a:pt x="1375" y="282"/>
                  </a:lnTo>
                  <a:lnTo>
                    <a:pt x="1374" y="282"/>
                  </a:lnTo>
                  <a:lnTo>
                    <a:pt x="1371" y="279"/>
                  </a:lnTo>
                  <a:lnTo>
                    <a:pt x="1371" y="275"/>
                  </a:lnTo>
                  <a:lnTo>
                    <a:pt x="1371" y="274"/>
                  </a:lnTo>
                  <a:lnTo>
                    <a:pt x="1365" y="274"/>
                  </a:lnTo>
                  <a:lnTo>
                    <a:pt x="1364" y="269"/>
                  </a:lnTo>
                  <a:lnTo>
                    <a:pt x="1364" y="261"/>
                  </a:lnTo>
                  <a:lnTo>
                    <a:pt x="1365" y="258"/>
                  </a:lnTo>
                  <a:lnTo>
                    <a:pt x="1369" y="254"/>
                  </a:lnTo>
                  <a:lnTo>
                    <a:pt x="1368" y="248"/>
                  </a:lnTo>
                  <a:lnTo>
                    <a:pt x="1365" y="239"/>
                  </a:lnTo>
                  <a:lnTo>
                    <a:pt x="1362" y="225"/>
                  </a:lnTo>
                  <a:lnTo>
                    <a:pt x="1359" y="216"/>
                  </a:lnTo>
                  <a:lnTo>
                    <a:pt x="1354" y="209"/>
                  </a:lnTo>
                  <a:lnTo>
                    <a:pt x="1348" y="205"/>
                  </a:lnTo>
                  <a:lnTo>
                    <a:pt x="1343" y="201"/>
                  </a:lnTo>
                  <a:lnTo>
                    <a:pt x="1343" y="199"/>
                  </a:lnTo>
                  <a:lnTo>
                    <a:pt x="1341" y="198"/>
                  </a:lnTo>
                  <a:lnTo>
                    <a:pt x="1339" y="198"/>
                  </a:lnTo>
                  <a:lnTo>
                    <a:pt x="1339" y="201"/>
                  </a:lnTo>
                  <a:lnTo>
                    <a:pt x="1339" y="204"/>
                  </a:lnTo>
                  <a:lnTo>
                    <a:pt x="1338" y="204"/>
                  </a:lnTo>
                  <a:lnTo>
                    <a:pt x="1332" y="204"/>
                  </a:lnTo>
                  <a:lnTo>
                    <a:pt x="1332" y="202"/>
                  </a:lnTo>
                  <a:lnTo>
                    <a:pt x="1335" y="201"/>
                  </a:lnTo>
                  <a:lnTo>
                    <a:pt x="1335" y="198"/>
                  </a:lnTo>
                  <a:lnTo>
                    <a:pt x="1332" y="198"/>
                  </a:lnTo>
                  <a:lnTo>
                    <a:pt x="1331" y="198"/>
                  </a:lnTo>
                  <a:lnTo>
                    <a:pt x="1326" y="199"/>
                  </a:lnTo>
                  <a:lnTo>
                    <a:pt x="1322" y="199"/>
                  </a:lnTo>
                  <a:lnTo>
                    <a:pt x="1321" y="199"/>
                  </a:lnTo>
                  <a:lnTo>
                    <a:pt x="1316" y="205"/>
                  </a:lnTo>
                  <a:lnTo>
                    <a:pt x="1316" y="208"/>
                  </a:lnTo>
                  <a:lnTo>
                    <a:pt x="1315" y="212"/>
                  </a:lnTo>
                  <a:lnTo>
                    <a:pt x="1313" y="219"/>
                  </a:lnTo>
                  <a:lnTo>
                    <a:pt x="1313" y="225"/>
                  </a:lnTo>
                  <a:lnTo>
                    <a:pt x="1312" y="227"/>
                  </a:lnTo>
                  <a:lnTo>
                    <a:pt x="1309" y="231"/>
                  </a:lnTo>
                  <a:lnTo>
                    <a:pt x="1302" y="225"/>
                  </a:lnTo>
                  <a:lnTo>
                    <a:pt x="1308" y="218"/>
                  </a:lnTo>
                  <a:lnTo>
                    <a:pt x="1308" y="211"/>
                  </a:lnTo>
                  <a:lnTo>
                    <a:pt x="1309" y="208"/>
                  </a:lnTo>
                  <a:lnTo>
                    <a:pt x="1309" y="201"/>
                  </a:lnTo>
                  <a:lnTo>
                    <a:pt x="1312" y="201"/>
                  </a:lnTo>
                  <a:lnTo>
                    <a:pt x="1315" y="201"/>
                  </a:lnTo>
                  <a:lnTo>
                    <a:pt x="1315" y="199"/>
                  </a:lnTo>
                  <a:lnTo>
                    <a:pt x="1312" y="196"/>
                  </a:lnTo>
                  <a:lnTo>
                    <a:pt x="1309" y="195"/>
                  </a:lnTo>
                  <a:lnTo>
                    <a:pt x="1302" y="195"/>
                  </a:lnTo>
                  <a:lnTo>
                    <a:pt x="1296" y="195"/>
                  </a:lnTo>
                  <a:lnTo>
                    <a:pt x="1289" y="189"/>
                  </a:lnTo>
                  <a:lnTo>
                    <a:pt x="1280" y="182"/>
                  </a:lnTo>
                  <a:lnTo>
                    <a:pt x="1279" y="182"/>
                  </a:lnTo>
                  <a:lnTo>
                    <a:pt x="1278" y="182"/>
                  </a:lnTo>
                  <a:lnTo>
                    <a:pt x="1278" y="184"/>
                  </a:lnTo>
                  <a:lnTo>
                    <a:pt x="1283" y="191"/>
                  </a:lnTo>
                  <a:lnTo>
                    <a:pt x="1283" y="195"/>
                  </a:lnTo>
                  <a:lnTo>
                    <a:pt x="1280" y="199"/>
                  </a:lnTo>
                  <a:lnTo>
                    <a:pt x="1279" y="201"/>
                  </a:lnTo>
                  <a:lnTo>
                    <a:pt x="1278" y="206"/>
                  </a:lnTo>
                  <a:lnTo>
                    <a:pt x="1276" y="209"/>
                  </a:lnTo>
                  <a:lnTo>
                    <a:pt x="1275" y="209"/>
                  </a:lnTo>
                  <a:lnTo>
                    <a:pt x="1275" y="208"/>
                  </a:lnTo>
                  <a:lnTo>
                    <a:pt x="1276" y="204"/>
                  </a:lnTo>
                  <a:lnTo>
                    <a:pt x="1278" y="196"/>
                  </a:lnTo>
                  <a:lnTo>
                    <a:pt x="1278" y="195"/>
                  </a:lnTo>
                  <a:lnTo>
                    <a:pt x="1276" y="195"/>
                  </a:lnTo>
                  <a:lnTo>
                    <a:pt x="1272" y="195"/>
                  </a:lnTo>
                  <a:lnTo>
                    <a:pt x="1269" y="196"/>
                  </a:lnTo>
                  <a:lnTo>
                    <a:pt x="1262" y="199"/>
                  </a:lnTo>
                  <a:lnTo>
                    <a:pt x="1258" y="196"/>
                  </a:lnTo>
                  <a:lnTo>
                    <a:pt x="1255" y="199"/>
                  </a:lnTo>
                  <a:lnTo>
                    <a:pt x="1252" y="204"/>
                  </a:lnTo>
                  <a:lnTo>
                    <a:pt x="1249" y="206"/>
                  </a:lnTo>
                  <a:lnTo>
                    <a:pt x="1248" y="211"/>
                  </a:lnTo>
                  <a:lnTo>
                    <a:pt x="1245" y="214"/>
                  </a:lnTo>
                  <a:lnTo>
                    <a:pt x="1243" y="214"/>
                  </a:lnTo>
                  <a:lnTo>
                    <a:pt x="1242" y="211"/>
                  </a:lnTo>
                  <a:lnTo>
                    <a:pt x="1239" y="211"/>
                  </a:lnTo>
                  <a:lnTo>
                    <a:pt x="1239" y="212"/>
                  </a:lnTo>
                  <a:lnTo>
                    <a:pt x="1239" y="212"/>
                  </a:lnTo>
                  <a:lnTo>
                    <a:pt x="1239" y="215"/>
                  </a:lnTo>
                  <a:lnTo>
                    <a:pt x="1237" y="219"/>
                  </a:lnTo>
                  <a:lnTo>
                    <a:pt x="1235" y="221"/>
                  </a:lnTo>
                  <a:lnTo>
                    <a:pt x="1235" y="212"/>
                  </a:lnTo>
                  <a:lnTo>
                    <a:pt x="1235" y="211"/>
                  </a:lnTo>
                  <a:lnTo>
                    <a:pt x="1236" y="206"/>
                  </a:lnTo>
                  <a:lnTo>
                    <a:pt x="1236" y="205"/>
                  </a:lnTo>
                  <a:lnTo>
                    <a:pt x="1237" y="205"/>
                  </a:lnTo>
                  <a:lnTo>
                    <a:pt x="1237" y="205"/>
                  </a:lnTo>
                  <a:lnTo>
                    <a:pt x="1239" y="205"/>
                  </a:lnTo>
                  <a:lnTo>
                    <a:pt x="1239" y="199"/>
                  </a:lnTo>
                  <a:lnTo>
                    <a:pt x="1240" y="194"/>
                  </a:lnTo>
                  <a:lnTo>
                    <a:pt x="1243" y="192"/>
                  </a:lnTo>
                  <a:lnTo>
                    <a:pt x="1243" y="188"/>
                  </a:lnTo>
                  <a:lnTo>
                    <a:pt x="1246" y="186"/>
                  </a:lnTo>
                  <a:lnTo>
                    <a:pt x="1248" y="188"/>
                  </a:lnTo>
                  <a:lnTo>
                    <a:pt x="1248" y="191"/>
                  </a:lnTo>
                  <a:lnTo>
                    <a:pt x="1248" y="194"/>
                  </a:lnTo>
                  <a:lnTo>
                    <a:pt x="1250" y="194"/>
                  </a:lnTo>
                  <a:lnTo>
                    <a:pt x="1253" y="189"/>
                  </a:lnTo>
                  <a:lnTo>
                    <a:pt x="1259" y="188"/>
                  </a:lnTo>
                  <a:lnTo>
                    <a:pt x="1262" y="191"/>
                  </a:lnTo>
                  <a:lnTo>
                    <a:pt x="1263" y="194"/>
                  </a:lnTo>
                  <a:lnTo>
                    <a:pt x="1263" y="194"/>
                  </a:lnTo>
                  <a:lnTo>
                    <a:pt x="1263" y="191"/>
                  </a:lnTo>
                  <a:lnTo>
                    <a:pt x="1265" y="188"/>
                  </a:lnTo>
                  <a:lnTo>
                    <a:pt x="1266" y="185"/>
                  </a:lnTo>
                  <a:lnTo>
                    <a:pt x="1268" y="182"/>
                  </a:lnTo>
                  <a:lnTo>
                    <a:pt x="1266" y="175"/>
                  </a:lnTo>
                  <a:lnTo>
                    <a:pt x="1268" y="174"/>
                  </a:lnTo>
                  <a:lnTo>
                    <a:pt x="1272" y="172"/>
                  </a:lnTo>
                  <a:lnTo>
                    <a:pt x="1273" y="172"/>
                  </a:lnTo>
                  <a:lnTo>
                    <a:pt x="1275" y="163"/>
                  </a:lnTo>
                  <a:lnTo>
                    <a:pt x="1276" y="162"/>
                  </a:lnTo>
                  <a:lnTo>
                    <a:pt x="1278" y="162"/>
                  </a:lnTo>
                  <a:lnTo>
                    <a:pt x="1278" y="166"/>
                  </a:lnTo>
                  <a:lnTo>
                    <a:pt x="1278" y="171"/>
                  </a:lnTo>
                  <a:lnTo>
                    <a:pt x="1278" y="178"/>
                  </a:lnTo>
                  <a:lnTo>
                    <a:pt x="1278" y="179"/>
                  </a:lnTo>
                  <a:lnTo>
                    <a:pt x="1279" y="179"/>
                  </a:lnTo>
                  <a:lnTo>
                    <a:pt x="1280" y="176"/>
                  </a:lnTo>
                  <a:lnTo>
                    <a:pt x="1282" y="169"/>
                  </a:lnTo>
                  <a:lnTo>
                    <a:pt x="1280" y="152"/>
                  </a:lnTo>
                  <a:lnTo>
                    <a:pt x="1282" y="143"/>
                  </a:lnTo>
                  <a:lnTo>
                    <a:pt x="1282" y="131"/>
                  </a:lnTo>
                  <a:lnTo>
                    <a:pt x="1285" y="126"/>
                  </a:lnTo>
                  <a:lnTo>
                    <a:pt x="1289" y="123"/>
                  </a:lnTo>
                  <a:lnTo>
                    <a:pt x="1292" y="119"/>
                  </a:lnTo>
                  <a:lnTo>
                    <a:pt x="1292" y="113"/>
                  </a:lnTo>
                  <a:lnTo>
                    <a:pt x="1289" y="108"/>
                  </a:lnTo>
                  <a:lnTo>
                    <a:pt x="1286" y="103"/>
                  </a:lnTo>
                  <a:lnTo>
                    <a:pt x="1283" y="103"/>
                  </a:lnTo>
                  <a:lnTo>
                    <a:pt x="1280" y="105"/>
                  </a:lnTo>
                  <a:lnTo>
                    <a:pt x="1275" y="105"/>
                  </a:lnTo>
                  <a:lnTo>
                    <a:pt x="1269" y="109"/>
                  </a:lnTo>
                  <a:lnTo>
                    <a:pt x="1268" y="112"/>
                  </a:lnTo>
                  <a:lnTo>
                    <a:pt x="1265" y="116"/>
                  </a:lnTo>
                  <a:lnTo>
                    <a:pt x="1263" y="119"/>
                  </a:lnTo>
                  <a:lnTo>
                    <a:pt x="1255" y="122"/>
                  </a:lnTo>
                  <a:lnTo>
                    <a:pt x="1253" y="122"/>
                  </a:lnTo>
                  <a:lnTo>
                    <a:pt x="1253" y="121"/>
                  </a:lnTo>
                  <a:lnTo>
                    <a:pt x="1252" y="121"/>
                  </a:lnTo>
                  <a:lnTo>
                    <a:pt x="1249" y="121"/>
                  </a:lnTo>
                  <a:lnTo>
                    <a:pt x="1248" y="121"/>
                  </a:lnTo>
                  <a:lnTo>
                    <a:pt x="1245" y="123"/>
                  </a:lnTo>
                  <a:lnTo>
                    <a:pt x="1242" y="125"/>
                  </a:lnTo>
                  <a:lnTo>
                    <a:pt x="1239" y="125"/>
                  </a:lnTo>
                  <a:lnTo>
                    <a:pt x="1237" y="126"/>
                  </a:lnTo>
                  <a:lnTo>
                    <a:pt x="1235" y="128"/>
                  </a:lnTo>
                  <a:lnTo>
                    <a:pt x="1230" y="131"/>
                  </a:lnTo>
                  <a:lnTo>
                    <a:pt x="1230" y="128"/>
                  </a:lnTo>
                  <a:lnTo>
                    <a:pt x="1235" y="123"/>
                  </a:lnTo>
                  <a:lnTo>
                    <a:pt x="1245" y="119"/>
                  </a:lnTo>
                  <a:lnTo>
                    <a:pt x="1249" y="115"/>
                  </a:lnTo>
                  <a:lnTo>
                    <a:pt x="1252" y="113"/>
                  </a:lnTo>
                  <a:lnTo>
                    <a:pt x="1259" y="115"/>
                  </a:lnTo>
                  <a:lnTo>
                    <a:pt x="1260" y="113"/>
                  </a:lnTo>
                  <a:lnTo>
                    <a:pt x="1265" y="108"/>
                  </a:lnTo>
                  <a:lnTo>
                    <a:pt x="1269" y="99"/>
                  </a:lnTo>
                  <a:lnTo>
                    <a:pt x="1273" y="98"/>
                  </a:lnTo>
                  <a:lnTo>
                    <a:pt x="1278" y="95"/>
                  </a:lnTo>
                  <a:lnTo>
                    <a:pt x="1279" y="88"/>
                  </a:lnTo>
                  <a:lnTo>
                    <a:pt x="1282" y="82"/>
                  </a:lnTo>
                  <a:lnTo>
                    <a:pt x="1282" y="76"/>
                  </a:lnTo>
                  <a:lnTo>
                    <a:pt x="1279" y="73"/>
                  </a:lnTo>
                  <a:lnTo>
                    <a:pt x="1275" y="69"/>
                  </a:lnTo>
                  <a:lnTo>
                    <a:pt x="1269" y="68"/>
                  </a:lnTo>
                  <a:lnTo>
                    <a:pt x="1262" y="68"/>
                  </a:lnTo>
                  <a:lnTo>
                    <a:pt x="1256" y="68"/>
                  </a:lnTo>
                  <a:lnTo>
                    <a:pt x="1253" y="65"/>
                  </a:lnTo>
                  <a:lnTo>
                    <a:pt x="1246" y="63"/>
                  </a:lnTo>
                  <a:lnTo>
                    <a:pt x="1243" y="65"/>
                  </a:lnTo>
                  <a:lnTo>
                    <a:pt x="1245" y="68"/>
                  </a:lnTo>
                  <a:lnTo>
                    <a:pt x="1242" y="69"/>
                  </a:lnTo>
                  <a:lnTo>
                    <a:pt x="1239" y="65"/>
                  </a:lnTo>
                  <a:lnTo>
                    <a:pt x="1232" y="52"/>
                  </a:lnTo>
                  <a:lnTo>
                    <a:pt x="1232" y="47"/>
                  </a:lnTo>
                  <a:lnTo>
                    <a:pt x="1227" y="39"/>
                  </a:lnTo>
                  <a:lnTo>
                    <a:pt x="1223" y="35"/>
                  </a:lnTo>
                  <a:lnTo>
                    <a:pt x="1222" y="32"/>
                  </a:lnTo>
                  <a:lnTo>
                    <a:pt x="1222" y="23"/>
                  </a:lnTo>
                  <a:lnTo>
                    <a:pt x="1220" y="20"/>
                  </a:lnTo>
                  <a:lnTo>
                    <a:pt x="1226" y="17"/>
                  </a:lnTo>
                  <a:lnTo>
                    <a:pt x="1230" y="13"/>
                  </a:lnTo>
                  <a:lnTo>
                    <a:pt x="1233" y="9"/>
                  </a:lnTo>
                  <a:lnTo>
                    <a:pt x="1230" y="5"/>
                  </a:lnTo>
                  <a:lnTo>
                    <a:pt x="1226" y="3"/>
                  </a:lnTo>
                  <a:lnTo>
                    <a:pt x="1219" y="0"/>
                  </a:lnTo>
                  <a:lnTo>
                    <a:pt x="1213" y="2"/>
                  </a:lnTo>
                  <a:lnTo>
                    <a:pt x="1207" y="2"/>
                  </a:lnTo>
                  <a:lnTo>
                    <a:pt x="1202" y="6"/>
                  </a:lnTo>
                  <a:lnTo>
                    <a:pt x="1197" y="16"/>
                  </a:lnTo>
                  <a:lnTo>
                    <a:pt x="1195" y="20"/>
                  </a:lnTo>
                  <a:lnTo>
                    <a:pt x="1195" y="23"/>
                  </a:lnTo>
                  <a:lnTo>
                    <a:pt x="1197" y="23"/>
                  </a:lnTo>
                  <a:lnTo>
                    <a:pt x="1200" y="20"/>
                  </a:lnTo>
                  <a:lnTo>
                    <a:pt x="1200" y="16"/>
                  </a:lnTo>
                  <a:lnTo>
                    <a:pt x="1202" y="15"/>
                  </a:lnTo>
                  <a:lnTo>
                    <a:pt x="1205" y="15"/>
                  </a:lnTo>
                  <a:lnTo>
                    <a:pt x="1205" y="16"/>
                  </a:lnTo>
                  <a:lnTo>
                    <a:pt x="1203" y="19"/>
                  </a:lnTo>
                  <a:lnTo>
                    <a:pt x="1200" y="23"/>
                  </a:lnTo>
                  <a:lnTo>
                    <a:pt x="1200" y="26"/>
                  </a:lnTo>
                  <a:lnTo>
                    <a:pt x="1200" y="29"/>
                  </a:lnTo>
                  <a:lnTo>
                    <a:pt x="1200" y="32"/>
                  </a:lnTo>
                  <a:lnTo>
                    <a:pt x="1200" y="35"/>
                  </a:lnTo>
                  <a:lnTo>
                    <a:pt x="1197" y="36"/>
                  </a:lnTo>
                  <a:lnTo>
                    <a:pt x="1193" y="39"/>
                  </a:lnTo>
                  <a:lnTo>
                    <a:pt x="1190" y="42"/>
                  </a:lnTo>
                  <a:lnTo>
                    <a:pt x="1192" y="36"/>
                  </a:lnTo>
                  <a:lnTo>
                    <a:pt x="1195" y="32"/>
                  </a:lnTo>
                  <a:lnTo>
                    <a:pt x="1195" y="27"/>
                  </a:lnTo>
                  <a:lnTo>
                    <a:pt x="1193" y="26"/>
                  </a:lnTo>
                  <a:lnTo>
                    <a:pt x="1187" y="29"/>
                  </a:lnTo>
                  <a:lnTo>
                    <a:pt x="1177" y="30"/>
                  </a:lnTo>
                  <a:lnTo>
                    <a:pt x="1174" y="35"/>
                  </a:lnTo>
                  <a:lnTo>
                    <a:pt x="1172" y="37"/>
                  </a:lnTo>
                  <a:lnTo>
                    <a:pt x="1172" y="37"/>
                  </a:lnTo>
                  <a:lnTo>
                    <a:pt x="1176" y="37"/>
                  </a:lnTo>
                  <a:lnTo>
                    <a:pt x="1176" y="40"/>
                  </a:lnTo>
                  <a:lnTo>
                    <a:pt x="1176" y="46"/>
                  </a:lnTo>
                  <a:lnTo>
                    <a:pt x="1177" y="49"/>
                  </a:lnTo>
                  <a:lnTo>
                    <a:pt x="1180" y="50"/>
                  </a:lnTo>
                  <a:lnTo>
                    <a:pt x="1180" y="52"/>
                  </a:lnTo>
                  <a:lnTo>
                    <a:pt x="1174" y="52"/>
                  </a:lnTo>
                  <a:lnTo>
                    <a:pt x="1173" y="50"/>
                  </a:lnTo>
                  <a:lnTo>
                    <a:pt x="1173" y="50"/>
                  </a:lnTo>
                  <a:lnTo>
                    <a:pt x="1174" y="49"/>
                  </a:lnTo>
                  <a:lnTo>
                    <a:pt x="1173" y="46"/>
                  </a:lnTo>
                  <a:lnTo>
                    <a:pt x="1172" y="43"/>
                  </a:lnTo>
                  <a:lnTo>
                    <a:pt x="1172" y="42"/>
                  </a:lnTo>
                  <a:lnTo>
                    <a:pt x="1167" y="42"/>
                  </a:lnTo>
                  <a:lnTo>
                    <a:pt x="1163" y="47"/>
                  </a:lnTo>
                  <a:lnTo>
                    <a:pt x="1160" y="50"/>
                  </a:lnTo>
                  <a:lnTo>
                    <a:pt x="1153" y="52"/>
                  </a:lnTo>
                  <a:lnTo>
                    <a:pt x="1143" y="58"/>
                  </a:lnTo>
                  <a:lnTo>
                    <a:pt x="1134" y="63"/>
                  </a:lnTo>
                  <a:lnTo>
                    <a:pt x="1123" y="73"/>
                  </a:lnTo>
                  <a:lnTo>
                    <a:pt x="1120" y="76"/>
                  </a:lnTo>
                  <a:lnTo>
                    <a:pt x="1117" y="79"/>
                  </a:lnTo>
                  <a:lnTo>
                    <a:pt x="1109" y="85"/>
                  </a:lnTo>
                  <a:lnTo>
                    <a:pt x="1103" y="86"/>
                  </a:lnTo>
                  <a:lnTo>
                    <a:pt x="1096" y="89"/>
                  </a:lnTo>
                  <a:lnTo>
                    <a:pt x="1091" y="88"/>
                  </a:lnTo>
                  <a:lnTo>
                    <a:pt x="1087" y="85"/>
                  </a:lnTo>
                  <a:lnTo>
                    <a:pt x="1086" y="83"/>
                  </a:lnTo>
                  <a:lnTo>
                    <a:pt x="1081" y="88"/>
                  </a:lnTo>
                  <a:lnTo>
                    <a:pt x="1073" y="95"/>
                  </a:lnTo>
                  <a:lnTo>
                    <a:pt x="1070" y="98"/>
                  </a:lnTo>
                  <a:lnTo>
                    <a:pt x="1064" y="99"/>
                  </a:lnTo>
                  <a:lnTo>
                    <a:pt x="1060" y="99"/>
                  </a:lnTo>
                  <a:lnTo>
                    <a:pt x="1056" y="96"/>
                  </a:lnTo>
                  <a:lnTo>
                    <a:pt x="1051" y="95"/>
                  </a:lnTo>
                  <a:lnTo>
                    <a:pt x="1048" y="98"/>
                  </a:lnTo>
                  <a:lnTo>
                    <a:pt x="1046" y="105"/>
                  </a:lnTo>
                  <a:lnTo>
                    <a:pt x="1044" y="109"/>
                  </a:lnTo>
                  <a:lnTo>
                    <a:pt x="1041" y="110"/>
                  </a:lnTo>
                  <a:lnTo>
                    <a:pt x="1040" y="112"/>
                  </a:lnTo>
                  <a:lnTo>
                    <a:pt x="1041" y="118"/>
                  </a:lnTo>
                  <a:lnTo>
                    <a:pt x="1041" y="121"/>
                  </a:lnTo>
                  <a:lnTo>
                    <a:pt x="1040" y="123"/>
                  </a:lnTo>
                  <a:lnTo>
                    <a:pt x="1040" y="125"/>
                  </a:lnTo>
                  <a:lnTo>
                    <a:pt x="1036" y="131"/>
                  </a:lnTo>
                  <a:lnTo>
                    <a:pt x="1033" y="135"/>
                  </a:lnTo>
                  <a:lnTo>
                    <a:pt x="1030" y="141"/>
                  </a:lnTo>
                  <a:lnTo>
                    <a:pt x="1030" y="142"/>
                  </a:lnTo>
                  <a:lnTo>
                    <a:pt x="1033" y="142"/>
                  </a:lnTo>
                  <a:lnTo>
                    <a:pt x="1037" y="136"/>
                  </a:lnTo>
                  <a:lnTo>
                    <a:pt x="1040" y="129"/>
                  </a:lnTo>
                  <a:lnTo>
                    <a:pt x="1043" y="126"/>
                  </a:lnTo>
                  <a:lnTo>
                    <a:pt x="1044" y="125"/>
                  </a:lnTo>
                  <a:lnTo>
                    <a:pt x="1044" y="126"/>
                  </a:lnTo>
                  <a:lnTo>
                    <a:pt x="1043" y="129"/>
                  </a:lnTo>
                  <a:lnTo>
                    <a:pt x="1040" y="133"/>
                  </a:lnTo>
                  <a:lnTo>
                    <a:pt x="1038" y="138"/>
                  </a:lnTo>
                  <a:lnTo>
                    <a:pt x="1037" y="141"/>
                  </a:lnTo>
                  <a:lnTo>
                    <a:pt x="1036" y="143"/>
                  </a:lnTo>
                  <a:lnTo>
                    <a:pt x="1033" y="146"/>
                  </a:lnTo>
                  <a:lnTo>
                    <a:pt x="1031" y="149"/>
                  </a:lnTo>
                  <a:lnTo>
                    <a:pt x="1028" y="155"/>
                  </a:lnTo>
                  <a:lnTo>
                    <a:pt x="1026" y="161"/>
                  </a:lnTo>
                  <a:lnTo>
                    <a:pt x="1024" y="162"/>
                  </a:lnTo>
                  <a:lnTo>
                    <a:pt x="1023" y="162"/>
                  </a:lnTo>
                  <a:lnTo>
                    <a:pt x="1026" y="155"/>
                  </a:lnTo>
                  <a:lnTo>
                    <a:pt x="1028" y="148"/>
                  </a:lnTo>
                  <a:lnTo>
                    <a:pt x="1028" y="146"/>
                  </a:lnTo>
                  <a:lnTo>
                    <a:pt x="1027" y="146"/>
                  </a:lnTo>
                  <a:lnTo>
                    <a:pt x="1024" y="152"/>
                  </a:lnTo>
                  <a:lnTo>
                    <a:pt x="1018" y="162"/>
                  </a:lnTo>
                  <a:lnTo>
                    <a:pt x="1016" y="171"/>
                  </a:lnTo>
                  <a:lnTo>
                    <a:pt x="1013" y="178"/>
                  </a:lnTo>
                  <a:lnTo>
                    <a:pt x="1014" y="182"/>
                  </a:lnTo>
                  <a:lnTo>
                    <a:pt x="1017" y="182"/>
                  </a:lnTo>
                  <a:lnTo>
                    <a:pt x="1020" y="178"/>
                  </a:lnTo>
                  <a:lnTo>
                    <a:pt x="1021" y="172"/>
                  </a:lnTo>
                  <a:lnTo>
                    <a:pt x="1024" y="168"/>
                  </a:lnTo>
                  <a:lnTo>
                    <a:pt x="1027" y="166"/>
                  </a:lnTo>
                  <a:lnTo>
                    <a:pt x="1030" y="159"/>
                  </a:lnTo>
                  <a:lnTo>
                    <a:pt x="1033" y="152"/>
                  </a:lnTo>
                  <a:lnTo>
                    <a:pt x="1033" y="151"/>
                  </a:lnTo>
                  <a:lnTo>
                    <a:pt x="1037" y="146"/>
                  </a:lnTo>
                  <a:lnTo>
                    <a:pt x="1040" y="146"/>
                  </a:lnTo>
                  <a:lnTo>
                    <a:pt x="1043" y="146"/>
                  </a:lnTo>
                  <a:lnTo>
                    <a:pt x="1044" y="149"/>
                  </a:lnTo>
                  <a:lnTo>
                    <a:pt x="1046" y="153"/>
                  </a:lnTo>
                  <a:lnTo>
                    <a:pt x="1044" y="155"/>
                  </a:lnTo>
                  <a:lnTo>
                    <a:pt x="1043" y="158"/>
                  </a:lnTo>
                  <a:lnTo>
                    <a:pt x="1041" y="159"/>
                  </a:lnTo>
                  <a:lnTo>
                    <a:pt x="1043" y="163"/>
                  </a:lnTo>
                  <a:lnTo>
                    <a:pt x="1043" y="165"/>
                  </a:lnTo>
                  <a:lnTo>
                    <a:pt x="1041" y="171"/>
                  </a:lnTo>
                  <a:lnTo>
                    <a:pt x="1038" y="175"/>
                  </a:lnTo>
                  <a:lnTo>
                    <a:pt x="1038" y="178"/>
                  </a:lnTo>
                  <a:lnTo>
                    <a:pt x="1036" y="182"/>
                  </a:lnTo>
                  <a:lnTo>
                    <a:pt x="1033" y="184"/>
                  </a:lnTo>
                  <a:lnTo>
                    <a:pt x="1030" y="185"/>
                  </a:lnTo>
                  <a:lnTo>
                    <a:pt x="1024" y="184"/>
                  </a:lnTo>
                  <a:lnTo>
                    <a:pt x="1023" y="184"/>
                  </a:lnTo>
                  <a:lnTo>
                    <a:pt x="1023" y="185"/>
                  </a:lnTo>
                  <a:lnTo>
                    <a:pt x="1023" y="189"/>
                  </a:lnTo>
                  <a:lnTo>
                    <a:pt x="1026" y="191"/>
                  </a:lnTo>
                  <a:lnTo>
                    <a:pt x="1028" y="192"/>
                  </a:lnTo>
                  <a:lnTo>
                    <a:pt x="1033" y="195"/>
                  </a:lnTo>
                  <a:lnTo>
                    <a:pt x="1033" y="198"/>
                  </a:lnTo>
                  <a:lnTo>
                    <a:pt x="1034" y="199"/>
                  </a:lnTo>
                  <a:lnTo>
                    <a:pt x="1034" y="195"/>
                  </a:lnTo>
                  <a:lnTo>
                    <a:pt x="1034" y="195"/>
                  </a:lnTo>
                  <a:lnTo>
                    <a:pt x="1037" y="195"/>
                  </a:lnTo>
                  <a:lnTo>
                    <a:pt x="1041" y="194"/>
                  </a:lnTo>
                  <a:lnTo>
                    <a:pt x="1043" y="192"/>
                  </a:lnTo>
                  <a:lnTo>
                    <a:pt x="1044" y="192"/>
                  </a:lnTo>
                  <a:lnTo>
                    <a:pt x="1046" y="196"/>
                  </a:lnTo>
                  <a:lnTo>
                    <a:pt x="1046" y="196"/>
                  </a:lnTo>
                  <a:lnTo>
                    <a:pt x="1046" y="198"/>
                  </a:lnTo>
                  <a:lnTo>
                    <a:pt x="1046" y="202"/>
                  </a:lnTo>
                  <a:lnTo>
                    <a:pt x="1044" y="208"/>
                  </a:lnTo>
                  <a:lnTo>
                    <a:pt x="1041" y="208"/>
                  </a:lnTo>
                  <a:lnTo>
                    <a:pt x="1040" y="208"/>
                  </a:lnTo>
                  <a:lnTo>
                    <a:pt x="1038" y="204"/>
                  </a:lnTo>
                  <a:lnTo>
                    <a:pt x="1036" y="202"/>
                  </a:lnTo>
                  <a:lnTo>
                    <a:pt x="1033" y="204"/>
                  </a:lnTo>
                  <a:lnTo>
                    <a:pt x="1030" y="201"/>
                  </a:lnTo>
                  <a:lnTo>
                    <a:pt x="1023" y="202"/>
                  </a:lnTo>
                  <a:lnTo>
                    <a:pt x="1021" y="198"/>
                  </a:lnTo>
                  <a:lnTo>
                    <a:pt x="1021" y="192"/>
                  </a:lnTo>
                  <a:lnTo>
                    <a:pt x="1021" y="191"/>
                  </a:lnTo>
                  <a:lnTo>
                    <a:pt x="1018" y="189"/>
                  </a:lnTo>
                  <a:lnTo>
                    <a:pt x="1017" y="192"/>
                  </a:lnTo>
                  <a:lnTo>
                    <a:pt x="1014" y="196"/>
                  </a:lnTo>
                  <a:lnTo>
                    <a:pt x="1010" y="198"/>
                  </a:lnTo>
                  <a:lnTo>
                    <a:pt x="1008" y="198"/>
                  </a:lnTo>
                  <a:lnTo>
                    <a:pt x="1010" y="195"/>
                  </a:lnTo>
                  <a:lnTo>
                    <a:pt x="1013" y="191"/>
                  </a:lnTo>
                  <a:lnTo>
                    <a:pt x="1013" y="188"/>
                  </a:lnTo>
                  <a:lnTo>
                    <a:pt x="1013" y="185"/>
                  </a:lnTo>
                  <a:lnTo>
                    <a:pt x="1011" y="185"/>
                  </a:lnTo>
                  <a:lnTo>
                    <a:pt x="1007" y="189"/>
                  </a:lnTo>
                  <a:lnTo>
                    <a:pt x="1004" y="198"/>
                  </a:lnTo>
                  <a:lnTo>
                    <a:pt x="1004" y="201"/>
                  </a:lnTo>
                  <a:lnTo>
                    <a:pt x="1004" y="202"/>
                  </a:lnTo>
                  <a:lnTo>
                    <a:pt x="1005" y="204"/>
                  </a:lnTo>
                  <a:lnTo>
                    <a:pt x="1008" y="205"/>
                  </a:lnTo>
                  <a:lnTo>
                    <a:pt x="1010" y="209"/>
                  </a:lnTo>
                  <a:lnTo>
                    <a:pt x="1007" y="211"/>
                  </a:lnTo>
                  <a:lnTo>
                    <a:pt x="1004" y="209"/>
                  </a:lnTo>
                  <a:lnTo>
                    <a:pt x="1004" y="208"/>
                  </a:lnTo>
                  <a:lnTo>
                    <a:pt x="1003" y="206"/>
                  </a:lnTo>
                  <a:lnTo>
                    <a:pt x="1000" y="211"/>
                  </a:lnTo>
                  <a:lnTo>
                    <a:pt x="995" y="212"/>
                  </a:lnTo>
                  <a:lnTo>
                    <a:pt x="995" y="215"/>
                  </a:lnTo>
                  <a:lnTo>
                    <a:pt x="997" y="219"/>
                  </a:lnTo>
                  <a:lnTo>
                    <a:pt x="998" y="228"/>
                  </a:lnTo>
                  <a:lnTo>
                    <a:pt x="995" y="234"/>
                  </a:lnTo>
                  <a:lnTo>
                    <a:pt x="991" y="238"/>
                  </a:lnTo>
                  <a:lnTo>
                    <a:pt x="991" y="244"/>
                  </a:lnTo>
                  <a:lnTo>
                    <a:pt x="985" y="252"/>
                  </a:lnTo>
                  <a:lnTo>
                    <a:pt x="984" y="262"/>
                  </a:lnTo>
                  <a:lnTo>
                    <a:pt x="984" y="271"/>
                  </a:lnTo>
                  <a:lnTo>
                    <a:pt x="987" y="275"/>
                  </a:lnTo>
                  <a:lnTo>
                    <a:pt x="990" y="275"/>
                  </a:lnTo>
                  <a:lnTo>
                    <a:pt x="990" y="272"/>
                  </a:lnTo>
                  <a:lnTo>
                    <a:pt x="990" y="269"/>
                  </a:lnTo>
                  <a:lnTo>
                    <a:pt x="988" y="264"/>
                  </a:lnTo>
                  <a:lnTo>
                    <a:pt x="990" y="251"/>
                  </a:lnTo>
                  <a:lnTo>
                    <a:pt x="991" y="249"/>
                  </a:lnTo>
                  <a:lnTo>
                    <a:pt x="991" y="254"/>
                  </a:lnTo>
                  <a:lnTo>
                    <a:pt x="991" y="259"/>
                  </a:lnTo>
                  <a:lnTo>
                    <a:pt x="991" y="264"/>
                  </a:lnTo>
                  <a:lnTo>
                    <a:pt x="993" y="269"/>
                  </a:lnTo>
                  <a:lnTo>
                    <a:pt x="994" y="272"/>
                  </a:lnTo>
                  <a:lnTo>
                    <a:pt x="994" y="271"/>
                  </a:lnTo>
                  <a:lnTo>
                    <a:pt x="994" y="262"/>
                  </a:lnTo>
                  <a:lnTo>
                    <a:pt x="994" y="257"/>
                  </a:lnTo>
                  <a:lnTo>
                    <a:pt x="994" y="252"/>
                  </a:lnTo>
                  <a:lnTo>
                    <a:pt x="994" y="248"/>
                  </a:lnTo>
                  <a:lnTo>
                    <a:pt x="995" y="248"/>
                  </a:lnTo>
                  <a:lnTo>
                    <a:pt x="997" y="255"/>
                  </a:lnTo>
                  <a:lnTo>
                    <a:pt x="1000" y="251"/>
                  </a:lnTo>
                  <a:lnTo>
                    <a:pt x="1001" y="251"/>
                  </a:lnTo>
                  <a:lnTo>
                    <a:pt x="1003" y="251"/>
                  </a:lnTo>
                  <a:lnTo>
                    <a:pt x="1004" y="255"/>
                  </a:lnTo>
                  <a:lnTo>
                    <a:pt x="1007" y="258"/>
                  </a:lnTo>
                  <a:lnTo>
                    <a:pt x="1008" y="257"/>
                  </a:lnTo>
                  <a:lnTo>
                    <a:pt x="1007" y="252"/>
                  </a:lnTo>
                  <a:lnTo>
                    <a:pt x="1007" y="245"/>
                  </a:lnTo>
                  <a:lnTo>
                    <a:pt x="1008" y="245"/>
                  </a:lnTo>
                  <a:lnTo>
                    <a:pt x="1016" y="245"/>
                  </a:lnTo>
                  <a:lnTo>
                    <a:pt x="1020" y="245"/>
                  </a:lnTo>
                  <a:lnTo>
                    <a:pt x="1026" y="244"/>
                  </a:lnTo>
                  <a:lnTo>
                    <a:pt x="1030" y="245"/>
                  </a:lnTo>
                  <a:lnTo>
                    <a:pt x="1040" y="248"/>
                  </a:lnTo>
                  <a:lnTo>
                    <a:pt x="1051" y="251"/>
                  </a:lnTo>
                  <a:lnTo>
                    <a:pt x="1060" y="252"/>
                  </a:lnTo>
                  <a:lnTo>
                    <a:pt x="1063" y="258"/>
                  </a:lnTo>
                  <a:lnTo>
                    <a:pt x="1064" y="264"/>
                  </a:lnTo>
                  <a:lnTo>
                    <a:pt x="1066" y="272"/>
                  </a:lnTo>
                  <a:lnTo>
                    <a:pt x="1069" y="277"/>
                  </a:lnTo>
                  <a:lnTo>
                    <a:pt x="1073" y="278"/>
                  </a:lnTo>
                  <a:lnTo>
                    <a:pt x="1077" y="279"/>
                  </a:lnTo>
                  <a:lnTo>
                    <a:pt x="1081" y="279"/>
                  </a:lnTo>
                  <a:lnTo>
                    <a:pt x="1081" y="278"/>
                  </a:lnTo>
                  <a:lnTo>
                    <a:pt x="1080" y="277"/>
                  </a:lnTo>
                  <a:lnTo>
                    <a:pt x="1077" y="275"/>
                  </a:lnTo>
                  <a:lnTo>
                    <a:pt x="1074" y="274"/>
                  </a:lnTo>
                  <a:lnTo>
                    <a:pt x="1074" y="271"/>
                  </a:lnTo>
                  <a:lnTo>
                    <a:pt x="1076" y="269"/>
                  </a:lnTo>
                  <a:lnTo>
                    <a:pt x="1079" y="269"/>
                  </a:lnTo>
                  <a:lnTo>
                    <a:pt x="1079" y="267"/>
                  </a:lnTo>
                  <a:lnTo>
                    <a:pt x="1079" y="265"/>
                  </a:lnTo>
                  <a:lnTo>
                    <a:pt x="1079" y="262"/>
                  </a:lnTo>
                  <a:lnTo>
                    <a:pt x="1081" y="258"/>
                  </a:lnTo>
                  <a:lnTo>
                    <a:pt x="1084" y="254"/>
                  </a:lnTo>
                  <a:lnTo>
                    <a:pt x="1086" y="251"/>
                  </a:lnTo>
                  <a:lnTo>
                    <a:pt x="1087" y="251"/>
                  </a:lnTo>
                  <a:lnTo>
                    <a:pt x="1093" y="251"/>
                  </a:lnTo>
                  <a:lnTo>
                    <a:pt x="1096" y="249"/>
                  </a:lnTo>
                  <a:lnTo>
                    <a:pt x="1100" y="247"/>
                  </a:lnTo>
                  <a:lnTo>
                    <a:pt x="1107" y="248"/>
                  </a:lnTo>
                  <a:lnTo>
                    <a:pt x="1110" y="251"/>
                  </a:lnTo>
                  <a:lnTo>
                    <a:pt x="1111" y="259"/>
                  </a:lnTo>
                  <a:lnTo>
                    <a:pt x="1113" y="261"/>
                  </a:lnTo>
                  <a:lnTo>
                    <a:pt x="1117" y="261"/>
                  </a:lnTo>
                  <a:lnTo>
                    <a:pt x="1120" y="262"/>
                  </a:lnTo>
                  <a:lnTo>
                    <a:pt x="1123" y="267"/>
                  </a:lnTo>
                  <a:lnTo>
                    <a:pt x="1126" y="269"/>
                  </a:lnTo>
                  <a:lnTo>
                    <a:pt x="1126" y="271"/>
                  </a:lnTo>
                  <a:lnTo>
                    <a:pt x="1123" y="272"/>
                  </a:lnTo>
                  <a:lnTo>
                    <a:pt x="1123" y="274"/>
                  </a:lnTo>
                  <a:lnTo>
                    <a:pt x="1116" y="274"/>
                  </a:lnTo>
                  <a:lnTo>
                    <a:pt x="1113" y="274"/>
                  </a:lnTo>
                  <a:lnTo>
                    <a:pt x="1110" y="271"/>
                  </a:lnTo>
                  <a:lnTo>
                    <a:pt x="1111" y="267"/>
                  </a:lnTo>
                  <a:lnTo>
                    <a:pt x="1110" y="265"/>
                  </a:lnTo>
                  <a:lnTo>
                    <a:pt x="1109" y="265"/>
                  </a:lnTo>
                  <a:lnTo>
                    <a:pt x="1101" y="265"/>
                  </a:lnTo>
                  <a:lnTo>
                    <a:pt x="1100" y="264"/>
                  </a:lnTo>
                  <a:lnTo>
                    <a:pt x="1096" y="262"/>
                  </a:lnTo>
                  <a:lnTo>
                    <a:pt x="1093" y="262"/>
                  </a:lnTo>
                  <a:lnTo>
                    <a:pt x="1090" y="265"/>
                  </a:lnTo>
                  <a:lnTo>
                    <a:pt x="1090" y="268"/>
                  </a:lnTo>
                  <a:lnTo>
                    <a:pt x="1089" y="272"/>
                  </a:lnTo>
                  <a:lnTo>
                    <a:pt x="1089" y="278"/>
                  </a:lnTo>
                  <a:lnTo>
                    <a:pt x="1090" y="277"/>
                  </a:lnTo>
                  <a:lnTo>
                    <a:pt x="1097" y="275"/>
                  </a:lnTo>
                  <a:lnTo>
                    <a:pt x="1100" y="279"/>
                  </a:lnTo>
                  <a:lnTo>
                    <a:pt x="1103" y="285"/>
                  </a:lnTo>
                  <a:lnTo>
                    <a:pt x="1104" y="291"/>
                  </a:lnTo>
                  <a:lnTo>
                    <a:pt x="1106" y="291"/>
                  </a:lnTo>
                  <a:lnTo>
                    <a:pt x="1110" y="290"/>
                  </a:lnTo>
                  <a:lnTo>
                    <a:pt x="1114" y="292"/>
                  </a:lnTo>
                  <a:lnTo>
                    <a:pt x="1116" y="297"/>
                  </a:lnTo>
                  <a:lnTo>
                    <a:pt x="1113" y="298"/>
                  </a:lnTo>
                  <a:lnTo>
                    <a:pt x="1109" y="298"/>
                  </a:lnTo>
                  <a:lnTo>
                    <a:pt x="1106" y="298"/>
                  </a:lnTo>
                  <a:lnTo>
                    <a:pt x="1104" y="297"/>
                  </a:lnTo>
                  <a:lnTo>
                    <a:pt x="1104" y="294"/>
                  </a:lnTo>
                  <a:lnTo>
                    <a:pt x="1103" y="294"/>
                  </a:lnTo>
                  <a:lnTo>
                    <a:pt x="1096" y="295"/>
                  </a:lnTo>
                  <a:lnTo>
                    <a:pt x="1093" y="294"/>
                  </a:lnTo>
                  <a:lnTo>
                    <a:pt x="1089" y="294"/>
                  </a:lnTo>
                  <a:lnTo>
                    <a:pt x="1086" y="292"/>
                  </a:lnTo>
                  <a:lnTo>
                    <a:pt x="1083" y="292"/>
                  </a:lnTo>
                  <a:lnTo>
                    <a:pt x="1089" y="288"/>
                  </a:lnTo>
                  <a:lnTo>
                    <a:pt x="1090" y="285"/>
                  </a:lnTo>
                  <a:lnTo>
                    <a:pt x="1087" y="284"/>
                  </a:lnTo>
                  <a:lnTo>
                    <a:pt x="1084" y="285"/>
                  </a:lnTo>
                  <a:lnTo>
                    <a:pt x="1083" y="287"/>
                  </a:lnTo>
                  <a:lnTo>
                    <a:pt x="1079" y="287"/>
                  </a:lnTo>
                  <a:lnTo>
                    <a:pt x="1076" y="287"/>
                  </a:lnTo>
                  <a:lnTo>
                    <a:pt x="1071" y="288"/>
                  </a:lnTo>
                  <a:lnTo>
                    <a:pt x="1067" y="291"/>
                  </a:lnTo>
                  <a:lnTo>
                    <a:pt x="1064" y="294"/>
                  </a:lnTo>
                  <a:lnTo>
                    <a:pt x="1063" y="297"/>
                  </a:lnTo>
                  <a:lnTo>
                    <a:pt x="1060" y="300"/>
                  </a:lnTo>
                  <a:lnTo>
                    <a:pt x="1057" y="301"/>
                  </a:lnTo>
                  <a:lnTo>
                    <a:pt x="1057" y="304"/>
                  </a:lnTo>
                  <a:lnTo>
                    <a:pt x="1058" y="307"/>
                  </a:lnTo>
                  <a:lnTo>
                    <a:pt x="1057" y="307"/>
                  </a:lnTo>
                  <a:lnTo>
                    <a:pt x="1053" y="308"/>
                  </a:lnTo>
                  <a:lnTo>
                    <a:pt x="1053" y="311"/>
                  </a:lnTo>
                  <a:lnTo>
                    <a:pt x="1051" y="311"/>
                  </a:lnTo>
                  <a:lnTo>
                    <a:pt x="1047" y="311"/>
                  </a:lnTo>
                  <a:lnTo>
                    <a:pt x="1044" y="315"/>
                  </a:lnTo>
                  <a:lnTo>
                    <a:pt x="1041" y="317"/>
                  </a:lnTo>
                  <a:lnTo>
                    <a:pt x="1043" y="314"/>
                  </a:lnTo>
                  <a:lnTo>
                    <a:pt x="1043" y="311"/>
                  </a:lnTo>
                  <a:lnTo>
                    <a:pt x="1041" y="308"/>
                  </a:lnTo>
                  <a:lnTo>
                    <a:pt x="1038" y="308"/>
                  </a:lnTo>
                  <a:lnTo>
                    <a:pt x="1038" y="305"/>
                  </a:lnTo>
                  <a:lnTo>
                    <a:pt x="1036" y="302"/>
                  </a:lnTo>
                  <a:lnTo>
                    <a:pt x="1033" y="300"/>
                  </a:lnTo>
                  <a:lnTo>
                    <a:pt x="1033" y="298"/>
                  </a:lnTo>
                  <a:lnTo>
                    <a:pt x="1037" y="297"/>
                  </a:lnTo>
                  <a:lnTo>
                    <a:pt x="1041" y="297"/>
                  </a:lnTo>
                  <a:lnTo>
                    <a:pt x="1041" y="295"/>
                  </a:lnTo>
                  <a:lnTo>
                    <a:pt x="1031" y="294"/>
                  </a:lnTo>
                  <a:lnTo>
                    <a:pt x="1023" y="292"/>
                  </a:lnTo>
                  <a:lnTo>
                    <a:pt x="1017" y="291"/>
                  </a:lnTo>
                  <a:lnTo>
                    <a:pt x="1011" y="291"/>
                  </a:lnTo>
                  <a:lnTo>
                    <a:pt x="1007" y="290"/>
                  </a:lnTo>
                  <a:lnTo>
                    <a:pt x="1007" y="287"/>
                  </a:lnTo>
                  <a:lnTo>
                    <a:pt x="1005" y="285"/>
                  </a:lnTo>
                  <a:lnTo>
                    <a:pt x="1004" y="288"/>
                  </a:lnTo>
                  <a:lnTo>
                    <a:pt x="1001" y="290"/>
                  </a:lnTo>
                  <a:lnTo>
                    <a:pt x="998" y="291"/>
                  </a:lnTo>
                  <a:lnTo>
                    <a:pt x="994" y="292"/>
                  </a:lnTo>
                  <a:lnTo>
                    <a:pt x="991" y="292"/>
                  </a:lnTo>
                  <a:lnTo>
                    <a:pt x="988" y="291"/>
                  </a:lnTo>
                  <a:lnTo>
                    <a:pt x="985" y="292"/>
                  </a:lnTo>
                  <a:lnTo>
                    <a:pt x="975" y="291"/>
                  </a:lnTo>
                  <a:lnTo>
                    <a:pt x="973" y="287"/>
                  </a:lnTo>
                  <a:lnTo>
                    <a:pt x="970" y="285"/>
                  </a:lnTo>
                  <a:lnTo>
                    <a:pt x="965" y="285"/>
                  </a:lnTo>
                  <a:lnTo>
                    <a:pt x="955" y="284"/>
                  </a:lnTo>
                  <a:lnTo>
                    <a:pt x="947" y="279"/>
                  </a:lnTo>
                  <a:lnTo>
                    <a:pt x="944" y="277"/>
                  </a:lnTo>
                  <a:lnTo>
                    <a:pt x="945" y="274"/>
                  </a:lnTo>
                  <a:lnTo>
                    <a:pt x="947" y="272"/>
                  </a:lnTo>
                  <a:lnTo>
                    <a:pt x="950" y="272"/>
                  </a:lnTo>
                  <a:lnTo>
                    <a:pt x="950" y="269"/>
                  </a:lnTo>
                  <a:lnTo>
                    <a:pt x="948" y="269"/>
                  </a:lnTo>
                  <a:lnTo>
                    <a:pt x="942" y="271"/>
                  </a:lnTo>
                  <a:lnTo>
                    <a:pt x="938" y="272"/>
                  </a:lnTo>
                  <a:lnTo>
                    <a:pt x="937" y="274"/>
                  </a:lnTo>
                  <a:lnTo>
                    <a:pt x="932" y="274"/>
                  </a:lnTo>
                  <a:lnTo>
                    <a:pt x="931" y="274"/>
                  </a:lnTo>
                  <a:lnTo>
                    <a:pt x="931" y="277"/>
                  </a:lnTo>
                  <a:lnTo>
                    <a:pt x="928" y="278"/>
                  </a:lnTo>
                  <a:lnTo>
                    <a:pt x="925" y="278"/>
                  </a:lnTo>
                  <a:lnTo>
                    <a:pt x="925" y="275"/>
                  </a:lnTo>
                  <a:lnTo>
                    <a:pt x="927" y="274"/>
                  </a:lnTo>
                  <a:lnTo>
                    <a:pt x="922" y="274"/>
                  </a:lnTo>
                  <a:lnTo>
                    <a:pt x="920" y="275"/>
                  </a:lnTo>
                  <a:lnTo>
                    <a:pt x="918" y="278"/>
                  </a:lnTo>
                  <a:lnTo>
                    <a:pt x="917" y="279"/>
                  </a:lnTo>
                  <a:lnTo>
                    <a:pt x="915" y="281"/>
                  </a:lnTo>
                  <a:lnTo>
                    <a:pt x="918" y="281"/>
                  </a:lnTo>
                  <a:lnTo>
                    <a:pt x="922" y="279"/>
                  </a:lnTo>
                  <a:lnTo>
                    <a:pt x="927" y="281"/>
                  </a:lnTo>
                  <a:lnTo>
                    <a:pt x="931" y="285"/>
                  </a:lnTo>
                  <a:lnTo>
                    <a:pt x="934" y="290"/>
                  </a:lnTo>
                  <a:lnTo>
                    <a:pt x="934" y="291"/>
                  </a:lnTo>
                  <a:lnTo>
                    <a:pt x="934" y="298"/>
                  </a:lnTo>
                  <a:lnTo>
                    <a:pt x="931" y="305"/>
                  </a:lnTo>
                  <a:lnTo>
                    <a:pt x="931" y="308"/>
                  </a:lnTo>
                  <a:lnTo>
                    <a:pt x="930" y="307"/>
                  </a:lnTo>
                  <a:lnTo>
                    <a:pt x="928" y="304"/>
                  </a:lnTo>
                  <a:lnTo>
                    <a:pt x="925" y="297"/>
                  </a:lnTo>
                  <a:lnTo>
                    <a:pt x="924" y="295"/>
                  </a:lnTo>
                  <a:lnTo>
                    <a:pt x="921" y="294"/>
                  </a:lnTo>
                  <a:lnTo>
                    <a:pt x="920" y="292"/>
                  </a:lnTo>
                  <a:lnTo>
                    <a:pt x="920" y="290"/>
                  </a:lnTo>
                  <a:lnTo>
                    <a:pt x="917" y="290"/>
                  </a:lnTo>
                  <a:lnTo>
                    <a:pt x="910" y="290"/>
                  </a:lnTo>
                  <a:lnTo>
                    <a:pt x="907" y="290"/>
                  </a:lnTo>
                  <a:lnTo>
                    <a:pt x="910" y="287"/>
                  </a:lnTo>
                  <a:lnTo>
                    <a:pt x="914" y="282"/>
                  </a:lnTo>
                  <a:lnTo>
                    <a:pt x="911" y="282"/>
                  </a:lnTo>
                  <a:lnTo>
                    <a:pt x="901" y="287"/>
                  </a:lnTo>
                  <a:lnTo>
                    <a:pt x="895" y="288"/>
                  </a:lnTo>
                  <a:lnTo>
                    <a:pt x="888" y="291"/>
                  </a:lnTo>
                  <a:lnTo>
                    <a:pt x="884" y="290"/>
                  </a:lnTo>
                  <a:lnTo>
                    <a:pt x="882" y="287"/>
                  </a:lnTo>
                  <a:lnTo>
                    <a:pt x="879" y="287"/>
                  </a:lnTo>
                  <a:lnTo>
                    <a:pt x="877" y="288"/>
                  </a:lnTo>
                  <a:lnTo>
                    <a:pt x="867" y="297"/>
                  </a:lnTo>
                  <a:lnTo>
                    <a:pt x="855" y="304"/>
                  </a:lnTo>
                  <a:lnTo>
                    <a:pt x="851" y="307"/>
                  </a:lnTo>
                  <a:lnTo>
                    <a:pt x="849" y="311"/>
                  </a:lnTo>
                  <a:lnTo>
                    <a:pt x="849" y="312"/>
                  </a:lnTo>
                  <a:lnTo>
                    <a:pt x="852" y="311"/>
                  </a:lnTo>
                  <a:lnTo>
                    <a:pt x="854" y="312"/>
                  </a:lnTo>
                  <a:lnTo>
                    <a:pt x="854" y="317"/>
                  </a:lnTo>
                  <a:lnTo>
                    <a:pt x="857" y="320"/>
                  </a:lnTo>
                  <a:lnTo>
                    <a:pt x="857" y="324"/>
                  </a:lnTo>
                  <a:lnTo>
                    <a:pt x="857" y="327"/>
                  </a:lnTo>
                  <a:lnTo>
                    <a:pt x="859" y="328"/>
                  </a:lnTo>
                  <a:lnTo>
                    <a:pt x="862" y="321"/>
                  </a:lnTo>
                  <a:lnTo>
                    <a:pt x="864" y="320"/>
                  </a:lnTo>
                  <a:lnTo>
                    <a:pt x="868" y="320"/>
                  </a:lnTo>
                  <a:lnTo>
                    <a:pt x="869" y="324"/>
                  </a:lnTo>
                  <a:lnTo>
                    <a:pt x="874" y="324"/>
                  </a:lnTo>
                  <a:lnTo>
                    <a:pt x="874" y="321"/>
                  </a:lnTo>
                  <a:lnTo>
                    <a:pt x="871" y="318"/>
                  </a:lnTo>
                  <a:lnTo>
                    <a:pt x="874" y="315"/>
                  </a:lnTo>
                  <a:lnTo>
                    <a:pt x="878" y="314"/>
                  </a:lnTo>
                  <a:lnTo>
                    <a:pt x="882" y="312"/>
                  </a:lnTo>
                  <a:lnTo>
                    <a:pt x="887" y="315"/>
                  </a:lnTo>
                  <a:lnTo>
                    <a:pt x="888" y="312"/>
                  </a:lnTo>
                  <a:lnTo>
                    <a:pt x="891" y="310"/>
                  </a:lnTo>
                  <a:lnTo>
                    <a:pt x="892" y="312"/>
                  </a:lnTo>
                  <a:lnTo>
                    <a:pt x="894" y="312"/>
                  </a:lnTo>
                  <a:lnTo>
                    <a:pt x="895" y="312"/>
                  </a:lnTo>
                  <a:lnTo>
                    <a:pt x="895" y="307"/>
                  </a:lnTo>
                  <a:lnTo>
                    <a:pt x="895" y="305"/>
                  </a:lnTo>
                  <a:lnTo>
                    <a:pt x="898" y="305"/>
                  </a:lnTo>
                  <a:lnTo>
                    <a:pt x="900" y="305"/>
                  </a:lnTo>
                  <a:lnTo>
                    <a:pt x="901" y="308"/>
                  </a:lnTo>
                  <a:lnTo>
                    <a:pt x="898" y="311"/>
                  </a:lnTo>
                  <a:lnTo>
                    <a:pt x="897" y="315"/>
                  </a:lnTo>
                  <a:lnTo>
                    <a:pt x="892" y="315"/>
                  </a:lnTo>
                  <a:lnTo>
                    <a:pt x="888" y="317"/>
                  </a:lnTo>
                  <a:lnTo>
                    <a:pt x="887" y="318"/>
                  </a:lnTo>
                  <a:lnTo>
                    <a:pt x="882" y="324"/>
                  </a:lnTo>
                  <a:lnTo>
                    <a:pt x="882" y="325"/>
                  </a:lnTo>
                  <a:lnTo>
                    <a:pt x="881" y="328"/>
                  </a:lnTo>
                  <a:lnTo>
                    <a:pt x="879" y="325"/>
                  </a:lnTo>
                  <a:lnTo>
                    <a:pt x="877" y="325"/>
                  </a:lnTo>
                  <a:lnTo>
                    <a:pt x="875" y="328"/>
                  </a:lnTo>
                  <a:lnTo>
                    <a:pt x="874" y="335"/>
                  </a:lnTo>
                  <a:lnTo>
                    <a:pt x="868" y="344"/>
                  </a:lnTo>
                  <a:lnTo>
                    <a:pt x="859" y="347"/>
                  </a:lnTo>
                  <a:lnTo>
                    <a:pt x="859" y="350"/>
                  </a:lnTo>
                  <a:lnTo>
                    <a:pt x="859" y="355"/>
                  </a:lnTo>
                  <a:lnTo>
                    <a:pt x="857" y="360"/>
                  </a:lnTo>
                  <a:lnTo>
                    <a:pt x="851" y="367"/>
                  </a:lnTo>
                  <a:lnTo>
                    <a:pt x="845" y="373"/>
                  </a:lnTo>
                  <a:lnTo>
                    <a:pt x="845" y="370"/>
                  </a:lnTo>
                  <a:lnTo>
                    <a:pt x="847" y="367"/>
                  </a:lnTo>
                  <a:lnTo>
                    <a:pt x="851" y="363"/>
                  </a:lnTo>
                  <a:lnTo>
                    <a:pt x="855" y="358"/>
                  </a:lnTo>
                  <a:lnTo>
                    <a:pt x="855" y="353"/>
                  </a:lnTo>
                  <a:lnTo>
                    <a:pt x="855" y="348"/>
                  </a:lnTo>
                  <a:lnTo>
                    <a:pt x="854" y="345"/>
                  </a:lnTo>
                  <a:lnTo>
                    <a:pt x="852" y="343"/>
                  </a:lnTo>
                  <a:lnTo>
                    <a:pt x="857" y="335"/>
                  </a:lnTo>
                  <a:lnTo>
                    <a:pt x="857" y="330"/>
                  </a:lnTo>
                  <a:lnTo>
                    <a:pt x="854" y="330"/>
                  </a:lnTo>
                  <a:lnTo>
                    <a:pt x="848" y="332"/>
                  </a:lnTo>
                  <a:lnTo>
                    <a:pt x="844" y="327"/>
                  </a:lnTo>
                  <a:lnTo>
                    <a:pt x="841" y="324"/>
                  </a:lnTo>
                  <a:lnTo>
                    <a:pt x="841" y="320"/>
                  </a:lnTo>
                  <a:lnTo>
                    <a:pt x="841" y="315"/>
                  </a:lnTo>
                  <a:lnTo>
                    <a:pt x="839" y="315"/>
                  </a:lnTo>
                  <a:lnTo>
                    <a:pt x="835" y="321"/>
                  </a:lnTo>
                  <a:lnTo>
                    <a:pt x="826" y="328"/>
                  </a:lnTo>
                  <a:lnTo>
                    <a:pt x="812" y="338"/>
                  </a:lnTo>
                  <a:lnTo>
                    <a:pt x="794" y="351"/>
                  </a:lnTo>
                  <a:lnTo>
                    <a:pt x="772" y="364"/>
                  </a:lnTo>
                  <a:lnTo>
                    <a:pt x="768" y="367"/>
                  </a:lnTo>
                  <a:lnTo>
                    <a:pt x="768" y="368"/>
                  </a:lnTo>
                  <a:lnTo>
                    <a:pt x="769" y="368"/>
                  </a:lnTo>
                  <a:lnTo>
                    <a:pt x="772" y="368"/>
                  </a:lnTo>
                  <a:lnTo>
                    <a:pt x="775" y="370"/>
                  </a:lnTo>
                  <a:lnTo>
                    <a:pt x="775" y="373"/>
                  </a:lnTo>
                  <a:lnTo>
                    <a:pt x="775" y="374"/>
                  </a:lnTo>
                  <a:lnTo>
                    <a:pt x="771" y="377"/>
                  </a:lnTo>
                  <a:lnTo>
                    <a:pt x="768" y="378"/>
                  </a:lnTo>
                  <a:lnTo>
                    <a:pt x="766" y="377"/>
                  </a:lnTo>
                  <a:lnTo>
                    <a:pt x="765" y="375"/>
                  </a:lnTo>
                  <a:lnTo>
                    <a:pt x="763" y="377"/>
                  </a:lnTo>
                  <a:lnTo>
                    <a:pt x="761" y="378"/>
                  </a:lnTo>
                  <a:lnTo>
                    <a:pt x="759" y="377"/>
                  </a:lnTo>
                  <a:lnTo>
                    <a:pt x="765" y="373"/>
                  </a:lnTo>
                  <a:lnTo>
                    <a:pt x="766" y="371"/>
                  </a:lnTo>
                  <a:lnTo>
                    <a:pt x="765" y="370"/>
                  </a:lnTo>
                  <a:lnTo>
                    <a:pt x="762" y="370"/>
                  </a:lnTo>
                  <a:lnTo>
                    <a:pt x="761" y="373"/>
                  </a:lnTo>
                  <a:lnTo>
                    <a:pt x="755" y="374"/>
                  </a:lnTo>
                  <a:lnTo>
                    <a:pt x="751" y="377"/>
                  </a:lnTo>
                  <a:lnTo>
                    <a:pt x="748" y="378"/>
                  </a:lnTo>
                  <a:lnTo>
                    <a:pt x="749" y="378"/>
                  </a:lnTo>
                  <a:lnTo>
                    <a:pt x="752" y="380"/>
                  </a:lnTo>
                  <a:lnTo>
                    <a:pt x="752" y="380"/>
                  </a:lnTo>
                  <a:lnTo>
                    <a:pt x="749" y="383"/>
                  </a:lnTo>
                  <a:lnTo>
                    <a:pt x="748" y="384"/>
                  </a:lnTo>
                  <a:lnTo>
                    <a:pt x="752" y="387"/>
                  </a:lnTo>
                  <a:lnTo>
                    <a:pt x="752" y="390"/>
                  </a:lnTo>
                  <a:lnTo>
                    <a:pt x="753" y="393"/>
                  </a:lnTo>
                  <a:lnTo>
                    <a:pt x="756" y="394"/>
                  </a:lnTo>
                  <a:lnTo>
                    <a:pt x="756" y="396"/>
                  </a:lnTo>
                  <a:lnTo>
                    <a:pt x="753" y="396"/>
                  </a:lnTo>
                  <a:lnTo>
                    <a:pt x="752" y="397"/>
                  </a:lnTo>
                  <a:lnTo>
                    <a:pt x="751" y="400"/>
                  </a:lnTo>
                  <a:lnTo>
                    <a:pt x="756" y="401"/>
                  </a:lnTo>
                  <a:lnTo>
                    <a:pt x="762" y="401"/>
                  </a:lnTo>
                  <a:lnTo>
                    <a:pt x="768" y="401"/>
                  </a:lnTo>
                  <a:lnTo>
                    <a:pt x="778" y="400"/>
                  </a:lnTo>
                  <a:lnTo>
                    <a:pt x="785" y="400"/>
                  </a:lnTo>
                  <a:lnTo>
                    <a:pt x="785" y="401"/>
                  </a:lnTo>
                  <a:lnTo>
                    <a:pt x="779" y="401"/>
                  </a:lnTo>
                  <a:lnTo>
                    <a:pt x="766" y="403"/>
                  </a:lnTo>
                  <a:lnTo>
                    <a:pt x="762" y="404"/>
                  </a:lnTo>
                  <a:lnTo>
                    <a:pt x="758" y="404"/>
                  </a:lnTo>
                  <a:lnTo>
                    <a:pt x="753" y="403"/>
                  </a:lnTo>
                  <a:lnTo>
                    <a:pt x="751" y="401"/>
                  </a:lnTo>
                  <a:lnTo>
                    <a:pt x="748" y="400"/>
                  </a:lnTo>
                  <a:lnTo>
                    <a:pt x="745" y="400"/>
                  </a:lnTo>
                  <a:lnTo>
                    <a:pt x="743" y="401"/>
                  </a:lnTo>
                  <a:lnTo>
                    <a:pt x="741" y="401"/>
                  </a:lnTo>
                  <a:lnTo>
                    <a:pt x="741" y="398"/>
                  </a:lnTo>
                  <a:lnTo>
                    <a:pt x="739" y="396"/>
                  </a:lnTo>
                  <a:lnTo>
                    <a:pt x="736" y="394"/>
                  </a:lnTo>
                  <a:lnTo>
                    <a:pt x="733" y="396"/>
                  </a:lnTo>
                  <a:lnTo>
                    <a:pt x="732" y="398"/>
                  </a:lnTo>
                  <a:lnTo>
                    <a:pt x="732" y="401"/>
                  </a:lnTo>
                  <a:lnTo>
                    <a:pt x="733" y="407"/>
                  </a:lnTo>
                  <a:lnTo>
                    <a:pt x="738" y="411"/>
                  </a:lnTo>
                  <a:lnTo>
                    <a:pt x="738" y="416"/>
                  </a:lnTo>
                  <a:lnTo>
                    <a:pt x="736" y="420"/>
                  </a:lnTo>
                  <a:lnTo>
                    <a:pt x="735" y="421"/>
                  </a:lnTo>
                  <a:lnTo>
                    <a:pt x="732" y="418"/>
                  </a:lnTo>
                  <a:lnTo>
                    <a:pt x="729" y="413"/>
                  </a:lnTo>
                  <a:lnTo>
                    <a:pt x="728" y="410"/>
                  </a:lnTo>
                  <a:lnTo>
                    <a:pt x="726" y="408"/>
                  </a:lnTo>
                  <a:lnTo>
                    <a:pt x="722" y="411"/>
                  </a:lnTo>
                  <a:lnTo>
                    <a:pt x="719" y="411"/>
                  </a:lnTo>
                  <a:lnTo>
                    <a:pt x="713" y="410"/>
                  </a:lnTo>
                  <a:lnTo>
                    <a:pt x="710" y="410"/>
                  </a:lnTo>
                  <a:lnTo>
                    <a:pt x="703" y="414"/>
                  </a:lnTo>
                  <a:lnTo>
                    <a:pt x="698" y="418"/>
                  </a:lnTo>
                  <a:lnTo>
                    <a:pt x="695" y="420"/>
                  </a:lnTo>
                  <a:lnTo>
                    <a:pt x="692" y="424"/>
                  </a:lnTo>
                  <a:lnTo>
                    <a:pt x="690" y="426"/>
                  </a:lnTo>
                  <a:lnTo>
                    <a:pt x="689" y="428"/>
                  </a:lnTo>
                  <a:lnTo>
                    <a:pt x="686" y="433"/>
                  </a:lnTo>
                  <a:lnTo>
                    <a:pt x="680" y="437"/>
                  </a:lnTo>
                  <a:lnTo>
                    <a:pt x="678" y="440"/>
                  </a:lnTo>
                  <a:lnTo>
                    <a:pt x="676" y="440"/>
                  </a:lnTo>
                  <a:lnTo>
                    <a:pt x="670" y="438"/>
                  </a:lnTo>
                  <a:lnTo>
                    <a:pt x="666" y="437"/>
                  </a:lnTo>
                  <a:lnTo>
                    <a:pt x="662" y="437"/>
                  </a:lnTo>
                  <a:lnTo>
                    <a:pt x="659" y="436"/>
                  </a:lnTo>
                  <a:lnTo>
                    <a:pt x="660" y="434"/>
                  </a:lnTo>
                  <a:lnTo>
                    <a:pt x="669" y="428"/>
                  </a:lnTo>
                  <a:lnTo>
                    <a:pt x="675" y="428"/>
                  </a:lnTo>
                  <a:lnTo>
                    <a:pt x="675" y="426"/>
                  </a:lnTo>
                  <a:lnTo>
                    <a:pt x="675" y="424"/>
                  </a:lnTo>
                  <a:lnTo>
                    <a:pt x="672" y="424"/>
                  </a:lnTo>
                  <a:lnTo>
                    <a:pt x="662" y="428"/>
                  </a:lnTo>
                  <a:lnTo>
                    <a:pt x="645" y="436"/>
                  </a:lnTo>
                  <a:lnTo>
                    <a:pt x="640" y="437"/>
                  </a:lnTo>
                  <a:lnTo>
                    <a:pt x="640" y="440"/>
                  </a:lnTo>
                  <a:lnTo>
                    <a:pt x="640" y="444"/>
                  </a:lnTo>
                  <a:lnTo>
                    <a:pt x="640" y="446"/>
                  </a:lnTo>
                  <a:lnTo>
                    <a:pt x="637" y="444"/>
                  </a:lnTo>
                  <a:lnTo>
                    <a:pt x="636" y="444"/>
                  </a:lnTo>
                  <a:lnTo>
                    <a:pt x="635" y="446"/>
                  </a:lnTo>
                  <a:lnTo>
                    <a:pt x="632" y="448"/>
                  </a:lnTo>
                  <a:lnTo>
                    <a:pt x="629" y="451"/>
                  </a:lnTo>
                  <a:lnTo>
                    <a:pt x="627" y="453"/>
                  </a:lnTo>
                  <a:lnTo>
                    <a:pt x="626" y="454"/>
                  </a:lnTo>
                  <a:lnTo>
                    <a:pt x="625" y="459"/>
                  </a:lnTo>
                  <a:lnTo>
                    <a:pt x="623" y="460"/>
                  </a:lnTo>
                  <a:lnTo>
                    <a:pt x="620" y="461"/>
                  </a:lnTo>
                  <a:lnTo>
                    <a:pt x="619" y="461"/>
                  </a:lnTo>
                  <a:lnTo>
                    <a:pt x="619" y="459"/>
                  </a:lnTo>
                  <a:lnTo>
                    <a:pt x="623" y="453"/>
                  </a:lnTo>
                  <a:lnTo>
                    <a:pt x="627" y="450"/>
                  </a:lnTo>
                  <a:lnTo>
                    <a:pt x="632" y="446"/>
                  </a:lnTo>
                  <a:lnTo>
                    <a:pt x="632" y="444"/>
                  </a:lnTo>
                  <a:lnTo>
                    <a:pt x="627" y="446"/>
                  </a:lnTo>
                  <a:lnTo>
                    <a:pt x="620" y="453"/>
                  </a:lnTo>
                  <a:lnTo>
                    <a:pt x="612" y="459"/>
                  </a:lnTo>
                  <a:lnTo>
                    <a:pt x="607" y="463"/>
                  </a:lnTo>
                  <a:lnTo>
                    <a:pt x="603" y="471"/>
                  </a:lnTo>
                  <a:lnTo>
                    <a:pt x="596" y="480"/>
                  </a:lnTo>
                  <a:lnTo>
                    <a:pt x="590" y="486"/>
                  </a:lnTo>
                  <a:lnTo>
                    <a:pt x="586" y="491"/>
                  </a:lnTo>
                  <a:lnTo>
                    <a:pt x="580" y="499"/>
                  </a:lnTo>
                  <a:lnTo>
                    <a:pt x="576" y="501"/>
                  </a:lnTo>
                  <a:lnTo>
                    <a:pt x="572" y="501"/>
                  </a:lnTo>
                  <a:lnTo>
                    <a:pt x="566" y="503"/>
                  </a:lnTo>
                  <a:lnTo>
                    <a:pt x="564" y="506"/>
                  </a:lnTo>
                  <a:lnTo>
                    <a:pt x="562" y="506"/>
                  </a:lnTo>
                  <a:lnTo>
                    <a:pt x="559" y="504"/>
                  </a:lnTo>
                  <a:lnTo>
                    <a:pt x="554" y="506"/>
                  </a:lnTo>
                  <a:lnTo>
                    <a:pt x="554" y="503"/>
                  </a:lnTo>
                  <a:lnTo>
                    <a:pt x="557" y="501"/>
                  </a:lnTo>
                  <a:lnTo>
                    <a:pt x="563" y="501"/>
                  </a:lnTo>
                  <a:lnTo>
                    <a:pt x="564" y="500"/>
                  </a:lnTo>
                  <a:lnTo>
                    <a:pt x="567" y="500"/>
                  </a:lnTo>
                  <a:lnTo>
                    <a:pt x="570" y="499"/>
                  </a:lnTo>
                  <a:lnTo>
                    <a:pt x="573" y="496"/>
                  </a:lnTo>
                  <a:lnTo>
                    <a:pt x="579" y="494"/>
                  </a:lnTo>
                  <a:lnTo>
                    <a:pt x="583" y="491"/>
                  </a:lnTo>
                  <a:lnTo>
                    <a:pt x="583" y="489"/>
                  </a:lnTo>
                  <a:lnTo>
                    <a:pt x="583" y="487"/>
                  </a:lnTo>
                  <a:lnTo>
                    <a:pt x="582" y="489"/>
                  </a:lnTo>
                  <a:lnTo>
                    <a:pt x="574" y="491"/>
                  </a:lnTo>
                  <a:lnTo>
                    <a:pt x="564" y="496"/>
                  </a:lnTo>
                  <a:lnTo>
                    <a:pt x="547" y="501"/>
                  </a:lnTo>
                  <a:lnTo>
                    <a:pt x="539" y="503"/>
                  </a:lnTo>
                  <a:lnTo>
                    <a:pt x="531" y="506"/>
                  </a:lnTo>
                  <a:lnTo>
                    <a:pt x="530" y="507"/>
                  </a:lnTo>
                  <a:lnTo>
                    <a:pt x="517" y="510"/>
                  </a:lnTo>
                  <a:lnTo>
                    <a:pt x="510" y="516"/>
                  </a:lnTo>
                  <a:lnTo>
                    <a:pt x="497" y="526"/>
                  </a:lnTo>
                  <a:lnTo>
                    <a:pt x="483" y="539"/>
                  </a:lnTo>
                  <a:lnTo>
                    <a:pt x="473" y="547"/>
                  </a:lnTo>
                  <a:lnTo>
                    <a:pt x="471" y="550"/>
                  </a:lnTo>
                  <a:lnTo>
                    <a:pt x="473" y="550"/>
                  </a:lnTo>
                  <a:lnTo>
                    <a:pt x="477" y="550"/>
                  </a:lnTo>
                  <a:lnTo>
                    <a:pt x="477" y="552"/>
                  </a:lnTo>
                  <a:lnTo>
                    <a:pt x="477" y="554"/>
                  </a:lnTo>
                  <a:lnTo>
                    <a:pt x="474" y="557"/>
                  </a:lnTo>
                  <a:lnTo>
                    <a:pt x="473" y="560"/>
                  </a:lnTo>
                  <a:lnTo>
                    <a:pt x="471" y="563"/>
                  </a:lnTo>
                  <a:lnTo>
                    <a:pt x="467" y="566"/>
                  </a:lnTo>
                  <a:lnTo>
                    <a:pt x="460" y="572"/>
                  </a:lnTo>
                  <a:lnTo>
                    <a:pt x="451" y="579"/>
                  </a:lnTo>
                  <a:lnTo>
                    <a:pt x="440" y="585"/>
                  </a:lnTo>
                  <a:lnTo>
                    <a:pt x="434" y="589"/>
                  </a:lnTo>
                  <a:lnTo>
                    <a:pt x="433" y="593"/>
                  </a:lnTo>
                  <a:lnTo>
                    <a:pt x="428" y="599"/>
                  </a:lnTo>
                  <a:lnTo>
                    <a:pt x="423" y="607"/>
                  </a:lnTo>
                  <a:lnTo>
                    <a:pt x="411" y="617"/>
                  </a:lnTo>
                  <a:lnTo>
                    <a:pt x="398" y="629"/>
                  </a:lnTo>
                  <a:lnTo>
                    <a:pt x="388" y="633"/>
                  </a:lnTo>
                  <a:lnTo>
                    <a:pt x="384" y="636"/>
                  </a:lnTo>
                  <a:lnTo>
                    <a:pt x="384" y="639"/>
                  </a:lnTo>
                  <a:lnTo>
                    <a:pt x="384" y="642"/>
                  </a:lnTo>
                  <a:lnTo>
                    <a:pt x="382" y="643"/>
                  </a:lnTo>
                  <a:lnTo>
                    <a:pt x="380" y="643"/>
                  </a:lnTo>
                  <a:lnTo>
                    <a:pt x="381" y="640"/>
                  </a:lnTo>
                  <a:lnTo>
                    <a:pt x="378" y="638"/>
                  </a:lnTo>
                  <a:lnTo>
                    <a:pt x="372" y="640"/>
                  </a:lnTo>
                  <a:lnTo>
                    <a:pt x="367" y="640"/>
                  </a:lnTo>
                  <a:lnTo>
                    <a:pt x="360" y="642"/>
                  </a:lnTo>
                  <a:lnTo>
                    <a:pt x="360" y="643"/>
                  </a:lnTo>
                  <a:lnTo>
                    <a:pt x="358" y="650"/>
                  </a:lnTo>
                  <a:lnTo>
                    <a:pt x="352" y="658"/>
                  </a:lnTo>
                  <a:lnTo>
                    <a:pt x="350" y="665"/>
                  </a:lnTo>
                  <a:lnTo>
                    <a:pt x="347" y="672"/>
                  </a:lnTo>
                  <a:lnTo>
                    <a:pt x="347" y="676"/>
                  </a:lnTo>
                  <a:lnTo>
                    <a:pt x="348" y="676"/>
                  </a:lnTo>
                  <a:lnTo>
                    <a:pt x="352" y="675"/>
                  </a:lnTo>
                  <a:lnTo>
                    <a:pt x="351" y="679"/>
                  </a:lnTo>
                  <a:lnTo>
                    <a:pt x="350" y="682"/>
                  </a:lnTo>
                  <a:lnTo>
                    <a:pt x="350" y="686"/>
                  </a:lnTo>
                  <a:lnTo>
                    <a:pt x="350" y="689"/>
                  </a:lnTo>
                  <a:lnTo>
                    <a:pt x="348" y="693"/>
                  </a:lnTo>
                  <a:lnTo>
                    <a:pt x="347" y="693"/>
                  </a:lnTo>
                  <a:lnTo>
                    <a:pt x="347" y="691"/>
                  </a:lnTo>
                  <a:lnTo>
                    <a:pt x="347" y="686"/>
                  </a:lnTo>
                  <a:lnTo>
                    <a:pt x="347" y="682"/>
                  </a:lnTo>
                  <a:lnTo>
                    <a:pt x="347" y="681"/>
                  </a:lnTo>
                  <a:lnTo>
                    <a:pt x="342" y="682"/>
                  </a:lnTo>
                  <a:lnTo>
                    <a:pt x="342" y="689"/>
                  </a:lnTo>
                  <a:lnTo>
                    <a:pt x="342" y="695"/>
                  </a:lnTo>
                  <a:lnTo>
                    <a:pt x="341" y="699"/>
                  </a:lnTo>
                  <a:lnTo>
                    <a:pt x="337" y="703"/>
                  </a:lnTo>
                  <a:lnTo>
                    <a:pt x="337" y="709"/>
                  </a:lnTo>
                  <a:lnTo>
                    <a:pt x="335" y="713"/>
                  </a:lnTo>
                  <a:lnTo>
                    <a:pt x="331" y="721"/>
                  </a:lnTo>
                  <a:lnTo>
                    <a:pt x="328" y="728"/>
                  </a:lnTo>
                  <a:lnTo>
                    <a:pt x="327" y="731"/>
                  </a:lnTo>
                  <a:lnTo>
                    <a:pt x="319" y="735"/>
                  </a:lnTo>
                  <a:lnTo>
                    <a:pt x="319" y="739"/>
                  </a:lnTo>
                  <a:lnTo>
                    <a:pt x="315" y="744"/>
                  </a:lnTo>
                  <a:lnTo>
                    <a:pt x="312" y="749"/>
                  </a:lnTo>
                  <a:lnTo>
                    <a:pt x="311" y="752"/>
                  </a:lnTo>
                  <a:lnTo>
                    <a:pt x="311" y="755"/>
                  </a:lnTo>
                  <a:lnTo>
                    <a:pt x="315" y="758"/>
                  </a:lnTo>
                  <a:lnTo>
                    <a:pt x="314" y="758"/>
                  </a:lnTo>
                  <a:lnTo>
                    <a:pt x="311" y="758"/>
                  </a:lnTo>
                  <a:lnTo>
                    <a:pt x="311" y="759"/>
                  </a:lnTo>
                  <a:lnTo>
                    <a:pt x="308" y="764"/>
                  </a:lnTo>
                  <a:lnTo>
                    <a:pt x="305" y="766"/>
                  </a:lnTo>
                  <a:lnTo>
                    <a:pt x="307" y="766"/>
                  </a:lnTo>
                  <a:lnTo>
                    <a:pt x="311" y="766"/>
                  </a:lnTo>
                  <a:lnTo>
                    <a:pt x="312" y="768"/>
                  </a:lnTo>
                  <a:lnTo>
                    <a:pt x="312" y="769"/>
                  </a:lnTo>
                  <a:lnTo>
                    <a:pt x="305" y="769"/>
                  </a:lnTo>
                  <a:lnTo>
                    <a:pt x="304" y="768"/>
                  </a:lnTo>
                  <a:lnTo>
                    <a:pt x="304" y="765"/>
                  </a:lnTo>
                  <a:lnTo>
                    <a:pt x="301" y="768"/>
                  </a:lnTo>
                  <a:lnTo>
                    <a:pt x="297" y="768"/>
                  </a:lnTo>
                  <a:lnTo>
                    <a:pt x="288" y="771"/>
                  </a:lnTo>
                  <a:lnTo>
                    <a:pt x="287" y="775"/>
                  </a:lnTo>
                  <a:lnTo>
                    <a:pt x="287" y="779"/>
                  </a:lnTo>
                  <a:lnTo>
                    <a:pt x="287" y="784"/>
                  </a:lnTo>
                  <a:lnTo>
                    <a:pt x="287" y="788"/>
                  </a:lnTo>
                  <a:lnTo>
                    <a:pt x="287" y="789"/>
                  </a:lnTo>
                  <a:lnTo>
                    <a:pt x="291" y="791"/>
                  </a:lnTo>
                  <a:lnTo>
                    <a:pt x="291" y="786"/>
                  </a:lnTo>
                  <a:lnTo>
                    <a:pt x="297" y="784"/>
                  </a:lnTo>
                  <a:lnTo>
                    <a:pt x="301" y="781"/>
                  </a:lnTo>
                  <a:lnTo>
                    <a:pt x="308" y="782"/>
                  </a:lnTo>
                  <a:lnTo>
                    <a:pt x="311" y="784"/>
                  </a:lnTo>
                  <a:lnTo>
                    <a:pt x="311" y="786"/>
                  </a:lnTo>
                  <a:lnTo>
                    <a:pt x="311" y="788"/>
                  </a:lnTo>
                  <a:lnTo>
                    <a:pt x="311" y="792"/>
                  </a:lnTo>
                  <a:lnTo>
                    <a:pt x="309" y="792"/>
                  </a:lnTo>
                  <a:lnTo>
                    <a:pt x="309" y="794"/>
                  </a:lnTo>
                  <a:lnTo>
                    <a:pt x="307" y="794"/>
                  </a:lnTo>
                  <a:lnTo>
                    <a:pt x="307" y="795"/>
                  </a:lnTo>
                  <a:lnTo>
                    <a:pt x="307" y="798"/>
                  </a:lnTo>
                  <a:lnTo>
                    <a:pt x="305" y="801"/>
                  </a:lnTo>
                  <a:lnTo>
                    <a:pt x="302" y="801"/>
                  </a:lnTo>
                  <a:lnTo>
                    <a:pt x="302" y="795"/>
                  </a:lnTo>
                  <a:lnTo>
                    <a:pt x="301" y="792"/>
                  </a:lnTo>
                  <a:lnTo>
                    <a:pt x="301" y="794"/>
                  </a:lnTo>
                  <a:lnTo>
                    <a:pt x="297" y="794"/>
                  </a:lnTo>
                  <a:lnTo>
                    <a:pt x="295" y="795"/>
                  </a:lnTo>
                  <a:lnTo>
                    <a:pt x="295" y="798"/>
                  </a:lnTo>
                  <a:lnTo>
                    <a:pt x="294" y="801"/>
                  </a:lnTo>
                  <a:lnTo>
                    <a:pt x="288" y="802"/>
                  </a:lnTo>
                  <a:lnTo>
                    <a:pt x="284" y="805"/>
                  </a:lnTo>
                  <a:lnTo>
                    <a:pt x="278" y="809"/>
                  </a:lnTo>
                  <a:lnTo>
                    <a:pt x="275" y="809"/>
                  </a:lnTo>
                  <a:lnTo>
                    <a:pt x="274" y="807"/>
                  </a:lnTo>
                  <a:lnTo>
                    <a:pt x="269" y="807"/>
                  </a:lnTo>
                  <a:lnTo>
                    <a:pt x="266" y="807"/>
                  </a:lnTo>
                  <a:lnTo>
                    <a:pt x="265" y="808"/>
                  </a:lnTo>
                  <a:lnTo>
                    <a:pt x="265" y="814"/>
                  </a:lnTo>
                  <a:lnTo>
                    <a:pt x="262" y="822"/>
                  </a:lnTo>
                  <a:lnTo>
                    <a:pt x="254" y="831"/>
                  </a:lnTo>
                  <a:lnTo>
                    <a:pt x="245" y="839"/>
                  </a:lnTo>
                  <a:lnTo>
                    <a:pt x="241" y="848"/>
                  </a:lnTo>
                  <a:lnTo>
                    <a:pt x="234" y="855"/>
                  </a:lnTo>
                  <a:lnTo>
                    <a:pt x="222" y="862"/>
                  </a:lnTo>
                  <a:lnTo>
                    <a:pt x="218" y="867"/>
                  </a:lnTo>
                  <a:lnTo>
                    <a:pt x="215" y="874"/>
                  </a:lnTo>
                  <a:lnTo>
                    <a:pt x="212" y="877"/>
                  </a:lnTo>
                  <a:lnTo>
                    <a:pt x="206" y="881"/>
                  </a:lnTo>
                  <a:lnTo>
                    <a:pt x="202" y="882"/>
                  </a:lnTo>
                  <a:lnTo>
                    <a:pt x="199" y="890"/>
                  </a:lnTo>
                  <a:lnTo>
                    <a:pt x="196" y="895"/>
                  </a:lnTo>
                  <a:lnTo>
                    <a:pt x="188" y="903"/>
                  </a:lnTo>
                  <a:lnTo>
                    <a:pt x="181" y="907"/>
                  </a:lnTo>
                  <a:lnTo>
                    <a:pt x="179" y="911"/>
                  </a:lnTo>
                  <a:lnTo>
                    <a:pt x="181" y="913"/>
                  </a:lnTo>
                  <a:lnTo>
                    <a:pt x="182" y="913"/>
                  </a:lnTo>
                  <a:lnTo>
                    <a:pt x="188" y="911"/>
                  </a:lnTo>
                  <a:lnTo>
                    <a:pt x="191" y="911"/>
                  </a:lnTo>
                  <a:lnTo>
                    <a:pt x="195" y="911"/>
                  </a:lnTo>
                  <a:lnTo>
                    <a:pt x="198" y="914"/>
                  </a:lnTo>
                  <a:lnTo>
                    <a:pt x="206" y="923"/>
                  </a:lnTo>
                  <a:lnTo>
                    <a:pt x="211" y="924"/>
                  </a:lnTo>
                  <a:lnTo>
                    <a:pt x="215" y="924"/>
                  </a:lnTo>
                  <a:lnTo>
                    <a:pt x="222" y="927"/>
                  </a:lnTo>
                  <a:lnTo>
                    <a:pt x="224" y="930"/>
                  </a:lnTo>
                  <a:lnTo>
                    <a:pt x="229" y="933"/>
                  </a:lnTo>
                  <a:lnTo>
                    <a:pt x="235" y="933"/>
                  </a:lnTo>
                  <a:lnTo>
                    <a:pt x="239" y="934"/>
                  </a:lnTo>
                  <a:lnTo>
                    <a:pt x="239" y="940"/>
                  </a:lnTo>
                  <a:lnTo>
                    <a:pt x="238" y="943"/>
                  </a:lnTo>
                  <a:lnTo>
                    <a:pt x="236" y="947"/>
                  </a:lnTo>
                  <a:lnTo>
                    <a:pt x="232" y="953"/>
                  </a:lnTo>
                  <a:lnTo>
                    <a:pt x="232" y="954"/>
                  </a:lnTo>
                  <a:lnTo>
                    <a:pt x="235" y="954"/>
                  </a:lnTo>
                  <a:lnTo>
                    <a:pt x="239" y="955"/>
                  </a:lnTo>
                  <a:lnTo>
                    <a:pt x="239" y="960"/>
                  </a:lnTo>
                  <a:lnTo>
                    <a:pt x="239" y="963"/>
                  </a:lnTo>
                  <a:lnTo>
                    <a:pt x="244" y="964"/>
                  </a:lnTo>
                  <a:lnTo>
                    <a:pt x="249" y="968"/>
                  </a:lnTo>
                  <a:lnTo>
                    <a:pt x="254" y="970"/>
                  </a:lnTo>
                  <a:lnTo>
                    <a:pt x="255" y="970"/>
                  </a:lnTo>
                  <a:lnTo>
                    <a:pt x="256" y="968"/>
                  </a:lnTo>
                  <a:lnTo>
                    <a:pt x="256" y="966"/>
                  </a:lnTo>
                  <a:lnTo>
                    <a:pt x="256" y="961"/>
                  </a:lnTo>
                  <a:lnTo>
                    <a:pt x="256" y="958"/>
                  </a:lnTo>
                  <a:lnTo>
                    <a:pt x="256" y="953"/>
                  </a:lnTo>
                  <a:lnTo>
                    <a:pt x="259" y="947"/>
                  </a:lnTo>
                  <a:lnTo>
                    <a:pt x="261" y="945"/>
                  </a:lnTo>
                  <a:lnTo>
                    <a:pt x="264" y="945"/>
                  </a:lnTo>
                  <a:lnTo>
                    <a:pt x="272" y="945"/>
                  </a:lnTo>
                  <a:lnTo>
                    <a:pt x="278" y="948"/>
                  </a:lnTo>
                  <a:lnTo>
                    <a:pt x="282" y="951"/>
                  </a:lnTo>
                  <a:lnTo>
                    <a:pt x="287" y="951"/>
                  </a:lnTo>
                  <a:lnTo>
                    <a:pt x="291" y="953"/>
                  </a:lnTo>
                  <a:lnTo>
                    <a:pt x="295" y="955"/>
                  </a:lnTo>
                  <a:lnTo>
                    <a:pt x="299" y="957"/>
                  </a:lnTo>
                  <a:lnTo>
                    <a:pt x="301" y="955"/>
                  </a:lnTo>
                  <a:lnTo>
                    <a:pt x="305" y="954"/>
                  </a:lnTo>
                  <a:lnTo>
                    <a:pt x="308" y="953"/>
                  </a:lnTo>
                  <a:lnTo>
                    <a:pt x="312" y="955"/>
                  </a:lnTo>
                  <a:lnTo>
                    <a:pt x="318" y="957"/>
                  </a:lnTo>
                  <a:lnTo>
                    <a:pt x="325" y="960"/>
                  </a:lnTo>
                  <a:lnTo>
                    <a:pt x="329" y="966"/>
                  </a:lnTo>
                  <a:lnTo>
                    <a:pt x="334" y="966"/>
                  </a:lnTo>
                  <a:lnTo>
                    <a:pt x="337" y="964"/>
                  </a:lnTo>
                  <a:lnTo>
                    <a:pt x="341" y="966"/>
                  </a:lnTo>
                  <a:lnTo>
                    <a:pt x="347" y="966"/>
                  </a:lnTo>
                  <a:lnTo>
                    <a:pt x="351" y="967"/>
                  </a:lnTo>
                  <a:lnTo>
                    <a:pt x="355" y="971"/>
                  </a:lnTo>
                  <a:lnTo>
                    <a:pt x="355" y="973"/>
                  </a:lnTo>
                  <a:lnTo>
                    <a:pt x="357" y="977"/>
                  </a:lnTo>
                  <a:lnTo>
                    <a:pt x="362" y="984"/>
                  </a:lnTo>
                  <a:lnTo>
                    <a:pt x="362" y="996"/>
                  </a:lnTo>
                  <a:lnTo>
                    <a:pt x="362" y="997"/>
                  </a:lnTo>
                  <a:lnTo>
                    <a:pt x="370" y="997"/>
                  </a:lnTo>
                  <a:lnTo>
                    <a:pt x="375" y="998"/>
                  </a:lnTo>
                  <a:lnTo>
                    <a:pt x="378" y="1001"/>
                  </a:lnTo>
                  <a:lnTo>
                    <a:pt x="378" y="1003"/>
                  </a:lnTo>
                  <a:lnTo>
                    <a:pt x="374" y="1003"/>
                  </a:lnTo>
                  <a:lnTo>
                    <a:pt x="370" y="1001"/>
                  </a:lnTo>
                  <a:lnTo>
                    <a:pt x="362" y="1000"/>
                  </a:lnTo>
                  <a:lnTo>
                    <a:pt x="362" y="1001"/>
                  </a:lnTo>
                  <a:lnTo>
                    <a:pt x="364" y="1006"/>
                  </a:lnTo>
                  <a:lnTo>
                    <a:pt x="365" y="1013"/>
                  </a:lnTo>
                  <a:lnTo>
                    <a:pt x="367" y="1017"/>
                  </a:lnTo>
                  <a:lnTo>
                    <a:pt x="368" y="1017"/>
                  </a:lnTo>
                  <a:lnTo>
                    <a:pt x="370" y="1014"/>
                  </a:lnTo>
                  <a:lnTo>
                    <a:pt x="374" y="1013"/>
                  </a:lnTo>
                  <a:lnTo>
                    <a:pt x="377" y="1014"/>
                  </a:lnTo>
                  <a:lnTo>
                    <a:pt x="381" y="1016"/>
                  </a:lnTo>
                  <a:lnTo>
                    <a:pt x="378" y="1016"/>
                  </a:lnTo>
                  <a:lnTo>
                    <a:pt x="375" y="1019"/>
                  </a:lnTo>
                  <a:lnTo>
                    <a:pt x="374" y="1021"/>
                  </a:lnTo>
                  <a:lnTo>
                    <a:pt x="371" y="1019"/>
                  </a:lnTo>
                  <a:lnTo>
                    <a:pt x="368" y="1019"/>
                  </a:lnTo>
                  <a:lnTo>
                    <a:pt x="367" y="1023"/>
                  </a:lnTo>
                  <a:lnTo>
                    <a:pt x="367" y="1029"/>
                  </a:lnTo>
                  <a:lnTo>
                    <a:pt x="364" y="1036"/>
                  </a:lnTo>
                  <a:lnTo>
                    <a:pt x="364" y="1040"/>
                  </a:lnTo>
                  <a:lnTo>
                    <a:pt x="361" y="1044"/>
                  </a:lnTo>
                  <a:lnTo>
                    <a:pt x="358" y="1053"/>
                  </a:lnTo>
                  <a:lnTo>
                    <a:pt x="354" y="1063"/>
                  </a:lnTo>
                  <a:lnTo>
                    <a:pt x="341" y="1067"/>
                  </a:lnTo>
                  <a:lnTo>
                    <a:pt x="334" y="1067"/>
                  </a:lnTo>
                  <a:lnTo>
                    <a:pt x="328" y="1064"/>
                  </a:lnTo>
                  <a:lnTo>
                    <a:pt x="322" y="1057"/>
                  </a:lnTo>
                  <a:lnTo>
                    <a:pt x="318" y="1056"/>
                  </a:lnTo>
                  <a:lnTo>
                    <a:pt x="309" y="1053"/>
                  </a:lnTo>
                  <a:lnTo>
                    <a:pt x="299" y="1053"/>
                  </a:lnTo>
                  <a:lnTo>
                    <a:pt x="297" y="1057"/>
                  </a:lnTo>
                  <a:lnTo>
                    <a:pt x="291" y="1063"/>
                  </a:lnTo>
                  <a:lnTo>
                    <a:pt x="278" y="1067"/>
                  </a:lnTo>
                  <a:lnTo>
                    <a:pt x="265" y="1073"/>
                  </a:lnTo>
                  <a:lnTo>
                    <a:pt x="259" y="1083"/>
                  </a:lnTo>
                  <a:lnTo>
                    <a:pt x="254" y="1090"/>
                  </a:lnTo>
                  <a:lnTo>
                    <a:pt x="246" y="1093"/>
                  </a:lnTo>
                  <a:lnTo>
                    <a:pt x="239" y="1090"/>
                  </a:lnTo>
                  <a:lnTo>
                    <a:pt x="229" y="1087"/>
                  </a:lnTo>
                  <a:lnTo>
                    <a:pt x="222" y="1082"/>
                  </a:lnTo>
                  <a:lnTo>
                    <a:pt x="212" y="1076"/>
                  </a:lnTo>
                  <a:lnTo>
                    <a:pt x="205" y="1067"/>
                  </a:lnTo>
                  <a:lnTo>
                    <a:pt x="199" y="1067"/>
                  </a:lnTo>
                  <a:lnTo>
                    <a:pt x="195" y="1069"/>
                  </a:lnTo>
                  <a:lnTo>
                    <a:pt x="186" y="1073"/>
                  </a:lnTo>
                  <a:lnTo>
                    <a:pt x="183" y="1074"/>
                  </a:lnTo>
                  <a:lnTo>
                    <a:pt x="179" y="1067"/>
                  </a:lnTo>
                  <a:lnTo>
                    <a:pt x="178" y="1064"/>
                  </a:lnTo>
                  <a:lnTo>
                    <a:pt x="175" y="1064"/>
                  </a:lnTo>
                  <a:lnTo>
                    <a:pt x="175" y="1067"/>
                  </a:lnTo>
                  <a:lnTo>
                    <a:pt x="172" y="1069"/>
                  </a:lnTo>
                  <a:lnTo>
                    <a:pt x="168" y="1069"/>
                  </a:lnTo>
                  <a:lnTo>
                    <a:pt x="162" y="1073"/>
                  </a:lnTo>
                  <a:lnTo>
                    <a:pt x="160" y="1076"/>
                  </a:lnTo>
                  <a:lnTo>
                    <a:pt x="162" y="1082"/>
                  </a:lnTo>
                  <a:lnTo>
                    <a:pt x="168" y="1094"/>
                  </a:lnTo>
                  <a:lnTo>
                    <a:pt x="171" y="1110"/>
                  </a:lnTo>
                  <a:lnTo>
                    <a:pt x="175" y="1124"/>
                  </a:lnTo>
                  <a:lnTo>
                    <a:pt x="178" y="1139"/>
                  </a:lnTo>
                  <a:lnTo>
                    <a:pt x="176" y="1143"/>
                  </a:lnTo>
                  <a:lnTo>
                    <a:pt x="175" y="1146"/>
                  </a:lnTo>
                  <a:lnTo>
                    <a:pt x="171" y="1149"/>
                  </a:lnTo>
                  <a:lnTo>
                    <a:pt x="171" y="1152"/>
                  </a:lnTo>
                  <a:lnTo>
                    <a:pt x="171" y="1153"/>
                  </a:lnTo>
                  <a:lnTo>
                    <a:pt x="171" y="1157"/>
                  </a:lnTo>
                  <a:lnTo>
                    <a:pt x="172" y="1160"/>
                  </a:lnTo>
                  <a:lnTo>
                    <a:pt x="175" y="1165"/>
                  </a:lnTo>
                  <a:lnTo>
                    <a:pt x="178" y="1167"/>
                  </a:lnTo>
                  <a:lnTo>
                    <a:pt x="173" y="1167"/>
                  </a:lnTo>
                  <a:lnTo>
                    <a:pt x="171" y="1165"/>
                  </a:lnTo>
                  <a:lnTo>
                    <a:pt x="168" y="1159"/>
                  </a:lnTo>
                  <a:lnTo>
                    <a:pt x="166" y="1150"/>
                  </a:lnTo>
                  <a:lnTo>
                    <a:pt x="165" y="1147"/>
                  </a:lnTo>
                  <a:lnTo>
                    <a:pt x="163" y="1147"/>
                  </a:lnTo>
                  <a:lnTo>
                    <a:pt x="162" y="1149"/>
                  </a:lnTo>
                  <a:lnTo>
                    <a:pt x="159" y="1157"/>
                  </a:lnTo>
                  <a:lnTo>
                    <a:pt x="155" y="1163"/>
                  </a:lnTo>
                  <a:lnTo>
                    <a:pt x="150" y="1169"/>
                  </a:lnTo>
                  <a:lnTo>
                    <a:pt x="142" y="1176"/>
                  </a:lnTo>
                  <a:lnTo>
                    <a:pt x="132" y="1182"/>
                  </a:lnTo>
                  <a:lnTo>
                    <a:pt x="126" y="1189"/>
                  </a:lnTo>
                  <a:lnTo>
                    <a:pt x="123" y="1196"/>
                  </a:lnTo>
                  <a:lnTo>
                    <a:pt x="118" y="1200"/>
                  </a:lnTo>
                  <a:lnTo>
                    <a:pt x="109" y="1208"/>
                  </a:lnTo>
                  <a:lnTo>
                    <a:pt x="106" y="1213"/>
                  </a:lnTo>
                  <a:lnTo>
                    <a:pt x="106" y="1213"/>
                  </a:lnTo>
                  <a:lnTo>
                    <a:pt x="105" y="1218"/>
                  </a:lnTo>
                  <a:lnTo>
                    <a:pt x="100" y="1229"/>
                  </a:lnTo>
                  <a:lnTo>
                    <a:pt x="95" y="1238"/>
                  </a:lnTo>
                  <a:lnTo>
                    <a:pt x="86" y="1243"/>
                  </a:lnTo>
                  <a:lnTo>
                    <a:pt x="77" y="1246"/>
                  </a:lnTo>
                  <a:lnTo>
                    <a:pt x="70" y="1248"/>
                  </a:lnTo>
                  <a:lnTo>
                    <a:pt x="59" y="1246"/>
                  </a:lnTo>
                  <a:lnTo>
                    <a:pt x="50" y="1246"/>
                  </a:lnTo>
                  <a:lnTo>
                    <a:pt x="46" y="1252"/>
                  </a:lnTo>
                  <a:lnTo>
                    <a:pt x="44" y="1258"/>
                  </a:lnTo>
                  <a:lnTo>
                    <a:pt x="47" y="1265"/>
                  </a:lnTo>
                  <a:lnTo>
                    <a:pt x="47" y="1271"/>
                  </a:lnTo>
                  <a:lnTo>
                    <a:pt x="47" y="1273"/>
                  </a:lnTo>
                  <a:lnTo>
                    <a:pt x="40" y="1281"/>
                  </a:lnTo>
                  <a:lnTo>
                    <a:pt x="30" y="1289"/>
                  </a:lnTo>
                  <a:lnTo>
                    <a:pt x="26" y="1298"/>
                  </a:lnTo>
                  <a:lnTo>
                    <a:pt x="22" y="1315"/>
                  </a:lnTo>
                  <a:lnTo>
                    <a:pt x="20" y="1321"/>
                  </a:lnTo>
                  <a:lnTo>
                    <a:pt x="14" y="1324"/>
                  </a:lnTo>
                  <a:lnTo>
                    <a:pt x="10" y="1328"/>
                  </a:lnTo>
                  <a:lnTo>
                    <a:pt x="10" y="1332"/>
                  </a:lnTo>
                  <a:lnTo>
                    <a:pt x="7" y="1335"/>
                  </a:lnTo>
                  <a:lnTo>
                    <a:pt x="2" y="1335"/>
                  </a:lnTo>
                  <a:lnTo>
                    <a:pt x="0" y="1336"/>
                  </a:lnTo>
                  <a:lnTo>
                    <a:pt x="2" y="1339"/>
                  </a:lnTo>
                  <a:lnTo>
                    <a:pt x="4" y="1339"/>
                  </a:lnTo>
                  <a:lnTo>
                    <a:pt x="7" y="1335"/>
                  </a:lnTo>
                  <a:lnTo>
                    <a:pt x="10" y="1338"/>
                  </a:lnTo>
                  <a:lnTo>
                    <a:pt x="14" y="1345"/>
                  </a:lnTo>
                  <a:lnTo>
                    <a:pt x="19" y="1348"/>
                  </a:lnTo>
                  <a:lnTo>
                    <a:pt x="19" y="1351"/>
                  </a:lnTo>
                  <a:lnTo>
                    <a:pt x="22" y="1352"/>
                  </a:lnTo>
                  <a:lnTo>
                    <a:pt x="27" y="1352"/>
                  </a:lnTo>
                  <a:lnTo>
                    <a:pt x="32" y="1352"/>
                  </a:lnTo>
                  <a:lnTo>
                    <a:pt x="34" y="1355"/>
                  </a:lnTo>
                  <a:lnTo>
                    <a:pt x="40" y="1361"/>
                  </a:lnTo>
                  <a:lnTo>
                    <a:pt x="42" y="1361"/>
                  </a:lnTo>
                  <a:lnTo>
                    <a:pt x="46" y="1359"/>
                  </a:lnTo>
                  <a:lnTo>
                    <a:pt x="47" y="1359"/>
                  </a:lnTo>
                  <a:lnTo>
                    <a:pt x="53" y="1359"/>
                  </a:lnTo>
                  <a:lnTo>
                    <a:pt x="62" y="1364"/>
                  </a:lnTo>
                  <a:lnTo>
                    <a:pt x="73" y="1361"/>
                  </a:lnTo>
                  <a:lnTo>
                    <a:pt x="77" y="1368"/>
                  </a:lnTo>
                  <a:lnTo>
                    <a:pt x="80" y="1371"/>
                  </a:lnTo>
                  <a:lnTo>
                    <a:pt x="85" y="1375"/>
                  </a:lnTo>
                  <a:lnTo>
                    <a:pt x="82" y="1378"/>
                  </a:lnTo>
                  <a:lnTo>
                    <a:pt x="77" y="1382"/>
                  </a:lnTo>
                  <a:lnTo>
                    <a:pt x="80" y="1387"/>
                  </a:lnTo>
                  <a:lnTo>
                    <a:pt x="86" y="1387"/>
                  </a:lnTo>
                  <a:lnTo>
                    <a:pt x="92" y="1388"/>
                  </a:lnTo>
                  <a:lnTo>
                    <a:pt x="100" y="1395"/>
                  </a:lnTo>
                  <a:lnTo>
                    <a:pt x="110" y="1395"/>
                  </a:lnTo>
                  <a:lnTo>
                    <a:pt x="116" y="1391"/>
                  </a:lnTo>
                  <a:lnTo>
                    <a:pt x="119" y="1395"/>
                  </a:lnTo>
                  <a:lnTo>
                    <a:pt x="125" y="1394"/>
                  </a:lnTo>
                  <a:lnTo>
                    <a:pt x="129" y="1395"/>
                  </a:lnTo>
                  <a:lnTo>
                    <a:pt x="132" y="1398"/>
                  </a:lnTo>
                  <a:lnTo>
                    <a:pt x="132" y="1405"/>
                  </a:lnTo>
                  <a:lnTo>
                    <a:pt x="129" y="1408"/>
                  </a:lnTo>
                  <a:lnTo>
                    <a:pt x="128" y="1412"/>
                  </a:lnTo>
                  <a:lnTo>
                    <a:pt x="140" y="1421"/>
                  </a:lnTo>
                  <a:lnTo>
                    <a:pt x="146" y="1420"/>
                  </a:lnTo>
                  <a:lnTo>
                    <a:pt x="152" y="1420"/>
                  </a:lnTo>
                  <a:lnTo>
                    <a:pt x="159" y="1422"/>
                  </a:lnTo>
                  <a:lnTo>
                    <a:pt x="165" y="1427"/>
                  </a:lnTo>
                  <a:lnTo>
                    <a:pt x="165" y="1431"/>
                  </a:lnTo>
                  <a:lnTo>
                    <a:pt x="165" y="1440"/>
                  </a:lnTo>
                  <a:lnTo>
                    <a:pt x="166" y="1442"/>
                  </a:lnTo>
                  <a:lnTo>
                    <a:pt x="179" y="1452"/>
                  </a:lnTo>
                  <a:lnTo>
                    <a:pt x="186" y="1460"/>
                  </a:lnTo>
                  <a:lnTo>
                    <a:pt x="189" y="1465"/>
                  </a:lnTo>
                  <a:lnTo>
                    <a:pt x="188" y="1468"/>
                  </a:lnTo>
                  <a:lnTo>
                    <a:pt x="183" y="1471"/>
                  </a:lnTo>
                  <a:lnTo>
                    <a:pt x="171" y="1480"/>
                  </a:lnTo>
                  <a:lnTo>
                    <a:pt x="158" y="1487"/>
                  </a:lnTo>
                  <a:lnTo>
                    <a:pt x="153" y="1493"/>
                  </a:lnTo>
                  <a:lnTo>
                    <a:pt x="146" y="1497"/>
                  </a:lnTo>
                  <a:lnTo>
                    <a:pt x="142" y="1500"/>
                  </a:lnTo>
                  <a:lnTo>
                    <a:pt x="138" y="1508"/>
                  </a:lnTo>
                  <a:lnTo>
                    <a:pt x="133" y="1518"/>
                  </a:lnTo>
                  <a:lnTo>
                    <a:pt x="135" y="1534"/>
                  </a:lnTo>
                  <a:lnTo>
                    <a:pt x="135" y="1540"/>
                  </a:lnTo>
                  <a:lnTo>
                    <a:pt x="132" y="1557"/>
                  </a:lnTo>
                  <a:lnTo>
                    <a:pt x="128" y="1564"/>
                  </a:lnTo>
                  <a:lnTo>
                    <a:pt x="120" y="1577"/>
                  </a:lnTo>
                  <a:lnTo>
                    <a:pt x="105" y="1589"/>
                  </a:lnTo>
                  <a:lnTo>
                    <a:pt x="99" y="1596"/>
                  </a:lnTo>
                  <a:lnTo>
                    <a:pt x="99" y="1603"/>
                  </a:lnTo>
                  <a:lnTo>
                    <a:pt x="105" y="1607"/>
                  </a:lnTo>
                  <a:lnTo>
                    <a:pt x="106" y="1610"/>
                  </a:lnTo>
                  <a:lnTo>
                    <a:pt x="106" y="1611"/>
                  </a:lnTo>
                  <a:lnTo>
                    <a:pt x="102" y="1613"/>
                  </a:lnTo>
                  <a:lnTo>
                    <a:pt x="95" y="1616"/>
                  </a:lnTo>
                  <a:lnTo>
                    <a:pt x="93" y="1621"/>
                  </a:lnTo>
                  <a:lnTo>
                    <a:pt x="87" y="1624"/>
                  </a:lnTo>
                  <a:lnTo>
                    <a:pt x="83" y="1627"/>
                  </a:lnTo>
                  <a:lnTo>
                    <a:pt x="83" y="1637"/>
                  </a:lnTo>
                  <a:lnTo>
                    <a:pt x="80" y="1640"/>
                  </a:lnTo>
                  <a:lnTo>
                    <a:pt x="79" y="1646"/>
                  </a:lnTo>
                  <a:lnTo>
                    <a:pt x="82" y="1656"/>
                  </a:lnTo>
                  <a:lnTo>
                    <a:pt x="79" y="1659"/>
                  </a:lnTo>
                  <a:lnTo>
                    <a:pt x="73" y="1663"/>
                  </a:lnTo>
                  <a:lnTo>
                    <a:pt x="70" y="1679"/>
                  </a:lnTo>
                  <a:lnTo>
                    <a:pt x="67" y="1687"/>
                  </a:lnTo>
                  <a:lnTo>
                    <a:pt x="67" y="1692"/>
                  </a:lnTo>
                  <a:lnTo>
                    <a:pt x="72" y="1700"/>
                  </a:lnTo>
                  <a:lnTo>
                    <a:pt x="79" y="1712"/>
                  </a:lnTo>
                  <a:lnTo>
                    <a:pt x="79" y="1716"/>
                  </a:lnTo>
                  <a:lnTo>
                    <a:pt x="80" y="1722"/>
                  </a:lnTo>
                  <a:lnTo>
                    <a:pt x="82" y="1725"/>
                  </a:lnTo>
                  <a:lnTo>
                    <a:pt x="86" y="1723"/>
                  </a:lnTo>
                  <a:lnTo>
                    <a:pt x="93" y="1720"/>
                  </a:lnTo>
                  <a:lnTo>
                    <a:pt x="100" y="1725"/>
                  </a:lnTo>
                  <a:lnTo>
                    <a:pt x="102" y="1729"/>
                  </a:lnTo>
                  <a:lnTo>
                    <a:pt x="99" y="1735"/>
                  </a:lnTo>
                  <a:lnTo>
                    <a:pt x="93" y="1736"/>
                  </a:lnTo>
                  <a:lnTo>
                    <a:pt x="92" y="1742"/>
                  </a:lnTo>
                  <a:lnTo>
                    <a:pt x="92" y="1748"/>
                  </a:lnTo>
                  <a:lnTo>
                    <a:pt x="97" y="1752"/>
                  </a:lnTo>
                  <a:lnTo>
                    <a:pt x="100" y="1756"/>
                  </a:lnTo>
                  <a:lnTo>
                    <a:pt x="100" y="1760"/>
                  </a:lnTo>
                  <a:lnTo>
                    <a:pt x="102" y="1766"/>
                  </a:lnTo>
                  <a:lnTo>
                    <a:pt x="107" y="1776"/>
                  </a:lnTo>
                  <a:lnTo>
                    <a:pt x="116" y="1783"/>
                  </a:lnTo>
                  <a:lnTo>
                    <a:pt x="123" y="1785"/>
                  </a:lnTo>
                  <a:lnTo>
                    <a:pt x="132" y="1780"/>
                  </a:lnTo>
                  <a:lnTo>
                    <a:pt x="136" y="1782"/>
                  </a:lnTo>
                  <a:lnTo>
                    <a:pt x="139" y="1790"/>
                  </a:lnTo>
                  <a:lnTo>
                    <a:pt x="143" y="1793"/>
                  </a:lnTo>
                  <a:lnTo>
                    <a:pt x="158" y="1790"/>
                  </a:lnTo>
                  <a:lnTo>
                    <a:pt x="169" y="1790"/>
                  </a:lnTo>
                  <a:lnTo>
                    <a:pt x="179" y="1789"/>
                  </a:lnTo>
                  <a:lnTo>
                    <a:pt x="203" y="1779"/>
                  </a:lnTo>
                  <a:lnTo>
                    <a:pt x="213" y="1780"/>
                  </a:lnTo>
                  <a:lnTo>
                    <a:pt x="221" y="1782"/>
                  </a:lnTo>
                  <a:lnTo>
                    <a:pt x="226" y="1789"/>
                  </a:lnTo>
                  <a:lnTo>
                    <a:pt x="229" y="1790"/>
                  </a:lnTo>
                  <a:lnTo>
                    <a:pt x="238" y="1790"/>
                  </a:lnTo>
                  <a:lnTo>
                    <a:pt x="248" y="1796"/>
                  </a:lnTo>
                  <a:lnTo>
                    <a:pt x="256" y="1799"/>
                  </a:lnTo>
                  <a:lnTo>
                    <a:pt x="256" y="1799"/>
                  </a:lnTo>
                  <a:lnTo>
                    <a:pt x="255" y="1811"/>
                  </a:lnTo>
                  <a:lnTo>
                    <a:pt x="258" y="1818"/>
                  </a:lnTo>
                  <a:lnTo>
                    <a:pt x="262" y="1828"/>
                  </a:lnTo>
                  <a:lnTo>
                    <a:pt x="272" y="1842"/>
                  </a:lnTo>
                  <a:lnTo>
                    <a:pt x="274" y="1848"/>
                  </a:lnTo>
                  <a:lnTo>
                    <a:pt x="275" y="1859"/>
                  </a:lnTo>
                  <a:lnTo>
                    <a:pt x="275" y="1861"/>
                  </a:lnTo>
                  <a:lnTo>
                    <a:pt x="275" y="1861"/>
                  </a:lnTo>
                  <a:lnTo>
                    <a:pt x="289" y="1862"/>
                  </a:lnTo>
                  <a:lnTo>
                    <a:pt x="297" y="1862"/>
                  </a:lnTo>
                  <a:lnTo>
                    <a:pt x="304" y="1859"/>
                  </a:lnTo>
                  <a:lnTo>
                    <a:pt x="321" y="1849"/>
                  </a:lnTo>
                  <a:lnTo>
                    <a:pt x="321" y="1849"/>
                  </a:lnTo>
                  <a:lnTo>
                    <a:pt x="329" y="1845"/>
                  </a:lnTo>
                  <a:lnTo>
                    <a:pt x="337" y="1843"/>
                  </a:lnTo>
                  <a:lnTo>
                    <a:pt x="341" y="1843"/>
                  </a:lnTo>
                  <a:lnTo>
                    <a:pt x="344" y="1843"/>
                  </a:lnTo>
                  <a:lnTo>
                    <a:pt x="344" y="1843"/>
                  </a:lnTo>
                  <a:lnTo>
                    <a:pt x="347" y="1848"/>
                  </a:lnTo>
                  <a:lnTo>
                    <a:pt x="351" y="1853"/>
                  </a:lnTo>
                  <a:lnTo>
                    <a:pt x="351" y="1853"/>
                  </a:lnTo>
                  <a:lnTo>
                    <a:pt x="352" y="1858"/>
                  </a:lnTo>
                  <a:lnTo>
                    <a:pt x="354" y="1865"/>
                  </a:lnTo>
                  <a:lnTo>
                    <a:pt x="357" y="1872"/>
                  </a:lnTo>
                  <a:lnTo>
                    <a:pt x="360" y="1875"/>
                  </a:lnTo>
                  <a:lnTo>
                    <a:pt x="362" y="1876"/>
                  </a:lnTo>
                  <a:lnTo>
                    <a:pt x="365" y="1881"/>
                  </a:lnTo>
                  <a:lnTo>
                    <a:pt x="367" y="1885"/>
                  </a:lnTo>
                  <a:lnTo>
                    <a:pt x="367" y="1889"/>
                  </a:lnTo>
                  <a:lnTo>
                    <a:pt x="370" y="1891"/>
                  </a:lnTo>
                  <a:lnTo>
                    <a:pt x="374" y="1895"/>
                  </a:lnTo>
                  <a:lnTo>
                    <a:pt x="375" y="1898"/>
                  </a:lnTo>
                  <a:lnTo>
                    <a:pt x="381" y="1898"/>
                  </a:lnTo>
                  <a:lnTo>
                    <a:pt x="382" y="1904"/>
                  </a:lnTo>
                  <a:lnTo>
                    <a:pt x="387" y="1904"/>
                  </a:lnTo>
                  <a:lnTo>
                    <a:pt x="388" y="1904"/>
                  </a:lnTo>
                  <a:lnTo>
                    <a:pt x="391" y="1898"/>
                  </a:lnTo>
                  <a:lnTo>
                    <a:pt x="397" y="1898"/>
                  </a:lnTo>
                  <a:lnTo>
                    <a:pt x="403" y="1896"/>
                  </a:lnTo>
                  <a:lnTo>
                    <a:pt x="408" y="1895"/>
                  </a:lnTo>
                  <a:lnTo>
                    <a:pt x="413" y="1892"/>
                  </a:lnTo>
                  <a:lnTo>
                    <a:pt x="417" y="1888"/>
                  </a:lnTo>
                  <a:lnTo>
                    <a:pt x="424" y="1884"/>
                  </a:lnTo>
                  <a:lnTo>
                    <a:pt x="428" y="1882"/>
                  </a:lnTo>
                  <a:lnTo>
                    <a:pt x="437" y="1879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66" name="Freeform 214"/>
            <p:cNvSpPr>
              <a:spLocks/>
            </p:cNvSpPr>
            <p:nvPr/>
          </p:nvSpPr>
          <p:spPr bwMode="auto">
            <a:xfrm>
              <a:off x="8313571" y="1766879"/>
              <a:ext cx="14654" cy="27781"/>
            </a:xfrm>
            <a:custGeom>
              <a:avLst/>
              <a:gdLst>
                <a:gd name="T0" fmla="*/ 16 w 23"/>
                <a:gd name="T1" fmla="*/ 0 h 43"/>
                <a:gd name="T2" fmla="*/ 10 w 23"/>
                <a:gd name="T3" fmla="*/ 6 h 43"/>
                <a:gd name="T4" fmla="*/ 3 w 23"/>
                <a:gd name="T5" fmla="*/ 13 h 43"/>
                <a:gd name="T6" fmla="*/ 2 w 23"/>
                <a:gd name="T7" fmla="*/ 18 h 43"/>
                <a:gd name="T8" fmla="*/ 0 w 23"/>
                <a:gd name="T9" fmla="*/ 25 h 43"/>
                <a:gd name="T10" fmla="*/ 2 w 23"/>
                <a:gd name="T11" fmla="*/ 29 h 43"/>
                <a:gd name="T12" fmla="*/ 6 w 23"/>
                <a:gd name="T13" fmla="*/ 32 h 43"/>
                <a:gd name="T14" fmla="*/ 8 w 23"/>
                <a:gd name="T15" fmla="*/ 38 h 43"/>
                <a:gd name="T16" fmla="*/ 12 w 23"/>
                <a:gd name="T17" fmla="*/ 42 h 43"/>
                <a:gd name="T18" fmla="*/ 18 w 23"/>
                <a:gd name="T19" fmla="*/ 43 h 43"/>
                <a:gd name="T20" fmla="*/ 22 w 23"/>
                <a:gd name="T21" fmla="*/ 43 h 43"/>
                <a:gd name="T22" fmla="*/ 23 w 23"/>
                <a:gd name="T23" fmla="*/ 41 h 43"/>
                <a:gd name="T24" fmla="*/ 23 w 23"/>
                <a:gd name="T25" fmla="*/ 38 h 43"/>
                <a:gd name="T26" fmla="*/ 20 w 23"/>
                <a:gd name="T27" fmla="*/ 33 h 43"/>
                <a:gd name="T28" fmla="*/ 22 w 23"/>
                <a:gd name="T29" fmla="*/ 28 h 43"/>
                <a:gd name="T30" fmla="*/ 22 w 23"/>
                <a:gd name="T31" fmla="*/ 22 h 43"/>
                <a:gd name="T32" fmla="*/ 22 w 23"/>
                <a:gd name="T33" fmla="*/ 19 h 43"/>
                <a:gd name="T34" fmla="*/ 20 w 23"/>
                <a:gd name="T35" fmla="*/ 15 h 43"/>
                <a:gd name="T36" fmla="*/ 19 w 23"/>
                <a:gd name="T37" fmla="*/ 10 h 43"/>
                <a:gd name="T38" fmla="*/ 19 w 23"/>
                <a:gd name="T39" fmla="*/ 6 h 43"/>
                <a:gd name="T40" fmla="*/ 16 w 23"/>
                <a:gd name="T41" fmla="*/ 0 h 43"/>
                <a:gd name="T42" fmla="*/ 16 w 23"/>
                <a:gd name="T4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" h="43">
                  <a:moveTo>
                    <a:pt x="16" y="0"/>
                  </a:moveTo>
                  <a:lnTo>
                    <a:pt x="10" y="6"/>
                  </a:lnTo>
                  <a:lnTo>
                    <a:pt x="3" y="13"/>
                  </a:lnTo>
                  <a:lnTo>
                    <a:pt x="2" y="18"/>
                  </a:lnTo>
                  <a:lnTo>
                    <a:pt x="0" y="25"/>
                  </a:lnTo>
                  <a:lnTo>
                    <a:pt x="2" y="29"/>
                  </a:lnTo>
                  <a:lnTo>
                    <a:pt x="6" y="32"/>
                  </a:lnTo>
                  <a:lnTo>
                    <a:pt x="8" y="38"/>
                  </a:lnTo>
                  <a:lnTo>
                    <a:pt x="12" y="42"/>
                  </a:lnTo>
                  <a:lnTo>
                    <a:pt x="18" y="43"/>
                  </a:lnTo>
                  <a:lnTo>
                    <a:pt x="22" y="43"/>
                  </a:lnTo>
                  <a:lnTo>
                    <a:pt x="23" y="41"/>
                  </a:lnTo>
                  <a:lnTo>
                    <a:pt x="23" y="38"/>
                  </a:lnTo>
                  <a:lnTo>
                    <a:pt x="20" y="33"/>
                  </a:lnTo>
                  <a:lnTo>
                    <a:pt x="22" y="28"/>
                  </a:lnTo>
                  <a:lnTo>
                    <a:pt x="22" y="22"/>
                  </a:lnTo>
                  <a:lnTo>
                    <a:pt x="22" y="19"/>
                  </a:lnTo>
                  <a:lnTo>
                    <a:pt x="20" y="15"/>
                  </a:lnTo>
                  <a:lnTo>
                    <a:pt x="19" y="10"/>
                  </a:lnTo>
                  <a:lnTo>
                    <a:pt x="19" y="6"/>
                  </a:lnTo>
                  <a:lnTo>
                    <a:pt x="16" y="0"/>
                  </a:lnTo>
                  <a:lnTo>
                    <a:pt x="16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67" name="Freeform 215"/>
            <p:cNvSpPr>
              <a:spLocks/>
            </p:cNvSpPr>
            <p:nvPr/>
          </p:nvSpPr>
          <p:spPr bwMode="auto">
            <a:xfrm>
              <a:off x="8329446" y="1788046"/>
              <a:ext cx="4885" cy="9260"/>
            </a:xfrm>
            <a:custGeom>
              <a:avLst/>
              <a:gdLst>
                <a:gd name="T0" fmla="*/ 4 w 9"/>
                <a:gd name="T1" fmla="*/ 0 h 15"/>
                <a:gd name="T2" fmla="*/ 2 w 9"/>
                <a:gd name="T3" fmla="*/ 2 h 15"/>
                <a:gd name="T4" fmla="*/ 0 w 9"/>
                <a:gd name="T5" fmla="*/ 12 h 15"/>
                <a:gd name="T6" fmla="*/ 0 w 9"/>
                <a:gd name="T7" fmla="*/ 15 h 15"/>
                <a:gd name="T8" fmla="*/ 6 w 9"/>
                <a:gd name="T9" fmla="*/ 15 h 15"/>
                <a:gd name="T10" fmla="*/ 9 w 9"/>
                <a:gd name="T11" fmla="*/ 13 h 15"/>
                <a:gd name="T12" fmla="*/ 9 w 9"/>
                <a:gd name="T13" fmla="*/ 6 h 15"/>
                <a:gd name="T14" fmla="*/ 7 w 9"/>
                <a:gd name="T15" fmla="*/ 0 h 15"/>
                <a:gd name="T16" fmla="*/ 4 w 9"/>
                <a:gd name="T17" fmla="*/ 0 h 15"/>
                <a:gd name="T18" fmla="*/ 4 w 9"/>
                <a:gd name="T1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5">
                  <a:moveTo>
                    <a:pt x="4" y="0"/>
                  </a:moveTo>
                  <a:lnTo>
                    <a:pt x="2" y="2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6" y="15"/>
                  </a:lnTo>
                  <a:lnTo>
                    <a:pt x="9" y="13"/>
                  </a:lnTo>
                  <a:lnTo>
                    <a:pt x="9" y="6"/>
                  </a:lnTo>
                  <a:lnTo>
                    <a:pt x="7" y="0"/>
                  </a:lnTo>
                  <a:lnTo>
                    <a:pt x="4" y="0"/>
                  </a:lnTo>
                  <a:lnTo>
                    <a:pt x="4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68" name="Freeform 216"/>
            <p:cNvSpPr>
              <a:spLocks/>
            </p:cNvSpPr>
            <p:nvPr/>
          </p:nvSpPr>
          <p:spPr bwMode="auto">
            <a:xfrm>
              <a:off x="7615078" y="2270906"/>
              <a:ext cx="4885" cy="2646"/>
            </a:xfrm>
            <a:custGeom>
              <a:avLst/>
              <a:gdLst>
                <a:gd name="T0" fmla="*/ 4 w 7"/>
                <a:gd name="T1" fmla="*/ 5 h 5"/>
                <a:gd name="T2" fmla="*/ 4 w 7"/>
                <a:gd name="T3" fmla="*/ 5 h 5"/>
                <a:gd name="T4" fmla="*/ 4 w 7"/>
                <a:gd name="T5" fmla="*/ 2 h 5"/>
                <a:gd name="T6" fmla="*/ 6 w 7"/>
                <a:gd name="T7" fmla="*/ 3 h 5"/>
                <a:gd name="T8" fmla="*/ 6 w 7"/>
                <a:gd name="T9" fmla="*/ 3 h 5"/>
                <a:gd name="T10" fmla="*/ 6 w 7"/>
                <a:gd name="T11" fmla="*/ 2 h 5"/>
                <a:gd name="T12" fmla="*/ 6 w 7"/>
                <a:gd name="T13" fmla="*/ 2 h 5"/>
                <a:gd name="T14" fmla="*/ 7 w 7"/>
                <a:gd name="T15" fmla="*/ 2 h 5"/>
                <a:gd name="T16" fmla="*/ 7 w 7"/>
                <a:gd name="T17" fmla="*/ 2 h 5"/>
                <a:gd name="T18" fmla="*/ 6 w 7"/>
                <a:gd name="T19" fmla="*/ 2 h 5"/>
                <a:gd name="T20" fmla="*/ 6 w 7"/>
                <a:gd name="T21" fmla="*/ 2 h 5"/>
                <a:gd name="T22" fmla="*/ 6 w 7"/>
                <a:gd name="T23" fmla="*/ 2 h 5"/>
                <a:gd name="T24" fmla="*/ 6 w 7"/>
                <a:gd name="T25" fmla="*/ 2 h 5"/>
                <a:gd name="T26" fmla="*/ 4 w 7"/>
                <a:gd name="T27" fmla="*/ 0 h 5"/>
                <a:gd name="T28" fmla="*/ 4 w 7"/>
                <a:gd name="T29" fmla="*/ 0 h 5"/>
                <a:gd name="T30" fmla="*/ 2 w 7"/>
                <a:gd name="T31" fmla="*/ 0 h 5"/>
                <a:gd name="T32" fmla="*/ 2 w 7"/>
                <a:gd name="T33" fmla="*/ 0 h 5"/>
                <a:gd name="T34" fmla="*/ 0 w 7"/>
                <a:gd name="T35" fmla="*/ 0 h 5"/>
                <a:gd name="T36" fmla="*/ 0 w 7"/>
                <a:gd name="T37" fmla="*/ 0 h 5"/>
                <a:gd name="T38" fmla="*/ 0 w 7"/>
                <a:gd name="T39" fmla="*/ 0 h 5"/>
                <a:gd name="T40" fmla="*/ 0 w 7"/>
                <a:gd name="T41" fmla="*/ 0 h 5"/>
                <a:gd name="T42" fmla="*/ 0 w 7"/>
                <a:gd name="T43" fmla="*/ 2 h 5"/>
                <a:gd name="T44" fmla="*/ 0 w 7"/>
                <a:gd name="T45" fmla="*/ 2 h 5"/>
                <a:gd name="T46" fmla="*/ 0 w 7"/>
                <a:gd name="T47" fmla="*/ 2 h 5"/>
                <a:gd name="T48" fmla="*/ 2 w 7"/>
                <a:gd name="T49" fmla="*/ 2 h 5"/>
                <a:gd name="T50" fmla="*/ 2 w 7"/>
                <a:gd name="T51" fmla="*/ 2 h 5"/>
                <a:gd name="T52" fmla="*/ 2 w 7"/>
                <a:gd name="T53" fmla="*/ 2 h 5"/>
                <a:gd name="T54" fmla="*/ 2 w 7"/>
                <a:gd name="T55" fmla="*/ 2 h 5"/>
                <a:gd name="T56" fmla="*/ 3 w 7"/>
                <a:gd name="T57" fmla="*/ 3 h 5"/>
                <a:gd name="T58" fmla="*/ 3 w 7"/>
                <a:gd name="T59" fmla="*/ 3 h 5"/>
                <a:gd name="T60" fmla="*/ 3 w 7"/>
                <a:gd name="T61" fmla="*/ 3 h 5"/>
                <a:gd name="T62" fmla="*/ 3 w 7"/>
                <a:gd name="T63" fmla="*/ 3 h 5"/>
                <a:gd name="T64" fmla="*/ 3 w 7"/>
                <a:gd name="T65" fmla="*/ 3 h 5"/>
                <a:gd name="T66" fmla="*/ 4 w 7"/>
                <a:gd name="T67" fmla="*/ 5 h 5"/>
                <a:gd name="T68" fmla="*/ 4 w 7"/>
                <a:gd name="T6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" h="5">
                  <a:moveTo>
                    <a:pt x="4" y="5"/>
                  </a:moveTo>
                  <a:lnTo>
                    <a:pt x="4" y="5"/>
                  </a:lnTo>
                  <a:lnTo>
                    <a:pt x="4" y="2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5"/>
                  </a:lnTo>
                  <a:lnTo>
                    <a:pt x="4" y="5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69" name="Freeform 217"/>
            <p:cNvSpPr>
              <a:spLocks/>
            </p:cNvSpPr>
            <p:nvPr/>
          </p:nvSpPr>
          <p:spPr bwMode="auto">
            <a:xfrm>
              <a:off x="7608972" y="2260322"/>
              <a:ext cx="7327" cy="10583"/>
            </a:xfrm>
            <a:custGeom>
              <a:avLst/>
              <a:gdLst>
                <a:gd name="T0" fmla="*/ 2 w 12"/>
                <a:gd name="T1" fmla="*/ 15 h 15"/>
                <a:gd name="T2" fmla="*/ 2 w 12"/>
                <a:gd name="T3" fmla="*/ 15 h 15"/>
                <a:gd name="T4" fmla="*/ 3 w 12"/>
                <a:gd name="T5" fmla="*/ 13 h 15"/>
                <a:gd name="T6" fmla="*/ 4 w 12"/>
                <a:gd name="T7" fmla="*/ 13 h 15"/>
                <a:gd name="T8" fmla="*/ 4 w 12"/>
                <a:gd name="T9" fmla="*/ 13 h 15"/>
                <a:gd name="T10" fmla="*/ 10 w 12"/>
                <a:gd name="T11" fmla="*/ 13 h 15"/>
                <a:gd name="T12" fmla="*/ 12 w 12"/>
                <a:gd name="T13" fmla="*/ 11 h 15"/>
                <a:gd name="T14" fmla="*/ 10 w 12"/>
                <a:gd name="T15" fmla="*/ 8 h 15"/>
                <a:gd name="T16" fmla="*/ 10 w 12"/>
                <a:gd name="T17" fmla="*/ 8 h 15"/>
                <a:gd name="T18" fmla="*/ 7 w 12"/>
                <a:gd name="T19" fmla="*/ 5 h 15"/>
                <a:gd name="T20" fmla="*/ 7 w 12"/>
                <a:gd name="T21" fmla="*/ 5 h 15"/>
                <a:gd name="T22" fmla="*/ 7 w 12"/>
                <a:gd name="T23" fmla="*/ 4 h 15"/>
                <a:gd name="T24" fmla="*/ 7 w 12"/>
                <a:gd name="T25" fmla="*/ 2 h 15"/>
                <a:gd name="T26" fmla="*/ 6 w 12"/>
                <a:gd name="T27" fmla="*/ 0 h 15"/>
                <a:gd name="T28" fmla="*/ 6 w 12"/>
                <a:gd name="T29" fmla="*/ 0 h 15"/>
                <a:gd name="T30" fmla="*/ 4 w 12"/>
                <a:gd name="T31" fmla="*/ 0 h 15"/>
                <a:gd name="T32" fmla="*/ 3 w 12"/>
                <a:gd name="T33" fmla="*/ 1 h 15"/>
                <a:gd name="T34" fmla="*/ 3 w 12"/>
                <a:gd name="T35" fmla="*/ 1 h 15"/>
                <a:gd name="T36" fmla="*/ 2 w 12"/>
                <a:gd name="T37" fmla="*/ 10 h 15"/>
                <a:gd name="T38" fmla="*/ 2 w 12"/>
                <a:gd name="T39" fmla="*/ 10 h 15"/>
                <a:gd name="T40" fmla="*/ 2 w 12"/>
                <a:gd name="T41" fmla="*/ 11 h 15"/>
                <a:gd name="T42" fmla="*/ 0 w 12"/>
                <a:gd name="T43" fmla="*/ 13 h 15"/>
                <a:gd name="T44" fmla="*/ 0 w 12"/>
                <a:gd name="T45" fmla="*/ 13 h 15"/>
                <a:gd name="T46" fmla="*/ 0 w 12"/>
                <a:gd name="T47" fmla="*/ 14 h 15"/>
                <a:gd name="T48" fmla="*/ 2 w 12"/>
                <a:gd name="T49" fmla="*/ 15 h 15"/>
                <a:gd name="T50" fmla="*/ 2 w 12"/>
                <a:gd name="T51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15">
                  <a:moveTo>
                    <a:pt x="2" y="15"/>
                  </a:moveTo>
                  <a:lnTo>
                    <a:pt x="2" y="15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10" y="13"/>
                  </a:lnTo>
                  <a:lnTo>
                    <a:pt x="12" y="11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7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4"/>
                  </a:lnTo>
                  <a:lnTo>
                    <a:pt x="2" y="15"/>
                  </a:lnTo>
                  <a:lnTo>
                    <a:pt x="2" y="15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70" name="Freeform 218"/>
            <p:cNvSpPr>
              <a:spLocks/>
            </p:cNvSpPr>
            <p:nvPr/>
          </p:nvSpPr>
          <p:spPr bwMode="auto">
            <a:xfrm>
              <a:off x="7555242" y="2280166"/>
              <a:ext cx="57394" cy="55562"/>
            </a:xfrm>
            <a:custGeom>
              <a:avLst/>
              <a:gdLst>
                <a:gd name="T0" fmla="*/ 29 w 95"/>
                <a:gd name="T1" fmla="*/ 21 h 84"/>
                <a:gd name="T2" fmla="*/ 26 w 95"/>
                <a:gd name="T3" fmla="*/ 21 h 84"/>
                <a:gd name="T4" fmla="*/ 26 w 95"/>
                <a:gd name="T5" fmla="*/ 24 h 84"/>
                <a:gd name="T6" fmla="*/ 22 w 95"/>
                <a:gd name="T7" fmla="*/ 27 h 84"/>
                <a:gd name="T8" fmla="*/ 19 w 95"/>
                <a:gd name="T9" fmla="*/ 30 h 84"/>
                <a:gd name="T10" fmla="*/ 17 w 95"/>
                <a:gd name="T11" fmla="*/ 34 h 84"/>
                <a:gd name="T12" fmla="*/ 13 w 95"/>
                <a:gd name="T13" fmla="*/ 36 h 84"/>
                <a:gd name="T14" fmla="*/ 10 w 95"/>
                <a:gd name="T15" fmla="*/ 36 h 84"/>
                <a:gd name="T16" fmla="*/ 6 w 95"/>
                <a:gd name="T17" fmla="*/ 43 h 84"/>
                <a:gd name="T18" fmla="*/ 3 w 95"/>
                <a:gd name="T19" fmla="*/ 46 h 84"/>
                <a:gd name="T20" fmla="*/ 3 w 95"/>
                <a:gd name="T21" fmla="*/ 48 h 84"/>
                <a:gd name="T22" fmla="*/ 0 w 95"/>
                <a:gd name="T23" fmla="*/ 53 h 84"/>
                <a:gd name="T24" fmla="*/ 0 w 95"/>
                <a:gd name="T25" fmla="*/ 54 h 84"/>
                <a:gd name="T26" fmla="*/ 5 w 95"/>
                <a:gd name="T27" fmla="*/ 56 h 84"/>
                <a:gd name="T28" fmla="*/ 3 w 95"/>
                <a:gd name="T29" fmla="*/ 58 h 84"/>
                <a:gd name="T30" fmla="*/ 3 w 95"/>
                <a:gd name="T31" fmla="*/ 60 h 84"/>
                <a:gd name="T32" fmla="*/ 7 w 95"/>
                <a:gd name="T33" fmla="*/ 64 h 84"/>
                <a:gd name="T34" fmla="*/ 10 w 95"/>
                <a:gd name="T35" fmla="*/ 66 h 84"/>
                <a:gd name="T36" fmla="*/ 13 w 95"/>
                <a:gd name="T37" fmla="*/ 68 h 84"/>
                <a:gd name="T38" fmla="*/ 16 w 95"/>
                <a:gd name="T39" fmla="*/ 76 h 84"/>
                <a:gd name="T40" fmla="*/ 23 w 95"/>
                <a:gd name="T41" fmla="*/ 84 h 84"/>
                <a:gd name="T42" fmla="*/ 26 w 95"/>
                <a:gd name="T43" fmla="*/ 84 h 84"/>
                <a:gd name="T44" fmla="*/ 33 w 95"/>
                <a:gd name="T45" fmla="*/ 78 h 84"/>
                <a:gd name="T46" fmla="*/ 43 w 95"/>
                <a:gd name="T47" fmla="*/ 77 h 84"/>
                <a:gd name="T48" fmla="*/ 50 w 95"/>
                <a:gd name="T49" fmla="*/ 76 h 84"/>
                <a:gd name="T50" fmla="*/ 53 w 95"/>
                <a:gd name="T51" fmla="*/ 73 h 84"/>
                <a:gd name="T52" fmla="*/ 56 w 95"/>
                <a:gd name="T53" fmla="*/ 71 h 84"/>
                <a:gd name="T54" fmla="*/ 63 w 95"/>
                <a:gd name="T55" fmla="*/ 68 h 84"/>
                <a:gd name="T56" fmla="*/ 73 w 95"/>
                <a:gd name="T57" fmla="*/ 66 h 84"/>
                <a:gd name="T58" fmla="*/ 78 w 95"/>
                <a:gd name="T59" fmla="*/ 60 h 84"/>
                <a:gd name="T60" fmla="*/ 85 w 95"/>
                <a:gd name="T61" fmla="*/ 54 h 84"/>
                <a:gd name="T62" fmla="*/ 86 w 95"/>
                <a:gd name="T63" fmla="*/ 51 h 84"/>
                <a:gd name="T64" fmla="*/ 88 w 95"/>
                <a:gd name="T65" fmla="*/ 44 h 84"/>
                <a:gd name="T66" fmla="*/ 91 w 95"/>
                <a:gd name="T67" fmla="*/ 41 h 84"/>
                <a:gd name="T68" fmla="*/ 95 w 95"/>
                <a:gd name="T69" fmla="*/ 37 h 84"/>
                <a:gd name="T70" fmla="*/ 91 w 95"/>
                <a:gd name="T71" fmla="*/ 28 h 84"/>
                <a:gd name="T72" fmla="*/ 85 w 95"/>
                <a:gd name="T73" fmla="*/ 24 h 84"/>
                <a:gd name="T74" fmla="*/ 82 w 95"/>
                <a:gd name="T75" fmla="*/ 21 h 84"/>
                <a:gd name="T76" fmla="*/ 75 w 95"/>
                <a:gd name="T77" fmla="*/ 21 h 84"/>
                <a:gd name="T78" fmla="*/ 73 w 95"/>
                <a:gd name="T79" fmla="*/ 17 h 84"/>
                <a:gd name="T80" fmla="*/ 70 w 95"/>
                <a:gd name="T81" fmla="*/ 15 h 84"/>
                <a:gd name="T82" fmla="*/ 69 w 95"/>
                <a:gd name="T83" fmla="*/ 14 h 84"/>
                <a:gd name="T84" fmla="*/ 70 w 95"/>
                <a:gd name="T85" fmla="*/ 10 h 84"/>
                <a:gd name="T86" fmla="*/ 70 w 95"/>
                <a:gd name="T87" fmla="*/ 5 h 84"/>
                <a:gd name="T88" fmla="*/ 65 w 95"/>
                <a:gd name="T89" fmla="*/ 1 h 84"/>
                <a:gd name="T90" fmla="*/ 60 w 95"/>
                <a:gd name="T91" fmla="*/ 0 h 84"/>
                <a:gd name="T92" fmla="*/ 56 w 95"/>
                <a:gd name="T93" fmla="*/ 0 h 84"/>
                <a:gd name="T94" fmla="*/ 50 w 95"/>
                <a:gd name="T95" fmla="*/ 3 h 84"/>
                <a:gd name="T96" fmla="*/ 48 w 95"/>
                <a:gd name="T97" fmla="*/ 8 h 84"/>
                <a:gd name="T98" fmla="*/ 42 w 95"/>
                <a:gd name="T99" fmla="*/ 13 h 84"/>
                <a:gd name="T100" fmla="*/ 36 w 95"/>
                <a:gd name="T101" fmla="*/ 17 h 84"/>
                <a:gd name="T102" fmla="*/ 33 w 95"/>
                <a:gd name="T103" fmla="*/ 20 h 84"/>
                <a:gd name="T104" fmla="*/ 32 w 95"/>
                <a:gd name="T105" fmla="*/ 23 h 84"/>
                <a:gd name="T106" fmla="*/ 29 w 95"/>
                <a:gd name="T107" fmla="*/ 2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5" h="84">
                  <a:moveTo>
                    <a:pt x="29" y="21"/>
                  </a:moveTo>
                  <a:lnTo>
                    <a:pt x="26" y="21"/>
                  </a:lnTo>
                  <a:lnTo>
                    <a:pt x="26" y="24"/>
                  </a:lnTo>
                  <a:lnTo>
                    <a:pt x="22" y="27"/>
                  </a:lnTo>
                  <a:lnTo>
                    <a:pt x="19" y="30"/>
                  </a:lnTo>
                  <a:lnTo>
                    <a:pt x="17" y="34"/>
                  </a:lnTo>
                  <a:lnTo>
                    <a:pt x="13" y="36"/>
                  </a:lnTo>
                  <a:lnTo>
                    <a:pt x="10" y="36"/>
                  </a:lnTo>
                  <a:lnTo>
                    <a:pt x="6" y="43"/>
                  </a:lnTo>
                  <a:lnTo>
                    <a:pt x="3" y="46"/>
                  </a:lnTo>
                  <a:lnTo>
                    <a:pt x="3" y="48"/>
                  </a:lnTo>
                  <a:lnTo>
                    <a:pt x="0" y="53"/>
                  </a:lnTo>
                  <a:lnTo>
                    <a:pt x="0" y="54"/>
                  </a:lnTo>
                  <a:lnTo>
                    <a:pt x="5" y="56"/>
                  </a:lnTo>
                  <a:lnTo>
                    <a:pt x="3" y="58"/>
                  </a:lnTo>
                  <a:lnTo>
                    <a:pt x="3" y="60"/>
                  </a:lnTo>
                  <a:lnTo>
                    <a:pt x="7" y="64"/>
                  </a:lnTo>
                  <a:lnTo>
                    <a:pt x="10" y="66"/>
                  </a:lnTo>
                  <a:lnTo>
                    <a:pt x="13" y="68"/>
                  </a:lnTo>
                  <a:lnTo>
                    <a:pt x="16" y="76"/>
                  </a:lnTo>
                  <a:lnTo>
                    <a:pt x="23" y="84"/>
                  </a:lnTo>
                  <a:lnTo>
                    <a:pt x="26" y="84"/>
                  </a:lnTo>
                  <a:lnTo>
                    <a:pt x="33" y="78"/>
                  </a:lnTo>
                  <a:lnTo>
                    <a:pt x="43" y="77"/>
                  </a:lnTo>
                  <a:lnTo>
                    <a:pt x="50" y="76"/>
                  </a:lnTo>
                  <a:lnTo>
                    <a:pt x="53" y="73"/>
                  </a:lnTo>
                  <a:lnTo>
                    <a:pt x="56" y="71"/>
                  </a:lnTo>
                  <a:lnTo>
                    <a:pt x="63" y="68"/>
                  </a:lnTo>
                  <a:lnTo>
                    <a:pt x="73" y="66"/>
                  </a:lnTo>
                  <a:lnTo>
                    <a:pt x="78" y="60"/>
                  </a:lnTo>
                  <a:lnTo>
                    <a:pt x="85" y="54"/>
                  </a:lnTo>
                  <a:lnTo>
                    <a:pt x="86" y="51"/>
                  </a:lnTo>
                  <a:lnTo>
                    <a:pt x="88" y="44"/>
                  </a:lnTo>
                  <a:lnTo>
                    <a:pt x="91" y="41"/>
                  </a:lnTo>
                  <a:lnTo>
                    <a:pt x="95" y="37"/>
                  </a:lnTo>
                  <a:lnTo>
                    <a:pt x="91" y="28"/>
                  </a:lnTo>
                  <a:lnTo>
                    <a:pt x="85" y="24"/>
                  </a:lnTo>
                  <a:lnTo>
                    <a:pt x="82" y="21"/>
                  </a:lnTo>
                  <a:lnTo>
                    <a:pt x="75" y="21"/>
                  </a:lnTo>
                  <a:lnTo>
                    <a:pt x="73" y="17"/>
                  </a:lnTo>
                  <a:lnTo>
                    <a:pt x="70" y="15"/>
                  </a:lnTo>
                  <a:lnTo>
                    <a:pt x="69" y="14"/>
                  </a:lnTo>
                  <a:lnTo>
                    <a:pt x="70" y="10"/>
                  </a:lnTo>
                  <a:lnTo>
                    <a:pt x="70" y="5"/>
                  </a:lnTo>
                  <a:lnTo>
                    <a:pt x="65" y="1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0" y="3"/>
                  </a:lnTo>
                  <a:lnTo>
                    <a:pt x="48" y="8"/>
                  </a:lnTo>
                  <a:lnTo>
                    <a:pt x="42" y="13"/>
                  </a:lnTo>
                  <a:lnTo>
                    <a:pt x="36" y="17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29" y="2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71" name="Freeform 219"/>
            <p:cNvSpPr>
              <a:spLocks noEditPoints="1"/>
            </p:cNvSpPr>
            <p:nvPr/>
          </p:nvSpPr>
          <p:spPr bwMode="auto">
            <a:xfrm>
              <a:off x="7888614" y="2473310"/>
              <a:ext cx="878001" cy="1531923"/>
            </a:xfrm>
            <a:custGeom>
              <a:avLst/>
              <a:gdLst>
                <a:gd name="T0" fmla="*/ 71 w 1438"/>
                <a:gd name="T1" fmla="*/ 369 h 2316"/>
                <a:gd name="T2" fmla="*/ 224 w 1438"/>
                <a:gd name="T3" fmla="*/ 261 h 2316"/>
                <a:gd name="T4" fmla="*/ 419 w 1438"/>
                <a:gd name="T5" fmla="*/ 263 h 2316"/>
                <a:gd name="T6" fmla="*/ 608 w 1438"/>
                <a:gd name="T7" fmla="*/ 263 h 2316"/>
                <a:gd name="T8" fmla="*/ 674 w 1438"/>
                <a:gd name="T9" fmla="*/ 124 h 2316"/>
                <a:gd name="T10" fmla="*/ 782 w 1438"/>
                <a:gd name="T11" fmla="*/ 14 h 2316"/>
                <a:gd name="T12" fmla="*/ 825 w 1438"/>
                <a:gd name="T13" fmla="*/ 43 h 2316"/>
                <a:gd name="T14" fmla="*/ 840 w 1438"/>
                <a:gd name="T15" fmla="*/ 109 h 2316"/>
                <a:gd name="T16" fmla="*/ 844 w 1438"/>
                <a:gd name="T17" fmla="*/ 177 h 2316"/>
                <a:gd name="T18" fmla="*/ 880 w 1438"/>
                <a:gd name="T19" fmla="*/ 220 h 2316"/>
                <a:gd name="T20" fmla="*/ 890 w 1438"/>
                <a:gd name="T21" fmla="*/ 265 h 2316"/>
                <a:gd name="T22" fmla="*/ 893 w 1438"/>
                <a:gd name="T23" fmla="*/ 315 h 2316"/>
                <a:gd name="T24" fmla="*/ 904 w 1438"/>
                <a:gd name="T25" fmla="*/ 388 h 2316"/>
                <a:gd name="T26" fmla="*/ 923 w 1438"/>
                <a:gd name="T27" fmla="*/ 462 h 2316"/>
                <a:gd name="T28" fmla="*/ 854 w 1438"/>
                <a:gd name="T29" fmla="*/ 454 h 2316"/>
                <a:gd name="T30" fmla="*/ 807 w 1438"/>
                <a:gd name="T31" fmla="*/ 497 h 2316"/>
                <a:gd name="T32" fmla="*/ 777 w 1438"/>
                <a:gd name="T33" fmla="*/ 590 h 2316"/>
                <a:gd name="T34" fmla="*/ 791 w 1438"/>
                <a:gd name="T35" fmla="*/ 700 h 2316"/>
                <a:gd name="T36" fmla="*/ 719 w 1438"/>
                <a:gd name="T37" fmla="*/ 676 h 2316"/>
                <a:gd name="T38" fmla="*/ 719 w 1438"/>
                <a:gd name="T39" fmla="*/ 782 h 2316"/>
                <a:gd name="T40" fmla="*/ 737 w 1438"/>
                <a:gd name="T41" fmla="*/ 842 h 2316"/>
                <a:gd name="T42" fmla="*/ 699 w 1438"/>
                <a:gd name="T43" fmla="*/ 884 h 2316"/>
                <a:gd name="T44" fmla="*/ 672 w 1438"/>
                <a:gd name="T45" fmla="*/ 934 h 2316"/>
                <a:gd name="T46" fmla="*/ 732 w 1438"/>
                <a:gd name="T47" fmla="*/ 1011 h 2316"/>
                <a:gd name="T48" fmla="*/ 769 w 1438"/>
                <a:gd name="T49" fmla="*/ 1040 h 2316"/>
                <a:gd name="T50" fmla="*/ 821 w 1438"/>
                <a:gd name="T51" fmla="*/ 1183 h 2316"/>
                <a:gd name="T52" fmla="*/ 880 w 1438"/>
                <a:gd name="T53" fmla="*/ 1171 h 2316"/>
                <a:gd name="T54" fmla="*/ 971 w 1438"/>
                <a:gd name="T55" fmla="*/ 1212 h 2316"/>
                <a:gd name="T56" fmla="*/ 1096 w 1438"/>
                <a:gd name="T57" fmla="*/ 1246 h 2316"/>
                <a:gd name="T58" fmla="*/ 1136 w 1438"/>
                <a:gd name="T59" fmla="*/ 1329 h 2316"/>
                <a:gd name="T60" fmla="*/ 1196 w 1438"/>
                <a:gd name="T61" fmla="*/ 1488 h 2316"/>
                <a:gd name="T62" fmla="*/ 1281 w 1438"/>
                <a:gd name="T63" fmla="*/ 1565 h 2316"/>
                <a:gd name="T64" fmla="*/ 1269 w 1438"/>
                <a:gd name="T65" fmla="*/ 1772 h 2316"/>
                <a:gd name="T66" fmla="*/ 1344 w 1438"/>
                <a:gd name="T67" fmla="*/ 1817 h 2316"/>
                <a:gd name="T68" fmla="*/ 1318 w 1438"/>
                <a:gd name="T69" fmla="*/ 1883 h 2316"/>
                <a:gd name="T70" fmla="*/ 1295 w 1438"/>
                <a:gd name="T71" fmla="*/ 1968 h 2316"/>
                <a:gd name="T72" fmla="*/ 1338 w 1438"/>
                <a:gd name="T73" fmla="*/ 1994 h 2316"/>
                <a:gd name="T74" fmla="*/ 1385 w 1438"/>
                <a:gd name="T75" fmla="*/ 2044 h 2316"/>
                <a:gd name="T76" fmla="*/ 1430 w 1438"/>
                <a:gd name="T77" fmla="*/ 2210 h 2316"/>
                <a:gd name="T78" fmla="*/ 1382 w 1438"/>
                <a:gd name="T79" fmla="*/ 2289 h 2316"/>
                <a:gd name="T80" fmla="*/ 1222 w 1438"/>
                <a:gd name="T81" fmla="*/ 2158 h 2316"/>
                <a:gd name="T82" fmla="*/ 981 w 1438"/>
                <a:gd name="T83" fmla="*/ 2029 h 2316"/>
                <a:gd name="T84" fmla="*/ 752 w 1438"/>
                <a:gd name="T85" fmla="*/ 1853 h 2316"/>
                <a:gd name="T86" fmla="*/ 676 w 1438"/>
                <a:gd name="T87" fmla="*/ 1656 h 2316"/>
                <a:gd name="T88" fmla="*/ 618 w 1438"/>
                <a:gd name="T89" fmla="*/ 1502 h 2316"/>
                <a:gd name="T90" fmla="*/ 636 w 1438"/>
                <a:gd name="T91" fmla="*/ 1343 h 2316"/>
                <a:gd name="T92" fmla="*/ 573 w 1438"/>
                <a:gd name="T93" fmla="*/ 1164 h 2316"/>
                <a:gd name="T94" fmla="*/ 532 w 1438"/>
                <a:gd name="T95" fmla="*/ 987 h 2316"/>
                <a:gd name="T96" fmla="*/ 539 w 1438"/>
                <a:gd name="T97" fmla="*/ 848 h 2316"/>
                <a:gd name="T98" fmla="*/ 503 w 1438"/>
                <a:gd name="T99" fmla="*/ 762 h 2316"/>
                <a:gd name="T100" fmla="*/ 397 w 1438"/>
                <a:gd name="T101" fmla="*/ 679 h 2316"/>
                <a:gd name="T102" fmla="*/ 414 w 1438"/>
                <a:gd name="T103" fmla="*/ 578 h 2316"/>
                <a:gd name="T104" fmla="*/ 330 w 1438"/>
                <a:gd name="T105" fmla="*/ 620 h 2316"/>
                <a:gd name="T106" fmla="*/ 334 w 1438"/>
                <a:gd name="T107" fmla="*/ 702 h 2316"/>
                <a:gd name="T108" fmla="*/ 399 w 1438"/>
                <a:gd name="T109" fmla="*/ 773 h 2316"/>
                <a:gd name="T110" fmla="*/ 417 w 1438"/>
                <a:gd name="T111" fmla="*/ 800 h 2316"/>
                <a:gd name="T112" fmla="*/ 396 w 1438"/>
                <a:gd name="T113" fmla="*/ 818 h 2316"/>
                <a:gd name="T114" fmla="*/ 297 w 1438"/>
                <a:gd name="T115" fmla="*/ 726 h 2316"/>
                <a:gd name="T116" fmla="*/ 195 w 1438"/>
                <a:gd name="T117" fmla="*/ 656 h 2316"/>
                <a:gd name="T118" fmla="*/ 71 w 1438"/>
                <a:gd name="T119" fmla="*/ 558 h 2316"/>
                <a:gd name="T120" fmla="*/ 407 w 1438"/>
                <a:gd name="T121" fmla="*/ 821 h 2316"/>
                <a:gd name="T122" fmla="*/ 510 w 1438"/>
                <a:gd name="T123" fmla="*/ 885 h 2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38" h="2316">
                  <a:moveTo>
                    <a:pt x="3" y="493"/>
                  </a:moveTo>
                  <a:lnTo>
                    <a:pt x="2" y="493"/>
                  </a:lnTo>
                  <a:lnTo>
                    <a:pt x="0" y="490"/>
                  </a:lnTo>
                  <a:lnTo>
                    <a:pt x="0" y="485"/>
                  </a:lnTo>
                  <a:lnTo>
                    <a:pt x="8" y="481"/>
                  </a:lnTo>
                  <a:lnTo>
                    <a:pt x="9" y="480"/>
                  </a:lnTo>
                  <a:lnTo>
                    <a:pt x="10" y="473"/>
                  </a:lnTo>
                  <a:lnTo>
                    <a:pt x="8" y="464"/>
                  </a:lnTo>
                  <a:lnTo>
                    <a:pt x="6" y="458"/>
                  </a:lnTo>
                  <a:lnTo>
                    <a:pt x="8" y="450"/>
                  </a:lnTo>
                  <a:lnTo>
                    <a:pt x="10" y="445"/>
                  </a:lnTo>
                  <a:lnTo>
                    <a:pt x="23" y="445"/>
                  </a:lnTo>
                  <a:lnTo>
                    <a:pt x="25" y="442"/>
                  </a:lnTo>
                  <a:lnTo>
                    <a:pt x="29" y="435"/>
                  </a:lnTo>
                  <a:lnTo>
                    <a:pt x="28" y="425"/>
                  </a:lnTo>
                  <a:lnTo>
                    <a:pt x="29" y="417"/>
                  </a:lnTo>
                  <a:lnTo>
                    <a:pt x="38" y="408"/>
                  </a:lnTo>
                  <a:lnTo>
                    <a:pt x="40" y="407"/>
                  </a:lnTo>
                  <a:lnTo>
                    <a:pt x="45" y="407"/>
                  </a:lnTo>
                  <a:lnTo>
                    <a:pt x="52" y="407"/>
                  </a:lnTo>
                  <a:lnTo>
                    <a:pt x="62" y="402"/>
                  </a:lnTo>
                  <a:lnTo>
                    <a:pt x="68" y="398"/>
                  </a:lnTo>
                  <a:lnTo>
                    <a:pt x="71" y="395"/>
                  </a:lnTo>
                  <a:lnTo>
                    <a:pt x="75" y="397"/>
                  </a:lnTo>
                  <a:lnTo>
                    <a:pt x="81" y="398"/>
                  </a:lnTo>
                  <a:lnTo>
                    <a:pt x="88" y="398"/>
                  </a:lnTo>
                  <a:lnTo>
                    <a:pt x="89" y="392"/>
                  </a:lnTo>
                  <a:lnTo>
                    <a:pt x="86" y="388"/>
                  </a:lnTo>
                  <a:lnTo>
                    <a:pt x="81" y="387"/>
                  </a:lnTo>
                  <a:lnTo>
                    <a:pt x="71" y="381"/>
                  </a:lnTo>
                  <a:lnTo>
                    <a:pt x="69" y="374"/>
                  </a:lnTo>
                  <a:lnTo>
                    <a:pt x="71" y="369"/>
                  </a:lnTo>
                  <a:lnTo>
                    <a:pt x="73" y="371"/>
                  </a:lnTo>
                  <a:lnTo>
                    <a:pt x="79" y="374"/>
                  </a:lnTo>
                  <a:lnTo>
                    <a:pt x="83" y="372"/>
                  </a:lnTo>
                  <a:lnTo>
                    <a:pt x="92" y="367"/>
                  </a:lnTo>
                  <a:lnTo>
                    <a:pt x="105" y="346"/>
                  </a:lnTo>
                  <a:lnTo>
                    <a:pt x="115" y="348"/>
                  </a:lnTo>
                  <a:lnTo>
                    <a:pt x="124" y="345"/>
                  </a:lnTo>
                  <a:lnTo>
                    <a:pt x="129" y="346"/>
                  </a:lnTo>
                  <a:lnTo>
                    <a:pt x="128" y="354"/>
                  </a:lnTo>
                  <a:lnTo>
                    <a:pt x="129" y="358"/>
                  </a:lnTo>
                  <a:lnTo>
                    <a:pt x="132" y="358"/>
                  </a:lnTo>
                  <a:lnTo>
                    <a:pt x="139" y="352"/>
                  </a:lnTo>
                  <a:lnTo>
                    <a:pt x="142" y="348"/>
                  </a:lnTo>
                  <a:lnTo>
                    <a:pt x="142" y="342"/>
                  </a:lnTo>
                  <a:lnTo>
                    <a:pt x="141" y="336"/>
                  </a:lnTo>
                  <a:lnTo>
                    <a:pt x="142" y="334"/>
                  </a:lnTo>
                  <a:lnTo>
                    <a:pt x="148" y="332"/>
                  </a:lnTo>
                  <a:lnTo>
                    <a:pt x="161" y="318"/>
                  </a:lnTo>
                  <a:lnTo>
                    <a:pt x="171" y="311"/>
                  </a:lnTo>
                  <a:lnTo>
                    <a:pt x="175" y="304"/>
                  </a:lnTo>
                  <a:lnTo>
                    <a:pt x="181" y="295"/>
                  </a:lnTo>
                  <a:lnTo>
                    <a:pt x="188" y="286"/>
                  </a:lnTo>
                  <a:lnTo>
                    <a:pt x="187" y="281"/>
                  </a:lnTo>
                  <a:lnTo>
                    <a:pt x="184" y="272"/>
                  </a:lnTo>
                  <a:lnTo>
                    <a:pt x="178" y="271"/>
                  </a:lnTo>
                  <a:lnTo>
                    <a:pt x="181" y="268"/>
                  </a:lnTo>
                  <a:lnTo>
                    <a:pt x="184" y="268"/>
                  </a:lnTo>
                  <a:lnTo>
                    <a:pt x="189" y="265"/>
                  </a:lnTo>
                  <a:lnTo>
                    <a:pt x="202" y="268"/>
                  </a:lnTo>
                  <a:lnTo>
                    <a:pt x="209" y="266"/>
                  </a:lnTo>
                  <a:lnTo>
                    <a:pt x="215" y="263"/>
                  </a:lnTo>
                  <a:lnTo>
                    <a:pt x="224" y="261"/>
                  </a:lnTo>
                  <a:lnTo>
                    <a:pt x="235" y="261"/>
                  </a:lnTo>
                  <a:lnTo>
                    <a:pt x="241" y="255"/>
                  </a:lnTo>
                  <a:lnTo>
                    <a:pt x="254" y="248"/>
                  </a:lnTo>
                  <a:lnTo>
                    <a:pt x="258" y="235"/>
                  </a:lnTo>
                  <a:lnTo>
                    <a:pt x="258" y="226"/>
                  </a:lnTo>
                  <a:lnTo>
                    <a:pt x="265" y="223"/>
                  </a:lnTo>
                  <a:lnTo>
                    <a:pt x="265" y="216"/>
                  </a:lnTo>
                  <a:lnTo>
                    <a:pt x="270" y="212"/>
                  </a:lnTo>
                  <a:lnTo>
                    <a:pt x="275" y="210"/>
                  </a:lnTo>
                  <a:lnTo>
                    <a:pt x="290" y="212"/>
                  </a:lnTo>
                  <a:lnTo>
                    <a:pt x="295" y="210"/>
                  </a:lnTo>
                  <a:lnTo>
                    <a:pt x="303" y="209"/>
                  </a:lnTo>
                  <a:lnTo>
                    <a:pt x="313" y="210"/>
                  </a:lnTo>
                  <a:lnTo>
                    <a:pt x="325" y="210"/>
                  </a:lnTo>
                  <a:lnTo>
                    <a:pt x="334" y="212"/>
                  </a:lnTo>
                  <a:lnTo>
                    <a:pt x="341" y="210"/>
                  </a:lnTo>
                  <a:lnTo>
                    <a:pt x="354" y="192"/>
                  </a:lnTo>
                  <a:lnTo>
                    <a:pt x="367" y="195"/>
                  </a:lnTo>
                  <a:lnTo>
                    <a:pt x="368" y="189"/>
                  </a:lnTo>
                  <a:lnTo>
                    <a:pt x="374" y="187"/>
                  </a:lnTo>
                  <a:lnTo>
                    <a:pt x="384" y="187"/>
                  </a:lnTo>
                  <a:lnTo>
                    <a:pt x="394" y="196"/>
                  </a:lnTo>
                  <a:lnTo>
                    <a:pt x="406" y="200"/>
                  </a:lnTo>
                  <a:lnTo>
                    <a:pt x="407" y="205"/>
                  </a:lnTo>
                  <a:lnTo>
                    <a:pt x="410" y="209"/>
                  </a:lnTo>
                  <a:lnTo>
                    <a:pt x="414" y="213"/>
                  </a:lnTo>
                  <a:lnTo>
                    <a:pt x="414" y="218"/>
                  </a:lnTo>
                  <a:lnTo>
                    <a:pt x="413" y="229"/>
                  </a:lnTo>
                  <a:lnTo>
                    <a:pt x="413" y="236"/>
                  </a:lnTo>
                  <a:lnTo>
                    <a:pt x="417" y="246"/>
                  </a:lnTo>
                  <a:lnTo>
                    <a:pt x="419" y="255"/>
                  </a:lnTo>
                  <a:lnTo>
                    <a:pt x="419" y="263"/>
                  </a:lnTo>
                  <a:lnTo>
                    <a:pt x="421" y="269"/>
                  </a:lnTo>
                  <a:lnTo>
                    <a:pt x="426" y="275"/>
                  </a:lnTo>
                  <a:lnTo>
                    <a:pt x="426" y="285"/>
                  </a:lnTo>
                  <a:lnTo>
                    <a:pt x="436" y="305"/>
                  </a:lnTo>
                  <a:lnTo>
                    <a:pt x="443" y="321"/>
                  </a:lnTo>
                  <a:lnTo>
                    <a:pt x="446" y="321"/>
                  </a:lnTo>
                  <a:lnTo>
                    <a:pt x="447" y="319"/>
                  </a:lnTo>
                  <a:lnTo>
                    <a:pt x="452" y="318"/>
                  </a:lnTo>
                  <a:lnTo>
                    <a:pt x="456" y="309"/>
                  </a:lnTo>
                  <a:lnTo>
                    <a:pt x="460" y="308"/>
                  </a:lnTo>
                  <a:lnTo>
                    <a:pt x="466" y="305"/>
                  </a:lnTo>
                  <a:lnTo>
                    <a:pt x="473" y="299"/>
                  </a:lnTo>
                  <a:lnTo>
                    <a:pt x="477" y="292"/>
                  </a:lnTo>
                  <a:lnTo>
                    <a:pt x="480" y="285"/>
                  </a:lnTo>
                  <a:lnTo>
                    <a:pt x="490" y="282"/>
                  </a:lnTo>
                  <a:lnTo>
                    <a:pt x="502" y="278"/>
                  </a:lnTo>
                  <a:lnTo>
                    <a:pt x="517" y="271"/>
                  </a:lnTo>
                  <a:lnTo>
                    <a:pt x="529" y="273"/>
                  </a:lnTo>
                  <a:lnTo>
                    <a:pt x="536" y="268"/>
                  </a:lnTo>
                  <a:lnTo>
                    <a:pt x="542" y="265"/>
                  </a:lnTo>
                  <a:lnTo>
                    <a:pt x="552" y="265"/>
                  </a:lnTo>
                  <a:lnTo>
                    <a:pt x="557" y="251"/>
                  </a:lnTo>
                  <a:lnTo>
                    <a:pt x="559" y="248"/>
                  </a:lnTo>
                  <a:lnTo>
                    <a:pt x="565" y="252"/>
                  </a:lnTo>
                  <a:lnTo>
                    <a:pt x="570" y="265"/>
                  </a:lnTo>
                  <a:lnTo>
                    <a:pt x="573" y="263"/>
                  </a:lnTo>
                  <a:lnTo>
                    <a:pt x="578" y="259"/>
                  </a:lnTo>
                  <a:lnTo>
                    <a:pt x="580" y="259"/>
                  </a:lnTo>
                  <a:lnTo>
                    <a:pt x="588" y="262"/>
                  </a:lnTo>
                  <a:lnTo>
                    <a:pt x="592" y="263"/>
                  </a:lnTo>
                  <a:lnTo>
                    <a:pt x="600" y="262"/>
                  </a:lnTo>
                  <a:lnTo>
                    <a:pt x="608" y="263"/>
                  </a:lnTo>
                  <a:lnTo>
                    <a:pt x="613" y="268"/>
                  </a:lnTo>
                  <a:lnTo>
                    <a:pt x="618" y="265"/>
                  </a:lnTo>
                  <a:lnTo>
                    <a:pt x="621" y="261"/>
                  </a:lnTo>
                  <a:lnTo>
                    <a:pt x="619" y="252"/>
                  </a:lnTo>
                  <a:lnTo>
                    <a:pt x="632" y="238"/>
                  </a:lnTo>
                  <a:lnTo>
                    <a:pt x="643" y="229"/>
                  </a:lnTo>
                  <a:lnTo>
                    <a:pt x="642" y="223"/>
                  </a:lnTo>
                  <a:lnTo>
                    <a:pt x="645" y="212"/>
                  </a:lnTo>
                  <a:lnTo>
                    <a:pt x="642" y="205"/>
                  </a:lnTo>
                  <a:lnTo>
                    <a:pt x="636" y="196"/>
                  </a:lnTo>
                  <a:lnTo>
                    <a:pt x="639" y="192"/>
                  </a:lnTo>
                  <a:lnTo>
                    <a:pt x="643" y="196"/>
                  </a:lnTo>
                  <a:lnTo>
                    <a:pt x="648" y="200"/>
                  </a:lnTo>
                  <a:lnTo>
                    <a:pt x="651" y="198"/>
                  </a:lnTo>
                  <a:lnTo>
                    <a:pt x="645" y="193"/>
                  </a:lnTo>
                  <a:lnTo>
                    <a:pt x="646" y="186"/>
                  </a:lnTo>
                  <a:lnTo>
                    <a:pt x="649" y="187"/>
                  </a:lnTo>
                  <a:lnTo>
                    <a:pt x="652" y="190"/>
                  </a:lnTo>
                  <a:lnTo>
                    <a:pt x="655" y="190"/>
                  </a:lnTo>
                  <a:lnTo>
                    <a:pt x="658" y="185"/>
                  </a:lnTo>
                  <a:lnTo>
                    <a:pt x="662" y="176"/>
                  </a:lnTo>
                  <a:lnTo>
                    <a:pt x="661" y="169"/>
                  </a:lnTo>
                  <a:lnTo>
                    <a:pt x="659" y="165"/>
                  </a:lnTo>
                  <a:lnTo>
                    <a:pt x="662" y="156"/>
                  </a:lnTo>
                  <a:lnTo>
                    <a:pt x="662" y="153"/>
                  </a:lnTo>
                  <a:lnTo>
                    <a:pt x="658" y="150"/>
                  </a:lnTo>
                  <a:lnTo>
                    <a:pt x="656" y="142"/>
                  </a:lnTo>
                  <a:lnTo>
                    <a:pt x="655" y="137"/>
                  </a:lnTo>
                  <a:lnTo>
                    <a:pt x="658" y="130"/>
                  </a:lnTo>
                  <a:lnTo>
                    <a:pt x="662" y="126"/>
                  </a:lnTo>
                  <a:lnTo>
                    <a:pt x="668" y="124"/>
                  </a:lnTo>
                  <a:lnTo>
                    <a:pt x="674" y="124"/>
                  </a:lnTo>
                  <a:lnTo>
                    <a:pt x="676" y="123"/>
                  </a:lnTo>
                  <a:lnTo>
                    <a:pt x="675" y="109"/>
                  </a:lnTo>
                  <a:lnTo>
                    <a:pt x="676" y="102"/>
                  </a:lnTo>
                  <a:lnTo>
                    <a:pt x="684" y="93"/>
                  </a:lnTo>
                  <a:lnTo>
                    <a:pt x="689" y="87"/>
                  </a:lnTo>
                  <a:lnTo>
                    <a:pt x="696" y="87"/>
                  </a:lnTo>
                  <a:lnTo>
                    <a:pt x="698" y="87"/>
                  </a:lnTo>
                  <a:lnTo>
                    <a:pt x="698" y="82"/>
                  </a:lnTo>
                  <a:lnTo>
                    <a:pt x="696" y="77"/>
                  </a:lnTo>
                  <a:lnTo>
                    <a:pt x="701" y="71"/>
                  </a:lnTo>
                  <a:lnTo>
                    <a:pt x="701" y="69"/>
                  </a:lnTo>
                  <a:lnTo>
                    <a:pt x="696" y="29"/>
                  </a:lnTo>
                  <a:lnTo>
                    <a:pt x="699" y="26"/>
                  </a:lnTo>
                  <a:lnTo>
                    <a:pt x="702" y="13"/>
                  </a:lnTo>
                  <a:lnTo>
                    <a:pt x="706" y="11"/>
                  </a:lnTo>
                  <a:lnTo>
                    <a:pt x="719" y="10"/>
                  </a:lnTo>
                  <a:lnTo>
                    <a:pt x="725" y="8"/>
                  </a:lnTo>
                  <a:lnTo>
                    <a:pt x="726" y="4"/>
                  </a:lnTo>
                  <a:lnTo>
                    <a:pt x="726" y="0"/>
                  </a:lnTo>
                  <a:lnTo>
                    <a:pt x="732" y="0"/>
                  </a:lnTo>
                  <a:lnTo>
                    <a:pt x="739" y="1"/>
                  </a:lnTo>
                  <a:lnTo>
                    <a:pt x="744" y="6"/>
                  </a:lnTo>
                  <a:lnTo>
                    <a:pt x="744" y="8"/>
                  </a:lnTo>
                  <a:lnTo>
                    <a:pt x="745" y="16"/>
                  </a:lnTo>
                  <a:lnTo>
                    <a:pt x="747" y="20"/>
                  </a:lnTo>
                  <a:lnTo>
                    <a:pt x="751" y="18"/>
                  </a:lnTo>
                  <a:lnTo>
                    <a:pt x="757" y="14"/>
                  </a:lnTo>
                  <a:lnTo>
                    <a:pt x="765" y="14"/>
                  </a:lnTo>
                  <a:lnTo>
                    <a:pt x="769" y="18"/>
                  </a:lnTo>
                  <a:lnTo>
                    <a:pt x="771" y="20"/>
                  </a:lnTo>
                  <a:lnTo>
                    <a:pt x="777" y="18"/>
                  </a:lnTo>
                  <a:lnTo>
                    <a:pt x="782" y="14"/>
                  </a:lnTo>
                  <a:lnTo>
                    <a:pt x="788" y="7"/>
                  </a:lnTo>
                  <a:lnTo>
                    <a:pt x="790" y="6"/>
                  </a:lnTo>
                  <a:lnTo>
                    <a:pt x="792" y="8"/>
                  </a:lnTo>
                  <a:lnTo>
                    <a:pt x="797" y="11"/>
                  </a:lnTo>
                  <a:lnTo>
                    <a:pt x="798" y="10"/>
                  </a:lnTo>
                  <a:lnTo>
                    <a:pt x="801" y="7"/>
                  </a:lnTo>
                  <a:lnTo>
                    <a:pt x="808" y="8"/>
                  </a:lnTo>
                  <a:lnTo>
                    <a:pt x="820" y="11"/>
                  </a:lnTo>
                  <a:lnTo>
                    <a:pt x="830" y="14"/>
                  </a:lnTo>
                  <a:lnTo>
                    <a:pt x="835" y="17"/>
                  </a:lnTo>
                  <a:lnTo>
                    <a:pt x="834" y="11"/>
                  </a:lnTo>
                  <a:lnTo>
                    <a:pt x="835" y="16"/>
                  </a:lnTo>
                  <a:lnTo>
                    <a:pt x="834" y="17"/>
                  </a:lnTo>
                  <a:lnTo>
                    <a:pt x="830" y="20"/>
                  </a:lnTo>
                  <a:lnTo>
                    <a:pt x="828" y="23"/>
                  </a:lnTo>
                  <a:lnTo>
                    <a:pt x="828" y="27"/>
                  </a:lnTo>
                  <a:lnTo>
                    <a:pt x="827" y="37"/>
                  </a:lnTo>
                  <a:lnTo>
                    <a:pt x="827" y="40"/>
                  </a:lnTo>
                  <a:lnTo>
                    <a:pt x="824" y="39"/>
                  </a:lnTo>
                  <a:lnTo>
                    <a:pt x="825" y="36"/>
                  </a:lnTo>
                  <a:lnTo>
                    <a:pt x="822" y="36"/>
                  </a:lnTo>
                  <a:lnTo>
                    <a:pt x="820" y="37"/>
                  </a:lnTo>
                  <a:lnTo>
                    <a:pt x="820" y="40"/>
                  </a:lnTo>
                  <a:lnTo>
                    <a:pt x="818" y="41"/>
                  </a:lnTo>
                  <a:lnTo>
                    <a:pt x="818" y="43"/>
                  </a:lnTo>
                  <a:lnTo>
                    <a:pt x="820" y="44"/>
                  </a:lnTo>
                  <a:lnTo>
                    <a:pt x="820" y="47"/>
                  </a:lnTo>
                  <a:lnTo>
                    <a:pt x="822" y="49"/>
                  </a:lnTo>
                  <a:lnTo>
                    <a:pt x="824" y="47"/>
                  </a:lnTo>
                  <a:lnTo>
                    <a:pt x="825" y="47"/>
                  </a:lnTo>
                  <a:lnTo>
                    <a:pt x="825" y="44"/>
                  </a:lnTo>
                  <a:lnTo>
                    <a:pt x="825" y="43"/>
                  </a:lnTo>
                  <a:lnTo>
                    <a:pt x="827" y="43"/>
                  </a:lnTo>
                  <a:lnTo>
                    <a:pt x="828" y="43"/>
                  </a:lnTo>
                  <a:lnTo>
                    <a:pt x="828" y="46"/>
                  </a:lnTo>
                  <a:lnTo>
                    <a:pt x="832" y="53"/>
                  </a:lnTo>
                  <a:lnTo>
                    <a:pt x="832" y="56"/>
                  </a:lnTo>
                  <a:lnTo>
                    <a:pt x="834" y="57"/>
                  </a:lnTo>
                  <a:lnTo>
                    <a:pt x="834" y="61"/>
                  </a:lnTo>
                  <a:lnTo>
                    <a:pt x="835" y="67"/>
                  </a:lnTo>
                  <a:lnTo>
                    <a:pt x="837" y="73"/>
                  </a:lnTo>
                  <a:lnTo>
                    <a:pt x="835" y="73"/>
                  </a:lnTo>
                  <a:lnTo>
                    <a:pt x="831" y="74"/>
                  </a:lnTo>
                  <a:lnTo>
                    <a:pt x="827" y="76"/>
                  </a:lnTo>
                  <a:lnTo>
                    <a:pt x="824" y="79"/>
                  </a:lnTo>
                  <a:lnTo>
                    <a:pt x="821" y="80"/>
                  </a:lnTo>
                  <a:lnTo>
                    <a:pt x="817" y="80"/>
                  </a:lnTo>
                  <a:lnTo>
                    <a:pt x="815" y="83"/>
                  </a:lnTo>
                  <a:lnTo>
                    <a:pt x="815" y="86"/>
                  </a:lnTo>
                  <a:lnTo>
                    <a:pt x="812" y="83"/>
                  </a:lnTo>
                  <a:lnTo>
                    <a:pt x="811" y="83"/>
                  </a:lnTo>
                  <a:lnTo>
                    <a:pt x="810" y="86"/>
                  </a:lnTo>
                  <a:lnTo>
                    <a:pt x="811" y="86"/>
                  </a:lnTo>
                  <a:lnTo>
                    <a:pt x="814" y="90"/>
                  </a:lnTo>
                  <a:lnTo>
                    <a:pt x="818" y="90"/>
                  </a:lnTo>
                  <a:lnTo>
                    <a:pt x="821" y="92"/>
                  </a:lnTo>
                  <a:lnTo>
                    <a:pt x="825" y="94"/>
                  </a:lnTo>
                  <a:lnTo>
                    <a:pt x="825" y="96"/>
                  </a:lnTo>
                  <a:lnTo>
                    <a:pt x="827" y="99"/>
                  </a:lnTo>
                  <a:lnTo>
                    <a:pt x="834" y="99"/>
                  </a:lnTo>
                  <a:lnTo>
                    <a:pt x="838" y="102"/>
                  </a:lnTo>
                  <a:lnTo>
                    <a:pt x="841" y="106"/>
                  </a:lnTo>
                  <a:lnTo>
                    <a:pt x="841" y="107"/>
                  </a:lnTo>
                  <a:lnTo>
                    <a:pt x="840" y="109"/>
                  </a:lnTo>
                  <a:lnTo>
                    <a:pt x="838" y="113"/>
                  </a:lnTo>
                  <a:lnTo>
                    <a:pt x="838" y="116"/>
                  </a:lnTo>
                  <a:lnTo>
                    <a:pt x="841" y="119"/>
                  </a:lnTo>
                  <a:lnTo>
                    <a:pt x="847" y="120"/>
                  </a:lnTo>
                  <a:lnTo>
                    <a:pt x="847" y="122"/>
                  </a:lnTo>
                  <a:lnTo>
                    <a:pt x="848" y="124"/>
                  </a:lnTo>
                  <a:lnTo>
                    <a:pt x="853" y="133"/>
                  </a:lnTo>
                  <a:lnTo>
                    <a:pt x="851" y="142"/>
                  </a:lnTo>
                  <a:lnTo>
                    <a:pt x="848" y="146"/>
                  </a:lnTo>
                  <a:lnTo>
                    <a:pt x="844" y="147"/>
                  </a:lnTo>
                  <a:lnTo>
                    <a:pt x="835" y="149"/>
                  </a:lnTo>
                  <a:lnTo>
                    <a:pt x="834" y="150"/>
                  </a:lnTo>
                  <a:lnTo>
                    <a:pt x="830" y="152"/>
                  </a:lnTo>
                  <a:lnTo>
                    <a:pt x="827" y="153"/>
                  </a:lnTo>
                  <a:lnTo>
                    <a:pt x="830" y="153"/>
                  </a:lnTo>
                  <a:lnTo>
                    <a:pt x="830" y="156"/>
                  </a:lnTo>
                  <a:lnTo>
                    <a:pt x="832" y="160"/>
                  </a:lnTo>
                  <a:lnTo>
                    <a:pt x="832" y="163"/>
                  </a:lnTo>
                  <a:lnTo>
                    <a:pt x="831" y="166"/>
                  </a:lnTo>
                  <a:lnTo>
                    <a:pt x="831" y="167"/>
                  </a:lnTo>
                  <a:lnTo>
                    <a:pt x="834" y="167"/>
                  </a:lnTo>
                  <a:lnTo>
                    <a:pt x="838" y="162"/>
                  </a:lnTo>
                  <a:lnTo>
                    <a:pt x="844" y="156"/>
                  </a:lnTo>
                  <a:lnTo>
                    <a:pt x="850" y="156"/>
                  </a:lnTo>
                  <a:lnTo>
                    <a:pt x="857" y="156"/>
                  </a:lnTo>
                  <a:lnTo>
                    <a:pt x="860" y="162"/>
                  </a:lnTo>
                  <a:lnTo>
                    <a:pt x="860" y="165"/>
                  </a:lnTo>
                  <a:lnTo>
                    <a:pt x="858" y="169"/>
                  </a:lnTo>
                  <a:lnTo>
                    <a:pt x="851" y="170"/>
                  </a:lnTo>
                  <a:lnTo>
                    <a:pt x="845" y="172"/>
                  </a:lnTo>
                  <a:lnTo>
                    <a:pt x="844" y="175"/>
                  </a:lnTo>
                  <a:lnTo>
                    <a:pt x="844" y="177"/>
                  </a:lnTo>
                  <a:lnTo>
                    <a:pt x="845" y="177"/>
                  </a:lnTo>
                  <a:lnTo>
                    <a:pt x="853" y="173"/>
                  </a:lnTo>
                  <a:lnTo>
                    <a:pt x="857" y="173"/>
                  </a:lnTo>
                  <a:lnTo>
                    <a:pt x="858" y="175"/>
                  </a:lnTo>
                  <a:lnTo>
                    <a:pt x="858" y="179"/>
                  </a:lnTo>
                  <a:lnTo>
                    <a:pt x="860" y="185"/>
                  </a:lnTo>
                  <a:lnTo>
                    <a:pt x="863" y="186"/>
                  </a:lnTo>
                  <a:lnTo>
                    <a:pt x="864" y="193"/>
                  </a:lnTo>
                  <a:lnTo>
                    <a:pt x="860" y="199"/>
                  </a:lnTo>
                  <a:lnTo>
                    <a:pt x="851" y="203"/>
                  </a:lnTo>
                  <a:lnTo>
                    <a:pt x="850" y="205"/>
                  </a:lnTo>
                  <a:lnTo>
                    <a:pt x="850" y="206"/>
                  </a:lnTo>
                  <a:lnTo>
                    <a:pt x="854" y="208"/>
                  </a:lnTo>
                  <a:lnTo>
                    <a:pt x="860" y="210"/>
                  </a:lnTo>
                  <a:lnTo>
                    <a:pt x="863" y="210"/>
                  </a:lnTo>
                  <a:lnTo>
                    <a:pt x="863" y="213"/>
                  </a:lnTo>
                  <a:lnTo>
                    <a:pt x="860" y="218"/>
                  </a:lnTo>
                  <a:lnTo>
                    <a:pt x="858" y="220"/>
                  </a:lnTo>
                  <a:lnTo>
                    <a:pt x="860" y="220"/>
                  </a:lnTo>
                  <a:lnTo>
                    <a:pt x="863" y="220"/>
                  </a:lnTo>
                  <a:lnTo>
                    <a:pt x="865" y="219"/>
                  </a:lnTo>
                  <a:lnTo>
                    <a:pt x="865" y="216"/>
                  </a:lnTo>
                  <a:lnTo>
                    <a:pt x="867" y="212"/>
                  </a:lnTo>
                  <a:lnTo>
                    <a:pt x="867" y="210"/>
                  </a:lnTo>
                  <a:lnTo>
                    <a:pt x="870" y="212"/>
                  </a:lnTo>
                  <a:lnTo>
                    <a:pt x="873" y="215"/>
                  </a:lnTo>
                  <a:lnTo>
                    <a:pt x="873" y="215"/>
                  </a:lnTo>
                  <a:lnTo>
                    <a:pt x="874" y="210"/>
                  </a:lnTo>
                  <a:lnTo>
                    <a:pt x="875" y="210"/>
                  </a:lnTo>
                  <a:lnTo>
                    <a:pt x="877" y="213"/>
                  </a:lnTo>
                  <a:lnTo>
                    <a:pt x="878" y="216"/>
                  </a:lnTo>
                  <a:lnTo>
                    <a:pt x="880" y="220"/>
                  </a:lnTo>
                  <a:lnTo>
                    <a:pt x="880" y="220"/>
                  </a:lnTo>
                  <a:lnTo>
                    <a:pt x="877" y="222"/>
                  </a:lnTo>
                  <a:lnTo>
                    <a:pt x="875" y="223"/>
                  </a:lnTo>
                  <a:lnTo>
                    <a:pt x="874" y="226"/>
                  </a:lnTo>
                  <a:lnTo>
                    <a:pt x="874" y="228"/>
                  </a:lnTo>
                  <a:lnTo>
                    <a:pt x="868" y="229"/>
                  </a:lnTo>
                  <a:lnTo>
                    <a:pt x="864" y="229"/>
                  </a:lnTo>
                  <a:lnTo>
                    <a:pt x="863" y="233"/>
                  </a:lnTo>
                  <a:lnTo>
                    <a:pt x="857" y="235"/>
                  </a:lnTo>
                  <a:lnTo>
                    <a:pt x="854" y="238"/>
                  </a:lnTo>
                  <a:lnTo>
                    <a:pt x="854" y="239"/>
                  </a:lnTo>
                  <a:lnTo>
                    <a:pt x="858" y="239"/>
                  </a:lnTo>
                  <a:lnTo>
                    <a:pt x="865" y="235"/>
                  </a:lnTo>
                  <a:lnTo>
                    <a:pt x="868" y="233"/>
                  </a:lnTo>
                  <a:lnTo>
                    <a:pt x="874" y="233"/>
                  </a:lnTo>
                  <a:lnTo>
                    <a:pt x="878" y="235"/>
                  </a:lnTo>
                  <a:lnTo>
                    <a:pt x="881" y="236"/>
                  </a:lnTo>
                  <a:lnTo>
                    <a:pt x="881" y="240"/>
                  </a:lnTo>
                  <a:lnTo>
                    <a:pt x="881" y="242"/>
                  </a:lnTo>
                  <a:lnTo>
                    <a:pt x="881" y="243"/>
                  </a:lnTo>
                  <a:lnTo>
                    <a:pt x="884" y="245"/>
                  </a:lnTo>
                  <a:lnTo>
                    <a:pt x="885" y="248"/>
                  </a:lnTo>
                  <a:lnTo>
                    <a:pt x="888" y="248"/>
                  </a:lnTo>
                  <a:lnTo>
                    <a:pt x="891" y="249"/>
                  </a:lnTo>
                  <a:lnTo>
                    <a:pt x="891" y="253"/>
                  </a:lnTo>
                  <a:lnTo>
                    <a:pt x="891" y="255"/>
                  </a:lnTo>
                  <a:lnTo>
                    <a:pt x="887" y="256"/>
                  </a:lnTo>
                  <a:lnTo>
                    <a:pt x="883" y="256"/>
                  </a:lnTo>
                  <a:lnTo>
                    <a:pt x="883" y="259"/>
                  </a:lnTo>
                  <a:lnTo>
                    <a:pt x="885" y="261"/>
                  </a:lnTo>
                  <a:lnTo>
                    <a:pt x="888" y="262"/>
                  </a:lnTo>
                  <a:lnTo>
                    <a:pt x="890" y="265"/>
                  </a:lnTo>
                  <a:lnTo>
                    <a:pt x="890" y="268"/>
                  </a:lnTo>
                  <a:lnTo>
                    <a:pt x="883" y="271"/>
                  </a:lnTo>
                  <a:lnTo>
                    <a:pt x="881" y="273"/>
                  </a:lnTo>
                  <a:lnTo>
                    <a:pt x="880" y="281"/>
                  </a:lnTo>
                  <a:lnTo>
                    <a:pt x="883" y="283"/>
                  </a:lnTo>
                  <a:lnTo>
                    <a:pt x="883" y="286"/>
                  </a:lnTo>
                  <a:lnTo>
                    <a:pt x="880" y="292"/>
                  </a:lnTo>
                  <a:lnTo>
                    <a:pt x="880" y="295"/>
                  </a:lnTo>
                  <a:lnTo>
                    <a:pt x="878" y="299"/>
                  </a:lnTo>
                  <a:lnTo>
                    <a:pt x="881" y="298"/>
                  </a:lnTo>
                  <a:lnTo>
                    <a:pt x="883" y="292"/>
                  </a:lnTo>
                  <a:lnTo>
                    <a:pt x="884" y="291"/>
                  </a:lnTo>
                  <a:lnTo>
                    <a:pt x="887" y="289"/>
                  </a:lnTo>
                  <a:lnTo>
                    <a:pt x="890" y="289"/>
                  </a:lnTo>
                  <a:lnTo>
                    <a:pt x="893" y="293"/>
                  </a:lnTo>
                  <a:lnTo>
                    <a:pt x="893" y="296"/>
                  </a:lnTo>
                  <a:lnTo>
                    <a:pt x="891" y="299"/>
                  </a:lnTo>
                  <a:lnTo>
                    <a:pt x="891" y="302"/>
                  </a:lnTo>
                  <a:lnTo>
                    <a:pt x="893" y="305"/>
                  </a:lnTo>
                  <a:lnTo>
                    <a:pt x="893" y="308"/>
                  </a:lnTo>
                  <a:lnTo>
                    <a:pt x="891" y="308"/>
                  </a:lnTo>
                  <a:lnTo>
                    <a:pt x="891" y="305"/>
                  </a:lnTo>
                  <a:lnTo>
                    <a:pt x="888" y="304"/>
                  </a:lnTo>
                  <a:lnTo>
                    <a:pt x="883" y="302"/>
                  </a:lnTo>
                  <a:lnTo>
                    <a:pt x="877" y="302"/>
                  </a:lnTo>
                  <a:lnTo>
                    <a:pt x="877" y="305"/>
                  </a:lnTo>
                  <a:lnTo>
                    <a:pt x="878" y="305"/>
                  </a:lnTo>
                  <a:lnTo>
                    <a:pt x="883" y="305"/>
                  </a:lnTo>
                  <a:lnTo>
                    <a:pt x="885" y="306"/>
                  </a:lnTo>
                  <a:lnTo>
                    <a:pt x="888" y="309"/>
                  </a:lnTo>
                  <a:lnTo>
                    <a:pt x="891" y="314"/>
                  </a:lnTo>
                  <a:lnTo>
                    <a:pt x="893" y="315"/>
                  </a:lnTo>
                  <a:lnTo>
                    <a:pt x="895" y="315"/>
                  </a:lnTo>
                  <a:lnTo>
                    <a:pt x="898" y="316"/>
                  </a:lnTo>
                  <a:lnTo>
                    <a:pt x="898" y="319"/>
                  </a:lnTo>
                  <a:lnTo>
                    <a:pt x="898" y="325"/>
                  </a:lnTo>
                  <a:lnTo>
                    <a:pt x="900" y="331"/>
                  </a:lnTo>
                  <a:lnTo>
                    <a:pt x="903" y="335"/>
                  </a:lnTo>
                  <a:lnTo>
                    <a:pt x="903" y="338"/>
                  </a:lnTo>
                  <a:lnTo>
                    <a:pt x="900" y="341"/>
                  </a:lnTo>
                  <a:lnTo>
                    <a:pt x="898" y="344"/>
                  </a:lnTo>
                  <a:lnTo>
                    <a:pt x="898" y="349"/>
                  </a:lnTo>
                  <a:lnTo>
                    <a:pt x="900" y="354"/>
                  </a:lnTo>
                  <a:lnTo>
                    <a:pt x="900" y="356"/>
                  </a:lnTo>
                  <a:lnTo>
                    <a:pt x="900" y="361"/>
                  </a:lnTo>
                  <a:lnTo>
                    <a:pt x="895" y="364"/>
                  </a:lnTo>
                  <a:lnTo>
                    <a:pt x="893" y="367"/>
                  </a:lnTo>
                  <a:lnTo>
                    <a:pt x="891" y="368"/>
                  </a:lnTo>
                  <a:lnTo>
                    <a:pt x="893" y="371"/>
                  </a:lnTo>
                  <a:lnTo>
                    <a:pt x="894" y="372"/>
                  </a:lnTo>
                  <a:lnTo>
                    <a:pt x="898" y="367"/>
                  </a:lnTo>
                  <a:lnTo>
                    <a:pt x="900" y="367"/>
                  </a:lnTo>
                  <a:lnTo>
                    <a:pt x="901" y="368"/>
                  </a:lnTo>
                  <a:lnTo>
                    <a:pt x="904" y="371"/>
                  </a:lnTo>
                  <a:lnTo>
                    <a:pt x="904" y="374"/>
                  </a:lnTo>
                  <a:lnTo>
                    <a:pt x="904" y="379"/>
                  </a:lnTo>
                  <a:lnTo>
                    <a:pt x="904" y="384"/>
                  </a:lnTo>
                  <a:lnTo>
                    <a:pt x="900" y="385"/>
                  </a:lnTo>
                  <a:lnTo>
                    <a:pt x="895" y="387"/>
                  </a:lnTo>
                  <a:lnTo>
                    <a:pt x="894" y="389"/>
                  </a:lnTo>
                  <a:lnTo>
                    <a:pt x="894" y="392"/>
                  </a:lnTo>
                  <a:lnTo>
                    <a:pt x="895" y="392"/>
                  </a:lnTo>
                  <a:lnTo>
                    <a:pt x="898" y="388"/>
                  </a:lnTo>
                  <a:lnTo>
                    <a:pt x="904" y="388"/>
                  </a:lnTo>
                  <a:lnTo>
                    <a:pt x="906" y="391"/>
                  </a:lnTo>
                  <a:lnTo>
                    <a:pt x="908" y="391"/>
                  </a:lnTo>
                  <a:lnTo>
                    <a:pt x="911" y="388"/>
                  </a:lnTo>
                  <a:lnTo>
                    <a:pt x="914" y="389"/>
                  </a:lnTo>
                  <a:lnTo>
                    <a:pt x="918" y="392"/>
                  </a:lnTo>
                  <a:lnTo>
                    <a:pt x="918" y="397"/>
                  </a:lnTo>
                  <a:lnTo>
                    <a:pt x="918" y="405"/>
                  </a:lnTo>
                  <a:lnTo>
                    <a:pt x="923" y="411"/>
                  </a:lnTo>
                  <a:lnTo>
                    <a:pt x="926" y="414"/>
                  </a:lnTo>
                  <a:lnTo>
                    <a:pt x="926" y="414"/>
                  </a:lnTo>
                  <a:lnTo>
                    <a:pt x="926" y="417"/>
                  </a:lnTo>
                  <a:lnTo>
                    <a:pt x="923" y="417"/>
                  </a:lnTo>
                  <a:lnTo>
                    <a:pt x="918" y="420"/>
                  </a:lnTo>
                  <a:lnTo>
                    <a:pt x="920" y="421"/>
                  </a:lnTo>
                  <a:lnTo>
                    <a:pt x="928" y="420"/>
                  </a:lnTo>
                  <a:lnTo>
                    <a:pt x="931" y="420"/>
                  </a:lnTo>
                  <a:lnTo>
                    <a:pt x="938" y="422"/>
                  </a:lnTo>
                  <a:lnTo>
                    <a:pt x="953" y="434"/>
                  </a:lnTo>
                  <a:lnTo>
                    <a:pt x="957" y="437"/>
                  </a:lnTo>
                  <a:lnTo>
                    <a:pt x="957" y="441"/>
                  </a:lnTo>
                  <a:lnTo>
                    <a:pt x="959" y="448"/>
                  </a:lnTo>
                  <a:lnTo>
                    <a:pt x="957" y="451"/>
                  </a:lnTo>
                  <a:lnTo>
                    <a:pt x="951" y="454"/>
                  </a:lnTo>
                  <a:lnTo>
                    <a:pt x="947" y="454"/>
                  </a:lnTo>
                  <a:lnTo>
                    <a:pt x="943" y="460"/>
                  </a:lnTo>
                  <a:lnTo>
                    <a:pt x="938" y="457"/>
                  </a:lnTo>
                  <a:lnTo>
                    <a:pt x="936" y="455"/>
                  </a:lnTo>
                  <a:lnTo>
                    <a:pt x="934" y="455"/>
                  </a:lnTo>
                  <a:lnTo>
                    <a:pt x="933" y="455"/>
                  </a:lnTo>
                  <a:lnTo>
                    <a:pt x="930" y="458"/>
                  </a:lnTo>
                  <a:lnTo>
                    <a:pt x="926" y="461"/>
                  </a:lnTo>
                  <a:lnTo>
                    <a:pt x="923" y="462"/>
                  </a:lnTo>
                  <a:lnTo>
                    <a:pt x="914" y="464"/>
                  </a:lnTo>
                  <a:lnTo>
                    <a:pt x="910" y="461"/>
                  </a:lnTo>
                  <a:lnTo>
                    <a:pt x="908" y="461"/>
                  </a:lnTo>
                  <a:lnTo>
                    <a:pt x="904" y="461"/>
                  </a:lnTo>
                  <a:lnTo>
                    <a:pt x="901" y="461"/>
                  </a:lnTo>
                  <a:lnTo>
                    <a:pt x="897" y="458"/>
                  </a:lnTo>
                  <a:lnTo>
                    <a:pt x="898" y="455"/>
                  </a:lnTo>
                  <a:lnTo>
                    <a:pt x="901" y="455"/>
                  </a:lnTo>
                  <a:lnTo>
                    <a:pt x="900" y="454"/>
                  </a:lnTo>
                  <a:lnTo>
                    <a:pt x="900" y="450"/>
                  </a:lnTo>
                  <a:lnTo>
                    <a:pt x="901" y="447"/>
                  </a:lnTo>
                  <a:lnTo>
                    <a:pt x="898" y="447"/>
                  </a:lnTo>
                  <a:lnTo>
                    <a:pt x="895" y="448"/>
                  </a:lnTo>
                  <a:lnTo>
                    <a:pt x="895" y="451"/>
                  </a:lnTo>
                  <a:lnTo>
                    <a:pt x="893" y="452"/>
                  </a:lnTo>
                  <a:lnTo>
                    <a:pt x="891" y="454"/>
                  </a:lnTo>
                  <a:lnTo>
                    <a:pt x="893" y="454"/>
                  </a:lnTo>
                  <a:lnTo>
                    <a:pt x="894" y="455"/>
                  </a:lnTo>
                  <a:lnTo>
                    <a:pt x="894" y="458"/>
                  </a:lnTo>
                  <a:lnTo>
                    <a:pt x="891" y="458"/>
                  </a:lnTo>
                  <a:lnTo>
                    <a:pt x="888" y="460"/>
                  </a:lnTo>
                  <a:lnTo>
                    <a:pt x="887" y="460"/>
                  </a:lnTo>
                  <a:lnTo>
                    <a:pt x="880" y="457"/>
                  </a:lnTo>
                  <a:lnTo>
                    <a:pt x="875" y="457"/>
                  </a:lnTo>
                  <a:lnTo>
                    <a:pt x="873" y="455"/>
                  </a:lnTo>
                  <a:lnTo>
                    <a:pt x="865" y="455"/>
                  </a:lnTo>
                  <a:lnTo>
                    <a:pt x="861" y="455"/>
                  </a:lnTo>
                  <a:lnTo>
                    <a:pt x="857" y="458"/>
                  </a:lnTo>
                  <a:lnTo>
                    <a:pt x="854" y="458"/>
                  </a:lnTo>
                  <a:lnTo>
                    <a:pt x="854" y="458"/>
                  </a:lnTo>
                  <a:lnTo>
                    <a:pt x="855" y="455"/>
                  </a:lnTo>
                  <a:lnTo>
                    <a:pt x="854" y="454"/>
                  </a:lnTo>
                  <a:lnTo>
                    <a:pt x="854" y="454"/>
                  </a:lnTo>
                  <a:lnTo>
                    <a:pt x="853" y="457"/>
                  </a:lnTo>
                  <a:lnTo>
                    <a:pt x="850" y="462"/>
                  </a:lnTo>
                  <a:lnTo>
                    <a:pt x="847" y="464"/>
                  </a:lnTo>
                  <a:lnTo>
                    <a:pt x="841" y="467"/>
                  </a:lnTo>
                  <a:lnTo>
                    <a:pt x="832" y="468"/>
                  </a:lnTo>
                  <a:lnTo>
                    <a:pt x="831" y="471"/>
                  </a:lnTo>
                  <a:lnTo>
                    <a:pt x="827" y="478"/>
                  </a:lnTo>
                  <a:lnTo>
                    <a:pt x="824" y="481"/>
                  </a:lnTo>
                  <a:lnTo>
                    <a:pt x="822" y="481"/>
                  </a:lnTo>
                  <a:lnTo>
                    <a:pt x="822" y="480"/>
                  </a:lnTo>
                  <a:lnTo>
                    <a:pt x="828" y="470"/>
                  </a:lnTo>
                  <a:lnTo>
                    <a:pt x="831" y="465"/>
                  </a:lnTo>
                  <a:lnTo>
                    <a:pt x="832" y="464"/>
                  </a:lnTo>
                  <a:lnTo>
                    <a:pt x="828" y="464"/>
                  </a:lnTo>
                  <a:lnTo>
                    <a:pt x="824" y="464"/>
                  </a:lnTo>
                  <a:lnTo>
                    <a:pt x="820" y="465"/>
                  </a:lnTo>
                  <a:lnTo>
                    <a:pt x="817" y="468"/>
                  </a:lnTo>
                  <a:lnTo>
                    <a:pt x="817" y="470"/>
                  </a:lnTo>
                  <a:lnTo>
                    <a:pt x="817" y="473"/>
                  </a:lnTo>
                  <a:lnTo>
                    <a:pt x="821" y="474"/>
                  </a:lnTo>
                  <a:lnTo>
                    <a:pt x="822" y="474"/>
                  </a:lnTo>
                  <a:lnTo>
                    <a:pt x="822" y="475"/>
                  </a:lnTo>
                  <a:lnTo>
                    <a:pt x="821" y="477"/>
                  </a:lnTo>
                  <a:lnTo>
                    <a:pt x="815" y="478"/>
                  </a:lnTo>
                  <a:lnTo>
                    <a:pt x="814" y="480"/>
                  </a:lnTo>
                  <a:lnTo>
                    <a:pt x="814" y="483"/>
                  </a:lnTo>
                  <a:lnTo>
                    <a:pt x="811" y="484"/>
                  </a:lnTo>
                  <a:lnTo>
                    <a:pt x="810" y="485"/>
                  </a:lnTo>
                  <a:lnTo>
                    <a:pt x="810" y="490"/>
                  </a:lnTo>
                  <a:lnTo>
                    <a:pt x="810" y="493"/>
                  </a:lnTo>
                  <a:lnTo>
                    <a:pt x="807" y="497"/>
                  </a:lnTo>
                  <a:lnTo>
                    <a:pt x="807" y="500"/>
                  </a:lnTo>
                  <a:lnTo>
                    <a:pt x="807" y="500"/>
                  </a:lnTo>
                  <a:lnTo>
                    <a:pt x="811" y="493"/>
                  </a:lnTo>
                  <a:lnTo>
                    <a:pt x="814" y="487"/>
                  </a:lnTo>
                  <a:lnTo>
                    <a:pt x="818" y="484"/>
                  </a:lnTo>
                  <a:lnTo>
                    <a:pt x="818" y="487"/>
                  </a:lnTo>
                  <a:lnTo>
                    <a:pt x="820" y="487"/>
                  </a:lnTo>
                  <a:lnTo>
                    <a:pt x="814" y="495"/>
                  </a:lnTo>
                  <a:lnTo>
                    <a:pt x="807" y="504"/>
                  </a:lnTo>
                  <a:lnTo>
                    <a:pt x="804" y="510"/>
                  </a:lnTo>
                  <a:lnTo>
                    <a:pt x="804" y="513"/>
                  </a:lnTo>
                  <a:lnTo>
                    <a:pt x="804" y="515"/>
                  </a:lnTo>
                  <a:lnTo>
                    <a:pt x="801" y="515"/>
                  </a:lnTo>
                  <a:lnTo>
                    <a:pt x="798" y="518"/>
                  </a:lnTo>
                  <a:lnTo>
                    <a:pt x="795" y="518"/>
                  </a:lnTo>
                  <a:lnTo>
                    <a:pt x="792" y="518"/>
                  </a:lnTo>
                  <a:lnTo>
                    <a:pt x="790" y="520"/>
                  </a:lnTo>
                  <a:lnTo>
                    <a:pt x="785" y="528"/>
                  </a:lnTo>
                  <a:lnTo>
                    <a:pt x="779" y="537"/>
                  </a:lnTo>
                  <a:lnTo>
                    <a:pt x="778" y="554"/>
                  </a:lnTo>
                  <a:lnTo>
                    <a:pt x="778" y="573"/>
                  </a:lnTo>
                  <a:lnTo>
                    <a:pt x="777" y="573"/>
                  </a:lnTo>
                  <a:lnTo>
                    <a:pt x="775" y="573"/>
                  </a:lnTo>
                  <a:lnTo>
                    <a:pt x="772" y="573"/>
                  </a:lnTo>
                  <a:lnTo>
                    <a:pt x="769" y="574"/>
                  </a:lnTo>
                  <a:lnTo>
                    <a:pt x="769" y="574"/>
                  </a:lnTo>
                  <a:lnTo>
                    <a:pt x="772" y="576"/>
                  </a:lnTo>
                  <a:lnTo>
                    <a:pt x="777" y="578"/>
                  </a:lnTo>
                  <a:lnTo>
                    <a:pt x="777" y="581"/>
                  </a:lnTo>
                  <a:lnTo>
                    <a:pt x="775" y="583"/>
                  </a:lnTo>
                  <a:lnTo>
                    <a:pt x="775" y="583"/>
                  </a:lnTo>
                  <a:lnTo>
                    <a:pt x="777" y="590"/>
                  </a:lnTo>
                  <a:lnTo>
                    <a:pt x="777" y="596"/>
                  </a:lnTo>
                  <a:lnTo>
                    <a:pt x="774" y="600"/>
                  </a:lnTo>
                  <a:lnTo>
                    <a:pt x="772" y="603"/>
                  </a:lnTo>
                  <a:lnTo>
                    <a:pt x="772" y="609"/>
                  </a:lnTo>
                  <a:lnTo>
                    <a:pt x="771" y="610"/>
                  </a:lnTo>
                  <a:lnTo>
                    <a:pt x="769" y="611"/>
                  </a:lnTo>
                  <a:lnTo>
                    <a:pt x="772" y="614"/>
                  </a:lnTo>
                  <a:lnTo>
                    <a:pt x="774" y="620"/>
                  </a:lnTo>
                  <a:lnTo>
                    <a:pt x="774" y="626"/>
                  </a:lnTo>
                  <a:lnTo>
                    <a:pt x="771" y="630"/>
                  </a:lnTo>
                  <a:lnTo>
                    <a:pt x="765" y="634"/>
                  </a:lnTo>
                  <a:lnTo>
                    <a:pt x="761" y="634"/>
                  </a:lnTo>
                  <a:lnTo>
                    <a:pt x="759" y="633"/>
                  </a:lnTo>
                  <a:lnTo>
                    <a:pt x="758" y="631"/>
                  </a:lnTo>
                  <a:lnTo>
                    <a:pt x="757" y="633"/>
                  </a:lnTo>
                  <a:lnTo>
                    <a:pt x="758" y="637"/>
                  </a:lnTo>
                  <a:lnTo>
                    <a:pt x="762" y="639"/>
                  </a:lnTo>
                  <a:lnTo>
                    <a:pt x="767" y="639"/>
                  </a:lnTo>
                  <a:lnTo>
                    <a:pt x="769" y="640"/>
                  </a:lnTo>
                  <a:lnTo>
                    <a:pt x="771" y="642"/>
                  </a:lnTo>
                  <a:lnTo>
                    <a:pt x="769" y="649"/>
                  </a:lnTo>
                  <a:lnTo>
                    <a:pt x="769" y="652"/>
                  </a:lnTo>
                  <a:lnTo>
                    <a:pt x="772" y="656"/>
                  </a:lnTo>
                  <a:lnTo>
                    <a:pt x="774" y="663"/>
                  </a:lnTo>
                  <a:lnTo>
                    <a:pt x="779" y="673"/>
                  </a:lnTo>
                  <a:lnTo>
                    <a:pt x="779" y="679"/>
                  </a:lnTo>
                  <a:lnTo>
                    <a:pt x="782" y="679"/>
                  </a:lnTo>
                  <a:lnTo>
                    <a:pt x="787" y="683"/>
                  </a:lnTo>
                  <a:lnTo>
                    <a:pt x="788" y="687"/>
                  </a:lnTo>
                  <a:lnTo>
                    <a:pt x="788" y="692"/>
                  </a:lnTo>
                  <a:lnTo>
                    <a:pt x="788" y="694"/>
                  </a:lnTo>
                  <a:lnTo>
                    <a:pt x="791" y="700"/>
                  </a:lnTo>
                  <a:lnTo>
                    <a:pt x="792" y="705"/>
                  </a:lnTo>
                  <a:lnTo>
                    <a:pt x="795" y="719"/>
                  </a:lnTo>
                  <a:lnTo>
                    <a:pt x="797" y="725"/>
                  </a:lnTo>
                  <a:lnTo>
                    <a:pt x="798" y="727"/>
                  </a:lnTo>
                  <a:lnTo>
                    <a:pt x="801" y="733"/>
                  </a:lnTo>
                  <a:lnTo>
                    <a:pt x="801" y="737"/>
                  </a:lnTo>
                  <a:lnTo>
                    <a:pt x="801" y="745"/>
                  </a:lnTo>
                  <a:lnTo>
                    <a:pt x="800" y="749"/>
                  </a:lnTo>
                  <a:lnTo>
                    <a:pt x="795" y="750"/>
                  </a:lnTo>
                  <a:lnTo>
                    <a:pt x="788" y="747"/>
                  </a:lnTo>
                  <a:lnTo>
                    <a:pt x="784" y="745"/>
                  </a:lnTo>
                  <a:lnTo>
                    <a:pt x="779" y="739"/>
                  </a:lnTo>
                  <a:lnTo>
                    <a:pt x="772" y="730"/>
                  </a:lnTo>
                  <a:lnTo>
                    <a:pt x="768" y="725"/>
                  </a:lnTo>
                  <a:lnTo>
                    <a:pt x="762" y="722"/>
                  </a:lnTo>
                  <a:lnTo>
                    <a:pt x="759" y="717"/>
                  </a:lnTo>
                  <a:lnTo>
                    <a:pt x="755" y="710"/>
                  </a:lnTo>
                  <a:lnTo>
                    <a:pt x="754" y="706"/>
                  </a:lnTo>
                  <a:lnTo>
                    <a:pt x="734" y="694"/>
                  </a:lnTo>
                  <a:lnTo>
                    <a:pt x="732" y="694"/>
                  </a:lnTo>
                  <a:lnTo>
                    <a:pt x="726" y="694"/>
                  </a:lnTo>
                  <a:lnTo>
                    <a:pt x="725" y="694"/>
                  </a:lnTo>
                  <a:lnTo>
                    <a:pt x="725" y="690"/>
                  </a:lnTo>
                  <a:lnTo>
                    <a:pt x="728" y="689"/>
                  </a:lnTo>
                  <a:lnTo>
                    <a:pt x="728" y="686"/>
                  </a:lnTo>
                  <a:lnTo>
                    <a:pt x="728" y="684"/>
                  </a:lnTo>
                  <a:lnTo>
                    <a:pt x="726" y="683"/>
                  </a:lnTo>
                  <a:lnTo>
                    <a:pt x="726" y="682"/>
                  </a:lnTo>
                  <a:lnTo>
                    <a:pt x="724" y="680"/>
                  </a:lnTo>
                  <a:lnTo>
                    <a:pt x="722" y="680"/>
                  </a:lnTo>
                  <a:lnTo>
                    <a:pt x="721" y="679"/>
                  </a:lnTo>
                  <a:lnTo>
                    <a:pt x="719" y="676"/>
                  </a:lnTo>
                  <a:lnTo>
                    <a:pt x="718" y="677"/>
                  </a:lnTo>
                  <a:lnTo>
                    <a:pt x="718" y="680"/>
                  </a:lnTo>
                  <a:lnTo>
                    <a:pt x="714" y="684"/>
                  </a:lnTo>
                  <a:lnTo>
                    <a:pt x="712" y="687"/>
                  </a:lnTo>
                  <a:lnTo>
                    <a:pt x="712" y="690"/>
                  </a:lnTo>
                  <a:lnTo>
                    <a:pt x="716" y="687"/>
                  </a:lnTo>
                  <a:lnTo>
                    <a:pt x="715" y="692"/>
                  </a:lnTo>
                  <a:lnTo>
                    <a:pt x="712" y="696"/>
                  </a:lnTo>
                  <a:lnTo>
                    <a:pt x="709" y="697"/>
                  </a:lnTo>
                  <a:lnTo>
                    <a:pt x="706" y="697"/>
                  </a:lnTo>
                  <a:lnTo>
                    <a:pt x="705" y="700"/>
                  </a:lnTo>
                  <a:lnTo>
                    <a:pt x="706" y="705"/>
                  </a:lnTo>
                  <a:lnTo>
                    <a:pt x="711" y="709"/>
                  </a:lnTo>
                  <a:lnTo>
                    <a:pt x="716" y="713"/>
                  </a:lnTo>
                  <a:lnTo>
                    <a:pt x="719" y="716"/>
                  </a:lnTo>
                  <a:lnTo>
                    <a:pt x="718" y="727"/>
                  </a:lnTo>
                  <a:lnTo>
                    <a:pt x="718" y="732"/>
                  </a:lnTo>
                  <a:lnTo>
                    <a:pt x="722" y="739"/>
                  </a:lnTo>
                  <a:lnTo>
                    <a:pt x="722" y="743"/>
                  </a:lnTo>
                  <a:lnTo>
                    <a:pt x="721" y="752"/>
                  </a:lnTo>
                  <a:lnTo>
                    <a:pt x="718" y="760"/>
                  </a:lnTo>
                  <a:lnTo>
                    <a:pt x="715" y="760"/>
                  </a:lnTo>
                  <a:lnTo>
                    <a:pt x="711" y="759"/>
                  </a:lnTo>
                  <a:lnTo>
                    <a:pt x="708" y="756"/>
                  </a:lnTo>
                  <a:lnTo>
                    <a:pt x="706" y="753"/>
                  </a:lnTo>
                  <a:lnTo>
                    <a:pt x="706" y="755"/>
                  </a:lnTo>
                  <a:lnTo>
                    <a:pt x="706" y="759"/>
                  </a:lnTo>
                  <a:lnTo>
                    <a:pt x="711" y="762"/>
                  </a:lnTo>
                  <a:lnTo>
                    <a:pt x="716" y="766"/>
                  </a:lnTo>
                  <a:lnTo>
                    <a:pt x="718" y="769"/>
                  </a:lnTo>
                  <a:lnTo>
                    <a:pt x="718" y="773"/>
                  </a:lnTo>
                  <a:lnTo>
                    <a:pt x="719" y="782"/>
                  </a:lnTo>
                  <a:lnTo>
                    <a:pt x="721" y="789"/>
                  </a:lnTo>
                  <a:lnTo>
                    <a:pt x="721" y="790"/>
                  </a:lnTo>
                  <a:lnTo>
                    <a:pt x="716" y="792"/>
                  </a:lnTo>
                  <a:lnTo>
                    <a:pt x="714" y="790"/>
                  </a:lnTo>
                  <a:lnTo>
                    <a:pt x="714" y="788"/>
                  </a:lnTo>
                  <a:lnTo>
                    <a:pt x="712" y="785"/>
                  </a:lnTo>
                  <a:lnTo>
                    <a:pt x="711" y="785"/>
                  </a:lnTo>
                  <a:lnTo>
                    <a:pt x="709" y="789"/>
                  </a:lnTo>
                  <a:lnTo>
                    <a:pt x="709" y="790"/>
                  </a:lnTo>
                  <a:lnTo>
                    <a:pt x="714" y="795"/>
                  </a:lnTo>
                  <a:lnTo>
                    <a:pt x="715" y="796"/>
                  </a:lnTo>
                  <a:lnTo>
                    <a:pt x="711" y="798"/>
                  </a:lnTo>
                  <a:lnTo>
                    <a:pt x="709" y="800"/>
                  </a:lnTo>
                  <a:lnTo>
                    <a:pt x="714" y="803"/>
                  </a:lnTo>
                  <a:lnTo>
                    <a:pt x="716" y="805"/>
                  </a:lnTo>
                  <a:lnTo>
                    <a:pt x="716" y="800"/>
                  </a:lnTo>
                  <a:lnTo>
                    <a:pt x="716" y="796"/>
                  </a:lnTo>
                  <a:lnTo>
                    <a:pt x="719" y="795"/>
                  </a:lnTo>
                  <a:lnTo>
                    <a:pt x="724" y="798"/>
                  </a:lnTo>
                  <a:lnTo>
                    <a:pt x="726" y="798"/>
                  </a:lnTo>
                  <a:lnTo>
                    <a:pt x="731" y="796"/>
                  </a:lnTo>
                  <a:lnTo>
                    <a:pt x="732" y="795"/>
                  </a:lnTo>
                  <a:lnTo>
                    <a:pt x="734" y="799"/>
                  </a:lnTo>
                  <a:lnTo>
                    <a:pt x="735" y="803"/>
                  </a:lnTo>
                  <a:lnTo>
                    <a:pt x="738" y="811"/>
                  </a:lnTo>
                  <a:lnTo>
                    <a:pt x="741" y="819"/>
                  </a:lnTo>
                  <a:lnTo>
                    <a:pt x="744" y="826"/>
                  </a:lnTo>
                  <a:lnTo>
                    <a:pt x="744" y="832"/>
                  </a:lnTo>
                  <a:lnTo>
                    <a:pt x="744" y="836"/>
                  </a:lnTo>
                  <a:lnTo>
                    <a:pt x="744" y="841"/>
                  </a:lnTo>
                  <a:lnTo>
                    <a:pt x="741" y="843"/>
                  </a:lnTo>
                  <a:lnTo>
                    <a:pt x="737" y="842"/>
                  </a:lnTo>
                  <a:lnTo>
                    <a:pt x="731" y="839"/>
                  </a:lnTo>
                  <a:lnTo>
                    <a:pt x="722" y="835"/>
                  </a:lnTo>
                  <a:lnTo>
                    <a:pt x="715" y="833"/>
                  </a:lnTo>
                  <a:lnTo>
                    <a:pt x="708" y="832"/>
                  </a:lnTo>
                  <a:lnTo>
                    <a:pt x="705" y="832"/>
                  </a:lnTo>
                  <a:lnTo>
                    <a:pt x="702" y="833"/>
                  </a:lnTo>
                  <a:lnTo>
                    <a:pt x="698" y="836"/>
                  </a:lnTo>
                  <a:lnTo>
                    <a:pt x="695" y="836"/>
                  </a:lnTo>
                  <a:lnTo>
                    <a:pt x="689" y="836"/>
                  </a:lnTo>
                  <a:lnTo>
                    <a:pt x="685" y="839"/>
                  </a:lnTo>
                  <a:lnTo>
                    <a:pt x="684" y="843"/>
                  </a:lnTo>
                  <a:lnTo>
                    <a:pt x="685" y="846"/>
                  </a:lnTo>
                  <a:lnTo>
                    <a:pt x="685" y="849"/>
                  </a:lnTo>
                  <a:lnTo>
                    <a:pt x="684" y="849"/>
                  </a:lnTo>
                  <a:lnTo>
                    <a:pt x="682" y="851"/>
                  </a:lnTo>
                  <a:lnTo>
                    <a:pt x="682" y="852"/>
                  </a:lnTo>
                  <a:lnTo>
                    <a:pt x="685" y="855"/>
                  </a:lnTo>
                  <a:lnTo>
                    <a:pt x="689" y="856"/>
                  </a:lnTo>
                  <a:lnTo>
                    <a:pt x="692" y="856"/>
                  </a:lnTo>
                  <a:lnTo>
                    <a:pt x="692" y="858"/>
                  </a:lnTo>
                  <a:lnTo>
                    <a:pt x="692" y="863"/>
                  </a:lnTo>
                  <a:lnTo>
                    <a:pt x="691" y="868"/>
                  </a:lnTo>
                  <a:lnTo>
                    <a:pt x="692" y="874"/>
                  </a:lnTo>
                  <a:lnTo>
                    <a:pt x="695" y="878"/>
                  </a:lnTo>
                  <a:lnTo>
                    <a:pt x="698" y="879"/>
                  </a:lnTo>
                  <a:lnTo>
                    <a:pt x="701" y="878"/>
                  </a:lnTo>
                  <a:lnTo>
                    <a:pt x="704" y="875"/>
                  </a:lnTo>
                  <a:lnTo>
                    <a:pt x="706" y="876"/>
                  </a:lnTo>
                  <a:lnTo>
                    <a:pt x="706" y="878"/>
                  </a:lnTo>
                  <a:lnTo>
                    <a:pt x="705" y="881"/>
                  </a:lnTo>
                  <a:lnTo>
                    <a:pt x="701" y="881"/>
                  </a:lnTo>
                  <a:lnTo>
                    <a:pt x="699" y="884"/>
                  </a:lnTo>
                  <a:lnTo>
                    <a:pt x="698" y="885"/>
                  </a:lnTo>
                  <a:lnTo>
                    <a:pt x="695" y="885"/>
                  </a:lnTo>
                  <a:lnTo>
                    <a:pt x="692" y="885"/>
                  </a:lnTo>
                  <a:lnTo>
                    <a:pt x="694" y="879"/>
                  </a:lnTo>
                  <a:lnTo>
                    <a:pt x="691" y="876"/>
                  </a:lnTo>
                  <a:lnTo>
                    <a:pt x="686" y="874"/>
                  </a:lnTo>
                  <a:lnTo>
                    <a:pt x="682" y="871"/>
                  </a:lnTo>
                  <a:lnTo>
                    <a:pt x="679" y="875"/>
                  </a:lnTo>
                  <a:lnTo>
                    <a:pt x="676" y="876"/>
                  </a:lnTo>
                  <a:lnTo>
                    <a:pt x="668" y="882"/>
                  </a:lnTo>
                  <a:lnTo>
                    <a:pt x="665" y="888"/>
                  </a:lnTo>
                  <a:lnTo>
                    <a:pt x="663" y="892"/>
                  </a:lnTo>
                  <a:lnTo>
                    <a:pt x="659" y="899"/>
                  </a:lnTo>
                  <a:lnTo>
                    <a:pt x="659" y="901"/>
                  </a:lnTo>
                  <a:lnTo>
                    <a:pt x="662" y="902"/>
                  </a:lnTo>
                  <a:lnTo>
                    <a:pt x="666" y="902"/>
                  </a:lnTo>
                  <a:lnTo>
                    <a:pt x="671" y="899"/>
                  </a:lnTo>
                  <a:lnTo>
                    <a:pt x="669" y="898"/>
                  </a:lnTo>
                  <a:lnTo>
                    <a:pt x="669" y="898"/>
                  </a:lnTo>
                  <a:lnTo>
                    <a:pt x="668" y="895"/>
                  </a:lnTo>
                  <a:lnTo>
                    <a:pt x="669" y="892"/>
                  </a:lnTo>
                  <a:lnTo>
                    <a:pt x="671" y="891"/>
                  </a:lnTo>
                  <a:lnTo>
                    <a:pt x="674" y="896"/>
                  </a:lnTo>
                  <a:lnTo>
                    <a:pt x="676" y="905"/>
                  </a:lnTo>
                  <a:lnTo>
                    <a:pt x="679" y="899"/>
                  </a:lnTo>
                  <a:lnTo>
                    <a:pt x="681" y="906"/>
                  </a:lnTo>
                  <a:lnTo>
                    <a:pt x="681" y="909"/>
                  </a:lnTo>
                  <a:lnTo>
                    <a:pt x="675" y="912"/>
                  </a:lnTo>
                  <a:lnTo>
                    <a:pt x="672" y="915"/>
                  </a:lnTo>
                  <a:lnTo>
                    <a:pt x="668" y="924"/>
                  </a:lnTo>
                  <a:lnTo>
                    <a:pt x="669" y="927"/>
                  </a:lnTo>
                  <a:lnTo>
                    <a:pt x="672" y="934"/>
                  </a:lnTo>
                  <a:lnTo>
                    <a:pt x="674" y="937"/>
                  </a:lnTo>
                  <a:lnTo>
                    <a:pt x="679" y="941"/>
                  </a:lnTo>
                  <a:lnTo>
                    <a:pt x="685" y="947"/>
                  </a:lnTo>
                  <a:lnTo>
                    <a:pt x="694" y="948"/>
                  </a:lnTo>
                  <a:lnTo>
                    <a:pt x="698" y="952"/>
                  </a:lnTo>
                  <a:lnTo>
                    <a:pt x="701" y="958"/>
                  </a:lnTo>
                  <a:lnTo>
                    <a:pt x="699" y="961"/>
                  </a:lnTo>
                  <a:lnTo>
                    <a:pt x="696" y="964"/>
                  </a:lnTo>
                  <a:lnTo>
                    <a:pt x="695" y="969"/>
                  </a:lnTo>
                  <a:lnTo>
                    <a:pt x="694" y="972"/>
                  </a:lnTo>
                  <a:lnTo>
                    <a:pt x="699" y="974"/>
                  </a:lnTo>
                  <a:lnTo>
                    <a:pt x="701" y="975"/>
                  </a:lnTo>
                  <a:lnTo>
                    <a:pt x="699" y="978"/>
                  </a:lnTo>
                  <a:lnTo>
                    <a:pt x="704" y="978"/>
                  </a:lnTo>
                  <a:lnTo>
                    <a:pt x="714" y="978"/>
                  </a:lnTo>
                  <a:lnTo>
                    <a:pt x="725" y="978"/>
                  </a:lnTo>
                  <a:lnTo>
                    <a:pt x="731" y="981"/>
                  </a:lnTo>
                  <a:lnTo>
                    <a:pt x="738" y="984"/>
                  </a:lnTo>
                  <a:lnTo>
                    <a:pt x="744" y="990"/>
                  </a:lnTo>
                  <a:lnTo>
                    <a:pt x="745" y="994"/>
                  </a:lnTo>
                  <a:lnTo>
                    <a:pt x="745" y="998"/>
                  </a:lnTo>
                  <a:lnTo>
                    <a:pt x="745" y="1000"/>
                  </a:lnTo>
                  <a:lnTo>
                    <a:pt x="744" y="1000"/>
                  </a:lnTo>
                  <a:lnTo>
                    <a:pt x="741" y="997"/>
                  </a:lnTo>
                  <a:lnTo>
                    <a:pt x="742" y="992"/>
                  </a:lnTo>
                  <a:lnTo>
                    <a:pt x="739" y="991"/>
                  </a:lnTo>
                  <a:lnTo>
                    <a:pt x="738" y="991"/>
                  </a:lnTo>
                  <a:lnTo>
                    <a:pt x="737" y="994"/>
                  </a:lnTo>
                  <a:lnTo>
                    <a:pt x="735" y="998"/>
                  </a:lnTo>
                  <a:lnTo>
                    <a:pt x="732" y="1001"/>
                  </a:lnTo>
                  <a:lnTo>
                    <a:pt x="732" y="1007"/>
                  </a:lnTo>
                  <a:lnTo>
                    <a:pt x="732" y="1011"/>
                  </a:lnTo>
                  <a:lnTo>
                    <a:pt x="737" y="1012"/>
                  </a:lnTo>
                  <a:lnTo>
                    <a:pt x="739" y="1015"/>
                  </a:lnTo>
                  <a:lnTo>
                    <a:pt x="738" y="1018"/>
                  </a:lnTo>
                  <a:lnTo>
                    <a:pt x="742" y="1017"/>
                  </a:lnTo>
                  <a:lnTo>
                    <a:pt x="745" y="1014"/>
                  </a:lnTo>
                  <a:lnTo>
                    <a:pt x="749" y="1012"/>
                  </a:lnTo>
                  <a:lnTo>
                    <a:pt x="752" y="1011"/>
                  </a:lnTo>
                  <a:lnTo>
                    <a:pt x="757" y="1011"/>
                  </a:lnTo>
                  <a:lnTo>
                    <a:pt x="761" y="1012"/>
                  </a:lnTo>
                  <a:lnTo>
                    <a:pt x="767" y="1014"/>
                  </a:lnTo>
                  <a:lnTo>
                    <a:pt x="768" y="1021"/>
                  </a:lnTo>
                  <a:lnTo>
                    <a:pt x="767" y="1025"/>
                  </a:lnTo>
                  <a:lnTo>
                    <a:pt x="765" y="1025"/>
                  </a:lnTo>
                  <a:lnTo>
                    <a:pt x="765" y="1021"/>
                  </a:lnTo>
                  <a:lnTo>
                    <a:pt x="762" y="1017"/>
                  </a:lnTo>
                  <a:lnTo>
                    <a:pt x="759" y="1015"/>
                  </a:lnTo>
                  <a:lnTo>
                    <a:pt x="757" y="1017"/>
                  </a:lnTo>
                  <a:lnTo>
                    <a:pt x="752" y="1018"/>
                  </a:lnTo>
                  <a:lnTo>
                    <a:pt x="748" y="1020"/>
                  </a:lnTo>
                  <a:lnTo>
                    <a:pt x="744" y="1024"/>
                  </a:lnTo>
                  <a:lnTo>
                    <a:pt x="739" y="1025"/>
                  </a:lnTo>
                  <a:lnTo>
                    <a:pt x="742" y="1030"/>
                  </a:lnTo>
                  <a:lnTo>
                    <a:pt x="744" y="1031"/>
                  </a:lnTo>
                  <a:lnTo>
                    <a:pt x="739" y="1034"/>
                  </a:lnTo>
                  <a:lnTo>
                    <a:pt x="741" y="1035"/>
                  </a:lnTo>
                  <a:lnTo>
                    <a:pt x="749" y="1037"/>
                  </a:lnTo>
                  <a:lnTo>
                    <a:pt x="758" y="1037"/>
                  </a:lnTo>
                  <a:lnTo>
                    <a:pt x="762" y="1035"/>
                  </a:lnTo>
                  <a:lnTo>
                    <a:pt x="762" y="1031"/>
                  </a:lnTo>
                  <a:lnTo>
                    <a:pt x="765" y="1031"/>
                  </a:lnTo>
                  <a:lnTo>
                    <a:pt x="767" y="1035"/>
                  </a:lnTo>
                  <a:lnTo>
                    <a:pt x="769" y="1040"/>
                  </a:lnTo>
                  <a:lnTo>
                    <a:pt x="769" y="1045"/>
                  </a:lnTo>
                  <a:lnTo>
                    <a:pt x="769" y="1048"/>
                  </a:lnTo>
                  <a:lnTo>
                    <a:pt x="768" y="1053"/>
                  </a:lnTo>
                  <a:lnTo>
                    <a:pt x="767" y="1053"/>
                  </a:lnTo>
                  <a:lnTo>
                    <a:pt x="767" y="1050"/>
                  </a:lnTo>
                  <a:lnTo>
                    <a:pt x="768" y="1045"/>
                  </a:lnTo>
                  <a:lnTo>
                    <a:pt x="764" y="1045"/>
                  </a:lnTo>
                  <a:lnTo>
                    <a:pt x="761" y="1047"/>
                  </a:lnTo>
                  <a:lnTo>
                    <a:pt x="761" y="1050"/>
                  </a:lnTo>
                  <a:lnTo>
                    <a:pt x="764" y="1051"/>
                  </a:lnTo>
                  <a:lnTo>
                    <a:pt x="764" y="1055"/>
                  </a:lnTo>
                  <a:lnTo>
                    <a:pt x="762" y="1060"/>
                  </a:lnTo>
                  <a:lnTo>
                    <a:pt x="767" y="1061"/>
                  </a:lnTo>
                  <a:lnTo>
                    <a:pt x="767" y="1065"/>
                  </a:lnTo>
                  <a:lnTo>
                    <a:pt x="764" y="1070"/>
                  </a:lnTo>
                  <a:lnTo>
                    <a:pt x="762" y="1073"/>
                  </a:lnTo>
                  <a:lnTo>
                    <a:pt x="765" y="1075"/>
                  </a:lnTo>
                  <a:lnTo>
                    <a:pt x="768" y="1075"/>
                  </a:lnTo>
                  <a:lnTo>
                    <a:pt x="769" y="1074"/>
                  </a:lnTo>
                  <a:lnTo>
                    <a:pt x="769" y="1071"/>
                  </a:lnTo>
                  <a:lnTo>
                    <a:pt x="771" y="1065"/>
                  </a:lnTo>
                  <a:lnTo>
                    <a:pt x="774" y="1067"/>
                  </a:lnTo>
                  <a:lnTo>
                    <a:pt x="774" y="1075"/>
                  </a:lnTo>
                  <a:lnTo>
                    <a:pt x="771" y="1088"/>
                  </a:lnTo>
                  <a:lnTo>
                    <a:pt x="772" y="1097"/>
                  </a:lnTo>
                  <a:lnTo>
                    <a:pt x="777" y="1108"/>
                  </a:lnTo>
                  <a:lnTo>
                    <a:pt x="782" y="1121"/>
                  </a:lnTo>
                  <a:lnTo>
                    <a:pt x="788" y="1127"/>
                  </a:lnTo>
                  <a:lnTo>
                    <a:pt x="797" y="1150"/>
                  </a:lnTo>
                  <a:lnTo>
                    <a:pt x="805" y="1164"/>
                  </a:lnTo>
                  <a:lnTo>
                    <a:pt x="814" y="1173"/>
                  </a:lnTo>
                  <a:lnTo>
                    <a:pt x="821" y="1183"/>
                  </a:lnTo>
                  <a:lnTo>
                    <a:pt x="830" y="1193"/>
                  </a:lnTo>
                  <a:lnTo>
                    <a:pt x="837" y="1200"/>
                  </a:lnTo>
                  <a:lnTo>
                    <a:pt x="845" y="1203"/>
                  </a:lnTo>
                  <a:lnTo>
                    <a:pt x="858" y="1207"/>
                  </a:lnTo>
                  <a:lnTo>
                    <a:pt x="865" y="1207"/>
                  </a:lnTo>
                  <a:lnTo>
                    <a:pt x="875" y="1206"/>
                  </a:lnTo>
                  <a:lnTo>
                    <a:pt x="877" y="1206"/>
                  </a:lnTo>
                  <a:lnTo>
                    <a:pt x="880" y="1206"/>
                  </a:lnTo>
                  <a:lnTo>
                    <a:pt x="883" y="1204"/>
                  </a:lnTo>
                  <a:lnTo>
                    <a:pt x="887" y="1201"/>
                  </a:lnTo>
                  <a:lnTo>
                    <a:pt x="891" y="1196"/>
                  </a:lnTo>
                  <a:lnTo>
                    <a:pt x="893" y="1193"/>
                  </a:lnTo>
                  <a:lnTo>
                    <a:pt x="895" y="1194"/>
                  </a:lnTo>
                  <a:lnTo>
                    <a:pt x="898" y="1196"/>
                  </a:lnTo>
                  <a:lnTo>
                    <a:pt x="900" y="1201"/>
                  </a:lnTo>
                  <a:lnTo>
                    <a:pt x="900" y="1203"/>
                  </a:lnTo>
                  <a:lnTo>
                    <a:pt x="903" y="1207"/>
                  </a:lnTo>
                  <a:lnTo>
                    <a:pt x="904" y="1209"/>
                  </a:lnTo>
                  <a:lnTo>
                    <a:pt x="906" y="1207"/>
                  </a:lnTo>
                  <a:lnTo>
                    <a:pt x="906" y="1203"/>
                  </a:lnTo>
                  <a:lnTo>
                    <a:pt x="906" y="1201"/>
                  </a:lnTo>
                  <a:lnTo>
                    <a:pt x="904" y="1200"/>
                  </a:lnTo>
                  <a:lnTo>
                    <a:pt x="904" y="1199"/>
                  </a:lnTo>
                  <a:lnTo>
                    <a:pt x="903" y="1196"/>
                  </a:lnTo>
                  <a:lnTo>
                    <a:pt x="898" y="1191"/>
                  </a:lnTo>
                  <a:lnTo>
                    <a:pt x="895" y="1189"/>
                  </a:lnTo>
                  <a:lnTo>
                    <a:pt x="893" y="1186"/>
                  </a:lnTo>
                  <a:lnTo>
                    <a:pt x="891" y="1184"/>
                  </a:lnTo>
                  <a:lnTo>
                    <a:pt x="887" y="1184"/>
                  </a:lnTo>
                  <a:lnTo>
                    <a:pt x="884" y="1181"/>
                  </a:lnTo>
                  <a:lnTo>
                    <a:pt x="881" y="1177"/>
                  </a:lnTo>
                  <a:lnTo>
                    <a:pt x="880" y="1171"/>
                  </a:lnTo>
                  <a:lnTo>
                    <a:pt x="881" y="1169"/>
                  </a:lnTo>
                  <a:lnTo>
                    <a:pt x="881" y="1166"/>
                  </a:lnTo>
                  <a:lnTo>
                    <a:pt x="884" y="1163"/>
                  </a:lnTo>
                  <a:lnTo>
                    <a:pt x="884" y="1161"/>
                  </a:lnTo>
                  <a:lnTo>
                    <a:pt x="885" y="1157"/>
                  </a:lnTo>
                  <a:lnTo>
                    <a:pt x="893" y="1156"/>
                  </a:lnTo>
                  <a:lnTo>
                    <a:pt x="897" y="1153"/>
                  </a:lnTo>
                  <a:lnTo>
                    <a:pt x="907" y="1149"/>
                  </a:lnTo>
                  <a:lnTo>
                    <a:pt x="914" y="1147"/>
                  </a:lnTo>
                  <a:lnTo>
                    <a:pt x="920" y="1144"/>
                  </a:lnTo>
                  <a:lnTo>
                    <a:pt x="924" y="1140"/>
                  </a:lnTo>
                  <a:lnTo>
                    <a:pt x="926" y="1137"/>
                  </a:lnTo>
                  <a:lnTo>
                    <a:pt x="931" y="1136"/>
                  </a:lnTo>
                  <a:lnTo>
                    <a:pt x="934" y="1136"/>
                  </a:lnTo>
                  <a:lnTo>
                    <a:pt x="938" y="1137"/>
                  </a:lnTo>
                  <a:lnTo>
                    <a:pt x="941" y="1136"/>
                  </a:lnTo>
                  <a:lnTo>
                    <a:pt x="944" y="1136"/>
                  </a:lnTo>
                  <a:lnTo>
                    <a:pt x="947" y="1136"/>
                  </a:lnTo>
                  <a:lnTo>
                    <a:pt x="948" y="1141"/>
                  </a:lnTo>
                  <a:lnTo>
                    <a:pt x="950" y="1146"/>
                  </a:lnTo>
                  <a:lnTo>
                    <a:pt x="953" y="1147"/>
                  </a:lnTo>
                  <a:lnTo>
                    <a:pt x="957" y="1150"/>
                  </a:lnTo>
                  <a:lnTo>
                    <a:pt x="959" y="1153"/>
                  </a:lnTo>
                  <a:lnTo>
                    <a:pt x="959" y="1161"/>
                  </a:lnTo>
                  <a:lnTo>
                    <a:pt x="961" y="1166"/>
                  </a:lnTo>
                  <a:lnTo>
                    <a:pt x="966" y="1171"/>
                  </a:lnTo>
                  <a:lnTo>
                    <a:pt x="967" y="1177"/>
                  </a:lnTo>
                  <a:lnTo>
                    <a:pt x="964" y="1187"/>
                  </a:lnTo>
                  <a:lnTo>
                    <a:pt x="964" y="1196"/>
                  </a:lnTo>
                  <a:lnTo>
                    <a:pt x="966" y="1201"/>
                  </a:lnTo>
                  <a:lnTo>
                    <a:pt x="967" y="1204"/>
                  </a:lnTo>
                  <a:lnTo>
                    <a:pt x="971" y="1212"/>
                  </a:lnTo>
                  <a:lnTo>
                    <a:pt x="974" y="1214"/>
                  </a:lnTo>
                  <a:lnTo>
                    <a:pt x="976" y="1217"/>
                  </a:lnTo>
                  <a:lnTo>
                    <a:pt x="984" y="1222"/>
                  </a:lnTo>
                  <a:lnTo>
                    <a:pt x="991" y="1226"/>
                  </a:lnTo>
                  <a:lnTo>
                    <a:pt x="1001" y="1229"/>
                  </a:lnTo>
                  <a:lnTo>
                    <a:pt x="1010" y="1232"/>
                  </a:lnTo>
                  <a:lnTo>
                    <a:pt x="1014" y="1233"/>
                  </a:lnTo>
                  <a:lnTo>
                    <a:pt x="1017" y="1236"/>
                  </a:lnTo>
                  <a:lnTo>
                    <a:pt x="1026" y="1244"/>
                  </a:lnTo>
                  <a:lnTo>
                    <a:pt x="1029" y="1249"/>
                  </a:lnTo>
                  <a:lnTo>
                    <a:pt x="1036" y="1254"/>
                  </a:lnTo>
                  <a:lnTo>
                    <a:pt x="1043" y="1260"/>
                  </a:lnTo>
                  <a:lnTo>
                    <a:pt x="1047" y="1263"/>
                  </a:lnTo>
                  <a:lnTo>
                    <a:pt x="1053" y="1263"/>
                  </a:lnTo>
                  <a:lnTo>
                    <a:pt x="1057" y="1260"/>
                  </a:lnTo>
                  <a:lnTo>
                    <a:pt x="1063" y="1259"/>
                  </a:lnTo>
                  <a:lnTo>
                    <a:pt x="1063" y="1256"/>
                  </a:lnTo>
                  <a:lnTo>
                    <a:pt x="1063" y="1247"/>
                  </a:lnTo>
                  <a:lnTo>
                    <a:pt x="1064" y="1244"/>
                  </a:lnTo>
                  <a:lnTo>
                    <a:pt x="1067" y="1242"/>
                  </a:lnTo>
                  <a:lnTo>
                    <a:pt x="1070" y="1239"/>
                  </a:lnTo>
                  <a:lnTo>
                    <a:pt x="1070" y="1236"/>
                  </a:lnTo>
                  <a:lnTo>
                    <a:pt x="1072" y="1233"/>
                  </a:lnTo>
                  <a:lnTo>
                    <a:pt x="1075" y="1234"/>
                  </a:lnTo>
                  <a:lnTo>
                    <a:pt x="1076" y="1236"/>
                  </a:lnTo>
                  <a:lnTo>
                    <a:pt x="1080" y="1234"/>
                  </a:lnTo>
                  <a:lnTo>
                    <a:pt x="1083" y="1234"/>
                  </a:lnTo>
                  <a:lnTo>
                    <a:pt x="1085" y="1239"/>
                  </a:lnTo>
                  <a:lnTo>
                    <a:pt x="1087" y="1243"/>
                  </a:lnTo>
                  <a:lnTo>
                    <a:pt x="1089" y="1246"/>
                  </a:lnTo>
                  <a:lnTo>
                    <a:pt x="1093" y="1246"/>
                  </a:lnTo>
                  <a:lnTo>
                    <a:pt x="1096" y="1246"/>
                  </a:lnTo>
                  <a:lnTo>
                    <a:pt x="1099" y="1246"/>
                  </a:lnTo>
                  <a:lnTo>
                    <a:pt x="1100" y="1250"/>
                  </a:lnTo>
                  <a:lnTo>
                    <a:pt x="1105" y="1253"/>
                  </a:lnTo>
                  <a:lnTo>
                    <a:pt x="1110" y="1253"/>
                  </a:lnTo>
                  <a:lnTo>
                    <a:pt x="1113" y="1254"/>
                  </a:lnTo>
                  <a:lnTo>
                    <a:pt x="1112" y="1256"/>
                  </a:lnTo>
                  <a:lnTo>
                    <a:pt x="1112" y="1259"/>
                  </a:lnTo>
                  <a:lnTo>
                    <a:pt x="1112" y="1260"/>
                  </a:lnTo>
                  <a:lnTo>
                    <a:pt x="1115" y="1260"/>
                  </a:lnTo>
                  <a:lnTo>
                    <a:pt x="1116" y="1259"/>
                  </a:lnTo>
                  <a:lnTo>
                    <a:pt x="1120" y="1259"/>
                  </a:lnTo>
                  <a:lnTo>
                    <a:pt x="1125" y="1259"/>
                  </a:lnTo>
                  <a:lnTo>
                    <a:pt x="1126" y="1259"/>
                  </a:lnTo>
                  <a:lnTo>
                    <a:pt x="1132" y="1262"/>
                  </a:lnTo>
                  <a:lnTo>
                    <a:pt x="1136" y="1262"/>
                  </a:lnTo>
                  <a:lnTo>
                    <a:pt x="1140" y="1266"/>
                  </a:lnTo>
                  <a:lnTo>
                    <a:pt x="1142" y="1272"/>
                  </a:lnTo>
                  <a:lnTo>
                    <a:pt x="1149" y="1272"/>
                  </a:lnTo>
                  <a:lnTo>
                    <a:pt x="1152" y="1275"/>
                  </a:lnTo>
                  <a:lnTo>
                    <a:pt x="1155" y="1277"/>
                  </a:lnTo>
                  <a:lnTo>
                    <a:pt x="1153" y="1282"/>
                  </a:lnTo>
                  <a:lnTo>
                    <a:pt x="1152" y="1289"/>
                  </a:lnTo>
                  <a:lnTo>
                    <a:pt x="1152" y="1300"/>
                  </a:lnTo>
                  <a:lnTo>
                    <a:pt x="1155" y="1305"/>
                  </a:lnTo>
                  <a:lnTo>
                    <a:pt x="1158" y="1307"/>
                  </a:lnTo>
                  <a:lnTo>
                    <a:pt x="1160" y="1313"/>
                  </a:lnTo>
                  <a:lnTo>
                    <a:pt x="1160" y="1316"/>
                  </a:lnTo>
                  <a:lnTo>
                    <a:pt x="1159" y="1319"/>
                  </a:lnTo>
                  <a:lnTo>
                    <a:pt x="1153" y="1325"/>
                  </a:lnTo>
                  <a:lnTo>
                    <a:pt x="1148" y="1325"/>
                  </a:lnTo>
                  <a:lnTo>
                    <a:pt x="1142" y="1328"/>
                  </a:lnTo>
                  <a:lnTo>
                    <a:pt x="1136" y="1329"/>
                  </a:lnTo>
                  <a:lnTo>
                    <a:pt x="1132" y="1328"/>
                  </a:lnTo>
                  <a:lnTo>
                    <a:pt x="1126" y="1326"/>
                  </a:lnTo>
                  <a:lnTo>
                    <a:pt x="1122" y="1325"/>
                  </a:lnTo>
                  <a:lnTo>
                    <a:pt x="1119" y="1326"/>
                  </a:lnTo>
                  <a:lnTo>
                    <a:pt x="1116" y="1326"/>
                  </a:lnTo>
                  <a:lnTo>
                    <a:pt x="1113" y="1328"/>
                  </a:lnTo>
                  <a:lnTo>
                    <a:pt x="1110" y="1330"/>
                  </a:lnTo>
                  <a:lnTo>
                    <a:pt x="1107" y="1333"/>
                  </a:lnTo>
                  <a:lnTo>
                    <a:pt x="1106" y="1335"/>
                  </a:lnTo>
                  <a:lnTo>
                    <a:pt x="1105" y="1340"/>
                  </a:lnTo>
                  <a:lnTo>
                    <a:pt x="1100" y="1358"/>
                  </a:lnTo>
                  <a:lnTo>
                    <a:pt x="1100" y="1365"/>
                  </a:lnTo>
                  <a:lnTo>
                    <a:pt x="1099" y="1373"/>
                  </a:lnTo>
                  <a:lnTo>
                    <a:pt x="1102" y="1382"/>
                  </a:lnTo>
                  <a:lnTo>
                    <a:pt x="1105" y="1386"/>
                  </a:lnTo>
                  <a:lnTo>
                    <a:pt x="1107" y="1386"/>
                  </a:lnTo>
                  <a:lnTo>
                    <a:pt x="1109" y="1389"/>
                  </a:lnTo>
                  <a:lnTo>
                    <a:pt x="1109" y="1393"/>
                  </a:lnTo>
                  <a:lnTo>
                    <a:pt x="1112" y="1395"/>
                  </a:lnTo>
                  <a:lnTo>
                    <a:pt x="1116" y="1396"/>
                  </a:lnTo>
                  <a:lnTo>
                    <a:pt x="1119" y="1402"/>
                  </a:lnTo>
                  <a:lnTo>
                    <a:pt x="1119" y="1409"/>
                  </a:lnTo>
                  <a:lnTo>
                    <a:pt x="1125" y="1416"/>
                  </a:lnTo>
                  <a:lnTo>
                    <a:pt x="1132" y="1422"/>
                  </a:lnTo>
                  <a:lnTo>
                    <a:pt x="1135" y="1432"/>
                  </a:lnTo>
                  <a:lnTo>
                    <a:pt x="1142" y="1444"/>
                  </a:lnTo>
                  <a:lnTo>
                    <a:pt x="1149" y="1455"/>
                  </a:lnTo>
                  <a:lnTo>
                    <a:pt x="1162" y="1466"/>
                  </a:lnTo>
                  <a:lnTo>
                    <a:pt x="1166" y="1469"/>
                  </a:lnTo>
                  <a:lnTo>
                    <a:pt x="1172" y="1475"/>
                  </a:lnTo>
                  <a:lnTo>
                    <a:pt x="1183" y="1482"/>
                  </a:lnTo>
                  <a:lnTo>
                    <a:pt x="1196" y="1488"/>
                  </a:lnTo>
                  <a:lnTo>
                    <a:pt x="1211" y="1492"/>
                  </a:lnTo>
                  <a:lnTo>
                    <a:pt x="1213" y="1492"/>
                  </a:lnTo>
                  <a:lnTo>
                    <a:pt x="1216" y="1494"/>
                  </a:lnTo>
                  <a:lnTo>
                    <a:pt x="1221" y="1492"/>
                  </a:lnTo>
                  <a:lnTo>
                    <a:pt x="1228" y="1492"/>
                  </a:lnTo>
                  <a:lnTo>
                    <a:pt x="1235" y="1491"/>
                  </a:lnTo>
                  <a:lnTo>
                    <a:pt x="1241" y="1491"/>
                  </a:lnTo>
                  <a:lnTo>
                    <a:pt x="1245" y="1492"/>
                  </a:lnTo>
                  <a:lnTo>
                    <a:pt x="1249" y="1492"/>
                  </a:lnTo>
                  <a:lnTo>
                    <a:pt x="1254" y="1494"/>
                  </a:lnTo>
                  <a:lnTo>
                    <a:pt x="1261" y="1492"/>
                  </a:lnTo>
                  <a:lnTo>
                    <a:pt x="1265" y="1492"/>
                  </a:lnTo>
                  <a:lnTo>
                    <a:pt x="1265" y="1494"/>
                  </a:lnTo>
                  <a:lnTo>
                    <a:pt x="1265" y="1498"/>
                  </a:lnTo>
                  <a:lnTo>
                    <a:pt x="1266" y="1501"/>
                  </a:lnTo>
                  <a:lnTo>
                    <a:pt x="1272" y="1502"/>
                  </a:lnTo>
                  <a:lnTo>
                    <a:pt x="1274" y="1504"/>
                  </a:lnTo>
                  <a:lnTo>
                    <a:pt x="1274" y="1507"/>
                  </a:lnTo>
                  <a:lnTo>
                    <a:pt x="1275" y="1511"/>
                  </a:lnTo>
                  <a:lnTo>
                    <a:pt x="1276" y="1514"/>
                  </a:lnTo>
                  <a:lnTo>
                    <a:pt x="1276" y="1517"/>
                  </a:lnTo>
                  <a:lnTo>
                    <a:pt x="1276" y="1521"/>
                  </a:lnTo>
                  <a:lnTo>
                    <a:pt x="1279" y="1524"/>
                  </a:lnTo>
                  <a:lnTo>
                    <a:pt x="1279" y="1528"/>
                  </a:lnTo>
                  <a:lnTo>
                    <a:pt x="1279" y="1539"/>
                  </a:lnTo>
                  <a:lnTo>
                    <a:pt x="1279" y="1542"/>
                  </a:lnTo>
                  <a:lnTo>
                    <a:pt x="1281" y="1547"/>
                  </a:lnTo>
                  <a:lnTo>
                    <a:pt x="1284" y="1550"/>
                  </a:lnTo>
                  <a:lnTo>
                    <a:pt x="1285" y="1557"/>
                  </a:lnTo>
                  <a:lnTo>
                    <a:pt x="1285" y="1558"/>
                  </a:lnTo>
                  <a:lnTo>
                    <a:pt x="1285" y="1561"/>
                  </a:lnTo>
                  <a:lnTo>
                    <a:pt x="1281" y="1565"/>
                  </a:lnTo>
                  <a:lnTo>
                    <a:pt x="1276" y="1572"/>
                  </a:lnTo>
                  <a:lnTo>
                    <a:pt x="1272" y="1575"/>
                  </a:lnTo>
                  <a:lnTo>
                    <a:pt x="1271" y="1577"/>
                  </a:lnTo>
                  <a:lnTo>
                    <a:pt x="1268" y="1584"/>
                  </a:lnTo>
                  <a:lnTo>
                    <a:pt x="1266" y="1585"/>
                  </a:lnTo>
                  <a:lnTo>
                    <a:pt x="1266" y="1587"/>
                  </a:lnTo>
                  <a:lnTo>
                    <a:pt x="1265" y="1592"/>
                  </a:lnTo>
                  <a:lnTo>
                    <a:pt x="1265" y="1594"/>
                  </a:lnTo>
                  <a:lnTo>
                    <a:pt x="1258" y="1595"/>
                  </a:lnTo>
                  <a:lnTo>
                    <a:pt x="1252" y="1597"/>
                  </a:lnTo>
                  <a:lnTo>
                    <a:pt x="1249" y="1595"/>
                  </a:lnTo>
                  <a:lnTo>
                    <a:pt x="1248" y="1592"/>
                  </a:lnTo>
                  <a:lnTo>
                    <a:pt x="1245" y="1592"/>
                  </a:lnTo>
                  <a:lnTo>
                    <a:pt x="1242" y="1594"/>
                  </a:lnTo>
                  <a:lnTo>
                    <a:pt x="1239" y="1601"/>
                  </a:lnTo>
                  <a:lnTo>
                    <a:pt x="1233" y="1614"/>
                  </a:lnTo>
                  <a:lnTo>
                    <a:pt x="1231" y="1628"/>
                  </a:lnTo>
                  <a:lnTo>
                    <a:pt x="1228" y="1634"/>
                  </a:lnTo>
                  <a:lnTo>
                    <a:pt x="1228" y="1635"/>
                  </a:lnTo>
                  <a:lnTo>
                    <a:pt x="1228" y="1640"/>
                  </a:lnTo>
                  <a:lnTo>
                    <a:pt x="1226" y="1654"/>
                  </a:lnTo>
                  <a:lnTo>
                    <a:pt x="1228" y="1670"/>
                  </a:lnTo>
                  <a:lnTo>
                    <a:pt x="1228" y="1677"/>
                  </a:lnTo>
                  <a:lnTo>
                    <a:pt x="1232" y="1691"/>
                  </a:lnTo>
                  <a:lnTo>
                    <a:pt x="1233" y="1701"/>
                  </a:lnTo>
                  <a:lnTo>
                    <a:pt x="1232" y="1706"/>
                  </a:lnTo>
                  <a:lnTo>
                    <a:pt x="1232" y="1711"/>
                  </a:lnTo>
                  <a:lnTo>
                    <a:pt x="1235" y="1721"/>
                  </a:lnTo>
                  <a:lnTo>
                    <a:pt x="1239" y="1727"/>
                  </a:lnTo>
                  <a:lnTo>
                    <a:pt x="1244" y="1739"/>
                  </a:lnTo>
                  <a:lnTo>
                    <a:pt x="1256" y="1754"/>
                  </a:lnTo>
                  <a:lnTo>
                    <a:pt x="1269" y="1772"/>
                  </a:lnTo>
                  <a:lnTo>
                    <a:pt x="1281" y="1779"/>
                  </a:lnTo>
                  <a:lnTo>
                    <a:pt x="1284" y="1783"/>
                  </a:lnTo>
                  <a:lnTo>
                    <a:pt x="1289" y="1783"/>
                  </a:lnTo>
                  <a:lnTo>
                    <a:pt x="1294" y="1784"/>
                  </a:lnTo>
                  <a:lnTo>
                    <a:pt x="1298" y="1784"/>
                  </a:lnTo>
                  <a:lnTo>
                    <a:pt x="1298" y="1782"/>
                  </a:lnTo>
                  <a:lnTo>
                    <a:pt x="1301" y="1782"/>
                  </a:lnTo>
                  <a:lnTo>
                    <a:pt x="1304" y="1786"/>
                  </a:lnTo>
                  <a:lnTo>
                    <a:pt x="1308" y="1787"/>
                  </a:lnTo>
                  <a:lnTo>
                    <a:pt x="1314" y="1787"/>
                  </a:lnTo>
                  <a:lnTo>
                    <a:pt x="1314" y="1789"/>
                  </a:lnTo>
                  <a:lnTo>
                    <a:pt x="1315" y="1793"/>
                  </a:lnTo>
                  <a:lnTo>
                    <a:pt x="1318" y="1796"/>
                  </a:lnTo>
                  <a:lnTo>
                    <a:pt x="1318" y="1797"/>
                  </a:lnTo>
                  <a:lnTo>
                    <a:pt x="1315" y="1799"/>
                  </a:lnTo>
                  <a:lnTo>
                    <a:pt x="1308" y="1800"/>
                  </a:lnTo>
                  <a:lnTo>
                    <a:pt x="1305" y="1802"/>
                  </a:lnTo>
                  <a:lnTo>
                    <a:pt x="1307" y="1803"/>
                  </a:lnTo>
                  <a:lnTo>
                    <a:pt x="1311" y="1803"/>
                  </a:lnTo>
                  <a:lnTo>
                    <a:pt x="1314" y="1804"/>
                  </a:lnTo>
                  <a:lnTo>
                    <a:pt x="1321" y="1809"/>
                  </a:lnTo>
                  <a:lnTo>
                    <a:pt x="1322" y="1810"/>
                  </a:lnTo>
                  <a:lnTo>
                    <a:pt x="1322" y="1809"/>
                  </a:lnTo>
                  <a:lnTo>
                    <a:pt x="1322" y="1806"/>
                  </a:lnTo>
                  <a:lnTo>
                    <a:pt x="1325" y="1804"/>
                  </a:lnTo>
                  <a:lnTo>
                    <a:pt x="1328" y="1806"/>
                  </a:lnTo>
                  <a:lnTo>
                    <a:pt x="1331" y="1809"/>
                  </a:lnTo>
                  <a:lnTo>
                    <a:pt x="1335" y="1809"/>
                  </a:lnTo>
                  <a:lnTo>
                    <a:pt x="1335" y="1806"/>
                  </a:lnTo>
                  <a:lnTo>
                    <a:pt x="1338" y="1809"/>
                  </a:lnTo>
                  <a:lnTo>
                    <a:pt x="1342" y="1814"/>
                  </a:lnTo>
                  <a:lnTo>
                    <a:pt x="1344" y="1817"/>
                  </a:lnTo>
                  <a:lnTo>
                    <a:pt x="1348" y="1819"/>
                  </a:lnTo>
                  <a:lnTo>
                    <a:pt x="1348" y="1817"/>
                  </a:lnTo>
                  <a:lnTo>
                    <a:pt x="1348" y="1814"/>
                  </a:lnTo>
                  <a:lnTo>
                    <a:pt x="1347" y="1812"/>
                  </a:lnTo>
                  <a:lnTo>
                    <a:pt x="1348" y="1810"/>
                  </a:lnTo>
                  <a:lnTo>
                    <a:pt x="1351" y="1812"/>
                  </a:lnTo>
                  <a:lnTo>
                    <a:pt x="1354" y="1813"/>
                  </a:lnTo>
                  <a:lnTo>
                    <a:pt x="1358" y="1814"/>
                  </a:lnTo>
                  <a:lnTo>
                    <a:pt x="1361" y="1817"/>
                  </a:lnTo>
                  <a:lnTo>
                    <a:pt x="1362" y="1817"/>
                  </a:lnTo>
                  <a:lnTo>
                    <a:pt x="1365" y="1817"/>
                  </a:lnTo>
                  <a:lnTo>
                    <a:pt x="1367" y="1819"/>
                  </a:lnTo>
                  <a:lnTo>
                    <a:pt x="1370" y="1822"/>
                  </a:lnTo>
                  <a:lnTo>
                    <a:pt x="1372" y="1823"/>
                  </a:lnTo>
                  <a:lnTo>
                    <a:pt x="1372" y="1826"/>
                  </a:lnTo>
                  <a:lnTo>
                    <a:pt x="1368" y="1827"/>
                  </a:lnTo>
                  <a:lnTo>
                    <a:pt x="1365" y="1832"/>
                  </a:lnTo>
                  <a:lnTo>
                    <a:pt x="1362" y="1832"/>
                  </a:lnTo>
                  <a:lnTo>
                    <a:pt x="1355" y="1832"/>
                  </a:lnTo>
                  <a:lnTo>
                    <a:pt x="1347" y="1836"/>
                  </a:lnTo>
                  <a:lnTo>
                    <a:pt x="1339" y="1839"/>
                  </a:lnTo>
                  <a:lnTo>
                    <a:pt x="1335" y="1840"/>
                  </a:lnTo>
                  <a:lnTo>
                    <a:pt x="1331" y="1842"/>
                  </a:lnTo>
                  <a:lnTo>
                    <a:pt x="1327" y="1843"/>
                  </a:lnTo>
                  <a:lnTo>
                    <a:pt x="1324" y="1850"/>
                  </a:lnTo>
                  <a:lnTo>
                    <a:pt x="1322" y="1855"/>
                  </a:lnTo>
                  <a:lnTo>
                    <a:pt x="1322" y="1862"/>
                  </a:lnTo>
                  <a:lnTo>
                    <a:pt x="1327" y="1870"/>
                  </a:lnTo>
                  <a:lnTo>
                    <a:pt x="1327" y="1873"/>
                  </a:lnTo>
                  <a:lnTo>
                    <a:pt x="1321" y="1875"/>
                  </a:lnTo>
                  <a:lnTo>
                    <a:pt x="1318" y="1879"/>
                  </a:lnTo>
                  <a:lnTo>
                    <a:pt x="1318" y="1883"/>
                  </a:lnTo>
                  <a:lnTo>
                    <a:pt x="1315" y="1896"/>
                  </a:lnTo>
                  <a:lnTo>
                    <a:pt x="1314" y="1910"/>
                  </a:lnTo>
                  <a:lnTo>
                    <a:pt x="1315" y="1930"/>
                  </a:lnTo>
                  <a:lnTo>
                    <a:pt x="1317" y="1938"/>
                  </a:lnTo>
                  <a:lnTo>
                    <a:pt x="1318" y="1942"/>
                  </a:lnTo>
                  <a:lnTo>
                    <a:pt x="1318" y="1945"/>
                  </a:lnTo>
                  <a:lnTo>
                    <a:pt x="1317" y="1946"/>
                  </a:lnTo>
                  <a:lnTo>
                    <a:pt x="1315" y="1946"/>
                  </a:lnTo>
                  <a:lnTo>
                    <a:pt x="1311" y="1945"/>
                  </a:lnTo>
                  <a:lnTo>
                    <a:pt x="1309" y="1945"/>
                  </a:lnTo>
                  <a:lnTo>
                    <a:pt x="1307" y="1946"/>
                  </a:lnTo>
                  <a:lnTo>
                    <a:pt x="1304" y="1946"/>
                  </a:lnTo>
                  <a:lnTo>
                    <a:pt x="1302" y="1945"/>
                  </a:lnTo>
                  <a:lnTo>
                    <a:pt x="1302" y="1943"/>
                  </a:lnTo>
                  <a:lnTo>
                    <a:pt x="1304" y="1941"/>
                  </a:lnTo>
                  <a:lnTo>
                    <a:pt x="1304" y="1941"/>
                  </a:lnTo>
                  <a:lnTo>
                    <a:pt x="1299" y="1941"/>
                  </a:lnTo>
                  <a:lnTo>
                    <a:pt x="1294" y="1941"/>
                  </a:lnTo>
                  <a:lnTo>
                    <a:pt x="1291" y="1941"/>
                  </a:lnTo>
                  <a:lnTo>
                    <a:pt x="1288" y="1942"/>
                  </a:lnTo>
                  <a:lnTo>
                    <a:pt x="1285" y="1943"/>
                  </a:lnTo>
                  <a:lnTo>
                    <a:pt x="1285" y="1946"/>
                  </a:lnTo>
                  <a:lnTo>
                    <a:pt x="1285" y="1946"/>
                  </a:lnTo>
                  <a:lnTo>
                    <a:pt x="1285" y="1951"/>
                  </a:lnTo>
                  <a:lnTo>
                    <a:pt x="1285" y="1953"/>
                  </a:lnTo>
                  <a:lnTo>
                    <a:pt x="1286" y="1956"/>
                  </a:lnTo>
                  <a:lnTo>
                    <a:pt x="1288" y="1958"/>
                  </a:lnTo>
                  <a:lnTo>
                    <a:pt x="1292" y="1959"/>
                  </a:lnTo>
                  <a:lnTo>
                    <a:pt x="1294" y="1961"/>
                  </a:lnTo>
                  <a:lnTo>
                    <a:pt x="1294" y="1965"/>
                  </a:lnTo>
                  <a:lnTo>
                    <a:pt x="1292" y="1968"/>
                  </a:lnTo>
                  <a:lnTo>
                    <a:pt x="1295" y="1968"/>
                  </a:lnTo>
                  <a:lnTo>
                    <a:pt x="1298" y="1968"/>
                  </a:lnTo>
                  <a:lnTo>
                    <a:pt x="1301" y="1968"/>
                  </a:lnTo>
                  <a:lnTo>
                    <a:pt x="1301" y="1966"/>
                  </a:lnTo>
                  <a:lnTo>
                    <a:pt x="1302" y="1962"/>
                  </a:lnTo>
                  <a:lnTo>
                    <a:pt x="1299" y="1962"/>
                  </a:lnTo>
                  <a:lnTo>
                    <a:pt x="1298" y="1962"/>
                  </a:lnTo>
                  <a:lnTo>
                    <a:pt x="1298" y="1961"/>
                  </a:lnTo>
                  <a:lnTo>
                    <a:pt x="1299" y="1958"/>
                  </a:lnTo>
                  <a:lnTo>
                    <a:pt x="1302" y="1958"/>
                  </a:lnTo>
                  <a:lnTo>
                    <a:pt x="1304" y="1956"/>
                  </a:lnTo>
                  <a:lnTo>
                    <a:pt x="1308" y="1952"/>
                  </a:lnTo>
                  <a:lnTo>
                    <a:pt x="1312" y="1951"/>
                  </a:lnTo>
                  <a:lnTo>
                    <a:pt x="1314" y="1953"/>
                  </a:lnTo>
                  <a:lnTo>
                    <a:pt x="1314" y="1956"/>
                  </a:lnTo>
                  <a:lnTo>
                    <a:pt x="1312" y="1959"/>
                  </a:lnTo>
                  <a:lnTo>
                    <a:pt x="1317" y="1959"/>
                  </a:lnTo>
                  <a:lnTo>
                    <a:pt x="1319" y="1961"/>
                  </a:lnTo>
                  <a:lnTo>
                    <a:pt x="1319" y="1963"/>
                  </a:lnTo>
                  <a:lnTo>
                    <a:pt x="1319" y="1966"/>
                  </a:lnTo>
                  <a:lnTo>
                    <a:pt x="1317" y="1968"/>
                  </a:lnTo>
                  <a:lnTo>
                    <a:pt x="1318" y="1971"/>
                  </a:lnTo>
                  <a:lnTo>
                    <a:pt x="1319" y="1973"/>
                  </a:lnTo>
                  <a:lnTo>
                    <a:pt x="1318" y="1976"/>
                  </a:lnTo>
                  <a:lnTo>
                    <a:pt x="1318" y="1979"/>
                  </a:lnTo>
                  <a:lnTo>
                    <a:pt x="1321" y="1981"/>
                  </a:lnTo>
                  <a:lnTo>
                    <a:pt x="1325" y="1979"/>
                  </a:lnTo>
                  <a:lnTo>
                    <a:pt x="1329" y="1976"/>
                  </a:lnTo>
                  <a:lnTo>
                    <a:pt x="1334" y="1976"/>
                  </a:lnTo>
                  <a:lnTo>
                    <a:pt x="1338" y="1978"/>
                  </a:lnTo>
                  <a:lnTo>
                    <a:pt x="1339" y="1985"/>
                  </a:lnTo>
                  <a:lnTo>
                    <a:pt x="1339" y="1991"/>
                  </a:lnTo>
                  <a:lnTo>
                    <a:pt x="1338" y="1994"/>
                  </a:lnTo>
                  <a:lnTo>
                    <a:pt x="1332" y="1995"/>
                  </a:lnTo>
                  <a:lnTo>
                    <a:pt x="1328" y="1994"/>
                  </a:lnTo>
                  <a:lnTo>
                    <a:pt x="1328" y="1996"/>
                  </a:lnTo>
                  <a:lnTo>
                    <a:pt x="1332" y="1996"/>
                  </a:lnTo>
                  <a:lnTo>
                    <a:pt x="1334" y="1999"/>
                  </a:lnTo>
                  <a:lnTo>
                    <a:pt x="1339" y="1999"/>
                  </a:lnTo>
                  <a:lnTo>
                    <a:pt x="1344" y="1998"/>
                  </a:lnTo>
                  <a:lnTo>
                    <a:pt x="1347" y="1996"/>
                  </a:lnTo>
                  <a:lnTo>
                    <a:pt x="1351" y="1998"/>
                  </a:lnTo>
                  <a:lnTo>
                    <a:pt x="1352" y="1999"/>
                  </a:lnTo>
                  <a:lnTo>
                    <a:pt x="1352" y="2002"/>
                  </a:lnTo>
                  <a:lnTo>
                    <a:pt x="1350" y="2005"/>
                  </a:lnTo>
                  <a:lnTo>
                    <a:pt x="1352" y="2005"/>
                  </a:lnTo>
                  <a:lnTo>
                    <a:pt x="1354" y="2005"/>
                  </a:lnTo>
                  <a:lnTo>
                    <a:pt x="1357" y="2005"/>
                  </a:lnTo>
                  <a:lnTo>
                    <a:pt x="1358" y="2008"/>
                  </a:lnTo>
                  <a:lnTo>
                    <a:pt x="1358" y="2012"/>
                  </a:lnTo>
                  <a:lnTo>
                    <a:pt x="1360" y="2012"/>
                  </a:lnTo>
                  <a:lnTo>
                    <a:pt x="1361" y="2014"/>
                  </a:lnTo>
                  <a:lnTo>
                    <a:pt x="1362" y="2011"/>
                  </a:lnTo>
                  <a:lnTo>
                    <a:pt x="1367" y="2011"/>
                  </a:lnTo>
                  <a:lnTo>
                    <a:pt x="1371" y="2011"/>
                  </a:lnTo>
                  <a:lnTo>
                    <a:pt x="1374" y="2012"/>
                  </a:lnTo>
                  <a:lnTo>
                    <a:pt x="1374" y="2016"/>
                  </a:lnTo>
                  <a:lnTo>
                    <a:pt x="1375" y="2019"/>
                  </a:lnTo>
                  <a:lnTo>
                    <a:pt x="1381" y="2018"/>
                  </a:lnTo>
                  <a:lnTo>
                    <a:pt x="1382" y="2022"/>
                  </a:lnTo>
                  <a:lnTo>
                    <a:pt x="1384" y="2029"/>
                  </a:lnTo>
                  <a:lnTo>
                    <a:pt x="1382" y="2032"/>
                  </a:lnTo>
                  <a:lnTo>
                    <a:pt x="1382" y="2035"/>
                  </a:lnTo>
                  <a:lnTo>
                    <a:pt x="1384" y="2039"/>
                  </a:lnTo>
                  <a:lnTo>
                    <a:pt x="1385" y="2044"/>
                  </a:lnTo>
                  <a:lnTo>
                    <a:pt x="1385" y="2045"/>
                  </a:lnTo>
                  <a:lnTo>
                    <a:pt x="1388" y="2045"/>
                  </a:lnTo>
                  <a:lnTo>
                    <a:pt x="1392" y="2051"/>
                  </a:lnTo>
                  <a:lnTo>
                    <a:pt x="1394" y="2054"/>
                  </a:lnTo>
                  <a:lnTo>
                    <a:pt x="1391" y="2057"/>
                  </a:lnTo>
                  <a:lnTo>
                    <a:pt x="1391" y="2059"/>
                  </a:lnTo>
                  <a:lnTo>
                    <a:pt x="1400" y="2068"/>
                  </a:lnTo>
                  <a:lnTo>
                    <a:pt x="1402" y="2071"/>
                  </a:lnTo>
                  <a:lnTo>
                    <a:pt x="1407" y="2078"/>
                  </a:lnTo>
                  <a:lnTo>
                    <a:pt x="1410" y="2088"/>
                  </a:lnTo>
                  <a:lnTo>
                    <a:pt x="1411" y="2097"/>
                  </a:lnTo>
                  <a:lnTo>
                    <a:pt x="1415" y="2102"/>
                  </a:lnTo>
                  <a:lnTo>
                    <a:pt x="1415" y="2110"/>
                  </a:lnTo>
                  <a:lnTo>
                    <a:pt x="1415" y="2114"/>
                  </a:lnTo>
                  <a:lnTo>
                    <a:pt x="1417" y="2115"/>
                  </a:lnTo>
                  <a:lnTo>
                    <a:pt x="1417" y="2121"/>
                  </a:lnTo>
                  <a:lnTo>
                    <a:pt x="1417" y="2127"/>
                  </a:lnTo>
                  <a:lnTo>
                    <a:pt x="1420" y="2130"/>
                  </a:lnTo>
                  <a:lnTo>
                    <a:pt x="1423" y="2138"/>
                  </a:lnTo>
                  <a:lnTo>
                    <a:pt x="1424" y="2142"/>
                  </a:lnTo>
                  <a:lnTo>
                    <a:pt x="1424" y="2147"/>
                  </a:lnTo>
                  <a:lnTo>
                    <a:pt x="1424" y="2150"/>
                  </a:lnTo>
                  <a:lnTo>
                    <a:pt x="1424" y="2155"/>
                  </a:lnTo>
                  <a:lnTo>
                    <a:pt x="1424" y="2160"/>
                  </a:lnTo>
                  <a:lnTo>
                    <a:pt x="1424" y="2163"/>
                  </a:lnTo>
                  <a:lnTo>
                    <a:pt x="1423" y="2165"/>
                  </a:lnTo>
                  <a:lnTo>
                    <a:pt x="1420" y="2171"/>
                  </a:lnTo>
                  <a:lnTo>
                    <a:pt x="1418" y="2184"/>
                  </a:lnTo>
                  <a:lnTo>
                    <a:pt x="1420" y="2193"/>
                  </a:lnTo>
                  <a:lnTo>
                    <a:pt x="1423" y="2200"/>
                  </a:lnTo>
                  <a:lnTo>
                    <a:pt x="1428" y="2205"/>
                  </a:lnTo>
                  <a:lnTo>
                    <a:pt x="1430" y="2210"/>
                  </a:lnTo>
                  <a:lnTo>
                    <a:pt x="1427" y="2213"/>
                  </a:lnTo>
                  <a:lnTo>
                    <a:pt x="1427" y="2217"/>
                  </a:lnTo>
                  <a:lnTo>
                    <a:pt x="1430" y="2224"/>
                  </a:lnTo>
                  <a:lnTo>
                    <a:pt x="1431" y="2238"/>
                  </a:lnTo>
                  <a:lnTo>
                    <a:pt x="1433" y="2244"/>
                  </a:lnTo>
                  <a:lnTo>
                    <a:pt x="1433" y="2250"/>
                  </a:lnTo>
                  <a:lnTo>
                    <a:pt x="1433" y="2261"/>
                  </a:lnTo>
                  <a:lnTo>
                    <a:pt x="1434" y="2267"/>
                  </a:lnTo>
                  <a:lnTo>
                    <a:pt x="1435" y="2274"/>
                  </a:lnTo>
                  <a:lnTo>
                    <a:pt x="1435" y="2281"/>
                  </a:lnTo>
                  <a:lnTo>
                    <a:pt x="1434" y="2289"/>
                  </a:lnTo>
                  <a:lnTo>
                    <a:pt x="1434" y="2294"/>
                  </a:lnTo>
                  <a:lnTo>
                    <a:pt x="1434" y="2304"/>
                  </a:lnTo>
                  <a:lnTo>
                    <a:pt x="1438" y="2311"/>
                  </a:lnTo>
                  <a:lnTo>
                    <a:pt x="1438" y="2314"/>
                  </a:lnTo>
                  <a:lnTo>
                    <a:pt x="1435" y="2316"/>
                  </a:lnTo>
                  <a:lnTo>
                    <a:pt x="1434" y="2313"/>
                  </a:lnTo>
                  <a:lnTo>
                    <a:pt x="1433" y="2310"/>
                  </a:lnTo>
                  <a:lnTo>
                    <a:pt x="1433" y="2306"/>
                  </a:lnTo>
                  <a:lnTo>
                    <a:pt x="1428" y="2301"/>
                  </a:lnTo>
                  <a:lnTo>
                    <a:pt x="1423" y="2296"/>
                  </a:lnTo>
                  <a:lnTo>
                    <a:pt x="1418" y="2294"/>
                  </a:lnTo>
                  <a:lnTo>
                    <a:pt x="1414" y="2296"/>
                  </a:lnTo>
                  <a:lnTo>
                    <a:pt x="1411" y="2296"/>
                  </a:lnTo>
                  <a:lnTo>
                    <a:pt x="1410" y="2293"/>
                  </a:lnTo>
                  <a:lnTo>
                    <a:pt x="1405" y="2287"/>
                  </a:lnTo>
                  <a:lnTo>
                    <a:pt x="1400" y="2284"/>
                  </a:lnTo>
                  <a:lnTo>
                    <a:pt x="1391" y="2283"/>
                  </a:lnTo>
                  <a:lnTo>
                    <a:pt x="1387" y="2283"/>
                  </a:lnTo>
                  <a:lnTo>
                    <a:pt x="1385" y="2284"/>
                  </a:lnTo>
                  <a:lnTo>
                    <a:pt x="1384" y="2289"/>
                  </a:lnTo>
                  <a:lnTo>
                    <a:pt x="1382" y="2289"/>
                  </a:lnTo>
                  <a:lnTo>
                    <a:pt x="1375" y="2287"/>
                  </a:lnTo>
                  <a:lnTo>
                    <a:pt x="1370" y="2284"/>
                  </a:lnTo>
                  <a:lnTo>
                    <a:pt x="1364" y="2280"/>
                  </a:lnTo>
                  <a:lnTo>
                    <a:pt x="1358" y="2276"/>
                  </a:lnTo>
                  <a:lnTo>
                    <a:pt x="1352" y="2274"/>
                  </a:lnTo>
                  <a:lnTo>
                    <a:pt x="1350" y="2273"/>
                  </a:lnTo>
                  <a:lnTo>
                    <a:pt x="1347" y="2270"/>
                  </a:lnTo>
                  <a:lnTo>
                    <a:pt x="1344" y="2268"/>
                  </a:lnTo>
                  <a:lnTo>
                    <a:pt x="1342" y="2266"/>
                  </a:lnTo>
                  <a:lnTo>
                    <a:pt x="1339" y="2261"/>
                  </a:lnTo>
                  <a:lnTo>
                    <a:pt x="1331" y="2253"/>
                  </a:lnTo>
                  <a:lnTo>
                    <a:pt x="1312" y="2238"/>
                  </a:lnTo>
                  <a:lnTo>
                    <a:pt x="1297" y="2224"/>
                  </a:lnTo>
                  <a:lnTo>
                    <a:pt x="1295" y="2223"/>
                  </a:lnTo>
                  <a:lnTo>
                    <a:pt x="1291" y="2220"/>
                  </a:lnTo>
                  <a:lnTo>
                    <a:pt x="1278" y="2207"/>
                  </a:lnTo>
                  <a:lnTo>
                    <a:pt x="1271" y="2203"/>
                  </a:lnTo>
                  <a:lnTo>
                    <a:pt x="1259" y="2197"/>
                  </a:lnTo>
                  <a:lnTo>
                    <a:pt x="1239" y="2184"/>
                  </a:lnTo>
                  <a:lnTo>
                    <a:pt x="1223" y="2177"/>
                  </a:lnTo>
                  <a:lnTo>
                    <a:pt x="1215" y="2174"/>
                  </a:lnTo>
                  <a:lnTo>
                    <a:pt x="1211" y="2173"/>
                  </a:lnTo>
                  <a:lnTo>
                    <a:pt x="1212" y="2171"/>
                  </a:lnTo>
                  <a:lnTo>
                    <a:pt x="1215" y="2171"/>
                  </a:lnTo>
                  <a:lnTo>
                    <a:pt x="1216" y="2168"/>
                  </a:lnTo>
                  <a:lnTo>
                    <a:pt x="1219" y="2168"/>
                  </a:lnTo>
                  <a:lnTo>
                    <a:pt x="1221" y="2170"/>
                  </a:lnTo>
                  <a:lnTo>
                    <a:pt x="1222" y="2170"/>
                  </a:lnTo>
                  <a:lnTo>
                    <a:pt x="1223" y="2168"/>
                  </a:lnTo>
                  <a:lnTo>
                    <a:pt x="1225" y="2164"/>
                  </a:lnTo>
                  <a:lnTo>
                    <a:pt x="1225" y="2160"/>
                  </a:lnTo>
                  <a:lnTo>
                    <a:pt x="1222" y="2158"/>
                  </a:lnTo>
                  <a:lnTo>
                    <a:pt x="1219" y="2158"/>
                  </a:lnTo>
                  <a:lnTo>
                    <a:pt x="1216" y="2160"/>
                  </a:lnTo>
                  <a:lnTo>
                    <a:pt x="1213" y="2164"/>
                  </a:lnTo>
                  <a:lnTo>
                    <a:pt x="1211" y="2167"/>
                  </a:lnTo>
                  <a:lnTo>
                    <a:pt x="1206" y="2163"/>
                  </a:lnTo>
                  <a:lnTo>
                    <a:pt x="1201" y="2161"/>
                  </a:lnTo>
                  <a:lnTo>
                    <a:pt x="1192" y="2157"/>
                  </a:lnTo>
                  <a:lnTo>
                    <a:pt x="1182" y="2154"/>
                  </a:lnTo>
                  <a:lnTo>
                    <a:pt x="1182" y="2155"/>
                  </a:lnTo>
                  <a:lnTo>
                    <a:pt x="1186" y="2160"/>
                  </a:lnTo>
                  <a:lnTo>
                    <a:pt x="1193" y="2161"/>
                  </a:lnTo>
                  <a:lnTo>
                    <a:pt x="1201" y="2165"/>
                  </a:lnTo>
                  <a:lnTo>
                    <a:pt x="1206" y="2167"/>
                  </a:lnTo>
                  <a:lnTo>
                    <a:pt x="1206" y="2170"/>
                  </a:lnTo>
                  <a:lnTo>
                    <a:pt x="1205" y="2170"/>
                  </a:lnTo>
                  <a:lnTo>
                    <a:pt x="1196" y="2167"/>
                  </a:lnTo>
                  <a:lnTo>
                    <a:pt x="1178" y="2158"/>
                  </a:lnTo>
                  <a:lnTo>
                    <a:pt x="1169" y="2155"/>
                  </a:lnTo>
                  <a:lnTo>
                    <a:pt x="1155" y="2148"/>
                  </a:lnTo>
                  <a:lnTo>
                    <a:pt x="1146" y="2141"/>
                  </a:lnTo>
                  <a:lnTo>
                    <a:pt x="1128" y="2128"/>
                  </a:lnTo>
                  <a:lnTo>
                    <a:pt x="1119" y="2120"/>
                  </a:lnTo>
                  <a:lnTo>
                    <a:pt x="1102" y="2110"/>
                  </a:lnTo>
                  <a:lnTo>
                    <a:pt x="1087" y="2099"/>
                  </a:lnTo>
                  <a:lnTo>
                    <a:pt x="1076" y="2091"/>
                  </a:lnTo>
                  <a:lnTo>
                    <a:pt x="1049" y="2072"/>
                  </a:lnTo>
                  <a:lnTo>
                    <a:pt x="1043" y="2069"/>
                  </a:lnTo>
                  <a:lnTo>
                    <a:pt x="1036" y="2065"/>
                  </a:lnTo>
                  <a:lnTo>
                    <a:pt x="1013" y="2051"/>
                  </a:lnTo>
                  <a:lnTo>
                    <a:pt x="987" y="2036"/>
                  </a:lnTo>
                  <a:lnTo>
                    <a:pt x="981" y="2032"/>
                  </a:lnTo>
                  <a:lnTo>
                    <a:pt x="981" y="2029"/>
                  </a:lnTo>
                  <a:lnTo>
                    <a:pt x="980" y="2026"/>
                  </a:lnTo>
                  <a:lnTo>
                    <a:pt x="977" y="2025"/>
                  </a:lnTo>
                  <a:lnTo>
                    <a:pt x="971" y="2019"/>
                  </a:lnTo>
                  <a:lnTo>
                    <a:pt x="966" y="2016"/>
                  </a:lnTo>
                  <a:lnTo>
                    <a:pt x="963" y="2016"/>
                  </a:lnTo>
                  <a:lnTo>
                    <a:pt x="964" y="2018"/>
                  </a:lnTo>
                  <a:lnTo>
                    <a:pt x="966" y="2019"/>
                  </a:lnTo>
                  <a:lnTo>
                    <a:pt x="973" y="2024"/>
                  </a:lnTo>
                  <a:lnTo>
                    <a:pt x="976" y="2026"/>
                  </a:lnTo>
                  <a:lnTo>
                    <a:pt x="976" y="2029"/>
                  </a:lnTo>
                  <a:lnTo>
                    <a:pt x="971" y="2028"/>
                  </a:lnTo>
                  <a:lnTo>
                    <a:pt x="961" y="2021"/>
                  </a:lnTo>
                  <a:lnTo>
                    <a:pt x="950" y="2014"/>
                  </a:lnTo>
                  <a:lnTo>
                    <a:pt x="934" y="2005"/>
                  </a:lnTo>
                  <a:lnTo>
                    <a:pt x="923" y="1996"/>
                  </a:lnTo>
                  <a:lnTo>
                    <a:pt x="913" y="1989"/>
                  </a:lnTo>
                  <a:lnTo>
                    <a:pt x="898" y="1982"/>
                  </a:lnTo>
                  <a:lnTo>
                    <a:pt x="890" y="1975"/>
                  </a:lnTo>
                  <a:lnTo>
                    <a:pt x="885" y="1972"/>
                  </a:lnTo>
                  <a:lnTo>
                    <a:pt x="863" y="1958"/>
                  </a:lnTo>
                  <a:lnTo>
                    <a:pt x="853" y="1951"/>
                  </a:lnTo>
                  <a:lnTo>
                    <a:pt x="848" y="1946"/>
                  </a:lnTo>
                  <a:lnTo>
                    <a:pt x="838" y="1941"/>
                  </a:lnTo>
                  <a:lnTo>
                    <a:pt x="827" y="1932"/>
                  </a:lnTo>
                  <a:lnTo>
                    <a:pt x="820" y="1925"/>
                  </a:lnTo>
                  <a:lnTo>
                    <a:pt x="814" y="1918"/>
                  </a:lnTo>
                  <a:lnTo>
                    <a:pt x="801" y="1903"/>
                  </a:lnTo>
                  <a:lnTo>
                    <a:pt x="791" y="1892"/>
                  </a:lnTo>
                  <a:lnTo>
                    <a:pt x="782" y="1882"/>
                  </a:lnTo>
                  <a:lnTo>
                    <a:pt x="781" y="1882"/>
                  </a:lnTo>
                  <a:lnTo>
                    <a:pt x="761" y="1862"/>
                  </a:lnTo>
                  <a:lnTo>
                    <a:pt x="752" y="1853"/>
                  </a:lnTo>
                  <a:lnTo>
                    <a:pt x="745" y="1845"/>
                  </a:lnTo>
                  <a:lnTo>
                    <a:pt x="738" y="1836"/>
                  </a:lnTo>
                  <a:lnTo>
                    <a:pt x="735" y="1832"/>
                  </a:lnTo>
                  <a:lnTo>
                    <a:pt x="737" y="1827"/>
                  </a:lnTo>
                  <a:lnTo>
                    <a:pt x="738" y="1823"/>
                  </a:lnTo>
                  <a:lnTo>
                    <a:pt x="732" y="1822"/>
                  </a:lnTo>
                  <a:lnTo>
                    <a:pt x="728" y="1820"/>
                  </a:lnTo>
                  <a:lnTo>
                    <a:pt x="722" y="1812"/>
                  </a:lnTo>
                  <a:lnTo>
                    <a:pt x="716" y="1803"/>
                  </a:lnTo>
                  <a:lnTo>
                    <a:pt x="711" y="1796"/>
                  </a:lnTo>
                  <a:lnTo>
                    <a:pt x="698" y="1777"/>
                  </a:lnTo>
                  <a:lnTo>
                    <a:pt x="688" y="1761"/>
                  </a:lnTo>
                  <a:lnTo>
                    <a:pt x="681" y="1749"/>
                  </a:lnTo>
                  <a:lnTo>
                    <a:pt x="676" y="1736"/>
                  </a:lnTo>
                  <a:lnTo>
                    <a:pt x="672" y="1723"/>
                  </a:lnTo>
                  <a:lnTo>
                    <a:pt x="672" y="1719"/>
                  </a:lnTo>
                  <a:lnTo>
                    <a:pt x="676" y="1721"/>
                  </a:lnTo>
                  <a:lnTo>
                    <a:pt x="678" y="1720"/>
                  </a:lnTo>
                  <a:lnTo>
                    <a:pt x="678" y="1719"/>
                  </a:lnTo>
                  <a:lnTo>
                    <a:pt x="678" y="1716"/>
                  </a:lnTo>
                  <a:lnTo>
                    <a:pt x="676" y="1714"/>
                  </a:lnTo>
                  <a:lnTo>
                    <a:pt x="674" y="1710"/>
                  </a:lnTo>
                  <a:lnTo>
                    <a:pt x="674" y="1706"/>
                  </a:lnTo>
                  <a:lnTo>
                    <a:pt x="675" y="1688"/>
                  </a:lnTo>
                  <a:lnTo>
                    <a:pt x="675" y="1678"/>
                  </a:lnTo>
                  <a:lnTo>
                    <a:pt x="671" y="1671"/>
                  </a:lnTo>
                  <a:lnTo>
                    <a:pt x="665" y="1666"/>
                  </a:lnTo>
                  <a:lnTo>
                    <a:pt x="665" y="1663"/>
                  </a:lnTo>
                  <a:lnTo>
                    <a:pt x="668" y="1661"/>
                  </a:lnTo>
                  <a:lnTo>
                    <a:pt x="671" y="1658"/>
                  </a:lnTo>
                  <a:lnTo>
                    <a:pt x="675" y="1660"/>
                  </a:lnTo>
                  <a:lnTo>
                    <a:pt x="676" y="1656"/>
                  </a:lnTo>
                  <a:lnTo>
                    <a:pt x="674" y="1654"/>
                  </a:lnTo>
                  <a:lnTo>
                    <a:pt x="668" y="1651"/>
                  </a:lnTo>
                  <a:lnTo>
                    <a:pt x="666" y="1644"/>
                  </a:lnTo>
                  <a:lnTo>
                    <a:pt x="662" y="1635"/>
                  </a:lnTo>
                  <a:lnTo>
                    <a:pt x="658" y="1624"/>
                  </a:lnTo>
                  <a:lnTo>
                    <a:pt x="651" y="1605"/>
                  </a:lnTo>
                  <a:lnTo>
                    <a:pt x="639" y="1594"/>
                  </a:lnTo>
                  <a:lnTo>
                    <a:pt x="631" y="1587"/>
                  </a:lnTo>
                  <a:lnTo>
                    <a:pt x="618" y="1581"/>
                  </a:lnTo>
                  <a:lnTo>
                    <a:pt x="609" y="1580"/>
                  </a:lnTo>
                  <a:lnTo>
                    <a:pt x="605" y="1580"/>
                  </a:lnTo>
                  <a:lnTo>
                    <a:pt x="603" y="1580"/>
                  </a:lnTo>
                  <a:lnTo>
                    <a:pt x="598" y="1582"/>
                  </a:lnTo>
                  <a:lnTo>
                    <a:pt x="593" y="1582"/>
                  </a:lnTo>
                  <a:lnTo>
                    <a:pt x="593" y="1575"/>
                  </a:lnTo>
                  <a:lnTo>
                    <a:pt x="592" y="1574"/>
                  </a:lnTo>
                  <a:lnTo>
                    <a:pt x="592" y="1571"/>
                  </a:lnTo>
                  <a:lnTo>
                    <a:pt x="593" y="1565"/>
                  </a:lnTo>
                  <a:lnTo>
                    <a:pt x="593" y="1557"/>
                  </a:lnTo>
                  <a:lnTo>
                    <a:pt x="593" y="1554"/>
                  </a:lnTo>
                  <a:lnTo>
                    <a:pt x="598" y="1552"/>
                  </a:lnTo>
                  <a:lnTo>
                    <a:pt x="602" y="1554"/>
                  </a:lnTo>
                  <a:lnTo>
                    <a:pt x="605" y="1555"/>
                  </a:lnTo>
                  <a:lnTo>
                    <a:pt x="609" y="1552"/>
                  </a:lnTo>
                  <a:lnTo>
                    <a:pt x="619" y="1545"/>
                  </a:lnTo>
                  <a:lnTo>
                    <a:pt x="623" y="1541"/>
                  </a:lnTo>
                  <a:lnTo>
                    <a:pt x="626" y="1531"/>
                  </a:lnTo>
                  <a:lnTo>
                    <a:pt x="626" y="1522"/>
                  </a:lnTo>
                  <a:lnTo>
                    <a:pt x="622" y="1514"/>
                  </a:lnTo>
                  <a:lnTo>
                    <a:pt x="618" y="1509"/>
                  </a:lnTo>
                  <a:lnTo>
                    <a:pt x="619" y="1505"/>
                  </a:lnTo>
                  <a:lnTo>
                    <a:pt x="618" y="1502"/>
                  </a:lnTo>
                  <a:lnTo>
                    <a:pt x="613" y="1498"/>
                  </a:lnTo>
                  <a:lnTo>
                    <a:pt x="612" y="1495"/>
                  </a:lnTo>
                  <a:lnTo>
                    <a:pt x="612" y="1491"/>
                  </a:lnTo>
                  <a:lnTo>
                    <a:pt x="613" y="1488"/>
                  </a:lnTo>
                  <a:lnTo>
                    <a:pt x="616" y="1487"/>
                  </a:lnTo>
                  <a:lnTo>
                    <a:pt x="619" y="1488"/>
                  </a:lnTo>
                  <a:lnTo>
                    <a:pt x="623" y="1488"/>
                  </a:lnTo>
                  <a:lnTo>
                    <a:pt x="628" y="1482"/>
                  </a:lnTo>
                  <a:lnTo>
                    <a:pt x="635" y="1475"/>
                  </a:lnTo>
                  <a:lnTo>
                    <a:pt x="639" y="1465"/>
                  </a:lnTo>
                  <a:lnTo>
                    <a:pt x="639" y="1458"/>
                  </a:lnTo>
                  <a:lnTo>
                    <a:pt x="642" y="1456"/>
                  </a:lnTo>
                  <a:lnTo>
                    <a:pt x="649" y="1456"/>
                  </a:lnTo>
                  <a:lnTo>
                    <a:pt x="653" y="1456"/>
                  </a:lnTo>
                  <a:lnTo>
                    <a:pt x="655" y="1454"/>
                  </a:lnTo>
                  <a:lnTo>
                    <a:pt x="653" y="1454"/>
                  </a:lnTo>
                  <a:lnTo>
                    <a:pt x="649" y="1454"/>
                  </a:lnTo>
                  <a:lnTo>
                    <a:pt x="646" y="1452"/>
                  </a:lnTo>
                  <a:lnTo>
                    <a:pt x="645" y="1451"/>
                  </a:lnTo>
                  <a:lnTo>
                    <a:pt x="641" y="1454"/>
                  </a:lnTo>
                  <a:lnTo>
                    <a:pt x="638" y="1452"/>
                  </a:lnTo>
                  <a:lnTo>
                    <a:pt x="638" y="1446"/>
                  </a:lnTo>
                  <a:lnTo>
                    <a:pt x="638" y="1439"/>
                  </a:lnTo>
                  <a:lnTo>
                    <a:pt x="638" y="1425"/>
                  </a:lnTo>
                  <a:lnTo>
                    <a:pt x="636" y="1411"/>
                  </a:lnTo>
                  <a:lnTo>
                    <a:pt x="635" y="1393"/>
                  </a:lnTo>
                  <a:lnTo>
                    <a:pt x="636" y="1375"/>
                  </a:lnTo>
                  <a:lnTo>
                    <a:pt x="635" y="1368"/>
                  </a:lnTo>
                  <a:lnTo>
                    <a:pt x="633" y="1355"/>
                  </a:lnTo>
                  <a:lnTo>
                    <a:pt x="632" y="1345"/>
                  </a:lnTo>
                  <a:lnTo>
                    <a:pt x="632" y="1345"/>
                  </a:lnTo>
                  <a:lnTo>
                    <a:pt x="636" y="1343"/>
                  </a:lnTo>
                  <a:lnTo>
                    <a:pt x="636" y="1343"/>
                  </a:lnTo>
                  <a:lnTo>
                    <a:pt x="636" y="1342"/>
                  </a:lnTo>
                  <a:lnTo>
                    <a:pt x="629" y="1342"/>
                  </a:lnTo>
                  <a:lnTo>
                    <a:pt x="628" y="1338"/>
                  </a:lnTo>
                  <a:lnTo>
                    <a:pt x="626" y="1330"/>
                  </a:lnTo>
                  <a:lnTo>
                    <a:pt x="626" y="1325"/>
                  </a:lnTo>
                  <a:lnTo>
                    <a:pt x="625" y="1318"/>
                  </a:lnTo>
                  <a:lnTo>
                    <a:pt x="622" y="1313"/>
                  </a:lnTo>
                  <a:lnTo>
                    <a:pt x="622" y="1305"/>
                  </a:lnTo>
                  <a:lnTo>
                    <a:pt x="621" y="1299"/>
                  </a:lnTo>
                  <a:lnTo>
                    <a:pt x="618" y="1290"/>
                  </a:lnTo>
                  <a:lnTo>
                    <a:pt x="616" y="1286"/>
                  </a:lnTo>
                  <a:lnTo>
                    <a:pt x="615" y="1282"/>
                  </a:lnTo>
                  <a:lnTo>
                    <a:pt x="616" y="1275"/>
                  </a:lnTo>
                  <a:lnTo>
                    <a:pt x="609" y="1263"/>
                  </a:lnTo>
                  <a:lnTo>
                    <a:pt x="603" y="1260"/>
                  </a:lnTo>
                  <a:lnTo>
                    <a:pt x="596" y="1259"/>
                  </a:lnTo>
                  <a:lnTo>
                    <a:pt x="593" y="1253"/>
                  </a:lnTo>
                  <a:lnTo>
                    <a:pt x="593" y="1247"/>
                  </a:lnTo>
                  <a:lnTo>
                    <a:pt x="590" y="1243"/>
                  </a:lnTo>
                  <a:lnTo>
                    <a:pt x="589" y="1237"/>
                  </a:lnTo>
                  <a:lnTo>
                    <a:pt x="588" y="1230"/>
                  </a:lnTo>
                  <a:lnTo>
                    <a:pt x="588" y="1220"/>
                  </a:lnTo>
                  <a:lnTo>
                    <a:pt x="582" y="1213"/>
                  </a:lnTo>
                  <a:lnTo>
                    <a:pt x="580" y="1207"/>
                  </a:lnTo>
                  <a:lnTo>
                    <a:pt x="580" y="1204"/>
                  </a:lnTo>
                  <a:lnTo>
                    <a:pt x="579" y="1197"/>
                  </a:lnTo>
                  <a:lnTo>
                    <a:pt x="579" y="1190"/>
                  </a:lnTo>
                  <a:lnTo>
                    <a:pt x="580" y="1187"/>
                  </a:lnTo>
                  <a:lnTo>
                    <a:pt x="582" y="1183"/>
                  </a:lnTo>
                  <a:lnTo>
                    <a:pt x="580" y="1176"/>
                  </a:lnTo>
                  <a:lnTo>
                    <a:pt x="573" y="1164"/>
                  </a:lnTo>
                  <a:lnTo>
                    <a:pt x="570" y="1160"/>
                  </a:lnTo>
                  <a:lnTo>
                    <a:pt x="566" y="1154"/>
                  </a:lnTo>
                  <a:lnTo>
                    <a:pt x="568" y="1149"/>
                  </a:lnTo>
                  <a:lnTo>
                    <a:pt x="569" y="1141"/>
                  </a:lnTo>
                  <a:lnTo>
                    <a:pt x="569" y="1134"/>
                  </a:lnTo>
                  <a:lnTo>
                    <a:pt x="572" y="1128"/>
                  </a:lnTo>
                  <a:lnTo>
                    <a:pt x="573" y="1120"/>
                  </a:lnTo>
                  <a:lnTo>
                    <a:pt x="570" y="1113"/>
                  </a:lnTo>
                  <a:lnTo>
                    <a:pt x="566" y="1108"/>
                  </a:lnTo>
                  <a:lnTo>
                    <a:pt x="568" y="1100"/>
                  </a:lnTo>
                  <a:lnTo>
                    <a:pt x="568" y="1090"/>
                  </a:lnTo>
                  <a:lnTo>
                    <a:pt x="566" y="1085"/>
                  </a:lnTo>
                  <a:lnTo>
                    <a:pt x="563" y="1077"/>
                  </a:lnTo>
                  <a:lnTo>
                    <a:pt x="562" y="1071"/>
                  </a:lnTo>
                  <a:lnTo>
                    <a:pt x="559" y="1067"/>
                  </a:lnTo>
                  <a:lnTo>
                    <a:pt x="556" y="1060"/>
                  </a:lnTo>
                  <a:lnTo>
                    <a:pt x="555" y="1050"/>
                  </a:lnTo>
                  <a:lnTo>
                    <a:pt x="550" y="1043"/>
                  </a:lnTo>
                  <a:lnTo>
                    <a:pt x="552" y="1037"/>
                  </a:lnTo>
                  <a:lnTo>
                    <a:pt x="553" y="1031"/>
                  </a:lnTo>
                  <a:lnTo>
                    <a:pt x="553" y="1031"/>
                  </a:lnTo>
                  <a:lnTo>
                    <a:pt x="553" y="1022"/>
                  </a:lnTo>
                  <a:lnTo>
                    <a:pt x="550" y="1015"/>
                  </a:lnTo>
                  <a:lnTo>
                    <a:pt x="552" y="1004"/>
                  </a:lnTo>
                  <a:lnTo>
                    <a:pt x="549" y="1001"/>
                  </a:lnTo>
                  <a:lnTo>
                    <a:pt x="547" y="997"/>
                  </a:lnTo>
                  <a:lnTo>
                    <a:pt x="547" y="991"/>
                  </a:lnTo>
                  <a:lnTo>
                    <a:pt x="543" y="987"/>
                  </a:lnTo>
                  <a:lnTo>
                    <a:pt x="539" y="987"/>
                  </a:lnTo>
                  <a:lnTo>
                    <a:pt x="536" y="990"/>
                  </a:lnTo>
                  <a:lnTo>
                    <a:pt x="536" y="992"/>
                  </a:lnTo>
                  <a:lnTo>
                    <a:pt x="532" y="987"/>
                  </a:lnTo>
                  <a:lnTo>
                    <a:pt x="527" y="981"/>
                  </a:lnTo>
                  <a:lnTo>
                    <a:pt x="523" y="975"/>
                  </a:lnTo>
                  <a:lnTo>
                    <a:pt x="523" y="969"/>
                  </a:lnTo>
                  <a:lnTo>
                    <a:pt x="522" y="959"/>
                  </a:lnTo>
                  <a:lnTo>
                    <a:pt x="523" y="952"/>
                  </a:lnTo>
                  <a:lnTo>
                    <a:pt x="525" y="945"/>
                  </a:lnTo>
                  <a:lnTo>
                    <a:pt x="523" y="941"/>
                  </a:lnTo>
                  <a:lnTo>
                    <a:pt x="526" y="937"/>
                  </a:lnTo>
                  <a:lnTo>
                    <a:pt x="529" y="934"/>
                  </a:lnTo>
                  <a:lnTo>
                    <a:pt x="529" y="931"/>
                  </a:lnTo>
                  <a:lnTo>
                    <a:pt x="526" y="925"/>
                  </a:lnTo>
                  <a:lnTo>
                    <a:pt x="526" y="924"/>
                  </a:lnTo>
                  <a:lnTo>
                    <a:pt x="526" y="921"/>
                  </a:lnTo>
                  <a:lnTo>
                    <a:pt x="526" y="919"/>
                  </a:lnTo>
                  <a:lnTo>
                    <a:pt x="527" y="915"/>
                  </a:lnTo>
                  <a:lnTo>
                    <a:pt x="533" y="911"/>
                  </a:lnTo>
                  <a:lnTo>
                    <a:pt x="533" y="906"/>
                  </a:lnTo>
                  <a:lnTo>
                    <a:pt x="535" y="899"/>
                  </a:lnTo>
                  <a:lnTo>
                    <a:pt x="533" y="895"/>
                  </a:lnTo>
                  <a:lnTo>
                    <a:pt x="529" y="888"/>
                  </a:lnTo>
                  <a:lnTo>
                    <a:pt x="525" y="882"/>
                  </a:lnTo>
                  <a:lnTo>
                    <a:pt x="525" y="872"/>
                  </a:lnTo>
                  <a:lnTo>
                    <a:pt x="529" y="871"/>
                  </a:lnTo>
                  <a:lnTo>
                    <a:pt x="535" y="865"/>
                  </a:lnTo>
                  <a:lnTo>
                    <a:pt x="535" y="863"/>
                  </a:lnTo>
                  <a:lnTo>
                    <a:pt x="533" y="863"/>
                  </a:lnTo>
                  <a:lnTo>
                    <a:pt x="530" y="862"/>
                  </a:lnTo>
                  <a:lnTo>
                    <a:pt x="530" y="858"/>
                  </a:lnTo>
                  <a:lnTo>
                    <a:pt x="533" y="856"/>
                  </a:lnTo>
                  <a:lnTo>
                    <a:pt x="537" y="852"/>
                  </a:lnTo>
                  <a:lnTo>
                    <a:pt x="537" y="849"/>
                  </a:lnTo>
                  <a:lnTo>
                    <a:pt x="539" y="848"/>
                  </a:lnTo>
                  <a:lnTo>
                    <a:pt x="540" y="849"/>
                  </a:lnTo>
                  <a:lnTo>
                    <a:pt x="543" y="852"/>
                  </a:lnTo>
                  <a:lnTo>
                    <a:pt x="542" y="848"/>
                  </a:lnTo>
                  <a:lnTo>
                    <a:pt x="542" y="843"/>
                  </a:lnTo>
                  <a:lnTo>
                    <a:pt x="540" y="841"/>
                  </a:lnTo>
                  <a:lnTo>
                    <a:pt x="542" y="835"/>
                  </a:lnTo>
                  <a:lnTo>
                    <a:pt x="543" y="822"/>
                  </a:lnTo>
                  <a:lnTo>
                    <a:pt x="545" y="819"/>
                  </a:lnTo>
                  <a:lnTo>
                    <a:pt x="545" y="816"/>
                  </a:lnTo>
                  <a:lnTo>
                    <a:pt x="545" y="809"/>
                  </a:lnTo>
                  <a:lnTo>
                    <a:pt x="543" y="808"/>
                  </a:lnTo>
                  <a:lnTo>
                    <a:pt x="542" y="808"/>
                  </a:lnTo>
                  <a:lnTo>
                    <a:pt x="540" y="809"/>
                  </a:lnTo>
                  <a:lnTo>
                    <a:pt x="536" y="813"/>
                  </a:lnTo>
                  <a:lnTo>
                    <a:pt x="533" y="813"/>
                  </a:lnTo>
                  <a:lnTo>
                    <a:pt x="529" y="813"/>
                  </a:lnTo>
                  <a:lnTo>
                    <a:pt x="526" y="818"/>
                  </a:lnTo>
                  <a:lnTo>
                    <a:pt x="522" y="818"/>
                  </a:lnTo>
                  <a:lnTo>
                    <a:pt x="522" y="819"/>
                  </a:lnTo>
                  <a:lnTo>
                    <a:pt x="519" y="821"/>
                  </a:lnTo>
                  <a:lnTo>
                    <a:pt x="516" y="819"/>
                  </a:lnTo>
                  <a:lnTo>
                    <a:pt x="516" y="812"/>
                  </a:lnTo>
                  <a:lnTo>
                    <a:pt x="517" y="805"/>
                  </a:lnTo>
                  <a:lnTo>
                    <a:pt x="515" y="803"/>
                  </a:lnTo>
                  <a:lnTo>
                    <a:pt x="510" y="800"/>
                  </a:lnTo>
                  <a:lnTo>
                    <a:pt x="510" y="798"/>
                  </a:lnTo>
                  <a:lnTo>
                    <a:pt x="509" y="788"/>
                  </a:lnTo>
                  <a:lnTo>
                    <a:pt x="509" y="780"/>
                  </a:lnTo>
                  <a:lnTo>
                    <a:pt x="510" y="773"/>
                  </a:lnTo>
                  <a:lnTo>
                    <a:pt x="509" y="769"/>
                  </a:lnTo>
                  <a:lnTo>
                    <a:pt x="506" y="766"/>
                  </a:lnTo>
                  <a:lnTo>
                    <a:pt x="503" y="762"/>
                  </a:lnTo>
                  <a:lnTo>
                    <a:pt x="502" y="762"/>
                  </a:lnTo>
                  <a:lnTo>
                    <a:pt x="499" y="756"/>
                  </a:lnTo>
                  <a:lnTo>
                    <a:pt x="497" y="753"/>
                  </a:lnTo>
                  <a:lnTo>
                    <a:pt x="494" y="750"/>
                  </a:lnTo>
                  <a:lnTo>
                    <a:pt x="489" y="747"/>
                  </a:lnTo>
                  <a:lnTo>
                    <a:pt x="484" y="749"/>
                  </a:lnTo>
                  <a:lnTo>
                    <a:pt x="480" y="749"/>
                  </a:lnTo>
                  <a:lnTo>
                    <a:pt x="479" y="749"/>
                  </a:lnTo>
                  <a:lnTo>
                    <a:pt x="476" y="752"/>
                  </a:lnTo>
                  <a:lnTo>
                    <a:pt x="474" y="753"/>
                  </a:lnTo>
                  <a:lnTo>
                    <a:pt x="476" y="758"/>
                  </a:lnTo>
                  <a:lnTo>
                    <a:pt x="477" y="760"/>
                  </a:lnTo>
                  <a:lnTo>
                    <a:pt x="474" y="762"/>
                  </a:lnTo>
                  <a:lnTo>
                    <a:pt x="469" y="759"/>
                  </a:lnTo>
                  <a:lnTo>
                    <a:pt x="466" y="755"/>
                  </a:lnTo>
                  <a:lnTo>
                    <a:pt x="464" y="749"/>
                  </a:lnTo>
                  <a:lnTo>
                    <a:pt x="460" y="743"/>
                  </a:lnTo>
                  <a:lnTo>
                    <a:pt x="453" y="737"/>
                  </a:lnTo>
                  <a:lnTo>
                    <a:pt x="450" y="735"/>
                  </a:lnTo>
                  <a:lnTo>
                    <a:pt x="450" y="729"/>
                  </a:lnTo>
                  <a:lnTo>
                    <a:pt x="449" y="723"/>
                  </a:lnTo>
                  <a:lnTo>
                    <a:pt x="449" y="717"/>
                  </a:lnTo>
                  <a:lnTo>
                    <a:pt x="441" y="710"/>
                  </a:lnTo>
                  <a:lnTo>
                    <a:pt x="437" y="707"/>
                  </a:lnTo>
                  <a:lnTo>
                    <a:pt x="431" y="706"/>
                  </a:lnTo>
                  <a:lnTo>
                    <a:pt x="427" y="700"/>
                  </a:lnTo>
                  <a:lnTo>
                    <a:pt x="423" y="696"/>
                  </a:lnTo>
                  <a:lnTo>
                    <a:pt x="417" y="692"/>
                  </a:lnTo>
                  <a:lnTo>
                    <a:pt x="411" y="690"/>
                  </a:lnTo>
                  <a:lnTo>
                    <a:pt x="409" y="686"/>
                  </a:lnTo>
                  <a:lnTo>
                    <a:pt x="401" y="682"/>
                  </a:lnTo>
                  <a:lnTo>
                    <a:pt x="397" y="679"/>
                  </a:lnTo>
                  <a:lnTo>
                    <a:pt x="396" y="677"/>
                  </a:lnTo>
                  <a:lnTo>
                    <a:pt x="393" y="674"/>
                  </a:lnTo>
                  <a:lnTo>
                    <a:pt x="389" y="673"/>
                  </a:lnTo>
                  <a:lnTo>
                    <a:pt x="386" y="669"/>
                  </a:lnTo>
                  <a:lnTo>
                    <a:pt x="380" y="666"/>
                  </a:lnTo>
                  <a:lnTo>
                    <a:pt x="378" y="662"/>
                  </a:lnTo>
                  <a:lnTo>
                    <a:pt x="378" y="657"/>
                  </a:lnTo>
                  <a:lnTo>
                    <a:pt x="377" y="653"/>
                  </a:lnTo>
                  <a:lnTo>
                    <a:pt x="376" y="649"/>
                  </a:lnTo>
                  <a:lnTo>
                    <a:pt x="376" y="644"/>
                  </a:lnTo>
                  <a:lnTo>
                    <a:pt x="377" y="643"/>
                  </a:lnTo>
                  <a:lnTo>
                    <a:pt x="377" y="637"/>
                  </a:lnTo>
                  <a:lnTo>
                    <a:pt x="376" y="634"/>
                  </a:lnTo>
                  <a:lnTo>
                    <a:pt x="374" y="631"/>
                  </a:lnTo>
                  <a:lnTo>
                    <a:pt x="374" y="629"/>
                  </a:lnTo>
                  <a:lnTo>
                    <a:pt x="374" y="626"/>
                  </a:lnTo>
                  <a:lnTo>
                    <a:pt x="373" y="623"/>
                  </a:lnTo>
                  <a:lnTo>
                    <a:pt x="373" y="620"/>
                  </a:lnTo>
                  <a:lnTo>
                    <a:pt x="374" y="617"/>
                  </a:lnTo>
                  <a:lnTo>
                    <a:pt x="373" y="613"/>
                  </a:lnTo>
                  <a:lnTo>
                    <a:pt x="383" y="603"/>
                  </a:lnTo>
                  <a:lnTo>
                    <a:pt x="389" y="601"/>
                  </a:lnTo>
                  <a:lnTo>
                    <a:pt x="393" y="600"/>
                  </a:lnTo>
                  <a:lnTo>
                    <a:pt x="397" y="591"/>
                  </a:lnTo>
                  <a:lnTo>
                    <a:pt x="404" y="589"/>
                  </a:lnTo>
                  <a:lnTo>
                    <a:pt x="410" y="584"/>
                  </a:lnTo>
                  <a:lnTo>
                    <a:pt x="416" y="584"/>
                  </a:lnTo>
                  <a:lnTo>
                    <a:pt x="423" y="584"/>
                  </a:lnTo>
                  <a:lnTo>
                    <a:pt x="421" y="581"/>
                  </a:lnTo>
                  <a:lnTo>
                    <a:pt x="416" y="580"/>
                  </a:lnTo>
                  <a:lnTo>
                    <a:pt x="416" y="580"/>
                  </a:lnTo>
                  <a:lnTo>
                    <a:pt x="414" y="578"/>
                  </a:lnTo>
                  <a:lnTo>
                    <a:pt x="409" y="580"/>
                  </a:lnTo>
                  <a:lnTo>
                    <a:pt x="404" y="581"/>
                  </a:lnTo>
                  <a:lnTo>
                    <a:pt x="400" y="584"/>
                  </a:lnTo>
                  <a:lnTo>
                    <a:pt x="396" y="586"/>
                  </a:lnTo>
                  <a:lnTo>
                    <a:pt x="394" y="583"/>
                  </a:lnTo>
                  <a:lnTo>
                    <a:pt x="397" y="577"/>
                  </a:lnTo>
                  <a:lnTo>
                    <a:pt x="401" y="568"/>
                  </a:lnTo>
                  <a:lnTo>
                    <a:pt x="406" y="566"/>
                  </a:lnTo>
                  <a:lnTo>
                    <a:pt x="411" y="561"/>
                  </a:lnTo>
                  <a:lnTo>
                    <a:pt x="416" y="554"/>
                  </a:lnTo>
                  <a:lnTo>
                    <a:pt x="416" y="551"/>
                  </a:lnTo>
                  <a:lnTo>
                    <a:pt x="414" y="551"/>
                  </a:lnTo>
                  <a:lnTo>
                    <a:pt x="409" y="558"/>
                  </a:lnTo>
                  <a:lnTo>
                    <a:pt x="404" y="561"/>
                  </a:lnTo>
                  <a:lnTo>
                    <a:pt x="396" y="568"/>
                  </a:lnTo>
                  <a:lnTo>
                    <a:pt x="393" y="574"/>
                  </a:lnTo>
                  <a:lnTo>
                    <a:pt x="389" y="583"/>
                  </a:lnTo>
                  <a:lnTo>
                    <a:pt x="380" y="587"/>
                  </a:lnTo>
                  <a:lnTo>
                    <a:pt x="370" y="591"/>
                  </a:lnTo>
                  <a:lnTo>
                    <a:pt x="366" y="597"/>
                  </a:lnTo>
                  <a:lnTo>
                    <a:pt x="361" y="597"/>
                  </a:lnTo>
                  <a:lnTo>
                    <a:pt x="358" y="596"/>
                  </a:lnTo>
                  <a:lnTo>
                    <a:pt x="351" y="596"/>
                  </a:lnTo>
                  <a:lnTo>
                    <a:pt x="350" y="596"/>
                  </a:lnTo>
                  <a:lnTo>
                    <a:pt x="344" y="596"/>
                  </a:lnTo>
                  <a:lnTo>
                    <a:pt x="343" y="596"/>
                  </a:lnTo>
                  <a:lnTo>
                    <a:pt x="341" y="597"/>
                  </a:lnTo>
                  <a:lnTo>
                    <a:pt x="334" y="603"/>
                  </a:lnTo>
                  <a:lnTo>
                    <a:pt x="333" y="607"/>
                  </a:lnTo>
                  <a:lnTo>
                    <a:pt x="333" y="611"/>
                  </a:lnTo>
                  <a:lnTo>
                    <a:pt x="333" y="617"/>
                  </a:lnTo>
                  <a:lnTo>
                    <a:pt x="330" y="620"/>
                  </a:lnTo>
                  <a:lnTo>
                    <a:pt x="325" y="626"/>
                  </a:lnTo>
                  <a:lnTo>
                    <a:pt x="324" y="634"/>
                  </a:lnTo>
                  <a:lnTo>
                    <a:pt x="323" y="639"/>
                  </a:lnTo>
                  <a:lnTo>
                    <a:pt x="325" y="642"/>
                  </a:lnTo>
                  <a:lnTo>
                    <a:pt x="328" y="643"/>
                  </a:lnTo>
                  <a:lnTo>
                    <a:pt x="328" y="644"/>
                  </a:lnTo>
                  <a:lnTo>
                    <a:pt x="325" y="644"/>
                  </a:lnTo>
                  <a:lnTo>
                    <a:pt x="321" y="649"/>
                  </a:lnTo>
                  <a:lnTo>
                    <a:pt x="320" y="650"/>
                  </a:lnTo>
                  <a:lnTo>
                    <a:pt x="315" y="660"/>
                  </a:lnTo>
                  <a:lnTo>
                    <a:pt x="313" y="667"/>
                  </a:lnTo>
                  <a:lnTo>
                    <a:pt x="313" y="672"/>
                  </a:lnTo>
                  <a:lnTo>
                    <a:pt x="310" y="679"/>
                  </a:lnTo>
                  <a:lnTo>
                    <a:pt x="307" y="689"/>
                  </a:lnTo>
                  <a:lnTo>
                    <a:pt x="305" y="694"/>
                  </a:lnTo>
                  <a:lnTo>
                    <a:pt x="307" y="697"/>
                  </a:lnTo>
                  <a:lnTo>
                    <a:pt x="308" y="697"/>
                  </a:lnTo>
                  <a:lnTo>
                    <a:pt x="311" y="696"/>
                  </a:lnTo>
                  <a:lnTo>
                    <a:pt x="314" y="697"/>
                  </a:lnTo>
                  <a:lnTo>
                    <a:pt x="314" y="700"/>
                  </a:lnTo>
                  <a:lnTo>
                    <a:pt x="314" y="705"/>
                  </a:lnTo>
                  <a:lnTo>
                    <a:pt x="314" y="706"/>
                  </a:lnTo>
                  <a:lnTo>
                    <a:pt x="315" y="706"/>
                  </a:lnTo>
                  <a:lnTo>
                    <a:pt x="318" y="705"/>
                  </a:lnTo>
                  <a:lnTo>
                    <a:pt x="320" y="705"/>
                  </a:lnTo>
                  <a:lnTo>
                    <a:pt x="321" y="706"/>
                  </a:lnTo>
                  <a:lnTo>
                    <a:pt x="324" y="707"/>
                  </a:lnTo>
                  <a:lnTo>
                    <a:pt x="327" y="706"/>
                  </a:lnTo>
                  <a:lnTo>
                    <a:pt x="327" y="706"/>
                  </a:lnTo>
                  <a:lnTo>
                    <a:pt x="328" y="703"/>
                  </a:lnTo>
                  <a:lnTo>
                    <a:pt x="331" y="702"/>
                  </a:lnTo>
                  <a:lnTo>
                    <a:pt x="334" y="702"/>
                  </a:lnTo>
                  <a:lnTo>
                    <a:pt x="336" y="705"/>
                  </a:lnTo>
                  <a:lnTo>
                    <a:pt x="336" y="706"/>
                  </a:lnTo>
                  <a:lnTo>
                    <a:pt x="334" y="707"/>
                  </a:lnTo>
                  <a:lnTo>
                    <a:pt x="333" y="710"/>
                  </a:lnTo>
                  <a:lnTo>
                    <a:pt x="333" y="710"/>
                  </a:lnTo>
                  <a:lnTo>
                    <a:pt x="333" y="712"/>
                  </a:lnTo>
                  <a:lnTo>
                    <a:pt x="334" y="715"/>
                  </a:lnTo>
                  <a:lnTo>
                    <a:pt x="334" y="717"/>
                  </a:lnTo>
                  <a:lnTo>
                    <a:pt x="336" y="723"/>
                  </a:lnTo>
                  <a:lnTo>
                    <a:pt x="337" y="727"/>
                  </a:lnTo>
                  <a:lnTo>
                    <a:pt x="341" y="732"/>
                  </a:lnTo>
                  <a:lnTo>
                    <a:pt x="348" y="736"/>
                  </a:lnTo>
                  <a:lnTo>
                    <a:pt x="350" y="736"/>
                  </a:lnTo>
                  <a:lnTo>
                    <a:pt x="353" y="737"/>
                  </a:lnTo>
                  <a:lnTo>
                    <a:pt x="356" y="742"/>
                  </a:lnTo>
                  <a:lnTo>
                    <a:pt x="358" y="742"/>
                  </a:lnTo>
                  <a:lnTo>
                    <a:pt x="360" y="740"/>
                  </a:lnTo>
                  <a:lnTo>
                    <a:pt x="364" y="739"/>
                  </a:lnTo>
                  <a:lnTo>
                    <a:pt x="364" y="742"/>
                  </a:lnTo>
                  <a:lnTo>
                    <a:pt x="364" y="746"/>
                  </a:lnTo>
                  <a:lnTo>
                    <a:pt x="368" y="749"/>
                  </a:lnTo>
                  <a:lnTo>
                    <a:pt x="373" y="755"/>
                  </a:lnTo>
                  <a:lnTo>
                    <a:pt x="377" y="762"/>
                  </a:lnTo>
                  <a:lnTo>
                    <a:pt x="378" y="763"/>
                  </a:lnTo>
                  <a:lnTo>
                    <a:pt x="381" y="766"/>
                  </a:lnTo>
                  <a:lnTo>
                    <a:pt x="381" y="769"/>
                  </a:lnTo>
                  <a:lnTo>
                    <a:pt x="386" y="772"/>
                  </a:lnTo>
                  <a:lnTo>
                    <a:pt x="387" y="775"/>
                  </a:lnTo>
                  <a:lnTo>
                    <a:pt x="387" y="776"/>
                  </a:lnTo>
                  <a:lnTo>
                    <a:pt x="391" y="776"/>
                  </a:lnTo>
                  <a:lnTo>
                    <a:pt x="394" y="776"/>
                  </a:lnTo>
                  <a:lnTo>
                    <a:pt x="399" y="773"/>
                  </a:lnTo>
                  <a:lnTo>
                    <a:pt x="401" y="773"/>
                  </a:lnTo>
                  <a:lnTo>
                    <a:pt x="407" y="770"/>
                  </a:lnTo>
                  <a:lnTo>
                    <a:pt x="407" y="768"/>
                  </a:lnTo>
                  <a:lnTo>
                    <a:pt x="410" y="763"/>
                  </a:lnTo>
                  <a:lnTo>
                    <a:pt x="416" y="762"/>
                  </a:lnTo>
                  <a:lnTo>
                    <a:pt x="420" y="763"/>
                  </a:lnTo>
                  <a:lnTo>
                    <a:pt x="420" y="765"/>
                  </a:lnTo>
                  <a:lnTo>
                    <a:pt x="421" y="768"/>
                  </a:lnTo>
                  <a:lnTo>
                    <a:pt x="424" y="769"/>
                  </a:lnTo>
                  <a:lnTo>
                    <a:pt x="423" y="772"/>
                  </a:lnTo>
                  <a:lnTo>
                    <a:pt x="420" y="776"/>
                  </a:lnTo>
                  <a:lnTo>
                    <a:pt x="421" y="778"/>
                  </a:lnTo>
                  <a:lnTo>
                    <a:pt x="426" y="779"/>
                  </a:lnTo>
                  <a:lnTo>
                    <a:pt x="424" y="780"/>
                  </a:lnTo>
                  <a:lnTo>
                    <a:pt x="421" y="780"/>
                  </a:lnTo>
                  <a:lnTo>
                    <a:pt x="420" y="782"/>
                  </a:lnTo>
                  <a:lnTo>
                    <a:pt x="420" y="783"/>
                  </a:lnTo>
                  <a:lnTo>
                    <a:pt x="420" y="786"/>
                  </a:lnTo>
                  <a:lnTo>
                    <a:pt x="420" y="788"/>
                  </a:lnTo>
                  <a:lnTo>
                    <a:pt x="424" y="790"/>
                  </a:lnTo>
                  <a:lnTo>
                    <a:pt x="429" y="792"/>
                  </a:lnTo>
                  <a:lnTo>
                    <a:pt x="429" y="793"/>
                  </a:lnTo>
                  <a:lnTo>
                    <a:pt x="429" y="796"/>
                  </a:lnTo>
                  <a:lnTo>
                    <a:pt x="430" y="799"/>
                  </a:lnTo>
                  <a:lnTo>
                    <a:pt x="430" y="800"/>
                  </a:lnTo>
                  <a:lnTo>
                    <a:pt x="429" y="802"/>
                  </a:lnTo>
                  <a:lnTo>
                    <a:pt x="426" y="802"/>
                  </a:lnTo>
                  <a:lnTo>
                    <a:pt x="424" y="802"/>
                  </a:lnTo>
                  <a:lnTo>
                    <a:pt x="423" y="802"/>
                  </a:lnTo>
                  <a:lnTo>
                    <a:pt x="421" y="802"/>
                  </a:lnTo>
                  <a:lnTo>
                    <a:pt x="420" y="800"/>
                  </a:lnTo>
                  <a:lnTo>
                    <a:pt x="417" y="800"/>
                  </a:lnTo>
                  <a:lnTo>
                    <a:pt x="416" y="800"/>
                  </a:lnTo>
                  <a:lnTo>
                    <a:pt x="416" y="802"/>
                  </a:lnTo>
                  <a:lnTo>
                    <a:pt x="413" y="803"/>
                  </a:lnTo>
                  <a:lnTo>
                    <a:pt x="411" y="802"/>
                  </a:lnTo>
                  <a:lnTo>
                    <a:pt x="411" y="800"/>
                  </a:lnTo>
                  <a:lnTo>
                    <a:pt x="410" y="802"/>
                  </a:lnTo>
                  <a:lnTo>
                    <a:pt x="410" y="803"/>
                  </a:lnTo>
                  <a:lnTo>
                    <a:pt x="409" y="803"/>
                  </a:lnTo>
                  <a:lnTo>
                    <a:pt x="409" y="802"/>
                  </a:lnTo>
                  <a:lnTo>
                    <a:pt x="409" y="796"/>
                  </a:lnTo>
                  <a:lnTo>
                    <a:pt x="406" y="793"/>
                  </a:lnTo>
                  <a:lnTo>
                    <a:pt x="404" y="793"/>
                  </a:lnTo>
                  <a:lnTo>
                    <a:pt x="399" y="793"/>
                  </a:lnTo>
                  <a:lnTo>
                    <a:pt x="396" y="793"/>
                  </a:lnTo>
                  <a:lnTo>
                    <a:pt x="394" y="796"/>
                  </a:lnTo>
                  <a:lnTo>
                    <a:pt x="391" y="800"/>
                  </a:lnTo>
                  <a:lnTo>
                    <a:pt x="393" y="805"/>
                  </a:lnTo>
                  <a:lnTo>
                    <a:pt x="391" y="809"/>
                  </a:lnTo>
                  <a:lnTo>
                    <a:pt x="393" y="812"/>
                  </a:lnTo>
                  <a:lnTo>
                    <a:pt x="394" y="812"/>
                  </a:lnTo>
                  <a:lnTo>
                    <a:pt x="397" y="813"/>
                  </a:lnTo>
                  <a:lnTo>
                    <a:pt x="400" y="813"/>
                  </a:lnTo>
                  <a:lnTo>
                    <a:pt x="400" y="811"/>
                  </a:lnTo>
                  <a:lnTo>
                    <a:pt x="401" y="808"/>
                  </a:lnTo>
                  <a:lnTo>
                    <a:pt x="404" y="806"/>
                  </a:lnTo>
                  <a:lnTo>
                    <a:pt x="406" y="806"/>
                  </a:lnTo>
                  <a:lnTo>
                    <a:pt x="406" y="811"/>
                  </a:lnTo>
                  <a:lnTo>
                    <a:pt x="404" y="812"/>
                  </a:lnTo>
                  <a:lnTo>
                    <a:pt x="403" y="815"/>
                  </a:lnTo>
                  <a:lnTo>
                    <a:pt x="401" y="816"/>
                  </a:lnTo>
                  <a:lnTo>
                    <a:pt x="397" y="816"/>
                  </a:lnTo>
                  <a:lnTo>
                    <a:pt x="396" y="818"/>
                  </a:lnTo>
                  <a:lnTo>
                    <a:pt x="393" y="818"/>
                  </a:lnTo>
                  <a:lnTo>
                    <a:pt x="383" y="823"/>
                  </a:lnTo>
                  <a:lnTo>
                    <a:pt x="380" y="821"/>
                  </a:lnTo>
                  <a:lnTo>
                    <a:pt x="377" y="816"/>
                  </a:lnTo>
                  <a:lnTo>
                    <a:pt x="376" y="813"/>
                  </a:lnTo>
                  <a:lnTo>
                    <a:pt x="371" y="812"/>
                  </a:lnTo>
                  <a:lnTo>
                    <a:pt x="370" y="813"/>
                  </a:lnTo>
                  <a:lnTo>
                    <a:pt x="366" y="813"/>
                  </a:lnTo>
                  <a:lnTo>
                    <a:pt x="364" y="809"/>
                  </a:lnTo>
                  <a:lnTo>
                    <a:pt x="364" y="806"/>
                  </a:lnTo>
                  <a:lnTo>
                    <a:pt x="360" y="806"/>
                  </a:lnTo>
                  <a:lnTo>
                    <a:pt x="354" y="809"/>
                  </a:lnTo>
                  <a:lnTo>
                    <a:pt x="347" y="806"/>
                  </a:lnTo>
                  <a:lnTo>
                    <a:pt x="343" y="805"/>
                  </a:lnTo>
                  <a:lnTo>
                    <a:pt x="340" y="802"/>
                  </a:lnTo>
                  <a:lnTo>
                    <a:pt x="343" y="795"/>
                  </a:lnTo>
                  <a:lnTo>
                    <a:pt x="343" y="789"/>
                  </a:lnTo>
                  <a:lnTo>
                    <a:pt x="341" y="785"/>
                  </a:lnTo>
                  <a:lnTo>
                    <a:pt x="337" y="780"/>
                  </a:lnTo>
                  <a:lnTo>
                    <a:pt x="330" y="780"/>
                  </a:lnTo>
                  <a:lnTo>
                    <a:pt x="321" y="785"/>
                  </a:lnTo>
                  <a:lnTo>
                    <a:pt x="315" y="793"/>
                  </a:lnTo>
                  <a:lnTo>
                    <a:pt x="308" y="793"/>
                  </a:lnTo>
                  <a:lnTo>
                    <a:pt x="305" y="792"/>
                  </a:lnTo>
                  <a:lnTo>
                    <a:pt x="304" y="786"/>
                  </a:lnTo>
                  <a:lnTo>
                    <a:pt x="305" y="770"/>
                  </a:lnTo>
                  <a:lnTo>
                    <a:pt x="308" y="768"/>
                  </a:lnTo>
                  <a:lnTo>
                    <a:pt x="313" y="759"/>
                  </a:lnTo>
                  <a:lnTo>
                    <a:pt x="313" y="746"/>
                  </a:lnTo>
                  <a:lnTo>
                    <a:pt x="313" y="742"/>
                  </a:lnTo>
                  <a:lnTo>
                    <a:pt x="305" y="733"/>
                  </a:lnTo>
                  <a:lnTo>
                    <a:pt x="297" y="726"/>
                  </a:lnTo>
                  <a:lnTo>
                    <a:pt x="291" y="723"/>
                  </a:lnTo>
                  <a:lnTo>
                    <a:pt x="284" y="723"/>
                  </a:lnTo>
                  <a:lnTo>
                    <a:pt x="277" y="722"/>
                  </a:lnTo>
                  <a:lnTo>
                    <a:pt x="274" y="717"/>
                  </a:lnTo>
                  <a:lnTo>
                    <a:pt x="271" y="707"/>
                  </a:lnTo>
                  <a:lnTo>
                    <a:pt x="270" y="703"/>
                  </a:lnTo>
                  <a:lnTo>
                    <a:pt x="268" y="702"/>
                  </a:lnTo>
                  <a:lnTo>
                    <a:pt x="262" y="702"/>
                  </a:lnTo>
                  <a:lnTo>
                    <a:pt x="261" y="703"/>
                  </a:lnTo>
                  <a:lnTo>
                    <a:pt x="255" y="709"/>
                  </a:lnTo>
                  <a:lnTo>
                    <a:pt x="250" y="710"/>
                  </a:lnTo>
                  <a:lnTo>
                    <a:pt x="245" y="707"/>
                  </a:lnTo>
                  <a:lnTo>
                    <a:pt x="242" y="703"/>
                  </a:lnTo>
                  <a:lnTo>
                    <a:pt x="235" y="705"/>
                  </a:lnTo>
                  <a:lnTo>
                    <a:pt x="232" y="706"/>
                  </a:lnTo>
                  <a:lnTo>
                    <a:pt x="232" y="710"/>
                  </a:lnTo>
                  <a:lnTo>
                    <a:pt x="231" y="712"/>
                  </a:lnTo>
                  <a:lnTo>
                    <a:pt x="225" y="712"/>
                  </a:lnTo>
                  <a:lnTo>
                    <a:pt x="214" y="713"/>
                  </a:lnTo>
                  <a:lnTo>
                    <a:pt x="209" y="712"/>
                  </a:lnTo>
                  <a:lnTo>
                    <a:pt x="204" y="705"/>
                  </a:lnTo>
                  <a:lnTo>
                    <a:pt x="198" y="700"/>
                  </a:lnTo>
                  <a:lnTo>
                    <a:pt x="194" y="699"/>
                  </a:lnTo>
                  <a:lnTo>
                    <a:pt x="192" y="693"/>
                  </a:lnTo>
                  <a:lnTo>
                    <a:pt x="189" y="687"/>
                  </a:lnTo>
                  <a:lnTo>
                    <a:pt x="192" y="686"/>
                  </a:lnTo>
                  <a:lnTo>
                    <a:pt x="197" y="683"/>
                  </a:lnTo>
                  <a:lnTo>
                    <a:pt x="198" y="680"/>
                  </a:lnTo>
                  <a:lnTo>
                    <a:pt x="192" y="672"/>
                  </a:lnTo>
                  <a:lnTo>
                    <a:pt x="192" y="667"/>
                  </a:lnTo>
                  <a:lnTo>
                    <a:pt x="195" y="660"/>
                  </a:lnTo>
                  <a:lnTo>
                    <a:pt x="195" y="656"/>
                  </a:lnTo>
                  <a:lnTo>
                    <a:pt x="191" y="653"/>
                  </a:lnTo>
                  <a:lnTo>
                    <a:pt x="185" y="653"/>
                  </a:lnTo>
                  <a:lnTo>
                    <a:pt x="178" y="650"/>
                  </a:lnTo>
                  <a:lnTo>
                    <a:pt x="172" y="649"/>
                  </a:lnTo>
                  <a:lnTo>
                    <a:pt x="167" y="649"/>
                  </a:lnTo>
                  <a:lnTo>
                    <a:pt x="165" y="644"/>
                  </a:lnTo>
                  <a:lnTo>
                    <a:pt x="167" y="640"/>
                  </a:lnTo>
                  <a:lnTo>
                    <a:pt x="165" y="627"/>
                  </a:lnTo>
                  <a:lnTo>
                    <a:pt x="159" y="614"/>
                  </a:lnTo>
                  <a:lnTo>
                    <a:pt x="152" y="607"/>
                  </a:lnTo>
                  <a:lnTo>
                    <a:pt x="146" y="607"/>
                  </a:lnTo>
                  <a:lnTo>
                    <a:pt x="142" y="607"/>
                  </a:lnTo>
                  <a:lnTo>
                    <a:pt x="136" y="609"/>
                  </a:lnTo>
                  <a:lnTo>
                    <a:pt x="134" y="606"/>
                  </a:lnTo>
                  <a:lnTo>
                    <a:pt x="128" y="606"/>
                  </a:lnTo>
                  <a:lnTo>
                    <a:pt x="124" y="610"/>
                  </a:lnTo>
                  <a:lnTo>
                    <a:pt x="119" y="610"/>
                  </a:lnTo>
                  <a:lnTo>
                    <a:pt x="114" y="607"/>
                  </a:lnTo>
                  <a:lnTo>
                    <a:pt x="109" y="600"/>
                  </a:lnTo>
                  <a:lnTo>
                    <a:pt x="109" y="593"/>
                  </a:lnTo>
                  <a:lnTo>
                    <a:pt x="111" y="589"/>
                  </a:lnTo>
                  <a:lnTo>
                    <a:pt x="106" y="587"/>
                  </a:lnTo>
                  <a:lnTo>
                    <a:pt x="103" y="589"/>
                  </a:lnTo>
                  <a:lnTo>
                    <a:pt x="101" y="583"/>
                  </a:lnTo>
                  <a:lnTo>
                    <a:pt x="95" y="580"/>
                  </a:lnTo>
                  <a:lnTo>
                    <a:pt x="86" y="580"/>
                  </a:lnTo>
                  <a:lnTo>
                    <a:pt x="82" y="580"/>
                  </a:lnTo>
                  <a:lnTo>
                    <a:pt x="79" y="573"/>
                  </a:lnTo>
                  <a:lnTo>
                    <a:pt x="73" y="573"/>
                  </a:lnTo>
                  <a:lnTo>
                    <a:pt x="71" y="571"/>
                  </a:lnTo>
                  <a:lnTo>
                    <a:pt x="71" y="564"/>
                  </a:lnTo>
                  <a:lnTo>
                    <a:pt x="71" y="558"/>
                  </a:lnTo>
                  <a:lnTo>
                    <a:pt x="79" y="550"/>
                  </a:lnTo>
                  <a:lnTo>
                    <a:pt x="81" y="546"/>
                  </a:lnTo>
                  <a:lnTo>
                    <a:pt x="76" y="538"/>
                  </a:lnTo>
                  <a:lnTo>
                    <a:pt x="73" y="536"/>
                  </a:lnTo>
                  <a:lnTo>
                    <a:pt x="72" y="531"/>
                  </a:lnTo>
                  <a:lnTo>
                    <a:pt x="72" y="525"/>
                  </a:lnTo>
                  <a:lnTo>
                    <a:pt x="69" y="521"/>
                  </a:lnTo>
                  <a:lnTo>
                    <a:pt x="71" y="515"/>
                  </a:lnTo>
                  <a:lnTo>
                    <a:pt x="69" y="510"/>
                  </a:lnTo>
                  <a:lnTo>
                    <a:pt x="65" y="511"/>
                  </a:lnTo>
                  <a:lnTo>
                    <a:pt x="61" y="511"/>
                  </a:lnTo>
                  <a:lnTo>
                    <a:pt x="53" y="510"/>
                  </a:lnTo>
                  <a:lnTo>
                    <a:pt x="48" y="511"/>
                  </a:lnTo>
                  <a:lnTo>
                    <a:pt x="35" y="508"/>
                  </a:lnTo>
                  <a:lnTo>
                    <a:pt x="30" y="507"/>
                  </a:lnTo>
                  <a:lnTo>
                    <a:pt x="25" y="500"/>
                  </a:lnTo>
                  <a:lnTo>
                    <a:pt x="19" y="494"/>
                  </a:lnTo>
                  <a:lnTo>
                    <a:pt x="10" y="495"/>
                  </a:lnTo>
                  <a:lnTo>
                    <a:pt x="2" y="493"/>
                  </a:lnTo>
                  <a:lnTo>
                    <a:pt x="3" y="493"/>
                  </a:lnTo>
                  <a:lnTo>
                    <a:pt x="3" y="493"/>
                  </a:lnTo>
                  <a:close/>
                  <a:moveTo>
                    <a:pt x="406" y="819"/>
                  </a:moveTo>
                  <a:lnTo>
                    <a:pt x="401" y="822"/>
                  </a:lnTo>
                  <a:lnTo>
                    <a:pt x="399" y="823"/>
                  </a:lnTo>
                  <a:lnTo>
                    <a:pt x="397" y="823"/>
                  </a:lnTo>
                  <a:lnTo>
                    <a:pt x="397" y="825"/>
                  </a:lnTo>
                  <a:lnTo>
                    <a:pt x="397" y="828"/>
                  </a:lnTo>
                  <a:lnTo>
                    <a:pt x="397" y="829"/>
                  </a:lnTo>
                  <a:lnTo>
                    <a:pt x="400" y="829"/>
                  </a:lnTo>
                  <a:lnTo>
                    <a:pt x="403" y="826"/>
                  </a:lnTo>
                  <a:lnTo>
                    <a:pt x="406" y="823"/>
                  </a:lnTo>
                  <a:lnTo>
                    <a:pt x="407" y="821"/>
                  </a:lnTo>
                  <a:lnTo>
                    <a:pt x="406" y="819"/>
                  </a:lnTo>
                  <a:lnTo>
                    <a:pt x="406" y="819"/>
                  </a:lnTo>
                  <a:close/>
                  <a:moveTo>
                    <a:pt x="436" y="805"/>
                  </a:moveTo>
                  <a:lnTo>
                    <a:pt x="434" y="806"/>
                  </a:lnTo>
                  <a:lnTo>
                    <a:pt x="434" y="808"/>
                  </a:lnTo>
                  <a:lnTo>
                    <a:pt x="439" y="808"/>
                  </a:lnTo>
                  <a:lnTo>
                    <a:pt x="439" y="806"/>
                  </a:lnTo>
                  <a:lnTo>
                    <a:pt x="439" y="805"/>
                  </a:lnTo>
                  <a:lnTo>
                    <a:pt x="436" y="805"/>
                  </a:lnTo>
                  <a:lnTo>
                    <a:pt x="436" y="805"/>
                  </a:lnTo>
                  <a:close/>
                  <a:moveTo>
                    <a:pt x="340" y="690"/>
                  </a:moveTo>
                  <a:lnTo>
                    <a:pt x="337" y="692"/>
                  </a:lnTo>
                  <a:lnTo>
                    <a:pt x="338" y="694"/>
                  </a:lnTo>
                  <a:lnTo>
                    <a:pt x="341" y="694"/>
                  </a:lnTo>
                  <a:lnTo>
                    <a:pt x="343" y="694"/>
                  </a:lnTo>
                  <a:lnTo>
                    <a:pt x="343" y="692"/>
                  </a:lnTo>
                  <a:lnTo>
                    <a:pt x="340" y="690"/>
                  </a:lnTo>
                  <a:lnTo>
                    <a:pt x="340" y="690"/>
                  </a:lnTo>
                  <a:close/>
                  <a:moveTo>
                    <a:pt x="529" y="842"/>
                  </a:moveTo>
                  <a:lnTo>
                    <a:pt x="527" y="843"/>
                  </a:lnTo>
                  <a:lnTo>
                    <a:pt x="527" y="845"/>
                  </a:lnTo>
                  <a:lnTo>
                    <a:pt x="529" y="846"/>
                  </a:lnTo>
                  <a:lnTo>
                    <a:pt x="530" y="846"/>
                  </a:lnTo>
                  <a:lnTo>
                    <a:pt x="532" y="845"/>
                  </a:lnTo>
                  <a:lnTo>
                    <a:pt x="532" y="843"/>
                  </a:lnTo>
                  <a:lnTo>
                    <a:pt x="529" y="842"/>
                  </a:lnTo>
                  <a:lnTo>
                    <a:pt x="529" y="842"/>
                  </a:lnTo>
                  <a:close/>
                  <a:moveTo>
                    <a:pt x="510" y="881"/>
                  </a:moveTo>
                  <a:lnTo>
                    <a:pt x="509" y="881"/>
                  </a:lnTo>
                  <a:lnTo>
                    <a:pt x="509" y="882"/>
                  </a:lnTo>
                  <a:lnTo>
                    <a:pt x="509" y="884"/>
                  </a:lnTo>
                  <a:lnTo>
                    <a:pt x="510" y="885"/>
                  </a:lnTo>
                  <a:lnTo>
                    <a:pt x="513" y="885"/>
                  </a:lnTo>
                  <a:lnTo>
                    <a:pt x="515" y="885"/>
                  </a:lnTo>
                  <a:lnTo>
                    <a:pt x="515" y="884"/>
                  </a:lnTo>
                  <a:lnTo>
                    <a:pt x="513" y="882"/>
                  </a:lnTo>
                  <a:lnTo>
                    <a:pt x="510" y="881"/>
                  </a:lnTo>
                  <a:lnTo>
                    <a:pt x="510" y="881"/>
                  </a:lnTo>
                  <a:close/>
                  <a:moveTo>
                    <a:pt x="519" y="947"/>
                  </a:moveTo>
                  <a:lnTo>
                    <a:pt x="516" y="948"/>
                  </a:lnTo>
                  <a:lnTo>
                    <a:pt x="516" y="948"/>
                  </a:lnTo>
                  <a:lnTo>
                    <a:pt x="517" y="949"/>
                  </a:lnTo>
                  <a:lnTo>
                    <a:pt x="519" y="949"/>
                  </a:lnTo>
                  <a:lnTo>
                    <a:pt x="520" y="948"/>
                  </a:lnTo>
                  <a:lnTo>
                    <a:pt x="519" y="947"/>
                  </a:lnTo>
                  <a:lnTo>
                    <a:pt x="519" y="947"/>
                  </a:lnTo>
                  <a:close/>
                  <a:moveTo>
                    <a:pt x="757" y="865"/>
                  </a:moveTo>
                  <a:lnTo>
                    <a:pt x="754" y="865"/>
                  </a:lnTo>
                  <a:lnTo>
                    <a:pt x="754" y="869"/>
                  </a:lnTo>
                  <a:lnTo>
                    <a:pt x="754" y="871"/>
                  </a:lnTo>
                  <a:lnTo>
                    <a:pt x="757" y="871"/>
                  </a:lnTo>
                  <a:lnTo>
                    <a:pt x="759" y="871"/>
                  </a:lnTo>
                  <a:lnTo>
                    <a:pt x="759" y="869"/>
                  </a:lnTo>
                  <a:lnTo>
                    <a:pt x="759" y="866"/>
                  </a:lnTo>
                  <a:lnTo>
                    <a:pt x="759" y="866"/>
                  </a:lnTo>
                  <a:lnTo>
                    <a:pt x="757" y="86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72" name="Freeform 220"/>
            <p:cNvSpPr>
              <a:spLocks noEditPoints="1"/>
            </p:cNvSpPr>
            <p:nvPr/>
          </p:nvSpPr>
          <p:spPr bwMode="auto">
            <a:xfrm>
              <a:off x="7888614" y="2473310"/>
              <a:ext cx="878001" cy="1531923"/>
            </a:xfrm>
            <a:custGeom>
              <a:avLst/>
              <a:gdLst>
                <a:gd name="T0" fmla="*/ 71 w 1438"/>
                <a:gd name="T1" fmla="*/ 369 h 2316"/>
                <a:gd name="T2" fmla="*/ 224 w 1438"/>
                <a:gd name="T3" fmla="*/ 261 h 2316"/>
                <a:gd name="T4" fmla="*/ 419 w 1438"/>
                <a:gd name="T5" fmla="*/ 263 h 2316"/>
                <a:gd name="T6" fmla="*/ 608 w 1438"/>
                <a:gd name="T7" fmla="*/ 263 h 2316"/>
                <a:gd name="T8" fmla="*/ 674 w 1438"/>
                <a:gd name="T9" fmla="*/ 124 h 2316"/>
                <a:gd name="T10" fmla="*/ 782 w 1438"/>
                <a:gd name="T11" fmla="*/ 14 h 2316"/>
                <a:gd name="T12" fmla="*/ 825 w 1438"/>
                <a:gd name="T13" fmla="*/ 43 h 2316"/>
                <a:gd name="T14" fmla="*/ 840 w 1438"/>
                <a:gd name="T15" fmla="*/ 109 h 2316"/>
                <a:gd name="T16" fmla="*/ 844 w 1438"/>
                <a:gd name="T17" fmla="*/ 177 h 2316"/>
                <a:gd name="T18" fmla="*/ 880 w 1438"/>
                <a:gd name="T19" fmla="*/ 220 h 2316"/>
                <a:gd name="T20" fmla="*/ 890 w 1438"/>
                <a:gd name="T21" fmla="*/ 265 h 2316"/>
                <a:gd name="T22" fmla="*/ 893 w 1438"/>
                <a:gd name="T23" fmla="*/ 315 h 2316"/>
                <a:gd name="T24" fmla="*/ 904 w 1438"/>
                <a:gd name="T25" fmla="*/ 388 h 2316"/>
                <a:gd name="T26" fmla="*/ 923 w 1438"/>
                <a:gd name="T27" fmla="*/ 462 h 2316"/>
                <a:gd name="T28" fmla="*/ 854 w 1438"/>
                <a:gd name="T29" fmla="*/ 454 h 2316"/>
                <a:gd name="T30" fmla="*/ 807 w 1438"/>
                <a:gd name="T31" fmla="*/ 497 h 2316"/>
                <a:gd name="T32" fmla="*/ 777 w 1438"/>
                <a:gd name="T33" fmla="*/ 590 h 2316"/>
                <a:gd name="T34" fmla="*/ 791 w 1438"/>
                <a:gd name="T35" fmla="*/ 700 h 2316"/>
                <a:gd name="T36" fmla="*/ 719 w 1438"/>
                <a:gd name="T37" fmla="*/ 676 h 2316"/>
                <a:gd name="T38" fmla="*/ 719 w 1438"/>
                <a:gd name="T39" fmla="*/ 782 h 2316"/>
                <a:gd name="T40" fmla="*/ 737 w 1438"/>
                <a:gd name="T41" fmla="*/ 842 h 2316"/>
                <a:gd name="T42" fmla="*/ 699 w 1438"/>
                <a:gd name="T43" fmla="*/ 884 h 2316"/>
                <a:gd name="T44" fmla="*/ 672 w 1438"/>
                <a:gd name="T45" fmla="*/ 934 h 2316"/>
                <a:gd name="T46" fmla="*/ 732 w 1438"/>
                <a:gd name="T47" fmla="*/ 1011 h 2316"/>
                <a:gd name="T48" fmla="*/ 769 w 1438"/>
                <a:gd name="T49" fmla="*/ 1040 h 2316"/>
                <a:gd name="T50" fmla="*/ 821 w 1438"/>
                <a:gd name="T51" fmla="*/ 1183 h 2316"/>
                <a:gd name="T52" fmla="*/ 880 w 1438"/>
                <a:gd name="T53" fmla="*/ 1171 h 2316"/>
                <a:gd name="T54" fmla="*/ 971 w 1438"/>
                <a:gd name="T55" fmla="*/ 1212 h 2316"/>
                <a:gd name="T56" fmla="*/ 1096 w 1438"/>
                <a:gd name="T57" fmla="*/ 1246 h 2316"/>
                <a:gd name="T58" fmla="*/ 1136 w 1438"/>
                <a:gd name="T59" fmla="*/ 1329 h 2316"/>
                <a:gd name="T60" fmla="*/ 1196 w 1438"/>
                <a:gd name="T61" fmla="*/ 1488 h 2316"/>
                <a:gd name="T62" fmla="*/ 1281 w 1438"/>
                <a:gd name="T63" fmla="*/ 1565 h 2316"/>
                <a:gd name="T64" fmla="*/ 1269 w 1438"/>
                <a:gd name="T65" fmla="*/ 1772 h 2316"/>
                <a:gd name="T66" fmla="*/ 1344 w 1438"/>
                <a:gd name="T67" fmla="*/ 1817 h 2316"/>
                <a:gd name="T68" fmla="*/ 1318 w 1438"/>
                <a:gd name="T69" fmla="*/ 1883 h 2316"/>
                <a:gd name="T70" fmla="*/ 1295 w 1438"/>
                <a:gd name="T71" fmla="*/ 1968 h 2316"/>
                <a:gd name="T72" fmla="*/ 1338 w 1438"/>
                <a:gd name="T73" fmla="*/ 1994 h 2316"/>
                <a:gd name="T74" fmla="*/ 1385 w 1438"/>
                <a:gd name="T75" fmla="*/ 2044 h 2316"/>
                <a:gd name="T76" fmla="*/ 1430 w 1438"/>
                <a:gd name="T77" fmla="*/ 2210 h 2316"/>
                <a:gd name="T78" fmla="*/ 1382 w 1438"/>
                <a:gd name="T79" fmla="*/ 2289 h 2316"/>
                <a:gd name="T80" fmla="*/ 1222 w 1438"/>
                <a:gd name="T81" fmla="*/ 2158 h 2316"/>
                <a:gd name="T82" fmla="*/ 981 w 1438"/>
                <a:gd name="T83" fmla="*/ 2029 h 2316"/>
                <a:gd name="T84" fmla="*/ 752 w 1438"/>
                <a:gd name="T85" fmla="*/ 1853 h 2316"/>
                <a:gd name="T86" fmla="*/ 676 w 1438"/>
                <a:gd name="T87" fmla="*/ 1656 h 2316"/>
                <a:gd name="T88" fmla="*/ 618 w 1438"/>
                <a:gd name="T89" fmla="*/ 1502 h 2316"/>
                <a:gd name="T90" fmla="*/ 636 w 1438"/>
                <a:gd name="T91" fmla="*/ 1343 h 2316"/>
                <a:gd name="T92" fmla="*/ 573 w 1438"/>
                <a:gd name="T93" fmla="*/ 1164 h 2316"/>
                <a:gd name="T94" fmla="*/ 532 w 1438"/>
                <a:gd name="T95" fmla="*/ 987 h 2316"/>
                <a:gd name="T96" fmla="*/ 539 w 1438"/>
                <a:gd name="T97" fmla="*/ 848 h 2316"/>
                <a:gd name="T98" fmla="*/ 503 w 1438"/>
                <a:gd name="T99" fmla="*/ 762 h 2316"/>
                <a:gd name="T100" fmla="*/ 397 w 1438"/>
                <a:gd name="T101" fmla="*/ 679 h 2316"/>
                <a:gd name="T102" fmla="*/ 414 w 1438"/>
                <a:gd name="T103" fmla="*/ 578 h 2316"/>
                <a:gd name="T104" fmla="*/ 330 w 1438"/>
                <a:gd name="T105" fmla="*/ 620 h 2316"/>
                <a:gd name="T106" fmla="*/ 334 w 1438"/>
                <a:gd name="T107" fmla="*/ 702 h 2316"/>
                <a:gd name="T108" fmla="*/ 399 w 1438"/>
                <a:gd name="T109" fmla="*/ 773 h 2316"/>
                <a:gd name="T110" fmla="*/ 417 w 1438"/>
                <a:gd name="T111" fmla="*/ 800 h 2316"/>
                <a:gd name="T112" fmla="*/ 396 w 1438"/>
                <a:gd name="T113" fmla="*/ 818 h 2316"/>
                <a:gd name="T114" fmla="*/ 297 w 1438"/>
                <a:gd name="T115" fmla="*/ 726 h 2316"/>
                <a:gd name="T116" fmla="*/ 195 w 1438"/>
                <a:gd name="T117" fmla="*/ 656 h 2316"/>
                <a:gd name="T118" fmla="*/ 71 w 1438"/>
                <a:gd name="T119" fmla="*/ 558 h 2316"/>
                <a:gd name="T120" fmla="*/ 406 w 1438"/>
                <a:gd name="T121" fmla="*/ 819 h 2316"/>
                <a:gd name="T122" fmla="*/ 513 w 1438"/>
                <a:gd name="T123" fmla="*/ 885 h 2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38" h="2316">
                  <a:moveTo>
                    <a:pt x="3" y="493"/>
                  </a:moveTo>
                  <a:lnTo>
                    <a:pt x="2" y="493"/>
                  </a:lnTo>
                  <a:lnTo>
                    <a:pt x="0" y="490"/>
                  </a:lnTo>
                  <a:lnTo>
                    <a:pt x="0" y="485"/>
                  </a:lnTo>
                  <a:lnTo>
                    <a:pt x="8" y="481"/>
                  </a:lnTo>
                  <a:lnTo>
                    <a:pt x="9" y="480"/>
                  </a:lnTo>
                  <a:lnTo>
                    <a:pt x="10" y="473"/>
                  </a:lnTo>
                  <a:lnTo>
                    <a:pt x="8" y="464"/>
                  </a:lnTo>
                  <a:lnTo>
                    <a:pt x="6" y="458"/>
                  </a:lnTo>
                  <a:lnTo>
                    <a:pt x="8" y="450"/>
                  </a:lnTo>
                  <a:lnTo>
                    <a:pt x="10" y="445"/>
                  </a:lnTo>
                  <a:lnTo>
                    <a:pt x="23" y="445"/>
                  </a:lnTo>
                  <a:lnTo>
                    <a:pt x="25" y="442"/>
                  </a:lnTo>
                  <a:lnTo>
                    <a:pt x="29" y="435"/>
                  </a:lnTo>
                  <a:lnTo>
                    <a:pt x="28" y="425"/>
                  </a:lnTo>
                  <a:lnTo>
                    <a:pt x="29" y="417"/>
                  </a:lnTo>
                  <a:lnTo>
                    <a:pt x="38" y="408"/>
                  </a:lnTo>
                  <a:lnTo>
                    <a:pt x="40" y="407"/>
                  </a:lnTo>
                  <a:lnTo>
                    <a:pt x="45" y="407"/>
                  </a:lnTo>
                  <a:lnTo>
                    <a:pt x="52" y="407"/>
                  </a:lnTo>
                  <a:lnTo>
                    <a:pt x="62" y="402"/>
                  </a:lnTo>
                  <a:lnTo>
                    <a:pt x="68" y="398"/>
                  </a:lnTo>
                  <a:lnTo>
                    <a:pt x="71" y="395"/>
                  </a:lnTo>
                  <a:lnTo>
                    <a:pt x="75" y="397"/>
                  </a:lnTo>
                  <a:lnTo>
                    <a:pt x="81" y="398"/>
                  </a:lnTo>
                  <a:lnTo>
                    <a:pt x="88" y="398"/>
                  </a:lnTo>
                  <a:lnTo>
                    <a:pt x="89" y="392"/>
                  </a:lnTo>
                  <a:lnTo>
                    <a:pt x="86" y="388"/>
                  </a:lnTo>
                  <a:lnTo>
                    <a:pt x="81" y="387"/>
                  </a:lnTo>
                  <a:lnTo>
                    <a:pt x="71" y="381"/>
                  </a:lnTo>
                  <a:lnTo>
                    <a:pt x="69" y="374"/>
                  </a:lnTo>
                  <a:lnTo>
                    <a:pt x="71" y="369"/>
                  </a:lnTo>
                  <a:lnTo>
                    <a:pt x="73" y="371"/>
                  </a:lnTo>
                  <a:lnTo>
                    <a:pt x="79" y="374"/>
                  </a:lnTo>
                  <a:lnTo>
                    <a:pt x="83" y="372"/>
                  </a:lnTo>
                  <a:lnTo>
                    <a:pt x="92" y="367"/>
                  </a:lnTo>
                  <a:lnTo>
                    <a:pt x="105" y="346"/>
                  </a:lnTo>
                  <a:lnTo>
                    <a:pt x="115" y="348"/>
                  </a:lnTo>
                  <a:lnTo>
                    <a:pt x="124" y="345"/>
                  </a:lnTo>
                  <a:lnTo>
                    <a:pt x="129" y="346"/>
                  </a:lnTo>
                  <a:lnTo>
                    <a:pt x="128" y="354"/>
                  </a:lnTo>
                  <a:lnTo>
                    <a:pt x="129" y="358"/>
                  </a:lnTo>
                  <a:lnTo>
                    <a:pt x="132" y="358"/>
                  </a:lnTo>
                  <a:lnTo>
                    <a:pt x="139" y="352"/>
                  </a:lnTo>
                  <a:lnTo>
                    <a:pt x="142" y="348"/>
                  </a:lnTo>
                  <a:lnTo>
                    <a:pt x="142" y="342"/>
                  </a:lnTo>
                  <a:lnTo>
                    <a:pt x="141" y="336"/>
                  </a:lnTo>
                  <a:lnTo>
                    <a:pt x="142" y="334"/>
                  </a:lnTo>
                  <a:lnTo>
                    <a:pt x="148" y="332"/>
                  </a:lnTo>
                  <a:lnTo>
                    <a:pt x="161" y="318"/>
                  </a:lnTo>
                  <a:lnTo>
                    <a:pt x="171" y="311"/>
                  </a:lnTo>
                  <a:lnTo>
                    <a:pt x="175" y="304"/>
                  </a:lnTo>
                  <a:lnTo>
                    <a:pt x="181" y="295"/>
                  </a:lnTo>
                  <a:lnTo>
                    <a:pt x="188" y="286"/>
                  </a:lnTo>
                  <a:lnTo>
                    <a:pt x="187" y="281"/>
                  </a:lnTo>
                  <a:lnTo>
                    <a:pt x="184" y="272"/>
                  </a:lnTo>
                  <a:lnTo>
                    <a:pt x="178" y="271"/>
                  </a:lnTo>
                  <a:lnTo>
                    <a:pt x="181" y="268"/>
                  </a:lnTo>
                  <a:lnTo>
                    <a:pt x="184" y="268"/>
                  </a:lnTo>
                  <a:lnTo>
                    <a:pt x="189" y="265"/>
                  </a:lnTo>
                  <a:lnTo>
                    <a:pt x="202" y="268"/>
                  </a:lnTo>
                  <a:lnTo>
                    <a:pt x="209" y="266"/>
                  </a:lnTo>
                  <a:lnTo>
                    <a:pt x="215" y="263"/>
                  </a:lnTo>
                  <a:lnTo>
                    <a:pt x="224" y="261"/>
                  </a:lnTo>
                  <a:lnTo>
                    <a:pt x="235" y="261"/>
                  </a:lnTo>
                  <a:lnTo>
                    <a:pt x="241" y="255"/>
                  </a:lnTo>
                  <a:lnTo>
                    <a:pt x="254" y="248"/>
                  </a:lnTo>
                  <a:lnTo>
                    <a:pt x="258" y="235"/>
                  </a:lnTo>
                  <a:lnTo>
                    <a:pt x="258" y="226"/>
                  </a:lnTo>
                  <a:lnTo>
                    <a:pt x="265" y="223"/>
                  </a:lnTo>
                  <a:lnTo>
                    <a:pt x="265" y="216"/>
                  </a:lnTo>
                  <a:lnTo>
                    <a:pt x="270" y="212"/>
                  </a:lnTo>
                  <a:lnTo>
                    <a:pt x="275" y="210"/>
                  </a:lnTo>
                  <a:lnTo>
                    <a:pt x="290" y="212"/>
                  </a:lnTo>
                  <a:lnTo>
                    <a:pt x="295" y="210"/>
                  </a:lnTo>
                  <a:lnTo>
                    <a:pt x="303" y="209"/>
                  </a:lnTo>
                  <a:lnTo>
                    <a:pt x="313" y="210"/>
                  </a:lnTo>
                  <a:lnTo>
                    <a:pt x="325" y="210"/>
                  </a:lnTo>
                  <a:lnTo>
                    <a:pt x="334" y="212"/>
                  </a:lnTo>
                  <a:lnTo>
                    <a:pt x="341" y="210"/>
                  </a:lnTo>
                  <a:lnTo>
                    <a:pt x="354" y="192"/>
                  </a:lnTo>
                  <a:lnTo>
                    <a:pt x="367" y="195"/>
                  </a:lnTo>
                  <a:lnTo>
                    <a:pt x="368" y="189"/>
                  </a:lnTo>
                  <a:lnTo>
                    <a:pt x="374" y="187"/>
                  </a:lnTo>
                  <a:lnTo>
                    <a:pt x="384" y="187"/>
                  </a:lnTo>
                  <a:lnTo>
                    <a:pt x="394" y="196"/>
                  </a:lnTo>
                  <a:lnTo>
                    <a:pt x="406" y="200"/>
                  </a:lnTo>
                  <a:lnTo>
                    <a:pt x="407" y="205"/>
                  </a:lnTo>
                  <a:lnTo>
                    <a:pt x="410" y="209"/>
                  </a:lnTo>
                  <a:lnTo>
                    <a:pt x="414" y="213"/>
                  </a:lnTo>
                  <a:lnTo>
                    <a:pt x="414" y="218"/>
                  </a:lnTo>
                  <a:lnTo>
                    <a:pt x="413" y="229"/>
                  </a:lnTo>
                  <a:lnTo>
                    <a:pt x="413" y="236"/>
                  </a:lnTo>
                  <a:lnTo>
                    <a:pt x="417" y="246"/>
                  </a:lnTo>
                  <a:lnTo>
                    <a:pt x="419" y="255"/>
                  </a:lnTo>
                  <a:lnTo>
                    <a:pt x="419" y="263"/>
                  </a:lnTo>
                  <a:lnTo>
                    <a:pt x="421" y="269"/>
                  </a:lnTo>
                  <a:lnTo>
                    <a:pt x="426" y="275"/>
                  </a:lnTo>
                  <a:lnTo>
                    <a:pt x="426" y="285"/>
                  </a:lnTo>
                  <a:lnTo>
                    <a:pt x="436" y="305"/>
                  </a:lnTo>
                  <a:lnTo>
                    <a:pt x="443" y="321"/>
                  </a:lnTo>
                  <a:lnTo>
                    <a:pt x="446" y="321"/>
                  </a:lnTo>
                  <a:lnTo>
                    <a:pt x="447" y="319"/>
                  </a:lnTo>
                  <a:lnTo>
                    <a:pt x="452" y="318"/>
                  </a:lnTo>
                  <a:lnTo>
                    <a:pt x="456" y="309"/>
                  </a:lnTo>
                  <a:lnTo>
                    <a:pt x="460" y="308"/>
                  </a:lnTo>
                  <a:lnTo>
                    <a:pt x="466" y="305"/>
                  </a:lnTo>
                  <a:lnTo>
                    <a:pt x="473" y="299"/>
                  </a:lnTo>
                  <a:lnTo>
                    <a:pt x="477" y="292"/>
                  </a:lnTo>
                  <a:lnTo>
                    <a:pt x="480" y="285"/>
                  </a:lnTo>
                  <a:lnTo>
                    <a:pt x="490" y="282"/>
                  </a:lnTo>
                  <a:lnTo>
                    <a:pt x="502" y="278"/>
                  </a:lnTo>
                  <a:lnTo>
                    <a:pt x="517" y="271"/>
                  </a:lnTo>
                  <a:lnTo>
                    <a:pt x="529" y="273"/>
                  </a:lnTo>
                  <a:lnTo>
                    <a:pt x="536" y="268"/>
                  </a:lnTo>
                  <a:lnTo>
                    <a:pt x="542" y="265"/>
                  </a:lnTo>
                  <a:lnTo>
                    <a:pt x="552" y="265"/>
                  </a:lnTo>
                  <a:lnTo>
                    <a:pt x="557" y="251"/>
                  </a:lnTo>
                  <a:lnTo>
                    <a:pt x="559" y="248"/>
                  </a:lnTo>
                  <a:lnTo>
                    <a:pt x="565" y="252"/>
                  </a:lnTo>
                  <a:lnTo>
                    <a:pt x="570" y="265"/>
                  </a:lnTo>
                  <a:lnTo>
                    <a:pt x="573" y="263"/>
                  </a:lnTo>
                  <a:lnTo>
                    <a:pt x="578" y="259"/>
                  </a:lnTo>
                  <a:lnTo>
                    <a:pt x="580" y="259"/>
                  </a:lnTo>
                  <a:lnTo>
                    <a:pt x="588" y="262"/>
                  </a:lnTo>
                  <a:lnTo>
                    <a:pt x="592" y="263"/>
                  </a:lnTo>
                  <a:lnTo>
                    <a:pt x="600" y="262"/>
                  </a:lnTo>
                  <a:lnTo>
                    <a:pt x="608" y="263"/>
                  </a:lnTo>
                  <a:lnTo>
                    <a:pt x="613" y="268"/>
                  </a:lnTo>
                  <a:lnTo>
                    <a:pt x="618" y="265"/>
                  </a:lnTo>
                  <a:lnTo>
                    <a:pt x="621" y="261"/>
                  </a:lnTo>
                  <a:lnTo>
                    <a:pt x="619" y="252"/>
                  </a:lnTo>
                  <a:lnTo>
                    <a:pt x="632" y="238"/>
                  </a:lnTo>
                  <a:lnTo>
                    <a:pt x="643" y="229"/>
                  </a:lnTo>
                  <a:lnTo>
                    <a:pt x="642" y="223"/>
                  </a:lnTo>
                  <a:lnTo>
                    <a:pt x="645" y="212"/>
                  </a:lnTo>
                  <a:lnTo>
                    <a:pt x="642" y="205"/>
                  </a:lnTo>
                  <a:lnTo>
                    <a:pt x="636" y="196"/>
                  </a:lnTo>
                  <a:lnTo>
                    <a:pt x="639" y="192"/>
                  </a:lnTo>
                  <a:lnTo>
                    <a:pt x="643" y="196"/>
                  </a:lnTo>
                  <a:lnTo>
                    <a:pt x="648" y="200"/>
                  </a:lnTo>
                  <a:lnTo>
                    <a:pt x="651" y="198"/>
                  </a:lnTo>
                  <a:lnTo>
                    <a:pt x="645" y="193"/>
                  </a:lnTo>
                  <a:lnTo>
                    <a:pt x="646" y="186"/>
                  </a:lnTo>
                  <a:lnTo>
                    <a:pt x="649" y="187"/>
                  </a:lnTo>
                  <a:lnTo>
                    <a:pt x="652" y="190"/>
                  </a:lnTo>
                  <a:lnTo>
                    <a:pt x="655" y="190"/>
                  </a:lnTo>
                  <a:lnTo>
                    <a:pt x="658" y="185"/>
                  </a:lnTo>
                  <a:lnTo>
                    <a:pt x="662" y="176"/>
                  </a:lnTo>
                  <a:lnTo>
                    <a:pt x="661" y="169"/>
                  </a:lnTo>
                  <a:lnTo>
                    <a:pt x="659" y="165"/>
                  </a:lnTo>
                  <a:lnTo>
                    <a:pt x="662" y="156"/>
                  </a:lnTo>
                  <a:lnTo>
                    <a:pt x="662" y="153"/>
                  </a:lnTo>
                  <a:lnTo>
                    <a:pt x="658" y="150"/>
                  </a:lnTo>
                  <a:lnTo>
                    <a:pt x="656" y="142"/>
                  </a:lnTo>
                  <a:lnTo>
                    <a:pt x="655" y="137"/>
                  </a:lnTo>
                  <a:lnTo>
                    <a:pt x="658" y="130"/>
                  </a:lnTo>
                  <a:lnTo>
                    <a:pt x="662" y="126"/>
                  </a:lnTo>
                  <a:lnTo>
                    <a:pt x="668" y="124"/>
                  </a:lnTo>
                  <a:lnTo>
                    <a:pt x="674" y="124"/>
                  </a:lnTo>
                  <a:lnTo>
                    <a:pt x="676" y="123"/>
                  </a:lnTo>
                  <a:lnTo>
                    <a:pt x="675" y="109"/>
                  </a:lnTo>
                  <a:lnTo>
                    <a:pt x="676" y="102"/>
                  </a:lnTo>
                  <a:lnTo>
                    <a:pt x="684" y="93"/>
                  </a:lnTo>
                  <a:lnTo>
                    <a:pt x="689" y="87"/>
                  </a:lnTo>
                  <a:lnTo>
                    <a:pt x="696" y="87"/>
                  </a:lnTo>
                  <a:lnTo>
                    <a:pt x="698" y="87"/>
                  </a:lnTo>
                  <a:lnTo>
                    <a:pt x="698" y="82"/>
                  </a:lnTo>
                  <a:lnTo>
                    <a:pt x="696" y="77"/>
                  </a:lnTo>
                  <a:lnTo>
                    <a:pt x="701" y="71"/>
                  </a:lnTo>
                  <a:lnTo>
                    <a:pt x="701" y="69"/>
                  </a:lnTo>
                  <a:lnTo>
                    <a:pt x="696" y="29"/>
                  </a:lnTo>
                  <a:lnTo>
                    <a:pt x="699" y="26"/>
                  </a:lnTo>
                  <a:lnTo>
                    <a:pt x="702" y="13"/>
                  </a:lnTo>
                  <a:lnTo>
                    <a:pt x="706" y="11"/>
                  </a:lnTo>
                  <a:lnTo>
                    <a:pt x="719" y="10"/>
                  </a:lnTo>
                  <a:lnTo>
                    <a:pt x="725" y="8"/>
                  </a:lnTo>
                  <a:lnTo>
                    <a:pt x="726" y="4"/>
                  </a:lnTo>
                  <a:lnTo>
                    <a:pt x="726" y="0"/>
                  </a:lnTo>
                  <a:lnTo>
                    <a:pt x="732" y="0"/>
                  </a:lnTo>
                  <a:lnTo>
                    <a:pt x="739" y="1"/>
                  </a:lnTo>
                  <a:lnTo>
                    <a:pt x="744" y="6"/>
                  </a:lnTo>
                  <a:lnTo>
                    <a:pt x="744" y="8"/>
                  </a:lnTo>
                  <a:lnTo>
                    <a:pt x="745" y="16"/>
                  </a:lnTo>
                  <a:lnTo>
                    <a:pt x="747" y="20"/>
                  </a:lnTo>
                  <a:lnTo>
                    <a:pt x="751" y="18"/>
                  </a:lnTo>
                  <a:lnTo>
                    <a:pt x="757" y="14"/>
                  </a:lnTo>
                  <a:lnTo>
                    <a:pt x="765" y="14"/>
                  </a:lnTo>
                  <a:lnTo>
                    <a:pt x="769" y="18"/>
                  </a:lnTo>
                  <a:lnTo>
                    <a:pt x="771" y="20"/>
                  </a:lnTo>
                  <a:lnTo>
                    <a:pt x="777" y="18"/>
                  </a:lnTo>
                  <a:lnTo>
                    <a:pt x="782" y="14"/>
                  </a:lnTo>
                  <a:lnTo>
                    <a:pt x="788" y="7"/>
                  </a:lnTo>
                  <a:lnTo>
                    <a:pt x="790" y="6"/>
                  </a:lnTo>
                  <a:lnTo>
                    <a:pt x="792" y="8"/>
                  </a:lnTo>
                  <a:lnTo>
                    <a:pt x="797" y="11"/>
                  </a:lnTo>
                  <a:lnTo>
                    <a:pt x="798" y="10"/>
                  </a:lnTo>
                  <a:lnTo>
                    <a:pt x="801" y="7"/>
                  </a:lnTo>
                  <a:lnTo>
                    <a:pt x="808" y="8"/>
                  </a:lnTo>
                  <a:lnTo>
                    <a:pt x="820" y="11"/>
                  </a:lnTo>
                  <a:lnTo>
                    <a:pt x="830" y="14"/>
                  </a:lnTo>
                  <a:lnTo>
                    <a:pt x="835" y="17"/>
                  </a:lnTo>
                  <a:lnTo>
                    <a:pt x="834" y="11"/>
                  </a:lnTo>
                  <a:lnTo>
                    <a:pt x="835" y="16"/>
                  </a:lnTo>
                  <a:lnTo>
                    <a:pt x="834" y="17"/>
                  </a:lnTo>
                  <a:lnTo>
                    <a:pt x="830" y="20"/>
                  </a:lnTo>
                  <a:lnTo>
                    <a:pt x="828" y="23"/>
                  </a:lnTo>
                  <a:lnTo>
                    <a:pt x="828" y="27"/>
                  </a:lnTo>
                  <a:lnTo>
                    <a:pt x="827" y="37"/>
                  </a:lnTo>
                  <a:lnTo>
                    <a:pt x="827" y="40"/>
                  </a:lnTo>
                  <a:lnTo>
                    <a:pt x="824" y="39"/>
                  </a:lnTo>
                  <a:lnTo>
                    <a:pt x="825" y="36"/>
                  </a:lnTo>
                  <a:lnTo>
                    <a:pt x="822" y="36"/>
                  </a:lnTo>
                  <a:lnTo>
                    <a:pt x="820" y="37"/>
                  </a:lnTo>
                  <a:lnTo>
                    <a:pt x="820" y="40"/>
                  </a:lnTo>
                  <a:lnTo>
                    <a:pt x="818" y="41"/>
                  </a:lnTo>
                  <a:lnTo>
                    <a:pt x="818" y="43"/>
                  </a:lnTo>
                  <a:lnTo>
                    <a:pt x="820" y="44"/>
                  </a:lnTo>
                  <a:lnTo>
                    <a:pt x="820" y="47"/>
                  </a:lnTo>
                  <a:lnTo>
                    <a:pt x="822" y="49"/>
                  </a:lnTo>
                  <a:lnTo>
                    <a:pt x="824" y="47"/>
                  </a:lnTo>
                  <a:lnTo>
                    <a:pt x="825" y="47"/>
                  </a:lnTo>
                  <a:lnTo>
                    <a:pt x="825" y="44"/>
                  </a:lnTo>
                  <a:lnTo>
                    <a:pt x="825" y="43"/>
                  </a:lnTo>
                  <a:lnTo>
                    <a:pt x="827" y="43"/>
                  </a:lnTo>
                  <a:lnTo>
                    <a:pt x="828" y="43"/>
                  </a:lnTo>
                  <a:lnTo>
                    <a:pt x="828" y="46"/>
                  </a:lnTo>
                  <a:lnTo>
                    <a:pt x="832" y="53"/>
                  </a:lnTo>
                  <a:lnTo>
                    <a:pt x="832" y="56"/>
                  </a:lnTo>
                  <a:lnTo>
                    <a:pt x="834" y="57"/>
                  </a:lnTo>
                  <a:lnTo>
                    <a:pt x="834" y="61"/>
                  </a:lnTo>
                  <a:lnTo>
                    <a:pt x="835" y="67"/>
                  </a:lnTo>
                  <a:lnTo>
                    <a:pt x="837" y="73"/>
                  </a:lnTo>
                  <a:lnTo>
                    <a:pt x="835" y="73"/>
                  </a:lnTo>
                  <a:lnTo>
                    <a:pt x="831" y="74"/>
                  </a:lnTo>
                  <a:lnTo>
                    <a:pt x="827" y="76"/>
                  </a:lnTo>
                  <a:lnTo>
                    <a:pt x="824" y="79"/>
                  </a:lnTo>
                  <a:lnTo>
                    <a:pt x="821" y="80"/>
                  </a:lnTo>
                  <a:lnTo>
                    <a:pt x="817" y="80"/>
                  </a:lnTo>
                  <a:lnTo>
                    <a:pt x="815" y="83"/>
                  </a:lnTo>
                  <a:lnTo>
                    <a:pt x="815" y="86"/>
                  </a:lnTo>
                  <a:lnTo>
                    <a:pt x="812" y="83"/>
                  </a:lnTo>
                  <a:lnTo>
                    <a:pt x="811" y="83"/>
                  </a:lnTo>
                  <a:lnTo>
                    <a:pt x="810" y="86"/>
                  </a:lnTo>
                  <a:lnTo>
                    <a:pt x="811" y="86"/>
                  </a:lnTo>
                  <a:lnTo>
                    <a:pt x="814" y="90"/>
                  </a:lnTo>
                  <a:lnTo>
                    <a:pt x="818" y="90"/>
                  </a:lnTo>
                  <a:lnTo>
                    <a:pt x="821" y="92"/>
                  </a:lnTo>
                  <a:lnTo>
                    <a:pt x="825" y="94"/>
                  </a:lnTo>
                  <a:lnTo>
                    <a:pt x="825" y="96"/>
                  </a:lnTo>
                  <a:lnTo>
                    <a:pt x="827" y="99"/>
                  </a:lnTo>
                  <a:lnTo>
                    <a:pt x="834" y="99"/>
                  </a:lnTo>
                  <a:lnTo>
                    <a:pt x="838" y="102"/>
                  </a:lnTo>
                  <a:lnTo>
                    <a:pt x="841" y="106"/>
                  </a:lnTo>
                  <a:lnTo>
                    <a:pt x="841" y="107"/>
                  </a:lnTo>
                  <a:lnTo>
                    <a:pt x="840" y="109"/>
                  </a:lnTo>
                  <a:lnTo>
                    <a:pt x="838" y="113"/>
                  </a:lnTo>
                  <a:lnTo>
                    <a:pt x="838" y="116"/>
                  </a:lnTo>
                  <a:lnTo>
                    <a:pt x="841" y="119"/>
                  </a:lnTo>
                  <a:lnTo>
                    <a:pt x="847" y="120"/>
                  </a:lnTo>
                  <a:lnTo>
                    <a:pt x="847" y="122"/>
                  </a:lnTo>
                  <a:lnTo>
                    <a:pt x="848" y="124"/>
                  </a:lnTo>
                  <a:lnTo>
                    <a:pt x="853" y="133"/>
                  </a:lnTo>
                  <a:lnTo>
                    <a:pt x="851" y="142"/>
                  </a:lnTo>
                  <a:lnTo>
                    <a:pt x="848" y="146"/>
                  </a:lnTo>
                  <a:lnTo>
                    <a:pt x="844" y="147"/>
                  </a:lnTo>
                  <a:lnTo>
                    <a:pt x="835" y="149"/>
                  </a:lnTo>
                  <a:lnTo>
                    <a:pt x="834" y="150"/>
                  </a:lnTo>
                  <a:lnTo>
                    <a:pt x="830" y="152"/>
                  </a:lnTo>
                  <a:lnTo>
                    <a:pt x="827" y="153"/>
                  </a:lnTo>
                  <a:lnTo>
                    <a:pt x="830" y="153"/>
                  </a:lnTo>
                  <a:lnTo>
                    <a:pt x="830" y="156"/>
                  </a:lnTo>
                  <a:lnTo>
                    <a:pt x="832" y="160"/>
                  </a:lnTo>
                  <a:lnTo>
                    <a:pt x="832" y="163"/>
                  </a:lnTo>
                  <a:lnTo>
                    <a:pt x="831" y="166"/>
                  </a:lnTo>
                  <a:lnTo>
                    <a:pt x="831" y="167"/>
                  </a:lnTo>
                  <a:lnTo>
                    <a:pt x="834" y="167"/>
                  </a:lnTo>
                  <a:lnTo>
                    <a:pt x="838" y="162"/>
                  </a:lnTo>
                  <a:lnTo>
                    <a:pt x="844" y="156"/>
                  </a:lnTo>
                  <a:lnTo>
                    <a:pt x="850" y="156"/>
                  </a:lnTo>
                  <a:lnTo>
                    <a:pt x="857" y="156"/>
                  </a:lnTo>
                  <a:lnTo>
                    <a:pt x="860" y="162"/>
                  </a:lnTo>
                  <a:lnTo>
                    <a:pt x="860" y="165"/>
                  </a:lnTo>
                  <a:lnTo>
                    <a:pt x="858" y="169"/>
                  </a:lnTo>
                  <a:lnTo>
                    <a:pt x="851" y="170"/>
                  </a:lnTo>
                  <a:lnTo>
                    <a:pt x="845" y="172"/>
                  </a:lnTo>
                  <a:lnTo>
                    <a:pt x="844" y="175"/>
                  </a:lnTo>
                  <a:lnTo>
                    <a:pt x="844" y="177"/>
                  </a:lnTo>
                  <a:lnTo>
                    <a:pt x="845" y="177"/>
                  </a:lnTo>
                  <a:lnTo>
                    <a:pt x="853" y="173"/>
                  </a:lnTo>
                  <a:lnTo>
                    <a:pt x="857" y="173"/>
                  </a:lnTo>
                  <a:lnTo>
                    <a:pt x="858" y="175"/>
                  </a:lnTo>
                  <a:lnTo>
                    <a:pt x="858" y="179"/>
                  </a:lnTo>
                  <a:lnTo>
                    <a:pt x="860" y="185"/>
                  </a:lnTo>
                  <a:lnTo>
                    <a:pt x="863" y="186"/>
                  </a:lnTo>
                  <a:lnTo>
                    <a:pt x="864" y="193"/>
                  </a:lnTo>
                  <a:lnTo>
                    <a:pt x="860" y="199"/>
                  </a:lnTo>
                  <a:lnTo>
                    <a:pt x="851" y="203"/>
                  </a:lnTo>
                  <a:lnTo>
                    <a:pt x="850" y="205"/>
                  </a:lnTo>
                  <a:lnTo>
                    <a:pt x="850" y="206"/>
                  </a:lnTo>
                  <a:lnTo>
                    <a:pt x="854" y="208"/>
                  </a:lnTo>
                  <a:lnTo>
                    <a:pt x="860" y="210"/>
                  </a:lnTo>
                  <a:lnTo>
                    <a:pt x="863" y="210"/>
                  </a:lnTo>
                  <a:lnTo>
                    <a:pt x="863" y="213"/>
                  </a:lnTo>
                  <a:lnTo>
                    <a:pt x="860" y="218"/>
                  </a:lnTo>
                  <a:lnTo>
                    <a:pt x="858" y="220"/>
                  </a:lnTo>
                  <a:lnTo>
                    <a:pt x="860" y="220"/>
                  </a:lnTo>
                  <a:lnTo>
                    <a:pt x="863" y="220"/>
                  </a:lnTo>
                  <a:lnTo>
                    <a:pt x="865" y="219"/>
                  </a:lnTo>
                  <a:lnTo>
                    <a:pt x="865" y="216"/>
                  </a:lnTo>
                  <a:lnTo>
                    <a:pt x="867" y="212"/>
                  </a:lnTo>
                  <a:lnTo>
                    <a:pt x="867" y="210"/>
                  </a:lnTo>
                  <a:lnTo>
                    <a:pt x="870" y="212"/>
                  </a:lnTo>
                  <a:lnTo>
                    <a:pt x="873" y="215"/>
                  </a:lnTo>
                  <a:lnTo>
                    <a:pt x="873" y="215"/>
                  </a:lnTo>
                  <a:lnTo>
                    <a:pt x="874" y="210"/>
                  </a:lnTo>
                  <a:lnTo>
                    <a:pt x="875" y="210"/>
                  </a:lnTo>
                  <a:lnTo>
                    <a:pt x="877" y="213"/>
                  </a:lnTo>
                  <a:lnTo>
                    <a:pt x="878" y="216"/>
                  </a:lnTo>
                  <a:lnTo>
                    <a:pt x="880" y="220"/>
                  </a:lnTo>
                  <a:lnTo>
                    <a:pt x="880" y="220"/>
                  </a:lnTo>
                  <a:lnTo>
                    <a:pt x="877" y="222"/>
                  </a:lnTo>
                  <a:lnTo>
                    <a:pt x="875" y="223"/>
                  </a:lnTo>
                  <a:lnTo>
                    <a:pt x="874" y="226"/>
                  </a:lnTo>
                  <a:lnTo>
                    <a:pt x="874" y="228"/>
                  </a:lnTo>
                  <a:lnTo>
                    <a:pt x="868" y="229"/>
                  </a:lnTo>
                  <a:lnTo>
                    <a:pt x="864" y="229"/>
                  </a:lnTo>
                  <a:lnTo>
                    <a:pt x="863" y="233"/>
                  </a:lnTo>
                  <a:lnTo>
                    <a:pt x="857" y="235"/>
                  </a:lnTo>
                  <a:lnTo>
                    <a:pt x="854" y="238"/>
                  </a:lnTo>
                  <a:lnTo>
                    <a:pt x="854" y="239"/>
                  </a:lnTo>
                  <a:lnTo>
                    <a:pt x="858" y="239"/>
                  </a:lnTo>
                  <a:lnTo>
                    <a:pt x="865" y="235"/>
                  </a:lnTo>
                  <a:lnTo>
                    <a:pt x="868" y="233"/>
                  </a:lnTo>
                  <a:lnTo>
                    <a:pt x="874" y="233"/>
                  </a:lnTo>
                  <a:lnTo>
                    <a:pt x="878" y="235"/>
                  </a:lnTo>
                  <a:lnTo>
                    <a:pt x="881" y="236"/>
                  </a:lnTo>
                  <a:lnTo>
                    <a:pt x="881" y="240"/>
                  </a:lnTo>
                  <a:lnTo>
                    <a:pt x="881" y="242"/>
                  </a:lnTo>
                  <a:lnTo>
                    <a:pt x="881" y="243"/>
                  </a:lnTo>
                  <a:lnTo>
                    <a:pt x="884" y="245"/>
                  </a:lnTo>
                  <a:lnTo>
                    <a:pt x="885" y="248"/>
                  </a:lnTo>
                  <a:lnTo>
                    <a:pt x="888" y="248"/>
                  </a:lnTo>
                  <a:lnTo>
                    <a:pt x="891" y="249"/>
                  </a:lnTo>
                  <a:lnTo>
                    <a:pt x="891" y="253"/>
                  </a:lnTo>
                  <a:lnTo>
                    <a:pt x="891" y="255"/>
                  </a:lnTo>
                  <a:lnTo>
                    <a:pt x="887" y="256"/>
                  </a:lnTo>
                  <a:lnTo>
                    <a:pt x="883" y="256"/>
                  </a:lnTo>
                  <a:lnTo>
                    <a:pt x="883" y="259"/>
                  </a:lnTo>
                  <a:lnTo>
                    <a:pt x="885" y="261"/>
                  </a:lnTo>
                  <a:lnTo>
                    <a:pt x="888" y="262"/>
                  </a:lnTo>
                  <a:lnTo>
                    <a:pt x="890" y="265"/>
                  </a:lnTo>
                  <a:lnTo>
                    <a:pt x="890" y="268"/>
                  </a:lnTo>
                  <a:lnTo>
                    <a:pt x="883" y="271"/>
                  </a:lnTo>
                  <a:lnTo>
                    <a:pt x="881" y="273"/>
                  </a:lnTo>
                  <a:lnTo>
                    <a:pt x="880" y="281"/>
                  </a:lnTo>
                  <a:lnTo>
                    <a:pt x="883" y="283"/>
                  </a:lnTo>
                  <a:lnTo>
                    <a:pt x="883" y="286"/>
                  </a:lnTo>
                  <a:lnTo>
                    <a:pt x="880" y="292"/>
                  </a:lnTo>
                  <a:lnTo>
                    <a:pt x="880" y="295"/>
                  </a:lnTo>
                  <a:lnTo>
                    <a:pt x="878" y="299"/>
                  </a:lnTo>
                  <a:lnTo>
                    <a:pt x="881" y="298"/>
                  </a:lnTo>
                  <a:lnTo>
                    <a:pt x="883" y="292"/>
                  </a:lnTo>
                  <a:lnTo>
                    <a:pt x="884" y="291"/>
                  </a:lnTo>
                  <a:lnTo>
                    <a:pt x="887" y="289"/>
                  </a:lnTo>
                  <a:lnTo>
                    <a:pt x="890" y="289"/>
                  </a:lnTo>
                  <a:lnTo>
                    <a:pt x="893" y="293"/>
                  </a:lnTo>
                  <a:lnTo>
                    <a:pt x="893" y="296"/>
                  </a:lnTo>
                  <a:lnTo>
                    <a:pt x="891" y="299"/>
                  </a:lnTo>
                  <a:lnTo>
                    <a:pt x="891" y="302"/>
                  </a:lnTo>
                  <a:lnTo>
                    <a:pt x="893" y="305"/>
                  </a:lnTo>
                  <a:lnTo>
                    <a:pt x="893" y="308"/>
                  </a:lnTo>
                  <a:lnTo>
                    <a:pt x="891" y="308"/>
                  </a:lnTo>
                  <a:lnTo>
                    <a:pt x="891" y="305"/>
                  </a:lnTo>
                  <a:lnTo>
                    <a:pt x="888" y="304"/>
                  </a:lnTo>
                  <a:lnTo>
                    <a:pt x="883" y="302"/>
                  </a:lnTo>
                  <a:lnTo>
                    <a:pt x="877" y="302"/>
                  </a:lnTo>
                  <a:lnTo>
                    <a:pt x="877" y="305"/>
                  </a:lnTo>
                  <a:lnTo>
                    <a:pt x="878" y="305"/>
                  </a:lnTo>
                  <a:lnTo>
                    <a:pt x="883" y="305"/>
                  </a:lnTo>
                  <a:lnTo>
                    <a:pt x="885" y="306"/>
                  </a:lnTo>
                  <a:lnTo>
                    <a:pt x="888" y="309"/>
                  </a:lnTo>
                  <a:lnTo>
                    <a:pt x="891" y="314"/>
                  </a:lnTo>
                  <a:lnTo>
                    <a:pt x="893" y="315"/>
                  </a:lnTo>
                  <a:lnTo>
                    <a:pt x="895" y="315"/>
                  </a:lnTo>
                  <a:lnTo>
                    <a:pt x="898" y="316"/>
                  </a:lnTo>
                  <a:lnTo>
                    <a:pt x="898" y="319"/>
                  </a:lnTo>
                  <a:lnTo>
                    <a:pt x="898" y="325"/>
                  </a:lnTo>
                  <a:lnTo>
                    <a:pt x="900" y="331"/>
                  </a:lnTo>
                  <a:lnTo>
                    <a:pt x="903" y="335"/>
                  </a:lnTo>
                  <a:lnTo>
                    <a:pt x="903" y="338"/>
                  </a:lnTo>
                  <a:lnTo>
                    <a:pt x="900" y="341"/>
                  </a:lnTo>
                  <a:lnTo>
                    <a:pt x="898" y="344"/>
                  </a:lnTo>
                  <a:lnTo>
                    <a:pt x="898" y="349"/>
                  </a:lnTo>
                  <a:lnTo>
                    <a:pt x="900" y="354"/>
                  </a:lnTo>
                  <a:lnTo>
                    <a:pt x="900" y="356"/>
                  </a:lnTo>
                  <a:lnTo>
                    <a:pt x="900" y="361"/>
                  </a:lnTo>
                  <a:lnTo>
                    <a:pt x="895" y="364"/>
                  </a:lnTo>
                  <a:lnTo>
                    <a:pt x="893" y="367"/>
                  </a:lnTo>
                  <a:lnTo>
                    <a:pt x="891" y="368"/>
                  </a:lnTo>
                  <a:lnTo>
                    <a:pt x="893" y="371"/>
                  </a:lnTo>
                  <a:lnTo>
                    <a:pt x="894" y="372"/>
                  </a:lnTo>
                  <a:lnTo>
                    <a:pt x="898" y="367"/>
                  </a:lnTo>
                  <a:lnTo>
                    <a:pt x="900" y="367"/>
                  </a:lnTo>
                  <a:lnTo>
                    <a:pt x="901" y="368"/>
                  </a:lnTo>
                  <a:lnTo>
                    <a:pt x="904" y="371"/>
                  </a:lnTo>
                  <a:lnTo>
                    <a:pt x="904" y="374"/>
                  </a:lnTo>
                  <a:lnTo>
                    <a:pt x="904" y="379"/>
                  </a:lnTo>
                  <a:lnTo>
                    <a:pt x="904" y="384"/>
                  </a:lnTo>
                  <a:lnTo>
                    <a:pt x="900" y="385"/>
                  </a:lnTo>
                  <a:lnTo>
                    <a:pt x="895" y="387"/>
                  </a:lnTo>
                  <a:lnTo>
                    <a:pt x="894" y="389"/>
                  </a:lnTo>
                  <a:lnTo>
                    <a:pt x="894" y="392"/>
                  </a:lnTo>
                  <a:lnTo>
                    <a:pt x="895" y="392"/>
                  </a:lnTo>
                  <a:lnTo>
                    <a:pt x="898" y="388"/>
                  </a:lnTo>
                  <a:lnTo>
                    <a:pt x="904" y="388"/>
                  </a:lnTo>
                  <a:lnTo>
                    <a:pt x="906" y="391"/>
                  </a:lnTo>
                  <a:lnTo>
                    <a:pt x="908" y="391"/>
                  </a:lnTo>
                  <a:lnTo>
                    <a:pt x="911" y="388"/>
                  </a:lnTo>
                  <a:lnTo>
                    <a:pt x="914" y="389"/>
                  </a:lnTo>
                  <a:lnTo>
                    <a:pt x="918" y="392"/>
                  </a:lnTo>
                  <a:lnTo>
                    <a:pt x="918" y="397"/>
                  </a:lnTo>
                  <a:lnTo>
                    <a:pt x="918" y="405"/>
                  </a:lnTo>
                  <a:lnTo>
                    <a:pt x="923" y="411"/>
                  </a:lnTo>
                  <a:lnTo>
                    <a:pt x="926" y="414"/>
                  </a:lnTo>
                  <a:lnTo>
                    <a:pt x="926" y="414"/>
                  </a:lnTo>
                  <a:lnTo>
                    <a:pt x="926" y="417"/>
                  </a:lnTo>
                  <a:lnTo>
                    <a:pt x="923" y="417"/>
                  </a:lnTo>
                  <a:lnTo>
                    <a:pt x="918" y="420"/>
                  </a:lnTo>
                  <a:lnTo>
                    <a:pt x="920" y="421"/>
                  </a:lnTo>
                  <a:lnTo>
                    <a:pt x="928" y="420"/>
                  </a:lnTo>
                  <a:lnTo>
                    <a:pt x="931" y="420"/>
                  </a:lnTo>
                  <a:lnTo>
                    <a:pt x="938" y="422"/>
                  </a:lnTo>
                  <a:lnTo>
                    <a:pt x="953" y="434"/>
                  </a:lnTo>
                  <a:lnTo>
                    <a:pt x="957" y="437"/>
                  </a:lnTo>
                  <a:lnTo>
                    <a:pt x="957" y="441"/>
                  </a:lnTo>
                  <a:lnTo>
                    <a:pt x="959" y="448"/>
                  </a:lnTo>
                  <a:lnTo>
                    <a:pt x="957" y="451"/>
                  </a:lnTo>
                  <a:lnTo>
                    <a:pt x="951" y="454"/>
                  </a:lnTo>
                  <a:lnTo>
                    <a:pt x="947" y="454"/>
                  </a:lnTo>
                  <a:lnTo>
                    <a:pt x="943" y="460"/>
                  </a:lnTo>
                  <a:lnTo>
                    <a:pt x="938" y="457"/>
                  </a:lnTo>
                  <a:lnTo>
                    <a:pt x="936" y="455"/>
                  </a:lnTo>
                  <a:lnTo>
                    <a:pt x="934" y="455"/>
                  </a:lnTo>
                  <a:lnTo>
                    <a:pt x="933" y="455"/>
                  </a:lnTo>
                  <a:lnTo>
                    <a:pt x="930" y="458"/>
                  </a:lnTo>
                  <a:lnTo>
                    <a:pt x="926" y="461"/>
                  </a:lnTo>
                  <a:lnTo>
                    <a:pt x="923" y="462"/>
                  </a:lnTo>
                  <a:lnTo>
                    <a:pt x="914" y="464"/>
                  </a:lnTo>
                  <a:lnTo>
                    <a:pt x="910" y="461"/>
                  </a:lnTo>
                  <a:lnTo>
                    <a:pt x="908" y="461"/>
                  </a:lnTo>
                  <a:lnTo>
                    <a:pt x="904" y="461"/>
                  </a:lnTo>
                  <a:lnTo>
                    <a:pt x="901" y="461"/>
                  </a:lnTo>
                  <a:lnTo>
                    <a:pt x="897" y="458"/>
                  </a:lnTo>
                  <a:lnTo>
                    <a:pt x="898" y="455"/>
                  </a:lnTo>
                  <a:lnTo>
                    <a:pt x="901" y="455"/>
                  </a:lnTo>
                  <a:lnTo>
                    <a:pt x="900" y="454"/>
                  </a:lnTo>
                  <a:lnTo>
                    <a:pt x="900" y="450"/>
                  </a:lnTo>
                  <a:lnTo>
                    <a:pt x="901" y="447"/>
                  </a:lnTo>
                  <a:lnTo>
                    <a:pt x="898" y="447"/>
                  </a:lnTo>
                  <a:lnTo>
                    <a:pt x="895" y="448"/>
                  </a:lnTo>
                  <a:lnTo>
                    <a:pt x="895" y="451"/>
                  </a:lnTo>
                  <a:lnTo>
                    <a:pt x="893" y="452"/>
                  </a:lnTo>
                  <a:lnTo>
                    <a:pt x="891" y="454"/>
                  </a:lnTo>
                  <a:lnTo>
                    <a:pt x="893" y="454"/>
                  </a:lnTo>
                  <a:lnTo>
                    <a:pt x="894" y="455"/>
                  </a:lnTo>
                  <a:lnTo>
                    <a:pt x="894" y="458"/>
                  </a:lnTo>
                  <a:lnTo>
                    <a:pt x="891" y="458"/>
                  </a:lnTo>
                  <a:lnTo>
                    <a:pt x="888" y="460"/>
                  </a:lnTo>
                  <a:lnTo>
                    <a:pt x="887" y="460"/>
                  </a:lnTo>
                  <a:lnTo>
                    <a:pt x="880" y="457"/>
                  </a:lnTo>
                  <a:lnTo>
                    <a:pt x="875" y="457"/>
                  </a:lnTo>
                  <a:lnTo>
                    <a:pt x="873" y="455"/>
                  </a:lnTo>
                  <a:lnTo>
                    <a:pt x="865" y="455"/>
                  </a:lnTo>
                  <a:lnTo>
                    <a:pt x="861" y="455"/>
                  </a:lnTo>
                  <a:lnTo>
                    <a:pt x="857" y="458"/>
                  </a:lnTo>
                  <a:lnTo>
                    <a:pt x="854" y="458"/>
                  </a:lnTo>
                  <a:lnTo>
                    <a:pt x="854" y="458"/>
                  </a:lnTo>
                  <a:lnTo>
                    <a:pt x="855" y="455"/>
                  </a:lnTo>
                  <a:lnTo>
                    <a:pt x="854" y="454"/>
                  </a:lnTo>
                  <a:lnTo>
                    <a:pt x="854" y="454"/>
                  </a:lnTo>
                  <a:lnTo>
                    <a:pt x="853" y="457"/>
                  </a:lnTo>
                  <a:lnTo>
                    <a:pt x="850" y="462"/>
                  </a:lnTo>
                  <a:lnTo>
                    <a:pt x="847" y="464"/>
                  </a:lnTo>
                  <a:lnTo>
                    <a:pt x="841" y="467"/>
                  </a:lnTo>
                  <a:lnTo>
                    <a:pt x="832" y="468"/>
                  </a:lnTo>
                  <a:lnTo>
                    <a:pt x="831" y="471"/>
                  </a:lnTo>
                  <a:lnTo>
                    <a:pt x="827" y="478"/>
                  </a:lnTo>
                  <a:lnTo>
                    <a:pt x="824" y="481"/>
                  </a:lnTo>
                  <a:lnTo>
                    <a:pt x="822" y="481"/>
                  </a:lnTo>
                  <a:lnTo>
                    <a:pt x="822" y="480"/>
                  </a:lnTo>
                  <a:lnTo>
                    <a:pt x="828" y="470"/>
                  </a:lnTo>
                  <a:lnTo>
                    <a:pt x="831" y="465"/>
                  </a:lnTo>
                  <a:lnTo>
                    <a:pt x="832" y="464"/>
                  </a:lnTo>
                  <a:lnTo>
                    <a:pt x="828" y="464"/>
                  </a:lnTo>
                  <a:lnTo>
                    <a:pt x="824" y="464"/>
                  </a:lnTo>
                  <a:lnTo>
                    <a:pt x="820" y="465"/>
                  </a:lnTo>
                  <a:lnTo>
                    <a:pt x="817" y="468"/>
                  </a:lnTo>
                  <a:lnTo>
                    <a:pt x="817" y="470"/>
                  </a:lnTo>
                  <a:lnTo>
                    <a:pt x="817" y="473"/>
                  </a:lnTo>
                  <a:lnTo>
                    <a:pt x="821" y="474"/>
                  </a:lnTo>
                  <a:lnTo>
                    <a:pt x="822" y="474"/>
                  </a:lnTo>
                  <a:lnTo>
                    <a:pt x="822" y="475"/>
                  </a:lnTo>
                  <a:lnTo>
                    <a:pt x="821" y="477"/>
                  </a:lnTo>
                  <a:lnTo>
                    <a:pt x="815" y="478"/>
                  </a:lnTo>
                  <a:lnTo>
                    <a:pt x="814" y="480"/>
                  </a:lnTo>
                  <a:lnTo>
                    <a:pt x="814" y="483"/>
                  </a:lnTo>
                  <a:lnTo>
                    <a:pt x="811" y="484"/>
                  </a:lnTo>
                  <a:lnTo>
                    <a:pt x="810" y="485"/>
                  </a:lnTo>
                  <a:lnTo>
                    <a:pt x="810" y="490"/>
                  </a:lnTo>
                  <a:lnTo>
                    <a:pt x="810" y="493"/>
                  </a:lnTo>
                  <a:lnTo>
                    <a:pt x="807" y="497"/>
                  </a:lnTo>
                  <a:lnTo>
                    <a:pt x="807" y="500"/>
                  </a:lnTo>
                  <a:lnTo>
                    <a:pt x="807" y="500"/>
                  </a:lnTo>
                  <a:lnTo>
                    <a:pt x="811" y="493"/>
                  </a:lnTo>
                  <a:lnTo>
                    <a:pt x="814" y="487"/>
                  </a:lnTo>
                  <a:lnTo>
                    <a:pt x="818" y="484"/>
                  </a:lnTo>
                  <a:lnTo>
                    <a:pt x="818" y="487"/>
                  </a:lnTo>
                  <a:lnTo>
                    <a:pt x="820" y="487"/>
                  </a:lnTo>
                  <a:lnTo>
                    <a:pt x="814" y="495"/>
                  </a:lnTo>
                  <a:lnTo>
                    <a:pt x="807" y="504"/>
                  </a:lnTo>
                  <a:lnTo>
                    <a:pt x="804" y="510"/>
                  </a:lnTo>
                  <a:lnTo>
                    <a:pt x="804" y="513"/>
                  </a:lnTo>
                  <a:lnTo>
                    <a:pt x="804" y="515"/>
                  </a:lnTo>
                  <a:lnTo>
                    <a:pt x="801" y="515"/>
                  </a:lnTo>
                  <a:lnTo>
                    <a:pt x="798" y="518"/>
                  </a:lnTo>
                  <a:lnTo>
                    <a:pt x="795" y="518"/>
                  </a:lnTo>
                  <a:lnTo>
                    <a:pt x="792" y="518"/>
                  </a:lnTo>
                  <a:lnTo>
                    <a:pt x="790" y="520"/>
                  </a:lnTo>
                  <a:lnTo>
                    <a:pt x="785" y="528"/>
                  </a:lnTo>
                  <a:lnTo>
                    <a:pt x="779" y="537"/>
                  </a:lnTo>
                  <a:lnTo>
                    <a:pt x="778" y="554"/>
                  </a:lnTo>
                  <a:lnTo>
                    <a:pt x="778" y="573"/>
                  </a:lnTo>
                  <a:lnTo>
                    <a:pt x="777" y="573"/>
                  </a:lnTo>
                  <a:lnTo>
                    <a:pt x="775" y="573"/>
                  </a:lnTo>
                  <a:lnTo>
                    <a:pt x="772" y="573"/>
                  </a:lnTo>
                  <a:lnTo>
                    <a:pt x="769" y="574"/>
                  </a:lnTo>
                  <a:lnTo>
                    <a:pt x="769" y="574"/>
                  </a:lnTo>
                  <a:lnTo>
                    <a:pt x="772" y="576"/>
                  </a:lnTo>
                  <a:lnTo>
                    <a:pt x="777" y="578"/>
                  </a:lnTo>
                  <a:lnTo>
                    <a:pt x="777" y="581"/>
                  </a:lnTo>
                  <a:lnTo>
                    <a:pt x="775" y="583"/>
                  </a:lnTo>
                  <a:lnTo>
                    <a:pt x="775" y="583"/>
                  </a:lnTo>
                  <a:lnTo>
                    <a:pt x="777" y="590"/>
                  </a:lnTo>
                  <a:lnTo>
                    <a:pt x="777" y="596"/>
                  </a:lnTo>
                  <a:lnTo>
                    <a:pt x="774" y="600"/>
                  </a:lnTo>
                  <a:lnTo>
                    <a:pt x="772" y="603"/>
                  </a:lnTo>
                  <a:lnTo>
                    <a:pt x="772" y="609"/>
                  </a:lnTo>
                  <a:lnTo>
                    <a:pt x="771" y="610"/>
                  </a:lnTo>
                  <a:lnTo>
                    <a:pt x="769" y="611"/>
                  </a:lnTo>
                  <a:lnTo>
                    <a:pt x="772" y="614"/>
                  </a:lnTo>
                  <a:lnTo>
                    <a:pt x="774" y="620"/>
                  </a:lnTo>
                  <a:lnTo>
                    <a:pt x="774" y="626"/>
                  </a:lnTo>
                  <a:lnTo>
                    <a:pt x="771" y="630"/>
                  </a:lnTo>
                  <a:lnTo>
                    <a:pt x="765" y="634"/>
                  </a:lnTo>
                  <a:lnTo>
                    <a:pt x="761" y="634"/>
                  </a:lnTo>
                  <a:lnTo>
                    <a:pt x="759" y="633"/>
                  </a:lnTo>
                  <a:lnTo>
                    <a:pt x="758" y="631"/>
                  </a:lnTo>
                  <a:lnTo>
                    <a:pt x="757" y="633"/>
                  </a:lnTo>
                  <a:lnTo>
                    <a:pt x="758" y="637"/>
                  </a:lnTo>
                  <a:lnTo>
                    <a:pt x="762" y="639"/>
                  </a:lnTo>
                  <a:lnTo>
                    <a:pt x="767" y="639"/>
                  </a:lnTo>
                  <a:lnTo>
                    <a:pt x="769" y="640"/>
                  </a:lnTo>
                  <a:lnTo>
                    <a:pt x="771" y="642"/>
                  </a:lnTo>
                  <a:lnTo>
                    <a:pt x="769" y="649"/>
                  </a:lnTo>
                  <a:lnTo>
                    <a:pt x="769" y="652"/>
                  </a:lnTo>
                  <a:lnTo>
                    <a:pt x="772" y="656"/>
                  </a:lnTo>
                  <a:lnTo>
                    <a:pt x="774" y="663"/>
                  </a:lnTo>
                  <a:lnTo>
                    <a:pt x="779" y="673"/>
                  </a:lnTo>
                  <a:lnTo>
                    <a:pt x="779" y="679"/>
                  </a:lnTo>
                  <a:lnTo>
                    <a:pt x="782" y="679"/>
                  </a:lnTo>
                  <a:lnTo>
                    <a:pt x="787" y="683"/>
                  </a:lnTo>
                  <a:lnTo>
                    <a:pt x="788" y="687"/>
                  </a:lnTo>
                  <a:lnTo>
                    <a:pt x="788" y="692"/>
                  </a:lnTo>
                  <a:lnTo>
                    <a:pt x="788" y="694"/>
                  </a:lnTo>
                  <a:lnTo>
                    <a:pt x="791" y="700"/>
                  </a:lnTo>
                  <a:lnTo>
                    <a:pt x="792" y="705"/>
                  </a:lnTo>
                  <a:lnTo>
                    <a:pt x="795" y="719"/>
                  </a:lnTo>
                  <a:lnTo>
                    <a:pt x="797" y="725"/>
                  </a:lnTo>
                  <a:lnTo>
                    <a:pt x="798" y="727"/>
                  </a:lnTo>
                  <a:lnTo>
                    <a:pt x="801" y="733"/>
                  </a:lnTo>
                  <a:lnTo>
                    <a:pt x="801" y="737"/>
                  </a:lnTo>
                  <a:lnTo>
                    <a:pt x="801" y="745"/>
                  </a:lnTo>
                  <a:lnTo>
                    <a:pt x="800" y="749"/>
                  </a:lnTo>
                  <a:lnTo>
                    <a:pt x="795" y="750"/>
                  </a:lnTo>
                  <a:lnTo>
                    <a:pt x="788" y="747"/>
                  </a:lnTo>
                  <a:lnTo>
                    <a:pt x="784" y="745"/>
                  </a:lnTo>
                  <a:lnTo>
                    <a:pt x="779" y="739"/>
                  </a:lnTo>
                  <a:lnTo>
                    <a:pt x="772" y="730"/>
                  </a:lnTo>
                  <a:lnTo>
                    <a:pt x="768" y="725"/>
                  </a:lnTo>
                  <a:lnTo>
                    <a:pt x="762" y="722"/>
                  </a:lnTo>
                  <a:lnTo>
                    <a:pt x="759" y="717"/>
                  </a:lnTo>
                  <a:lnTo>
                    <a:pt x="755" y="710"/>
                  </a:lnTo>
                  <a:lnTo>
                    <a:pt x="754" y="706"/>
                  </a:lnTo>
                  <a:lnTo>
                    <a:pt x="734" y="694"/>
                  </a:lnTo>
                  <a:lnTo>
                    <a:pt x="732" y="694"/>
                  </a:lnTo>
                  <a:lnTo>
                    <a:pt x="726" y="694"/>
                  </a:lnTo>
                  <a:lnTo>
                    <a:pt x="725" y="694"/>
                  </a:lnTo>
                  <a:lnTo>
                    <a:pt x="725" y="690"/>
                  </a:lnTo>
                  <a:lnTo>
                    <a:pt x="728" y="689"/>
                  </a:lnTo>
                  <a:lnTo>
                    <a:pt x="728" y="686"/>
                  </a:lnTo>
                  <a:lnTo>
                    <a:pt x="728" y="684"/>
                  </a:lnTo>
                  <a:lnTo>
                    <a:pt x="726" y="683"/>
                  </a:lnTo>
                  <a:lnTo>
                    <a:pt x="726" y="682"/>
                  </a:lnTo>
                  <a:lnTo>
                    <a:pt x="724" y="680"/>
                  </a:lnTo>
                  <a:lnTo>
                    <a:pt x="722" y="680"/>
                  </a:lnTo>
                  <a:lnTo>
                    <a:pt x="721" y="679"/>
                  </a:lnTo>
                  <a:lnTo>
                    <a:pt x="719" y="676"/>
                  </a:lnTo>
                  <a:lnTo>
                    <a:pt x="718" y="677"/>
                  </a:lnTo>
                  <a:lnTo>
                    <a:pt x="718" y="680"/>
                  </a:lnTo>
                  <a:lnTo>
                    <a:pt x="714" y="684"/>
                  </a:lnTo>
                  <a:lnTo>
                    <a:pt x="712" y="687"/>
                  </a:lnTo>
                  <a:lnTo>
                    <a:pt x="712" y="690"/>
                  </a:lnTo>
                  <a:lnTo>
                    <a:pt x="716" y="687"/>
                  </a:lnTo>
                  <a:lnTo>
                    <a:pt x="715" y="692"/>
                  </a:lnTo>
                  <a:lnTo>
                    <a:pt x="712" y="696"/>
                  </a:lnTo>
                  <a:lnTo>
                    <a:pt x="709" y="697"/>
                  </a:lnTo>
                  <a:lnTo>
                    <a:pt x="706" y="697"/>
                  </a:lnTo>
                  <a:lnTo>
                    <a:pt x="705" y="700"/>
                  </a:lnTo>
                  <a:lnTo>
                    <a:pt x="706" y="705"/>
                  </a:lnTo>
                  <a:lnTo>
                    <a:pt x="711" y="709"/>
                  </a:lnTo>
                  <a:lnTo>
                    <a:pt x="716" y="713"/>
                  </a:lnTo>
                  <a:lnTo>
                    <a:pt x="719" y="716"/>
                  </a:lnTo>
                  <a:lnTo>
                    <a:pt x="718" y="727"/>
                  </a:lnTo>
                  <a:lnTo>
                    <a:pt x="718" y="732"/>
                  </a:lnTo>
                  <a:lnTo>
                    <a:pt x="722" y="739"/>
                  </a:lnTo>
                  <a:lnTo>
                    <a:pt x="722" y="743"/>
                  </a:lnTo>
                  <a:lnTo>
                    <a:pt x="721" y="752"/>
                  </a:lnTo>
                  <a:lnTo>
                    <a:pt x="718" y="760"/>
                  </a:lnTo>
                  <a:lnTo>
                    <a:pt x="715" y="760"/>
                  </a:lnTo>
                  <a:lnTo>
                    <a:pt x="711" y="759"/>
                  </a:lnTo>
                  <a:lnTo>
                    <a:pt x="708" y="756"/>
                  </a:lnTo>
                  <a:lnTo>
                    <a:pt x="706" y="753"/>
                  </a:lnTo>
                  <a:lnTo>
                    <a:pt x="706" y="755"/>
                  </a:lnTo>
                  <a:lnTo>
                    <a:pt x="706" y="759"/>
                  </a:lnTo>
                  <a:lnTo>
                    <a:pt x="711" y="762"/>
                  </a:lnTo>
                  <a:lnTo>
                    <a:pt x="716" y="766"/>
                  </a:lnTo>
                  <a:lnTo>
                    <a:pt x="718" y="769"/>
                  </a:lnTo>
                  <a:lnTo>
                    <a:pt x="718" y="773"/>
                  </a:lnTo>
                  <a:lnTo>
                    <a:pt x="719" y="782"/>
                  </a:lnTo>
                  <a:lnTo>
                    <a:pt x="721" y="789"/>
                  </a:lnTo>
                  <a:lnTo>
                    <a:pt x="721" y="790"/>
                  </a:lnTo>
                  <a:lnTo>
                    <a:pt x="716" y="792"/>
                  </a:lnTo>
                  <a:lnTo>
                    <a:pt x="714" y="790"/>
                  </a:lnTo>
                  <a:lnTo>
                    <a:pt x="714" y="788"/>
                  </a:lnTo>
                  <a:lnTo>
                    <a:pt x="712" y="785"/>
                  </a:lnTo>
                  <a:lnTo>
                    <a:pt x="711" y="785"/>
                  </a:lnTo>
                  <a:lnTo>
                    <a:pt x="709" y="789"/>
                  </a:lnTo>
                  <a:lnTo>
                    <a:pt x="709" y="790"/>
                  </a:lnTo>
                  <a:lnTo>
                    <a:pt x="714" y="795"/>
                  </a:lnTo>
                  <a:lnTo>
                    <a:pt x="715" y="796"/>
                  </a:lnTo>
                  <a:lnTo>
                    <a:pt x="711" y="798"/>
                  </a:lnTo>
                  <a:lnTo>
                    <a:pt x="709" y="800"/>
                  </a:lnTo>
                  <a:lnTo>
                    <a:pt x="714" y="803"/>
                  </a:lnTo>
                  <a:lnTo>
                    <a:pt x="716" y="805"/>
                  </a:lnTo>
                  <a:lnTo>
                    <a:pt x="716" y="800"/>
                  </a:lnTo>
                  <a:lnTo>
                    <a:pt x="716" y="796"/>
                  </a:lnTo>
                  <a:lnTo>
                    <a:pt x="719" y="795"/>
                  </a:lnTo>
                  <a:lnTo>
                    <a:pt x="724" y="798"/>
                  </a:lnTo>
                  <a:lnTo>
                    <a:pt x="726" y="798"/>
                  </a:lnTo>
                  <a:lnTo>
                    <a:pt x="731" y="796"/>
                  </a:lnTo>
                  <a:lnTo>
                    <a:pt x="732" y="795"/>
                  </a:lnTo>
                  <a:lnTo>
                    <a:pt x="734" y="799"/>
                  </a:lnTo>
                  <a:lnTo>
                    <a:pt x="735" y="803"/>
                  </a:lnTo>
                  <a:lnTo>
                    <a:pt x="738" y="811"/>
                  </a:lnTo>
                  <a:lnTo>
                    <a:pt x="741" y="819"/>
                  </a:lnTo>
                  <a:lnTo>
                    <a:pt x="744" y="826"/>
                  </a:lnTo>
                  <a:lnTo>
                    <a:pt x="744" y="832"/>
                  </a:lnTo>
                  <a:lnTo>
                    <a:pt x="744" y="836"/>
                  </a:lnTo>
                  <a:lnTo>
                    <a:pt x="744" y="841"/>
                  </a:lnTo>
                  <a:lnTo>
                    <a:pt x="741" y="843"/>
                  </a:lnTo>
                  <a:lnTo>
                    <a:pt x="737" y="842"/>
                  </a:lnTo>
                  <a:lnTo>
                    <a:pt x="731" y="839"/>
                  </a:lnTo>
                  <a:lnTo>
                    <a:pt x="722" y="835"/>
                  </a:lnTo>
                  <a:lnTo>
                    <a:pt x="715" y="833"/>
                  </a:lnTo>
                  <a:lnTo>
                    <a:pt x="708" y="832"/>
                  </a:lnTo>
                  <a:lnTo>
                    <a:pt x="705" y="832"/>
                  </a:lnTo>
                  <a:lnTo>
                    <a:pt x="702" y="833"/>
                  </a:lnTo>
                  <a:lnTo>
                    <a:pt x="698" y="836"/>
                  </a:lnTo>
                  <a:lnTo>
                    <a:pt x="695" y="836"/>
                  </a:lnTo>
                  <a:lnTo>
                    <a:pt x="689" y="836"/>
                  </a:lnTo>
                  <a:lnTo>
                    <a:pt x="685" y="839"/>
                  </a:lnTo>
                  <a:lnTo>
                    <a:pt x="684" y="843"/>
                  </a:lnTo>
                  <a:lnTo>
                    <a:pt x="685" y="846"/>
                  </a:lnTo>
                  <a:lnTo>
                    <a:pt x="685" y="849"/>
                  </a:lnTo>
                  <a:lnTo>
                    <a:pt x="684" y="849"/>
                  </a:lnTo>
                  <a:lnTo>
                    <a:pt x="682" y="851"/>
                  </a:lnTo>
                  <a:lnTo>
                    <a:pt x="682" y="852"/>
                  </a:lnTo>
                  <a:lnTo>
                    <a:pt x="685" y="855"/>
                  </a:lnTo>
                  <a:lnTo>
                    <a:pt x="689" y="856"/>
                  </a:lnTo>
                  <a:lnTo>
                    <a:pt x="692" y="856"/>
                  </a:lnTo>
                  <a:lnTo>
                    <a:pt x="692" y="858"/>
                  </a:lnTo>
                  <a:lnTo>
                    <a:pt x="692" y="863"/>
                  </a:lnTo>
                  <a:lnTo>
                    <a:pt x="691" y="868"/>
                  </a:lnTo>
                  <a:lnTo>
                    <a:pt x="692" y="874"/>
                  </a:lnTo>
                  <a:lnTo>
                    <a:pt x="695" y="878"/>
                  </a:lnTo>
                  <a:lnTo>
                    <a:pt x="698" y="879"/>
                  </a:lnTo>
                  <a:lnTo>
                    <a:pt x="701" y="878"/>
                  </a:lnTo>
                  <a:lnTo>
                    <a:pt x="704" y="875"/>
                  </a:lnTo>
                  <a:lnTo>
                    <a:pt x="706" y="876"/>
                  </a:lnTo>
                  <a:lnTo>
                    <a:pt x="706" y="878"/>
                  </a:lnTo>
                  <a:lnTo>
                    <a:pt x="705" y="881"/>
                  </a:lnTo>
                  <a:lnTo>
                    <a:pt x="701" y="881"/>
                  </a:lnTo>
                  <a:lnTo>
                    <a:pt x="699" y="884"/>
                  </a:lnTo>
                  <a:lnTo>
                    <a:pt x="698" y="885"/>
                  </a:lnTo>
                  <a:lnTo>
                    <a:pt x="695" y="885"/>
                  </a:lnTo>
                  <a:lnTo>
                    <a:pt x="692" y="885"/>
                  </a:lnTo>
                  <a:lnTo>
                    <a:pt x="694" y="879"/>
                  </a:lnTo>
                  <a:lnTo>
                    <a:pt x="691" y="876"/>
                  </a:lnTo>
                  <a:lnTo>
                    <a:pt x="686" y="874"/>
                  </a:lnTo>
                  <a:lnTo>
                    <a:pt x="682" y="871"/>
                  </a:lnTo>
                  <a:lnTo>
                    <a:pt x="679" y="875"/>
                  </a:lnTo>
                  <a:lnTo>
                    <a:pt x="676" y="876"/>
                  </a:lnTo>
                  <a:lnTo>
                    <a:pt x="668" y="882"/>
                  </a:lnTo>
                  <a:lnTo>
                    <a:pt x="665" y="888"/>
                  </a:lnTo>
                  <a:lnTo>
                    <a:pt x="663" y="892"/>
                  </a:lnTo>
                  <a:lnTo>
                    <a:pt x="659" y="899"/>
                  </a:lnTo>
                  <a:lnTo>
                    <a:pt x="659" y="901"/>
                  </a:lnTo>
                  <a:lnTo>
                    <a:pt x="662" y="902"/>
                  </a:lnTo>
                  <a:lnTo>
                    <a:pt x="666" y="902"/>
                  </a:lnTo>
                  <a:lnTo>
                    <a:pt x="671" y="899"/>
                  </a:lnTo>
                  <a:lnTo>
                    <a:pt x="669" y="898"/>
                  </a:lnTo>
                  <a:lnTo>
                    <a:pt x="669" y="898"/>
                  </a:lnTo>
                  <a:lnTo>
                    <a:pt x="668" y="895"/>
                  </a:lnTo>
                  <a:lnTo>
                    <a:pt x="669" y="892"/>
                  </a:lnTo>
                  <a:lnTo>
                    <a:pt x="671" y="891"/>
                  </a:lnTo>
                  <a:lnTo>
                    <a:pt x="674" y="896"/>
                  </a:lnTo>
                  <a:lnTo>
                    <a:pt x="676" y="905"/>
                  </a:lnTo>
                  <a:lnTo>
                    <a:pt x="679" y="899"/>
                  </a:lnTo>
                  <a:lnTo>
                    <a:pt x="681" y="906"/>
                  </a:lnTo>
                  <a:lnTo>
                    <a:pt x="681" y="909"/>
                  </a:lnTo>
                  <a:lnTo>
                    <a:pt x="675" y="912"/>
                  </a:lnTo>
                  <a:lnTo>
                    <a:pt x="672" y="915"/>
                  </a:lnTo>
                  <a:lnTo>
                    <a:pt x="668" y="924"/>
                  </a:lnTo>
                  <a:lnTo>
                    <a:pt x="669" y="927"/>
                  </a:lnTo>
                  <a:lnTo>
                    <a:pt x="672" y="934"/>
                  </a:lnTo>
                  <a:lnTo>
                    <a:pt x="674" y="937"/>
                  </a:lnTo>
                  <a:lnTo>
                    <a:pt x="679" y="941"/>
                  </a:lnTo>
                  <a:lnTo>
                    <a:pt x="685" y="947"/>
                  </a:lnTo>
                  <a:lnTo>
                    <a:pt x="694" y="948"/>
                  </a:lnTo>
                  <a:lnTo>
                    <a:pt x="698" y="952"/>
                  </a:lnTo>
                  <a:lnTo>
                    <a:pt x="701" y="958"/>
                  </a:lnTo>
                  <a:lnTo>
                    <a:pt x="699" y="961"/>
                  </a:lnTo>
                  <a:lnTo>
                    <a:pt x="696" y="964"/>
                  </a:lnTo>
                  <a:lnTo>
                    <a:pt x="695" y="969"/>
                  </a:lnTo>
                  <a:lnTo>
                    <a:pt x="694" y="972"/>
                  </a:lnTo>
                  <a:lnTo>
                    <a:pt x="699" y="974"/>
                  </a:lnTo>
                  <a:lnTo>
                    <a:pt x="701" y="975"/>
                  </a:lnTo>
                  <a:lnTo>
                    <a:pt x="699" y="978"/>
                  </a:lnTo>
                  <a:lnTo>
                    <a:pt x="704" y="978"/>
                  </a:lnTo>
                  <a:lnTo>
                    <a:pt x="714" y="978"/>
                  </a:lnTo>
                  <a:lnTo>
                    <a:pt x="725" y="978"/>
                  </a:lnTo>
                  <a:lnTo>
                    <a:pt x="731" y="981"/>
                  </a:lnTo>
                  <a:lnTo>
                    <a:pt x="738" y="984"/>
                  </a:lnTo>
                  <a:lnTo>
                    <a:pt x="744" y="990"/>
                  </a:lnTo>
                  <a:lnTo>
                    <a:pt x="745" y="994"/>
                  </a:lnTo>
                  <a:lnTo>
                    <a:pt x="745" y="998"/>
                  </a:lnTo>
                  <a:lnTo>
                    <a:pt x="745" y="1000"/>
                  </a:lnTo>
                  <a:lnTo>
                    <a:pt x="744" y="1000"/>
                  </a:lnTo>
                  <a:lnTo>
                    <a:pt x="741" y="997"/>
                  </a:lnTo>
                  <a:lnTo>
                    <a:pt x="742" y="992"/>
                  </a:lnTo>
                  <a:lnTo>
                    <a:pt x="739" y="991"/>
                  </a:lnTo>
                  <a:lnTo>
                    <a:pt x="738" y="991"/>
                  </a:lnTo>
                  <a:lnTo>
                    <a:pt x="737" y="994"/>
                  </a:lnTo>
                  <a:lnTo>
                    <a:pt x="735" y="998"/>
                  </a:lnTo>
                  <a:lnTo>
                    <a:pt x="732" y="1001"/>
                  </a:lnTo>
                  <a:lnTo>
                    <a:pt x="732" y="1007"/>
                  </a:lnTo>
                  <a:lnTo>
                    <a:pt x="732" y="1011"/>
                  </a:lnTo>
                  <a:lnTo>
                    <a:pt x="737" y="1012"/>
                  </a:lnTo>
                  <a:lnTo>
                    <a:pt x="739" y="1015"/>
                  </a:lnTo>
                  <a:lnTo>
                    <a:pt x="738" y="1018"/>
                  </a:lnTo>
                  <a:lnTo>
                    <a:pt x="742" y="1017"/>
                  </a:lnTo>
                  <a:lnTo>
                    <a:pt x="745" y="1014"/>
                  </a:lnTo>
                  <a:lnTo>
                    <a:pt x="749" y="1012"/>
                  </a:lnTo>
                  <a:lnTo>
                    <a:pt x="752" y="1011"/>
                  </a:lnTo>
                  <a:lnTo>
                    <a:pt x="757" y="1011"/>
                  </a:lnTo>
                  <a:lnTo>
                    <a:pt x="761" y="1012"/>
                  </a:lnTo>
                  <a:lnTo>
                    <a:pt x="767" y="1014"/>
                  </a:lnTo>
                  <a:lnTo>
                    <a:pt x="768" y="1021"/>
                  </a:lnTo>
                  <a:lnTo>
                    <a:pt x="767" y="1025"/>
                  </a:lnTo>
                  <a:lnTo>
                    <a:pt x="765" y="1025"/>
                  </a:lnTo>
                  <a:lnTo>
                    <a:pt x="765" y="1021"/>
                  </a:lnTo>
                  <a:lnTo>
                    <a:pt x="762" y="1017"/>
                  </a:lnTo>
                  <a:lnTo>
                    <a:pt x="759" y="1015"/>
                  </a:lnTo>
                  <a:lnTo>
                    <a:pt x="757" y="1017"/>
                  </a:lnTo>
                  <a:lnTo>
                    <a:pt x="752" y="1018"/>
                  </a:lnTo>
                  <a:lnTo>
                    <a:pt x="748" y="1020"/>
                  </a:lnTo>
                  <a:lnTo>
                    <a:pt x="744" y="1024"/>
                  </a:lnTo>
                  <a:lnTo>
                    <a:pt x="739" y="1025"/>
                  </a:lnTo>
                  <a:lnTo>
                    <a:pt x="742" y="1030"/>
                  </a:lnTo>
                  <a:lnTo>
                    <a:pt x="744" y="1031"/>
                  </a:lnTo>
                  <a:lnTo>
                    <a:pt x="739" y="1034"/>
                  </a:lnTo>
                  <a:lnTo>
                    <a:pt x="741" y="1035"/>
                  </a:lnTo>
                  <a:lnTo>
                    <a:pt x="749" y="1037"/>
                  </a:lnTo>
                  <a:lnTo>
                    <a:pt x="758" y="1037"/>
                  </a:lnTo>
                  <a:lnTo>
                    <a:pt x="762" y="1035"/>
                  </a:lnTo>
                  <a:lnTo>
                    <a:pt x="762" y="1031"/>
                  </a:lnTo>
                  <a:lnTo>
                    <a:pt x="765" y="1031"/>
                  </a:lnTo>
                  <a:lnTo>
                    <a:pt x="767" y="1035"/>
                  </a:lnTo>
                  <a:lnTo>
                    <a:pt x="769" y="1040"/>
                  </a:lnTo>
                  <a:lnTo>
                    <a:pt x="769" y="1045"/>
                  </a:lnTo>
                  <a:lnTo>
                    <a:pt x="769" y="1048"/>
                  </a:lnTo>
                  <a:lnTo>
                    <a:pt x="768" y="1053"/>
                  </a:lnTo>
                  <a:lnTo>
                    <a:pt x="767" y="1053"/>
                  </a:lnTo>
                  <a:lnTo>
                    <a:pt x="767" y="1050"/>
                  </a:lnTo>
                  <a:lnTo>
                    <a:pt x="768" y="1045"/>
                  </a:lnTo>
                  <a:lnTo>
                    <a:pt x="764" y="1045"/>
                  </a:lnTo>
                  <a:lnTo>
                    <a:pt x="761" y="1047"/>
                  </a:lnTo>
                  <a:lnTo>
                    <a:pt x="761" y="1050"/>
                  </a:lnTo>
                  <a:lnTo>
                    <a:pt x="764" y="1051"/>
                  </a:lnTo>
                  <a:lnTo>
                    <a:pt x="764" y="1055"/>
                  </a:lnTo>
                  <a:lnTo>
                    <a:pt x="762" y="1060"/>
                  </a:lnTo>
                  <a:lnTo>
                    <a:pt x="767" y="1061"/>
                  </a:lnTo>
                  <a:lnTo>
                    <a:pt x="767" y="1065"/>
                  </a:lnTo>
                  <a:lnTo>
                    <a:pt x="764" y="1070"/>
                  </a:lnTo>
                  <a:lnTo>
                    <a:pt x="762" y="1073"/>
                  </a:lnTo>
                  <a:lnTo>
                    <a:pt x="765" y="1075"/>
                  </a:lnTo>
                  <a:lnTo>
                    <a:pt x="768" y="1075"/>
                  </a:lnTo>
                  <a:lnTo>
                    <a:pt x="769" y="1074"/>
                  </a:lnTo>
                  <a:lnTo>
                    <a:pt x="769" y="1071"/>
                  </a:lnTo>
                  <a:lnTo>
                    <a:pt x="771" y="1065"/>
                  </a:lnTo>
                  <a:lnTo>
                    <a:pt x="774" y="1067"/>
                  </a:lnTo>
                  <a:lnTo>
                    <a:pt x="774" y="1075"/>
                  </a:lnTo>
                  <a:lnTo>
                    <a:pt x="771" y="1088"/>
                  </a:lnTo>
                  <a:lnTo>
                    <a:pt x="772" y="1097"/>
                  </a:lnTo>
                  <a:lnTo>
                    <a:pt x="777" y="1108"/>
                  </a:lnTo>
                  <a:lnTo>
                    <a:pt x="782" y="1121"/>
                  </a:lnTo>
                  <a:lnTo>
                    <a:pt x="788" y="1127"/>
                  </a:lnTo>
                  <a:lnTo>
                    <a:pt x="797" y="1150"/>
                  </a:lnTo>
                  <a:lnTo>
                    <a:pt x="805" y="1164"/>
                  </a:lnTo>
                  <a:lnTo>
                    <a:pt x="814" y="1173"/>
                  </a:lnTo>
                  <a:lnTo>
                    <a:pt x="821" y="1183"/>
                  </a:lnTo>
                  <a:lnTo>
                    <a:pt x="830" y="1193"/>
                  </a:lnTo>
                  <a:lnTo>
                    <a:pt x="837" y="1200"/>
                  </a:lnTo>
                  <a:lnTo>
                    <a:pt x="845" y="1203"/>
                  </a:lnTo>
                  <a:lnTo>
                    <a:pt x="858" y="1207"/>
                  </a:lnTo>
                  <a:lnTo>
                    <a:pt x="865" y="1207"/>
                  </a:lnTo>
                  <a:lnTo>
                    <a:pt x="875" y="1206"/>
                  </a:lnTo>
                  <a:lnTo>
                    <a:pt x="877" y="1206"/>
                  </a:lnTo>
                  <a:lnTo>
                    <a:pt x="880" y="1206"/>
                  </a:lnTo>
                  <a:lnTo>
                    <a:pt x="883" y="1204"/>
                  </a:lnTo>
                  <a:lnTo>
                    <a:pt x="887" y="1201"/>
                  </a:lnTo>
                  <a:lnTo>
                    <a:pt x="891" y="1196"/>
                  </a:lnTo>
                  <a:lnTo>
                    <a:pt x="893" y="1193"/>
                  </a:lnTo>
                  <a:lnTo>
                    <a:pt x="895" y="1194"/>
                  </a:lnTo>
                  <a:lnTo>
                    <a:pt x="898" y="1196"/>
                  </a:lnTo>
                  <a:lnTo>
                    <a:pt x="900" y="1201"/>
                  </a:lnTo>
                  <a:lnTo>
                    <a:pt x="900" y="1203"/>
                  </a:lnTo>
                  <a:lnTo>
                    <a:pt x="903" y="1207"/>
                  </a:lnTo>
                  <a:lnTo>
                    <a:pt x="904" y="1209"/>
                  </a:lnTo>
                  <a:lnTo>
                    <a:pt x="906" y="1207"/>
                  </a:lnTo>
                  <a:lnTo>
                    <a:pt x="906" y="1203"/>
                  </a:lnTo>
                  <a:lnTo>
                    <a:pt x="906" y="1201"/>
                  </a:lnTo>
                  <a:lnTo>
                    <a:pt x="904" y="1200"/>
                  </a:lnTo>
                  <a:lnTo>
                    <a:pt x="904" y="1199"/>
                  </a:lnTo>
                  <a:lnTo>
                    <a:pt x="903" y="1196"/>
                  </a:lnTo>
                  <a:lnTo>
                    <a:pt x="898" y="1191"/>
                  </a:lnTo>
                  <a:lnTo>
                    <a:pt x="895" y="1189"/>
                  </a:lnTo>
                  <a:lnTo>
                    <a:pt x="893" y="1186"/>
                  </a:lnTo>
                  <a:lnTo>
                    <a:pt x="891" y="1184"/>
                  </a:lnTo>
                  <a:lnTo>
                    <a:pt x="887" y="1184"/>
                  </a:lnTo>
                  <a:lnTo>
                    <a:pt x="884" y="1181"/>
                  </a:lnTo>
                  <a:lnTo>
                    <a:pt x="881" y="1177"/>
                  </a:lnTo>
                  <a:lnTo>
                    <a:pt x="880" y="1171"/>
                  </a:lnTo>
                  <a:lnTo>
                    <a:pt x="881" y="1169"/>
                  </a:lnTo>
                  <a:lnTo>
                    <a:pt x="881" y="1166"/>
                  </a:lnTo>
                  <a:lnTo>
                    <a:pt x="884" y="1163"/>
                  </a:lnTo>
                  <a:lnTo>
                    <a:pt x="884" y="1161"/>
                  </a:lnTo>
                  <a:lnTo>
                    <a:pt x="885" y="1157"/>
                  </a:lnTo>
                  <a:lnTo>
                    <a:pt x="893" y="1156"/>
                  </a:lnTo>
                  <a:lnTo>
                    <a:pt x="897" y="1153"/>
                  </a:lnTo>
                  <a:lnTo>
                    <a:pt x="907" y="1149"/>
                  </a:lnTo>
                  <a:lnTo>
                    <a:pt x="914" y="1147"/>
                  </a:lnTo>
                  <a:lnTo>
                    <a:pt x="920" y="1144"/>
                  </a:lnTo>
                  <a:lnTo>
                    <a:pt x="924" y="1140"/>
                  </a:lnTo>
                  <a:lnTo>
                    <a:pt x="926" y="1137"/>
                  </a:lnTo>
                  <a:lnTo>
                    <a:pt x="931" y="1136"/>
                  </a:lnTo>
                  <a:lnTo>
                    <a:pt x="934" y="1136"/>
                  </a:lnTo>
                  <a:lnTo>
                    <a:pt x="938" y="1137"/>
                  </a:lnTo>
                  <a:lnTo>
                    <a:pt x="941" y="1136"/>
                  </a:lnTo>
                  <a:lnTo>
                    <a:pt x="944" y="1136"/>
                  </a:lnTo>
                  <a:lnTo>
                    <a:pt x="947" y="1136"/>
                  </a:lnTo>
                  <a:lnTo>
                    <a:pt x="948" y="1141"/>
                  </a:lnTo>
                  <a:lnTo>
                    <a:pt x="950" y="1146"/>
                  </a:lnTo>
                  <a:lnTo>
                    <a:pt x="953" y="1147"/>
                  </a:lnTo>
                  <a:lnTo>
                    <a:pt x="957" y="1150"/>
                  </a:lnTo>
                  <a:lnTo>
                    <a:pt x="959" y="1153"/>
                  </a:lnTo>
                  <a:lnTo>
                    <a:pt x="959" y="1161"/>
                  </a:lnTo>
                  <a:lnTo>
                    <a:pt x="961" y="1166"/>
                  </a:lnTo>
                  <a:lnTo>
                    <a:pt x="966" y="1171"/>
                  </a:lnTo>
                  <a:lnTo>
                    <a:pt x="967" y="1177"/>
                  </a:lnTo>
                  <a:lnTo>
                    <a:pt x="964" y="1187"/>
                  </a:lnTo>
                  <a:lnTo>
                    <a:pt x="964" y="1196"/>
                  </a:lnTo>
                  <a:lnTo>
                    <a:pt x="966" y="1201"/>
                  </a:lnTo>
                  <a:lnTo>
                    <a:pt x="967" y="1204"/>
                  </a:lnTo>
                  <a:lnTo>
                    <a:pt x="971" y="1212"/>
                  </a:lnTo>
                  <a:lnTo>
                    <a:pt x="974" y="1214"/>
                  </a:lnTo>
                  <a:lnTo>
                    <a:pt x="976" y="1217"/>
                  </a:lnTo>
                  <a:lnTo>
                    <a:pt x="984" y="1222"/>
                  </a:lnTo>
                  <a:lnTo>
                    <a:pt x="991" y="1226"/>
                  </a:lnTo>
                  <a:lnTo>
                    <a:pt x="1001" y="1229"/>
                  </a:lnTo>
                  <a:lnTo>
                    <a:pt x="1010" y="1232"/>
                  </a:lnTo>
                  <a:lnTo>
                    <a:pt x="1014" y="1233"/>
                  </a:lnTo>
                  <a:lnTo>
                    <a:pt x="1017" y="1236"/>
                  </a:lnTo>
                  <a:lnTo>
                    <a:pt x="1026" y="1244"/>
                  </a:lnTo>
                  <a:lnTo>
                    <a:pt x="1029" y="1249"/>
                  </a:lnTo>
                  <a:lnTo>
                    <a:pt x="1036" y="1254"/>
                  </a:lnTo>
                  <a:lnTo>
                    <a:pt x="1043" y="1260"/>
                  </a:lnTo>
                  <a:lnTo>
                    <a:pt x="1047" y="1263"/>
                  </a:lnTo>
                  <a:lnTo>
                    <a:pt x="1053" y="1263"/>
                  </a:lnTo>
                  <a:lnTo>
                    <a:pt x="1057" y="1260"/>
                  </a:lnTo>
                  <a:lnTo>
                    <a:pt x="1063" y="1259"/>
                  </a:lnTo>
                  <a:lnTo>
                    <a:pt x="1063" y="1256"/>
                  </a:lnTo>
                  <a:lnTo>
                    <a:pt x="1063" y="1247"/>
                  </a:lnTo>
                  <a:lnTo>
                    <a:pt x="1064" y="1244"/>
                  </a:lnTo>
                  <a:lnTo>
                    <a:pt x="1067" y="1242"/>
                  </a:lnTo>
                  <a:lnTo>
                    <a:pt x="1070" y="1239"/>
                  </a:lnTo>
                  <a:lnTo>
                    <a:pt x="1070" y="1236"/>
                  </a:lnTo>
                  <a:lnTo>
                    <a:pt x="1072" y="1233"/>
                  </a:lnTo>
                  <a:lnTo>
                    <a:pt x="1075" y="1234"/>
                  </a:lnTo>
                  <a:lnTo>
                    <a:pt x="1076" y="1236"/>
                  </a:lnTo>
                  <a:lnTo>
                    <a:pt x="1080" y="1234"/>
                  </a:lnTo>
                  <a:lnTo>
                    <a:pt x="1083" y="1234"/>
                  </a:lnTo>
                  <a:lnTo>
                    <a:pt x="1085" y="1239"/>
                  </a:lnTo>
                  <a:lnTo>
                    <a:pt x="1087" y="1243"/>
                  </a:lnTo>
                  <a:lnTo>
                    <a:pt x="1089" y="1246"/>
                  </a:lnTo>
                  <a:lnTo>
                    <a:pt x="1093" y="1246"/>
                  </a:lnTo>
                  <a:lnTo>
                    <a:pt x="1096" y="1246"/>
                  </a:lnTo>
                  <a:lnTo>
                    <a:pt x="1099" y="1246"/>
                  </a:lnTo>
                  <a:lnTo>
                    <a:pt x="1100" y="1250"/>
                  </a:lnTo>
                  <a:lnTo>
                    <a:pt x="1105" y="1253"/>
                  </a:lnTo>
                  <a:lnTo>
                    <a:pt x="1110" y="1253"/>
                  </a:lnTo>
                  <a:lnTo>
                    <a:pt x="1113" y="1254"/>
                  </a:lnTo>
                  <a:lnTo>
                    <a:pt x="1112" y="1256"/>
                  </a:lnTo>
                  <a:lnTo>
                    <a:pt x="1112" y="1259"/>
                  </a:lnTo>
                  <a:lnTo>
                    <a:pt x="1112" y="1260"/>
                  </a:lnTo>
                  <a:lnTo>
                    <a:pt x="1115" y="1260"/>
                  </a:lnTo>
                  <a:lnTo>
                    <a:pt x="1116" y="1259"/>
                  </a:lnTo>
                  <a:lnTo>
                    <a:pt x="1120" y="1259"/>
                  </a:lnTo>
                  <a:lnTo>
                    <a:pt x="1125" y="1259"/>
                  </a:lnTo>
                  <a:lnTo>
                    <a:pt x="1126" y="1259"/>
                  </a:lnTo>
                  <a:lnTo>
                    <a:pt x="1132" y="1262"/>
                  </a:lnTo>
                  <a:lnTo>
                    <a:pt x="1136" y="1262"/>
                  </a:lnTo>
                  <a:lnTo>
                    <a:pt x="1140" y="1266"/>
                  </a:lnTo>
                  <a:lnTo>
                    <a:pt x="1142" y="1272"/>
                  </a:lnTo>
                  <a:lnTo>
                    <a:pt x="1149" y="1272"/>
                  </a:lnTo>
                  <a:lnTo>
                    <a:pt x="1152" y="1275"/>
                  </a:lnTo>
                  <a:lnTo>
                    <a:pt x="1155" y="1277"/>
                  </a:lnTo>
                  <a:lnTo>
                    <a:pt x="1153" y="1282"/>
                  </a:lnTo>
                  <a:lnTo>
                    <a:pt x="1152" y="1289"/>
                  </a:lnTo>
                  <a:lnTo>
                    <a:pt x="1152" y="1300"/>
                  </a:lnTo>
                  <a:lnTo>
                    <a:pt x="1155" y="1305"/>
                  </a:lnTo>
                  <a:lnTo>
                    <a:pt x="1158" y="1307"/>
                  </a:lnTo>
                  <a:lnTo>
                    <a:pt x="1160" y="1313"/>
                  </a:lnTo>
                  <a:lnTo>
                    <a:pt x="1160" y="1316"/>
                  </a:lnTo>
                  <a:lnTo>
                    <a:pt x="1159" y="1319"/>
                  </a:lnTo>
                  <a:lnTo>
                    <a:pt x="1153" y="1325"/>
                  </a:lnTo>
                  <a:lnTo>
                    <a:pt x="1148" y="1325"/>
                  </a:lnTo>
                  <a:lnTo>
                    <a:pt x="1142" y="1328"/>
                  </a:lnTo>
                  <a:lnTo>
                    <a:pt x="1136" y="1329"/>
                  </a:lnTo>
                  <a:lnTo>
                    <a:pt x="1132" y="1328"/>
                  </a:lnTo>
                  <a:lnTo>
                    <a:pt x="1126" y="1326"/>
                  </a:lnTo>
                  <a:lnTo>
                    <a:pt x="1122" y="1325"/>
                  </a:lnTo>
                  <a:lnTo>
                    <a:pt x="1119" y="1326"/>
                  </a:lnTo>
                  <a:lnTo>
                    <a:pt x="1116" y="1326"/>
                  </a:lnTo>
                  <a:lnTo>
                    <a:pt x="1113" y="1328"/>
                  </a:lnTo>
                  <a:lnTo>
                    <a:pt x="1110" y="1330"/>
                  </a:lnTo>
                  <a:lnTo>
                    <a:pt x="1107" y="1333"/>
                  </a:lnTo>
                  <a:lnTo>
                    <a:pt x="1106" y="1335"/>
                  </a:lnTo>
                  <a:lnTo>
                    <a:pt x="1105" y="1340"/>
                  </a:lnTo>
                  <a:lnTo>
                    <a:pt x="1100" y="1358"/>
                  </a:lnTo>
                  <a:lnTo>
                    <a:pt x="1100" y="1365"/>
                  </a:lnTo>
                  <a:lnTo>
                    <a:pt x="1099" y="1373"/>
                  </a:lnTo>
                  <a:lnTo>
                    <a:pt x="1102" y="1382"/>
                  </a:lnTo>
                  <a:lnTo>
                    <a:pt x="1105" y="1386"/>
                  </a:lnTo>
                  <a:lnTo>
                    <a:pt x="1107" y="1386"/>
                  </a:lnTo>
                  <a:lnTo>
                    <a:pt x="1109" y="1389"/>
                  </a:lnTo>
                  <a:lnTo>
                    <a:pt x="1109" y="1393"/>
                  </a:lnTo>
                  <a:lnTo>
                    <a:pt x="1112" y="1395"/>
                  </a:lnTo>
                  <a:lnTo>
                    <a:pt x="1116" y="1396"/>
                  </a:lnTo>
                  <a:lnTo>
                    <a:pt x="1119" y="1402"/>
                  </a:lnTo>
                  <a:lnTo>
                    <a:pt x="1119" y="1409"/>
                  </a:lnTo>
                  <a:lnTo>
                    <a:pt x="1125" y="1416"/>
                  </a:lnTo>
                  <a:lnTo>
                    <a:pt x="1132" y="1422"/>
                  </a:lnTo>
                  <a:lnTo>
                    <a:pt x="1135" y="1432"/>
                  </a:lnTo>
                  <a:lnTo>
                    <a:pt x="1142" y="1444"/>
                  </a:lnTo>
                  <a:lnTo>
                    <a:pt x="1149" y="1455"/>
                  </a:lnTo>
                  <a:lnTo>
                    <a:pt x="1162" y="1466"/>
                  </a:lnTo>
                  <a:lnTo>
                    <a:pt x="1166" y="1469"/>
                  </a:lnTo>
                  <a:lnTo>
                    <a:pt x="1172" y="1475"/>
                  </a:lnTo>
                  <a:lnTo>
                    <a:pt x="1183" y="1482"/>
                  </a:lnTo>
                  <a:lnTo>
                    <a:pt x="1196" y="1488"/>
                  </a:lnTo>
                  <a:lnTo>
                    <a:pt x="1211" y="1492"/>
                  </a:lnTo>
                  <a:lnTo>
                    <a:pt x="1213" y="1492"/>
                  </a:lnTo>
                  <a:lnTo>
                    <a:pt x="1216" y="1494"/>
                  </a:lnTo>
                  <a:lnTo>
                    <a:pt x="1221" y="1492"/>
                  </a:lnTo>
                  <a:lnTo>
                    <a:pt x="1228" y="1492"/>
                  </a:lnTo>
                  <a:lnTo>
                    <a:pt x="1235" y="1491"/>
                  </a:lnTo>
                  <a:lnTo>
                    <a:pt x="1241" y="1491"/>
                  </a:lnTo>
                  <a:lnTo>
                    <a:pt x="1245" y="1492"/>
                  </a:lnTo>
                  <a:lnTo>
                    <a:pt x="1249" y="1492"/>
                  </a:lnTo>
                  <a:lnTo>
                    <a:pt x="1254" y="1494"/>
                  </a:lnTo>
                  <a:lnTo>
                    <a:pt x="1261" y="1492"/>
                  </a:lnTo>
                  <a:lnTo>
                    <a:pt x="1265" y="1492"/>
                  </a:lnTo>
                  <a:lnTo>
                    <a:pt x="1265" y="1494"/>
                  </a:lnTo>
                  <a:lnTo>
                    <a:pt x="1265" y="1498"/>
                  </a:lnTo>
                  <a:lnTo>
                    <a:pt x="1266" y="1501"/>
                  </a:lnTo>
                  <a:lnTo>
                    <a:pt x="1272" y="1502"/>
                  </a:lnTo>
                  <a:lnTo>
                    <a:pt x="1274" y="1504"/>
                  </a:lnTo>
                  <a:lnTo>
                    <a:pt x="1274" y="1507"/>
                  </a:lnTo>
                  <a:lnTo>
                    <a:pt x="1275" y="1511"/>
                  </a:lnTo>
                  <a:lnTo>
                    <a:pt x="1276" y="1514"/>
                  </a:lnTo>
                  <a:lnTo>
                    <a:pt x="1276" y="1517"/>
                  </a:lnTo>
                  <a:lnTo>
                    <a:pt x="1276" y="1521"/>
                  </a:lnTo>
                  <a:lnTo>
                    <a:pt x="1279" y="1524"/>
                  </a:lnTo>
                  <a:lnTo>
                    <a:pt x="1279" y="1528"/>
                  </a:lnTo>
                  <a:lnTo>
                    <a:pt x="1279" y="1539"/>
                  </a:lnTo>
                  <a:lnTo>
                    <a:pt x="1279" y="1542"/>
                  </a:lnTo>
                  <a:lnTo>
                    <a:pt x="1281" y="1547"/>
                  </a:lnTo>
                  <a:lnTo>
                    <a:pt x="1284" y="1550"/>
                  </a:lnTo>
                  <a:lnTo>
                    <a:pt x="1285" y="1557"/>
                  </a:lnTo>
                  <a:lnTo>
                    <a:pt x="1285" y="1558"/>
                  </a:lnTo>
                  <a:lnTo>
                    <a:pt x="1285" y="1561"/>
                  </a:lnTo>
                  <a:lnTo>
                    <a:pt x="1281" y="1565"/>
                  </a:lnTo>
                  <a:lnTo>
                    <a:pt x="1276" y="1572"/>
                  </a:lnTo>
                  <a:lnTo>
                    <a:pt x="1272" y="1575"/>
                  </a:lnTo>
                  <a:lnTo>
                    <a:pt x="1271" y="1577"/>
                  </a:lnTo>
                  <a:lnTo>
                    <a:pt x="1268" y="1584"/>
                  </a:lnTo>
                  <a:lnTo>
                    <a:pt x="1266" y="1585"/>
                  </a:lnTo>
                  <a:lnTo>
                    <a:pt x="1266" y="1587"/>
                  </a:lnTo>
                  <a:lnTo>
                    <a:pt x="1265" y="1592"/>
                  </a:lnTo>
                  <a:lnTo>
                    <a:pt x="1265" y="1594"/>
                  </a:lnTo>
                  <a:lnTo>
                    <a:pt x="1258" y="1595"/>
                  </a:lnTo>
                  <a:lnTo>
                    <a:pt x="1252" y="1597"/>
                  </a:lnTo>
                  <a:lnTo>
                    <a:pt x="1249" y="1595"/>
                  </a:lnTo>
                  <a:lnTo>
                    <a:pt x="1248" y="1592"/>
                  </a:lnTo>
                  <a:lnTo>
                    <a:pt x="1245" y="1592"/>
                  </a:lnTo>
                  <a:lnTo>
                    <a:pt x="1242" y="1594"/>
                  </a:lnTo>
                  <a:lnTo>
                    <a:pt x="1239" y="1601"/>
                  </a:lnTo>
                  <a:lnTo>
                    <a:pt x="1233" y="1614"/>
                  </a:lnTo>
                  <a:lnTo>
                    <a:pt x="1231" y="1628"/>
                  </a:lnTo>
                  <a:lnTo>
                    <a:pt x="1228" y="1634"/>
                  </a:lnTo>
                  <a:lnTo>
                    <a:pt x="1228" y="1635"/>
                  </a:lnTo>
                  <a:lnTo>
                    <a:pt x="1228" y="1640"/>
                  </a:lnTo>
                  <a:lnTo>
                    <a:pt x="1226" y="1654"/>
                  </a:lnTo>
                  <a:lnTo>
                    <a:pt x="1228" y="1670"/>
                  </a:lnTo>
                  <a:lnTo>
                    <a:pt x="1228" y="1677"/>
                  </a:lnTo>
                  <a:lnTo>
                    <a:pt x="1232" y="1691"/>
                  </a:lnTo>
                  <a:lnTo>
                    <a:pt x="1233" y="1701"/>
                  </a:lnTo>
                  <a:lnTo>
                    <a:pt x="1232" y="1706"/>
                  </a:lnTo>
                  <a:lnTo>
                    <a:pt x="1232" y="1711"/>
                  </a:lnTo>
                  <a:lnTo>
                    <a:pt x="1235" y="1721"/>
                  </a:lnTo>
                  <a:lnTo>
                    <a:pt x="1239" y="1727"/>
                  </a:lnTo>
                  <a:lnTo>
                    <a:pt x="1244" y="1739"/>
                  </a:lnTo>
                  <a:lnTo>
                    <a:pt x="1256" y="1754"/>
                  </a:lnTo>
                  <a:lnTo>
                    <a:pt x="1269" y="1772"/>
                  </a:lnTo>
                  <a:lnTo>
                    <a:pt x="1281" y="1779"/>
                  </a:lnTo>
                  <a:lnTo>
                    <a:pt x="1284" y="1783"/>
                  </a:lnTo>
                  <a:lnTo>
                    <a:pt x="1289" y="1783"/>
                  </a:lnTo>
                  <a:lnTo>
                    <a:pt x="1294" y="1784"/>
                  </a:lnTo>
                  <a:lnTo>
                    <a:pt x="1298" y="1784"/>
                  </a:lnTo>
                  <a:lnTo>
                    <a:pt x="1298" y="1782"/>
                  </a:lnTo>
                  <a:lnTo>
                    <a:pt x="1301" y="1782"/>
                  </a:lnTo>
                  <a:lnTo>
                    <a:pt x="1304" y="1786"/>
                  </a:lnTo>
                  <a:lnTo>
                    <a:pt x="1308" y="1787"/>
                  </a:lnTo>
                  <a:lnTo>
                    <a:pt x="1314" y="1787"/>
                  </a:lnTo>
                  <a:lnTo>
                    <a:pt x="1314" y="1789"/>
                  </a:lnTo>
                  <a:lnTo>
                    <a:pt x="1315" y="1793"/>
                  </a:lnTo>
                  <a:lnTo>
                    <a:pt x="1318" y="1796"/>
                  </a:lnTo>
                  <a:lnTo>
                    <a:pt x="1318" y="1797"/>
                  </a:lnTo>
                  <a:lnTo>
                    <a:pt x="1315" y="1799"/>
                  </a:lnTo>
                  <a:lnTo>
                    <a:pt x="1308" y="1800"/>
                  </a:lnTo>
                  <a:lnTo>
                    <a:pt x="1305" y="1802"/>
                  </a:lnTo>
                  <a:lnTo>
                    <a:pt x="1307" y="1803"/>
                  </a:lnTo>
                  <a:lnTo>
                    <a:pt x="1311" y="1803"/>
                  </a:lnTo>
                  <a:lnTo>
                    <a:pt x="1314" y="1804"/>
                  </a:lnTo>
                  <a:lnTo>
                    <a:pt x="1321" y="1809"/>
                  </a:lnTo>
                  <a:lnTo>
                    <a:pt x="1322" y="1810"/>
                  </a:lnTo>
                  <a:lnTo>
                    <a:pt x="1322" y="1809"/>
                  </a:lnTo>
                  <a:lnTo>
                    <a:pt x="1322" y="1806"/>
                  </a:lnTo>
                  <a:lnTo>
                    <a:pt x="1325" y="1804"/>
                  </a:lnTo>
                  <a:lnTo>
                    <a:pt x="1328" y="1806"/>
                  </a:lnTo>
                  <a:lnTo>
                    <a:pt x="1331" y="1809"/>
                  </a:lnTo>
                  <a:lnTo>
                    <a:pt x="1335" y="1809"/>
                  </a:lnTo>
                  <a:lnTo>
                    <a:pt x="1335" y="1806"/>
                  </a:lnTo>
                  <a:lnTo>
                    <a:pt x="1338" y="1809"/>
                  </a:lnTo>
                  <a:lnTo>
                    <a:pt x="1342" y="1814"/>
                  </a:lnTo>
                  <a:lnTo>
                    <a:pt x="1344" y="1817"/>
                  </a:lnTo>
                  <a:lnTo>
                    <a:pt x="1348" y="1819"/>
                  </a:lnTo>
                  <a:lnTo>
                    <a:pt x="1348" y="1817"/>
                  </a:lnTo>
                  <a:lnTo>
                    <a:pt x="1348" y="1814"/>
                  </a:lnTo>
                  <a:lnTo>
                    <a:pt x="1347" y="1812"/>
                  </a:lnTo>
                  <a:lnTo>
                    <a:pt x="1348" y="1810"/>
                  </a:lnTo>
                  <a:lnTo>
                    <a:pt x="1351" y="1812"/>
                  </a:lnTo>
                  <a:lnTo>
                    <a:pt x="1354" y="1813"/>
                  </a:lnTo>
                  <a:lnTo>
                    <a:pt x="1358" y="1814"/>
                  </a:lnTo>
                  <a:lnTo>
                    <a:pt x="1361" y="1817"/>
                  </a:lnTo>
                  <a:lnTo>
                    <a:pt x="1362" y="1817"/>
                  </a:lnTo>
                  <a:lnTo>
                    <a:pt x="1365" y="1817"/>
                  </a:lnTo>
                  <a:lnTo>
                    <a:pt x="1367" y="1819"/>
                  </a:lnTo>
                  <a:lnTo>
                    <a:pt x="1370" y="1822"/>
                  </a:lnTo>
                  <a:lnTo>
                    <a:pt x="1372" y="1823"/>
                  </a:lnTo>
                  <a:lnTo>
                    <a:pt x="1372" y="1826"/>
                  </a:lnTo>
                  <a:lnTo>
                    <a:pt x="1368" y="1827"/>
                  </a:lnTo>
                  <a:lnTo>
                    <a:pt x="1365" y="1832"/>
                  </a:lnTo>
                  <a:lnTo>
                    <a:pt x="1362" y="1832"/>
                  </a:lnTo>
                  <a:lnTo>
                    <a:pt x="1355" y="1832"/>
                  </a:lnTo>
                  <a:lnTo>
                    <a:pt x="1347" y="1836"/>
                  </a:lnTo>
                  <a:lnTo>
                    <a:pt x="1339" y="1839"/>
                  </a:lnTo>
                  <a:lnTo>
                    <a:pt x="1335" y="1840"/>
                  </a:lnTo>
                  <a:lnTo>
                    <a:pt x="1331" y="1842"/>
                  </a:lnTo>
                  <a:lnTo>
                    <a:pt x="1327" y="1843"/>
                  </a:lnTo>
                  <a:lnTo>
                    <a:pt x="1324" y="1850"/>
                  </a:lnTo>
                  <a:lnTo>
                    <a:pt x="1322" y="1855"/>
                  </a:lnTo>
                  <a:lnTo>
                    <a:pt x="1322" y="1862"/>
                  </a:lnTo>
                  <a:lnTo>
                    <a:pt x="1327" y="1870"/>
                  </a:lnTo>
                  <a:lnTo>
                    <a:pt x="1327" y="1873"/>
                  </a:lnTo>
                  <a:lnTo>
                    <a:pt x="1321" y="1875"/>
                  </a:lnTo>
                  <a:lnTo>
                    <a:pt x="1318" y="1879"/>
                  </a:lnTo>
                  <a:lnTo>
                    <a:pt x="1318" y="1883"/>
                  </a:lnTo>
                  <a:lnTo>
                    <a:pt x="1315" y="1896"/>
                  </a:lnTo>
                  <a:lnTo>
                    <a:pt x="1314" y="1910"/>
                  </a:lnTo>
                  <a:lnTo>
                    <a:pt x="1315" y="1930"/>
                  </a:lnTo>
                  <a:lnTo>
                    <a:pt x="1317" y="1938"/>
                  </a:lnTo>
                  <a:lnTo>
                    <a:pt x="1318" y="1942"/>
                  </a:lnTo>
                  <a:lnTo>
                    <a:pt x="1318" y="1945"/>
                  </a:lnTo>
                  <a:lnTo>
                    <a:pt x="1317" y="1946"/>
                  </a:lnTo>
                  <a:lnTo>
                    <a:pt x="1315" y="1946"/>
                  </a:lnTo>
                  <a:lnTo>
                    <a:pt x="1311" y="1945"/>
                  </a:lnTo>
                  <a:lnTo>
                    <a:pt x="1309" y="1945"/>
                  </a:lnTo>
                  <a:lnTo>
                    <a:pt x="1307" y="1946"/>
                  </a:lnTo>
                  <a:lnTo>
                    <a:pt x="1304" y="1946"/>
                  </a:lnTo>
                  <a:lnTo>
                    <a:pt x="1302" y="1945"/>
                  </a:lnTo>
                  <a:lnTo>
                    <a:pt x="1302" y="1943"/>
                  </a:lnTo>
                  <a:lnTo>
                    <a:pt x="1304" y="1941"/>
                  </a:lnTo>
                  <a:lnTo>
                    <a:pt x="1304" y="1941"/>
                  </a:lnTo>
                  <a:lnTo>
                    <a:pt x="1299" y="1941"/>
                  </a:lnTo>
                  <a:lnTo>
                    <a:pt x="1294" y="1941"/>
                  </a:lnTo>
                  <a:lnTo>
                    <a:pt x="1291" y="1941"/>
                  </a:lnTo>
                  <a:lnTo>
                    <a:pt x="1288" y="1942"/>
                  </a:lnTo>
                  <a:lnTo>
                    <a:pt x="1285" y="1943"/>
                  </a:lnTo>
                  <a:lnTo>
                    <a:pt x="1285" y="1946"/>
                  </a:lnTo>
                  <a:lnTo>
                    <a:pt x="1285" y="1946"/>
                  </a:lnTo>
                  <a:lnTo>
                    <a:pt x="1285" y="1951"/>
                  </a:lnTo>
                  <a:lnTo>
                    <a:pt x="1285" y="1953"/>
                  </a:lnTo>
                  <a:lnTo>
                    <a:pt x="1286" y="1956"/>
                  </a:lnTo>
                  <a:lnTo>
                    <a:pt x="1288" y="1958"/>
                  </a:lnTo>
                  <a:lnTo>
                    <a:pt x="1292" y="1959"/>
                  </a:lnTo>
                  <a:lnTo>
                    <a:pt x="1294" y="1961"/>
                  </a:lnTo>
                  <a:lnTo>
                    <a:pt x="1294" y="1965"/>
                  </a:lnTo>
                  <a:lnTo>
                    <a:pt x="1292" y="1968"/>
                  </a:lnTo>
                  <a:lnTo>
                    <a:pt x="1295" y="1968"/>
                  </a:lnTo>
                  <a:lnTo>
                    <a:pt x="1298" y="1968"/>
                  </a:lnTo>
                  <a:lnTo>
                    <a:pt x="1301" y="1968"/>
                  </a:lnTo>
                  <a:lnTo>
                    <a:pt x="1301" y="1966"/>
                  </a:lnTo>
                  <a:lnTo>
                    <a:pt x="1302" y="1962"/>
                  </a:lnTo>
                  <a:lnTo>
                    <a:pt x="1299" y="1962"/>
                  </a:lnTo>
                  <a:lnTo>
                    <a:pt x="1298" y="1962"/>
                  </a:lnTo>
                  <a:lnTo>
                    <a:pt x="1298" y="1961"/>
                  </a:lnTo>
                  <a:lnTo>
                    <a:pt x="1299" y="1958"/>
                  </a:lnTo>
                  <a:lnTo>
                    <a:pt x="1302" y="1958"/>
                  </a:lnTo>
                  <a:lnTo>
                    <a:pt x="1304" y="1956"/>
                  </a:lnTo>
                  <a:lnTo>
                    <a:pt x="1308" y="1952"/>
                  </a:lnTo>
                  <a:lnTo>
                    <a:pt x="1312" y="1951"/>
                  </a:lnTo>
                  <a:lnTo>
                    <a:pt x="1314" y="1953"/>
                  </a:lnTo>
                  <a:lnTo>
                    <a:pt x="1314" y="1956"/>
                  </a:lnTo>
                  <a:lnTo>
                    <a:pt x="1312" y="1959"/>
                  </a:lnTo>
                  <a:lnTo>
                    <a:pt x="1317" y="1959"/>
                  </a:lnTo>
                  <a:lnTo>
                    <a:pt x="1319" y="1961"/>
                  </a:lnTo>
                  <a:lnTo>
                    <a:pt x="1319" y="1963"/>
                  </a:lnTo>
                  <a:lnTo>
                    <a:pt x="1319" y="1966"/>
                  </a:lnTo>
                  <a:lnTo>
                    <a:pt x="1317" y="1968"/>
                  </a:lnTo>
                  <a:lnTo>
                    <a:pt x="1318" y="1971"/>
                  </a:lnTo>
                  <a:lnTo>
                    <a:pt x="1319" y="1973"/>
                  </a:lnTo>
                  <a:lnTo>
                    <a:pt x="1318" y="1976"/>
                  </a:lnTo>
                  <a:lnTo>
                    <a:pt x="1318" y="1979"/>
                  </a:lnTo>
                  <a:lnTo>
                    <a:pt x="1321" y="1981"/>
                  </a:lnTo>
                  <a:lnTo>
                    <a:pt x="1325" y="1979"/>
                  </a:lnTo>
                  <a:lnTo>
                    <a:pt x="1329" y="1976"/>
                  </a:lnTo>
                  <a:lnTo>
                    <a:pt x="1334" y="1976"/>
                  </a:lnTo>
                  <a:lnTo>
                    <a:pt x="1338" y="1978"/>
                  </a:lnTo>
                  <a:lnTo>
                    <a:pt x="1339" y="1985"/>
                  </a:lnTo>
                  <a:lnTo>
                    <a:pt x="1339" y="1991"/>
                  </a:lnTo>
                  <a:lnTo>
                    <a:pt x="1338" y="1994"/>
                  </a:lnTo>
                  <a:lnTo>
                    <a:pt x="1332" y="1995"/>
                  </a:lnTo>
                  <a:lnTo>
                    <a:pt x="1328" y="1994"/>
                  </a:lnTo>
                  <a:lnTo>
                    <a:pt x="1328" y="1996"/>
                  </a:lnTo>
                  <a:lnTo>
                    <a:pt x="1332" y="1996"/>
                  </a:lnTo>
                  <a:lnTo>
                    <a:pt x="1334" y="1999"/>
                  </a:lnTo>
                  <a:lnTo>
                    <a:pt x="1339" y="1999"/>
                  </a:lnTo>
                  <a:lnTo>
                    <a:pt x="1344" y="1998"/>
                  </a:lnTo>
                  <a:lnTo>
                    <a:pt x="1347" y="1996"/>
                  </a:lnTo>
                  <a:lnTo>
                    <a:pt x="1351" y="1998"/>
                  </a:lnTo>
                  <a:lnTo>
                    <a:pt x="1352" y="1999"/>
                  </a:lnTo>
                  <a:lnTo>
                    <a:pt x="1352" y="2002"/>
                  </a:lnTo>
                  <a:lnTo>
                    <a:pt x="1350" y="2005"/>
                  </a:lnTo>
                  <a:lnTo>
                    <a:pt x="1352" y="2005"/>
                  </a:lnTo>
                  <a:lnTo>
                    <a:pt x="1354" y="2005"/>
                  </a:lnTo>
                  <a:lnTo>
                    <a:pt x="1357" y="2005"/>
                  </a:lnTo>
                  <a:lnTo>
                    <a:pt x="1358" y="2008"/>
                  </a:lnTo>
                  <a:lnTo>
                    <a:pt x="1358" y="2012"/>
                  </a:lnTo>
                  <a:lnTo>
                    <a:pt x="1360" y="2012"/>
                  </a:lnTo>
                  <a:lnTo>
                    <a:pt x="1361" y="2014"/>
                  </a:lnTo>
                  <a:lnTo>
                    <a:pt x="1362" y="2011"/>
                  </a:lnTo>
                  <a:lnTo>
                    <a:pt x="1367" y="2011"/>
                  </a:lnTo>
                  <a:lnTo>
                    <a:pt x="1371" y="2011"/>
                  </a:lnTo>
                  <a:lnTo>
                    <a:pt x="1374" y="2012"/>
                  </a:lnTo>
                  <a:lnTo>
                    <a:pt x="1374" y="2016"/>
                  </a:lnTo>
                  <a:lnTo>
                    <a:pt x="1375" y="2019"/>
                  </a:lnTo>
                  <a:lnTo>
                    <a:pt x="1381" y="2018"/>
                  </a:lnTo>
                  <a:lnTo>
                    <a:pt x="1382" y="2022"/>
                  </a:lnTo>
                  <a:lnTo>
                    <a:pt x="1384" y="2029"/>
                  </a:lnTo>
                  <a:lnTo>
                    <a:pt x="1382" y="2032"/>
                  </a:lnTo>
                  <a:lnTo>
                    <a:pt x="1382" y="2035"/>
                  </a:lnTo>
                  <a:lnTo>
                    <a:pt x="1384" y="2039"/>
                  </a:lnTo>
                  <a:lnTo>
                    <a:pt x="1385" y="2044"/>
                  </a:lnTo>
                  <a:lnTo>
                    <a:pt x="1385" y="2045"/>
                  </a:lnTo>
                  <a:lnTo>
                    <a:pt x="1388" y="2045"/>
                  </a:lnTo>
                  <a:lnTo>
                    <a:pt x="1392" y="2051"/>
                  </a:lnTo>
                  <a:lnTo>
                    <a:pt x="1394" y="2054"/>
                  </a:lnTo>
                  <a:lnTo>
                    <a:pt x="1391" y="2057"/>
                  </a:lnTo>
                  <a:lnTo>
                    <a:pt x="1391" y="2059"/>
                  </a:lnTo>
                  <a:lnTo>
                    <a:pt x="1400" y="2068"/>
                  </a:lnTo>
                  <a:lnTo>
                    <a:pt x="1402" y="2071"/>
                  </a:lnTo>
                  <a:lnTo>
                    <a:pt x="1407" y="2078"/>
                  </a:lnTo>
                  <a:lnTo>
                    <a:pt x="1410" y="2088"/>
                  </a:lnTo>
                  <a:lnTo>
                    <a:pt x="1411" y="2097"/>
                  </a:lnTo>
                  <a:lnTo>
                    <a:pt x="1415" y="2102"/>
                  </a:lnTo>
                  <a:lnTo>
                    <a:pt x="1415" y="2110"/>
                  </a:lnTo>
                  <a:lnTo>
                    <a:pt x="1415" y="2114"/>
                  </a:lnTo>
                  <a:lnTo>
                    <a:pt x="1417" y="2115"/>
                  </a:lnTo>
                  <a:lnTo>
                    <a:pt x="1417" y="2121"/>
                  </a:lnTo>
                  <a:lnTo>
                    <a:pt x="1417" y="2127"/>
                  </a:lnTo>
                  <a:lnTo>
                    <a:pt x="1420" y="2130"/>
                  </a:lnTo>
                  <a:lnTo>
                    <a:pt x="1423" y="2138"/>
                  </a:lnTo>
                  <a:lnTo>
                    <a:pt x="1424" y="2142"/>
                  </a:lnTo>
                  <a:lnTo>
                    <a:pt x="1424" y="2147"/>
                  </a:lnTo>
                  <a:lnTo>
                    <a:pt x="1424" y="2150"/>
                  </a:lnTo>
                  <a:lnTo>
                    <a:pt x="1424" y="2155"/>
                  </a:lnTo>
                  <a:lnTo>
                    <a:pt x="1424" y="2160"/>
                  </a:lnTo>
                  <a:lnTo>
                    <a:pt x="1424" y="2163"/>
                  </a:lnTo>
                  <a:lnTo>
                    <a:pt x="1423" y="2165"/>
                  </a:lnTo>
                  <a:lnTo>
                    <a:pt x="1420" y="2171"/>
                  </a:lnTo>
                  <a:lnTo>
                    <a:pt x="1418" y="2184"/>
                  </a:lnTo>
                  <a:lnTo>
                    <a:pt x="1420" y="2193"/>
                  </a:lnTo>
                  <a:lnTo>
                    <a:pt x="1423" y="2200"/>
                  </a:lnTo>
                  <a:lnTo>
                    <a:pt x="1428" y="2205"/>
                  </a:lnTo>
                  <a:lnTo>
                    <a:pt x="1430" y="2210"/>
                  </a:lnTo>
                  <a:lnTo>
                    <a:pt x="1427" y="2213"/>
                  </a:lnTo>
                  <a:lnTo>
                    <a:pt x="1427" y="2217"/>
                  </a:lnTo>
                  <a:lnTo>
                    <a:pt x="1430" y="2224"/>
                  </a:lnTo>
                  <a:lnTo>
                    <a:pt x="1431" y="2238"/>
                  </a:lnTo>
                  <a:lnTo>
                    <a:pt x="1433" y="2244"/>
                  </a:lnTo>
                  <a:lnTo>
                    <a:pt x="1433" y="2250"/>
                  </a:lnTo>
                  <a:lnTo>
                    <a:pt x="1433" y="2261"/>
                  </a:lnTo>
                  <a:lnTo>
                    <a:pt x="1434" y="2267"/>
                  </a:lnTo>
                  <a:lnTo>
                    <a:pt x="1435" y="2274"/>
                  </a:lnTo>
                  <a:lnTo>
                    <a:pt x="1435" y="2281"/>
                  </a:lnTo>
                  <a:lnTo>
                    <a:pt x="1434" y="2289"/>
                  </a:lnTo>
                  <a:lnTo>
                    <a:pt x="1434" y="2294"/>
                  </a:lnTo>
                  <a:lnTo>
                    <a:pt x="1434" y="2304"/>
                  </a:lnTo>
                  <a:lnTo>
                    <a:pt x="1438" y="2311"/>
                  </a:lnTo>
                  <a:lnTo>
                    <a:pt x="1438" y="2314"/>
                  </a:lnTo>
                  <a:lnTo>
                    <a:pt x="1435" y="2316"/>
                  </a:lnTo>
                  <a:lnTo>
                    <a:pt x="1434" y="2313"/>
                  </a:lnTo>
                  <a:lnTo>
                    <a:pt x="1433" y="2310"/>
                  </a:lnTo>
                  <a:lnTo>
                    <a:pt x="1433" y="2306"/>
                  </a:lnTo>
                  <a:lnTo>
                    <a:pt x="1428" y="2301"/>
                  </a:lnTo>
                  <a:lnTo>
                    <a:pt x="1423" y="2296"/>
                  </a:lnTo>
                  <a:lnTo>
                    <a:pt x="1418" y="2294"/>
                  </a:lnTo>
                  <a:lnTo>
                    <a:pt x="1414" y="2296"/>
                  </a:lnTo>
                  <a:lnTo>
                    <a:pt x="1411" y="2296"/>
                  </a:lnTo>
                  <a:lnTo>
                    <a:pt x="1410" y="2293"/>
                  </a:lnTo>
                  <a:lnTo>
                    <a:pt x="1405" y="2287"/>
                  </a:lnTo>
                  <a:lnTo>
                    <a:pt x="1400" y="2284"/>
                  </a:lnTo>
                  <a:lnTo>
                    <a:pt x="1391" y="2283"/>
                  </a:lnTo>
                  <a:lnTo>
                    <a:pt x="1387" y="2283"/>
                  </a:lnTo>
                  <a:lnTo>
                    <a:pt x="1385" y="2284"/>
                  </a:lnTo>
                  <a:lnTo>
                    <a:pt x="1384" y="2289"/>
                  </a:lnTo>
                  <a:lnTo>
                    <a:pt x="1382" y="2289"/>
                  </a:lnTo>
                  <a:lnTo>
                    <a:pt x="1375" y="2287"/>
                  </a:lnTo>
                  <a:lnTo>
                    <a:pt x="1370" y="2284"/>
                  </a:lnTo>
                  <a:lnTo>
                    <a:pt x="1364" y="2280"/>
                  </a:lnTo>
                  <a:lnTo>
                    <a:pt x="1358" y="2276"/>
                  </a:lnTo>
                  <a:lnTo>
                    <a:pt x="1352" y="2274"/>
                  </a:lnTo>
                  <a:lnTo>
                    <a:pt x="1350" y="2273"/>
                  </a:lnTo>
                  <a:lnTo>
                    <a:pt x="1347" y="2270"/>
                  </a:lnTo>
                  <a:lnTo>
                    <a:pt x="1344" y="2268"/>
                  </a:lnTo>
                  <a:lnTo>
                    <a:pt x="1342" y="2266"/>
                  </a:lnTo>
                  <a:lnTo>
                    <a:pt x="1339" y="2261"/>
                  </a:lnTo>
                  <a:lnTo>
                    <a:pt x="1331" y="2253"/>
                  </a:lnTo>
                  <a:lnTo>
                    <a:pt x="1312" y="2238"/>
                  </a:lnTo>
                  <a:lnTo>
                    <a:pt x="1297" y="2224"/>
                  </a:lnTo>
                  <a:lnTo>
                    <a:pt x="1295" y="2223"/>
                  </a:lnTo>
                  <a:lnTo>
                    <a:pt x="1291" y="2220"/>
                  </a:lnTo>
                  <a:lnTo>
                    <a:pt x="1278" y="2207"/>
                  </a:lnTo>
                  <a:lnTo>
                    <a:pt x="1271" y="2203"/>
                  </a:lnTo>
                  <a:lnTo>
                    <a:pt x="1259" y="2197"/>
                  </a:lnTo>
                  <a:lnTo>
                    <a:pt x="1239" y="2184"/>
                  </a:lnTo>
                  <a:lnTo>
                    <a:pt x="1223" y="2177"/>
                  </a:lnTo>
                  <a:lnTo>
                    <a:pt x="1215" y="2174"/>
                  </a:lnTo>
                  <a:lnTo>
                    <a:pt x="1211" y="2173"/>
                  </a:lnTo>
                  <a:lnTo>
                    <a:pt x="1212" y="2171"/>
                  </a:lnTo>
                  <a:lnTo>
                    <a:pt x="1215" y="2171"/>
                  </a:lnTo>
                  <a:lnTo>
                    <a:pt x="1216" y="2168"/>
                  </a:lnTo>
                  <a:lnTo>
                    <a:pt x="1219" y="2168"/>
                  </a:lnTo>
                  <a:lnTo>
                    <a:pt x="1221" y="2170"/>
                  </a:lnTo>
                  <a:lnTo>
                    <a:pt x="1222" y="2170"/>
                  </a:lnTo>
                  <a:lnTo>
                    <a:pt x="1223" y="2168"/>
                  </a:lnTo>
                  <a:lnTo>
                    <a:pt x="1225" y="2164"/>
                  </a:lnTo>
                  <a:lnTo>
                    <a:pt x="1225" y="2160"/>
                  </a:lnTo>
                  <a:lnTo>
                    <a:pt x="1222" y="2158"/>
                  </a:lnTo>
                  <a:lnTo>
                    <a:pt x="1219" y="2158"/>
                  </a:lnTo>
                  <a:lnTo>
                    <a:pt x="1216" y="2160"/>
                  </a:lnTo>
                  <a:lnTo>
                    <a:pt x="1213" y="2164"/>
                  </a:lnTo>
                  <a:lnTo>
                    <a:pt x="1211" y="2167"/>
                  </a:lnTo>
                  <a:lnTo>
                    <a:pt x="1206" y="2163"/>
                  </a:lnTo>
                  <a:lnTo>
                    <a:pt x="1201" y="2161"/>
                  </a:lnTo>
                  <a:lnTo>
                    <a:pt x="1192" y="2157"/>
                  </a:lnTo>
                  <a:lnTo>
                    <a:pt x="1182" y="2154"/>
                  </a:lnTo>
                  <a:lnTo>
                    <a:pt x="1182" y="2155"/>
                  </a:lnTo>
                  <a:lnTo>
                    <a:pt x="1186" y="2160"/>
                  </a:lnTo>
                  <a:lnTo>
                    <a:pt x="1193" y="2161"/>
                  </a:lnTo>
                  <a:lnTo>
                    <a:pt x="1201" y="2165"/>
                  </a:lnTo>
                  <a:lnTo>
                    <a:pt x="1206" y="2167"/>
                  </a:lnTo>
                  <a:lnTo>
                    <a:pt x="1206" y="2170"/>
                  </a:lnTo>
                  <a:lnTo>
                    <a:pt x="1205" y="2170"/>
                  </a:lnTo>
                  <a:lnTo>
                    <a:pt x="1196" y="2167"/>
                  </a:lnTo>
                  <a:lnTo>
                    <a:pt x="1178" y="2158"/>
                  </a:lnTo>
                  <a:lnTo>
                    <a:pt x="1169" y="2155"/>
                  </a:lnTo>
                  <a:lnTo>
                    <a:pt x="1155" y="2148"/>
                  </a:lnTo>
                  <a:lnTo>
                    <a:pt x="1146" y="2141"/>
                  </a:lnTo>
                  <a:lnTo>
                    <a:pt x="1128" y="2128"/>
                  </a:lnTo>
                  <a:lnTo>
                    <a:pt x="1119" y="2120"/>
                  </a:lnTo>
                  <a:lnTo>
                    <a:pt x="1102" y="2110"/>
                  </a:lnTo>
                  <a:lnTo>
                    <a:pt x="1087" y="2099"/>
                  </a:lnTo>
                  <a:lnTo>
                    <a:pt x="1076" y="2091"/>
                  </a:lnTo>
                  <a:lnTo>
                    <a:pt x="1049" y="2072"/>
                  </a:lnTo>
                  <a:lnTo>
                    <a:pt x="1043" y="2069"/>
                  </a:lnTo>
                  <a:lnTo>
                    <a:pt x="1036" y="2065"/>
                  </a:lnTo>
                  <a:lnTo>
                    <a:pt x="1013" y="2051"/>
                  </a:lnTo>
                  <a:lnTo>
                    <a:pt x="987" y="2036"/>
                  </a:lnTo>
                  <a:lnTo>
                    <a:pt x="981" y="2032"/>
                  </a:lnTo>
                  <a:lnTo>
                    <a:pt x="981" y="2029"/>
                  </a:lnTo>
                  <a:lnTo>
                    <a:pt x="980" y="2026"/>
                  </a:lnTo>
                  <a:lnTo>
                    <a:pt x="977" y="2025"/>
                  </a:lnTo>
                  <a:lnTo>
                    <a:pt x="971" y="2019"/>
                  </a:lnTo>
                  <a:lnTo>
                    <a:pt x="966" y="2016"/>
                  </a:lnTo>
                  <a:lnTo>
                    <a:pt x="963" y="2016"/>
                  </a:lnTo>
                  <a:lnTo>
                    <a:pt x="964" y="2018"/>
                  </a:lnTo>
                  <a:lnTo>
                    <a:pt x="966" y="2019"/>
                  </a:lnTo>
                  <a:lnTo>
                    <a:pt x="973" y="2024"/>
                  </a:lnTo>
                  <a:lnTo>
                    <a:pt x="976" y="2026"/>
                  </a:lnTo>
                  <a:lnTo>
                    <a:pt x="976" y="2029"/>
                  </a:lnTo>
                  <a:lnTo>
                    <a:pt x="971" y="2028"/>
                  </a:lnTo>
                  <a:lnTo>
                    <a:pt x="961" y="2021"/>
                  </a:lnTo>
                  <a:lnTo>
                    <a:pt x="950" y="2014"/>
                  </a:lnTo>
                  <a:lnTo>
                    <a:pt x="934" y="2005"/>
                  </a:lnTo>
                  <a:lnTo>
                    <a:pt x="923" y="1996"/>
                  </a:lnTo>
                  <a:lnTo>
                    <a:pt x="913" y="1989"/>
                  </a:lnTo>
                  <a:lnTo>
                    <a:pt x="898" y="1982"/>
                  </a:lnTo>
                  <a:lnTo>
                    <a:pt x="890" y="1975"/>
                  </a:lnTo>
                  <a:lnTo>
                    <a:pt x="885" y="1972"/>
                  </a:lnTo>
                  <a:lnTo>
                    <a:pt x="863" y="1958"/>
                  </a:lnTo>
                  <a:lnTo>
                    <a:pt x="853" y="1951"/>
                  </a:lnTo>
                  <a:lnTo>
                    <a:pt x="848" y="1946"/>
                  </a:lnTo>
                  <a:lnTo>
                    <a:pt x="838" y="1941"/>
                  </a:lnTo>
                  <a:lnTo>
                    <a:pt x="827" y="1932"/>
                  </a:lnTo>
                  <a:lnTo>
                    <a:pt x="820" y="1925"/>
                  </a:lnTo>
                  <a:lnTo>
                    <a:pt x="814" y="1918"/>
                  </a:lnTo>
                  <a:lnTo>
                    <a:pt x="801" y="1903"/>
                  </a:lnTo>
                  <a:lnTo>
                    <a:pt x="791" y="1892"/>
                  </a:lnTo>
                  <a:lnTo>
                    <a:pt x="782" y="1882"/>
                  </a:lnTo>
                  <a:lnTo>
                    <a:pt x="781" y="1882"/>
                  </a:lnTo>
                  <a:lnTo>
                    <a:pt x="761" y="1862"/>
                  </a:lnTo>
                  <a:lnTo>
                    <a:pt x="752" y="1853"/>
                  </a:lnTo>
                  <a:lnTo>
                    <a:pt x="745" y="1845"/>
                  </a:lnTo>
                  <a:lnTo>
                    <a:pt x="738" y="1836"/>
                  </a:lnTo>
                  <a:lnTo>
                    <a:pt x="735" y="1832"/>
                  </a:lnTo>
                  <a:lnTo>
                    <a:pt x="737" y="1827"/>
                  </a:lnTo>
                  <a:lnTo>
                    <a:pt x="738" y="1823"/>
                  </a:lnTo>
                  <a:lnTo>
                    <a:pt x="732" y="1822"/>
                  </a:lnTo>
                  <a:lnTo>
                    <a:pt x="728" y="1820"/>
                  </a:lnTo>
                  <a:lnTo>
                    <a:pt x="722" y="1812"/>
                  </a:lnTo>
                  <a:lnTo>
                    <a:pt x="716" y="1803"/>
                  </a:lnTo>
                  <a:lnTo>
                    <a:pt x="711" y="1796"/>
                  </a:lnTo>
                  <a:lnTo>
                    <a:pt x="698" y="1777"/>
                  </a:lnTo>
                  <a:lnTo>
                    <a:pt x="688" y="1761"/>
                  </a:lnTo>
                  <a:lnTo>
                    <a:pt x="681" y="1749"/>
                  </a:lnTo>
                  <a:lnTo>
                    <a:pt x="676" y="1736"/>
                  </a:lnTo>
                  <a:lnTo>
                    <a:pt x="672" y="1723"/>
                  </a:lnTo>
                  <a:lnTo>
                    <a:pt x="672" y="1719"/>
                  </a:lnTo>
                  <a:lnTo>
                    <a:pt x="676" y="1721"/>
                  </a:lnTo>
                  <a:lnTo>
                    <a:pt x="678" y="1720"/>
                  </a:lnTo>
                  <a:lnTo>
                    <a:pt x="678" y="1719"/>
                  </a:lnTo>
                  <a:lnTo>
                    <a:pt x="678" y="1716"/>
                  </a:lnTo>
                  <a:lnTo>
                    <a:pt x="676" y="1714"/>
                  </a:lnTo>
                  <a:lnTo>
                    <a:pt x="674" y="1710"/>
                  </a:lnTo>
                  <a:lnTo>
                    <a:pt x="674" y="1706"/>
                  </a:lnTo>
                  <a:lnTo>
                    <a:pt x="675" y="1688"/>
                  </a:lnTo>
                  <a:lnTo>
                    <a:pt x="675" y="1678"/>
                  </a:lnTo>
                  <a:lnTo>
                    <a:pt x="671" y="1671"/>
                  </a:lnTo>
                  <a:lnTo>
                    <a:pt x="665" y="1666"/>
                  </a:lnTo>
                  <a:lnTo>
                    <a:pt x="665" y="1663"/>
                  </a:lnTo>
                  <a:lnTo>
                    <a:pt x="668" y="1661"/>
                  </a:lnTo>
                  <a:lnTo>
                    <a:pt x="671" y="1658"/>
                  </a:lnTo>
                  <a:lnTo>
                    <a:pt x="675" y="1660"/>
                  </a:lnTo>
                  <a:lnTo>
                    <a:pt x="676" y="1656"/>
                  </a:lnTo>
                  <a:lnTo>
                    <a:pt x="674" y="1654"/>
                  </a:lnTo>
                  <a:lnTo>
                    <a:pt x="668" y="1651"/>
                  </a:lnTo>
                  <a:lnTo>
                    <a:pt x="666" y="1644"/>
                  </a:lnTo>
                  <a:lnTo>
                    <a:pt x="662" y="1635"/>
                  </a:lnTo>
                  <a:lnTo>
                    <a:pt x="658" y="1624"/>
                  </a:lnTo>
                  <a:lnTo>
                    <a:pt x="651" y="1605"/>
                  </a:lnTo>
                  <a:lnTo>
                    <a:pt x="639" y="1594"/>
                  </a:lnTo>
                  <a:lnTo>
                    <a:pt x="631" y="1587"/>
                  </a:lnTo>
                  <a:lnTo>
                    <a:pt x="618" y="1581"/>
                  </a:lnTo>
                  <a:lnTo>
                    <a:pt x="609" y="1580"/>
                  </a:lnTo>
                  <a:lnTo>
                    <a:pt x="605" y="1580"/>
                  </a:lnTo>
                  <a:lnTo>
                    <a:pt x="603" y="1580"/>
                  </a:lnTo>
                  <a:lnTo>
                    <a:pt x="598" y="1582"/>
                  </a:lnTo>
                  <a:lnTo>
                    <a:pt x="593" y="1582"/>
                  </a:lnTo>
                  <a:lnTo>
                    <a:pt x="593" y="1575"/>
                  </a:lnTo>
                  <a:lnTo>
                    <a:pt x="592" y="1574"/>
                  </a:lnTo>
                  <a:lnTo>
                    <a:pt x="592" y="1571"/>
                  </a:lnTo>
                  <a:lnTo>
                    <a:pt x="593" y="1565"/>
                  </a:lnTo>
                  <a:lnTo>
                    <a:pt x="593" y="1557"/>
                  </a:lnTo>
                  <a:lnTo>
                    <a:pt x="593" y="1554"/>
                  </a:lnTo>
                  <a:lnTo>
                    <a:pt x="598" y="1552"/>
                  </a:lnTo>
                  <a:lnTo>
                    <a:pt x="602" y="1554"/>
                  </a:lnTo>
                  <a:lnTo>
                    <a:pt x="605" y="1555"/>
                  </a:lnTo>
                  <a:lnTo>
                    <a:pt x="609" y="1552"/>
                  </a:lnTo>
                  <a:lnTo>
                    <a:pt x="619" y="1545"/>
                  </a:lnTo>
                  <a:lnTo>
                    <a:pt x="623" y="1541"/>
                  </a:lnTo>
                  <a:lnTo>
                    <a:pt x="626" y="1531"/>
                  </a:lnTo>
                  <a:lnTo>
                    <a:pt x="626" y="1522"/>
                  </a:lnTo>
                  <a:lnTo>
                    <a:pt x="622" y="1514"/>
                  </a:lnTo>
                  <a:lnTo>
                    <a:pt x="618" y="1509"/>
                  </a:lnTo>
                  <a:lnTo>
                    <a:pt x="619" y="1505"/>
                  </a:lnTo>
                  <a:lnTo>
                    <a:pt x="618" y="1502"/>
                  </a:lnTo>
                  <a:lnTo>
                    <a:pt x="613" y="1498"/>
                  </a:lnTo>
                  <a:lnTo>
                    <a:pt x="612" y="1495"/>
                  </a:lnTo>
                  <a:lnTo>
                    <a:pt x="612" y="1491"/>
                  </a:lnTo>
                  <a:lnTo>
                    <a:pt x="613" y="1488"/>
                  </a:lnTo>
                  <a:lnTo>
                    <a:pt x="616" y="1487"/>
                  </a:lnTo>
                  <a:lnTo>
                    <a:pt x="619" y="1488"/>
                  </a:lnTo>
                  <a:lnTo>
                    <a:pt x="623" y="1488"/>
                  </a:lnTo>
                  <a:lnTo>
                    <a:pt x="628" y="1482"/>
                  </a:lnTo>
                  <a:lnTo>
                    <a:pt x="635" y="1475"/>
                  </a:lnTo>
                  <a:lnTo>
                    <a:pt x="639" y="1465"/>
                  </a:lnTo>
                  <a:lnTo>
                    <a:pt x="639" y="1458"/>
                  </a:lnTo>
                  <a:lnTo>
                    <a:pt x="642" y="1456"/>
                  </a:lnTo>
                  <a:lnTo>
                    <a:pt x="649" y="1456"/>
                  </a:lnTo>
                  <a:lnTo>
                    <a:pt x="653" y="1456"/>
                  </a:lnTo>
                  <a:lnTo>
                    <a:pt x="655" y="1454"/>
                  </a:lnTo>
                  <a:lnTo>
                    <a:pt x="653" y="1454"/>
                  </a:lnTo>
                  <a:lnTo>
                    <a:pt x="649" y="1454"/>
                  </a:lnTo>
                  <a:lnTo>
                    <a:pt x="646" y="1452"/>
                  </a:lnTo>
                  <a:lnTo>
                    <a:pt x="645" y="1451"/>
                  </a:lnTo>
                  <a:lnTo>
                    <a:pt x="641" y="1454"/>
                  </a:lnTo>
                  <a:lnTo>
                    <a:pt x="638" y="1452"/>
                  </a:lnTo>
                  <a:lnTo>
                    <a:pt x="638" y="1446"/>
                  </a:lnTo>
                  <a:lnTo>
                    <a:pt x="638" y="1439"/>
                  </a:lnTo>
                  <a:lnTo>
                    <a:pt x="638" y="1425"/>
                  </a:lnTo>
                  <a:lnTo>
                    <a:pt x="636" y="1411"/>
                  </a:lnTo>
                  <a:lnTo>
                    <a:pt x="635" y="1393"/>
                  </a:lnTo>
                  <a:lnTo>
                    <a:pt x="636" y="1375"/>
                  </a:lnTo>
                  <a:lnTo>
                    <a:pt x="635" y="1368"/>
                  </a:lnTo>
                  <a:lnTo>
                    <a:pt x="633" y="1355"/>
                  </a:lnTo>
                  <a:lnTo>
                    <a:pt x="632" y="1345"/>
                  </a:lnTo>
                  <a:lnTo>
                    <a:pt x="632" y="1345"/>
                  </a:lnTo>
                  <a:lnTo>
                    <a:pt x="636" y="1343"/>
                  </a:lnTo>
                  <a:lnTo>
                    <a:pt x="636" y="1343"/>
                  </a:lnTo>
                  <a:lnTo>
                    <a:pt x="636" y="1342"/>
                  </a:lnTo>
                  <a:lnTo>
                    <a:pt x="629" y="1342"/>
                  </a:lnTo>
                  <a:lnTo>
                    <a:pt x="628" y="1338"/>
                  </a:lnTo>
                  <a:lnTo>
                    <a:pt x="626" y="1330"/>
                  </a:lnTo>
                  <a:lnTo>
                    <a:pt x="626" y="1325"/>
                  </a:lnTo>
                  <a:lnTo>
                    <a:pt x="625" y="1318"/>
                  </a:lnTo>
                  <a:lnTo>
                    <a:pt x="622" y="1313"/>
                  </a:lnTo>
                  <a:lnTo>
                    <a:pt x="622" y="1305"/>
                  </a:lnTo>
                  <a:lnTo>
                    <a:pt x="621" y="1299"/>
                  </a:lnTo>
                  <a:lnTo>
                    <a:pt x="618" y="1290"/>
                  </a:lnTo>
                  <a:lnTo>
                    <a:pt x="616" y="1286"/>
                  </a:lnTo>
                  <a:lnTo>
                    <a:pt x="615" y="1282"/>
                  </a:lnTo>
                  <a:lnTo>
                    <a:pt x="616" y="1275"/>
                  </a:lnTo>
                  <a:lnTo>
                    <a:pt x="609" y="1263"/>
                  </a:lnTo>
                  <a:lnTo>
                    <a:pt x="603" y="1260"/>
                  </a:lnTo>
                  <a:lnTo>
                    <a:pt x="596" y="1259"/>
                  </a:lnTo>
                  <a:lnTo>
                    <a:pt x="593" y="1253"/>
                  </a:lnTo>
                  <a:lnTo>
                    <a:pt x="593" y="1247"/>
                  </a:lnTo>
                  <a:lnTo>
                    <a:pt x="590" y="1243"/>
                  </a:lnTo>
                  <a:lnTo>
                    <a:pt x="589" y="1237"/>
                  </a:lnTo>
                  <a:lnTo>
                    <a:pt x="588" y="1230"/>
                  </a:lnTo>
                  <a:lnTo>
                    <a:pt x="588" y="1220"/>
                  </a:lnTo>
                  <a:lnTo>
                    <a:pt x="582" y="1213"/>
                  </a:lnTo>
                  <a:lnTo>
                    <a:pt x="580" y="1207"/>
                  </a:lnTo>
                  <a:lnTo>
                    <a:pt x="580" y="1204"/>
                  </a:lnTo>
                  <a:lnTo>
                    <a:pt x="579" y="1197"/>
                  </a:lnTo>
                  <a:lnTo>
                    <a:pt x="579" y="1190"/>
                  </a:lnTo>
                  <a:lnTo>
                    <a:pt x="580" y="1187"/>
                  </a:lnTo>
                  <a:lnTo>
                    <a:pt x="582" y="1183"/>
                  </a:lnTo>
                  <a:lnTo>
                    <a:pt x="580" y="1176"/>
                  </a:lnTo>
                  <a:lnTo>
                    <a:pt x="573" y="1164"/>
                  </a:lnTo>
                  <a:lnTo>
                    <a:pt x="570" y="1160"/>
                  </a:lnTo>
                  <a:lnTo>
                    <a:pt x="566" y="1154"/>
                  </a:lnTo>
                  <a:lnTo>
                    <a:pt x="568" y="1149"/>
                  </a:lnTo>
                  <a:lnTo>
                    <a:pt x="569" y="1141"/>
                  </a:lnTo>
                  <a:lnTo>
                    <a:pt x="569" y="1134"/>
                  </a:lnTo>
                  <a:lnTo>
                    <a:pt x="572" y="1128"/>
                  </a:lnTo>
                  <a:lnTo>
                    <a:pt x="573" y="1120"/>
                  </a:lnTo>
                  <a:lnTo>
                    <a:pt x="570" y="1113"/>
                  </a:lnTo>
                  <a:lnTo>
                    <a:pt x="566" y="1108"/>
                  </a:lnTo>
                  <a:lnTo>
                    <a:pt x="568" y="1100"/>
                  </a:lnTo>
                  <a:lnTo>
                    <a:pt x="568" y="1090"/>
                  </a:lnTo>
                  <a:lnTo>
                    <a:pt x="566" y="1085"/>
                  </a:lnTo>
                  <a:lnTo>
                    <a:pt x="563" y="1077"/>
                  </a:lnTo>
                  <a:lnTo>
                    <a:pt x="562" y="1071"/>
                  </a:lnTo>
                  <a:lnTo>
                    <a:pt x="559" y="1067"/>
                  </a:lnTo>
                  <a:lnTo>
                    <a:pt x="556" y="1060"/>
                  </a:lnTo>
                  <a:lnTo>
                    <a:pt x="555" y="1050"/>
                  </a:lnTo>
                  <a:lnTo>
                    <a:pt x="550" y="1043"/>
                  </a:lnTo>
                  <a:lnTo>
                    <a:pt x="552" y="1037"/>
                  </a:lnTo>
                  <a:lnTo>
                    <a:pt x="553" y="1031"/>
                  </a:lnTo>
                  <a:lnTo>
                    <a:pt x="553" y="1031"/>
                  </a:lnTo>
                  <a:lnTo>
                    <a:pt x="553" y="1022"/>
                  </a:lnTo>
                  <a:lnTo>
                    <a:pt x="550" y="1015"/>
                  </a:lnTo>
                  <a:lnTo>
                    <a:pt x="552" y="1004"/>
                  </a:lnTo>
                  <a:lnTo>
                    <a:pt x="549" y="1001"/>
                  </a:lnTo>
                  <a:lnTo>
                    <a:pt x="547" y="997"/>
                  </a:lnTo>
                  <a:lnTo>
                    <a:pt x="547" y="991"/>
                  </a:lnTo>
                  <a:lnTo>
                    <a:pt x="543" y="987"/>
                  </a:lnTo>
                  <a:lnTo>
                    <a:pt x="539" y="987"/>
                  </a:lnTo>
                  <a:lnTo>
                    <a:pt x="536" y="990"/>
                  </a:lnTo>
                  <a:lnTo>
                    <a:pt x="536" y="992"/>
                  </a:lnTo>
                  <a:lnTo>
                    <a:pt x="532" y="987"/>
                  </a:lnTo>
                  <a:lnTo>
                    <a:pt x="527" y="981"/>
                  </a:lnTo>
                  <a:lnTo>
                    <a:pt x="523" y="975"/>
                  </a:lnTo>
                  <a:lnTo>
                    <a:pt x="523" y="969"/>
                  </a:lnTo>
                  <a:lnTo>
                    <a:pt x="522" y="959"/>
                  </a:lnTo>
                  <a:lnTo>
                    <a:pt x="523" y="952"/>
                  </a:lnTo>
                  <a:lnTo>
                    <a:pt x="525" y="945"/>
                  </a:lnTo>
                  <a:lnTo>
                    <a:pt x="523" y="941"/>
                  </a:lnTo>
                  <a:lnTo>
                    <a:pt x="526" y="937"/>
                  </a:lnTo>
                  <a:lnTo>
                    <a:pt x="529" y="934"/>
                  </a:lnTo>
                  <a:lnTo>
                    <a:pt x="529" y="931"/>
                  </a:lnTo>
                  <a:lnTo>
                    <a:pt x="526" y="925"/>
                  </a:lnTo>
                  <a:lnTo>
                    <a:pt x="526" y="924"/>
                  </a:lnTo>
                  <a:lnTo>
                    <a:pt x="526" y="921"/>
                  </a:lnTo>
                  <a:lnTo>
                    <a:pt x="526" y="919"/>
                  </a:lnTo>
                  <a:lnTo>
                    <a:pt x="527" y="915"/>
                  </a:lnTo>
                  <a:lnTo>
                    <a:pt x="533" y="911"/>
                  </a:lnTo>
                  <a:lnTo>
                    <a:pt x="533" y="906"/>
                  </a:lnTo>
                  <a:lnTo>
                    <a:pt x="535" y="899"/>
                  </a:lnTo>
                  <a:lnTo>
                    <a:pt x="533" y="895"/>
                  </a:lnTo>
                  <a:lnTo>
                    <a:pt x="529" y="888"/>
                  </a:lnTo>
                  <a:lnTo>
                    <a:pt x="525" y="882"/>
                  </a:lnTo>
                  <a:lnTo>
                    <a:pt x="525" y="872"/>
                  </a:lnTo>
                  <a:lnTo>
                    <a:pt x="529" y="871"/>
                  </a:lnTo>
                  <a:lnTo>
                    <a:pt x="535" y="865"/>
                  </a:lnTo>
                  <a:lnTo>
                    <a:pt x="535" y="863"/>
                  </a:lnTo>
                  <a:lnTo>
                    <a:pt x="533" y="863"/>
                  </a:lnTo>
                  <a:lnTo>
                    <a:pt x="530" y="862"/>
                  </a:lnTo>
                  <a:lnTo>
                    <a:pt x="530" y="858"/>
                  </a:lnTo>
                  <a:lnTo>
                    <a:pt x="533" y="856"/>
                  </a:lnTo>
                  <a:lnTo>
                    <a:pt x="537" y="852"/>
                  </a:lnTo>
                  <a:lnTo>
                    <a:pt x="537" y="849"/>
                  </a:lnTo>
                  <a:lnTo>
                    <a:pt x="539" y="848"/>
                  </a:lnTo>
                  <a:lnTo>
                    <a:pt x="540" y="849"/>
                  </a:lnTo>
                  <a:lnTo>
                    <a:pt x="543" y="852"/>
                  </a:lnTo>
                  <a:lnTo>
                    <a:pt x="542" y="848"/>
                  </a:lnTo>
                  <a:lnTo>
                    <a:pt x="542" y="843"/>
                  </a:lnTo>
                  <a:lnTo>
                    <a:pt x="540" y="841"/>
                  </a:lnTo>
                  <a:lnTo>
                    <a:pt x="542" y="835"/>
                  </a:lnTo>
                  <a:lnTo>
                    <a:pt x="543" y="822"/>
                  </a:lnTo>
                  <a:lnTo>
                    <a:pt x="545" y="819"/>
                  </a:lnTo>
                  <a:lnTo>
                    <a:pt x="545" y="816"/>
                  </a:lnTo>
                  <a:lnTo>
                    <a:pt x="545" y="809"/>
                  </a:lnTo>
                  <a:lnTo>
                    <a:pt x="543" y="808"/>
                  </a:lnTo>
                  <a:lnTo>
                    <a:pt x="542" y="808"/>
                  </a:lnTo>
                  <a:lnTo>
                    <a:pt x="540" y="809"/>
                  </a:lnTo>
                  <a:lnTo>
                    <a:pt x="536" y="813"/>
                  </a:lnTo>
                  <a:lnTo>
                    <a:pt x="533" y="813"/>
                  </a:lnTo>
                  <a:lnTo>
                    <a:pt x="529" y="813"/>
                  </a:lnTo>
                  <a:lnTo>
                    <a:pt x="526" y="818"/>
                  </a:lnTo>
                  <a:lnTo>
                    <a:pt x="522" y="818"/>
                  </a:lnTo>
                  <a:lnTo>
                    <a:pt x="522" y="819"/>
                  </a:lnTo>
                  <a:lnTo>
                    <a:pt x="519" y="821"/>
                  </a:lnTo>
                  <a:lnTo>
                    <a:pt x="516" y="819"/>
                  </a:lnTo>
                  <a:lnTo>
                    <a:pt x="516" y="812"/>
                  </a:lnTo>
                  <a:lnTo>
                    <a:pt x="517" y="805"/>
                  </a:lnTo>
                  <a:lnTo>
                    <a:pt x="515" y="803"/>
                  </a:lnTo>
                  <a:lnTo>
                    <a:pt x="510" y="800"/>
                  </a:lnTo>
                  <a:lnTo>
                    <a:pt x="510" y="798"/>
                  </a:lnTo>
                  <a:lnTo>
                    <a:pt x="509" y="788"/>
                  </a:lnTo>
                  <a:lnTo>
                    <a:pt x="509" y="780"/>
                  </a:lnTo>
                  <a:lnTo>
                    <a:pt x="510" y="773"/>
                  </a:lnTo>
                  <a:lnTo>
                    <a:pt x="509" y="769"/>
                  </a:lnTo>
                  <a:lnTo>
                    <a:pt x="506" y="766"/>
                  </a:lnTo>
                  <a:lnTo>
                    <a:pt x="503" y="762"/>
                  </a:lnTo>
                  <a:lnTo>
                    <a:pt x="502" y="762"/>
                  </a:lnTo>
                  <a:lnTo>
                    <a:pt x="499" y="756"/>
                  </a:lnTo>
                  <a:lnTo>
                    <a:pt x="497" y="753"/>
                  </a:lnTo>
                  <a:lnTo>
                    <a:pt x="494" y="750"/>
                  </a:lnTo>
                  <a:lnTo>
                    <a:pt x="489" y="747"/>
                  </a:lnTo>
                  <a:lnTo>
                    <a:pt x="484" y="749"/>
                  </a:lnTo>
                  <a:lnTo>
                    <a:pt x="480" y="749"/>
                  </a:lnTo>
                  <a:lnTo>
                    <a:pt x="479" y="749"/>
                  </a:lnTo>
                  <a:lnTo>
                    <a:pt x="476" y="752"/>
                  </a:lnTo>
                  <a:lnTo>
                    <a:pt x="474" y="753"/>
                  </a:lnTo>
                  <a:lnTo>
                    <a:pt x="476" y="758"/>
                  </a:lnTo>
                  <a:lnTo>
                    <a:pt x="477" y="760"/>
                  </a:lnTo>
                  <a:lnTo>
                    <a:pt x="474" y="762"/>
                  </a:lnTo>
                  <a:lnTo>
                    <a:pt x="469" y="759"/>
                  </a:lnTo>
                  <a:lnTo>
                    <a:pt x="466" y="755"/>
                  </a:lnTo>
                  <a:lnTo>
                    <a:pt x="464" y="749"/>
                  </a:lnTo>
                  <a:lnTo>
                    <a:pt x="460" y="743"/>
                  </a:lnTo>
                  <a:lnTo>
                    <a:pt x="453" y="737"/>
                  </a:lnTo>
                  <a:lnTo>
                    <a:pt x="450" y="735"/>
                  </a:lnTo>
                  <a:lnTo>
                    <a:pt x="450" y="729"/>
                  </a:lnTo>
                  <a:lnTo>
                    <a:pt x="449" y="723"/>
                  </a:lnTo>
                  <a:lnTo>
                    <a:pt x="449" y="717"/>
                  </a:lnTo>
                  <a:lnTo>
                    <a:pt x="441" y="710"/>
                  </a:lnTo>
                  <a:lnTo>
                    <a:pt x="437" y="707"/>
                  </a:lnTo>
                  <a:lnTo>
                    <a:pt x="431" y="706"/>
                  </a:lnTo>
                  <a:lnTo>
                    <a:pt x="427" y="700"/>
                  </a:lnTo>
                  <a:lnTo>
                    <a:pt x="423" y="696"/>
                  </a:lnTo>
                  <a:lnTo>
                    <a:pt x="417" y="692"/>
                  </a:lnTo>
                  <a:lnTo>
                    <a:pt x="411" y="690"/>
                  </a:lnTo>
                  <a:lnTo>
                    <a:pt x="409" y="686"/>
                  </a:lnTo>
                  <a:lnTo>
                    <a:pt x="401" y="682"/>
                  </a:lnTo>
                  <a:lnTo>
                    <a:pt x="397" y="679"/>
                  </a:lnTo>
                  <a:lnTo>
                    <a:pt x="396" y="677"/>
                  </a:lnTo>
                  <a:lnTo>
                    <a:pt x="393" y="674"/>
                  </a:lnTo>
                  <a:lnTo>
                    <a:pt x="389" y="673"/>
                  </a:lnTo>
                  <a:lnTo>
                    <a:pt x="386" y="669"/>
                  </a:lnTo>
                  <a:lnTo>
                    <a:pt x="380" y="666"/>
                  </a:lnTo>
                  <a:lnTo>
                    <a:pt x="378" y="662"/>
                  </a:lnTo>
                  <a:lnTo>
                    <a:pt x="378" y="657"/>
                  </a:lnTo>
                  <a:lnTo>
                    <a:pt x="377" y="653"/>
                  </a:lnTo>
                  <a:lnTo>
                    <a:pt x="376" y="649"/>
                  </a:lnTo>
                  <a:lnTo>
                    <a:pt x="376" y="644"/>
                  </a:lnTo>
                  <a:lnTo>
                    <a:pt x="377" y="643"/>
                  </a:lnTo>
                  <a:lnTo>
                    <a:pt x="377" y="637"/>
                  </a:lnTo>
                  <a:lnTo>
                    <a:pt x="376" y="634"/>
                  </a:lnTo>
                  <a:lnTo>
                    <a:pt x="374" y="631"/>
                  </a:lnTo>
                  <a:lnTo>
                    <a:pt x="374" y="629"/>
                  </a:lnTo>
                  <a:lnTo>
                    <a:pt x="374" y="626"/>
                  </a:lnTo>
                  <a:lnTo>
                    <a:pt x="373" y="623"/>
                  </a:lnTo>
                  <a:lnTo>
                    <a:pt x="373" y="620"/>
                  </a:lnTo>
                  <a:lnTo>
                    <a:pt x="374" y="617"/>
                  </a:lnTo>
                  <a:lnTo>
                    <a:pt x="373" y="613"/>
                  </a:lnTo>
                  <a:lnTo>
                    <a:pt x="383" y="603"/>
                  </a:lnTo>
                  <a:lnTo>
                    <a:pt x="389" y="601"/>
                  </a:lnTo>
                  <a:lnTo>
                    <a:pt x="393" y="600"/>
                  </a:lnTo>
                  <a:lnTo>
                    <a:pt x="397" y="591"/>
                  </a:lnTo>
                  <a:lnTo>
                    <a:pt x="404" y="589"/>
                  </a:lnTo>
                  <a:lnTo>
                    <a:pt x="410" y="584"/>
                  </a:lnTo>
                  <a:lnTo>
                    <a:pt x="416" y="584"/>
                  </a:lnTo>
                  <a:lnTo>
                    <a:pt x="423" y="584"/>
                  </a:lnTo>
                  <a:lnTo>
                    <a:pt x="421" y="581"/>
                  </a:lnTo>
                  <a:lnTo>
                    <a:pt x="416" y="580"/>
                  </a:lnTo>
                  <a:lnTo>
                    <a:pt x="416" y="580"/>
                  </a:lnTo>
                  <a:lnTo>
                    <a:pt x="414" y="578"/>
                  </a:lnTo>
                  <a:lnTo>
                    <a:pt x="409" y="580"/>
                  </a:lnTo>
                  <a:lnTo>
                    <a:pt x="404" y="581"/>
                  </a:lnTo>
                  <a:lnTo>
                    <a:pt x="400" y="584"/>
                  </a:lnTo>
                  <a:lnTo>
                    <a:pt x="396" y="586"/>
                  </a:lnTo>
                  <a:lnTo>
                    <a:pt x="394" y="583"/>
                  </a:lnTo>
                  <a:lnTo>
                    <a:pt x="397" y="577"/>
                  </a:lnTo>
                  <a:lnTo>
                    <a:pt x="401" y="568"/>
                  </a:lnTo>
                  <a:lnTo>
                    <a:pt x="406" y="566"/>
                  </a:lnTo>
                  <a:lnTo>
                    <a:pt x="411" y="561"/>
                  </a:lnTo>
                  <a:lnTo>
                    <a:pt x="416" y="554"/>
                  </a:lnTo>
                  <a:lnTo>
                    <a:pt x="416" y="551"/>
                  </a:lnTo>
                  <a:lnTo>
                    <a:pt x="414" y="551"/>
                  </a:lnTo>
                  <a:lnTo>
                    <a:pt x="409" y="558"/>
                  </a:lnTo>
                  <a:lnTo>
                    <a:pt x="404" y="561"/>
                  </a:lnTo>
                  <a:lnTo>
                    <a:pt x="396" y="568"/>
                  </a:lnTo>
                  <a:lnTo>
                    <a:pt x="393" y="574"/>
                  </a:lnTo>
                  <a:lnTo>
                    <a:pt x="389" y="583"/>
                  </a:lnTo>
                  <a:lnTo>
                    <a:pt x="380" y="587"/>
                  </a:lnTo>
                  <a:lnTo>
                    <a:pt x="370" y="591"/>
                  </a:lnTo>
                  <a:lnTo>
                    <a:pt x="366" y="597"/>
                  </a:lnTo>
                  <a:lnTo>
                    <a:pt x="361" y="597"/>
                  </a:lnTo>
                  <a:lnTo>
                    <a:pt x="358" y="596"/>
                  </a:lnTo>
                  <a:lnTo>
                    <a:pt x="351" y="596"/>
                  </a:lnTo>
                  <a:lnTo>
                    <a:pt x="350" y="596"/>
                  </a:lnTo>
                  <a:lnTo>
                    <a:pt x="344" y="596"/>
                  </a:lnTo>
                  <a:lnTo>
                    <a:pt x="343" y="596"/>
                  </a:lnTo>
                  <a:lnTo>
                    <a:pt x="341" y="597"/>
                  </a:lnTo>
                  <a:lnTo>
                    <a:pt x="334" y="603"/>
                  </a:lnTo>
                  <a:lnTo>
                    <a:pt x="333" y="607"/>
                  </a:lnTo>
                  <a:lnTo>
                    <a:pt x="333" y="611"/>
                  </a:lnTo>
                  <a:lnTo>
                    <a:pt x="333" y="617"/>
                  </a:lnTo>
                  <a:lnTo>
                    <a:pt x="330" y="620"/>
                  </a:lnTo>
                  <a:lnTo>
                    <a:pt x="325" y="626"/>
                  </a:lnTo>
                  <a:lnTo>
                    <a:pt x="324" y="634"/>
                  </a:lnTo>
                  <a:lnTo>
                    <a:pt x="323" y="639"/>
                  </a:lnTo>
                  <a:lnTo>
                    <a:pt x="325" y="642"/>
                  </a:lnTo>
                  <a:lnTo>
                    <a:pt x="328" y="643"/>
                  </a:lnTo>
                  <a:lnTo>
                    <a:pt x="328" y="644"/>
                  </a:lnTo>
                  <a:lnTo>
                    <a:pt x="325" y="644"/>
                  </a:lnTo>
                  <a:lnTo>
                    <a:pt x="321" y="649"/>
                  </a:lnTo>
                  <a:lnTo>
                    <a:pt x="320" y="650"/>
                  </a:lnTo>
                  <a:lnTo>
                    <a:pt x="315" y="660"/>
                  </a:lnTo>
                  <a:lnTo>
                    <a:pt x="313" y="667"/>
                  </a:lnTo>
                  <a:lnTo>
                    <a:pt x="313" y="672"/>
                  </a:lnTo>
                  <a:lnTo>
                    <a:pt x="310" y="679"/>
                  </a:lnTo>
                  <a:lnTo>
                    <a:pt x="307" y="689"/>
                  </a:lnTo>
                  <a:lnTo>
                    <a:pt x="305" y="694"/>
                  </a:lnTo>
                  <a:lnTo>
                    <a:pt x="307" y="697"/>
                  </a:lnTo>
                  <a:lnTo>
                    <a:pt x="308" y="697"/>
                  </a:lnTo>
                  <a:lnTo>
                    <a:pt x="311" y="696"/>
                  </a:lnTo>
                  <a:lnTo>
                    <a:pt x="314" y="697"/>
                  </a:lnTo>
                  <a:lnTo>
                    <a:pt x="314" y="700"/>
                  </a:lnTo>
                  <a:lnTo>
                    <a:pt x="314" y="705"/>
                  </a:lnTo>
                  <a:lnTo>
                    <a:pt x="314" y="706"/>
                  </a:lnTo>
                  <a:lnTo>
                    <a:pt x="315" y="706"/>
                  </a:lnTo>
                  <a:lnTo>
                    <a:pt x="318" y="705"/>
                  </a:lnTo>
                  <a:lnTo>
                    <a:pt x="320" y="705"/>
                  </a:lnTo>
                  <a:lnTo>
                    <a:pt x="321" y="706"/>
                  </a:lnTo>
                  <a:lnTo>
                    <a:pt x="324" y="707"/>
                  </a:lnTo>
                  <a:lnTo>
                    <a:pt x="327" y="706"/>
                  </a:lnTo>
                  <a:lnTo>
                    <a:pt x="327" y="706"/>
                  </a:lnTo>
                  <a:lnTo>
                    <a:pt x="328" y="703"/>
                  </a:lnTo>
                  <a:lnTo>
                    <a:pt x="331" y="702"/>
                  </a:lnTo>
                  <a:lnTo>
                    <a:pt x="334" y="702"/>
                  </a:lnTo>
                  <a:lnTo>
                    <a:pt x="336" y="705"/>
                  </a:lnTo>
                  <a:lnTo>
                    <a:pt x="336" y="706"/>
                  </a:lnTo>
                  <a:lnTo>
                    <a:pt x="334" y="707"/>
                  </a:lnTo>
                  <a:lnTo>
                    <a:pt x="333" y="710"/>
                  </a:lnTo>
                  <a:lnTo>
                    <a:pt x="333" y="710"/>
                  </a:lnTo>
                  <a:lnTo>
                    <a:pt x="333" y="712"/>
                  </a:lnTo>
                  <a:lnTo>
                    <a:pt x="334" y="715"/>
                  </a:lnTo>
                  <a:lnTo>
                    <a:pt x="334" y="717"/>
                  </a:lnTo>
                  <a:lnTo>
                    <a:pt x="336" y="723"/>
                  </a:lnTo>
                  <a:lnTo>
                    <a:pt x="337" y="727"/>
                  </a:lnTo>
                  <a:lnTo>
                    <a:pt x="341" y="732"/>
                  </a:lnTo>
                  <a:lnTo>
                    <a:pt x="348" y="736"/>
                  </a:lnTo>
                  <a:lnTo>
                    <a:pt x="350" y="736"/>
                  </a:lnTo>
                  <a:lnTo>
                    <a:pt x="353" y="737"/>
                  </a:lnTo>
                  <a:lnTo>
                    <a:pt x="356" y="742"/>
                  </a:lnTo>
                  <a:lnTo>
                    <a:pt x="358" y="742"/>
                  </a:lnTo>
                  <a:lnTo>
                    <a:pt x="360" y="740"/>
                  </a:lnTo>
                  <a:lnTo>
                    <a:pt x="364" y="739"/>
                  </a:lnTo>
                  <a:lnTo>
                    <a:pt x="364" y="742"/>
                  </a:lnTo>
                  <a:lnTo>
                    <a:pt x="364" y="746"/>
                  </a:lnTo>
                  <a:lnTo>
                    <a:pt x="368" y="749"/>
                  </a:lnTo>
                  <a:lnTo>
                    <a:pt x="373" y="755"/>
                  </a:lnTo>
                  <a:lnTo>
                    <a:pt x="377" y="762"/>
                  </a:lnTo>
                  <a:lnTo>
                    <a:pt x="378" y="763"/>
                  </a:lnTo>
                  <a:lnTo>
                    <a:pt x="381" y="766"/>
                  </a:lnTo>
                  <a:lnTo>
                    <a:pt x="381" y="769"/>
                  </a:lnTo>
                  <a:lnTo>
                    <a:pt x="386" y="772"/>
                  </a:lnTo>
                  <a:lnTo>
                    <a:pt x="387" y="775"/>
                  </a:lnTo>
                  <a:lnTo>
                    <a:pt x="387" y="776"/>
                  </a:lnTo>
                  <a:lnTo>
                    <a:pt x="391" y="776"/>
                  </a:lnTo>
                  <a:lnTo>
                    <a:pt x="394" y="776"/>
                  </a:lnTo>
                  <a:lnTo>
                    <a:pt x="399" y="773"/>
                  </a:lnTo>
                  <a:lnTo>
                    <a:pt x="401" y="773"/>
                  </a:lnTo>
                  <a:lnTo>
                    <a:pt x="407" y="770"/>
                  </a:lnTo>
                  <a:lnTo>
                    <a:pt x="407" y="768"/>
                  </a:lnTo>
                  <a:lnTo>
                    <a:pt x="410" y="763"/>
                  </a:lnTo>
                  <a:lnTo>
                    <a:pt x="416" y="762"/>
                  </a:lnTo>
                  <a:lnTo>
                    <a:pt x="420" y="763"/>
                  </a:lnTo>
                  <a:lnTo>
                    <a:pt x="420" y="765"/>
                  </a:lnTo>
                  <a:lnTo>
                    <a:pt x="421" y="768"/>
                  </a:lnTo>
                  <a:lnTo>
                    <a:pt x="424" y="769"/>
                  </a:lnTo>
                  <a:lnTo>
                    <a:pt x="423" y="772"/>
                  </a:lnTo>
                  <a:lnTo>
                    <a:pt x="420" y="776"/>
                  </a:lnTo>
                  <a:lnTo>
                    <a:pt x="421" y="778"/>
                  </a:lnTo>
                  <a:lnTo>
                    <a:pt x="426" y="779"/>
                  </a:lnTo>
                  <a:lnTo>
                    <a:pt x="424" y="780"/>
                  </a:lnTo>
                  <a:lnTo>
                    <a:pt x="421" y="780"/>
                  </a:lnTo>
                  <a:lnTo>
                    <a:pt x="420" y="782"/>
                  </a:lnTo>
                  <a:lnTo>
                    <a:pt x="420" y="783"/>
                  </a:lnTo>
                  <a:lnTo>
                    <a:pt x="420" y="786"/>
                  </a:lnTo>
                  <a:lnTo>
                    <a:pt x="420" y="788"/>
                  </a:lnTo>
                  <a:lnTo>
                    <a:pt x="424" y="790"/>
                  </a:lnTo>
                  <a:lnTo>
                    <a:pt x="429" y="792"/>
                  </a:lnTo>
                  <a:lnTo>
                    <a:pt x="429" y="793"/>
                  </a:lnTo>
                  <a:lnTo>
                    <a:pt x="429" y="796"/>
                  </a:lnTo>
                  <a:lnTo>
                    <a:pt x="430" y="799"/>
                  </a:lnTo>
                  <a:lnTo>
                    <a:pt x="430" y="800"/>
                  </a:lnTo>
                  <a:lnTo>
                    <a:pt x="429" y="802"/>
                  </a:lnTo>
                  <a:lnTo>
                    <a:pt x="426" y="802"/>
                  </a:lnTo>
                  <a:lnTo>
                    <a:pt x="424" y="802"/>
                  </a:lnTo>
                  <a:lnTo>
                    <a:pt x="423" y="802"/>
                  </a:lnTo>
                  <a:lnTo>
                    <a:pt x="421" y="802"/>
                  </a:lnTo>
                  <a:lnTo>
                    <a:pt x="420" y="800"/>
                  </a:lnTo>
                  <a:lnTo>
                    <a:pt x="417" y="800"/>
                  </a:lnTo>
                  <a:lnTo>
                    <a:pt x="416" y="800"/>
                  </a:lnTo>
                  <a:lnTo>
                    <a:pt x="416" y="802"/>
                  </a:lnTo>
                  <a:lnTo>
                    <a:pt x="413" y="803"/>
                  </a:lnTo>
                  <a:lnTo>
                    <a:pt x="411" y="802"/>
                  </a:lnTo>
                  <a:lnTo>
                    <a:pt x="411" y="800"/>
                  </a:lnTo>
                  <a:lnTo>
                    <a:pt x="410" y="802"/>
                  </a:lnTo>
                  <a:lnTo>
                    <a:pt x="410" y="803"/>
                  </a:lnTo>
                  <a:lnTo>
                    <a:pt x="409" y="803"/>
                  </a:lnTo>
                  <a:lnTo>
                    <a:pt x="409" y="802"/>
                  </a:lnTo>
                  <a:lnTo>
                    <a:pt x="409" y="796"/>
                  </a:lnTo>
                  <a:lnTo>
                    <a:pt x="406" y="793"/>
                  </a:lnTo>
                  <a:lnTo>
                    <a:pt x="404" y="793"/>
                  </a:lnTo>
                  <a:lnTo>
                    <a:pt x="399" y="793"/>
                  </a:lnTo>
                  <a:lnTo>
                    <a:pt x="396" y="793"/>
                  </a:lnTo>
                  <a:lnTo>
                    <a:pt x="394" y="796"/>
                  </a:lnTo>
                  <a:lnTo>
                    <a:pt x="391" y="800"/>
                  </a:lnTo>
                  <a:lnTo>
                    <a:pt x="393" y="805"/>
                  </a:lnTo>
                  <a:lnTo>
                    <a:pt x="391" y="809"/>
                  </a:lnTo>
                  <a:lnTo>
                    <a:pt x="393" y="812"/>
                  </a:lnTo>
                  <a:lnTo>
                    <a:pt x="394" y="812"/>
                  </a:lnTo>
                  <a:lnTo>
                    <a:pt x="397" y="813"/>
                  </a:lnTo>
                  <a:lnTo>
                    <a:pt x="400" y="813"/>
                  </a:lnTo>
                  <a:lnTo>
                    <a:pt x="400" y="811"/>
                  </a:lnTo>
                  <a:lnTo>
                    <a:pt x="401" y="808"/>
                  </a:lnTo>
                  <a:lnTo>
                    <a:pt x="404" y="806"/>
                  </a:lnTo>
                  <a:lnTo>
                    <a:pt x="406" y="806"/>
                  </a:lnTo>
                  <a:lnTo>
                    <a:pt x="406" y="811"/>
                  </a:lnTo>
                  <a:lnTo>
                    <a:pt x="404" y="812"/>
                  </a:lnTo>
                  <a:lnTo>
                    <a:pt x="403" y="815"/>
                  </a:lnTo>
                  <a:lnTo>
                    <a:pt x="401" y="816"/>
                  </a:lnTo>
                  <a:lnTo>
                    <a:pt x="397" y="816"/>
                  </a:lnTo>
                  <a:lnTo>
                    <a:pt x="396" y="818"/>
                  </a:lnTo>
                  <a:lnTo>
                    <a:pt x="393" y="818"/>
                  </a:lnTo>
                  <a:lnTo>
                    <a:pt x="383" y="823"/>
                  </a:lnTo>
                  <a:lnTo>
                    <a:pt x="380" y="821"/>
                  </a:lnTo>
                  <a:lnTo>
                    <a:pt x="377" y="816"/>
                  </a:lnTo>
                  <a:lnTo>
                    <a:pt x="376" y="813"/>
                  </a:lnTo>
                  <a:lnTo>
                    <a:pt x="371" y="812"/>
                  </a:lnTo>
                  <a:lnTo>
                    <a:pt x="370" y="813"/>
                  </a:lnTo>
                  <a:lnTo>
                    <a:pt x="366" y="813"/>
                  </a:lnTo>
                  <a:lnTo>
                    <a:pt x="364" y="809"/>
                  </a:lnTo>
                  <a:lnTo>
                    <a:pt x="364" y="806"/>
                  </a:lnTo>
                  <a:lnTo>
                    <a:pt x="360" y="806"/>
                  </a:lnTo>
                  <a:lnTo>
                    <a:pt x="354" y="809"/>
                  </a:lnTo>
                  <a:lnTo>
                    <a:pt x="347" y="806"/>
                  </a:lnTo>
                  <a:lnTo>
                    <a:pt x="343" y="805"/>
                  </a:lnTo>
                  <a:lnTo>
                    <a:pt x="340" y="802"/>
                  </a:lnTo>
                  <a:lnTo>
                    <a:pt x="343" y="795"/>
                  </a:lnTo>
                  <a:lnTo>
                    <a:pt x="343" y="789"/>
                  </a:lnTo>
                  <a:lnTo>
                    <a:pt x="341" y="785"/>
                  </a:lnTo>
                  <a:lnTo>
                    <a:pt x="337" y="780"/>
                  </a:lnTo>
                  <a:lnTo>
                    <a:pt x="330" y="780"/>
                  </a:lnTo>
                  <a:lnTo>
                    <a:pt x="321" y="785"/>
                  </a:lnTo>
                  <a:lnTo>
                    <a:pt x="315" y="793"/>
                  </a:lnTo>
                  <a:lnTo>
                    <a:pt x="308" y="793"/>
                  </a:lnTo>
                  <a:lnTo>
                    <a:pt x="305" y="792"/>
                  </a:lnTo>
                  <a:lnTo>
                    <a:pt x="304" y="786"/>
                  </a:lnTo>
                  <a:lnTo>
                    <a:pt x="305" y="770"/>
                  </a:lnTo>
                  <a:lnTo>
                    <a:pt x="308" y="768"/>
                  </a:lnTo>
                  <a:lnTo>
                    <a:pt x="313" y="759"/>
                  </a:lnTo>
                  <a:lnTo>
                    <a:pt x="313" y="746"/>
                  </a:lnTo>
                  <a:lnTo>
                    <a:pt x="313" y="742"/>
                  </a:lnTo>
                  <a:lnTo>
                    <a:pt x="305" y="733"/>
                  </a:lnTo>
                  <a:lnTo>
                    <a:pt x="297" y="726"/>
                  </a:lnTo>
                  <a:lnTo>
                    <a:pt x="291" y="723"/>
                  </a:lnTo>
                  <a:lnTo>
                    <a:pt x="284" y="723"/>
                  </a:lnTo>
                  <a:lnTo>
                    <a:pt x="277" y="722"/>
                  </a:lnTo>
                  <a:lnTo>
                    <a:pt x="274" y="717"/>
                  </a:lnTo>
                  <a:lnTo>
                    <a:pt x="271" y="707"/>
                  </a:lnTo>
                  <a:lnTo>
                    <a:pt x="270" y="703"/>
                  </a:lnTo>
                  <a:lnTo>
                    <a:pt x="268" y="702"/>
                  </a:lnTo>
                  <a:lnTo>
                    <a:pt x="262" y="702"/>
                  </a:lnTo>
                  <a:lnTo>
                    <a:pt x="261" y="703"/>
                  </a:lnTo>
                  <a:lnTo>
                    <a:pt x="255" y="709"/>
                  </a:lnTo>
                  <a:lnTo>
                    <a:pt x="250" y="710"/>
                  </a:lnTo>
                  <a:lnTo>
                    <a:pt x="245" y="707"/>
                  </a:lnTo>
                  <a:lnTo>
                    <a:pt x="242" y="703"/>
                  </a:lnTo>
                  <a:lnTo>
                    <a:pt x="235" y="705"/>
                  </a:lnTo>
                  <a:lnTo>
                    <a:pt x="232" y="706"/>
                  </a:lnTo>
                  <a:lnTo>
                    <a:pt x="232" y="710"/>
                  </a:lnTo>
                  <a:lnTo>
                    <a:pt x="231" y="712"/>
                  </a:lnTo>
                  <a:lnTo>
                    <a:pt x="225" y="712"/>
                  </a:lnTo>
                  <a:lnTo>
                    <a:pt x="214" y="713"/>
                  </a:lnTo>
                  <a:lnTo>
                    <a:pt x="209" y="712"/>
                  </a:lnTo>
                  <a:lnTo>
                    <a:pt x="204" y="705"/>
                  </a:lnTo>
                  <a:lnTo>
                    <a:pt x="198" y="700"/>
                  </a:lnTo>
                  <a:lnTo>
                    <a:pt x="194" y="699"/>
                  </a:lnTo>
                  <a:lnTo>
                    <a:pt x="192" y="693"/>
                  </a:lnTo>
                  <a:lnTo>
                    <a:pt x="189" y="687"/>
                  </a:lnTo>
                  <a:lnTo>
                    <a:pt x="192" y="686"/>
                  </a:lnTo>
                  <a:lnTo>
                    <a:pt x="197" y="683"/>
                  </a:lnTo>
                  <a:lnTo>
                    <a:pt x="198" y="680"/>
                  </a:lnTo>
                  <a:lnTo>
                    <a:pt x="192" y="672"/>
                  </a:lnTo>
                  <a:lnTo>
                    <a:pt x="192" y="667"/>
                  </a:lnTo>
                  <a:lnTo>
                    <a:pt x="195" y="660"/>
                  </a:lnTo>
                  <a:lnTo>
                    <a:pt x="195" y="656"/>
                  </a:lnTo>
                  <a:lnTo>
                    <a:pt x="191" y="653"/>
                  </a:lnTo>
                  <a:lnTo>
                    <a:pt x="185" y="653"/>
                  </a:lnTo>
                  <a:lnTo>
                    <a:pt x="178" y="650"/>
                  </a:lnTo>
                  <a:lnTo>
                    <a:pt x="172" y="649"/>
                  </a:lnTo>
                  <a:lnTo>
                    <a:pt x="167" y="649"/>
                  </a:lnTo>
                  <a:lnTo>
                    <a:pt x="165" y="644"/>
                  </a:lnTo>
                  <a:lnTo>
                    <a:pt x="167" y="640"/>
                  </a:lnTo>
                  <a:lnTo>
                    <a:pt x="165" y="627"/>
                  </a:lnTo>
                  <a:lnTo>
                    <a:pt x="159" y="614"/>
                  </a:lnTo>
                  <a:lnTo>
                    <a:pt x="152" y="607"/>
                  </a:lnTo>
                  <a:lnTo>
                    <a:pt x="146" y="607"/>
                  </a:lnTo>
                  <a:lnTo>
                    <a:pt x="142" y="607"/>
                  </a:lnTo>
                  <a:lnTo>
                    <a:pt x="136" y="609"/>
                  </a:lnTo>
                  <a:lnTo>
                    <a:pt x="134" y="606"/>
                  </a:lnTo>
                  <a:lnTo>
                    <a:pt x="128" y="606"/>
                  </a:lnTo>
                  <a:lnTo>
                    <a:pt x="124" y="610"/>
                  </a:lnTo>
                  <a:lnTo>
                    <a:pt x="119" y="610"/>
                  </a:lnTo>
                  <a:lnTo>
                    <a:pt x="114" y="607"/>
                  </a:lnTo>
                  <a:lnTo>
                    <a:pt x="109" y="600"/>
                  </a:lnTo>
                  <a:lnTo>
                    <a:pt x="109" y="593"/>
                  </a:lnTo>
                  <a:lnTo>
                    <a:pt x="111" y="589"/>
                  </a:lnTo>
                  <a:lnTo>
                    <a:pt x="106" y="587"/>
                  </a:lnTo>
                  <a:lnTo>
                    <a:pt x="103" y="589"/>
                  </a:lnTo>
                  <a:lnTo>
                    <a:pt x="101" y="583"/>
                  </a:lnTo>
                  <a:lnTo>
                    <a:pt x="95" y="580"/>
                  </a:lnTo>
                  <a:lnTo>
                    <a:pt x="86" y="580"/>
                  </a:lnTo>
                  <a:lnTo>
                    <a:pt x="82" y="580"/>
                  </a:lnTo>
                  <a:lnTo>
                    <a:pt x="79" y="573"/>
                  </a:lnTo>
                  <a:lnTo>
                    <a:pt x="73" y="573"/>
                  </a:lnTo>
                  <a:lnTo>
                    <a:pt x="71" y="571"/>
                  </a:lnTo>
                  <a:lnTo>
                    <a:pt x="71" y="564"/>
                  </a:lnTo>
                  <a:lnTo>
                    <a:pt x="71" y="558"/>
                  </a:lnTo>
                  <a:lnTo>
                    <a:pt x="79" y="550"/>
                  </a:lnTo>
                  <a:lnTo>
                    <a:pt x="81" y="546"/>
                  </a:lnTo>
                  <a:lnTo>
                    <a:pt x="76" y="538"/>
                  </a:lnTo>
                  <a:lnTo>
                    <a:pt x="73" y="536"/>
                  </a:lnTo>
                  <a:lnTo>
                    <a:pt x="72" y="531"/>
                  </a:lnTo>
                  <a:lnTo>
                    <a:pt x="72" y="525"/>
                  </a:lnTo>
                  <a:lnTo>
                    <a:pt x="69" y="521"/>
                  </a:lnTo>
                  <a:lnTo>
                    <a:pt x="71" y="515"/>
                  </a:lnTo>
                  <a:lnTo>
                    <a:pt x="69" y="510"/>
                  </a:lnTo>
                  <a:lnTo>
                    <a:pt x="65" y="511"/>
                  </a:lnTo>
                  <a:lnTo>
                    <a:pt x="61" y="511"/>
                  </a:lnTo>
                  <a:lnTo>
                    <a:pt x="53" y="510"/>
                  </a:lnTo>
                  <a:lnTo>
                    <a:pt x="48" y="511"/>
                  </a:lnTo>
                  <a:lnTo>
                    <a:pt x="35" y="508"/>
                  </a:lnTo>
                  <a:lnTo>
                    <a:pt x="30" y="507"/>
                  </a:lnTo>
                  <a:lnTo>
                    <a:pt x="25" y="500"/>
                  </a:lnTo>
                  <a:lnTo>
                    <a:pt x="19" y="494"/>
                  </a:lnTo>
                  <a:lnTo>
                    <a:pt x="10" y="495"/>
                  </a:lnTo>
                  <a:lnTo>
                    <a:pt x="2" y="493"/>
                  </a:lnTo>
                  <a:lnTo>
                    <a:pt x="3" y="493"/>
                  </a:lnTo>
                  <a:close/>
                  <a:moveTo>
                    <a:pt x="406" y="819"/>
                  </a:moveTo>
                  <a:lnTo>
                    <a:pt x="401" y="822"/>
                  </a:lnTo>
                  <a:lnTo>
                    <a:pt x="399" y="823"/>
                  </a:lnTo>
                  <a:lnTo>
                    <a:pt x="397" y="823"/>
                  </a:lnTo>
                  <a:lnTo>
                    <a:pt x="397" y="825"/>
                  </a:lnTo>
                  <a:lnTo>
                    <a:pt x="397" y="828"/>
                  </a:lnTo>
                  <a:lnTo>
                    <a:pt x="397" y="829"/>
                  </a:lnTo>
                  <a:lnTo>
                    <a:pt x="400" y="829"/>
                  </a:lnTo>
                  <a:lnTo>
                    <a:pt x="403" y="826"/>
                  </a:lnTo>
                  <a:lnTo>
                    <a:pt x="406" y="823"/>
                  </a:lnTo>
                  <a:lnTo>
                    <a:pt x="407" y="821"/>
                  </a:lnTo>
                  <a:lnTo>
                    <a:pt x="406" y="819"/>
                  </a:lnTo>
                  <a:lnTo>
                    <a:pt x="406" y="819"/>
                  </a:lnTo>
                  <a:close/>
                  <a:moveTo>
                    <a:pt x="436" y="805"/>
                  </a:moveTo>
                  <a:lnTo>
                    <a:pt x="434" y="806"/>
                  </a:lnTo>
                  <a:lnTo>
                    <a:pt x="434" y="808"/>
                  </a:lnTo>
                  <a:lnTo>
                    <a:pt x="439" y="808"/>
                  </a:lnTo>
                  <a:lnTo>
                    <a:pt x="439" y="806"/>
                  </a:lnTo>
                  <a:lnTo>
                    <a:pt x="439" y="805"/>
                  </a:lnTo>
                  <a:lnTo>
                    <a:pt x="436" y="805"/>
                  </a:lnTo>
                  <a:lnTo>
                    <a:pt x="436" y="805"/>
                  </a:lnTo>
                  <a:close/>
                  <a:moveTo>
                    <a:pt x="340" y="690"/>
                  </a:moveTo>
                  <a:lnTo>
                    <a:pt x="337" y="692"/>
                  </a:lnTo>
                  <a:lnTo>
                    <a:pt x="338" y="694"/>
                  </a:lnTo>
                  <a:lnTo>
                    <a:pt x="341" y="694"/>
                  </a:lnTo>
                  <a:lnTo>
                    <a:pt x="343" y="694"/>
                  </a:lnTo>
                  <a:lnTo>
                    <a:pt x="343" y="692"/>
                  </a:lnTo>
                  <a:lnTo>
                    <a:pt x="340" y="690"/>
                  </a:lnTo>
                  <a:lnTo>
                    <a:pt x="340" y="690"/>
                  </a:lnTo>
                  <a:close/>
                  <a:moveTo>
                    <a:pt x="529" y="842"/>
                  </a:moveTo>
                  <a:lnTo>
                    <a:pt x="527" y="843"/>
                  </a:lnTo>
                  <a:lnTo>
                    <a:pt x="527" y="845"/>
                  </a:lnTo>
                  <a:lnTo>
                    <a:pt x="529" y="846"/>
                  </a:lnTo>
                  <a:lnTo>
                    <a:pt x="530" y="846"/>
                  </a:lnTo>
                  <a:lnTo>
                    <a:pt x="532" y="845"/>
                  </a:lnTo>
                  <a:lnTo>
                    <a:pt x="532" y="843"/>
                  </a:lnTo>
                  <a:lnTo>
                    <a:pt x="529" y="842"/>
                  </a:lnTo>
                  <a:lnTo>
                    <a:pt x="529" y="842"/>
                  </a:lnTo>
                  <a:close/>
                  <a:moveTo>
                    <a:pt x="510" y="881"/>
                  </a:moveTo>
                  <a:lnTo>
                    <a:pt x="509" y="881"/>
                  </a:lnTo>
                  <a:lnTo>
                    <a:pt x="509" y="882"/>
                  </a:lnTo>
                  <a:lnTo>
                    <a:pt x="509" y="884"/>
                  </a:lnTo>
                  <a:lnTo>
                    <a:pt x="510" y="885"/>
                  </a:lnTo>
                  <a:lnTo>
                    <a:pt x="513" y="885"/>
                  </a:lnTo>
                  <a:lnTo>
                    <a:pt x="515" y="885"/>
                  </a:lnTo>
                  <a:lnTo>
                    <a:pt x="515" y="884"/>
                  </a:lnTo>
                  <a:lnTo>
                    <a:pt x="513" y="882"/>
                  </a:lnTo>
                  <a:lnTo>
                    <a:pt x="510" y="881"/>
                  </a:lnTo>
                  <a:lnTo>
                    <a:pt x="510" y="881"/>
                  </a:lnTo>
                  <a:close/>
                  <a:moveTo>
                    <a:pt x="519" y="947"/>
                  </a:moveTo>
                  <a:lnTo>
                    <a:pt x="516" y="948"/>
                  </a:lnTo>
                  <a:lnTo>
                    <a:pt x="516" y="948"/>
                  </a:lnTo>
                  <a:lnTo>
                    <a:pt x="517" y="949"/>
                  </a:lnTo>
                  <a:lnTo>
                    <a:pt x="519" y="949"/>
                  </a:lnTo>
                  <a:lnTo>
                    <a:pt x="520" y="948"/>
                  </a:lnTo>
                  <a:lnTo>
                    <a:pt x="519" y="947"/>
                  </a:lnTo>
                  <a:lnTo>
                    <a:pt x="519" y="947"/>
                  </a:lnTo>
                  <a:close/>
                  <a:moveTo>
                    <a:pt x="757" y="865"/>
                  </a:moveTo>
                  <a:lnTo>
                    <a:pt x="754" y="865"/>
                  </a:lnTo>
                  <a:lnTo>
                    <a:pt x="754" y="869"/>
                  </a:lnTo>
                  <a:lnTo>
                    <a:pt x="754" y="871"/>
                  </a:lnTo>
                  <a:lnTo>
                    <a:pt x="757" y="871"/>
                  </a:lnTo>
                  <a:lnTo>
                    <a:pt x="759" y="871"/>
                  </a:lnTo>
                  <a:lnTo>
                    <a:pt x="759" y="869"/>
                  </a:lnTo>
                  <a:lnTo>
                    <a:pt x="759" y="866"/>
                  </a:lnTo>
                  <a:lnTo>
                    <a:pt x="759" y="866"/>
                  </a:lnTo>
                  <a:lnTo>
                    <a:pt x="757" y="865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73" name="Freeform 221"/>
            <p:cNvSpPr>
              <a:spLocks/>
            </p:cNvSpPr>
            <p:nvPr/>
          </p:nvSpPr>
          <p:spPr bwMode="auto">
            <a:xfrm>
              <a:off x="7888614" y="2473310"/>
              <a:ext cx="878001" cy="1531923"/>
            </a:xfrm>
            <a:custGeom>
              <a:avLst/>
              <a:gdLst>
                <a:gd name="T0" fmla="*/ 69 w 1438"/>
                <a:gd name="T1" fmla="*/ 374 h 2316"/>
                <a:gd name="T2" fmla="*/ 209 w 1438"/>
                <a:gd name="T3" fmla="*/ 266 h 2316"/>
                <a:gd name="T4" fmla="*/ 413 w 1438"/>
                <a:gd name="T5" fmla="*/ 236 h 2316"/>
                <a:gd name="T6" fmla="*/ 580 w 1438"/>
                <a:gd name="T7" fmla="*/ 259 h 2316"/>
                <a:gd name="T8" fmla="*/ 656 w 1438"/>
                <a:gd name="T9" fmla="*/ 142 h 2316"/>
                <a:gd name="T10" fmla="*/ 751 w 1438"/>
                <a:gd name="T11" fmla="*/ 18 h 2316"/>
                <a:gd name="T12" fmla="*/ 818 w 1438"/>
                <a:gd name="T13" fmla="*/ 43 h 2316"/>
                <a:gd name="T14" fmla="*/ 821 w 1438"/>
                <a:gd name="T15" fmla="*/ 92 h 2316"/>
                <a:gd name="T16" fmla="*/ 844 w 1438"/>
                <a:gd name="T17" fmla="*/ 156 h 2316"/>
                <a:gd name="T18" fmla="*/ 865 w 1438"/>
                <a:gd name="T19" fmla="*/ 216 h 2316"/>
                <a:gd name="T20" fmla="*/ 884 w 1438"/>
                <a:gd name="T21" fmla="*/ 245 h 2316"/>
                <a:gd name="T22" fmla="*/ 893 w 1438"/>
                <a:gd name="T23" fmla="*/ 308 h 2316"/>
                <a:gd name="T24" fmla="*/ 898 w 1438"/>
                <a:gd name="T25" fmla="*/ 367 h 2316"/>
                <a:gd name="T26" fmla="*/ 953 w 1438"/>
                <a:gd name="T27" fmla="*/ 434 h 2316"/>
                <a:gd name="T28" fmla="*/ 893 w 1438"/>
                <a:gd name="T29" fmla="*/ 454 h 2316"/>
                <a:gd name="T30" fmla="*/ 824 w 1438"/>
                <a:gd name="T31" fmla="*/ 464 h 2316"/>
                <a:gd name="T32" fmla="*/ 795 w 1438"/>
                <a:gd name="T33" fmla="*/ 518 h 2316"/>
                <a:gd name="T34" fmla="*/ 758 w 1438"/>
                <a:gd name="T35" fmla="*/ 631 h 2316"/>
                <a:gd name="T36" fmla="*/ 772 w 1438"/>
                <a:gd name="T37" fmla="*/ 730 h 2316"/>
                <a:gd name="T38" fmla="*/ 706 w 1438"/>
                <a:gd name="T39" fmla="*/ 705 h 2316"/>
                <a:gd name="T40" fmla="*/ 715 w 1438"/>
                <a:gd name="T41" fmla="*/ 796 h 2316"/>
                <a:gd name="T42" fmla="*/ 685 w 1438"/>
                <a:gd name="T43" fmla="*/ 839 h 2316"/>
                <a:gd name="T44" fmla="*/ 676 w 1438"/>
                <a:gd name="T45" fmla="*/ 876 h 2316"/>
                <a:gd name="T46" fmla="*/ 696 w 1438"/>
                <a:gd name="T47" fmla="*/ 964 h 2316"/>
                <a:gd name="T48" fmla="*/ 752 w 1438"/>
                <a:gd name="T49" fmla="*/ 1011 h 2316"/>
                <a:gd name="T50" fmla="*/ 768 w 1438"/>
                <a:gd name="T51" fmla="*/ 1045 h 2316"/>
                <a:gd name="T52" fmla="*/ 865 w 1438"/>
                <a:gd name="T53" fmla="*/ 1207 h 2316"/>
                <a:gd name="T54" fmla="*/ 884 w 1438"/>
                <a:gd name="T55" fmla="*/ 1161 h 2316"/>
                <a:gd name="T56" fmla="*/ 984 w 1438"/>
                <a:gd name="T57" fmla="*/ 1222 h 2316"/>
                <a:gd name="T58" fmla="*/ 1100 w 1438"/>
                <a:gd name="T59" fmla="*/ 1250 h 2316"/>
                <a:gd name="T60" fmla="*/ 1132 w 1438"/>
                <a:gd name="T61" fmla="*/ 1328 h 2316"/>
                <a:gd name="T62" fmla="*/ 1196 w 1438"/>
                <a:gd name="T63" fmla="*/ 1488 h 2316"/>
                <a:gd name="T64" fmla="*/ 1285 w 1438"/>
                <a:gd name="T65" fmla="*/ 1561 h 2316"/>
                <a:gd name="T66" fmla="*/ 1244 w 1438"/>
                <a:gd name="T67" fmla="*/ 1739 h 2316"/>
                <a:gd name="T68" fmla="*/ 1335 w 1438"/>
                <a:gd name="T69" fmla="*/ 1806 h 2316"/>
                <a:gd name="T70" fmla="*/ 1327 w 1438"/>
                <a:gd name="T71" fmla="*/ 1870 h 2316"/>
                <a:gd name="T72" fmla="*/ 1288 w 1438"/>
                <a:gd name="T73" fmla="*/ 1958 h 2316"/>
                <a:gd name="T74" fmla="*/ 1325 w 1438"/>
                <a:gd name="T75" fmla="*/ 1979 h 2316"/>
                <a:gd name="T76" fmla="*/ 1375 w 1438"/>
                <a:gd name="T77" fmla="*/ 2019 h 2316"/>
                <a:gd name="T78" fmla="*/ 1424 w 1438"/>
                <a:gd name="T79" fmla="*/ 2160 h 2316"/>
                <a:gd name="T80" fmla="*/ 1414 w 1438"/>
                <a:gd name="T81" fmla="*/ 2296 h 2316"/>
                <a:gd name="T82" fmla="*/ 1211 w 1438"/>
                <a:gd name="T83" fmla="*/ 2173 h 2316"/>
                <a:gd name="T84" fmla="*/ 1128 w 1438"/>
                <a:gd name="T85" fmla="*/ 2128 h 2316"/>
                <a:gd name="T86" fmla="*/ 863 w 1438"/>
                <a:gd name="T87" fmla="*/ 1958 h 2316"/>
                <a:gd name="T88" fmla="*/ 678 w 1438"/>
                <a:gd name="T89" fmla="*/ 1719 h 2316"/>
                <a:gd name="T90" fmla="*/ 593 w 1438"/>
                <a:gd name="T91" fmla="*/ 1565 h 2316"/>
                <a:gd name="T92" fmla="*/ 649 w 1438"/>
                <a:gd name="T93" fmla="*/ 1454 h 2316"/>
                <a:gd name="T94" fmla="*/ 603 w 1438"/>
                <a:gd name="T95" fmla="*/ 1260 h 2316"/>
                <a:gd name="T96" fmla="*/ 559 w 1438"/>
                <a:gd name="T97" fmla="*/ 1067 h 2316"/>
                <a:gd name="T98" fmla="*/ 526 w 1438"/>
                <a:gd name="T99" fmla="*/ 919 h 2316"/>
                <a:gd name="T100" fmla="*/ 540 w 1438"/>
                <a:gd name="T101" fmla="*/ 809 h 2316"/>
                <a:gd name="T102" fmla="*/ 477 w 1438"/>
                <a:gd name="T103" fmla="*/ 760 h 2316"/>
                <a:gd name="T104" fmla="*/ 377 w 1438"/>
                <a:gd name="T105" fmla="*/ 643 h 2316"/>
                <a:gd name="T106" fmla="*/ 416 w 1438"/>
                <a:gd name="T107" fmla="*/ 554 h 2316"/>
                <a:gd name="T108" fmla="*/ 320 w 1438"/>
                <a:gd name="T109" fmla="*/ 650 h 2316"/>
                <a:gd name="T110" fmla="*/ 334 w 1438"/>
                <a:gd name="T111" fmla="*/ 717 h 2316"/>
                <a:gd name="T112" fmla="*/ 420 w 1438"/>
                <a:gd name="T113" fmla="*/ 765 h 2316"/>
                <a:gd name="T114" fmla="*/ 410 w 1438"/>
                <a:gd name="T115" fmla="*/ 802 h 2316"/>
                <a:gd name="T116" fmla="*/ 376 w 1438"/>
                <a:gd name="T117" fmla="*/ 813 h 2316"/>
                <a:gd name="T118" fmla="*/ 274 w 1438"/>
                <a:gd name="T119" fmla="*/ 717 h 2316"/>
                <a:gd name="T120" fmla="*/ 178 w 1438"/>
                <a:gd name="T121" fmla="*/ 650 h 2316"/>
                <a:gd name="T122" fmla="*/ 81 w 1438"/>
                <a:gd name="T123" fmla="*/ 546 h 2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38" h="2316">
                  <a:moveTo>
                    <a:pt x="3" y="493"/>
                  </a:moveTo>
                  <a:lnTo>
                    <a:pt x="2" y="493"/>
                  </a:lnTo>
                  <a:lnTo>
                    <a:pt x="0" y="490"/>
                  </a:lnTo>
                  <a:lnTo>
                    <a:pt x="0" y="485"/>
                  </a:lnTo>
                  <a:lnTo>
                    <a:pt x="8" y="481"/>
                  </a:lnTo>
                  <a:lnTo>
                    <a:pt x="9" y="480"/>
                  </a:lnTo>
                  <a:lnTo>
                    <a:pt x="10" y="473"/>
                  </a:lnTo>
                  <a:lnTo>
                    <a:pt x="8" y="464"/>
                  </a:lnTo>
                  <a:lnTo>
                    <a:pt x="6" y="458"/>
                  </a:lnTo>
                  <a:lnTo>
                    <a:pt x="8" y="450"/>
                  </a:lnTo>
                  <a:lnTo>
                    <a:pt x="10" y="445"/>
                  </a:lnTo>
                  <a:lnTo>
                    <a:pt x="23" y="445"/>
                  </a:lnTo>
                  <a:lnTo>
                    <a:pt x="25" y="442"/>
                  </a:lnTo>
                  <a:lnTo>
                    <a:pt x="29" y="435"/>
                  </a:lnTo>
                  <a:lnTo>
                    <a:pt x="28" y="425"/>
                  </a:lnTo>
                  <a:lnTo>
                    <a:pt x="29" y="417"/>
                  </a:lnTo>
                  <a:lnTo>
                    <a:pt x="38" y="408"/>
                  </a:lnTo>
                  <a:lnTo>
                    <a:pt x="40" y="407"/>
                  </a:lnTo>
                  <a:lnTo>
                    <a:pt x="45" y="407"/>
                  </a:lnTo>
                  <a:lnTo>
                    <a:pt x="52" y="407"/>
                  </a:lnTo>
                  <a:lnTo>
                    <a:pt x="62" y="402"/>
                  </a:lnTo>
                  <a:lnTo>
                    <a:pt x="68" y="398"/>
                  </a:lnTo>
                  <a:lnTo>
                    <a:pt x="71" y="395"/>
                  </a:lnTo>
                  <a:lnTo>
                    <a:pt x="75" y="397"/>
                  </a:lnTo>
                  <a:lnTo>
                    <a:pt x="81" y="398"/>
                  </a:lnTo>
                  <a:lnTo>
                    <a:pt x="88" y="398"/>
                  </a:lnTo>
                  <a:lnTo>
                    <a:pt x="89" y="392"/>
                  </a:lnTo>
                  <a:lnTo>
                    <a:pt x="86" y="388"/>
                  </a:lnTo>
                  <a:lnTo>
                    <a:pt x="81" y="387"/>
                  </a:lnTo>
                  <a:lnTo>
                    <a:pt x="71" y="381"/>
                  </a:lnTo>
                  <a:lnTo>
                    <a:pt x="69" y="374"/>
                  </a:lnTo>
                  <a:lnTo>
                    <a:pt x="71" y="369"/>
                  </a:lnTo>
                  <a:lnTo>
                    <a:pt x="73" y="371"/>
                  </a:lnTo>
                  <a:lnTo>
                    <a:pt x="79" y="374"/>
                  </a:lnTo>
                  <a:lnTo>
                    <a:pt x="83" y="372"/>
                  </a:lnTo>
                  <a:lnTo>
                    <a:pt x="92" y="367"/>
                  </a:lnTo>
                  <a:lnTo>
                    <a:pt x="105" y="346"/>
                  </a:lnTo>
                  <a:lnTo>
                    <a:pt x="115" y="348"/>
                  </a:lnTo>
                  <a:lnTo>
                    <a:pt x="124" y="345"/>
                  </a:lnTo>
                  <a:lnTo>
                    <a:pt x="129" y="346"/>
                  </a:lnTo>
                  <a:lnTo>
                    <a:pt x="128" y="354"/>
                  </a:lnTo>
                  <a:lnTo>
                    <a:pt x="129" y="358"/>
                  </a:lnTo>
                  <a:lnTo>
                    <a:pt x="132" y="358"/>
                  </a:lnTo>
                  <a:lnTo>
                    <a:pt x="139" y="352"/>
                  </a:lnTo>
                  <a:lnTo>
                    <a:pt x="142" y="348"/>
                  </a:lnTo>
                  <a:lnTo>
                    <a:pt x="142" y="342"/>
                  </a:lnTo>
                  <a:lnTo>
                    <a:pt x="141" y="336"/>
                  </a:lnTo>
                  <a:lnTo>
                    <a:pt x="142" y="334"/>
                  </a:lnTo>
                  <a:lnTo>
                    <a:pt x="148" y="332"/>
                  </a:lnTo>
                  <a:lnTo>
                    <a:pt x="161" y="318"/>
                  </a:lnTo>
                  <a:lnTo>
                    <a:pt x="171" y="311"/>
                  </a:lnTo>
                  <a:lnTo>
                    <a:pt x="175" y="304"/>
                  </a:lnTo>
                  <a:lnTo>
                    <a:pt x="181" y="295"/>
                  </a:lnTo>
                  <a:lnTo>
                    <a:pt x="188" y="286"/>
                  </a:lnTo>
                  <a:lnTo>
                    <a:pt x="187" y="281"/>
                  </a:lnTo>
                  <a:lnTo>
                    <a:pt x="184" y="272"/>
                  </a:lnTo>
                  <a:lnTo>
                    <a:pt x="178" y="271"/>
                  </a:lnTo>
                  <a:lnTo>
                    <a:pt x="181" y="268"/>
                  </a:lnTo>
                  <a:lnTo>
                    <a:pt x="184" y="268"/>
                  </a:lnTo>
                  <a:lnTo>
                    <a:pt x="189" y="265"/>
                  </a:lnTo>
                  <a:lnTo>
                    <a:pt x="202" y="268"/>
                  </a:lnTo>
                  <a:lnTo>
                    <a:pt x="209" y="266"/>
                  </a:lnTo>
                  <a:lnTo>
                    <a:pt x="215" y="263"/>
                  </a:lnTo>
                  <a:lnTo>
                    <a:pt x="224" y="261"/>
                  </a:lnTo>
                  <a:lnTo>
                    <a:pt x="235" y="261"/>
                  </a:lnTo>
                  <a:lnTo>
                    <a:pt x="241" y="255"/>
                  </a:lnTo>
                  <a:lnTo>
                    <a:pt x="254" y="248"/>
                  </a:lnTo>
                  <a:lnTo>
                    <a:pt x="258" y="235"/>
                  </a:lnTo>
                  <a:lnTo>
                    <a:pt x="258" y="226"/>
                  </a:lnTo>
                  <a:lnTo>
                    <a:pt x="265" y="223"/>
                  </a:lnTo>
                  <a:lnTo>
                    <a:pt x="265" y="216"/>
                  </a:lnTo>
                  <a:lnTo>
                    <a:pt x="270" y="212"/>
                  </a:lnTo>
                  <a:lnTo>
                    <a:pt x="275" y="210"/>
                  </a:lnTo>
                  <a:lnTo>
                    <a:pt x="290" y="212"/>
                  </a:lnTo>
                  <a:lnTo>
                    <a:pt x="295" y="210"/>
                  </a:lnTo>
                  <a:lnTo>
                    <a:pt x="303" y="209"/>
                  </a:lnTo>
                  <a:lnTo>
                    <a:pt x="313" y="210"/>
                  </a:lnTo>
                  <a:lnTo>
                    <a:pt x="325" y="210"/>
                  </a:lnTo>
                  <a:lnTo>
                    <a:pt x="334" y="212"/>
                  </a:lnTo>
                  <a:lnTo>
                    <a:pt x="341" y="210"/>
                  </a:lnTo>
                  <a:lnTo>
                    <a:pt x="354" y="192"/>
                  </a:lnTo>
                  <a:lnTo>
                    <a:pt x="367" y="195"/>
                  </a:lnTo>
                  <a:lnTo>
                    <a:pt x="368" y="189"/>
                  </a:lnTo>
                  <a:lnTo>
                    <a:pt x="374" y="187"/>
                  </a:lnTo>
                  <a:lnTo>
                    <a:pt x="384" y="187"/>
                  </a:lnTo>
                  <a:lnTo>
                    <a:pt x="394" y="196"/>
                  </a:lnTo>
                  <a:lnTo>
                    <a:pt x="406" y="200"/>
                  </a:lnTo>
                  <a:lnTo>
                    <a:pt x="407" y="205"/>
                  </a:lnTo>
                  <a:lnTo>
                    <a:pt x="410" y="209"/>
                  </a:lnTo>
                  <a:lnTo>
                    <a:pt x="414" y="213"/>
                  </a:lnTo>
                  <a:lnTo>
                    <a:pt x="414" y="218"/>
                  </a:lnTo>
                  <a:lnTo>
                    <a:pt x="413" y="229"/>
                  </a:lnTo>
                  <a:lnTo>
                    <a:pt x="413" y="236"/>
                  </a:lnTo>
                  <a:lnTo>
                    <a:pt x="417" y="246"/>
                  </a:lnTo>
                  <a:lnTo>
                    <a:pt x="419" y="255"/>
                  </a:lnTo>
                  <a:lnTo>
                    <a:pt x="419" y="263"/>
                  </a:lnTo>
                  <a:lnTo>
                    <a:pt x="421" y="269"/>
                  </a:lnTo>
                  <a:lnTo>
                    <a:pt x="426" y="275"/>
                  </a:lnTo>
                  <a:lnTo>
                    <a:pt x="426" y="285"/>
                  </a:lnTo>
                  <a:lnTo>
                    <a:pt x="436" y="305"/>
                  </a:lnTo>
                  <a:lnTo>
                    <a:pt x="443" y="321"/>
                  </a:lnTo>
                  <a:lnTo>
                    <a:pt x="446" y="321"/>
                  </a:lnTo>
                  <a:lnTo>
                    <a:pt x="447" y="319"/>
                  </a:lnTo>
                  <a:lnTo>
                    <a:pt x="452" y="318"/>
                  </a:lnTo>
                  <a:lnTo>
                    <a:pt x="456" y="309"/>
                  </a:lnTo>
                  <a:lnTo>
                    <a:pt x="460" y="308"/>
                  </a:lnTo>
                  <a:lnTo>
                    <a:pt x="466" y="305"/>
                  </a:lnTo>
                  <a:lnTo>
                    <a:pt x="473" y="299"/>
                  </a:lnTo>
                  <a:lnTo>
                    <a:pt x="477" y="292"/>
                  </a:lnTo>
                  <a:lnTo>
                    <a:pt x="480" y="285"/>
                  </a:lnTo>
                  <a:lnTo>
                    <a:pt x="490" y="282"/>
                  </a:lnTo>
                  <a:lnTo>
                    <a:pt x="502" y="278"/>
                  </a:lnTo>
                  <a:lnTo>
                    <a:pt x="517" y="271"/>
                  </a:lnTo>
                  <a:lnTo>
                    <a:pt x="529" y="273"/>
                  </a:lnTo>
                  <a:lnTo>
                    <a:pt x="536" y="268"/>
                  </a:lnTo>
                  <a:lnTo>
                    <a:pt x="542" y="265"/>
                  </a:lnTo>
                  <a:lnTo>
                    <a:pt x="552" y="265"/>
                  </a:lnTo>
                  <a:lnTo>
                    <a:pt x="557" y="251"/>
                  </a:lnTo>
                  <a:lnTo>
                    <a:pt x="559" y="248"/>
                  </a:lnTo>
                  <a:lnTo>
                    <a:pt x="565" y="252"/>
                  </a:lnTo>
                  <a:lnTo>
                    <a:pt x="570" y="265"/>
                  </a:lnTo>
                  <a:lnTo>
                    <a:pt x="573" y="263"/>
                  </a:lnTo>
                  <a:lnTo>
                    <a:pt x="578" y="259"/>
                  </a:lnTo>
                  <a:lnTo>
                    <a:pt x="580" y="259"/>
                  </a:lnTo>
                  <a:lnTo>
                    <a:pt x="588" y="262"/>
                  </a:lnTo>
                  <a:lnTo>
                    <a:pt x="592" y="263"/>
                  </a:lnTo>
                  <a:lnTo>
                    <a:pt x="600" y="262"/>
                  </a:lnTo>
                  <a:lnTo>
                    <a:pt x="608" y="263"/>
                  </a:lnTo>
                  <a:lnTo>
                    <a:pt x="613" y="268"/>
                  </a:lnTo>
                  <a:lnTo>
                    <a:pt x="618" y="265"/>
                  </a:lnTo>
                  <a:lnTo>
                    <a:pt x="621" y="261"/>
                  </a:lnTo>
                  <a:lnTo>
                    <a:pt x="619" y="252"/>
                  </a:lnTo>
                  <a:lnTo>
                    <a:pt x="632" y="238"/>
                  </a:lnTo>
                  <a:lnTo>
                    <a:pt x="643" y="229"/>
                  </a:lnTo>
                  <a:lnTo>
                    <a:pt x="642" y="223"/>
                  </a:lnTo>
                  <a:lnTo>
                    <a:pt x="645" y="212"/>
                  </a:lnTo>
                  <a:lnTo>
                    <a:pt x="642" y="205"/>
                  </a:lnTo>
                  <a:lnTo>
                    <a:pt x="636" y="196"/>
                  </a:lnTo>
                  <a:lnTo>
                    <a:pt x="639" y="192"/>
                  </a:lnTo>
                  <a:lnTo>
                    <a:pt x="643" y="196"/>
                  </a:lnTo>
                  <a:lnTo>
                    <a:pt x="648" y="200"/>
                  </a:lnTo>
                  <a:lnTo>
                    <a:pt x="651" y="198"/>
                  </a:lnTo>
                  <a:lnTo>
                    <a:pt x="645" y="193"/>
                  </a:lnTo>
                  <a:lnTo>
                    <a:pt x="646" y="186"/>
                  </a:lnTo>
                  <a:lnTo>
                    <a:pt x="649" y="187"/>
                  </a:lnTo>
                  <a:lnTo>
                    <a:pt x="652" y="190"/>
                  </a:lnTo>
                  <a:lnTo>
                    <a:pt x="655" y="190"/>
                  </a:lnTo>
                  <a:lnTo>
                    <a:pt x="658" y="185"/>
                  </a:lnTo>
                  <a:lnTo>
                    <a:pt x="662" y="176"/>
                  </a:lnTo>
                  <a:lnTo>
                    <a:pt x="661" y="169"/>
                  </a:lnTo>
                  <a:lnTo>
                    <a:pt x="659" y="165"/>
                  </a:lnTo>
                  <a:lnTo>
                    <a:pt x="662" y="156"/>
                  </a:lnTo>
                  <a:lnTo>
                    <a:pt x="662" y="153"/>
                  </a:lnTo>
                  <a:lnTo>
                    <a:pt x="658" y="150"/>
                  </a:lnTo>
                  <a:lnTo>
                    <a:pt x="656" y="142"/>
                  </a:lnTo>
                  <a:lnTo>
                    <a:pt x="655" y="137"/>
                  </a:lnTo>
                  <a:lnTo>
                    <a:pt x="658" y="130"/>
                  </a:lnTo>
                  <a:lnTo>
                    <a:pt x="662" y="126"/>
                  </a:lnTo>
                  <a:lnTo>
                    <a:pt x="668" y="124"/>
                  </a:lnTo>
                  <a:lnTo>
                    <a:pt x="674" y="124"/>
                  </a:lnTo>
                  <a:lnTo>
                    <a:pt x="676" y="123"/>
                  </a:lnTo>
                  <a:lnTo>
                    <a:pt x="675" y="109"/>
                  </a:lnTo>
                  <a:lnTo>
                    <a:pt x="676" y="102"/>
                  </a:lnTo>
                  <a:lnTo>
                    <a:pt x="684" y="93"/>
                  </a:lnTo>
                  <a:lnTo>
                    <a:pt x="689" y="87"/>
                  </a:lnTo>
                  <a:lnTo>
                    <a:pt x="696" y="87"/>
                  </a:lnTo>
                  <a:lnTo>
                    <a:pt x="698" y="87"/>
                  </a:lnTo>
                  <a:lnTo>
                    <a:pt x="698" y="82"/>
                  </a:lnTo>
                  <a:lnTo>
                    <a:pt x="696" y="77"/>
                  </a:lnTo>
                  <a:lnTo>
                    <a:pt x="701" y="71"/>
                  </a:lnTo>
                  <a:lnTo>
                    <a:pt x="701" y="69"/>
                  </a:lnTo>
                  <a:lnTo>
                    <a:pt x="696" y="29"/>
                  </a:lnTo>
                  <a:lnTo>
                    <a:pt x="699" y="26"/>
                  </a:lnTo>
                  <a:lnTo>
                    <a:pt x="702" y="13"/>
                  </a:lnTo>
                  <a:lnTo>
                    <a:pt x="706" y="11"/>
                  </a:lnTo>
                  <a:lnTo>
                    <a:pt x="719" y="10"/>
                  </a:lnTo>
                  <a:lnTo>
                    <a:pt x="725" y="8"/>
                  </a:lnTo>
                  <a:lnTo>
                    <a:pt x="726" y="4"/>
                  </a:lnTo>
                  <a:lnTo>
                    <a:pt x="726" y="0"/>
                  </a:lnTo>
                  <a:lnTo>
                    <a:pt x="732" y="0"/>
                  </a:lnTo>
                  <a:lnTo>
                    <a:pt x="739" y="1"/>
                  </a:lnTo>
                  <a:lnTo>
                    <a:pt x="744" y="6"/>
                  </a:lnTo>
                  <a:lnTo>
                    <a:pt x="744" y="8"/>
                  </a:lnTo>
                  <a:lnTo>
                    <a:pt x="745" y="16"/>
                  </a:lnTo>
                  <a:lnTo>
                    <a:pt x="747" y="20"/>
                  </a:lnTo>
                  <a:lnTo>
                    <a:pt x="751" y="18"/>
                  </a:lnTo>
                  <a:lnTo>
                    <a:pt x="757" y="14"/>
                  </a:lnTo>
                  <a:lnTo>
                    <a:pt x="765" y="14"/>
                  </a:lnTo>
                  <a:lnTo>
                    <a:pt x="769" y="18"/>
                  </a:lnTo>
                  <a:lnTo>
                    <a:pt x="771" y="20"/>
                  </a:lnTo>
                  <a:lnTo>
                    <a:pt x="777" y="18"/>
                  </a:lnTo>
                  <a:lnTo>
                    <a:pt x="782" y="14"/>
                  </a:lnTo>
                  <a:lnTo>
                    <a:pt x="788" y="7"/>
                  </a:lnTo>
                  <a:lnTo>
                    <a:pt x="790" y="6"/>
                  </a:lnTo>
                  <a:lnTo>
                    <a:pt x="792" y="8"/>
                  </a:lnTo>
                  <a:lnTo>
                    <a:pt x="797" y="11"/>
                  </a:lnTo>
                  <a:lnTo>
                    <a:pt x="798" y="10"/>
                  </a:lnTo>
                  <a:lnTo>
                    <a:pt x="801" y="7"/>
                  </a:lnTo>
                  <a:lnTo>
                    <a:pt x="808" y="8"/>
                  </a:lnTo>
                  <a:lnTo>
                    <a:pt x="820" y="11"/>
                  </a:lnTo>
                  <a:lnTo>
                    <a:pt x="830" y="14"/>
                  </a:lnTo>
                  <a:lnTo>
                    <a:pt x="835" y="17"/>
                  </a:lnTo>
                  <a:lnTo>
                    <a:pt x="834" y="11"/>
                  </a:lnTo>
                  <a:lnTo>
                    <a:pt x="835" y="16"/>
                  </a:lnTo>
                  <a:lnTo>
                    <a:pt x="834" y="17"/>
                  </a:lnTo>
                  <a:lnTo>
                    <a:pt x="830" y="20"/>
                  </a:lnTo>
                  <a:lnTo>
                    <a:pt x="828" y="23"/>
                  </a:lnTo>
                  <a:lnTo>
                    <a:pt x="828" y="27"/>
                  </a:lnTo>
                  <a:lnTo>
                    <a:pt x="827" y="37"/>
                  </a:lnTo>
                  <a:lnTo>
                    <a:pt x="827" y="40"/>
                  </a:lnTo>
                  <a:lnTo>
                    <a:pt x="824" y="39"/>
                  </a:lnTo>
                  <a:lnTo>
                    <a:pt x="825" y="36"/>
                  </a:lnTo>
                  <a:lnTo>
                    <a:pt x="822" y="36"/>
                  </a:lnTo>
                  <a:lnTo>
                    <a:pt x="820" y="37"/>
                  </a:lnTo>
                  <a:lnTo>
                    <a:pt x="820" y="40"/>
                  </a:lnTo>
                  <a:lnTo>
                    <a:pt x="818" y="41"/>
                  </a:lnTo>
                  <a:lnTo>
                    <a:pt x="818" y="43"/>
                  </a:lnTo>
                  <a:lnTo>
                    <a:pt x="820" y="44"/>
                  </a:lnTo>
                  <a:lnTo>
                    <a:pt x="820" y="47"/>
                  </a:lnTo>
                  <a:lnTo>
                    <a:pt x="822" y="49"/>
                  </a:lnTo>
                  <a:lnTo>
                    <a:pt x="824" y="47"/>
                  </a:lnTo>
                  <a:lnTo>
                    <a:pt x="825" y="47"/>
                  </a:lnTo>
                  <a:lnTo>
                    <a:pt x="825" y="44"/>
                  </a:lnTo>
                  <a:lnTo>
                    <a:pt x="825" y="43"/>
                  </a:lnTo>
                  <a:lnTo>
                    <a:pt x="827" y="43"/>
                  </a:lnTo>
                  <a:lnTo>
                    <a:pt x="828" y="43"/>
                  </a:lnTo>
                  <a:lnTo>
                    <a:pt x="828" y="46"/>
                  </a:lnTo>
                  <a:lnTo>
                    <a:pt x="832" y="53"/>
                  </a:lnTo>
                  <a:lnTo>
                    <a:pt x="832" y="56"/>
                  </a:lnTo>
                  <a:lnTo>
                    <a:pt x="834" y="57"/>
                  </a:lnTo>
                  <a:lnTo>
                    <a:pt x="834" y="61"/>
                  </a:lnTo>
                  <a:lnTo>
                    <a:pt x="835" y="67"/>
                  </a:lnTo>
                  <a:lnTo>
                    <a:pt x="837" y="73"/>
                  </a:lnTo>
                  <a:lnTo>
                    <a:pt x="835" y="73"/>
                  </a:lnTo>
                  <a:lnTo>
                    <a:pt x="831" y="74"/>
                  </a:lnTo>
                  <a:lnTo>
                    <a:pt x="827" y="76"/>
                  </a:lnTo>
                  <a:lnTo>
                    <a:pt x="824" y="79"/>
                  </a:lnTo>
                  <a:lnTo>
                    <a:pt x="821" y="80"/>
                  </a:lnTo>
                  <a:lnTo>
                    <a:pt x="817" y="80"/>
                  </a:lnTo>
                  <a:lnTo>
                    <a:pt x="815" y="83"/>
                  </a:lnTo>
                  <a:lnTo>
                    <a:pt x="815" y="86"/>
                  </a:lnTo>
                  <a:lnTo>
                    <a:pt x="812" y="83"/>
                  </a:lnTo>
                  <a:lnTo>
                    <a:pt x="811" y="83"/>
                  </a:lnTo>
                  <a:lnTo>
                    <a:pt x="810" y="86"/>
                  </a:lnTo>
                  <a:lnTo>
                    <a:pt x="811" y="86"/>
                  </a:lnTo>
                  <a:lnTo>
                    <a:pt x="814" y="90"/>
                  </a:lnTo>
                  <a:lnTo>
                    <a:pt x="818" y="90"/>
                  </a:lnTo>
                  <a:lnTo>
                    <a:pt x="821" y="92"/>
                  </a:lnTo>
                  <a:lnTo>
                    <a:pt x="825" y="94"/>
                  </a:lnTo>
                  <a:lnTo>
                    <a:pt x="825" y="96"/>
                  </a:lnTo>
                  <a:lnTo>
                    <a:pt x="827" y="99"/>
                  </a:lnTo>
                  <a:lnTo>
                    <a:pt x="834" y="99"/>
                  </a:lnTo>
                  <a:lnTo>
                    <a:pt x="838" y="102"/>
                  </a:lnTo>
                  <a:lnTo>
                    <a:pt x="841" y="106"/>
                  </a:lnTo>
                  <a:lnTo>
                    <a:pt x="841" y="107"/>
                  </a:lnTo>
                  <a:lnTo>
                    <a:pt x="840" y="109"/>
                  </a:lnTo>
                  <a:lnTo>
                    <a:pt x="838" y="113"/>
                  </a:lnTo>
                  <a:lnTo>
                    <a:pt x="838" y="116"/>
                  </a:lnTo>
                  <a:lnTo>
                    <a:pt x="841" y="119"/>
                  </a:lnTo>
                  <a:lnTo>
                    <a:pt x="847" y="120"/>
                  </a:lnTo>
                  <a:lnTo>
                    <a:pt x="847" y="122"/>
                  </a:lnTo>
                  <a:lnTo>
                    <a:pt x="848" y="124"/>
                  </a:lnTo>
                  <a:lnTo>
                    <a:pt x="853" y="133"/>
                  </a:lnTo>
                  <a:lnTo>
                    <a:pt x="851" y="142"/>
                  </a:lnTo>
                  <a:lnTo>
                    <a:pt x="848" y="146"/>
                  </a:lnTo>
                  <a:lnTo>
                    <a:pt x="844" y="147"/>
                  </a:lnTo>
                  <a:lnTo>
                    <a:pt x="835" y="149"/>
                  </a:lnTo>
                  <a:lnTo>
                    <a:pt x="834" y="150"/>
                  </a:lnTo>
                  <a:lnTo>
                    <a:pt x="830" y="152"/>
                  </a:lnTo>
                  <a:lnTo>
                    <a:pt x="827" y="153"/>
                  </a:lnTo>
                  <a:lnTo>
                    <a:pt x="830" y="153"/>
                  </a:lnTo>
                  <a:lnTo>
                    <a:pt x="830" y="156"/>
                  </a:lnTo>
                  <a:lnTo>
                    <a:pt x="832" y="160"/>
                  </a:lnTo>
                  <a:lnTo>
                    <a:pt x="832" y="163"/>
                  </a:lnTo>
                  <a:lnTo>
                    <a:pt x="831" y="166"/>
                  </a:lnTo>
                  <a:lnTo>
                    <a:pt x="831" y="167"/>
                  </a:lnTo>
                  <a:lnTo>
                    <a:pt x="834" y="167"/>
                  </a:lnTo>
                  <a:lnTo>
                    <a:pt x="838" y="162"/>
                  </a:lnTo>
                  <a:lnTo>
                    <a:pt x="844" y="156"/>
                  </a:lnTo>
                  <a:lnTo>
                    <a:pt x="850" y="156"/>
                  </a:lnTo>
                  <a:lnTo>
                    <a:pt x="857" y="156"/>
                  </a:lnTo>
                  <a:lnTo>
                    <a:pt x="860" y="162"/>
                  </a:lnTo>
                  <a:lnTo>
                    <a:pt x="860" y="165"/>
                  </a:lnTo>
                  <a:lnTo>
                    <a:pt x="858" y="169"/>
                  </a:lnTo>
                  <a:lnTo>
                    <a:pt x="851" y="170"/>
                  </a:lnTo>
                  <a:lnTo>
                    <a:pt x="845" y="172"/>
                  </a:lnTo>
                  <a:lnTo>
                    <a:pt x="844" y="175"/>
                  </a:lnTo>
                  <a:lnTo>
                    <a:pt x="844" y="177"/>
                  </a:lnTo>
                  <a:lnTo>
                    <a:pt x="845" y="177"/>
                  </a:lnTo>
                  <a:lnTo>
                    <a:pt x="853" y="173"/>
                  </a:lnTo>
                  <a:lnTo>
                    <a:pt x="857" y="173"/>
                  </a:lnTo>
                  <a:lnTo>
                    <a:pt x="858" y="175"/>
                  </a:lnTo>
                  <a:lnTo>
                    <a:pt x="858" y="179"/>
                  </a:lnTo>
                  <a:lnTo>
                    <a:pt x="860" y="185"/>
                  </a:lnTo>
                  <a:lnTo>
                    <a:pt x="863" y="186"/>
                  </a:lnTo>
                  <a:lnTo>
                    <a:pt x="864" y="193"/>
                  </a:lnTo>
                  <a:lnTo>
                    <a:pt x="860" y="199"/>
                  </a:lnTo>
                  <a:lnTo>
                    <a:pt x="851" y="203"/>
                  </a:lnTo>
                  <a:lnTo>
                    <a:pt x="850" y="205"/>
                  </a:lnTo>
                  <a:lnTo>
                    <a:pt x="850" y="206"/>
                  </a:lnTo>
                  <a:lnTo>
                    <a:pt x="854" y="208"/>
                  </a:lnTo>
                  <a:lnTo>
                    <a:pt x="860" y="210"/>
                  </a:lnTo>
                  <a:lnTo>
                    <a:pt x="863" y="210"/>
                  </a:lnTo>
                  <a:lnTo>
                    <a:pt x="863" y="213"/>
                  </a:lnTo>
                  <a:lnTo>
                    <a:pt x="860" y="218"/>
                  </a:lnTo>
                  <a:lnTo>
                    <a:pt x="858" y="220"/>
                  </a:lnTo>
                  <a:lnTo>
                    <a:pt x="860" y="220"/>
                  </a:lnTo>
                  <a:lnTo>
                    <a:pt x="863" y="220"/>
                  </a:lnTo>
                  <a:lnTo>
                    <a:pt x="865" y="219"/>
                  </a:lnTo>
                  <a:lnTo>
                    <a:pt x="865" y="216"/>
                  </a:lnTo>
                  <a:lnTo>
                    <a:pt x="867" y="212"/>
                  </a:lnTo>
                  <a:lnTo>
                    <a:pt x="867" y="210"/>
                  </a:lnTo>
                  <a:lnTo>
                    <a:pt x="870" y="212"/>
                  </a:lnTo>
                  <a:lnTo>
                    <a:pt x="873" y="215"/>
                  </a:lnTo>
                  <a:lnTo>
                    <a:pt x="873" y="215"/>
                  </a:lnTo>
                  <a:lnTo>
                    <a:pt x="874" y="210"/>
                  </a:lnTo>
                  <a:lnTo>
                    <a:pt x="875" y="210"/>
                  </a:lnTo>
                  <a:lnTo>
                    <a:pt x="877" y="213"/>
                  </a:lnTo>
                  <a:lnTo>
                    <a:pt x="878" y="216"/>
                  </a:lnTo>
                  <a:lnTo>
                    <a:pt x="880" y="220"/>
                  </a:lnTo>
                  <a:lnTo>
                    <a:pt x="880" y="220"/>
                  </a:lnTo>
                  <a:lnTo>
                    <a:pt x="877" y="222"/>
                  </a:lnTo>
                  <a:lnTo>
                    <a:pt x="875" y="223"/>
                  </a:lnTo>
                  <a:lnTo>
                    <a:pt x="874" y="226"/>
                  </a:lnTo>
                  <a:lnTo>
                    <a:pt x="874" y="228"/>
                  </a:lnTo>
                  <a:lnTo>
                    <a:pt x="868" y="229"/>
                  </a:lnTo>
                  <a:lnTo>
                    <a:pt x="864" y="229"/>
                  </a:lnTo>
                  <a:lnTo>
                    <a:pt x="863" y="233"/>
                  </a:lnTo>
                  <a:lnTo>
                    <a:pt x="857" y="235"/>
                  </a:lnTo>
                  <a:lnTo>
                    <a:pt x="854" y="238"/>
                  </a:lnTo>
                  <a:lnTo>
                    <a:pt x="854" y="239"/>
                  </a:lnTo>
                  <a:lnTo>
                    <a:pt x="858" y="239"/>
                  </a:lnTo>
                  <a:lnTo>
                    <a:pt x="865" y="235"/>
                  </a:lnTo>
                  <a:lnTo>
                    <a:pt x="868" y="233"/>
                  </a:lnTo>
                  <a:lnTo>
                    <a:pt x="874" y="233"/>
                  </a:lnTo>
                  <a:lnTo>
                    <a:pt x="878" y="235"/>
                  </a:lnTo>
                  <a:lnTo>
                    <a:pt x="881" y="236"/>
                  </a:lnTo>
                  <a:lnTo>
                    <a:pt x="881" y="240"/>
                  </a:lnTo>
                  <a:lnTo>
                    <a:pt x="881" y="242"/>
                  </a:lnTo>
                  <a:lnTo>
                    <a:pt x="881" y="243"/>
                  </a:lnTo>
                  <a:lnTo>
                    <a:pt x="884" y="245"/>
                  </a:lnTo>
                  <a:lnTo>
                    <a:pt x="885" y="248"/>
                  </a:lnTo>
                  <a:lnTo>
                    <a:pt x="888" y="248"/>
                  </a:lnTo>
                  <a:lnTo>
                    <a:pt x="891" y="249"/>
                  </a:lnTo>
                  <a:lnTo>
                    <a:pt x="891" y="253"/>
                  </a:lnTo>
                  <a:lnTo>
                    <a:pt x="891" y="255"/>
                  </a:lnTo>
                  <a:lnTo>
                    <a:pt x="887" y="256"/>
                  </a:lnTo>
                  <a:lnTo>
                    <a:pt x="883" y="256"/>
                  </a:lnTo>
                  <a:lnTo>
                    <a:pt x="883" y="259"/>
                  </a:lnTo>
                  <a:lnTo>
                    <a:pt x="885" y="261"/>
                  </a:lnTo>
                  <a:lnTo>
                    <a:pt x="888" y="262"/>
                  </a:lnTo>
                  <a:lnTo>
                    <a:pt x="890" y="265"/>
                  </a:lnTo>
                  <a:lnTo>
                    <a:pt x="890" y="268"/>
                  </a:lnTo>
                  <a:lnTo>
                    <a:pt x="883" y="271"/>
                  </a:lnTo>
                  <a:lnTo>
                    <a:pt x="881" y="273"/>
                  </a:lnTo>
                  <a:lnTo>
                    <a:pt x="880" y="281"/>
                  </a:lnTo>
                  <a:lnTo>
                    <a:pt x="883" y="283"/>
                  </a:lnTo>
                  <a:lnTo>
                    <a:pt x="883" y="286"/>
                  </a:lnTo>
                  <a:lnTo>
                    <a:pt x="880" y="292"/>
                  </a:lnTo>
                  <a:lnTo>
                    <a:pt x="880" y="295"/>
                  </a:lnTo>
                  <a:lnTo>
                    <a:pt x="878" y="299"/>
                  </a:lnTo>
                  <a:lnTo>
                    <a:pt x="881" y="298"/>
                  </a:lnTo>
                  <a:lnTo>
                    <a:pt x="883" y="292"/>
                  </a:lnTo>
                  <a:lnTo>
                    <a:pt x="884" y="291"/>
                  </a:lnTo>
                  <a:lnTo>
                    <a:pt x="887" y="289"/>
                  </a:lnTo>
                  <a:lnTo>
                    <a:pt x="890" y="289"/>
                  </a:lnTo>
                  <a:lnTo>
                    <a:pt x="893" y="293"/>
                  </a:lnTo>
                  <a:lnTo>
                    <a:pt x="893" y="296"/>
                  </a:lnTo>
                  <a:lnTo>
                    <a:pt x="891" y="299"/>
                  </a:lnTo>
                  <a:lnTo>
                    <a:pt x="891" y="302"/>
                  </a:lnTo>
                  <a:lnTo>
                    <a:pt x="893" y="305"/>
                  </a:lnTo>
                  <a:lnTo>
                    <a:pt x="893" y="308"/>
                  </a:lnTo>
                  <a:lnTo>
                    <a:pt x="891" y="308"/>
                  </a:lnTo>
                  <a:lnTo>
                    <a:pt x="891" y="305"/>
                  </a:lnTo>
                  <a:lnTo>
                    <a:pt x="888" y="304"/>
                  </a:lnTo>
                  <a:lnTo>
                    <a:pt x="883" y="302"/>
                  </a:lnTo>
                  <a:lnTo>
                    <a:pt x="877" y="302"/>
                  </a:lnTo>
                  <a:lnTo>
                    <a:pt x="877" y="305"/>
                  </a:lnTo>
                  <a:lnTo>
                    <a:pt x="878" y="305"/>
                  </a:lnTo>
                  <a:lnTo>
                    <a:pt x="883" y="305"/>
                  </a:lnTo>
                  <a:lnTo>
                    <a:pt x="885" y="306"/>
                  </a:lnTo>
                  <a:lnTo>
                    <a:pt x="888" y="309"/>
                  </a:lnTo>
                  <a:lnTo>
                    <a:pt x="891" y="314"/>
                  </a:lnTo>
                  <a:lnTo>
                    <a:pt x="893" y="315"/>
                  </a:lnTo>
                  <a:lnTo>
                    <a:pt x="895" y="315"/>
                  </a:lnTo>
                  <a:lnTo>
                    <a:pt x="898" y="316"/>
                  </a:lnTo>
                  <a:lnTo>
                    <a:pt x="898" y="319"/>
                  </a:lnTo>
                  <a:lnTo>
                    <a:pt x="898" y="325"/>
                  </a:lnTo>
                  <a:lnTo>
                    <a:pt x="900" y="331"/>
                  </a:lnTo>
                  <a:lnTo>
                    <a:pt x="903" y="335"/>
                  </a:lnTo>
                  <a:lnTo>
                    <a:pt x="903" y="338"/>
                  </a:lnTo>
                  <a:lnTo>
                    <a:pt x="900" y="341"/>
                  </a:lnTo>
                  <a:lnTo>
                    <a:pt x="898" y="344"/>
                  </a:lnTo>
                  <a:lnTo>
                    <a:pt x="898" y="349"/>
                  </a:lnTo>
                  <a:lnTo>
                    <a:pt x="900" y="354"/>
                  </a:lnTo>
                  <a:lnTo>
                    <a:pt x="900" y="356"/>
                  </a:lnTo>
                  <a:lnTo>
                    <a:pt x="900" y="361"/>
                  </a:lnTo>
                  <a:lnTo>
                    <a:pt x="895" y="364"/>
                  </a:lnTo>
                  <a:lnTo>
                    <a:pt x="893" y="367"/>
                  </a:lnTo>
                  <a:lnTo>
                    <a:pt x="891" y="368"/>
                  </a:lnTo>
                  <a:lnTo>
                    <a:pt x="893" y="371"/>
                  </a:lnTo>
                  <a:lnTo>
                    <a:pt x="894" y="372"/>
                  </a:lnTo>
                  <a:lnTo>
                    <a:pt x="898" y="367"/>
                  </a:lnTo>
                  <a:lnTo>
                    <a:pt x="900" y="367"/>
                  </a:lnTo>
                  <a:lnTo>
                    <a:pt x="901" y="368"/>
                  </a:lnTo>
                  <a:lnTo>
                    <a:pt x="904" y="371"/>
                  </a:lnTo>
                  <a:lnTo>
                    <a:pt x="904" y="374"/>
                  </a:lnTo>
                  <a:lnTo>
                    <a:pt x="904" y="379"/>
                  </a:lnTo>
                  <a:lnTo>
                    <a:pt x="904" y="384"/>
                  </a:lnTo>
                  <a:lnTo>
                    <a:pt x="900" y="385"/>
                  </a:lnTo>
                  <a:lnTo>
                    <a:pt x="895" y="387"/>
                  </a:lnTo>
                  <a:lnTo>
                    <a:pt x="894" y="389"/>
                  </a:lnTo>
                  <a:lnTo>
                    <a:pt x="894" y="392"/>
                  </a:lnTo>
                  <a:lnTo>
                    <a:pt x="895" y="392"/>
                  </a:lnTo>
                  <a:lnTo>
                    <a:pt x="898" y="388"/>
                  </a:lnTo>
                  <a:lnTo>
                    <a:pt x="904" y="388"/>
                  </a:lnTo>
                  <a:lnTo>
                    <a:pt x="906" y="391"/>
                  </a:lnTo>
                  <a:lnTo>
                    <a:pt x="908" y="391"/>
                  </a:lnTo>
                  <a:lnTo>
                    <a:pt x="911" y="388"/>
                  </a:lnTo>
                  <a:lnTo>
                    <a:pt x="914" y="389"/>
                  </a:lnTo>
                  <a:lnTo>
                    <a:pt x="918" y="392"/>
                  </a:lnTo>
                  <a:lnTo>
                    <a:pt x="918" y="397"/>
                  </a:lnTo>
                  <a:lnTo>
                    <a:pt x="918" y="405"/>
                  </a:lnTo>
                  <a:lnTo>
                    <a:pt x="923" y="411"/>
                  </a:lnTo>
                  <a:lnTo>
                    <a:pt x="926" y="414"/>
                  </a:lnTo>
                  <a:lnTo>
                    <a:pt x="926" y="414"/>
                  </a:lnTo>
                  <a:lnTo>
                    <a:pt x="926" y="417"/>
                  </a:lnTo>
                  <a:lnTo>
                    <a:pt x="923" y="417"/>
                  </a:lnTo>
                  <a:lnTo>
                    <a:pt x="918" y="420"/>
                  </a:lnTo>
                  <a:lnTo>
                    <a:pt x="920" y="421"/>
                  </a:lnTo>
                  <a:lnTo>
                    <a:pt x="928" y="420"/>
                  </a:lnTo>
                  <a:lnTo>
                    <a:pt x="931" y="420"/>
                  </a:lnTo>
                  <a:lnTo>
                    <a:pt x="938" y="422"/>
                  </a:lnTo>
                  <a:lnTo>
                    <a:pt x="953" y="434"/>
                  </a:lnTo>
                  <a:lnTo>
                    <a:pt x="957" y="437"/>
                  </a:lnTo>
                  <a:lnTo>
                    <a:pt x="957" y="441"/>
                  </a:lnTo>
                  <a:lnTo>
                    <a:pt x="959" y="448"/>
                  </a:lnTo>
                  <a:lnTo>
                    <a:pt x="957" y="451"/>
                  </a:lnTo>
                  <a:lnTo>
                    <a:pt x="951" y="454"/>
                  </a:lnTo>
                  <a:lnTo>
                    <a:pt x="947" y="454"/>
                  </a:lnTo>
                  <a:lnTo>
                    <a:pt x="943" y="460"/>
                  </a:lnTo>
                  <a:lnTo>
                    <a:pt x="938" y="457"/>
                  </a:lnTo>
                  <a:lnTo>
                    <a:pt x="936" y="455"/>
                  </a:lnTo>
                  <a:lnTo>
                    <a:pt x="934" y="455"/>
                  </a:lnTo>
                  <a:lnTo>
                    <a:pt x="933" y="455"/>
                  </a:lnTo>
                  <a:lnTo>
                    <a:pt x="930" y="458"/>
                  </a:lnTo>
                  <a:lnTo>
                    <a:pt x="926" y="461"/>
                  </a:lnTo>
                  <a:lnTo>
                    <a:pt x="923" y="462"/>
                  </a:lnTo>
                  <a:lnTo>
                    <a:pt x="914" y="464"/>
                  </a:lnTo>
                  <a:lnTo>
                    <a:pt x="910" y="461"/>
                  </a:lnTo>
                  <a:lnTo>
                    <a:pt x="908" y="461"/>
                  </a:lnTo>
                  <a:lnTo>
                    <a:pt x="904" y="461"/>
                  </a:lnTo>
                  <a:lnTo>
                    <a:pt x="901" y="461"/>
                  </a:lnTo>
                  <a:lnTo>
                    <a:pt x="897" y="458"/>
                  </a:lnTo>
                  <a:lnTo>
                    <a:pt x="898" y="455"/>
                  </a:lnTo>
                  <a:lnTo>
                    <a:pt x="901" y="455"/>
                  </a:lnTo>
                  <a:lnTo>
                    <a:pt x="900" y="454"/>
                  </a:lnTo>
                  <a:lnTo>
                    <a:pt x="900" y="450"/>
                  </a:lnTo>
                  <a:lnTo>
                    <a:pt x="901" y="447"/>
                  </a:lnTo>
                  <a:lnTo>
                    <a:pt x="898" y="447"/>
                  </a:lnTo>
                  <a:lnTo>
                    <a:pt x="895" y="448"/>
                  </a:lnTo>
                  <a:lnTo>
                    <a:pt x="895" y="451"/>
                  </a:lnTo>
                  <a:lnTo>
                    <a:pt x="893" y="452"/>
                  </a:lnTo>
                  <a:lnTo>
                    <a:pt x="891" y="454"/>
                  </a:lnTo>
                  <a:lnTo>
                    <a:pt x="893" y="454"/>
                  </a:lnTo>
                  <a:lnTo>
                    <a:pt x="894" y="455"/>
                  </a:lnTo>
                  <a:lnTo>
                    <a:pt x="894" y="458"/>
                  </a:lnTo>
                  <a:lnTo>
                    <a:pt x="891" y="458"/>
                  </a:lnTo>
                  <a:lnTo>
                    <a:pt x="888" y="460"/>
                  </a:lnTo>
                  <a:lnTo>
                    <a:pt x="887" y="460"/>
                  </a:lnTo>
                  <a:lnTo>
                    <a:pt x="880" y="457"/>
                  </a:lnTo>
                  <a:lnTo>
                    <a:pt x="875" y="457"/>
                  </a:lnTo>
                  <a:lnTo>
                    <a:pt x="873" y="455"/>
                  </a:lnTo>
                  <a:lnTo>
                    <a:pt x="865" y="455"/>
                  </a:lnTo>
                  <a:lnTo>
                    <a:pt x="861" y="455"/>
                  </a:lnTo>
                  <a:lnTo>
                    <a:pt x="857" y="458"/>
                  </a:lnTo>
                  <a:lnTo>
                    <a:pt x="854" y="458"/>
                  </a:lnTo>
                  <a:lnTo>
                    <a:pt x="854" y="458"/>
                  </a:lnTo>
                  <a:lnTo>
                    <a:pt x="855" y="455"/>
                  </a:lnTo>
                  <a:lnTo>
                    <a:pt x="854" y="454"/>
                  </a:lnTo>
                  <a:lnTo>
                    <a:pt x="854" y="454"/>
                  </a:lnTo>
                  <a:lnTo>
                    <a:pt x="853" y="457"/>
                  </a:lnTo>
                  <a:lnTo>
                    <a:pt x="850" y="462"/>
                  </a:lnTo>
                  <a:lnTo>
                    <a:pt x="847" y="464"/>
                  </a:lnTo>
                  <a:lnTo>
                    <a:pt x="841" y="467"/>
                  </a:lnTo>
                  <a:lnTo>
                    <a:pt x="832" y="468"/>
                  </a:lnTo>
                  <a:lnTo>
                    <a:pt x="831" y="471"/>
                  </a:lnTo>
                  <a:lnTo>
                    <a:pt x="827" y="478"/>
                  </a:lnTo>
                  <a:lnTo>
                    <a:pt x="824" y="481"/>
                  </a:lnTo>
                  <a:lnTo>
                    <a:pt x="822" y="481"/>
                  </a:lnTo>
                  <a:lnTo>
                    <a:pt x="822" y="480"/>
                  </a:lnTo>
                  <a:lnTo>
                    <a:pt x="828" y="470"/>
                  </a:lnTo>
                  <a:lnTo>
                    <a:pt x="831" y="465"/>
                  </a:lnTo>
                  <a:lnTo>
                    <a:pt x="832" y="464"/>
                  </a:lnTo>
                  <a:lnTo>
                    <a:pt x="828" y="464"/>
                  </a:lnTo>
                  <a:lnTo>
                    <a:pt x="824" y="464"/>
                  </a:lnTo>
                  <a:lnTo>
                    <a:pt x="820" y="465"/>
                  </a:lnTo>
                  <a:lnTo>
                    <a:pt x="817" y="468"/>
                  </a:lnTo>
                  <a:lnTo>
                    <a:pt x="817" y="470"/>
                  </a:lnTo>
                  <a:lnTo>
                    <a:pt x="817" y="473"/>
                  </a:lnTo>
                  <a:lnTo>
                    <a:pt x="821" y="474"/>
                  </a:lnTo>
                  <a:lnTo>
                    <a:pt x="822" y="474"/>
                  </a:lnTo>
                  <a:lnTo>
                    <a:pt x="822" y="475"/>
                  </a:lnTo>
                  <a:lnTo>
                    <a:pt x="821" y="477"/>
                  </a:lnTo>
                  <a:lnTo>
                    <a:pt x="815" y="478"/>
                  </a:lnTo>
                  <a:lnTo>
                    <a:pt x="814" y="480"/>
                  </a:lnTo>
                  <a:lnTo>
                    <a:pt x="814" y="483"/>
                  </a:lnTo>
                  <a:lnTo>
                    <a:pt x="811" y="484"/>
                  </a:lnTo>
                  <a:lnTo>
                    <a:pt x="810" y="485"/>
                  </a:lnTo>
                  <a:lnTo>
                    <a:pt x="810" y="490"/>
                  </a:lnTo>
                  <a:lnTo>
                    <a:pt x="810" y="493"/>
                  </a:lnTo>
                  <a:lnTo>
                    <a:pt x="807" y="497"/>
                  </a:lnTo>
                  <a:lnTo>
                    <a:pt x="807" y="500"/>
                  </a:lnTo>
                  <a:lnTo>
                    <a:pt x="807" y="500"/>
                  </a:lnTo>
                  <a:lnTo>
                    <a:pt x="811" y="493"/>
                  </a:lnTo>
                  <a:lnTo>
                    <a:pt x="814" y="487"/>
                  </a:lnTo>
                  <a:lnTo>
                    <a:pt x="818" y="484"/>
                  </a:lnTo>
                  <a:lnTo>
                    <a:pt x="818" y="487"/>
                  </a:lnTo>
                  <a:lnTo>
                    <a:pt x="820" y="487"/>
                  </a:lnTo>
                  <a:lnTo>
                    <a:pt x="814" y="495"/>
                  </a:lnTo>
                  <a:lnTo>
                    <a:pt x="807" y="504"/>
                  </a:lnTo>
                  <a:lnTo>
                    <a:pt x="804" y="510"/>
                  </a:lnTo>
                  <a:lnTo>
                    <a:pt x="804" y="513"/>
                  </a:lnTo>
                  <a:lnTo>
                    <a:pt x="804" y="515"/>
                  </a:lnTo>
                  <a:lnTo>
                    <a:pt x="801" y="515"/>
                  </a:lnTo>
                  <a:lnTo>
                    <a:pt x="798" y="518"/>
                  </a:lnTo>
                  <a:lnTo>
                    <a:pt x="795" y="518"/>
                  </a:lnTo>
                  <a:lnTo>
                    <a:pt x="792" y="518"/>
                  </a:lnTo>
                  <a:lnTo>
                    <a:pt x="790" y="520"/>
                  </a:lnTo>
                  <a:lnTo>
                    <a:pt x="785" y="528"/>
                  </a:lnTo>
                  <a:lnTo>
                    <a:pt x="779" y="537"/>
                  </a:lnTo>
                  <a:lnTo>
                    <a:pt x="778" y="554"/>
                  </a:lnTo>
                  <a:lnTo>
                    <a:pt x="778" y="573"/>
                  </a:lnTo>
                  <a:lnTo>
                    <a:pt x="777" y="573"/>
                  </a:lnTo>
                  <a:lnTo>
                    <a:pt x="775" y="573"/>
                  </a:lnTo>
                  <a:lnTo>
                    <a:pt x="772" y="573"/>
                  </a:lnTo>
                  <a:lnTo>
                    <a:pt x="769" y="574"/>
                  </a:lnTo>
                  <a:lnTo>
                    <a:pt x="769" y="574"/>
                  </a:lnTo>
                  <a:lnTo>
                    <a:pt x="772" y="576"/>
                  </a:lnTo>
                  <a:lnTo>
                    <a:pt x="777" y="578"/>
                  </a:lnTo>
                  <a:lnTo>
                    <a:pt x="777" y="581"/>
                  </a:lnTo>
                  <a:lnTo>
                    <a:pt x="775" y="583"/>
                  </a:lnTo>
                  <a:lnTo>
                    <a:pt x="775" y="583"/>
                  </a:lnTo>
                  <a:lnTo>
                    <a:pt x="777" y="590"/>
                  </a:lnTo>
                  <a:lnTo>
                    <a:pt x="777" y="596"/>
                  </a:lnTo>
                  <a:lnTo>
                    <a:pt x="774" y="600"/>
                  </a:lnTo>
                  <a:lnTo>
                    <a:pt x="772" y="603"/>
                  </a:lnTo>
                  <a:lnTo>
                    <a:pt x="772" y="609"/>
                  </a:lnTo>
                  <a:lnTo>
                    <a:pt x="771" y="610"/>
                  </a:lnTo>
                  <a:lnTo>
                    <a:pt x="769" y="611"/>
                  </a:lnTo>
                  <a:lnTo>
                    <a:pt x="772" y="614"/>
                  </a:lnTo>
                  <a:lnTo>
                    <a:pt x="774" y="620"/>
                  </a:lnTo>
                  <a:lnTo>
                    <a:pt x="774" y="626"/>
                  </a:lnTo>
                  <a:lnTo>
                    <a:pt x="771" y="630"/>
                  </a:lnTo>
                  <a:lnTo>
                    <a:pt x="765" y="634"/>
                  </a:lnTo>
                  <a:lnTo>
                    <a:pt x="761" y="634"/>
                  </a:lnTo>
                  <a:lnTo>
                    <a:pt x="759" y="633"/>
                  </a:lnTo>
                  <a:lnTo>
                    <a:pt x="758" y="631"/>
                  </a:lnTo>
                  <a:lnTo>
                    <a:pt x="757" y="633"/>
                  </a:lnTo>
                  <a:lnTo>
                    <a:pt x="758" y="637"/>
                  </a:lnTo>
                  <a:lnTo>
                    <a:pt x="762" y="639"/>
                  </a:lnTo>
                  <a:lnTo>
                    <a:pt x="767" y="639"/>
                  </a:lnTo>
                  <a:lnTo>
                    <a:pt x="769" y="640"/>
                  </a:lnTo>
                  <a:lnTo>
                    <a:pt x="771" y="642"/>
                  </a:lnTo>
                  <a:lnTo>
                    <a:pt x="769" y="649"/>
                  </a:lnTo>
                  <a:lnTo>
                    <a:pt x="769" y="652"/>
                  </a:lnTo>
                  <a:lnTo>
                    <a:pt x="772" y="656"/>
                  </a:lnTo>
                  <a:lnTo>
                    <a:pt x="774" y="663"/>
                  </a:lnTo>
                  <a:lnTo>
                    <a:pt x="779" y="673"/>
                  </a:lnTo>
                  <a:lnTo>
                    <a:pt x="779" y="679"/>
                  </a:lnTo>
                  <a:lnTo>
                    <a:pt x="782" y="679"/>
                  </a:lnTo>
                  <a:lnTo>
                    <a:pt x="787" y="683"/>
                  </a:lnTo>
                  <a:lnTo>
                    <a:pt x="788" y="687"/>
                  </a:lnTo>
                  <a:lnTo>
                    <a:pt x="788" y="692"/>
                  </a:lnTo>
                  <a:lnTo>
                    <a:pt x="788" y="694"/>
                  </a:lnTo>
                  <a:lnTo>
                    <a:pt x="791" y="700"/>
                  </a:lnTo>
                  <a:lnTo>
                    <a:pt x="792" y="705"/>
                  </a:lnTo>
                  <a:lnTo>
                    <a:pt x="795" y="719"/>
                  </a:lnTo>
                  <a:lnTo>
                    <a:pt x="797" y="725"/>
                  </a:lnTo>
                  <a:lnTo>
                    <a:pt x="798" y="727"/>
                  </a:lnTo>
                  <a:lnTo>
                    <a:pt x="801" y="733"/>
                  </a:lnTo>
                  <a:lnTo>
                    <a:pt x="801" y="737"/>
                  </a:lnTo>
                  <a:lnTo>
                    <a:pt x="801" y="745"/>
                  </a:lnTo>
                  <a:lnTo>
                    <a:pt x="800" y="749"/>
                  </a:lnTo>
                  <a:lnTo>
                    <a:pt x="795" y="750"/>
                  </a:lnTo>
                  <a:lnTo>
                    <a:pt x="788" y="747"/>
                  </a:lnTo>
                  <a:lnTo>
                    <a:pt x="784" y="745"/>
                  </a:lnTo>
                  <a:lnTo>
                    <a:pt x="779" y="739"/>
                  </a:lnTo>
                  <a:lnTo>
                    <a:pt x="772" y="730"/>
                  </a:lnTo>
                  <a:lnTo>
                    <a:pt x="768" y="725"/>
                  </a:lnTo>
                  <a:lnTo>
                    <a:pt x="762" y="722"/>
                  </a:lnTo>
                  <a:lnTo>
                    <a:pt x="759" y="717"/>
                  </a:lnTo>
                  <a:lnTo>
                    <a:pt x="755" y="710"/>
                  </a:lnTo>
                  <a:lnTo>
                    <a:pt x="754" y="706"/>
                  </a:lnTo>
                  <a:lnTo>
                    <a:pt x="734" y="694"/>
                  </a:lnTo>
                  <a:lnTo>
                    <a:pt x="732" y="694"/>
                  </a:lnTo>
                  <a:lnTo>
                    <a:pt x="726" y="694"/>
                  </a:lnTo>
                  <a:lnTo>
                    <a:pt x="725" y="694"/>
                  </a:lnTo>
                  <a:lnTo>
                    <a:pt x="725" y="690"/>
                  </a:lnTo>
                  <a:lnTo>
                    <a:pt x="728" y="689"/>
                  </a:lnTo>
                  <a:lnTo>
                    <a:pt x="728" y="686"/>
                  </a:lnTo>
                  <a:lnTo>
                    <a:pt x="728" y="684"/>
                  </a:lnTo>
                  <a:lnTo>
                    <a:pt x="726" y="683"/>
                  </a:lnTo>
                  <a:lnTo>
                    <a:pt x="726" y="682"/>
                  </a:lnTo>
                  <a:lnTo>
                    <a:pt x="724" y="680"/>
                  </a:lnTo>
                  <a:lnTo>
                    <a:pt x="722" y="680"/>
                  </a:lnTo>
                  <a:lnTo>
                    <a:pt x="721" y="679"/>
                  </a:lnTo>
                  <a:lnTo>
                    <a:pt x="719" y="676"/>
                  </a:lnTo>
                  <a:lnTo>
                    <a:pt x="718" y="677"/>
                  </a:lnTo>
                  <a:lnTo>
                    <a:pt x="718" y="680"/>
                  </a:lnTo>
                  <a:lnTo>
                    <a:pt x="714" y="684"/>
                  </a:lnTo>
                  <a:lnTo>
                    <a:pt x="712" y="687"/>
                  </a:lnTo>
                  <a:lnTo>
                    <a:pt x="712" y="690"/>
                  </a:lnTo>
                  <a:lnTo>
                    <a:pt x="716" y="687"/>
                  </a:lnTo>
                  <a:lnTo>
                    <a:pt x="715" y="692"/>
                  </a:lnTo>
                  <a:lnTo>
                    <a:pt x="712" y="696"/>
                  </a:lnTo>
                  <a:lnTo>
                    <a:pt x="709" y="697"/>
                  </a:lnTo>
                  <a:lnTo>
                    <a:pt x="706" y="697"/>
                  </a:lnTo>
                  <a:lnTo>
                    <a:pt x="705" y="700"/>
                  </a:lnTo>
                  <a:lnTo>
                    <a:pt x="706" y="705"/>
                  </a:lnTo>
                  <a:lnTo>
                    <a:pt x="711" y="709"/>
                  </a:lnTo>
                  <a:lnTo>
                    <a:pt x="716" y="713"/>
                  </a:lnTo>
                  <a:lnTo>
                    <a:pt x="719" y="716"/>
                  </a:lnTo>
                  <a:lnTo>
                    <a:pt x="718" y="727"/>
                  </a:lnTo>
                  <a:lnTo>
                    <a:pt x="718" y="732"/>
                  </a:lnTo>
                  <a:lnTo>
                    <a:pt x="722" y="739"/>
                  </a:lnTo>
                  <a:lnTo>
                    <a:pt x="722" y="743"/>
                  </a:lnTo>
                  <a:lnTo>
                    <a:pt x="721" y="752"/>
                  </a:lnTo>
                  <a:lnTo>
                    <a:pt x="718" y="760"/>
                  </a:lnTo>
                  <a:lnTo>
                    <a:pt x="715" y="760"/>
                  </a:lnTo>
                  <a:lnTo>
                    <a:pt x="711" y="759"/>
                  </a:lnTo>
                  <a:lnTo>
                    <a:pt x="708" y="756"/>
                  </a:lnTo>
                  <a:lnTo>
                    <a:pt x="706" y="753"/>
                  </a:lnTo>
                  <a:lnTo>
                    <a:pt x="706" y="755"/>
                  </a:lnTo>
                  <a:lnTo>
                    <a:pt x="706" y="759"/>
                  </a:lnTo>
                  <a:lnTo>
                    <a:pt x="711" y="762"/>
                  </a:lnTo>
                  <a:lnTo>
                    <a:pt x="716" y="766"/>
                  </a:lnTo>
                  <a:lnTo>
                    <a:pt x="718" y="769"/>
                  </a:lnTo>
                  <a:lnTo>
                    <a:pt x="718" y="773"/>
                  </a:lnTo>
                  <a:lnTo>
                    <a:pt x="719" y="782"/>
                  </a:lnTo>
                  <a:lnTo>
                    <a:pt x="721" y="789"/>
                  </a:lnTo>
                  <a:lnTo>
                    <a:pt x="721" y="790"/>
                  </a:lnTo>
                  <a:lnTo>
                    <a:pt x="716" y="792"/>
                  </a:lnTo>
                  <a:lnTo>
                    <a:pt x="714" y="790"/>
                  </a:lnTo>
                  <a:lnTo>
                    <a:pt x="714" y="788"/>
                  </a:lnTo>
                  <a:lnTo>
                    <a:pt x="712" y="785"/>
                  </a:lnTo>
                  <a:lnTo>
                    <a:pt x="711" y="785"/>
                  </a:lnTo>
                  <a:lnTo>
                    <a:pt x="709" y="789"/>
                  </a:lnTo>
                  <a:lnTo>
                    <a:pt x="709" y="790"/>
                  </a:lnTo>
                  <a:lnTo>
                    <a:pt x="714" y="795"/>
                  </a:lnTo>
                  <a:lnTo>
                    <a:pt x="715" y="796"/>
                  </a:lnTo>
                  <a:lnTo>
                    <a:pt x="711" y="798"/>
                  </a:lnTo>
                  <a:lnTo>
                    <a:pt x="709" y="800"/>
                  </a:lnTo>
                  <a:lnTo>
                    <a:pt x="714" y="803"/>
                  </a:lnTo>
                  <a:lnTo>
                    <a:pt x="716" y="805"/>
                  </a:lnTo>
                  <a:lnTo>
                    <a:pt x="716" y="800"/>
                  </a:lnTo>
                  <a:lnTo>
                    <a:pt x="716" y="796"/>
                  </a:lnTo>
                  <a:lnTo>
                    <a:pt x="719" y="795"/>
                  </a:lnTo>
                  <a:lnTo>
                    <a:pt x="724" y="798"/>
                  </a:lnTo>
                  <a:lnTo>
                    <a:pt x="726" y="798"/>
                  </a:lnTo>
                  <a:lnTo>
                    <a:pt x="731" y="796"/>
                  </a:lnTo>
                  <a:lnTo>
                    <a:pt x="732" y="795"/>
                  </a:lnTo>
                  <a:lnTo>
                    <a:pt x="734" y="799"/>
                  </a:lnTo>
                  <a:lnTo>
                    <a:pt x="735" y="803"/>
                  </a:lnTo>
                  <a:lnTo>
                    <a:pt x="738" y="811"/>
                  </a:lnTo>
                  <a:lnTo>
                    <a:pt x="741" y="819"/>
                  </a:lnTo>
                  <a:lnTo>
                    <a:pt x="744" y="826"/>
                  </a:lnTo>
                  <a:lnTo>
                    <a:pt x="744" y="832"/>
                  </a:lnTo>
                  <a:lnTo>
                    <a:pt x="744" y="836"/>
                  </a:lnTo>
                  <a:lnTo>
                    <a:pt x="744" y="841"/>
                  </a:lnTo>
                  <a:lnTo>
                    <a:pt x="741" y="843"/>
                  </a:lnTo>
                  <a:lnTo>
                    <a:pt x="737" y="842"/>
                  </a:lnTo>
                  <a:lnTo>
                    <a:pt x="731" y="839"/>
                  </a:lnTo>
                  <a:lnTo>
                    <a:pt x="722" y="835"/>
                  </a:lnTo>
                  <a:lnTo>
                    <a:pt x="715" y="833"/>
                  </a:lnTo>
                  <a:lnTo>
                    <a:pt x="708" y="832"/>
                  </a:lnTo>
                  <a:lnTo>
                    <a:pt x="705" y="832"/>
                  </a:lnTo>
                  <a:lnTo>
                    <a:pt x="702" y="833"/>
                  </a:lnTo>
                  <a:lnTo>
                    <a:pt x="698" y="836"/>
                  </a:lnTo>
                  <a:lnTo>
                    <a:pt x="695" y="836"/>
                  </a:lnTo>
                  <a:lnTo>
                    <a:pt x="689" y="836"/>
                  </a:lnTo>
                  <a:lnTo>
                    <a:pt x="685" y="839"/>
                  </a:lnTo>
                  <a:lnTo>
                    <a:pt x="684" y="843"/>
                  </a:lnTo>
                  <a:lnTo>
                    <a:pt x="685" y="846"/>
                  </a:lnTo>
                  <a:lnTo>
                    <a:pt x="685" y="849"/>
                  </a:lnTo>
                  <a:lnTo>
                    <a:pt x="684" y="849"/>
                  </a:lnTo>
                  <a:lnTo>
                    <a:pt x="682" y="851"/>
                  </a:lnTo>
                  <a:lnTo>
                    <a:pt x="682" y="852"/>
                  </a:lnTo>
                  <a:lnTo>
                    <a:pt x="685" y="855"/>
                  </a:lnTo>
                  <a:lnTo>
                    <a:pt x="689" y="856"/>
                  </a:lnTo>
                  <a:lnTo>
                    <a:pt x="692" y="856"/>
                  </a:lnTo>
                  <a:lnTo>
                    <a:pt x="692" y="858"/>
                  </a:lnTo>
                  <a:lnTo>
                    <a:pt x="692" y="863"/>
                  </a:lnTo>
                  <a:lnTo>
                    <a:pt x="691" y="868"/>
                  </a:lnTo>
                  <a:lnTo>
                    <a:pt x="692" y="874"/>
                  </a:lnTo>
                  <a:lnTo>
                    <a:pt x="695" y="878"/>
                  </a:lnTo>
                  <a:lnTo>
                    <a:pt x="698" y="879"/>
                  </a:lnTo>
                  <a:lnTo>
                    <a:pt x="701" y="878"/>
                  </a:lnTo>
                  <a:lnTo>
                    <a:pt x="704" y="875"/>
                  </a:lnTo>
                  <a:lnTo>
                    <a:pt x="706" y="876"/>
                  </a:lnTo>
                  <a:lnTo>
                    <a:pt x="706" y="878"/>
                  </a:lnTo>
                  <a:lnTo>
                    <a:pt x="705" y="881"/>
                  </a:lnTo>
                  <a:lnTo>
                    <a:pt x="701" y="881"/>
                  </a:lnTo>
                  <a:lnTo>
                    <a:pt x="699" y="884"/>
                  </a:lnTo>
                  <a:lnTo>
                    <a:pt x="698" y="885"/>
                  </a:lnTo>
                  <a:lnTo>
                    <a:pt x="695" y="885"/>
                  </a:lnTo>
                  <a:lnTo>
                    <a:pt x="692" y="885"/>
                  </a:lnTo>
                  <a:lnTo>
                    <a:pt x="694" y="879"/>
                  </a:lnTo>
                  <a:lnTo>
                    <a:pt x="691" y="876"/>
                  </a:lnTo>
                  <a:lnTo>
                    <a:pt x="686" y="874"/>
                  </a:lnTo>
                  <a:lnTo>
                    <a:pt x="682" y="871"/>
                  </a:lnTo>
                  <a:lnTo>
                    <a:pt x="679" y="875"/>
                  </a:lnTo>
                  <a:lnTo>
                    <a:pt x="676" y="876"/>
                  </a:lnTo>
                  <a:lnTo>
                    <a:pt x="668" y="882"/>
                  </a:lnTo>
                  <a:lnTo>
                    <a:pt x="665" y="888"/>
                  </a:lnTo>
                  <a:lnTo>
                    <a:pt x="663" y="892"/>
                  </a:lnTo>
                  <a:lnTo>
                    <a:pt x="659" y="899"/>
                  </a:lnTo>
                  <a:lnTo>
                    <a:pt x="659" y="901"/>
                  </a:lnTo>
                  <a:lnTo>
                    <a:pt x="662" y="902"/>
                  </a:lnTo>
                  <a:lnTo>
                    <a:pt x="666" y="902"/>
                  </a:lnTo>
                  <a:lnTo>
                    <a:pt x="671" y="899"/>
                  </a:lnTo>
                  <a:lnTo>
                    <a:pt x="669" y="898"/>
                  </a:lnTo>
                  <a:lnTo>
                    <a:pt x="669" y="898"/>
                  </a:lnTo>
                  <a:lnTo>
                    <a:pt x="668" y="895"/>
                  </a:lnTo>
                  <a:lnTo>
                    <a:pt x="669" y="892"/>
                  </a:lnTo>
                  <a:lnTo>
                    <a:pt x="671" y="891"/>
                  </a:lnTo>
                  <a:lnTo>
                    <a:pt x="674" y="896"/>
                  </a:lnTo>
                  <a:lnTo>
                    <a:pt x="676" y="905"/>
                  </a:lnTo>
                  <a:lnTo>
                    <a:pt x="679" y="899"/>
                  </a:lnTo>
                  <a:lnTo>
                    <a:pt x="681" y="906"/>
                  </a:lnTo>
                  <a:lnTo>
                    <a:pt x="681" y="909"/>
                  </a:lnTo>
                  <a:lnTo>
                    <a:pt x="675" y="912"/>
                  </a:lnTo>
                  <a:lnTo>
                    <a:pt x="672" y="915"/>
                  </a:lnTo>
                  <a:lnTo>
                    <a:pt x="668" y="924"/>
                  </a:lnTo>
                  <a:lnTo>
                    <a:pt x="669" y="927"/>
                  </a:lnTo>
                  <a:lnTo>
                    <a:pt x="672" y="934"/>
                  </a:lnTo>
                  <a:lnTo>
                    <a:pt x="674" y="937"/>
                  </a:lnTo>
                  <a:lnTo>
                    <a:pt x="679" y="941"/>
                  </a:lnTo>
                  <a:lnTo>
                    <a:pt x="685" y="947"/>
                  </a:lnTo>
                  <a:lnTo>
                    <a:pt x="694" y="948"/>
                  </a:lnTo>
                  <a:lnTo>
                    <a:pt x="698" y="952"/>
                  </a:lnTo>
                  <a:lnTo>
                    <a:pt x="701" y="958"/>
                  </a:lnTo>
                  <a:lnTo>
                    <a:pt x="699" y="961"/>
                  </a:lnTo>
                  <a:lnTo>
                    <a:pt x="696" y="964"/>
                  </a:lnTo>
                  <a:lnTo>
                    <a:pt x="695" y="969"/>
                  </a:lnTo>
                  <a:lnTo>
                    <a:pt x="694" y="972"/>
                  </a:lnTo>
                  <a:lnTo>
                    <a:pt x="699" y="974"/>
                  </a:lnTo>
                  <a:lnTo>
                    <a:pt x="701" y="975"/>
                  </a:lnTo>
                  <a:lnTo>
                    <a:pt x="699" y="978"/>
                  </a:lnTo>
                  <a:lnTo>
                    <a:pt x="704" y="978"/>
                  </a:lnTo>
                  <a:lnTo>
                    <a:pt x="714" y="978"/>
                  </a:lnTo>
                  <a:lnTo>
                    <a:pt x="725" y="978"/>
                  </a:lnTo>
                  <a:lnTo>
                    <a:pt x="731" y="981"/>
                  </a:lnTo>
                  <a:lnTo>
                    <a:pt x="738" y="984"/>
                  </a:lnTo>
                  <a:lnTo>
                    <a:pt x="744" y="990"/>
                  </a:lnTo>
                  <a:lnTo>
                    <a:pt x="745" y="994"/>
                  </a:lnTo>
                  <a:lnTo>
                    <a:pt x="745" y="998"/>
                  </a:lnTo>
                  <a:lnTo>
                    <a:pt x="745" y="1000"/>
                  </a:lnTo>
                  <a:lnTo>
                    <a:pt x="744" y="1000"/>
                  </a:lnTo>
                  <a:lnTo>
                    <a:pt x="741" y="997"/>
                  </a:lnTo>
                  <a:lnTo>
                    <a:pt x="742" y="992"/>
                  </a:lnTo>
                  <a:lnTo>
                    <a:pt x="739" y="991"/>
                  </a:lnTo>
                  <a:lnTo>
                    <a:pt x="738" y="991"/>
                  </a:lnTo>
                  <a:lnTo>
                    <a:pt x="737" y="994"/>
                  </a:lnTo>
                  <a:lnTo>
                    <a:pt x="735" y="998"/>
                  </a:lnTo>
                  <a:lnTo>
                    <a:pt x="732" y="1001"/>
                  </a:lnTo>
                  <a:lnTo>
                    <a:pt x="732" y="1007"/>
                  </a:lnTo>
                  <a:lnTo>
                    <a:pt x="732" y="1011"/>
                  </a:lnTo>
                  <a:lnTo>
                    <a:pt x="737" y="1012"/>
                  </a:lnTo>
                  <a:lnTo>
                    <a:pt x="739" y="1015"/>
                  </a:lnTo>
                  <a:lnTo>
                    <a:pt x="738" y="1018"/>
                  </a:lnTo>
                  <a:lnTo>
                    <a:pt x="742" y="1017"/>
                  </a:lnTo>
                  <a:lnTo>
                    <a:pt x="745" y="1014"/>
                  </a:lnTo>
                  <a:lnTo>
                    <a:pt x="749" y="1012"/>
                  </a:lnTo>
                  <a:lnTo>
                    <a:pt x="752" y="1011"/>
                  </a:lnTo>
                  <a:lnTo>
                    <a:pt x="757" y="1011"/>
                  </a:lnTo>
                  <a:lnTo>
                    <a:pt x="761" y="1012"/>
                  </a:lnTo>
                  <a:lnTo>
                    <a:pt x="767" y="1014"/>
                  </a:lnTo>
                  <a:lnTo>
                    <a:pt x="768" y="1021"/>
                  </a:lnTo>
                  <a:lnTo>
                    <a:pt x="767" y="1025"/>
                  </a:lnTo>
                  <a:lnTo>
                    <a:pt x="765" y="1025"/>
                  </a:lnTo>
                  <a:lnTo>
                    <a:pt x="765" y="1021"/>
                  </a:lnTo>
                  <a:lnTo>
                    <a:pt x="762" y="1017"/>
                  </a:lnTo>
                  <a:lnTo>
                    <a:pt x="759" y="1015"/>
                  </a:lnTo>
                  <a:lnTo>
                    <a:pt x="757" y="1017"/>
                  </a:lnTo>
                  <a:lnTo>
                    <a:pt x="752" y="1018"/>
                  </a:lnTo>
                  <a:lnTo>
                    <a:pt x="748" y="1020"/>
                  </a:lnTo>
                  <a:lnTo>
                    <a:pt x="744" y="1024"/>
                  </a:lnTo>
                  <a:lnTo>
                    <a:pt x="739" y="1025"/>
                  </a:lnTo>
                  <a:lnTo>
                    <a:pt x="742" y="1030"/>
                  </a:lnTo>
                  <a:lnTo>
                    <a:pt x="744" y="1031"/>
                  </a:lnTo>
                  <a:lnTo>
                    <a:pt x="739" y="1034"/>
                  </a:lnTo>
                  <a:lnTo>
                    <a:pt x="741" y="1035"/>
                  </a:lnTo>
                  <a:lnTo>
                    <a:pt x="749" y="1037"/>
                  </a:lnTo>
                  <a:lnTo>
                    <a:pt x="758" y="1037"/>
                  </a:lnTo>
                  <a:lnTo>
                    <a:pt x="762" y="1035"/>
                  </a:lnTo>
                  <a:lnTo>
                    <a:pt x="762" y="1031"/>
                  </a:lnTo>
                  <a:lnTo>
                    <a:pt x="765" y="1031"/>
                  </a:lnTo>
                  <a:lnTo>
                    <a:pt x="767" y="1035"/>
                  </a:lnTo>
                  <a:lnTo>
                    <a:pt x="769" y="1040"/>
                  </a:lnTo>
                  <a:lnTo>
                    <a:pt x="769" y="1045"/>
                  </a:lnTo>
                  <a:lnTo>
                    <a:pt x="769" y="1048"/>
                  </a:lnTo>
                  <a:lnTo>
                    <a:pt x="768" y="1053"/>
                  </a:lnTo>
                  <a:lnTo>
                    <a:pt x="767" y="1053"/>
                  </a:lnTo>
                  <a:lnTo>
                    <a:pt x="767" y="1050"/>
                  </a:lnTo>
                  <a:lnTo>
                    <a:pt x="768" y="1045"/>
                  </a:lnTo>
                  <a:lnTo>
                    <a:pt x="764" y="1045"/>
                  </a:lnTo>
                  <a:lnTo>
                    <a:pt x="761" y="1047"/>
                  </a:lnTo>
                  <a:lnTo>
                    <a:pt x="761" y="1050"/>
                  </a:lnTo>
                  <a:lnTo>
                    <a:pt x="764" y="1051"/>
                  </a:lnTo>
                  <a:lnTo>
                    <a:pt x="764" y="1055"/>
                  </a:lnTo>
                  <a:lnTo>
                    <a:pt x="762" y="1060"/>
                  </a:lnTo>
                  <a:lnTo>
                    <a:pt x="767" y="1061"/>
                  </a:lnTo>
                  <a:lnTo>
                    <a:pt x="767" y="1065"/>
                  </a:lnTo>
                  <a:lnTo>
                    <a:pt x="764" y="1070"/>
                  </a:lnTo>
                  <a:lnTo>
                    <a:pt x="762" y="1073"/>
                  </a:lnTo>
                  <a:lnTo>
                    <a:pt x="765" y="1075"/>
                  </a:lnTo>
                  <a:lnTo>
                    <a:pt x="768" y="1075"/>
                  </a:lnTo>
                  <a:lnTo>
                    <a:pt x="769" y="1074"/>
                  </a:lnTo>
                  <a:lnTo>
                    <a:pt x="769" y="1071"/>
                  </a:lnTo>
                  <a:lnTo>
                    <a:pt x="771" y="1065"/>
                  </a:lnTo>
                  <a:lnTo>
                    <a:pt x="774" y="1067"/>
                  </a:lnTo>
                  <a:lnTo>
                    <a:pt x="774" y="1075"/>
                  </a:lnTo>
                  <a:lnTo>
                    <a:pt x="771" y="1088"/>
                  </a:lnTo>
                  <a:lnTo>
                    <a:pt x="772" y="1097"/>
                  </a:lnTo>
                  <a:lnTo>
                    <a:pt x="777" y="1108"/>
                  </a:lnTo>
                  <a:lnTo>
                    <a:pt x="782" y="1121"/>
                  </a:lnTo>
                  <a:lnTo>
                    <a:pt x="788" y="1127"/>
                  </a:lnTo>
                  <a:lnTo>
                    <a:pt x="797" y="1150"/>
                  </a:lnTo>
                  <a:lnTo>
                    <a:pt x="805" y="1164"/>
                  </a:lnTo>
                  <a:lnTo>
                    <a:pt x="814" y="1173"/>
                  </a:lnTo>
                  <a:lnTo>
                    <a:pt x="821" y="1183"/>
                  </a:lnTo>
                  <a:lnTo>
                    <a:pt x="830" y="1193"/>
                  </a:lnTo>
                  <a:lnTo>
                    <a:pt x="837" y="1200"/>
                  </a:lnTo>
                  <a:lnTo>
                    <a:pt x="845" y="1203"/>
                  </a:lnTo>
                  <a:lnTo>
                    <a:pt x="858" y="1207"/>
                  </a:lnTo>
                  <a:lnTo>
                    <a:pt x="865" y="1207"/>
                  </a:lnTo>
                  <a:lnTo>
                    <a:pt x="875" y="1206"/>
                  </a:lnTo>
                  <a:lnTo>
                    <a:pt x="877" y="1206"/>
                  </a:lnTo>
                  <a:lnTo>
                    <a:pt x="880" y="1206"/>
                  </a:lnTo>
                  <a:lnTo>
                    <a:pt x="883" y="1204"/>
                  </a:lnTo>
                  <a:lnTo>
                    <a:pt x="887" y="1201"/>
                  </a:lnTo>
                  <a:lnTo>
                    <a:pt x="891" y="1196"/>
                  </a:lnTo>
                  <a:lnTo>
                    <a:pt x="893" y="1193"/>
                  </a:lnTo>
                  <a:lnTo>
                    <a:pt x="895" y="1194"/>
                  </a:lnTo>
                  <a:lnTo>
                    <a:pt x="898" y="1196"/>
                  </a:lnTo>
                  <a:lnTo>
                    <a:pt x="900" y="1201"/>
                  </a:lnTo>
                  <a:lnTo>
                    <a:pt x="900" y="1203"/>
                  </a:lnTo>
                  <a:lnTo>
                    <a:pt x="903" y="1207"/>
                  </a:lnTo>
                  <a:lnTo>
                    <a:pt x="904" y="1209"/>
                  </a:lnTo>
                  <a:lnTo>
                    <a:pt x="906" y="1207"/>
                  </a:lnTo>
                  <a:lnTo>
                    <a:pt x="906" y="1203"/>
                  </a:lnTo>
                  <a:lnTo>
                    <a:pt x="906" y="1201"/>
                  </a:lnTo>
                  <a:lnTo>
                    <a:pt x="904" y="1200"/>
                  </a:lnTo>
                  <a:lnTo>
                    <a:pt x="904" y="1199"/>
                  </a:lnTo>
                  <a:lnTo>
                    <a:pt x="903" y="1196"/>
                  </a:lnTo>
                  <a:lnTo>
                    <a:pt x="898" y="1191"/>
                  </a:lnTo>
                  <a:lnTo>
                    <a:pt x="895" y="1189"/>
                  </a:lnTo>
                  <a:lnTo>
                    <a:pt x="893" y="1186"/>
                  </a:lnTo>
                  <a:lnTo>
                    <a:pt x="891" y="1184"/>
                  </a:lnTo>
                  <a:lnTo>
                    <a:pt x="887" y="1184"/>
                  </a:lnTo>
                  <a:lnTo>
                    <a:pt x="884" y="1181"/>
                  </a:lnTo>
                  <a:lnTo>
                    <a:pt x="881" y="1177"/>
                  </a:lnTo>
                  <a:lnTo>
                    <a:pt x="880" y="1171"/>
                  </a:lnTo>
                  <a:lnTo>
                    <a:pt x="881" y="1169"/>
                  </a:lnTo>
                  <a:lnTo>
                    <a:pt x="881" y="1166"/>
                  </a:lnTo>
                  <a:lnTo>
                    <a:pt x="884" y="1163"/>
                  </a:lnTo>
                  <a:lnTo>
                    <a:pt x="884" y="1161"/>
                  </a:lnTo>
                  <a:lnTo>
                    <a:pt x="885" y="1157"/>
                  </a:lnTo>
                  <a:lnTo>
                    <a:pt x="893" y="1156"/>
                  </a:lnTo>
                  <a:lnTo>
                    <a:pt x="897" y="1153"/>
                  </a:lnTo>
                  <a:lnTo>
                    <a:pt x="907" y="1149"/>
                  </a:lnTo>
                  <a:lnTo>
                    <a:pt x="914" y="1147"/>
                  </a:lnTo>
                  <a:lnTo>
                    <a:pt x="920" y="1144"/>
                  </a:lnTo>
                  <a:lnTo>
                    <a:pt x="924" y="1140"/>
                  </a:lnTo>
                  <a:lnTo>
                    <a:pt x="926" y="1137"/>
                  </a:lnTo>
                  <a:lnTo>
                    <a:pt x="931" y="1136"/>
                  </a:lnTo>
                  <a:lnTo>
                    <a:pt x="934" y="1136"/>
                  </a:lnTo>
                  <a:lnTo>
                    <a:pt x="938" y="1137"/>
                  </a:lnTo>
                  <a:lnTo>
                    <a:pt x="941" y="1136"/>
                  </a:lnTo>
                  <a:lnTo>
                    <a:pt x="944" y="1136"/>
                  </a:lnTo>
                  <a:lnTo>
                    <a:pt x="947" y="1136"/>
                  </a:lnTo>
                  <a:lnTo>
                    <a:pt x="948" y="1141"/>
                  </a:lnTo>
                  <a:lnTo>
                    <a:pt x="950" y="1146"/>
                  </a:lnTo>
                  <a:lnTo>
                    <a:pt x="953" y="1147"/>
                  </a:lnTo>
                  <a:lnTo>
                    <a:pt x="957" y="1150"/>
                  </a:lnTo>
                  <a:lnTo>
                    <a:pt x="959" y="1153"/>
                  </a:lnTo>
                  <a:lnTo>
                    <a:pt x="959" y="1161"/>
                  </a:lnTo>
                  <a:lnTo>
                    <a:pt x="961" y="1166"/>
                  </a:lnTo>
                  <a:lnTo>
                    <a:pt x="966" y="1171"/>
                  </a:lnTo>
                  <a:lnTo>
                    <a:pt x="967" y="1177"/>
                  </a:lnTo>
                  <a:lnTo>
                    <a:pt x="964" y="1187"/>
                  </a:lnTo>
                  <a:lnTo>
                    <a:pt x="964" y="1196"/>
                  </a:lnTo>
                  <a:lnTo>
                    <a:pt x="966" y="1201"/>
                  </a:lnTo>
                  <a:lnTo>
                    <a:pt x="967" y="1204"/>
                  </a:lnTo>
                  <a:lnTo>
                    <a:pt x="971" y="1212"/>
                  </a:lnTo>
                  <a:lnTo>
                    <a:pt x="974" y="1214"/>
                  </a:lnTo>
                  <a:lnTo>
                    <a:pt x="976" y="1217"/>
                  </a:lnTo>
                  <a:lnTo>
                    <a:pt x="984" y="1222"/>
                  </a:lnTo>
                  <a:lnTo>
                    <a:pt x="991" y="1226"/>
                  </a:lnTo>
                  <a:lnTo>
                    <a:pt x="1001" y="1229"/>
                  </a:lnTo>
                  <a:lnTo>
                    <a:pt x="1010" y="1232"/>
                  </a:lnTo>
                  <a:lnTo>
                    <a:pt x="1014" y="1233"/>
                  </a:lnTo>
                  <a:lnTo>
                    <a:pt x="1017" y="1236"/>
                  </a:lnTo>
                  <a:lnTo>
                    <a:pt x="1026" y="1244"/>
                  </a:lnTo>
                  <a:lnTo>
                    <a:pt x="1029" y="1249"/>
                  </a:lnTo>
                  <a:lnTo>
                    <a:pt x="1036" y="1254"/>
                  </a:lnTo>
                  <a:lnTo>
                    <a:pt x="1043" y="1260"/>
                  </a:lnTo>
                  <a:lnTo>
                    <a:pt x="1047" y="1263"/>
                  </a:lnTo>
                  <a:lnTo>
                    <a:pt x="1053" y="1263"/>
                  </a:lnTo>
                  <a:lnTo>
                    <a:pt x="1057" y="1260"/>
                  </a:lnTo>
                  <a:lnTo>
                    <a:pt x="1063" y="1259"/>
                  </a:lnTo>
                  <a:lnTo>
                    <a:pt x="1063" y="1256"/>
                  </a:lnTo>
                  <a:lnTo>
                    <a:pt x="1063" y="1247"/>
                  </a:lnTo>
                  <a:lnTo>
                    <a:pt x="1064" y="1244"/>
                  </a:lnTo>
                  <a:lnTo>
                    <a:pt x="1067" y="1242"/>
                  </a:lnTo>
                  <a:lnTo>
                    <a:pt x="1070" y="1239"/>
                  </a:lnTo>
                  <a:lnTo>
                    <a:pt x="1070" y="1236"/>
                  </a:lnTo>
                  <a:lnTo>
                    <a:pt x="1072" y="1233"/>
                  </a:lnTo>
                  <a:lnTo>
                    <a:pt x="1075" y="1234"/>
                  </a:lnTo>
                  <a:lnTo>
                    <a:pt x="1076" y="1236"/>
                  </a:lnTo>
                  <a:lnTo>
                    <a:pt x="1080" y="1234"/>
                  </a:lnTo>
                  <a:lnTo>
                    <a:pt x="1083" y="1234"/>
                  </a:lnTo>
                  <a:lnTo>
                    <a:pt x="1085" y="1239"/>
                  </a:lnTo>
                  <a:lnTo>
                    <a:pt x="1087" y="1243"/>
                  </a:lnTo>
                  <a:lnTo>
                    <a:pt x="1089" y="1246"/>
                  </a:lnTo>
                  <a:lnTo>
                    <a:pt x="1093" y="1246"/>
                  </a:lnTo>
                  <a:lnTo>
                    <a:pt x="1096" y="1246"/>
                  </a:lnTo>
                  <a:lnTo>
                    <a:pt x="1099" y="1246"/>
                  </a:lnTo>
                  <a:lnTo>
                    <a:pt x="1100" y="1250"/>
                  </a:lnTo>
                  <a:lnTo>
                    <a:pt x="1105" y="1253"/>
                  </a:lnTo>
                  <a:lnTo>
                    <a:pt x="1110" y="1253"/>
                  </a:lnTo>
                  <a:lnTo>
                    <a:pt x="1113" y="1254"/>
                  </a:lnTo>
                  <a:lnTo>
                    <a:pt x="1112" y="1256"/>
                  </a:lnTo>
                  <a:lnTo>
                    <a:pt x="1112" y="1259"/>
                  </a:lnTo>
                  <a:lnTo>
                    <a:pt x="1112" y="1260"/>
                  </a:lnTo>
                  <a:lnTo>
                    <a:pt x="1115" y="1260"/>
                  </a:lnTo>
                  <a:lnTo>
                    <a:pt x="1116" y="1259"/>
                  </a:lnTo>
                  <a:lnTo>
                    <a:pt x="1120" y="1259"/>
                  </a:lnTo>
                  <a:lnTo>
                    <a:pt x="1125" y="1259"/>
                  </a:lnTo>
                  <a:lnTo>
                    <a:pt x="1126" y="1259"/>
                  </a:lnTo>
                  <a:lnTo>
                    <a:pt x="1132" y="1262"/>
                  </a:lnTo>
                  <a:lnTo>
                    <a:pt x="1136" y="1262"/>
                  </a:lnTo>
                  <a:lnTo>
                    <a:pt x="1140" y="1266"/>
                  </a:lnTo>
                  <a:lnTo>
                    <a:pt x="1142" y="1272"/>
                  </a:lnTo>
                  <a:lnTo>
                    <a:pt x="1149" y="1272"/>
                  </a:lnTo>
                  <a:lnTo>
                    <a:pt x="1152" y="1275"/>
                  </a:lnTo>
                  <a:lnTo>
                    <a:pt x="1155" y="1277"/>
                  </a:lnTo>
                  <a:lnTo>
                    <a:pt x="1153" y="1282"/>
                  </a:lnTo>
                  <a:lnTo>
                    <a:pt x="1152" y="1289"/>
                  </a:lnTo>
                  <a:lnTo>
                    <a:pt x="1152" y="1300"/>
                  </a:lnTo>
                  <a:lnTo>
                    <a:pt x="1155" y="1305"/>
                  </a:lnTo>
                  <a:lnTo>
                    <a:pt x="1158" y="1307"/>
                  </a:lnTo>
                  <a:lnTo>
                    <a:pt x="1160" y="1313"/>
                  </a:lnTo>
                  <a:lnTo>
                    <a:pt x="1160" y="1316"/>
                  </a:lnTo>
                  <a:lnTo>
                    <a:pt x="1159" y="1319"/>
                  </a:lnTo>
                  <a:lnTo>
                    <a:pt x="1153" y="1325"/>
                  </a:lnTo>
                  <a:lnTo>
                    <a:pt x="1148" y="1325"/>
                  </a:lnTo>
                  <a:lnTo>
                    <a:pt x="1142" y="1328"/>
                  </a:lnTo>
                  <a:lnTo>
                    <a:pt x="1136" y="1329"/>
                  </a:lnTo>
                  <a:lnTo>
                    <a:pt x="1132" y="1328"/>
                  </a:lnTo>
                  <a:lnTo>
                    <a:pt x="1126" y="1326"/>
                  </a:lnTo>
                  <a:lnTo>
                    <a:pt x="1122" y="1325"/>
                  </a:lnTo>
                  <a:lnTo>
                    <a:pt x="1119" y="1326"/>
                  </a:lnTo>
                  <a:lnTo>
                    <a:pt x="1116" y="1326"/>
                  </a:lnTo>
                  <a:lnTo>
                    <a:pt x="1113" y="1328"/>
                  </a:lnTo>
                  <a:lnTo>
                    <a:pt x="1110" y="1330"/>
                  </a:lnTo>
                  <a:lnTo>
                    <a:pt x="1107" y="1333"/>
                  </a:lnTo>
                  <a:lnTo>
                    <a:pt x="1106" y="1335"/>
                  </a:lnTo>
                  <a:lnTo>
                    <a:pt x="1105" y="1340"/>
                  </a:lnTo>
                  <a:lnTo>
                    <a:pt x="1100" y="1358"/>
                  </a:lnTo>
                  <a:lnTo>
                    <a:pt x="1100" y="1365"/>
                  </a:lnTo>
                  <a:lnTo>
                    <a:pt x="1099" y="1373"/>
                  </a:lnTo>
                  <a:lnTo>
                    <a:pt x="1102" y="1382"/>
                  </a:lnTo>
                  <a:lnTo>
                    <a:pt x="1105" y="1386"/>
                  </a:lnTo>
                  <a:lnTo>
                    <a:pt x="1107" y="1386"/>
                  </a:lnTo>
                  <a:lnTo>
                    <a:pt x="1109" y="1389"/>
                  </a:lnTo>
                  <a:lnTo>
                    <a:pt x="1109" y="1393"/>
                  </a:lnTo>
                  <a:lnTo>
                    <a:pt x="1112" y="1395"/>
                  </a:lnTo>
                  <a:lnTo>
                    <a:pt x="1116" y="1396"/>
                  </a:lnTo>
                  <a:lnTo>
                    <a:pt x="1119" y="1402"/>
                  </a:lnTo>
                  <a:lnTo>
                    <a:pt x="1119" y="1409"/>
                  </a:lnTo>
                  <a:lnTo>
                    <a:pt x="1125" y="1416"/>
                  </a:lnTo>
                  <a:lnTo>
                    <a:pt x="1132" y="1422"/>
                  </a:lnTo>
                  <a:lnTo>
                    <a:pt x="1135" y="1432"/>
                  </a:lnTo>
                  <a:lnTo>
                    <a:pt x="1142" y="1444"/>
                  </a:lnTo>
                  <a:lnTo>
                    <a:pt x="1149" y="1455"/>
                  </a:lnTo>
                  <a:lnTo>
                    <a:pt x="1162" y="1466"/>
                  </a:lnTo>
                  <a:lnTo>
                    <a:pt x="1166" y="1469"/>
                  </a:lnTo>
                  <a:lnTo>
                    <a:pt x="1172" y="1475"/>
                  </a:lnTo>
                  <a:lnTo>
                    <a:pt x="1183" y="1482"/>
                  </a:lnTo>
                  <a:lnTo>
                    <a:pt x="1196" y="1488"/>
                  </a:lnTo>
                  <a:lnTo>
                    <a:pt x="1211" y="1492"/>
                  </a:lnTo>
                  <a:lnTo>
                    <a:pt x="1213" y="1492"/>
                  </a:lnTo>
                  <a:lnTo>
                    <a:pt x="1216" y="1494"/>
                  </a:lnTo>
                  <a:lnTo>
                    <a:pt x="1221" y="1492"/>
                  </a:lnTo>
                  <a:lnTo>
                    <a:pt x="1228" y="1492"/>
                  </a:lnTo>
                  <a:lnTo>
                    <a:pt x="1235" y="1491"/>
                  </a:lnTo>
                  <a:lnTo>
                    <a:pt x="1241" y="1491"/>
                  </a:lnTo>
                  <a:lnTo>
                    <a:pt x="1245" y="1492"/>
                  </a:lnTo>
                  <a:lnTo>
                    <a:pt x="1249" y="1492"/>
                  </a:lnTo>
                  <a:lnTo>
                    <a:pt x="1254" y="1494"/>
                  </a:lnTo>
                  <a:lnTo>
                    <a:pt x="1261" y="1492"/>
                  </a:lnTo>
                  <a:lnTo>
                    <a:pt x="1265" y="1492"/>
                  </a:lnTo>
                  <a:lnTo>
                    <a:pt x="1265" y="1494"/>
                  </a:lnTo>
                  <a:lnTo>
                    <a:pt x="1265" y="1498"/>
                  </a:lnTo>
                  <a:lnTo>
                    <a:pt x="1266" y="1501"/>
                  </a:lnTo>
                  <a:lnTo>
                    <a:pt x="1272" y="1502"/>
                  </a:lnTo>
                  <a:lnTo>
                    <a:pt x="1274" y="1504"/>
                  </a:lnTo>
                  <a:lnTo>
                    <a:pt x="1274" y="1507"/>
                  </a:lnTo>
                  <a:lnTo>
                    <a:pt x="1275" y="1511"/>
                  </a:lnTo>
                  <a:lnTo>
                    <a:pt x="1276" y="1514"/>
                  </a:lnTo>
                  <a:lnTo>
                    <a:pt x="1276" y="1517"/>
                  </a:lnTo>
                  <a:lnTo>
                    <a:pt x="1276" y="1521"/>
                  </a:lnTo>
                  <a:lnTo>
                    <a:pt x="1279" y="1524"/>
                  </a:lnTo>
                  <a:lnTo>
                    <a:pt x="1279" y="1528"/>
                  </a:lnTo>
                  <a:lnTo>
                    <a:pt x="1279" y="1539"/>
                  </a:lnTo>
                  <a:lnTo>
                    <a:pt x="1279" y="1542"/>
                  </a:lnTo>
                  <a:lnTo>
                    <a:pt x="1281" y="1547"/>
                  </a:lnTo>
                  <a:lnTo>
                    <a:pt x="1284" y="1550"/>
                  </a:lnTo>
                  <a:lnTo>
                    <a:pt x="1285" y="1557"/>
                  </a:lnTo>
                  <a:lnTo>
                    <a:pt x="1285" y="1558"/>
                  </a:lnTo>
                  <a:lnTo>
                    <a:pt x="1285" y="1561"/>
                  </a:lnTo>
                  <a:lnTo>
                    <a:pt x="1281" y="1565"/>
                  </a:lnTo>
                  <a:lnTo>
                    <a:pt x="1276" y="1572"/>
                  </a:lnTo>
                  <a:lnTo>
                    <a:pt x="1272" y="1575"/>
                  </a:lnTo>
                  <a:lnTo>
                    <a:pt x="1271" y="1577"/>
                  </a:lnTo>
                  <a:lnTo>
                    <a:pt x="1268" y="1584"/>
                  </a:lnTo>
                  <a:lnTo>
                    <a:pt x="1266" y="1585"/>
                  </a:lnTo>
                  <a:lnTo>
                    <a:pt x="1266" y="1587"/>
                  </a:lnTo>
                  <a:lnTo>
                    <a:pt x="1265" y="1592"/>
                  </a:lnTo>
                  <a:lnTo>
                    <a:pt x="1265" y="1594"/>
                  </a:lnTo>
                  <a:lnTo>
                    <a:pt x="1258" y="1595"/>
                  </a:lnTo>
                  <a:lnTo>
                    <a:pt x="1252" y="1597"/>
                  </a:lnTo>
                  <a:lnTo>
                    <a:pt x="1249" y="1595"/>
                  </a:lnTo>
                  <a:lnTo>
                    <a:pt x="1248" y="1592"/>
                  </a:lnTo>
                  <a:lnTo>
                    <a:pt x="1245" y="1592"/>
                  </a:lnTo>
                  <a:lnTo>
                    <a:pt x="1242" y="1594"/>
                  </a:lnTo>
                  <a:lnTo>
                    <a:pt x="1239" y="1601"/>
                  </a:lnTo>
                  <a:lnTo>
                    <a:pt x="1233" y="1614"/>
                  </a:lnTo>
                  <a:lnTo>
                    <a:pt x="1231" y="1628"/>
                  </a:lnTo>
                  <a:lnTo>
                    <a:pt x="1228" y="1634"/>
                  </a:lnTo>
                  <a:lnTo>
                    <a:pt x="1228" y="1635"/>
                  </a:lnTo>
                  <a:lnTo>
                    <a:pt x="1228" y="1640"/>
                  </a:lnTo>
                  <a:lnTo>
                    <a:pt x="1226" y="1654"/>
                  </a:lnTo>
                  <a:lnTo>
                    <a:pt x="1228" y="1670"/>
                  </a:lnTo>
                  <a:lnTo>
                    <a:pt x="1228" y="1677"/>
                  </a:lnTo>
                  <a:lnTo>
                    <a:pt x="1232" y="1691"/>
                  </a:lnTo>
                  <a:lnTo>
                    <a:pt x="1233" y="1701"/>
                  </a:lnTo>
                  <a:lnTo>
                    <a:pt x="1232" y="1706"/>
                  </a:lnTo>
                  <a:lnTo>
                    <a:pt x="1232" y="1711"/>
                  </a:lnTo>
                  <a:lnTo>
                    <a:pt x="1235" y="1721"/>
                  </a:lnTo>
                  <a:lnTo>
                    <a:pt x="1239" y="1727"/>
                  </a:lnTo>
                  <a:lnTo>
                    <a:pt x="1244" y="1739"/>
                  </a:lnTo>
                  <a:lnTo>
                    <a:pt x="1256" y="1754"/>
                  </a:lnTo>
                  <a:lnTo>
                    <a:pt x="1269" y="1772"/>
                  </a:lnTo>
                  <a:lnTo>
                    <a:pt x="1281" y="1779"/>
                  </a:lnTo>
                  <a:lnTo>
                    <a:pt x="1284" y="1783"/>
                  </a:lnTo>
                  <a:lnTo>
                    <a:pt x="1289" y="1783"/>
                  </a:lnTo>
                  <a:lnTo>
                    <a:pt x="1294" y="1784"/>
                  </a:lnTo>
                  <a:lnTo>
                    <a:pt x="1298" y="1784"/>
                  </a:lnTo>
                  <a:lnTo>
                    <a:pt x="1298" y="1782"/>
                  </a:lnTo>
                  <a:lnTo>
                    <a:pt x="1301" y="1782"/>
                  </a:lnTo>
                  <a:lnTo>
                    <a:pt x="1304" y="1786"/>
                  </a:lnTo>
                  <a:lnTo>
                    <a:pt x="1308" y="1787"/>
                  </a:lnTo>
                  <a:lnTo>
                    <a:pt x="1314" y="1787"/>
                  </a:lnTo>
                  <a:lnTo>
                    <a:pt x="1314" y="1789"/>
                  </a:lnTo>
                  <a:lnTo>
                    <a:pt x="1315" y="1793"/>
                  </a:lnTo>
                  <a:lnTo>
                    <a:pt x="1318" y="1796"/>
                  </a:lnTo>
                  <a:lnTo>
                    <a:pt x="1318" y="1797"/>
                  </a:lnTo>
                  <a:lnTo>
                    <a:pt x="1315" y="1799"/>
                  </a:lnTo>
                  <a:lnTo>
                    <a:pt x="1308" y="1800"/>
                  </a:lnTo>
                  <a:lnTo>
                    <a:pt x="1305" y="1802"/>
                  </a:lnTo>
                  <a:lnTo>
                    <a:pt x="1307" y="1803"/>
                  </a:lnTo>
                  <a:lnTo>
                    <a:pt x="1311" y="1803"/>
                  </a:lnTo>
                  <a:lnTo>
                    <a:pt x="1314" y="1804"/>
                  </a:lnTo>
                  <a:lnTo>
                    <a:pt x="1321" y="1809"/>
                  </a:lnTo>
                  <a:lnTo>
                    <a:pt x="1322" y="1810"/>
                  </a:lnTo>
                  <a:lnTo>
                    <a:pt x="1322" y="1809"/>
                  </a:lnTo>
                  <a:lnTo>
                    <a:pt x="1322" y="1806"/>
                  </a:lnTo>
                  <a:lnTo>
                    <a:pt x="1325" y="1804"/>
                  </a:lnTo>
                  <a:lnTo>
                    <a:pt x="1328" y="1806"/>
                  </a:lnTo>
                  <a:lnTo>
                    <a:pt x="1331" y="1809"/>
                  </a:lnTo>
                  <a:lnTo>
                    <a:pt x="1335" y="1809"/>
                  </a:lnTo>
                  <a:lnTo>
                    <a:pt x="1335" y="1806"/>
                  </a:lnTo>
                  <a:lnTo>
                    <a:pt x="1338" y="1809"/>
                  </a:lnTo>
                  <a:lnTo>
                    <a:pt x="1342" y="1814"/>
                  </a:lnTo>
                  <a:lnTo>
                    <a:pt x="1344" y="1817"/>
                  </a:lnTo>
                  <a:lnTo>
                    <a:pt x="1348" y="1819"/>
                  </a:lnTo>
                  <a:lnTo>
                    <a:pt x="1348" y="1817"/>
                  </a:lnTo>
                  <a:lnTo>
                    <a:pt x="1348" y="1814"/>
                  </a:lnTo>
                  <a:lnTo>
                    <a:pt x="1347" y="1812"/>
                  </a:lnTo>
                  <a:lnTo>
                    <a:pt x="1348" y="1810"/>
                  </a:lnTo>
                  <a:lnTo>
                    <a:pt x="1351" y="1812"/>
                  </a:lnTo>
                  <a:lnTo>
                    <a:pt x="1354" y="1813"/>
                  </a:lnTo>
                  <a:lnTo>
                    <a:pt x="1358" y="1814"/>
                  </a:lnTo>
                  <a:lnTo>
                    <a:pt x="1361" y="1817"/>
                  </a:lnTo>
                  <a:lnTo>
                    <a:pt x="1362" y="1817"/>
                  </a:lnTo>
                  <a:lnTo>
                    <a:pt x="1365" y="1817"/>
                  </a:lnTo>
                  <a:lnTo>
                    <a:pt x="1367" y="1819"/>
                  </a:lnTo>
                  <a:lnTo>
                    <a:pt x="1370" y="1822"/>
                  </a:lnTo>
                  <a:lnTo>
                    <a:pt x="1372" y="1823"/>
                  </a:lnTo>
                  <a:lnTo>
                    <a:pt x="1372" y="1826"/>
                  </a:lnTo>
                  <a:lnTo>
                    <a:pt x="1368" y="1827"/>
                  </a:lnTo>
                  <a:lnTo>
                    <a:pt x="1365" y="1832"/>
                  </a:lnTo>
                  <a:lnTo>
                    <a:pt x="1362" y="1832"/>
                  </a:lnTo>
                  <a:lnTo>
                    <a:pt x="1355" y="1832"/>
                  </a:lnTo>
                  <a:lnTo>
                    <a:pt x="1347" y="1836"/>
                  </a:lnTo>
                  <a:lnTo>
                    <a:pt x="1339" y="1839"/>
                  </a:lnTo>
                  <a:lnTo>
                    <a:pt x="1335" y="1840"/>
                  </a:lnTo>
                  <a:lnTo>
                    <a:pt x="1331" y="1842"/>
                  </a:lnTo>
                  <a:lnTo>
                    <a:pt x="1327" y="1843"/>
                  </a:lnTo>
                  <a:lnTo>
                    <a:pt x="1324" y="1850"/>
                  </a:lnTo>
                  <a:lnTo>
                    <a:pt x="1322" y="1855"/>
                  </a:lnTo>
                  <a:lnTo>
                    <a:pt x="1322" y="1862"/>
                  </a:lnTo>
                  <a:lnTo>
                    <a:pt x="1327" y="1870"/>
                  </a:lnTo>
                  <a:lnTo>
                    <a:pt x="1327" y="1873"/>
                  </a:lnTo>
                  <a:lnTo>
                    <a:pt x="1321" y="1875"/>
                  </a:lnTo>
                  <a:lnTo>
                    <a:pt x="1318" y="1879"/>
                  </a:lnTo>
                  <a:lnTo>
                    <a:pt x="1318" y="1883"/>
                  </a:lnTo>
                  <a:lnTo>
                    <a:pt x="1315" y="1896"/>
                  </a:lnTo>
                  <a:lnTo>
                    <a:pt x="1314" y="1910"/>
                  </a:lnTo>
                  <a:lnTo>
                    <a:pt x="1315" y="1930"/>
                  </a:lnTo>
                  <a:lnTo>
                    <a:pt x="1317" y="1938"/>
                  </a:lnTo>
                  <a:lnTo>
                    <a:pt x="1318" y="1942"/>
                  </a:lnTo>
                  <a:lnTo>
                    <a:pt x="1318" y="1945"/>
                  </a:lnTo>
                  <a:lnTo>
                    <a:pt x="1317" y="1946"/>
                  </a:lnTo>
                  <a:lnTo>
                    <a:pt x="1315" y="1946"/>
                  </a:lnTo>
                  <a:lnTo>
                    <a:pt x="1311" y="1945"/>
                  </a:lnTo>
                  <a:lnTo>
                    <a:pt x="1309" y="1945"/>
                  </a:lnTo>
                  <a:lnTo>
                    <a:pt x="1307" y="1946"/>
                  </a:lnTo>
                  <a:lnTo>
                    <a:pt x="1304" y="1946"/>
                  </a:lnTo>
                  <a:lnTo>
                    <a:pt x="1302" y="1945"/>
                  </a:lnTo>
                  <a:lnTo>
                    <a:pt x="1302" y="1943"/>
                  </a:lnTo>
                  <a:lnTo>
                    <a:pt x="1304" y="1941"/>
                  </a:lnTo>
                  <a:lnTo>
                    <a:pt x="1304" y="1941"/>
                  </a:lnTo>
                  <a:lnTo>
                    <a:pt x="1299" y="1941"/>
                  </a:lnTo>
                  <a:lnTo>
                    <a:pt x="1294" y="1941"/>
                  </a:lnTo>
                  <a:lnTo>
                    <a:pt x="1291" y="1941"/>
                  </a:lnTo>
                  <a:lnTo>
                    <a:pt x="1288" y="1942"/>
                  </a:lnTo>
                  <a:lnTo>
                    <a:pt x="1285" y="1943"/>
                  </a:lnTo>
                  <a:lnTo>
                    <a:pt x="1285" y="1946"/>
                  </a:lnTo>
                  <a:lnTo>
                    <a:pt x="1285" y="1946"/>
                  </a:lnTo>
                  <a:lnTo>
                    <a:pt x="1285" y="1951"/>
                  </a:lnTo>
                  <a:lnTo>
                    <a:pt x="1285" y="1953"/>
                  </a:lnTo>
                  <a:lnTo>
                    <a:pt x="1286" y="1956"/>
                  </a:lnTo>
                  <a:lnTo>
                    <a:pt x="1288" y="1958"/>
                  </a:lnTo>
                  <a:lnTo>
                    <a:pt x="1292" y="1959"/>
                  </a:lnTo>
                  <a:lnTo>
                    <a:pt x="1294" y="1961"/>
                  </a:lnTo>
                  <a:lnTo>
                    <a:pt x="1294" y="1965"/>
                  </a:lnTo>
                  <a:lnTo>
                    <a:pt x="1292" y="1968"/>
                  </a:lnTo>
                  <a:lnTo>
                    <a:pt x="1295" y="1968"/>
                  </a:lnTo>
                  <a:lnTo>
                    <a:pt x="1298" y="1968"/>
                  </a:lnTo>
                  <a:lnTo>
                    <a:pt x="1301" y="1968"/>
                  </a:lnTo>
                  <a:lnTo>
                    <a:pt x="1301" y="1966"/>
                  </a:lnTo>
                  <a:lnTo>
                    <a:pt x="1302" y="1962"/>
                  </a:lnTo>
                  <a:lnTo>
                    <a:pt x="1299" y="1962"/>
                  </a:lnTo>
                  <a:lnTo>
                    <a:pt x="1298" y="1962"/>
                  </a:lnTo>
                  <a:lnTo>
                    <a:pt x="1298" y="1961"/>
                  </a:lnTo>
                  <a:lnTo>
                    <a:pt x="1299" y="1958"/>
                  </a:lnTo>
                  <a:lnTo>
                    <a:pt x="1302" y="1958"/>
                  </a:lnTo>
                  <a:lnTo>
                    <a:pt x="1304" y="1956"/>
                  </a:lnTo>
                  <a:lnTo>
                    <a:pt x="1308" y="1952"/>
                  </a:lnTo>
                  <a:lnTo>
                    <a:pt x="1312" y="1951"/>
                  </a:lnTo>
                  <a:lnTo>
                    <a:pt x="1314" y="1953"/>
                  </a:lnTo>
                  <a:lnTo>
                    <a:pt x="1314" y="1956"/>
                  </a:lnTo>
                  <a:lnTo>
                    <a:pt x="1312" y="1959"/>
                  </a:lnTo>
                  <a:lnTo>
                    <a:pt x="1317" y="1959"/>
                  </a:lnTo>
                  <a:lnTo>
                    <a:pt x="1319" y="1961"/>
                  </a:lnTo>
                  <a:lnTo>
                    <a:pt x="1319" y="1963"/>
                  </a:lnTo>
                  <a:lnTo>
                    <a:pt x="1319" y="1966"/>
                  </a:lnTo>
                  <a:lnTo>
                    <a:pt x="1317" y="1968"/>
                  </a:lnTo>
                  <a:lnTo>
                    <a:pt x="1318" y="1971"/>
                  </a:lnTo>
                  <a:lnTo>
                    <a:pt x="1319" y="1973"/>
                  </a:lnTo>
                  <a:lnTo>
                    <a:pt x="1318" y="1976"/>
                  </a:lnTo>
                  <a:lnTo>
                    <a:pt x="1318" y="1979"/>
                  </a:lnTo>
                  <a:lnTo>
                    <a:pt x="1321" y="1981"/>
                  </a:lnTo>
                  <a:lnTo>
                    <a:pt x="1325" y="1979"/>
                  </a:lnTo>
                  <a:lnTo>
                    <a:pt x="1329" y="1976"/>
                  </a:lnTo>
                  <a:lnTo>
                    <a:pt x="1334" y="1976"/>
                  </a:lnTo>
                  <a:lnTo>
                    <a:pt x="1338" y="1978"/>
                  </a:lnTo>
                  <a:lnTo>
                    <a:pt x="1339" y="1985"/>
                  </a:lnTo>
                  <a:lnTo>
                    <a:pt x="1339" y="1991"/>
                  </a:lnTo>
                  <a:lnTo>
                    <a:pt x="1338" y="1994"/>
                  </a:lnTo>
                  <a:lnTo>
                    <a:pt x="1332" y="1995"/>
                  </a:lnTo>
                  <a:lnTo>
                    <a:pt x="1328" y="1994"/>
                  </a:lnTo>
                  <a:lnTo>
                    <a:pt x="1328" y="1996"/>
                  </a:lnTo>
                  <a:lnTo>
                    <a:pt x="1332" y="1996"/>
                  </a:lnTo>
                  <a:lnTo>
                    <a:pt x="1334" y="1999"/>
                  </a:lnTo>
                  <a:lnTo>
                    <a:pt x="1339" y="1999"/>
                  </a:lnTo>
                  <a:lnTo>
                    <a:pt x="1344" y="1998"/>
                  </a:lnTo>
                  <a:lnTo>
                    <a:pt x="1347" y="1996"/>
                  </a:lnTo>
                  <a:lnTo>
                    <a:pt x="1351" y="1998"/>
                  </a:lnTo>
                  <a:lnTo>
                    <a:pt x="1352" y="1999"/>
                  </a:lnTo>
                  <a:lnTo>
                    <a:pt x="1352" y="2002"/>
                  </a:lnTo>
                  <a:lnTo>
                    <a:pt x="1350" y="2005"/>
                  </a:lnTo>
                  <a:lnTo>
                    <a:pt x="1352" y="2005"/>
                  </a:lnTo>
                  <a:lnTo>
                    <a:pt x="1354" y="2005"/>
                  </a:lnTo>
                  <a:lnTo>
                    <a:pt x="1357" y="2005"/>
                  </a:lnTo>
                  <a:lnTo>
                    <a:pt x="1358" y="2008"/>
                  </a:lnTo>
                  <a:lnTo>
                    <a:pt x="1358" y="2012"/>
                  </a:lnTo>
                  <a:lnTo>
                    <a:pt x="1360" y="2012"/>
                  </a:lnTo>
                  <a:lnTo>
                    <a:pt x="1361" y="2014"/>
                  </a:lnTo>
                  <a:lnTo>
                    <a:pt x="1362" y="2011"/>
                  </a:lnTo>
                  <a:lnTo>
                    <a:pt x="1367" y="2011"/>
                  </a:lnTo>
                  <a:lnTo>
                    <a:pt x="1371" y="2011"/>
                  </a:lnTo>
                  <a:lnTo>
                    <a:pt x="1374" y="2012"/>
                  </a:lnTo>
                  <a:lnTo>
                    <a:pt x="1374" y="2016"/>
                  </a:lnTo>
                  <a:lnTo>
                    <a:pt x="1375" y="2019"/>
                  </a:lnTo>
                  <a:lnTo>
                    <a:pt x="1381" y="2018"/>
                  </a:lnTo>
                  <a:lnTo>
                    <a:pt x="1382" y="2022"/>
                  </a:lnTo>
                  <a:lnTo>
                    <a:pt x="1384" y="2029"/>
                  </a:lnTo>
                  <a:lnTo>
                    <a:pt x="1382" y="2032"/>
                  </a:lnTo>
                  <a:lnTo>
                    <a:pt x="1382" y="2035"/>
                  </a:lnTo>
                  <a:lnTo>
                    <a:pt x="1384" y="2039"/>
                  </a:lnTo>
                  <a:lnTo>
                    <a:pt x="1385" y="2044"/>
                  </a:lnTo>
                  <a:lnTo>
                    <a:pt x="1385" y="2045"/>
                  </a:lnTo>
                  <a:lnTo>
                    <a:pt x="1388" y="2045"/>
                  </a:lnTo>
                  <a:lnTo>
                    <a:pt x="1392" y="2051"/>
                  </a:lnTo>
                  <a:lnTo>
                    <a:pt x="1394" y="2054"/>
                  </a:lnTo>
                  <a:lnTo>
                    <a:pt x="1391" y="2057"/>
                  </a:lnTo>
                  <a:lnTo>
                    <a:pt x="1391" y="2059"/>
                  </a:lnTo>
                  <a:lnTo>
                    <a:pt x="1400" y="2068"/>
                  </a:lnTo>
                  <a:lnTo>
                    <a:pt x="1402" y="2071"/>
                  </a:lnTo>
                  <a:lnTo>
                    <a:pt x="1407" y="2078"/>
                  </a:lnTo>
                  <a:lnTo>
                    <a:pt x="1410" y="2088"/>
                  </a:lnTo>
                  <a:lnTo>
                    <a:pt x="1411" y="2097"/>
                  </a:lnTo>
                  <a:lnTo>
                    <a:pt x="1415" y="2102"/>
                  </a:lnTo>
                  <a:lnTo>
                    <a:pt x="1415" y="2110"/>
                  </a:lnTo>
                  <a:lnTo>
                    <a:pt x="1415" y="2114"/>
                  </a:lnTo>
                  <a:lnTo>
                    <a:pt x="1417" y="2115"/>
                  </a:lnTo>
                  <a:lnTo>
                    <a:pt x="1417" y="2121"/>
                  </a:lnTo>
                  <a:lnTo>
                    <a:pt x="1417" y="2127"/>
                  </a:lnTo>
                  <a:lnTo>
                    <a:pt x="1420" y="2130"/>
                  </a:lnTo>
                  <a:lnTo>
                    <a:pt x="1423" y="2138"/>
                  </a:lnTo>
                  <a:lnTo>
                    <a:pt x="1424" y="2142"/>
                  </a:lnTo>
                  <a:lnTo>
                    <a:pt x="1424" y="2147"/>
                  </a:lnTo>
                  <a:lnTo>
                    <a:pt x="1424" y="2150"/>
                  </a:lnTo>
                  <a:lnTo>
                    <a:pt x="1424" y="2155"/>
                  </a:lnTo>
                  <a:lnTo>
                    <a:pt x="1424" y="2160"/>
                  </a:lnTo>
                  <a:lnTo>
                    <a:pt x="1424" y="2163"/>
                  </a:lnTo>
                  <a:lnTo>
                    <a:pt x="1423" y="2165"/>
                  </a:lnTo>
                  <a:lnTo>
                    <a:pt x="1420" y="2171"/>
                  </a:lnTo>
                  <a:lnTo>
                    <a:pt x="1418" y="2184"/>
                  </a:lnTo>
                  <a:lnTo>
                    <a:pt x="1420" y="2193"/>
                  </a:lnTo>
                  <a:lnTo>
                    <a:pt x="1423" y="2200"/>
                  </a:lnTo>
                  <a:lnTo>
                    <a:pt x="1428" y="2205"/>
                  </a:lnTo>
                  <a:lnTo>
                    <a:pt x="1430" y="2210"/>
                  </a:lnTo>
                  <a:lnTo>
                    <a:pt x="1427" y="2213"/>
                  </a:lnTo>
                  <a:lnTo>
                    <a:pt x="1427" y="2217"/>
                  </a:lnTo>
                  <a:lnTo>
                    <a:pt x="1430" y="2224"/>
                  </a:lnTo>
                  <a:lnTo>
                    <a:pt x="1431" y="2238"/>
                  </a:lnTo>
                  <a:lnTo>
                    <a:pt x="1433" y="2244"/>
                  </a:lnTo>
                  <a:lnTo>
                    <a:pt x="1433" y="2250"/>
                  </a:lnTo>
                  <a:lnTo>
                    <a:pt x="1433" y="2261"/>
                  </a:lnTo>
                  <a:lnTo>
                    <a:pt x="1434" y="2267"/>
                  </a:lnTo>
                  <a:lnTo>
                    <a:pt x="1435" y="2274"/>
                  </a:lnTo>
                  <a:lnTo>
                    <a:pt x="1435" y="2281"/>
                  </a:lnTo>
                  <a:lnTo>
                    <a:pt x="1434" y="2289"/>
                  </a:lnTo>
                  <a:lnTo>
                    <a:pt x="1434" y="2294"/>
                  </a:lnTo>
                  <a:lnTo>
                    <a:pt x="1434" y="2304"/>
                  </a:lnTo>
                  <a:lnTo>
                    <a:pt x="1438" y="2311"/>
                  </a:lnTo>
                  <a:lnTo>
                    <a:pt x="1438" y="2314"/>
                  </a:lnTo>
                  <a:lnTo>
                    <a:pt x="1435" y="2316"/>
                  </a:lnTo>
                  <a:lnTo>
                    <a:pt x="1434" y="2313"/>
                  </a:lnTo>
                  <a:lnTo>
                    <a:pt x="1433" y="2310"/>
                  </a:lnTo>
                  <a:lnTo>
                    <a:pt x="1433" y="2306"/>
                  </a:lnTo>
                  <a:lnTo>
                    <a:pt x="1428" y="2301"/>
                  </a:lnTo>
                  <a:lnTo>
                    <a:pt x="1423" y="2296"/>
                  </a:lnTo>
                  <a:lnTo>
                    <a:pt x="1418" y="2294"/>
                  </a:lnTo>
                  <a:lnTo>
                    <a:pt x="1414" y="2296"/>
                  </a:lnTo>
                  <a:lnTo>
                    <a:pt x="1411" y="2296"/>
                  </a:lnTo>
                  <a:lnTo>
                    <a:pt x="1410" y="2293"/>
                  </a:lnTo>
                  <a:lnTo>
                    <a:pt x="1405" y="2287"/>
                  </a:lnTo>
                  <a:lnTo>
                    <a:pt x="1400" y="2284"/>
                  </a:lnTo>
                  <a:lnTo>
                    <a:pt x="1391" y="2283"/>
                  </a:lnTo>
                  <a:lnTo>
                    <a:pt x="1387" y="2283"/>
                  </a:lnTo>
                  <a:lnTo>
                    <a:pt x="1385" y="2284"/>
                  </a:lnTo>
                  <a:lnTo>
                    <a:pt x="1384" y="2289"/>
                  </a:lnTo>
                  <a:lnTo>
                    <a:pt x="1382" y="2289"/>
                  </a:lnTo>
                  <a:lnTo>
                    <a:pt x="1375" y="2287"/>
                  </a:lnTo>
                  <a:lnTo>
                    <a:pt x="1370" y="2284"/>
                  </a:lnTo>
                  <a:lnTo>
                    <a:pt x="1364" y="2280"/>
                  </a:lnTo>
                  <a:lnTo>
                    <a:pt x="1358" y="2276"/>
                  </a:lnTo>
                  <a:lnTo>
                    <a:pt x="1352" y="2274"/>
                  </a:lnTo>
                  <a:lnTo>
                    <a:pt x="1350" y="2273"/>
                  </a:lnTo>
                  <a:lnTo>
                    <a:pt x="1347" y="2270"/>
                  </a:lnTo>
                  <a:lnTo>
                    <a:pt x="1344" y="2268"/>
                  </a:lnTo>
                  <a:lnTo>
                    <a:pt x="1342" y="2266"/>
                  </a:lnTo>
                  <a:lnTo>
                    <a:pt x="1339" y="2261"/>
                  </a:lnTo>
                  <a:lnTo>
                    <a:pt x="1331" y="2253"/>
                  </a:lnTo>
                  <a:lnTo>
                    <a:pt x="1312" y="2238"/>
                  </a:lnTo>
                  <a:lnTo>
                    <a:pt x="1297" y="2224"/>
                  </a:lnTo>
                  <a:lnTo>
                    <a:pt x="1295" y="2223"/>
                  </a:lnTo>
                  <a:lnTo>
                    <a:pt x="1291" y="2220"/>
                  </a:lnTo>
                  <a:lnTo>
                    <a:pt x="1278" y="2207"/>
                  </a:lnTo>
                  <a:lnTo>
                    <a:pt x="1271" y="2203"/>
                  </a:lnTo>
                  <a:lnTo>
                    <a:pt x="1259" y="2197"/>
                  </a:lnTo>
                  <a:lnTo>
                    <a:pt x="1239" y="2184"/>
                  </a:lnTo>
                  <a:lnTo>
                    <a:pt x="1223" y="2177"/>
                  </a:lnTo>
                  <a:lnTo>
                    <a:pt x="1215" y="2174"/>
                  </a:lnTo>
                  <a:lnTo>
                    <a:pt x="1211" y="2173"/>
                  </a:lnTo>
                  <a:lnTo>
                    <a:pt x="1212" y="2171"/>
                  </a:lnTo>
                  <a:lnTo>
                    <a:pt x="1215" y="2171"/>
                  </a:lnTo>
                  <a:lnTo>
                    <a:pt x="1216" y="2168"/>
                  </a:lnTo>
                  <a:lnTo>
                    <a:pt x="1219" y="2168"/>
                  </a:lnTo>
                  <a:lnTo>
                    <a:pt x="1221" y="2170"/>
                  </a:lnTo>
                  <a:lnTo>
                    <a:pt x="1222" y="2170"/>
                  </a:lnTo>
                  <a:lnTo>
                    <a:pt x="1223" y="2168"/>
                  </a:lnTo>
                  <a:lnTo>
                    <a:pt x="1225" y="2164"/>
                  </a:lnTo>
                  <a:lnTo>
                    <a:pt x="1225" y="2160"/>
                  </a:lnTo>
                  <a:lnTo>
                    <a:pt x="1222" y="2158"/>
                  </a:lnTo>
                  <a:lnTo>
                    <a:pt x="1219" y="2158"/>
                  </a:lnTo>
                  <a:lnTo>
                    <a:pt x="1216" y="2160"/>
                  </a:lnTo>
                  <a:lnTo>
                    <a:pt x="1213" y="2164"/>
                  </a:lnTo>
                  <a:lnTo>
                    <a:pt x="1211" y="2167"/>
                  </a:lnTo>
                  <a:lnTo>
                    <a:pt x="1206" y="2163"/>
                  </a:lnTo>
                  <a:lnTo>
                    <a:pt x="1201" y="2161"/>
                  </a:lnTo>
                  <a:lnTo>
                    <a:pt x="1192" y="2157"/>
                  </a:lnTo>
                  <a:lnTo>
                    <a:pt x="1182" y="2154"/>
                  </a:lnTo>
                  <a:lnTo>
                    <a:pt x="1182" y="2155"/>
                  </a:lnTo>
                  <a:lnTo>
                    <a:pt x="1186" y="2160"/>
                  </a:lnTo>
                  <a:lnTo>
                    <a:pt x="1193" y="2161"/>
                  </a:lnTo>
                  <a:lnTo>
                    <a:pt x="1201" y="2165"/>
                  </a:lnTo>
                  <a:lnTo>
                    <a:pt x="1206" y="2167"/>
                  </a:lnTo>
                  <a:lnTo>
                    <a:pt x="1206" y="2170"/>
                  </a:lnTo>
                  <a:lnTo>
                    <a:pt x="1205" y="2170"/>
                  </a:lnTo>
                  <a:lnTo>
                    <a:pt x="1196" y="2167"/>
                  </a:lnTo>
                  <a:lnTo>
                    <a:pt x="1178" y="2158"/>
                  </a:lnTo>
                  <a:lnTo>
                    <a:pt x="1169" y="2155"/>
                  </a:lnTo>
                  <a:lnTo>
                    <a:pt x="1155" y="2148"/>
                  </a:lnTo>
                  <a:lnTo>
                    <a:pt x="1146" y="2141"/>
                  </a:lnTo>
                  <a:lnTo>
                    <a:pt x="1128" y="2128"/>
                  </a:lnTo>
                  <a:lnTo>
                    <a:pt x="1119" y="2120"/>
                  </a:lnTo>
                  <a:lnTo>
                    <a:pt x="1102" y="2110"/>
                  </a:lnTo>
                  <a:lnTo>
                    <a:pt x="1087" y="2099"/>
                  </a:lnTo>
                  <a:lnTo>
                    <a:pt x="1076" y="2091"/>
                  </a:lnTo>
                  <a:lnTo>
                    <a:pt x="1049" y="2072"/>
                  </a:lnTo>
                  <a:lnTo>
                    <a:pt x="1043" y="2069"/>
                  </a:lnTo>
                  <a:lnTo>
                    <a:pt x="1036" y="2065"/>
                  </a:lnTo>
                  <a:lnTo>
                    <a:pt x="1013" y="2051"/>
                  </a:lnTo>
                  <a:lnTo>
                    <a:pt x="987" y="2036"/>
                  </a:lnTo>
                  <a:lnTo>
                    <a:pt x="981" y="2032"/>
                  </a:lnTo>
                  <a:lnTo>
                    <a:pt x="981" y="2029"/>
                  </a:lnTo>
                  <a:lnTo>
                    <a:pt x="980" y="2026"/>
                  </a:lnTo>
                  <a:lnTo>
                    <a:pt x="977" y="2025"/>
                  </a:lnTo>
                  <a:lnTo>
                    <a:pt x="971" y="2019"/>
                  </a:lnTo>
                  <a:lnTo>
                    <a:pt x="966" y="2016"/>
                  </a:lnTo>
                  <a:lnTo>
                    <a:pt x="963" y="2016"/>
                  </a:lnTo>
                  <a:lnTo>
                    <a:pt x="964" y="2018"/>
                  </a:lnTo>
                  <a:lnTo>
                    <a:pt x="966" y="2019"/>
                  </a:lnTo>
                  <a:lnTo>
                    <a:pt x="973" y="2024"/>
                  </a:lnTo>
                  <a:lnTo>
                    <a:pt x="976" y="2026"/>
                  </a:lnTo>
                  <a:lnTo>
                    <a:pt x="976" y="2029"/>
                  </a:lnTo>
                  <a:lnTo>
                    <a:pt x="971" y="2028"/>
                  </a:lnTo>
                  <a:lnTo>
                    <a:pt x="961" y="2021"/>
                  </a:lnTo>
                  <a:lnTo>
                    <a:pt x="950" y="2014"/>
                  </a:lnTo>
                  <a:lnTo>
                    <a:pt x="934" y="2005"/>
                  </a:lnTo>
                  <a:lnTo>
                    <a:pt x="923" y="1996"/>
                  </a:lnTo>
                  <a:lnTo>
                    <a:pt x="913" y="1989"/>
                  </a:lnTo>
                  <a:lnTo>
                    <a:pt x="898" y="1982"/>
                  </a:lnTo>
                  <a:lnTo>
                    <a:pt x="890" y="1975"/>
                  </a:lnTo>
                  <a:lnTo>
                    <a:pt x="885" y="1972"/>
                  </a:lnTo>
                  <a:lnTo>
                    <a:pt x="863" y="1958"/>
                  </a:lnTo>
                  <a:lnTo>
                    <a:pt x="853" y="1951"/>
                  </a:lnTo>
                  <a:lnTo>
                    <a:pt x="848" y="1946"/>
                  </a:lnTo>
                  <a:lnTo>
                    <a:pt x="838" y="1941"/>
                  </a:lnTo>
                  <a:lnTo>
                    <a:pt x="827" y="1932"/>
                  </a:lnTo>
                  <a:lnTo>
                    <a:pt x="820" y="1925"/>
                  </a:lnTo>
                  <a:lnTo>
                    <a:pt x="814" y="1918"/>
                  </a:lnTo>
                  <a:lnTo>
                    <a:pt x="801" y="1903"/>
                  </a:lnTo>
                  <a:lnTo>
                    <a:pt x="791" y="1892"/>
                  </a:lnTo>
                  <a:lnTo>
                    <a:pt x="782" y="1882"/>
                  </a:lnTo>
                  <a:lnTo>
                    <a:pt x="781" y="1882"/>
                  </a:lnTo>
                  <a:lnTo>
                    <a:pt x="761" y="1862"/>
                  </a:lnTo>
                  <a:lnTo>
                    <a:pt x="752" y="1853"/>
                  </a:lnTo>
                  <a:lnTo>
                    <a:pt x="745" y="1845"/>
                  </a:lnTo>
                  <a:lnTo>
                    <a:pt x="738" y="1836"/>
                  </a:lnTo>
                  <a:lnTo>
                    <a:pt x="735" y="1832"/>
                  </a:lnTo>
                  <a:lnTo>
                    <a:pt x="737" y="1827"/>
                  </a:lnTo>
                  <a:lnTo>
                    <a:pt x="738" y="1823"/>
                  </a:lnTo>
                  <a:lnTo>
                    <a:pt x="732" y="1822"/>
                  </a:lnTo>
                  <a:lnTo>
                    <a:pt x="728" y="1820"/>
                  </a:lnTo>
                  <a:lnTo>
                    <a:pt x="722" y="1812"/>
                  </a:lnTo>
                  <a:lnTo>
                    <a:pt x="716" y="1803"/>
                  </a:lnTo>
                  <a:lnTo>
                    <a:pt x="711" y="1796"/>
                  </a:lnTo>
                  <a:lnTo>
                    <a:pt x="698" y="1777"/>
                  </a:lnTo>
                  <a:lnTo>
                    <a:pt x="688" y="1761"/>
                  </a:lnTo>
                  <a:lnTo>
                    <a:pt x="681" y="1749"/>
                  </a:lnTo>
                  <a:lnTo>
                    <a:pt x="676" y="1736"/>
                  </a:lnTo>
                  <a:lnTo>
                    <a:pt x="672" y="1723"/>
                  </a:lnTo>
                  <a:lnTo>
                    <a:pt x="672" y="1719"/>
                  </a:lnTo>
                  <a:lnTo>
                    <a:pt x="676" y="1721"/>
                  </a:lnTo>
                  <a:lnTo>
                    <a:pt x="678" y="1720"/>
                  </a:lnTo>
                  <a:lnTo>
                    <a:pt x="678" y="1719"/>
                  </a:lnTo>
                  <a:lnTo>
                    <a:pt x="678" y="1716"/>
                  </a:lnTo>
                  <a:lnTo>
                    <a:pt x="676" y="1714"/>
                  </a:lnTo>
                  <a:lnTo>
                    <a:pt x="674" y="1710"/>
                  </a:lnTo>
                  <a:lnTo>
                    <a:pt x="674" y="1706"/>
                  </a:lnTo>
                  <a:lnTo>
                    <a:pt x="675" y="1688"/>
                  </a:lnTo>
                  <a:lnTo>
                    <a:pt x="675" y="1678"/>
                  </a:lnTo>
                  <a:lnTo>
                    <a:pt x="671" y="1671"/>
                  </a:lnTo>
                  <a:lnTo>
                    <a:pt x="665" y="1666"/>
                  </a:lnTo>
                  <a:lnTo>
                    <a:pt x="665" y="1663"/>
                  </a:lnTo>
                  <a:lnTo>
                    <a:pt x="668" y="1661"/>
                  </a:lnTo>
                  <a:lnTo>
                    <a:pt x="671" y="1658"/>
                  </a:lnTo>
                  <a:lnTo>
                    <a:pt x="675" y="1660"/>
                  </a:lnTo>
                  <a:lnTo>
                    <a:pt x="676" y="1656"/>
                  </a:lnTo>
                  <a:lnTo>
                    <a:pt x="674" y="1654"/>
                  </a:lnTo>
                  <a:lnTo>
                    <a:pt x="668" y="1651"/>
                  </a:lnTo>
                  <a:lnTo>
                    <a:pt x="666" y="1644"/>
                  </a:lnTo>
                  <a:lnTo>
                    <a:pt x="662" y="1635"/>
                  </a:lnTo>
                  <a:lnTo>
                    <a:pt x="658" y="1624"/>
                  </a:lnTo>
                  <a:lnTo>
                    <a:pt x="651" y="1605"/>
                  </a:lnTo>
                  <a:lnTo>
                    <a:pt x="639" y="1594"/>
                  </a:lnTo>
                  <a:lnTo>
                    <a:pt x="631" y="1587"/>
                  </a:lnTo>
                  <a:lnTo>
                    <a:pt x="618" y="1581"/>
                  </a:lnTo>
                  <a:lnTo>
                    <a:pt x="609" y="1580"/>
                  </a:lnTo>
                  <a:lnTo>
                    <a:pt x="605" y="1580"/>
                  </a:lnTo>
                  <a:lnTo>
                    <a:pt x="603" y="1580"/>
                  </a:lnTo>
                  <a:lnTo>
                    <a:pt x="598" y="1582"/>
                  </a:lnTo>
                  <a:lnTo>
                    <a:pt x="593" y="1582"/>
                  </a:lnTo>
                  <a:lnTo>
                    <a:pt x="593" y="1575"/>
                  </a:lnTo>
                  <a:lnTo>
                    <a:pt x="592" y="1574"/>
                  </a:lnTo>
                  <a:lnTo>
                    <a:pt x="592" y="1571"/>
                  </a:lnTo>
                  <a:lnTo>
                    <a:pt x="593" y="1565"/>
                  </a:lnTo>
                  <a:lnTo>
                    <a:pt x="593" y="1557"/>
                  </a:lnTo>
                  <a:lnTo>
                    <a:pt x="593" y="1554"/>
                  </a:lnTo>
                  <a:lnTo>
                    <a:pt x="598" y="1552"/>
                  </a:lnTo>
                  <a:lnTo>
                    <a:pt x="602" y="1554"/>
                  </a:lnTo>
                  <a:lnTo>
                    <a:pt x="605" y="1555"/>
                  </a:lnTo>
                  <a:lnTo>
                    <a:pt x="609" y="1552"/>
                  </a:lnTo>
                  <a:lnTo>
                    <a:pt x="619" y="1545"/>
                  </a:lnTo>
                  <a:lnTo>
                    <a:pt x="623" y="1541"/>
                  </a:lnTo>
                  <a:lnTo>
                    <a:pt x="626" y="1531"/>
                  </a:lnTo>
                  <a:lnTo>
                    <a:pt x="626" y="1522"/>
                  </a:lnTo>
                  <a:lnTo>
                    <a:pt x="622" y="1514"/>
                  </a:lnTo>
                  <a:lnTo>
                    <a:pt x="618" y="1509"/>
                  </a:lnTo>
                  <a:lnTo>
                    <a:pt x="619" y="1505"/>
                  </a:lnTo>
                  <a:lnTo>
                    <a:pt x="618" y="1502"/>
                  </a:lnTo>
                  <a:lnTo>
                    <a:pt x="613" y="1498"/>
                  </a:lnTo>
                  <a:lnTo>
                    <a:pt x="612" y="1495"/>
                  </a:lnTo>
                  <a:lnTo>
                    <a:pt x="612" y="1491"/>
                  </a:lnTo>
                  <a:lnTo>
                    <a:pt x="613" y="1488"/>
                  </a:lnTo>
                  <a:lnTo>
                    <a:pt x="616" y="1487"/>
                  </a:lnTo>
                  <a:lnTo>
                    <a:pt x="619" y="1488"/>
                  </a:lnTo>
                  <a:lnTo>
                    <a:pt x="623" y="1488"/>
                  </a:lnTo>
                  <a:lnTo>
                    <a:pt x="628" y="1482"/>
                  </a:lnTo>
                  <a:lnTo>
                    <a:pt x="635" y="1475"/>
                  </a:lnTo>
                  <a:lnTo>
                    <a:pt x="639" y="1465"/>
                  </a:lnTo>
                  <a:lnTo>
                    <a:pt x="639" y="1458"/>
                  </a:lnTo>
                  <a:lnTo>
                    <a:pt x="642" y="1456"/>
                  </a:lnTo>
                  <a:lnTo>
                    <a:pt x="649" y="1456"/>
                  </a:lnTo>
                  <a:lnTo>
                    <a:pt x="653" y="1456"/>
                  </a:lnTo>
                  <a:lnTo>
                    <a:pt x="655" y="1454"/>
                  </a:lnTo>
                  <a:lnTo>
                    <a:pt x="653" y="1454"/>
                  </a:lnTo>
                  <a:lnTo>
                    <a:pt x="649" y="1454"/>
                  </a:lnTo>
                  <a:lnTo>
                    <a:pt x="646" y="1452"/>
                  </a:lnTo>
                  <a:lnTo>
                    <a:pt x="645" y="1451"/>
                  </a:lnTo>
                  <a:lnTo>
                    <a:pt x="641" y="1454"/>
                  </a:lnTo>
                  <a:lnTo>
                    <a:pt x="638" y="1452"/>
                  </a:lnTo>
                  <a:lnTo>
                    <a:pt x="638" y="1446"/>
                  </a:lnTo>
                  <a:lnTo>
                    <a:pt x="638" y="1439"/>
                  </a:lnTo>
                  <a:lnTo>
                    <a:pt x="638" y="1425"/>
                  </a:lnTo>
                  <a:lnTo>
                    <a:pt x="636" y="1411"/>
                  </a:lnTo>
                  <a:lnTo>
                    <a:pt x="635" y="1393"/>
                  </a:lnTo>
                  <a:lnTo>
                    <a:pt x="636" y="1375"/>
                  </a:lnTo>
                  <a:lnTo>
                    <a:pt x="635" y="1368"/>
                  </a:lnTo>
                  <a:lnTo>
                    <a:pt x="633" y="1355"/>
                  </a:lnTo>
                  <a:lnTo>
                    <a:pt x="632" y="1345"/>
                  </a:lnTo>
                  <a:lnTo>
                    <a:pt x="632" y="1345"/>
                  </a:lnTo>
                  <a:lnTo>
                    <a:pt x="636" y="1343"/>
                  </a:lnTo>
                  <a:lnTo>
                    <a:pt x="636" y="1343"/>
                  </a:lnTo>
                  <a:lnTo>
                    <a:pt x="636" y="1342"/>
                  </a:lnTo>
                  <a:lnTo>
                    <a:pt x="629" y="1342"/>
                  </a:lnTo>
                  <a:lnTo>
                    <a:pt x="628" y="1338"/>
                  </a:lnTo>
                  <a:lnTo>
                    <a:pt x="626" y="1330"/>
                  </a:lnTo>
                  <a:lnTo>
                    <a:pt x="626" y="1325"/>
                  </a:lnTo>
                  <a:lnTo>
                    <a:pt x="625" y="1318"/>
                  </a:lnTo>
                  <a:lnTo>
                    <a:pt x="622" y="1313"/>
                  </a:lnTo>
                  <a:lnTo>
                    <a:pt x="622" y="1305"/>
                  </a:lnTo>
                  <a:lnTo>
                    <a:pt x="621" y="1299"/>
                  </a:lnTo>
                  <a:lnTo>
                    <a:pt x="618" y="1290"/>
                  </a:lnTo>
                  <a:lnTo>
                    <a:pt x="616" y="1286"/>
                  </a:lnTo>
                  <a:lnTo>
                    <a:pt x="615" y="1282"/>
                  </a:lnTo>
                  <a:lnTo>
                    <a:pt x="616" y="1275"/>
                  </a:lnTo>
                  <a:lnTo>
                    <a:pt x="609" y="1263"/>
                  </a:lnTo>
                  <a:lnTo>
                    <a:pt x="603" y="1260"/>
                  </a:lnTo>
                  <a:lnTo>
                    <a:pt x="596" y="1259"/>
                  </a:lnTo>
                  <a:lnTo>
                    <a:pt x="593" y="1253"/>
                  </a:lnTo>
                  <a:lnTo>
                    <a:pt x="593" y="1247"/>
                  </a:lnTo>
                  <a:lnTo>
                    <a:pt x="590" y="1243"/>
                  </a:lnTo>
                  <a:lnTo>
                    <a:pt x="589" y="1237"/>
                  </a:lnTo>
                  <a:lnTo>
                    <a:pt x="588" y="1230"/>
                  </a:lnTo>
                  <a:lnTo>
                    <a:pt x="588" y="1220"/>
                  </a:lnTo>
                  <a:lnTo>
                    <a:pt x="582" y="1213"/>
                  </a:lnTo>
                  <a:lnTo>
                    <a:pt x="580" y="1207"/>
                  </a:lnTo>
                  <a:lnTo>
                    <a:pt x="580" y="1204"/>
                  </a:lnTo>
                  <a:lnTo>
                    <a:pt x="579" y="1197"/>
                  </a:lnTo>
                  <a:lnTo>
                    <a:pt x="579" y="1190"/>
                  </a:lnTo>
                  <a:lnTo>
                    <a:pt x="580" y="1187"/>
                  </a:lnTo>
                  <a:lnTo>
                    <a:pt x="582" y="1183"/>
                  </a:lnTo>
                  <a:lnTo>
                    <a:pt x="580" y="1176"/>
                  </a:lnTo>
                  <a:lnTo>
                    <a:pt x="573" y="1164"/>
                  </a:lnTo>
                  <a:lnTo>
                    <a:pt x="570" y="1160"/>
                  </a:lnTo>
                  <a:lnTo>
                    <a:pt x="566" y="1154"/>
                  </a:lnTo>
                  <a:lnTo>
                    <a:pt x="568" y="1149"/>
                  </a:lnTo>
                  <a:lnTo>
                    <a:pt x="569" y="1141"/>
                  </a:lnTo>
                  <a:lnTo>
                    <a:pt x="569" y="1134"/>
                  </a:lnTo>
                  <a:lnTo>
                    <a:pt x="572" y="1128"/>
                  </a:lnTo>
                  <a:lnTo>
                    <a:pt x="573" y="1120"/>
                  </a:lnTo>
                  <a:lnTo>
                    <a:pt x="570" y="1113"/>
                  </a:lnTo>
                  <a:lnTo>
                    <a:pt x="566" y="1108"/>
                  </a:lnTo>
                  <a:lnTo>
                    <a:pt x="568" y="1100"/>
                  </a:lnTo>
                  <a:lnTo>
                    <a:pt x="568" y="1090"/>
                  </a:lnTo>
                  <a:lnTo>
                    <a:pt x="566" y="1085"/>
                  </a:lnTo>
                  <a:lnTo>
                    <a:pt x="563" y="1077"/>
                  </a:lnTo>
                  <a:lnTo>
                    <a:pt x="562" y="1071"/>
                  </a:lnTo>
                  <a:lnTo>
                    <a:pt x="559" y="1067"/>
                  </a:lnTo>
                  <a:lnTo>
                    <a:pt x="556" y="1060"/>
                  </a:lnTo>
                  <a:lnTo>
                    <a:pt x="555" y="1050"/>
                  </a:lnTo>
                  <a:lnTo>
                    <a:pt x="550" y="1043"/>
                  </a:lnTo>
                  <a:lnTo>
                    <a:pt x="552" y="1037"/>
                  </a:lnTo>
                  <a:lnTo>
                    <a:pt x="553" y="1031"/>
                  </a:lnTo>
                  <a:lnTo>
                    <a:pt x="553" y="1031"/>
                  </a:lnTo>
                  <a:lnTo>
                    <a:pt x="553" y="1022"/>
                  </a:lnTo>
                  <a:lnTo>
                    <a:pt x="550" y="1015"/>
                  </a:lnTo>
                  <a:lnTo>
                    <a:pt x="552" y="1004"/>
                  </a:lnTo>
                  <a:lnTo>
                    <a:pt x="549" y="1001"/>
                  </a:lnTo>
                  <a:lnTo>
                    <a:pt x="547" y="997"/>
                  </a:lnTo>
                  <a:lnTo>
                    <a:pt x="547" y="991"/>
                  </a:lnTo>
                  <a:lnTo>
                    <a:pt x="543" y="987"/>
                  </a:lnTo>
                  <a:lnTo>
                    <a:pt x="539" y="987"/>
                  </a:lnTo>
                  <a:lnTo>
                    <a:pt x="536" y="990"/>
                  </a:lnTo>
                  <a:lnTo>
                    <a:pt x="536" y="992"/>
                  </a:lnTo>
                  <a:lnTo>
                    <a:pt x="532" y="987"/>
                  </a:lnTo>
                  <a:lnTo>
                    <a:pt x="527" y="981"/>
                  </a:lnTo>
                  <a:lnTo>
                    <a:pt x="523" y="975"/>
                  </a:lnTo>
                  <a:lnTo>
                    <a:pt x="523" y="969"/>
                  </a:lnTo>
                  <a:lnTo>
                    <a:pt x="522" y="959"/>
                  </a:lnTo>
                  <a:lnTo>
                    <a:pt x="523" y="952"/>
                  </a:lnTo>
                  <a:lnTo>
                    <a:pt x="525" y="945"/>
                  </a:lnTo>
                  <a:lnTo>
                    <a:pt x="523" y="941"/>
                  </a:lnTo>
                  <a:lnTo>
                    <a:pt x="526" y="937"/>
                  </a:lnTo>
                  <a:lnTo>
                    <a:pt x="529" y="934"/>
                  </a:lnTo>
                  <a:lnTo>
                    <a:pt x="529" y="931"/>
                  </a:lnTo>
                  <a:lnTo>
                    <a:pt x="526" y="925"/>
                  </a:lnTo>
                  <a:lnTo>
                    <a:pt x="526" y="924"/>
                  </a:lnTo>
                  <a:lnTo>
                    <a:pt x="526" y="921"/>
                  </a:lnTo>
                  <a:lnTo>
                    <a:pt x="526" y="919"/>
                  </a:lnTo>
                  <a:lnTo>
                    <a:pt x="527" y="915"/>
                  </a:lnTo>
                  <a:lnTo>
                    <a:pt x="533" y="911"/>
                  </a:lnTo>
                  <a:lnTo>
                    <a:pt x="533" y="906"/>
                  </a:lnTo>
                  <a:lnTo>
                    <a:pt x="535" y="899"/>
                  </a:lnTo>
                  <a:lnTo>
                    <a:pt x="533" y="895"/>
                  </a:lnTo>
                  <a:lnTo>
                    <a:pt x="529" y="888"/>
                  </a:lnTo>
                  <a:lnTo>
                    <a:pt x="525" y="882"/>
                  </a:lnTo>
                  <a:lnTo>
                    <a:pt x="525" y="872"/>
                  </a:lnTo>
                  <a:lnTo>
                    <a:pt x="529" y="871"/>
                  </a:lnTo>
                  <a:lnTo>
                    <a:pt x="535" y="865"/>
                  </a:lnTo>
                  <a:lnTo>
                    <a:pt x="535" y="863"/>
                  </a:lnTo>
                  <a:lnTo>
                    <a:pt x="533" y="863"/>
                  </a:lnTo>
                  <a:lnTo>
                    <a:pt x="530" y="862"/>
                  </a:lnTo>
                  <a:lnTo>
                    <a:pt x="530" y="858"/>
                  </a:lnTo>
                  <a:lnTo>
                    <a:pt x="533" y="856"/>
                  </a:lnTo>
                  <a:lnTo>
                    <a:pt x="537" y="852"/>
                  </a:lnTo>
                  <a:lnTo>
                    <a:pt x="537" y="849"/>
                  </a:lnTo>
                  <a:lnTo>
                    <a:pt x="539" y="848"/>
                  </a:lnTo>
                  <a:lnTo>
                    <a:pt x="540" y="849"/>
                  </a:lnTo>
                  <a:lnTo>
                    <a:pt x="543" y="852"/>
                  </a:lnTo>
                  <a:lnTo>
                    <a:pt x="542" y="848"/>
                  </a:lnTo>
                  <a:lnTo>
                    <a:pt x="542" y="843"/>
                  </a:lnTo>
                  <a:lnTo>
                    <a:pt x="540" y="841"/>
                  </a:lnTo>
                  <a:lnTo>
                    <a:pt x="542" y="835"/>
                  </a:lnTo>
                  <a:lnTo>
                    <a:pt x="543" y="822"/>
                  </a:lnTo>
                  <a:lnTo>
                    <a:pt x="545" y="819"/>
                  </a:lnTo>
                  <a:lnTo>
                    <a:pt x="545" y="816"/>
                  </a:lnTo>
                  <a:lnTo>
                    <a:pt x="545" y="809"/>
                  </a:lnTo>
                  <a:lnTo>
                    <a:pt x="543" y="808"/>
                  </a:lnTo>
                  <a:lnTo>
                    <a:pt x="542" y="808"/>
                  </a:lnTo>
                  <a:lnTo>
                    <a:pt x="540" y="809"/>
                  </a:lnTo>
                  <a:lnTo>
                    <a:pt x="536" y="813"/>
                  </a:lnTo>
                  <a:lnTo>
                    <a:pt x="533" y="813"/>
                  </a:lnTo>
                  <a:lnTo>
                    <a:pt x="529" y="813"/>
                  </a:lnTo>
                  <a:lnTo>
                    <a:pt x="526" y="818"/>
                  </a:lnTo>
                  <a:lnTo>
                    <a:pt x="522" y="818"/>
                  </a:lnTo>
                  <a:lnTo>
                    <a:pt x="522" y="819"/>
                  </a:lnTo>
                  <a:lnTo>
                    <a:pt x="519" y="821"/>
                  </a:lnTo>
                  <a:lnTo>
                    <a:pt x="516" y="819"/>
                  </a:lnTo>
                  <a:lnTo>
                    <a:pt x="516" y="812"/>
                  </a:lnTo>
                  <a:lnTo>
                    <a:pt x="517" y="805"/>
                  </a:lnTo>
                  <a:lnTo>
                    <a:pt x="515" y="803"/>
                  </a:lnTo>
                  <a:lnTo>
                    <a:pt x="510" y="800"/>
                  </a:lnTo>
                  <a:lnTo>
                    <a:pt x="510" y="798"/>
                  </a:lnTo>
                  <a:lnTo>
                    <a:pt x="509" y="788"/>
                  </a:lnTo>
                  <a:lnTo>
                    <a:pt x="509" y="780"/>
                  </a:lnTo>
                  <a:lnTo>
                    <a:pt x="510" y="773"/>
                  </a:lnTo>
                  <a:lnTo>
                    <a:pt x="509" y="769"/>
                  </a:lnTo>
                  <a:lnTo>
                    <a:pt x="506" y="766"/>
                  </a:lnTo>
                  <a:lnTo>
                    <a:pt x="503" y="762"/>
                  </a:lnTo>
                  <a:lnTo>
                    <a:pt x="502" y="762"/>
                  </a:lnTo>
                  <a:lnTo>
                    <a:pt x="499" y="756"/>
                  </a:lnTo>
                  <a:lnTo>
                    <a:pt x="497" y="753"/>
                  </a:lnTo>
                  <a:lnTo>
                    <a:pt x="494" y="750"/>
                  </a:lnTo>
                  <a:lnTo>
                    <a:pt x="489" y="747"/>
                  </a:lnTo>
                  <a:lnTo>
                    <a:pt x="484" y="749"/>
                  </a:lnTo>
                  <a:lnTo>
                    <a:pt x="480" y="749"/>
                  </a:lnTo>
                  <a:lnTo>
                    <a:pt x="479" y="749"/>
                  </a:lnTo>
                  <a:lnTo>
                    <a:pt x="476" y="752"/>
                  </a:lnTo>
                  <a:lnTo>
                    <a:pt x="474" y="753"/>
                  </a:lnTo>
                  <a:lnTo>
                    <a:pt x="476" y="758"/>
                  </a:lnTo>
                  <a:lnTo>
                    <a:pt x="477" y="760"/>
                  </a:lnTo>
                  <a:lnTo>
                    <a:pt x="474" y="762"/>
                  </a:lnTo>
                  <a:lnTo>
                    <a:pt x="469" y="759"/>
                  </a:lnTo>
                  <a:lnTo>
                    <a:pt x="466" y="755"/>
                  </a:lnTo>
                  <a:lnTo>
                    <a:pt x="464" y="749"/>
                  </a:lnTo>
                  <a:lnTo>
                    <a:pt x="460" y="743"/>
                  </a:lnTo>
                  <a:lnTo>
                    <a:pt x="453" y="737"/>
                  </a:lnTo>
                  <a:lnTo>
                    <a:pt x="450" y="735"/>
                  </a:lnTo>
                  <a:lnTo>
                    <a:pt x="450" y="729"/>
                  </a:lnTo>
                  <a:lnTo>
                    <a:pt x="449" y="723"/>
                  </a:lnTo>
                  <a:lnTo>
                    <a:pt x="449" y="717"/>
                  </a:lnTo>
                  <a:lnTo>
                    <a:pt x="441" y="710"/>
                  </a:lnTo>
                  <a:lnTo>
                    <a:pt x="437" y="707"/>
                  </a:lnTo>
                  <a:lnTo>
                    <a:pt x="431" y="706"/>
                  </a:lnTo>
                  <a:lnTo>
                    <a:pt x="427" y="700"/>
                  </a:lnTo>
                  <a:lnTo>
                    <a:pt x="423" y="696"/>
                  </a:lnTo>
                  <a:lnTo>
                    <a:pt x="417" y="692"/>
                  </a:lnTo>
                  <a:lnTo>
                    <a:pt x="411" y="690"/>
                  </a:lnTo>
                  <a:lnTo>
                    <a:pt x="409" y="686"/>
                  </a:lnTo>
                  <a:lnTo>
                    <a:pt x="401" y="682"/>
                  </a:lnTo>
                  <a:lnTo>
                    <a:pt x="397" y="679"/>
                  </a:lnTo>
                  <a:lnTo>
                    <a:pt x="396" y="677"/>
                  </a:lnTo>
                  <a:lnTo>
                    <a:pt x="393" y="674"/>
                  </a:lnTo>
                  <a:lnTo>
                    <a:pt x="389" y="673"/>
                  </a:lnTo>
                  <a:lnTo>
                    <a:pt x="386" y="669"/>
                  </a:lnTo>
                  <a:lnTo>
                    <a:pt x="380" y="666"/>
                  </a:lnTo>
                  <a:lnTo>
                    <a:pt x="378" y="662"/>
                  </a:lnTo>
                  <a:lnTo>
                    <a:pt x="378" y="657"/>
                  </a:lnTo>
                  <a:lnTo>
                    <a:pt x="377" y="653"/>
                  </a:lnTo>
                  <a:lnTo>
                    <a:pt x="376" y="649"/>
                  </a:lnTo>
                  <a:lnTo>
                    <a:pt x="376" y="644"/>
                  </a:lnTo>
                  <a:lnTo>
                    <a:pt x="377" y="643"/>
                  </a:lnTo>
                  <a:lnTo>
                    <a:pt x="377" y="637"/>
                  </a:lnTo>
                  <a:lnTo>
                    <a:pt x="376" y="634"/>
                  </a:lnTo>
                  <a:lnTo>
                    <a:pt x="374" y="631"/>
                  </a:lnTo>
                  <a:lnTo>
                    <a:pt x="374" y="629"/>
                  </a:lnTo>
                  <a:lnTo>
                    <a:pt x="374" y="626"/>
                  </a:lnTo>
                  <a:lnTo>
                    <a:pt x="373" y="623"/>
                  </a:lnTo>
                  <a:lnTo>
                    <a:pt x="373" y="620"/>
                  </a:lnTo>
                  <a:lnTo>
                    <a:pt x="374" y="617"/>
                  </a:lnTo>
                  <a:lnTo>
                    <a:pt x="373" y="613"/>
                  </a:lnTo>
                  <a:lnTo>
                    <a:pt x="383" y="603"/>
                  </a:lnTo>
                  <a:lnTo>
                    <a:pt x="389" y="601"/>
                  </a:lnTo>
                  <a:lnTo>
                    <a:pt x="393" y="600"/>
                  </a:lnTo>
                  <a:lnTo>
                    <a:pt x="397" y="591"/>
                  </a:lnTo>
                  <a:lnTo>
                    <a:pt x="404" y="589"/>
                  </a:lnTo>
                  <a:lnTo>
                    <a:pt x="410" y="584"/>
                  </a:lnTo>
                  <a:lnTo>
                    <a:pt x="416" y="584"/>
                  </a:lnTo>
                  <a:lnTo>
                    <a:pt x="423" y="584"/>
                  </a:lnTo>
                  <a:lnTo>
                    <a:pt x="421" y="581"/>
                  </a:lnTo>
                  <a:lnTo>
                    <a:pt x="416" y="580"/>
                  </a:lnTo>
                  <a:lnTo>
                    <a:pt x="416" y="580"/>
                  </a:lnTo>
                  <a:lnTo>
                    <a:pt x="414" y="578"/>
                  </a:lnTo>
                  <a:lnTo>
                    <a:pt x="409" y="580"/>
                  </a:lnTo>
                  <a:lnTo>
                    <a:pt x="404" y="581"/>
                  </a:lnTo>
                  <a:lnTo>
                    <a:pt x="400" y="584"/>
                  </a:lnTo>
                  <a:lnTo>
                    <a:pt x="396" y="586"/>
                  </a:lnTo>
                  <a:lnTo>
                    <a:pt x="394" y="583"/>
                  </a:lnTo>
                  <a:lnTo>
                    <a:pt x="397" y="577"/>
                  </a:lnTo>
                  <a:lnTo>
                    <a:pt x="401" y="568"/>
                  </a:lnTo>
                  <a:lnTo>
                    <a:pt x="406" y="566"/>
                  </a:lnTo>
                  <a:lnTo>
                    <a:pt x="411" y="561"/>
                  </a:lnTo>
                  <a:lnTo>
                    <a:pt x="416" y="554"/>
                  </a:lnTo>
                  <a:lnTo>
                    <a:pt x="416" y="551"/>
                  </a:lnTo>
                  <a:lnTo>
                    <a:pt x="414" y="551"/>
                  </a:lnTo>
                  <a:lnTo>
                    <a:pt x="409" y="558"/>
                  </a:lnTo>
                  <a:lnTo>
                    <a:pt x="404" y="561"/>
                  </a:lnTo>
                  <a:lnTo>
                    <a:pt x="396" y="568"/>
                  </a:lnTo>
                  <a:lnTo>
                    <a:pt x="393" y="574"/>
                  </a:lnTo>
                  <a:lnTo>
                    <a:pt x="389" y="583"/>
                  </a:lnTo>
                  <a:lnTo>
                    <a:pt x="380" y="587"/>
                  </a:lnTo>
                  <a:lnTo>
                    <a:pt x="370" y="591"/>
                  </a:lnTo>
                  <a:lnTo>
                    <a:pt x="366" y="597"/>
                  </a:lnTo>
                  <a:lnTo>
                    <a:pt x="361" y="597"/>
                  </a:lnTo>
                  <a:lnTo>
                    <a:pt x="358" y="596"/>
                  </a:lnTo>
                  <a:lnTo>
                    <a:pt x="351" y="596"/>
                  </a:lnTo>
                  <a:lnTo>
                    <a:pt x="350" y="596"/>
                  </a:lnTo>
                  <a:lnTo>
                    <a:pt x="344" y="596"/>
                  </a:lnTo>
                  <a:lnTo>
                    <a:pt x="343" y="596"/>
                  </a:lnTo>
                  <a:lnTo>
                    <a:pt x="341" y="597"/>
                  </a:lnTo>
                  <a:lnTo>
                    <a:pt x="334" y="603"/>
                  </a:lnTo>
                  <a:lnTo>
                    <a:pt x="333" y="607"/>
                  </a:lnTo>
                  <a:lnTo>
                    <a:pt x="333" y="611"/>
                  </a:lnTo>
                  <a:lnTo>
                    <a:pt x="333" y="617"/>
                  </a:lnTo>
                  <a:lnTo>
                    <a:pt x="330" y="620"/>
                  </a:lnTo>
                  <a:lnTo>
                    <a:pt x="325" y="626"/>
                  </a:lnTo>
                  <a:lnTo>
                    <a:pt x="324" y="634"/>
                  </a:lnTo>
                  <a:lnTo>
                    <a:pt x="323" y="639"/>
                  </a:lnTo>
                  <a:lnTo>
                    <a:pt x="325" y="642"/>
                  </a:lnTo>
                  <a:lnTo>
                    <a:pt x="328" y="643"/>
                  </a:lnTo>
                  <a:lnTo>
                    <a:pt x="328" y="644"/>
                  </a:lnTo>
                  <a:lnTo>
                    <a:pt x="325" y="644"/>
                  </a:lnTo>
                  <a:lnTo>
                    <a:pt x="321" y="649"/>
                  </a:lnTo>
                  <a:lnTo>
                    <a:pt x="320" y="650"/>
                  </a:lnTo>
                  <a:lnTo>
                    <a:pt x="315" y="660"/>
                  </a:lnTo>
                  <a:lnTo>
                    <a:pt x="313" y="667"/>
                  </a:lnTo>
                  <a:lnTo>
                    <a:pt x="313" y="672"/>
                  </a:lnTo>
                  <a:lnTo>
                    <a:pt x="310" y="679"/>
                  </a:lnTo>
                  <a:lnTo>
                    <a:pt x="307" y="689"/>
                  </a:lnTo>
                  <a:lnTo>
                    <a:pt x="305" y="694"/>
                  </a:lnTo>
                  <a:lnTo>
                    <a:pt x="307" y="697"/>
                  </a:lnTo>
                  <a:lnTo>
                    <a:pt x="308" y="697"/>
                  </a:lnTo>
                  <a:lnTo>
                    <a:pt x="311" y="696"/>
                  </a:lnTo>
                  <a:lnTo>
                    <a:pt x="314" y="697"/>
                  </a:lnTo>
                  <a:lnTo>
                    <a:pt x="314" y="700"/>
                  </a:lnTo>
                  <a:lnTo>
                    <a:pt x="314" y="705"/>
                  </a:lnTo>
                  <a:lnTo>
                    <a:pt x="314" y="706"/>
                  </a:lnTo>
                  <a:lnTo>
                    <a:pt x="315" y="706"/>
                  </a:lnTo>
                  <a:lnTo>
                    <a:pt x="318" y="705"/>
                  </a:lnTo>
                  <a:lnTo>
                    <a:pt x="320" y="705"/>
                  </a:lnTo>
                  <a:lnTo>
                    <a:pt x="321" y="706"/>
                  </a:lnTo>
                  <a:lnTo>
                    <a:pt x="324" y="707"/>
                  </a:lnTo>
                  <a:lnTo>
                    <a:pt x="327" y="706"/>
                  </a:lnTo>
                  <a:lnTo>
                    <a:pt x="327" y="706"/>
                  </a:lnTo>
                  <a:lnTo>
                    <a:pt x="328" y="703"/>
                  </a:lnTo>
                  <a:lnTo>
                    <a:pt x="331" y="702"/>
                  </a:lnTo>
                  <a:lnTo>
                    <a:pt x="334" y="702"/>
                  </a:lnTo>
                  <a:lnTo>
                    <a:pt x="336" y="705"/>
                  </a:lnTo>
                  <a:lnTo>
                    <a:pt x="336" y="706"/>
                  </a:lnTo>
                  <a:lnTo>
                    <a:pt x="334" y="707"/>
                  </a:lnTo>
                  <a:lnTo>
                    <a:pt x="333" y="710"/>
                  </a:lnTo>
                  <a:lnTo>
                    <a:pt x="333" y="710"/>
                  </a:lnTo>
                  <a:lnTo>
                    <a:pt x="333" y="712"/>
                  </a:lnTo>
                  <a:lnTo>
                    <a:pt x="334" y="715"/>
                  </a:lnTo>
                  <a:lnTo>
                    <a:pt x="334" y="717"/>
                  </a:lnTo>
                  <a:lnTo>
                    <a:pt x="336" y="723"/>
                  </a:lnTo>
                  <a:lnTo>
                    <a:pt x="337" y="727"/>
                  </a:lnTo>
                  <a:lnTo>
                    <a:pt x="341" y="732"/>
                  </a:lnTo>
                  <a:lnTo>
                    <a:pt x="348" y="736"/>
                  </a:lnTo>
                  <a:lnTo>
                    <a:pt x="350" y="736"/>
                  </a:lnTo>
                  <a:lnTo>
                    <a:pt x="353" y="737"/>
                  </a:lnTo>
                  <a:lnTo>
                    <a:pt x="356" y="742"/>
                  </a:lnTo>
                  <a:lnTo>
                    <a:pt x="358" y="742"/>
                  </a:lnTo>
                  <a:lnTo>
                    <a:pt x="360" y="740"/>
                  </a:lnTo>
                  <a:lnTo>
                    <a:pt x="364" y="739"/>
                  </a:lnTo>
                  <a:lnTo>
                    <a:pt x="364" y="742"/>
                  </a:lnTo>
                  <a:lnTo>
                    <a:pt x="364" y="746"/>
                  </a:lnTo>
                  <a:lnTo>
                    <a:pt x="368" y="749"/>
                  </a:lnTo>
                  <a:lnTo>
                    <a:pt x="373" y="755"/>
                  </a:lnTo>
                  <a:lnTo>
                    <a:pt x="377" y="762"/>
                  </a:lnTo>
                  <a:lnTo>
                    <a:pt x="378" y="763"/>
                  </a:lnTo>
                  <a:lnTo>
                    <a:pt x="381" y="766"/>
                  </a:lnTo>
                  <a:lnTo>
                    <a:pt x="381" y="769"/>
                  </a:lnTo>
                  <a:lnTo>
                    <a:pt x="386" y="772"/>
                  </a:lnTo>
                  <a:lnTo>
                    <a:pt x="387" y="775"/>
                  </a:lnTo>
                  <a:lnTo>
                    <a:pt x="387" y="776"/>
                  </a:lnTo>
                  <a:lnTo>
                    <a:pt x="391" y="776"/>
                  </a:lnTo>
                  <a:lnTo>
                    <a:pt x="394" y="776"/>
                  </a:lnTo>
                  <a:lnTo>
                    <a:pt x="399" y="773"/>
                  </a:lnTo>
                  <a:lnTo>
                    <a:pt x="401" y="773"/>
                  </a:lnTo>
                  <a:lnTo>
                    <a:pt x="407" y="770"/>
                  </a:lnTo>
                  <a:lnTo>
                    <a:pt x="407" y="768"/>
                  </a:lnTo>
                  <a:lnTo>
                    <a:pt x="410" y="763"/>
                  </a:lnTo>
                  <a:lnTo>
                    <a:pt x="416" y="762"/>
                  </a:lnTo>
                  <a:lnTo>
                    <a:pt x="420" y="763"/>
                  </a:lnTo>
                  <a:lnTo>
                    <a:pt x="420" y="765"/>
                  </a:lnTo>
                  <a:lnTo>
                    <a:pt x="421" y="768"/>
                  </a:lnTo>
                  <a:lnTo>
                    <a:pt x="424" y="769"/>
                  </a:lnTo>
                  <a:lnTo>
                    <a:pt x="423" y="772"/>
                  </a:lnTo>
                  <a:lnTo>
                    <a:pt x="420" y="776"/>
                  </a:lnTo>
                  <a:lnTo>
                    <a:pt x="421" y="778"/>
                  </a:lnTo>
                  <a:lnTo>
                    <a:pt x="426" y="779"/>
                  </a:lnTo>
                  <a:lnTo>
                    <a:pt x="424" y="780"/>
                  </a:lnTo>
                  <a:lnTo>
                    <a:pt x="421" y="780"/>
                  </a:lnTo>
                  <a:lnTo>
                    <a:pt x="420" y="782"/>
                  </a:lnTo>
                  <a:lnTo>
                    <a:pt x="420" y="783"/>
                  </a:lnTo>
                  <a:lnTo>
                    <a:pt x="420" y="786"/>
                  </a:lnTo>
                  <a:lnTo>
                    <a:pt x="420" y="788"/>
                  </a:lnTo>
                  <a:lnTo>
                    <a:pt x="424" y="790"/>
                  </a:lnTo>
                  <a:lnTo>
                    <a:pt x="429" y="792"/>
                  </a:lnTo>
                  <a:lnTo>
                    <a:pt x="429" y="793"/>
                  </a:lnTo>
                  <a:lnTo>
                    <a:pt x="429" y="796"/>
                  </a:lnTo>
                  <a:lnTo>
                    <a:pt x="430" y="799"/>
                  </a:lnTo>
                  <a:lnTo>
                    <a:pt x="430" y="800"/>
                  </a:lnTo>
                  <a:lnTo>
                    <a:pt x="429" y="802"/>
                  </a:lnTo>
                  <a:lnTo>
                    <a:pt x="426" y="802"/>
                  </a:lnTo>
                  <a:lnTo>
                    <a:pt x="424" y="802"/>
                  </a:lnTo>
                  <a:lnTo>
                    <a:pt x="423" y="802"/>
                  </a:lnTo>
                  <a:lnTo>
                    <a:pt x="421" y="802"/>
                  </a:lnTo>
                  <a:lnTo>
                    <a:pt x="420" y="800"/>
                  </a:lnTo>
                  <a:lnTo>
                    <a:pt x="417" y="800"/>
                  </a:lnTo>
                  <a:lnTo>
                    <a:pt x="416" y="800"/>
                  </a:lnTo>
                  <a:lnTo>
                    <a:pt x="416" y="802"/>
                  </a:lnTo>
                  <a:lnTo>
                    <a:pt x="413" y="803"/>
                  </a:lnTo>
                  <a:lnTo>
                    <a:pt x="411" y="802"/>
                  </a:lnTo>
                  <a:lnTo>
                    <a:pt x="411" y="800"/>
                  </a:lnTo>
                  <a:lnTo>
                    <a:pt x="410" y="802"/>
                  </a:lnTo>
                  <a:lnTo>
                    <a:pt x="410" y="803"/>
                  </a:lnTo>
                  <a:lnTo>
                    <a:pt x="409" y="803"/>
                  </a:lnTo>
                  <a:lnTo>
                    <a:pt x="409" y="802"/>
                  </a:lnTo>
                  <a:lnTo>
                    <a:pt x="409" y="796"/>
                  </a:lnTo>
                  <a:lnTo>
                    <a:pt x="406" y="793"/>
                  </a:lnTo>
                  <a:lnTo>
                    <a:pt x="404" y="793"/>
                  </a:lnTo>
                  <a:lnTo>
                    <a:pt x="399" y="793"/>
                  </a:lnTo>
                  <a:lnTo>
                    <a:pt x="396" y="793"/>
                  </a:lnTo>
                  <a:lnTo>
                    <a:pt x="394" y="796"/>
                  </a:lnTo>
                  <a:lnTo>
                    <a:pt x="391" y="800"/>
                  </a:lnTo>
                  <a:lnTo>
                    <a:pt x="393" y="805"/>
                  </a:lnTo>
                  <a:lnTo>
                    <a:pt x="391" y="809"/>
                  </a:lnTo>
                  <a:lnTo>
                    <a:pt x="393" y="812"/>
                  </a:lnTo>
                  <a:lnTo>
                    <a:pt x="394" y="812"/>
                  </a:lnTo>
                  <a:lnTo>
                    <a:pt x="397" y="813"/>
                  </a:lnTo>
                  <a:lnTo>
                    <a:pt x="400" y="813"/>
                  </a:lnTo>
                  <a:lnTo>
                    <a:pt x="400" y="811"/>
                  </a:lnTo>
                  <a:lnTo>
                    <a:pt x="401" y="808"/>
                  </a:lnTo>
                  <a:lnTo>
                    <a:pt x="404" y="806"/>
                  </a:lnTo>
                  <a:lnTo>
                    <a:pt x="406" y="806"/>
                  </a:lnTo>
                  <a:lnTo>
                    <a:pt x="406" y="811"/>
                  </a:lnTo>
                  <a:lnTo>
                    <a:pt x="404" y="812"/>
                  </a:lnTo>
                  <a:lnTo>
                    <a:pt x="403" y="815"/>
                  </a:lnTo>
                  <a:lnTo>
                    <a:pt x="401" y="816"/>
                  </a:lnTo>
                  <a:lnTo>
                    <a:pt x="397" y="816"/>
                  </a:lnTo>
                  <a:lnTo>
                    <a:pt x="396" y="818"/>
                  </a:lnTo>
                  <a:lnTo>
                    <a:pt x="393" y="818"/>
                  </a:lnTo>
                  <a:lnTo>
                    <a:pt x="383" y="823"/>
                  </a:lnTo>
                  <a:lnTo>
                    <a:pt x="380" y="821"/>
                  </a:lnTo>
                  <a:lnTo>
                    <a:pt x="377" y="816"/>
                  </a:lnTo>
                  <a:lnTo>
                    <a:pt x="376" y="813"/>
                  </a:lnTo>
                  <a:lnTo>
                    <a:pt x="371" y="812"/>
                  </a:lnTo>
                  <a:lnTo>
                    <a:pt x="370" y="813"/>
                  </a:lnTo>
                  <a:lnTo>
                    <a:pt x="366" y="813"/>
                  </a:lnTo>
                  <a:lnTo>
                    <a:pt x="364" y="809"/>
                  </a:lnTo>
                  <a:lnTo>
                    <a:pt x="364" y="806"/>
                  </a:lnTo>
                  <a:lnTo>
                    <a:pt x="360" y="806"/>
                  </a:lnTo>
                  <a:lnTo>
                    <a:pt x="354" y="809"/>
                  </a:lnTo>
                  <a:lnTo>
                    <a:pt x="347" y="806"/>
                  </a:lnTo>
                  <a:lnTo>
                    <a:pt x="343" y="805"/>
                  </a:lnTo>
                  <a:lnTo>
                    <a:pt x="340" y="802"/>
                  </a:lnTo>
                  <a:lnTo>
                    <a:pt x="343" y="795"/>
                  </a:lnTo>
                  <a:lnTo>
                    <a:pt x="343" y="789"/>
                  </a:lnTo>
                  <a:lnTo>
                    <a:pt x="341" y="785"/>
                  </a:lnTo>
                  <a:lnTo>
                    <a:pt x="337" y="780"/>
                  </a:lnTo>
                  <a:lnTo>
                    <a:pt x="330" y="780"/>
                  </a:lnTo>
                  <a:lnTo>
                    <a:pt x="321" y="785"/>
                  </a:lnTo>
                  <a:lnTo>
                    <a:pt x="315" y="793"/>
                  </a:lnTo>
                  <a:lnTo>
                    <a:pt x="308" y="793"/>
                  </a:lnTo>
                  <a:lnTo>
                    <a:pt x="305" y="792"/>
                  </a:lnTo>
                  <a:lnTo>
                    <a:pt x="304" y="786"/>
                  </a:lnTo>
                  <a:lnTo>
                    <a:pt x="305" y="770"/>
                  </a:lnTo>
                  <a:lnTo>
                    <a:pt x="308" y="768"/>
                  </a:lnTo>
                  <a:lnTo>
                    <a:pt x="313" y="759"/>
                  </a:lnTo>
                  <a:lnTo>
                    <a:pt x="313" y="746"/>
                  </a:lnTo>
                  <a:lnTo>
                    <a:pt x="313" y="742"/>
                  </a:lnTo>
                  <a:lnTo>
                    <a:pt x="305" y="733"/>
                  </a:lnTo>
                  <a:lnTo>
                    <a:pt x="297" y="726"/>
                  </a:lnTo>
                  <a:lnTo>
                    <a:pt x="291" y="723"/>
                  </a:lnTo>
                  <a:lnTo>
                    <a:pt x="284" y="723"/>
                  </a:lnTo>
                  <a:lnTo>
                    <a:pt x="277" y="722"/>
                  </a:lnTo>
                  <a:lnTo>
                    <a:pt x="274" y="717"/>
                  </a:lnTo>
                  <a:lnTo>
                    <a:pt x="271" y="707"/>
                  </a:lnTo>
                  <a:lnTo>
                    <a:pt x="270" y="703"/>
                  </a:lnTo>
                  <a:lnTo>
                    <a:pt x="268" y="702"/>
                  </a:lnTo>
                  <a:lnTo>
                    <a:pt x="262" y="702"/>
                  </a:lnTo>
                  <a:lnTo>
                    <a:pt x="261" y="703"/>
                  </a:lnTo>
                  <a:lnTo>
                    <a:pt x="255" y="709"/>
                  </a:lnTo>
                  <a:lnTo>
                    <a:pt x="250" y="710"/>
                  </a:lnTo>
                  <a:lnTo>
                    <a:pt x="245" y="707"/>
                  </a:lnTo>
                  <a:lnTo>
                    <a:pt x="242" y="703"/>
                  </a:lnTo>
                  <a:lnTo>
                    <a:pt x="235" y="705"/>
                  </a:lnTo>
                  <a:lnTo>
                    <a:pt x="232" y="706"/>
                  </a:lnTo>
                  <a:lnTo>
                    <a:pt x="232" y="710"/>
                  </a:lnTo>
                  <a:lnTo>
                    <a:pt x="231" y="712"/>
                  </a:lnTo>
                  <a:lnTo>
                    <a:pt x="225" y="712"/>
                  </a:lnTo>
                  <a:lnTo>
                    <a:pt x="214" y="713"/>
                  </a:lnTo>
                  <a:lnTo>
                    <a:pt x="209" y="712"/>
                  </a:lnTo>
                  <a:lnTo>
                    <a:pt x="204" y="705"/>
                  </a:lnTo>
                  <a:lnTo>
                    <a:pt x="198" y="700"/>
                  </a:lnTo>
                  <a:lnTo>
                    <a:pt x="194" y="699"/>
                  </a:lnTo>
                  <a:lnTo>
                    <a:pt x="192" y="693"/>
                  </a:lnTo>
                  <a:lnTo>
                    <a:pt x="189" y="687"/>
                  </a:lnTo>
                  <a:lnTo>
                    <a:pt x="192" y="686"/>
                  </a:lnTo>
                  <a:lnTo>
                    <a:pt x="197" y="683"/>
                  </a:lnTo>
                  <a:lnTo>
                    <a:pt x="198" y="680"/>
                  </a:lnTo>
                  <a:lnTo>
                    <a:pt x="192" y="672"/>
                  </a:lnTo>
                  <a:lnTo>
                    <a:pt x="192" y="667"/>
                  </a:lnTo>
                  <a:lnTo>
                    <a:pt x="195" y="660"/>
                  </a:lnTo>
                  <a:lnTo>
                    <a:pt x="195" y="656"/>
                  </a:lnTo>
                  <a:lnTo>
                    <a:pt x="191" y="653"/>
                  </a:lnTo>
                  <a:lnTo>
                    <a:pt x="185" y="653"/>
                  </a:lnTo>
                  <a:lnTo>
                    <a:pt x="178" y="650"/>
                  </a:lnTo>
                  <a:lnTo>
                    <a:pt x="172" y="649"/>
                  </a:lnTo>
                  <a:lnTo>
                    <a:pt x="167" y="649"/>
                  </a:lnTo>
                  <a:lnTo>
                    <a:pt x="165" y="644"/>
                  </a:lnTo>
                  <a:lnTo>
                    <a:pt x="167" y="640"/>
                  </a:lnTo>
                  <a:lnTo>
                    <a:pt x="165" y="627"/>
                  </a:lnTo>
                  <a:lnTo>
                    <a:pt x="159" y="614"/>
                  </a:lnTo>
                  <a:lnTo>
                    <a:pt x="152" y="607"/>
                  </a:lnTo>
                  <a:lnTo>
                    <a:pt x="146" y="607"/>
                  </a:lnTo>
                  <a:lnTo>
                    <a:pt x="142" y="607"/>
                  </a:lnTo>
                  <a:lnTo>
                    <a:pt x="136" y="609"/>
                  </a:lnTo>
                  <a:lnTo>
                    <a:pt x="134" y="606"/>
                  </a:lnTo>
                  <a:lnTo>
                    <a:pt x="128" y="606"/>
                  </a:lnTo>
                  <a:lnTo>
                    <a:pt x="124" y="610"/>
                  </a:lnTo>
                  <a:lnTo>
                    <a:pt x="119" y="610"/>
                  </a:lnTo>
                  <a:lnTo>
                    <a:pt x="114" y="607"/>
                  </a:lnTo>
                  <a:lnTo>
                    <a:pt x="109" y="600"/>
                  </a:lnTo>
                  <a:lnTo>
                    <a:pt x="109" y="593"/>
                  </a:lnTo>
                  <a:lnTo>
                    <a:pt x="111" y="589"/>
                  </a:lnTo>
                  <a:lnTo>
                    <a:pt x="106" y="587"/>
                  </a:lnTo>
                  <a:lnTo>
                    <a:pt x="103" y="589"/>
                  </a:lnTo>
                  <a:lnTo>
                    <a:pt x="101" y="583"/>
                  </a:lnTo>
                  <a:lnTo>
                    <a:pt x="95" y="580"/>
                  </a:lnTo>
                  <a:lnTo>
                    <a:pt x="86" y="580"/>
                  </a:lnTo>
                  <a:lnTo>
                    <a:pt x="82" y="580"/>
                  </a:lnTo>
                  <a:lnTo>
                    <a:pt x="79" y="573"/>
                  </a:lnTo>
                  <a:lnTo>
                    <a:pt x="73" y="573"/>
                  </a:lnTo>
                  <a:lnTo>
                    <a:pt x="71" y="571"/>
                  </a:lnTo>
                  <a:lnTo>
                    <a:pt x="71" y="564"/>
                  </a:lnTo>
                  <a:lnTo>
                    <a:pt x="71" y="558"/>
                  </a:lnTo>
                  <a:lnTo>
                    <a:pt x="79" y="550"/>
                  </a:lnTo>
                  <a:lnTo>
                    <a:pt x="81" y="546"/>
                  </a:lnTo>
                  <a:lnTo>
                    <a:pt x="76" y="538"/>
                  </a:lnTo>
                  <a:lnTo>
                    <a:pt x="73" y="536"/>
                  </a:lnTo>
                  <a:lnTo>
                    <a:pt x="72" y="531"/>
                  </a:lnTo>
                  <a:lnTo>
                    <a:pt x="72" y="525"/>
                  </a:lnTo>
                  <a:lnTo>
                    <a:pt x="69" y="521"/>
                  </a:lnTo>
                  <a:lnTo>
                    <a:pt x="71" y="515"/>
                  </a:lnTo>
                  <a:lnTo>
                    <a:pt x="69" y="510"/>
                  </a:lnTo>
                  <a:lnTo>
                    <a:pt x="65" y="511"/>
                  </a:lnTo>
                  <a:lnTo>
                    <a:pt x="61" y="511"/>
                  </a:lnTo>
                  <a:lnTo>
                    <a:pt x="53" y="510"/>
                  </a:lnTo>
                  <a:lnTo>
                    <a:pt x="48" y="511"/>
                  </a:lnTo>
                  <a:lnTo>
                    <a:pt x="35" y="508"/>
                  </a:lnTo>
                  <a:lnTo>
                    <a:pt x="30" y="507"/>
                  </a:lnTo>
                  <a:lnTo>
                    <a:pt x="25" y="500"/>
                  </a:lnTo>
                  <a:lnTo>
                    <a:pt x="19" y="494"/>
                  </a:lnTo>
                  <a:lnTo>
                    <a:pt x="10" y="495"/>
                  </a:lnTo>
                  <a:lnTo>
                    <a:pt x="2" y="49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74" name="Freeform 222"/>
            <p:cNvSpPr>
              <a:spLocks/>
            </p:cNvSpPr>
            <p:nvPr/>
          </p:nvSpPr>
          <p:spPr bwMode="auto">
            <a:xfrm>
              <a:off x="8131621" y="3015701"/>
              <a:ext cx="6106" cy="6615"/>
            </a:xfrm>
            <a:custGeom>
              <a:avLst/>
              <a:gdLst>
                <a:gd name="T0" fmla="*/ 9 w 10"/>
                <a:gd name="T1" fmla="*/ 0 h 10"/>
                <a:gd name="T2" fmla="*/ 4 w 10"/>
                <a:gd name="T3" fmla="*/ 3 h 10"/>
                <a:gd name="T4" fmla="*/ 2 w 10"/>
                <a:gd name="T5" fmla="*/ 4 h 10"/>
                <a:gd name="T6" fmla="*/ 0 w 10"/>
                <a:gd name="T7" fmla="*/ 4 h 10"/>
                <a:gd name="T8" fmla="*/ 0 w 10"/>
                <a:gd name="T9" fmla="*/ 6 h 10"/>
                <a:gd name="T10" fmla="*/ 0 w 10"/>
                <a:gd name="T11" fmla="*/ 9 h 10"/>
                <a:gd name="T12" fmla="*/ 0 w 10"/>
                <a:gd name="T13" fmla="*/ 10 h 10"/>
                <a:gd name="T14" fmla="*/ 3 w 10"/>
                <a:gd name="T15" fmla="*/ 10 h 10"/>
                <a:gd name="T16" fmla="*/ 6 w 10"/>
                <a:gd name="T17" fmla="*/ 7 h 10"/>
                <a:gd name="T18" fmla="*/ 9 w 10"/>
                <a:gd name="T19" fmla="*/ 4 h 10"/>
                <a:gd name="T20" fmla="*/ 10 w 10"/>
                <a:gd name="T21" fmla="*/ 2 h 10"/>
                <a:gd name="T22" fmla="*/ 9 w 10"/>
                <a:gd name="T23" fmla="*/ 0 h 10"/>
                <a:gd name="T24" fmla="*/ 9 w 10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0">
                  <a:moveTo>
                    <a:pt x="9" y="0"/>
                  </a:moveTo>
                  <a:lnTo>
                    <a:pt x="4" y="3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6" y="7"/>
                  </a:lnTo>
                  <a:lnTo>
                    <a:pt x="9" y="4"/>
                  </a:lnTo>
                  <a:lnTo>
                    <a:pt x="10" y="2"/>
                  </a:lnTo>
                  <a:lnTo>
                    <a:pt x="9" y="0"/>
                  </a:lnTo>
                  <a:lnTo>
                    <a:pt x="9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75" name="Freeform 223"/>
            <p:cNvSpPr>
              <a:spLocks/>
            </p:cNvSpPr>
            <p:nvPr/>
          </p:nvSpPr>
          <p:spPr bwMode="auto">
            <a:xfrm>
              <a:off x="8153602" y="3005117"/>
              <a:ext cx="2442" cy="2646"/>
            </a:xfrm>
            <a:custGeom>
              <a:avLst/>
              <a:gdLst>
                <a:gd name="T0" fmla="*/ 2 w 5"/>
                <a:gd name="T1" fmla="*/ 0 h 3"/>
                <a:gd name="T2" fmla="*/ 0 w 5"/>
                <a:gd name="T3" fmla="*/ 1 h 3"/>
                <a:gd name="T4" fmla="*/ 0 w 5"/>
                <a:gd name="T5" fmla="*/ 3 h 3"/>
                <a:gd name="T6" fmla="*/ 5 w 5"/>
                <a:gd name="T7" fmla="*/ 3 h 3"/>
                <a:gd name="T8" fmla="*/ 5 w 5"/>
                <a:gd name="T9" fmla="*/ 1 h 3"/>
                <a:gd name="T10" fmla="*/ 5 w 5"/>
                <a:gd name="T11" fmla="*/ 0 h 3"/>
                <a:gd name="T12" fmla="*/ 2 w 5"/>
                <a:gd name="T13" fmla="*/ 0 h 3"/>
                <a:gd name="T14" fmla="*/ 2 w 5"/>
                <a:gd name="T1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3">
                  <a:moveTo>
                    <a:pt x="2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5" y="3"/>
                  </a:lnTo>
                  <a:lnTo>
                    <a:pt x="5" y="1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76" name="Freeform 224"/>
            <p:cNvSpPr>
              <a:spLocks/>
            </p:cNvSpPr>
            <p:nvPr/>
          </p:nvSpPr>
          <p:spPr bwMode="auto">
            <a:xfrm>
              <a:off x="8093766" y="2929712"/>
              <a:ext cx="3663" cy="2646"/>
            </a:xfrm>
            <a:custGeom>
              <a:avLst/>
              <a:gdLst>
                <a:gd name="T0" fmla="*/ 3 w 6"/>
                <a:gd name="T1" fmla="*/ 0 h 4"/>
                <a:gd name="T2" fmla="*/ 0 w 6"/>
                <a:gd name="T3" fmla="*/ 2 h 4"/>
                <a:gd name="T4" fmla="*/ 1 w 6"/>
                <a:gd name="T5" fmla="*/ 4 h 4"/>
                <a:gd name="T6" fmla="*/ 4 w 6"/>
                <a:gd name="T7" fmla="*/ 4 h 4"/>
                <a:gd name="T8" fmla="*/ 6 w 6"/>
                <a:gd name="T9" fmla="*/ 4 h 4"/>
                <a:gd name="T10" fmla="*/ 6 w 6"/>
                <a:gd name="T11" fmla="*/ 2 h 4"/>
                <a:gd name="T12" fmla="*/ 3 w 6"/>
                <a:gd name="T13" fmla="*/ 0 h 4"/>
                <a:gd name="T14" fmla="*/ 3 w 6"/>
                <a:gd name="T1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lnTo>
                    <a:pt x="0" y="2"/>
                  </a:lnTo>
                  <a:lnTo>
                    <a:pt x="1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6" y="2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77" name="Freeform 225"/>
            <p:cNvSpPr>
              <a:spLocks/>
            </p:cNvSpPr>
            <p:nvPr/>
          </p:nvSpPr>
          <p:spPr bwMode="auto">
            <a:xfrm>
              <a:off x="8210995" y="3030253"/>
              <a:ext cx="2442" cy="2646"/>
            </a:xfrm>
            <a:custGeom>
              <a:avLst/>
              <a:gdLst>
                <a:gd name="T0" fmla="*/ 2 w 5"/>
                <a:gd name="T1" fmla="*/ 0 h 4"/>
                <a:gd name="T2" fmla="*/ 0 w 5"/>
                <a:gd name="T3" fmla="*/ 1 h 4"/>
                <a:gd name="T4" fmla="*/ 0 w 5"/>
                <a:gd name="T5" fmla="*/ 3 h 4"/>
                <a:gd name="T6" fmla="*/ 2 w 5"/>
                <a:gd name="T7" fmla="*/ 4 h 4"/>
                <a:gd name="T8" fmla="*/ 3 w 5"/>
                <a:gd name="T9" fmla="*/ 4 h 4"/>
                <a:gd name="T10" fmla="*/ 5 w 5"/>
                <a:gd name="T11" fmla="*/ 3 h 4"/>
                <a:gd name="T12" fmla="*/ 5 w 5"/>
                <a:gd name="T13" fmla="*/ 1 h 4"/>
                <a:gd name="T14" fmla="*/ 2 w 5"/>
                <a:gd name="T15" fmla="*/ 0 h 4"/>
                <a:gd name="T16" fmla="*/ 2 w 5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2" y="4"/>
                  </a:lnTo>
                  <a:lnTo>
                    <a:pt x="3" y="4"/>
                  </a:lnTo>
                  <a:lnTo>
                    <a:pt x="5" y="3"/>
                  </a:lnTo>
                  <a:lnTo>
                    <a:pt x="5" y="1"/>
                  </a:lnTo>
                  <a:lnTo>
                    <a:pt x="2" y="0"/>
                  </a:lnTo>
                  <a:lnTo>
                    <a:pt x="2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78" name="Freeform 226"/>
            <p:cNvSpPr>
              <a:spLocks/>
            </p:cNvSpPr>
            <p:nvPr/>
          </p:nvSpPr>
          <p:spPr bwMode="auto">
            <a:xfrm>
              <a:off x="8198784" y="3055388"/>
              <a:ext cx="3663" cy="2646"/>
            </a:xfrm>
            <a:custGeom>
              <a:avLst/>
              <a:gdLst>
                <a:gd name="T0" fmla="*/ 1 w 6"/>
                <a:gd name="T1" fmla="*/ 0 h 4"/>
                <a:gd name="T2" fmla="*/ 0 w 6"/>
                <a:gd name="T3" fmla="*/ 0 h 4"/>
                <a:gd name="T4" fmla="*/ 0 w 6"/>
                <a:gd name="T5" fmla="*/ 1 h 4"/>
                <a:gd name="T6" fmla="*/ 0 w 6"/>
                <a:gd name="T7" fmla="*/ 3 h 4"/>
                <a:gd name="T8" fmla="*/ 1 w 6"/>
                <a:gd name="T9" fmla="*/ 4 h 4"/>
                <a:gd name="T10" fmla="*/ 4 w 6"/>
                <a:gd name="T11" fmla="*/ 4 h 4"/>
                <a:gd name="T12" fmla="*/ 6 w 6"/>
                <a:gd name="T13" fmla="*/ 4 h 4"/>
                <a:gd name="T14" fmla="*/ 6 w 6"/>
                <a:gd name="T15" fmla="*/ 3 h 4"/>
                <a:gd name="T16" fmla="*/ 4 w 6"/>
                <a:gd name="T17" fmla="*/ 1 h 4"/>
                <a:gd name="T18" fmla="*/ 1 w 6"/>
                <a:gd name="T19" fmla="*/ 0 h 4"/>
                <a:gd name="T20" fmla="*/ 1 w 6"/>
                <a:gd name="T2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4">
                  <a:moveTo>
                    <a:pt x="1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1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4" y="1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79" name="Freeform 227"/>
            <p:cNvSpPr>
              <a:spLocks/>
            </p:cNvSpPr>
            <p:nvPr/>
          </p:nvSpPr>
          <p:spPr bwMode="auto">
            <a:xfrm>
              <a:off x="8203668" y="3099044"/>
              <a:ext cx="2442" cy="2646"/>
            </a:xfrm>
            <a:custGeom>
              <a:avLst/>
              <a:gdLst>
                <a:gd name="T0" fmla="*/ 3 w 4"/>
                <a:gd name="T1" fmla="*/ 0 h 2"/>
                <a:gd name="T2" fmla="*/ 0 w 4"/>
                <a:gd name="T3" fmla="*/ 1 h 2"/>
                <a:gd name="T4" fmla="*/ 0 w 4"/>
                <a:gd name="T5" fmla="*/ 1 h 2"/>
                <a:gd name="T6" fmla="*/ 1 w 4"/>
                <a:gd name="T7" fmla="*/ 2 h 2"/>
                <a:gd name="T8" fmla="*/ 3 w 4"/>
                <a:gd name="T9" fmla="*/ 2 h 2"/>
                <a:gd name="T10" fmla="*/ 4 w 4"/>
                <a:gd name="T11" fmla="*/ 1 h 2"/>
                <a:gd name="T12" fmla="*/ 3 w 4"/>
                <a:gd name="T13" fmla="*/ 0 h 2"/>
                <a:gd name="T14" fmla="*/ 3 w 4"/>
                <a:gd name="T1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2">
                  <a:moveTo>
                    <a:pt x="3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1" y="2"/>
                  </a:lnTo>
                  <a:lnTo>
                    <a:pt x="3" y="2"/>
                  </a:lnTo>
                  <a:lnTo>
                    <a:pt x="4" y="1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80" name="Freeform 228"/>
            <p:cNvSpPr>
              <a:spLocks/>
            </p:cNvSpPr>
            <p:nvPr/>
          </p:nvSpPr>
          <p:spPr bwMode="auto">
            <a:xfrm>
              <a:off x="8348984" y="3044805"/>
              <a:ext cx="3663" cy="3969"/>
            </a:xfrm>
            <a:custGeom>
              <a:avLst/>
              <a:gdLst>
                <a:gd name="T0" fmla="*/ 3 w 5"/>
                <a:gd name="T1" fmla="*/ 0 h 6"/>
                <a:gd name="T2" fmla="*/ 0 w 5"/>
                <a:gd name="T3" fmla="*/ 0 h 6"/>
                <a:gd name="T4" fmla="*/ 0 w 5"/>
                <a:gd name="T5" fmla="*/ 4 h 6"/>
                <a:gd name="T6" fmla="*/ 0 w 5"/>
                <a:gd name="T7" fmla="*/ 6 h 6"/>
                <a:gd name="T8" fmla="*/ 3 w 5"/>
                <a:gd name="T9" fmla="*/ 6 h 6"/>
                <a:gd name="T10" fmla="*/ 5 w 5"/>
                <a:gd name="T11" fmla="*/ 6 h 6"/>
                <a:gd name="T12" fmla="*/ 5 w 5"/>
                <a:gd name="T13" fmla="*/ 4 h 6"/>
                <a:gd name="T14" fmla="*/ 5 w 5"/>
                <a:gd name="T15" fmla="*/ 1 h 6"/>
                <a:gd name="T16" fmla="*/ 5 w 5"/>
                <a:gd name="T17" fmla="*/ 1 h 6"/>
                <a:gd name="T18" fmla="*/ 3 w 5"/>
                <a:gd name="T1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4"/>
                  </a:lnTo>
                  <a:lnTo>
                    <a:pt x="5" y="1"/>
                  </a:lnTo>
                  <a:lnTo>
                    <a:pt x="5" y="1"/>
                  </a:lnTo>
                  <a:lnTo>
                    <a:pt x="3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81" name="Freeform 229"/>
            <p:cNvSpPr>
              <a:spLocks noEditPoints="1"/>
            </p:cNvSpPr>
            <p:nvPr/>
          </p:nvSpPr>
          <p:spPr bwMode="auto">
            <a:xfrm>
              <a:off x="7446560" y="2798744"/>
              <a:ext cx="704599" cy="988209"/>
            </a:xfrm>
            <a:custGeom>
              <a:avLst/>
              <a:gdLst>
                <a:gd name="T0" fmla="*/ 80 w 1154"/>
                <a:gd name="T1" fmla="*/ 873 h 1493"/>
                <a:gd name="T2" fmla="*/ 84 w 1154"/>
                <a:gd name="T3" fmla="*/ 790 h 1493"/>
                <a:gd name="T4" fmla="*/ 179 w 1154"/>
                <a:gd name="T5" fmla="*/ 733 h 1493"/>
                <a:gd name="T6" fmla="*/ 240 w 1154"/>
                <a:gd name="T7" fmla="*/ 653 h 1493"/>
                <a:gd name="T8" fmla="*/ 259 w 1154"/>
                <a:gd name="T9" fmla="*/ 550 h 1493"/>
                <a:gd name="T10" fmla="*/ 189 w 1154"/>
                <a:gd name="T11" fmla="*/ 406 h 1493"/>
                <a:gd name="T12" fmla="*/ 215 w 1154"/>
                <a:gd name="T13" fmla="*/ 272 h 1493"/>
                <a:gd name="T14" fmla="*/ 333 w 1154"/>
                <a:gd name="T15" fmla="*/ 180 h 1493"/>
                <a:gd name="T16" fmla="*/ 391 w 1154"/>
                <a:gd name="T17" fmla="*/ 80 h 1493"/>
                <a:gd name="T18" fmla="*/ 502 w 1154"/>
                <a:gd name="T19" fmla="*/ 101 h 1493"/>
                <a:gd name="T20" fmla="*/ 657 w 1154"/>
                <a:gd name="T21" fmla="*/ 61 h 1493"/>
                <a:gd name="T22" fmla="*/ 747 w 1154"/>
                <a:gd name="T23" fmla="*/ 7 h 1493"/>
                <a:gd name="T24" fmla="*/ 826 w 1154"/>
                <a:gd name="T25" fmla="*/ 96 h 1493"/>
                <a:gd name="T26" fmla="*/ 915 w 1154"/>
                <a:gd name="T27" fmla="*/ 174 h 1493"/>
                <a:gd name="T28" fmla="*/ 994 w 1154"/>
                <a:gd name="T29" fmla="*/ 214 h 1493"/>
                <a:gd name="T30" fmla="*/ 1077 w 1154"/>
                <a:gd name="T31" fmla="*/ 316 h 1493"/>
                <a:gd name="T32" fmla="*/ 1118 w 1154"/>
                <a:gd name="T33" fmla="*/ 388 h 1493"/>
                <a:gd name="T34" fmla="*/ 1127 w 1154"/>
                <a:gd name="T35" fmla="*/ 444 h 1493"/>
                <a:gd name="T36" fmla="*/ 1150 w 1154"/>
                <a:gd name="T37" fmla="*/ 528 h 1493"/>
                <a:gd name="T38" fmla="*/ 1141 w 1154"/>
                <a:gd name="T39" fmla="*/ 578 h 1493"/>
                <a:gd name="T40" fmla="*/ 1100 w 1154"/>
                <a:gd name="T41" fmla="*/ 522 h 1493"/>
                <a:gd name="T42" fmla="*/ 1068 w 1154"/>
                <a:gd name="T43" fmla="*/ 545 h 1493"/>
                <a:gd name="T44" fmla="*/ 1032 w 1154"/>
                <a:gd name="T45" fmla="*/ 528 h 1493"/>
                <a:gd name="T46" fmla="*/ 1022 w 1154"/>
                <a:gd name="T47" fmla="*/ 479 h 1493"/>
                <a:gd name="T48" fmla="*/ 975 w 1154"/>
                <a:gd name="T49" fmla="*/ 452 h 1493"/>
                <a:gd name="T50" fmla="*/ 958 w 1154"/>
                <a:gd name="T51" fmla="*/ 499 h 1493"/>
                <a:gd name="T52" fmla="*/ 916 w 1154"/>
                <a:gd name="T53" fmla="*/ 532 h 1493"/>
                <a:gd name="T54" fmla="*/ 858 w 1154"/>
                <a:gd name="T55" fmla="*/ 624 h 1493"/>
                <a:gd name="T56" fmla="*/ 882 w 1154"/>
                <a:gd name="T57" fmla="*/ 723 h 1493"/>
                <a:gd name="T58" fmla="*/ 896 w 1154"/>
                <a:gd name="T59" fmla="*/ 816 h 1493"/>
                <a:gd name="T60" fmla="*/ 903 w 1154"/>
                <a:gd name="T61" fmla="*/ 876 h 1493"/>
                <a:gd name="T62" fmla="*/ 933 w 1154"/>
                <a:gd name="T63" fmla="*/ 1001 h 1493"/>
                <a:gd name="T64" fmla="*/ 964 w 1154"/>
                <a:gd name="T65" fmla="*/ 1042 h 1493"/>
                <a:gd name="T66" fmla="*/ 978 w 1154"/>
                <a:gd name="T67" fmla="*/ 1051 h 1493"/>
                <a:gd name="T68" fmla="*/ 1004 w 1154"/>
                <a:gd name="T69" fmla="*/ 1019 h 1493"/>
                <a:gd name="T70" fmla="*/ 1058 w 1154"/>
                <a:gd name="T71" fmla="*/ 1034 h 1493"/>
                <a:gd name="T72" fmla="*/ 1008 w 1154"/>
                <a:gd name="T73" fmla="*/ 1084 h 1493"/>
                <a:gd name="T74" fmla="*/ 971 w 1154"/>
                <a:gd name="T75" fmla="*/ 1117 h 1493"/>
                <a:gd name="T76" fmla="*/ 961 w 1154"/>
                <a:gd name="T77" fmla="*/ 1155 h 1493"/>
                <a:gd name="T78" fmla="*/ 936 w 1154"/>
                <a:gd name="T79" fmla="*/ 1218 h 1493"/>
                <a:gd name="T80" fmla="*/ 886 w 1154"/>
                <a:gd name="T81" fmla="*/ 1291 h 1493"/>
                <a:gd name="T82" fmla="*/ 845 w 1154"/>
                <a:gd name="T83" fmla="*/ 1258 h 1493"/>
                <a:gd name="T84" fmla="*/ 863 w 1154"/>
                <a:gd name="T85" fmla="*/ 1218 h 1493"/>
                <a:gd name="T86" fmla="*/ 807 w 1154"/>
                <a:gd name="T87" fmla="*/ 1218 h 1493"/>
                <a:gd name="T88" fmla="*/ 775 w 1154"/>
                <a:gd name="T89" fmla="*/ 1254 h 1493"/>
                <a:gd name="T90" fmla="*/ 759 w 1154"/>
                <a:gd name="T91" fmla="*/ 1258 h 1493"/>
                <a:gd name="T92" fmla="*/ 651 w 1154"/>
                <a:gd name="T93" fmla="*/ 1332 h 1493"/>
                <a:gd name="T94" fmla="*/ 651 w 1154"/>
                <a:gd name="T95" fmla="*/ 1374 h 1493"/>
                <a:gd name="T96" fmla="*/ 669 w 1154"/>
                <a:gd name="T97" fmla="*/ 1377 h 1493"/>
                <a:gd name="T98" fmla="*/ 657 w 1154"/>
                <a:gd name="T99" fmla="*/ 1417 h 1493"/>
                <a:gd name="T100" fmla="*/ 595 w 1154"/>
                <a:gd name="T101" fmla="*/ 1460 h 1493"/>
                <a:gd name="T102" fmla="*/ 525 w 1154"/>
                <a:gd name="T103" fmla="*/ 1445 h 1493"/>
                <a:gd name="T104" fmla="*/ 419 w 1154"/>
                <a:gd name="T105" fmla="*/ 1416 h 1493"/>
                <a:gd name="T106" fmla="*/ 345 w 1154"/>
                <a:gd name="T107" fmla="*/ 1396 h 1493"/>
                <a:gd name="T108" fmla="*/ 345 w 1154"/>
                <a:gd name="T109" fmla="*/ 1291 h 1493"/>
                <a:gd name="T110" fmla="*/ 193 w 1154"/>
                <a:gd name="T111" fmla="*/ 1236 h 1493"/>
                <a:gd name="T112" fmla="*/ 107 w 1154"/>
                <a:gd name="T113" fmla="*/ 1195 h 1493"/>
                <a:gd name="T114" fmla="*/ 43 w 1154"/>
                <a:gd name="T115" fmla="*/ 1091 h 1493"/>
                <a:gd name="T116" fmla="*/ 1058 w 1154"/>
                <a:gd name="T117" fmla="*/ 995 h 1493"/>
                <a:gd name="T118" fmla="*/ 1064 w 1154"/>
                <a:gd name="T119" fmla="*/ 1019 h 1493"/>
                <a:gd name="T120" fmla="*/ 810 w 1154"/>
                <a:gd name="T121" fmla="*/ 1320 h 1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54" h="1493">
                  <a:moveTo>
                    <a:pt x="8" y="1011"/>
                  </a:moveTo>
                  <a:lnTo>
                    <a:pt x="5" y="1008"/>
                  </a:lnTo>
                  <a:lnTo>
                    <a:pt x="0" y="1004"/>
                  </a:lnTo>
                  <a:lnTo>
                    <a:pt x="4" y="994"/>
                  </a:lnTo>
                  <a:lnTo>
                    <a:pt x="11" y="981"/>
                  </a:lnTo>
                  <a:lnTo>
                    <a:pt x="14" y="965"/>
                  </a:lnTo>
                  <a:lnTo>
                    <a:pt x="14" y="955"/>
                  </a:lnTo>
                  <a:lnTo>
                    <a:pt x="11" y="939"/>
                  </a:lnTo>
                  <a:lnTo>
                    <a:pt x="10" y="932"/>
                  </a:lnTo>
                  <a:lnTo>
                    <a:pt x="11" y="919"/>
                  </a:lnTo>
                  <a:lnTo>
                    <a:pt x="11" y="915"/>
                  </a:lnTo>
                  <a:lnTo>
                    <a:pt x="17" y="912"/>
                  </a:lnTo>
                  <a:lnTo>
                    <a:pt x="25" y="912"/>
                  </a:lnTo>
                  <a:lnTo>
                    <a:pt x="34" y="909"/>
                  </a:lnTo>
                  <a:lnTo>
                    <a:pt x="43" y="905"/>
                  </a:lnTo>
                  <a:lnTo>
                    <a:pt x="54" y="902"/>
                  </a:lnTo>
                  <a:lnTo>
                    <a:pt x="63" y="900"/>
                  </a:lnTo>
                  <a:lnTo>
                    <a:pt x="66" y="895"/>
                  </a:lnTo>
                  <a:lnTo>
                    <a:pt x="63" y="889"/>
                  </a:lnTo>
                  <a:lnTo>
                    <a:pt x="60" y="885"/>
                  </a:lnTo>
                  <a:lnTo>
                    <a:pt x="67" y="873"/>
                  </a:lnTo>
                  <a:lnTo>
                    <a:pt x="70" y="869"/>
                  </a:lnTo>
                  <a:lnTo>
                    <a:pt x="71" y="867"/>
                  </a:lnTo>
                  <a:lnTo>
                    <a:pt x="77" y="869"/>
                  </a:lnTo>
                  <a:lnTo>
                    <a:pt x="80" y="873"/>
                  </a:lnTo>
                  <a:lnTo>
                    <a:pt x="80" y="879"/>
                  </a:lnTo>
                  <a:lnTo>
                    <a:pt x="84" y="886"/>
                  </a:lnTo>
                  <a:lnTo>
                    <a:pt x="90" y="888"/>
                  </a:lnTo>
                  <a:lnTo>
                    <a:pt x="99" y="886"/>
                  </a:lnTo>
                  <a:lnTo>
                    <a:pt x="109" y="882"/>
                  </a:lnTo>
                  <a:lnTo>
                    <a:pt x="113" y="877"/>
                  </a:lnTo>
                  <a:lnTo>
                    <a:pt x="114" y="873"/>
                  </a:lnTo>
                  <a:lnTo>
                    <a:pt x="109" y="862"/>
                  </a:lnTo>
                  <a:lnTo>
                    <a:pt x="106" y="850"/>
                  </a:lnTo>
                  <a:lnTo>
                    <a:pt x="101" y="833"/>
                  </a:lnTo>
                  <a:lnTo>
                    <a:pt x="100" y="827"/>
                  </a:lnTo>
                  <a:lnTo>
                    <a:pt x="96" y="827"/>
                  </a:lnTo>
                  <a:lnTo>
                    <a:pt x="87" y="829"/>
                  </a:lnTo>
                  <a:lnTo>
                    <a:pt x="81" y="829"/>
                  </a:lnTo>
                  <a:lnTo>
                    <a:pt x="74" y="826"/>
                  </a:lnTo>
                  <a:lnTo>
                    <a:pt x="67" y="819"/>
                  </a:lnTo>
                  <a:lnTo>
                    <a:pt x="70" y="813"/>
                  </a:lnTo>
                  <a:lnTo>
                    <a:pt x="70" y="802"/>
                  </a:lnTo>
                  <a:lnTo>
                    <a:pt x="68" y="796"/>
                  </a:lnTo>
                  <a:lnTo>
                    <a:pt x="68" y="790"/>
                  </a:lnTo>
                  <a:lnTo>
                    <a:pt x="71" y="787"/>
                  </a:lnTo>
                  <a:lnTo>
                    <a:pt x="73" y="787"/>
                  </a:lnTo>
                  <a:lnTo>
                    <a:pt x="74" y="786"/>
                  </a:lnTo>
                  <a:lnTo>
                    <a:pt x="80" y="789"/>
                  </a:lnTo>
                  <a:lnTo>
                    <a:pt x="84" y="790"/>
                  </a:lnTo>
                  <a:lnTo>
                    <a:pt x="93" y="792"/>
                  </a:lnTo>
                  <a:lnTo>
                    <a:pt x="100" y="789"/>
                  </a:lnTo>
                  <a:lnTo>
                    <a:pt x="111" y="780"/>
                  </a:lnTo>
                  <a:lnTo>
                    <a:pt x="110" y="773"/>
                  </a:lnTo>
                  <a:lnTo>
                    <a:pt x="111" y="770"/>
                  </a:lnTo>
                  <a:lnTo>
                    <a:pt x="117" y="767"/>
                  </a:lnTo>
                  <a:lnTo>
                    <a:pt x="121" y="767"/>
                  </a:lnTo>
                  <a:lnTo>
                    <a:pt x="124" y="769"/>
                  </a:lnTo>
                  <a:lnTo>
                    <a:pt x="127" y="770"/>
                  </a:lnTo>
                  <a:lnTo>
                    <a:pt x="133" y="767"/>
                  </a:lnTo>
                  <a:lnTo>
                    <a:pt x="136" y="764"/>
                  </a:lnTo>
                  <a:lnTo>
                    <a:pt x="131" y="761"/>
                  </a:lnTo>
                  <a:lnTo>
                    <a:pt x="127" y="757"/>
                  </a:lnTo>
                  <a:lnTo>
                    <a:pt x="129" y="754"/>
                  </a:lnTo>
                  <a:lnTo>
                    <a:pt x="134" y="751"/>
                  </a:lnTo>
                  <a:lnTo>
                    <a:pt x="137" y="744"/>
                  </a:lnTo>
                  <a:lnTo>
                    <a:pt x="139" y="733"/>
                  </a:lnTo>
                  <a:lnTo>
                    <a:pt x="136" y="724"/>
                  </a:lnTo>
                  <a:lnTo>
                    <a:pt x="137" y="721"/>
                  </a:lnTo>
                  <a:lnTo>
                    <a:pt x="144" y="719"/>
                  </a:lnTo>
                  <a:lnTo>
                    <a:pt x="154" y="717"/>
                  </a:lnTo>
                  <a:lnTo>
                    <a:pt x="162" y="717"/>
                  </a:lnTo>
                  <a:lnTo>
                    <a:pt x="170" y="720"/>
                  </a:lnTo>
                  <a:lnTo>
                    <a:pt x="177" y="731"/>
                  </a:lnTo>
                  <a:lnTo>
                    <a:pt x="179" y="733"/>
                  </a:lnTo>
                  <a:lnTo>
                    <a:pt x="183" y="731"/>
                  </a:lnTo>
                  <a:lnTo>
                    <a:pt x="187" y="731"/>
                  </a:lnTo>
                  <a:lnTo>
                    <a:pt x="192" y="737"/>
                  </a:lnTo>
                  <a:lnTo>
                    <a:pt x="194" y="739"/>
                  </a:lnTo>
                  <a:lnTo>
                    <a:pt x="204" y="731"/>
                  </a:lnTo>
                  <a:lnTo>
                    <a:pt x="215" y="729"/>
                  </a:lnTo>
                  <a:lnTo>
                    <a:pt x="219" y="726"/>
                  </a:lnTo>
                  <a:lnTo>
                    <a:pt x="219" y="723"/>
                  </a:lnTo>
                  <a:lnTo>
                    <a:pt x="213" y="717"/>
                  </a:lnTo>
                  <a:lnTo>
                    <a:pt x="212" y="714"/>
                  </a:lnTo>
                  <a:lnTo>
                    <a:pt x="204" y="711"/>
                  </a:lnTo>
                  <a:lnTo>
                    <a:pt x="204" y="707"/>
                  </a:lnTo>
                  <a:lnTo>
                    <a:pt x="210" y="703"/>
                  </a:lnTo>
                  <a:lnTo>
                    <a:pt x="219" y="696"/>
                  </a:lnTo>
                  <a:lnTo>
                    <a:pt x="223" y="688"/>
                  </a:lnTo>
                  <a:lnTo>
                    <a:pt x="225" y="681"/>
                  </a:lnTo>
                  <a:lnTo>
                    <a:pt x="230" y="678"/>
                  </a:lnTo>
                  <a:lnTo>
                    <a:pt x="235" y="673"/>
                  </a:lnTo>
                  <a:lnTo>
                    <a:pt x="242" y="670"/>
                  </a:lnTo>
                  <a:lnTo>
                    <a:pt x="247" y="667"/>
                  </a:lnTo>
                  <a:lnTo>
                    <a:pt x="247" y="664"/>
                  </a:lnTo>
                  <a:lnTo>
                    <a:pt x="246" y="663"/>
                  </a:lnTo>
                  <a:lnTo>
                    <a:pt x="242" y="658"/>
                  </a:lnTo>
                  <a:lnTo>
                    <a:pt x="239" y="657"/>
                  </a:lnTo>
                  <a:lnTo>
                    <a:pt x="240" y="653"/>
                  </a:lnTo>
                  <a:lnTo>
                    <a:pt x="242" y="648"/>
                  </a:lnTo>
                  <a:lnTo>
                    <a:pt x="250" y="637"/>
                  </a:lnTo>
                  <a:lnTo>
                    <a:pt x="255" y="630"/>
                  </a:lnTo>
                  <a:lnTo>
                    <a:pt x="257" y="624"/>
                  </a:lnTo>
                  <a:lnTo>
                    <a:pt x="260" y="621"/>
                  </a:lnTo>
                  <a:lnTo>
                    <a:pt x="266" y="623"/>
                  </a:lnTo>
                  <a:lnTo>
                    <a:pt x="272" y="625"/>
                  </a:lnTo>
                  <a:lnTo>
                    <a:pt x="276" y="630"/>
                  </a:lnTo>
                  <a:lnTo>
                    <a:pt x="282" y="633"/>
                  </a:lnTo>
                  <a:lnTo>
                    <a:pt x="283" y="627"/>
                  </a:lnTo>
                  <a:lnTo>
                    <a:pt x="289" y="614"/>
                  </a:lnTo>
                  <a:lnTo>
                    <a:pt x="290" y="608"/>
                  </a:lnTo>
                  <a:lnTo>
                    <a:pt x="289" y="607"/>
                  </a:lnTo>
                  <a:lnTo>
                    <a:pt x="282" y="604"/>
                  </a:lnTo>
                  <a:lnTo>
                    <a:pt x="272" y="603"/>
                  </a:lnTo>
                  <a:lnTo>
                    <a:pt x="270" y="598"/>
                  </a:lnTo>
                  <a:lnTo>
                    <a:pt x="273" y="595"/>
                  </a:lnTo>
                  <a:lnTo>
                    <a:pt x="276" y="588"/>
                  </a:lnTo>
                  <a:lnTo>
                    <a:pt x="273" y="575"/>
                  </a:lnTo>
                  <a:lnTo>
                    <a:pt x="278" y="568"/>
                  </a:lnTo>
                  <a:lnTo>
                    <a:pt x="278" y="562"/>
                  </a:lnTo>
                  <a:lnTo>
                    <a:pt x="276" y="557"/>
                  </a:lnTo>
                  <a:lnTo>
                    <a:pt x="272" y="552"/>
                  </a:lnTo>
                  <a:lnTo>
                    <a:pt x="265" y="551"/>
                  </a:lnTo>
                  <a:lnTo>
                    <a:pt x="259" y="550"/>
                  </a:lnTo>
                  <a:lnTo>
                    <a:pt x="247" y="545"/>
                  </a:lnTo>
                  <a:lnTo>
                    <a:pt x="242" y="542"/>
                  </a:lnTo>
                  <a:lnTo>
                    <a:pt x="233" y="538"/>
                  </a:lnTo>
                  <a:lnTo>
                    <a:pt x="230" y="534"/>
                  </a:lnTo>
                  <a:lnTo>
                    <a:pt x="225" y="518"/>
                  </a:lnTo>
                  <a:lnTo>
                    <a:pt x="217" y="509"/>
                  </a:lnTo>
                  <a:lnTo>
                    <a:pt x="213" y="504"/>
                  </a:lnTo>
                  <a:lnTo>
                    <a:pt x="212" y="499"/>
                  </a:lnTo>
                  <a:lnTo>
                    <a:pt x="215" y="497"/>
                  </a:lnTo>
                  <a:lnTo>
                    <a:pt x="222" y="495"/>
                  </a:lnTo>
                  <a:lnTo>
                    <a:pt x="222" y="487"/>
                  </a:lnTo>
                  <a:lnTo>
                    <a:pt x="223" y="479"/>
                  </a:lnTo>
                  <a:lnTo>
                    <a:pt x="225" y="466"/>
                  </a:lnTo>
                  <a:lnTo>
                    <a:pt x="225" y="454"/>
                  </a:lnTo>
                  <a:lnTo>
                    <a:pt x="226" y="449"/>
                  </a:lnTo>
                  <a:lnTo>
                    <a:pt x="226" y="446"/>
                  </a:lnTo>
                  <a:lnTo>
                    <a:pt x="222" y="442"/>
                  </a:lnTo>
                  <a:lnTo>
                    <a:pt x="217" y="444"/>
                  </a:lnTo>
                  <a:lnTo>
                    <a:pt x="216" y="445"/>
                  </a:lnTo>
                  <a:lnTo>
                    <a:pt x="210" y="442"/>
                  </a:lnTo>
                  <a:lnTo>
                    <a:pt x="206" y="431"/>
                  </a:lnTo>
                  <a:lnTo>
                    <a:pt x="204" y="419"/>
                  </a:lnTo>
                  <a:lnTo>
                    <a:pt x="199" y="412"/>
                  </a:lnTo>
                  <a:lnTo>
                    <a:pt x="194" y="408"/>
                  </a:lnTo>
                  <a:lnTo>
                    <a:pt x="189" y="406"/>
                  </a:lnTo>
                  <a:lnTo>
                    <a:pt x="184" y="406"/>
                  </a:lnTo>
                  <a:lnTo>
                    <a:pt x="180" y="403"/>
                  </a:lnTo>
                  <a:lnTo>
                    <a:pt x="177" y="388"/>
                  </a:lnTo>
                  <a:lnTo>
                    <a:pt x="177" y="383"/>
                  </a:lnTo>
                  <a:lnTo>
                    <a:pt x="186" y="370"/>
                  </a:lnTo>
                  <a:lnTo>
                    <a:pt x="192" y="363"/>
                  </a:lnTo>
                  <a:lnTo>
                    <a:pt x="193" y="362"/>
                  </a:lnTo>
                  <a:lnTo>
                    <a:pt x="199" y="362"/>
                  </a:lnTo>
                  <a:lnTo>
                    <a:pt x="203" y="366"/>
                  </a:lnTo>
                  <a:lnTo>
                    <a:pt x="206" y="366"/>
                  </a:lnTo>
                  <a:lnTo>
                    <a:pt x="206" y="356"/>
                  </a:lnTo>
                  <a:lnTo>
                    <a:pt x="204" y="343"/>
                  </a:lnTo>
                  <a:lnTo>
                    <a:pt x="203" y="332"/>
                  </a:lnTo>
                  <a:lnTo>
                    <a:pt x="196" y="329"/>
                  </a:lnTo>
                  <a:lnTo>
                    <a:pt x="189" y="329"/>
                  </a:lnTo>
                  <a:lnTo>
                    <a:pt x="184" y="332"/>
                  </a:lnTo>
                  <a:lnTo>
                    <a:pt x="180" y="325"/>
                  </a:lnTo>
                  <a:lnTo>
                    <a:pt x="176" y="305"/>
                  </a:lnTo>
                  <a:lnTo>
                    <a:pt x="192" y="296"/>
                  </a:lnTo>
                  <a:lnTo>
                    <a:pt x="196" y="295"/>
                  </a:lnTo>
                  <a:lnTo>
                    <a:pt x="203" y="297"/>
                  </a:lnTo>
                  <a:lnTo>
                    <a:pt x="210" y="293"/>
                  </a:lnTo>
                  <a:lnTo>
                    <a:pt x="212" y="285"/>
                  </a:lnTo>
                  <a:lnTo>
                    <a:pt x="213" y="275"/>
                  </a:lnTo>
                  <a:lnTo>
                    <a:pt x="215" y="272"/>
                  </a:lnTo>
                  <a:lnTo>
                    <a:pt x="220" y="272"/>
                  </a:lnTo>
                  <a:lnTo>
                    <a:pt x="226" y="267"/>
                  </a:lnTo>
                  <a:lnTo>
                    <a:pt x="232" y="260"/>
                  </a:lnTo>
                  <a:lnTo>
                    <a:pt x="245" y="247"/>
                  </a:lnTo>
                  <a:lnTo>
                    <a:pt x="250" y="249"/>
                  </a:lnTo>
                  <a:lnTo>
                    <a:pt x="257" y="247"/>
                  </a:lnTo>
                  <a:lnTo>
                    <a:pt x="269" y="237"/>
                  </a:lnTo>
                  <a:lnTo>
                    <a:pt x="280" y="229"/>
                  </a:lnTo>
                  <a:lnTo>
                    <a:pt x="280" y="224"/>
                  </a:lnTo>
                  <a:lnTo>
                    <a:pt x="278" y="214"/>
                  </a:lnTo>
                  <a:lnTo>
                    <a:pt x="273" y="207"/>
                  </a:lnTo>
                  <a:lnTo>
                    <a:pt x="273" y="206"/>
                  </a:lnTo>
                  <a:lnTo>
                    <a:pt x="279" y="203"/>
                  </a:lnTo>
                  <a:lnTo>
                    <a:pt x="298" y="201"/>
                  </a:lnTo>
                  <a:lnTo>
                    <a:pt x="306" y="201"/>
                  </a:lnTo>
                  <a:lnTo>
                    <a:pt x="312" y="204"/>
                  </a:lnTo>
                  <a:lnTo>
                    <a:pt x="313" y="212"/>
                  </a:lnTo>
                  <a:lnTo>
                    <a:pt x="316" y="212"/>
                  </a:lnTo>
                  <a:lnTo>
                    <a:pt x="325" y="210"/>
                  </a:lnTo>
                  <a:lnTo>
                    <a:pt x="335" y="207"/>
                  </a:lnTo>
                  <a:lnTo>
                    <a:pt x="342" y="194"/>
                  </a:lnTo>
                  <a:lnTo>
                    <a:pt x="342" y="190"/>
                  </a:lnTo>
                  <a:lnTo>
                    <a:pt x="339" y="189"/>
                  </a:lnTo>
                  <a:lnTo>
                    <a:pt x="333" y="184"/>
                  </a:lnTo>
                  <a:lnTo>
                    <a:pt x="333" y="180"/>
                  </a:lnTo>
                  <a:lnTo>
                    <a:pt x="333" y="173"/>
                  </a:lnTo>
                  <a:lnTo>
                    <a:pt x="335" y="166"/>
                  </a:lnTo>
                  <a:lnTo>
                    <a:pt x="333" y="160"/>
                  </a:lnTo>
                  <a:lnTo>
                    <a:pt x="336" y="150"/>
                  </a:lnTo>
                  <a:lnTo>
                    <a:pt x="341" y="146"/>
                  </a:lnTo>
                  <a:lnTo>
                    <a:pt x="341" y="140"/>
                  </a:lnTo>
                  <a:lnTo>
                    <a:pt x="345" y="133"/>
                  </a:lnTo>
                  <a:lnTo>
                    <a:pt x="363" y="124"/>
                  </a:lnTo>
                  <a:lnTo>
                    <a:pt x="363" y="120"/>
                  </a:lnTo>
                  <a:lnTo>
                    <a:pt x="363" y="114"/>
                  </a:lnTo>
                  <a:lnTo>
                    <a:pt x="361" y="111"/>
                  </a:lnTo>
                  <a:lnTo>
                    <a:pt x="353" y="111"/>
                  </a:lnTo>
                  <a:lnTo>
                    <a:pt x="342" y="110"/>
                  </a:lnTo>
                  <a:lnTo>
                    <a:pt x="342" y="107"/>
                  </a:lnTo>
                  <a:lnTo>
                    <a:pt x="341" y="97"/>
                  </a:lnTo>
                  <a:lnTo>
                    <a:pt x="336" y="93"/>
                  </a:lnTo>
                  <a:lnTo>
                    <a:pt x="341" y="93"/>
                  </a:lnTo>
                  <a:lnTo>
                    <a:pt x="341" y="93"/>
                  </a:lnTo>
                  <a:lnTo>
                    <a:pt x="352" y="87"/>
                  </a:lnTo>
                  <a:lnTo>
                    <a:pt x="366" y="78"/>
                  </a:lnTo>
                  <a:lnTo>
                    <a:pt x="375" y="77"/>
                  </a:lnTo>
                  <a:lnTo>
                    <a:pt x="382" y="75"/>
                  </a:lnTo>
                  <a:lnTo>
                    <a:pt x="385" y="77"/>
                  </a:lnTo>
                  <a:lnTo>
                    <a:pt x="388" y="78"/>
                  </a:lnTo>
                  <a:lnTo>
                    <a:pt x="391" y="80"/>
                  </a:lnTo>
                  <a:lnTo>
                    <a:pt x="394" y="84"/>
                  </a:lnTo>
                  <a:lnTo>
                    <a:pt x="419" y="127"/>
                  </a:lnTo>
                  <a:lnTo>
                    <a:pt x="419" y="127"/>
                  </a:lnTo>
                  <a:lnTo>
                    <a:pt x="422" y="131"/>
                  </a:lnTo>
                  <a:lnTo>
                    <a:pt x="425" y="133"/>
                  </a:lnTo>
                  <a:lnTo>
                    <a:pt x="429" y="133"/>
                  </a:lnTo>
                  <a:lnTo>
                    <a:pt x="432" y="131"/>
                  </a:lnTo>
                  <a:lnTo>
                    <a:pt x="439" y="128"/>
                  </a:lnTo>
                  <a:lnTo>
                    <a:pt x="445" y="126"/>
                  </a:lnTo>
                  <a:lnTo>
                    <a:pt x="449" y="126"/>
                  </a:lnTo>
                  <a:lnTo>
                    <a:pt x="449" y="126"/>
                  </a:lnTo>
                  <a:lnTo>
                    <a:pt x="454" y="124"/>
                  </a:lnTo>
                  <a:lnTo>
                    <a:pt x="457" y="123"/>
                  </a:lnTo>
                  <a:lnTo>
                    <a:pt x="459" y="118"/>
                  </a:lnTo>
                  <a:lnTo>
                    <a:pt x="462" y="116"/>
                  </a:lnTo>
                  <a:lnTo>
                    <a:pt x="464" y="114"/>
                  </a:lnTo>
                  <a:lnTo>
                    <a:pt x="465" y="114"/>
                  </a:lnTo>
                  <a:lnTo>
                    <a:pt x="465" y="114"/>
                  </a:lnTo>
                  <a:lnTo>
                    <a:pt x="472" y="114"/>
                  </a:lnTo>
                  <a:lnTo>
                    <a:pt x="475" y="114"/>
                  </a:lnTo>
                  <a:lnTo>
                    <a:pt x="478" y="113"/>
                  </a:lnTo>
                  <a:lnTo>
                    <a:pt x="478" y="113"/>
                  </a:lnTo>
                  <a:lnTo>
                    <a:pt x="479" y="110"/>
                  </a:lnTo>
                  <a:lnTo>
                    <a:pt x="485" y="107"/>
                  </a:lnTo>
                  <a:lnTo>
                    <a:pt x="502" y="101"/>
                  </a:lnTo>
                  <a:lnTo>
                    <a:pt x="511" y="100"/>
                  </a:lnTo>
                  <a:lnTo>
                    <a:pt x="520" y="100"/>
                  </a:lnTo>
                  <a:lnTo>
                    <a:pt x="527" y="100"/>
                  </a:lnTo>
                  <a:lnTo>
                    <a:pt x="531" y="103"/>
                  </a:lnTo>
                  <a:lnTo>
                    <a:pt x="531" y="103"/>
                  </a:lnTo>
                  <a:lnTo>
                    <a:pt x="535" y="106"/>
                  </a:lnTo>
                  <a:lnTo>
                    <a:pt x="540" y="107"/>
                  </a:lnTo>
                  <a:lnTo>
                    <a:pt x="544" y="107"/>
                  </a:lnTo>
                  <a:lnTo>
                    <a:pt x="550" y="107"/>
                  </a:lnTo>
                  <a:lnTo>
                    <a:pt x="561" y="104"/>
                  </a:lnTo>
                  <a:lnTo>
                    <a:pt x="573" y="98"/>
                  </a:lnTo>
                  <a:lnTo>
                    <a:pt x="584" y="91"/>
                  </a:lnTo>
                  <a:lnTo>
                    <a:pt x="594" y="83"/>
                  </a:lnTo>
                  <a:lnTo>
                    <a:pt x="603" y="75"/>
                  </a:lnTo>
                  <a:lnTo>
                    <a:pt x="608" y="68"/>
                  </a:lnTo>
                  <a:lnTo>
                    <a:pt x="608" y="68"/>
                  </a:lnTo>
                  <a:lnTo>
                    <a:pt x="610" y="68"/>
                  </a:lnTo>
                  <a:lnTo>
                    <a:pt x="611" y="65"/>
                  </a:lnTo>
                  <a:lnTo>
                    <a:pt x="613" y="64"/>
                  </a:lnTo>
                  <a:lnTo>
                    <a:pt x="616" y="61"/>
                  </a:lnTo>
                  <a:lnTo>
                    <a:pt x="616" y="61"/>
                  </a:lnTo>
                  <a:lnTo>
                    <a:pt x="621" y="60"/>
                  </a:lnTo>
                  <a:lnTo>
                    <a:pt x="628" y="60"/>
                  </a:lnTo>
                  <a:lnTo>
                    <a:pt x="628" y="60"/>
                  </a:lnTo>
                  <a:lnTo>
                    <a:pt x="657" y="61"/>
                  </a:lnTo>
                  <a:lnTo>
                    <a:pt x="657" y="61"/>
                  </a:lnTo>
                  <a:lnTo>
                    <a:pt x="666" y="60"/>
                  </a:lnTo>
                  <a:lnTo>
                    <a:pt x="673" y="58"/>
                  </a:lnTo>
                  <a:lnTo>
                    <a:pt x="683" y="54"/>
                  </a:lnTo>
                  <a:lnTo>
                    <a:pt x="693" y="48"/>
                  </a:lnTo>
                  <a:lnTo>
                    <a:pt x="706" y="44"/>
                  </a:lnTo>
                  <a:lnTo>
                    <a:pt x="706" y="44"/>
                  </a:lnTo>
                  <a:lnTo>
                    <a:pt x="707" y="41"/>
                  </a:lnTo>
                  <a:lnTo>
                    <a:pt x="709" y="40"/>
                  </a:lnTo>
                  <a:lnTo>
                    <a:pt x="710" y="37"/>
                  </a:lnTo>
                  <a:lnTo>
                    <a:pt x="713" y="37"/>
                  </a:lnTo>
                  <a:lnTo>
                    <a:pt x="713" y="37"/>
                  </a:lnTo>
                  <a:lnTo>
                    <a:pt x="723" y="35"/>
                  </a:lnTo>
                  <a:lnTo>
                    <a:pt x="730" y="32"/>
                  </a:lnTo>
                  <a:lnTo>
                    <a:pt x="732" y="31"/>
                  </a:lnTo>
                  <a:lnTo>
                    <a:pt x="734" y="27"/>
                  </a:lnTo>
                  <a:lnTo>
                    <a:pt x="734" y="22"/>
                  </a:lnTo>
                  <a:lnTo>
                    <a:pt x="736" y="18"/>
                  </a:lnTo>
                  <a:lnTo>
                    <a:pt x="736" y="18"/>
                  </a:lnTo>
                  <a:lnTo>
                    <a:pt x="734" y="11"/>
                  </a:lnTo>
                  <a:lnTo>
                    <a:pt x="733" y="7"/>
                  </a:lnTo>
                  <a:lnTo>
                    <a:pt x="724" y="0"/>
                  </a:lnTo>
                  <a:lnTo>
                    <a:pt x="733" y="2"/>
                  </a:lnTo>
                  <a:lnTo>
                    <a:pt x="742" y="1"/>
                  </a:lnTo>
                  <a:lnTo>
                    <a:pt x="747" y="7"/>
                  </a:lnTo>
                  <a:lnTo>
                    <a:pt x="753" y="14"/>
                  </a:lnTo>
                  <a:lnTo>
                    <a:pt x="757" y="15"/>
                  </a:lnTo>
                  <a:lnTo>
                    <a:pt x="770" y="18"/>
                  </a:lnTo>
                  <a:lnTo>
                    <a:pt x="776" y="17"/>
                  </a:lnTo>
                  <a:lnTo>
                    <a:pt x="783" y="18"/>
                  </a:lnTo>
                  <a:lnTo>
                    <a:pt x="787" y="18"/>
                  </a:lnTo>
                  <a:lnTo>
                    <a:pt x="792" y="17"/>
                  </a:lnTo>
                  <a:lnTo>
                    <a:pt x="793" y="22"/>
                  </a:lnTo>
                  <a:lnTo>
                    <a:pt x="792" y="28"/>
                  </a:lnTo>
                  <a:lnTo>
                    <a:pt x="795" y="32"/>
                  </a:lnTo>
                  <a:lnTo>
                    <a:pt x="795" y="38"/>
                  </a:lnTo>
                  <a:lnTo>
                    <a:pt x="796" y="43"/>
                  </a:lnTo>
                  <a:lnTo>
                    <a:pt x="799" y="45"/>
                  </a:lnTo>
                  <a:lnTo>
                    <a:pt x="803" y="53"/>
                  </a:lnTo>
                  <a:lnTo>
                    <a:pt x="802" y="57"/>
                  </a:lnTo>
                  <a:lnTo>
                    <a:pt x="793" y="65"/>
                  </a:lnTo>
                  <a:lnTo>
                    <a:pt x="793" y="71"/>
                  </a:lnTo>
                  <a:lnTo>
                    <a:pt x="793" y="78"/>
                  </a:lnTo>
                  <a:lnTo>
                    <a:pt x="796" y="80"/>
                  </a:lnTo>
                  <a:lnTo>
                    <a:pt x="802" y="80"/>
                  </a:lnTo>
                  <a:lnTo>
                    <a:pt x="805" y="87"/>
                  </a:lnTo>
                  <a:lnTo>
                    <a:pt x="809" y="87"/>
                  </a:lnTo>
                  <a:lnTo>
                    <a:pt x="817" y="87"/>
                  </a:lnTo>
                  <a:lnTo>
                    <a:pt x="823" y="90"/>
                  </a:lnTo>
                  <a:lnTo>
                    <a:pt x="826" y="96"/>
                  </a:lnTo>
                  <a:lnTo>
                    <a:pt x="829" y="94"/>
                  </a:lnTo>
                  <a:lnTo>
                    <a:pt x="833" y="96"/>
                  </a:lnTo>
                  <a:lnTo>
                    <a:pt x="832" y="100"/>
                  </a:lnTo>
                  <a:lnTo>
                    <a:pt x="832" y="107"/>
                  </a:lnTo>
                  <a:lnTo>
                    <a:pt x="836" y="114"/>
                  </a:lnTo>
                  <a:lnTo>
                    <a:pt x="842" y="117"/>
                  </a:lnTo>
                  <a:lnTo>
                    <a:pt x="846" y="117"/>
                  </a:lnTo>
                  <a:lnTo>
                    <a:pt x="850" y="113"/>
                  </a:lnTo>
                  <a:lnTo>
                    <a:pt x="856" y="113"/>
                  </a:lnTo>
                  <a:lnTo>
                    <a:pt x="859" y="116"/>
                  </a:lnTo>
                  <a:lnTo>
                    <a:pt x="865" y="114"/>
                  </a:lnTo>
                  <a:lnTo>
                    <a:pt x="869" y="114"/>
                  </a:lnTo>
                  <a:lnTo>
                    <a:pt x="875" y="114"/>
                  </a:lnTo>
                  <a:lnTo>
                    <a:pt x="882" y="121"/>
                  </a:lnTo>
                  <a:lnTo>
                    <a:pt x="888" y="134"/>
                  </a:lnTo>
                  <a:lnTo>
                    <a:pt x="889" y="147"/>
                  </a:lnTo>
                  <a:lnTo>
                    <a:pt x="888" y="151"/>
                  </a:lnTo>
                  <a:lnTo>
                    <a:pt x="889" y="156"/>
                  </a:lnTo>
                  <a:lnTo>
                    <a:pt x="895" y="156"/>
                  </a:lnTo>
                  <a:lnTo>
                    <a:pt x="901" y="157"/>
                  </a:lnTo>
                  <a:lnTo>
                    <a:pt x="908" y="160"/>
                  </a:lnTo>
                  <a:lnTo>
                    <a:pt x="913" y="160"/>
                  </a:lnTo>
                  <a:lnTo>
                    <a:pt x="918" y="163"/>
                  </a:lnTo>
                  <a:lnTo>
                    <a:pt x="918" y="167"/>
                  </a:lnTo>
                  <a:lnTo>
                    <a:pt x="915" y="174"/>
                  </a:lnTo>
                  <a:lnTo>
                    <a:pt x="915" y="179"/>
                  </a:lnTo>
                  <a:lnTo>
                    <a:pt x="921" y="187"/>
                  </a:lnTo>
                  <a:lnTo>
                    <a:pt x="919" y="190"/>
                  </a:lnTo>
                  <a:lnTo>
                    <a:pt x="915" y="193"/>
                  </a:lnTo>
                  <a:lnTo>
                    <a:pt x="913" y="194"/>
                  </a:lnTo>
                  <a:lnTo>
                    <a:pt x="915" y="200"/>
                  </a:lnTo>
                  <a:lnTo>
                    <a:pt x="916" y="206"/>
                  </a:lnTo>
                  <a:lnTo>
                    <a:pt x="921" y="207"/>
                  </a:lnTo>
                  <a:lnTo>
                    <a:pt x="926" y="212"/>
                  </a:lnTo>
                  <a:lnTo>
                    <a:pt x="932" y="219"/>
                  </a:lnTo>
                  <a:lnTo>
                    <a:pt x="936" y="220"/>
                  </a:lnTo>
                  <a:lnTo>
                    <a:pt x="948" y="219"/>
                  </a:lnTo>
                  <a:lnTo>
                    <a:pt x="954" y="219"/>
                  </a:lnTo>
                  <a:lnTo>
                    <a:pt x="955" y="217"/>
                  </a:lnTo>
                  <a:lnTo>
                    <a:pt x="955" y="213"/>
                  </a:lnTo>
                  <a:lnTo>
                    <a:pt x="958" y="212"/>
                  </a:lnTo>
                  <a:lnTo>
                    <a:pt x="965" y="210"/>
                  </a:lnTo>
                  <a:lnTo>
                    <a:pt x="968" y="214"/>
                  </a:lnTo>
                  <a:lnTo>
                    <a:pt x="972" y="217"/>
                  </a:lnTo>
                  <a:lnTo>
                    <a:pt x="978" y="216"/>
                  </a:lnTo>
                  <a:lnTo>
                    <a:pt x="984" y="210"/>
                  </a:lnTo>
                  <a:lnTo>
                    <a:pt x="985" y="209"/>
                  </a:lnTo>
                  <a:lnTo>
                    <a:pt x="991" y="209"/>
                  </a:lnTo>
                  <a:lnTo>
                    <a:pt x="992" y="210"/>
                  </a:lnTo>
                  <a:lnTo>
                    <a:pt x="994" y="214"/>
                  </a:lnTo>
                  <a:lnTo>
                    <a:pt x="996" y="224"/>
                  </a:lnTo>
                  <a:lnTo>
                    <a:pt x="999" y="229"/>
                  </a:lnTo>
                  <a:lnTo>
                    <a:pt x="1007" y="230"/>
                  </a:lnTo>
                  <a:lnTo>
                    <a:pt x="1014" y="230"/>
                  </a:lnTo>
                  <a:lnTo>
                    <a:pt x="1019" y="233"/>
                  </a:lnTo>
                  <a:lnTo>
                    <a:pt x="1028" y="240"/>
                  </a:lnTo>
                  <a:lnTo>
                    <a:pt x="1035" y="249"/>
                  </a:lnTo>
                  <a:lnTo>
                    <a:pt x="1035" y="253"/>
                  </a:lnTo>
                  <a:lnTo>
                    <a:pt x="1035" y="266"/>
                  </a:lnTo>
                  <a:lnTo>
                    <a:pt x="1031" y="275"/>
                  </a:lnTo>
                  <a:lnTo>
                    <a:pt x="1028" y="277"/>
                  </a:lnTo>
                  <a:lnTo>
                    <a:pt x="1027" y="293"/>
                  </a:lnTo>
                  <a:lnTo>
                    <a:pt x="1028" y="299"/>
                  </a:lnTo>
                  <a:lnTo>
                    <a:pt x="1031" y="300"/>
                  </a:lnTo>
                  <a:lnTo>
                    <a:pt x="1038" y="300"/>
                  </a:lnTo>
                  <a:lnTo>
                    <a:pt x="1044" y="292"/>
                  </a:lnTo>
                  <a:lnTo>
                    <a:pt x="1052" y="287"/>
                  </a:lnTo>
                  <a:lnTo>
                    <a:pt x="1060" y="287"/>
                  </a:lnTo>
                  <a:lnTo>
                    <a:pt x="1064" y="292"/>
                  </a:lnTo>
                  <a:lnTo>
                    <a:pt x="1065" y="296"/>
                  </a:lnTo>
                  <a:lnTo>
                    <a:pt x="1065" y="302"/>
                  </a:lnTo>
                  <a:lnTo>
                    <a:pt x="1062" y="309"/>
                  </a:lnTo>
                  <a:lnTo>
                    <a:pt x="1065" y="312"/>
                  </a:lnTo>
                  <a:lnTo>
                    <a:pt x="1070" y="313"/>
                  </a:lnTo>
                  <a:lnTo>
                    <a:pt x="1077" y="316"/>
                  </a:lnTo>
                  <a:lnTo>
                    <a:pt x="1082" y="313"/>
                  </a:lnTo>
                  <a:lnTo>
                    <a:pt x="1087" y="313"/>
                  </a:lnTo>
                  <a:lnTo>
                    <a:pt x="1087" y="316"/>
                  </a:lnTo>
                  <a:lnTo>
                    <a:pt x="1088" y="320"/>
                  </a:lnTo>
                  <a:lnTo>
                    <a:pt x="1092" y="320"/>
                  </a:lnTo>
                  <a:lnTo>
                    <a:pt x="1094" y="319"/>
                  </a:lnTo>
                  <a:lnTo>
                    <a:pt x="1098" y="320"/>
                  </a:lnTo>
                  <a:lnTo>
                    <a:pt x="1100" y="323"/>
                  </a:lnTo>
                  <a:lnTo>
                    <a:pt x="1102" y="328"/>
                  </a:lnTo>
                  <a:lnTo>
                    <a:pt x="1105" y="330"/>
                  </a:lnTo>
                  <a:lnTo>
                    <a:pt x="1108" y="342"/>
                  </a:lnTo>
                  <a:lnTo>
                    <a:pt x="1111" y="346"/>
                  </a:lnTo>
                  <a:lnTo>
                    <a:pt x="1113" y="348"/>
                  </a:lnTo>
                  <a:lnTo>
                    <a:pt x="1113" y="353"/>
                  </a:lnTo>
                  <a:lnTo>
                    <a:pt x="1113" y="355"/>
                  </a:lnTo>
                  <a:lnTo>
                    <a:pt x="1115" y="356"/>
                  </a:lnTo>
                  <a:lnTo>
                    <a:pt x="1117" y="365"/>
                  </a:lnTo>
                  <a:lnTo>
                    <a:pt x="1117" y="369"/>
                  </a:lnTo>
                  <a:lnTo>
                    <a:pt x="1118" y="370"/>
                  </a:lnTo>
                  <a:lnTo>
                    <a:pt x="1120" y="373"/>
                  </a:lnTo>
                  <a:lnTo>
                    <a:pt x="1120" y="378"/>
                  </a:lnTo>
                  <a:lnTo>
                    <a:pt x="1120" y="381"/>
                  </a:lnTo>
                  <a:lnTo>
                    <a:pt x="1123" y="386"/>
                  </a:lnTo>
                  <a:lnTo>
                    <a:pt x="1123" y="388"/>
                  </a:lnTo>
                  <a:lnTo>
                    <a:pt x="1118" y="388"/>
                  </a:lnTo>
                  <a:lnTo>
                    <a:pt x="1114" y="386"/>
                  </a:lnTo>
                  <a:lnTo>
                    <a:pt x="1114" y="388"/>
                  </a:lnTo>
                  <a:lnTo>
                    <a:pt x="1117" y="391"/>
                  </a:lnTo>
                  <a:lnTo>
                    <a:pt x="1118" y="392"/>
                  </a:lnTo>
                  <a:lnTo>
                    <a:pt x="1121" y="393"/>
                  </a:lnTo>
                  <a:lnTo>
                    <a:pt x="1123" y="395"/>
                  </a:lnTo>
                  <a:lnTo>
                    <a:pt x="1121" y="398"/>
                  </a:lnTo>
                  <a:lnTo>
                    <a:pt x="1120" y="399"/>
                  </a:lnTo>
                  <a:lnTo>
                    <a:pt x="1118" y="399"/>
                  </a:lnTo>
                  <a:lnTo>
                    <a:pt x="1118" y="399"/>
                  </a:lnTo>
                  <a:lnTo>
                    <a:pt x="1120" y="401"/>
                  </a:lnTo>
                  <a:lnTo>
                    <a:pt x="1121" y="401"/>
                  </a:lnTo>
                  <a:lnTo>
                    <a:pt x="1123" y="402"/>
                  </a:lnTo>
                  <a:lnTo>
                    <a:pt x="1123" y="408"/>
                  </a:lnTo>
                  <a:lnTo>
                    <a:pt x="1123" y="416"/>
                  </a:lnTo>
                  <a:lnTo>
                    <a:pt x="1123" y="419"/>
                  </a:lnTo>
                  <a:lnTo>
                    <a:pt x="1124" y="421"/>
                  </a:lnTo>
                  <a:lnTo>
                    <a:pt x="1128" y="425"/>
                  </a:lnTo>
                  <a:lnTo>
                    <a:pt x="1127" y="428"/>
                  </a:lnTo>
                  <a:lnTo>
                    <a:pt x="1130" y="431"/>
                  </a:lnTo>
                  <a:lnTo>
                    <a:pt x="1128" y="432"/>
                  </a:lnTo>
                  <a:lnTo>
                    <a:pt x="1127" y="434"/>
                  </a:lnTo>
                  <a:lnTo>
                    <a:pt x="1125" y="434"/>
                  </a:lnTo>
                  <a:lnTo>
                    <a:pt x="1127" y="439"/>
                  </a:lnTo>
                  <a:lnTo>
                    <a:pt x="1127" y="444"/>
                  </a:lnTo>
                  <a:lnTo>
                    <a:pt x="1125" y="444"/>
                  </a:lnTo>
                  <a:lnTo>
                    <a:pt x="1125" y="445"/>
                  </a:lnTo>
                  <a:lnTo>
                    <a:pt x="1128" y="445"/>
                  </a:lnTo>
                  <a:lnTo>
                    <a:pt x="1131" y="445"/>
                  </a:lnTo>
                  <a:lnTo>
                    <a:pt x="1133" y="451"/>
                  </a:lnTo>
                  <a:lnTo>
                    <a:pt x="1134" y="459"/>
                  </a:lnTo>
                  <a:lnTo>
                    <a:pt x="1133" y="464"/>
                  </a:lnTo>
                  <a:lnTo>
                    <a:pt x="1130" y="466"/>
                  </a:lnTo>
                  <a:lnTo>
                    <a:pt x="1133" y="468"/>
                  </a:lnTo>
                  <a:lnTo>
                    <a:pt x="1135" y="469"/>
                  </a:lnTo>
                  <a:lnTo>
                    <a:pt x="1137" y="472"/>
                  </a:lnTo>
                  <a:lnTo>
                    <a:pt x="1137" y="478"/>
                  </a:lnTo>
                  <a:lnTo>
                    <a:pt x="1137" y="484"/>
                  </a:lnTo>
                  <a:lnTo>
                    <a:pt x="1137" y="492"/>
                  </a:lnTo>
                  <a:lnTo>
                    <a:pt x="1137" y="499"/>
                  </a:lnTo>
                  <a:lnTo>
                    <a:pt x="1141" y="504"/>
                  </a:lnTo>
                  <a:lnTo>
                    <a:pt x="1141" y="507"/>
                  </a:lnTo>
                  <a:lnTo>
                    <a:pt x="1144" y="511"/>
                  </a:lnTo>
                  <a:lnTo>
                    <a:pt x="1145" y="514"/>
                  </a:lnTo>
                  <a:lnTo>
                    <a:pt x="1150" y="518"/>
                  </a:lnTo>
                  <a:lnTo>
                    <a:pt x="1151" y="521"/>
                  </a:lnTo>
                  <a:lnTo>
                    <a:pt x="1153" y="524"/>
                  </a:lnTo>
                  <a:lnTo>
                    <a:pt x="1154" y="527"/>
                  </a:lnTo>
                  <a:lnTo>
                    <a:pt x="1153" y="528"/>
                  </a:lnTo>
                  <a:lnTo>
                    <a:pt x="1150" y="528"/>
                  </a:lnTo>
                  <a:lnTo>
                    <a:pt x="1147" y="528"/>
                  </a:lnTo>
                  <a:lnTo>
                    <a:pt x="1145" y="527"/>
                  </a:lnTo>
                  <a:lnTo>
                    <a:pt x="1144" y="531"/>
                  </a:lnTo>
                  <a:lnTo>
                    <a:pt x="1144" y="534"/>
                  </a:lnTo>
                  <a:lnTo>
                    <a:pt x="1147" y="535"/>
                  </a:lnTo>
                  <a:lnTo>
                    <a:pt x="1147" y="537"/>
                  </a:lnTo>
                  <a:lnTo>
                    <a:pt x="1145" y="538"/>
                  </a:lnTo>
                  <a:lnTo>
                    <a:pt x="1141" y="538"/>
                  </a:lnTo>
                  <a:lnTo>
                    <a:pt x="1140" y="539"/>
                  </a:lnTo>
                  <a:lnTo>
                    <a:pt x="1141" y="542"/>
                  </a:lnTo>
                  <a:lnTo>
                    <a:pt x="1141" y="547"/>
                  </a:lnTo>
                  <a:lnTo>
                    <a:pt x="1141" y="548"/>
                  </a:lnTo>
                  <a:lnTo>
                    <a:pt x="1140" y="551"/>
                  </a:lnTo>
                  <a:lnTo>
                    <a:pt x="1137" y="551"/>
                  </a:lnTo>
                  <a:lnTo>
                    <a:pt x="1135" y="550"/>
                  </a:lnTo>
                  <a:lnTo>
                    <a:pt x="1134" y="548"/>
                  </a:lnTo>
                  <a:lnTo>
                    <a:pt x="1134" y="550"/>
                  </a:lnTo>
                  <a:lnTo>
                    <a:pt x="1134" y="552"/>
                  </a:lnTo>
                  <a:lnTo>
                    <a:pt x="1135" y="555"/>
                  </a:lnTo>
                  <a:lnTo>
                    <a:pt x="1140" y="558"/>
                  </a:lnTo>
                  <a:lnTo>
                    <a:pt x="1140" y="561"/>
                  </a:lnTo>
                  <a:lnTo>
                    <a:pt x="1140" y="567"/>
                  </a:lnTo>
                  <a:lnTo>
                    <a:pt x="1143" y="568"/>
                  </a:lnTo>
                  <a:lnTo>
                    <a:pt x="1141" y="572"/>
                  </a:lnTo>
                  <a:lnTo>
                    <a:pt x="1141" y="578"/>
                  </a:lnTo>
                  <a:lnTo>
                    <a:pt x="1141" y="581"/>
                  </a:lnTo>
                  <a:lnTo>
                    <a:pt x="1137" y="581"/>
                  </a:lnTo>
                  <a:lnTo>
                    <a:pt x="1137" y="580"/>
                  </a:lnTo>
                  <a:lnTo>
                    <a:pt x="1134" y="577"/>
                  </a:lnTo>
                  <a:lnTo>
                    <a:pt x="1131" y="574"/>
                  </a:lnTo>
                  <a:lnTo>
                    <a:pt x="1130" y="574"/>
                  </a:lnTo>
                  <a:lnTo>
                    <a:pt x="1130" y="570"/>
                  </a:lnTo>
                  <a:lnTo>
                    <a:pt x="1128" y="567"/>
                  </a:lnTo>
                  <a:lnTo>
                    <a:pt x="1125" y="565"/>
                  </a:lnTo>
                  <a:lnTo>
                    <a:pt x="1125" y="561"/>
                  </a:lnTo>
                  <a:lnTo>
                    <a:pt x="1121" y="558"/>
                  </a:lnTo>
                  <a:lnTo>
                    <a:pt x="1117" y="555"/>
                  </a:lnTo>
                  <a:lnTo>
                    <a:pt x="1111" y="555"/>
                  </a:lnTo>
                  <a:lnTo>
                    <a:pt x="1108" y="554"/>
                  </a:lnTo>
                  <a:lnTo>
                    <a:pt x="1108" y="548"/>
                  </a:lnTo>
                  <a:lnTo>
                    <a:pt x="1108" y="547"/>
                  </a:lnTo>
                  <a:lnTo>
                    <a:pt x="1105" y="542"/>
                  </a:lnTo>
                  <a:lnTo>
                    <a:pt x="1104" y="539"/>
                  </a:lnTo>
                  <a:lnTo>
                    <a:pt x="1105" y="537"/>
                  </a:lnTo>
                  <a:lnTo>
                    <a:pt x="1105" y="535"/>
                  </a:lnTo>
                  <a:lnTo>
                    <a:pt x="1101" y="531"/>
                  </a:lnTo>
                  <a:lnTo>
                    <a:pt x="1100" y="528"/>
                  </a:lnTo>
                  <a:lnTo>
                    <a:pt x="1100" y="524"/>
                  </a:lnTo>
                  <a:lnTo>
                    <a:pt x="1100" y="522"/>
                  </a:lnTo>
                  <a:lnTo>
                    <a:pt x="1100" y="522"/>
                  </a:lnTo>
                  <a:lnTo>
                    <a:pt x="1097" y="521"/>
                  </a:lnTo>
                  <a:lnTo>
                    <a:pt x="1095" y="518"/>
                  </a:lnTo>
                  <a:lnTo>
                    <a:pt x="1092" y="519"/>
                  </a:lnTo>
                  <a:lnTo>
                    <a:pt x="1092" y="524"/>
                  </a:lnTo>
                  <a:lnTo>
                    <a:pt x="1092" y="527"/>
                  </a:lnTo>
                  <a:lnTo>
                    <a:pt x="1091" y="529"/>
                  </a:lnTo>
                  <a:lnTo>
                    <a:pt x="1085" y="532"/>
                  </a:lnTo>
                  <a:lnTo>
                    <a:pt x="1084" y="535"/>
                  </a:lnTo>
                  <a:lnTo>
                    <a:pt x="1082" y="544"/>
                  </a:lnTo>
                  <a:lnTo>
                    <a:pt x="1084" y="548"/>
                  </a:lnTo>
                  <a:lnTo>
                    <a:pt x="1084" y="554"/>
                  </a:lnTo>
                  <a:lnTo>
                    <a:pt x="1084" y="557"/>
                  </a:lnTo>
                  <a:lnTo>
                    <a:pt x="1082" y="560"/>
                  </a:lnTo>
                  <a:lnTo>
                    <a:pt x="1081" y="561"/>
                  </a:lnTo>
                  <a:lnTo>
                    <a:pt x="1085" y="564"/>
                  </a:lnTo>
                  <a:lnTo>
                    <a:pt x="1084" y="567"/>
                  </a:lnTo>
                  <a:lnTo>
                    <a:pt x="1081" y="568"/>
                  </a:lnTo>
                  <a:lnTo>
                    <a:pt x="1080" y="568"/>
                  </a:lnTo>
                  <a:lnTo>
                    <a:pt x="1077" y="568"/>
                  </a:lnTo>
                  <a:lnTo>
                    <a:pt x="1078" y="564"/>
                  </a:lnTo>
                  <a:lnTo>
                    <a:pt x="1075" y="562"/>
                  </a:lnTo>
                  <a:lnTo>
                    <a:pt x="1072" y="560"/>
                  </a:lnTo>
                  <a:lnTo>
                    <a:pt x="1071" y="557"/>
                  </a:lnTo>
                  <a:lnTo>
                    <a:pt x="1070" y="548"/>
                  </a:lnTo>
                  <a:lnTo>
                    <a:pt x="1068" y="545"/>
                  </a:lnTo>
                  <a:lnTo>
                    <a:pt x="1065" y="542"/>
                  </a:lnTo>
                  <a:lnTo>
                    <a:pt x="1064" y="538"/>
                  </a:lnTo>
                  <a:lnTo>
                    <a:pt x="1062" y="537"/>
                  </a:lnTo>
                  <a:lnTo>
                    <a:pt x="1061" y="537"/>
                  </a:lnTo>
                  <a:lnTo>
                    <a:pt x="1057" y="534"/>
                  </a:lnTo>
                  <a:lnTo>
                    <a:pt x="1055" y="532"/>
                  </a:lnTo>
                  <a:lnTo>
                    <a:pt x="1054" y="531"/>
                  </a:lnTo>
                  <a:lnTo>
                    <a:pt x="1049" y="529"/>
                  </a:lnTo>
                  <a:lnTo>
                    <a:pt x="1049" y="531"/>
                  </a:lnTo>
                  <a:lnTo>
                    <a:pt x="1047" y="531"/>
                  </a:lnTo>
                  <a:lnTo>
                    <a:pt x="1047" y="529"/>
                  </a:lnTo>
                  <a:lnTo>
                    <a:pt x="1047" y="527"/>
                  </a:lnTo>
                  <a:lnTo>
                    <a:pt x="1044" y="527"/>
                  </a:lnTo>
                  <a:lnTo>
                    <a:pt x="1041" y="527"/>
                  </a:lnTo>
                  <a:lnTo>
                    <a:pt x="1041" y="529"/>
                  </a:lnTo>
                  <a:lnTo>
                    <a:pt x="1039" y="531"/>
                  </a:lnTo>
                  <a:lnTo>
                    <a:pt x="1039" y="534"/>
                  </a:lnTo>
                  <a:lnTo>
                    <a:pt x="1039" y="535"/>
                  </a:lnTo>
                  <a:lnTo>
                    <a:pt x="1039" y="538"/>
                  </a:lnTo>
                  <a:lnTo>
                    <a:pt x="1035" y="539"/>
                  </a:lnTo>
                  <a:lnTo>
                    <a:pt x="1035" y="537"/>
                  </a:lnTo>
                  <a:lnTo>
                    <a:pt x="1034" y="534"/>
                  </a:lnTo>
                  <a:lnTo>
                    <a:pt x="1034" y="531"/>
                  </a:lnTo>
                  <a:lnTo>
                    <a:pt x="1032" y="529"/>
                  </a:lnTo>
                  <a:lnTo>
                    <a:pt x="1032" y="528"/>
                  </a:lnTo>
                  <a:lnTo>
                    <a:pt x="1034" y="528"/>
                  </a:lnTo>
                  <a:lnTo>
                    <a:pt x="1038" y="527"/>
                  </a:lnTo>
                  <a:lnTo>
                    <a:pt x="1041" y="525"/>
                  </a:lnTo>
                  <a:lnTo>
                    <a:pt x="1042" y="522"/>
                  </a:lnTo>
                  <a:lnTo>
                    <a:pt x="1042" y="518"/>
                  </a:lnTo>
                  <a:lnTo>
                    <a:pt x="1039" y="521"/>
                  </a:lnTo>
                  <a:lnTo>
                    <a:pt x="1038" y="522"/>
                  </a:lnTo>
                  <a:lnTo>
                    <a:pt x="1032" y="521"/>
                  </a:lnTo>
                  <a:lnTo>
                    <a:pt x="1032" y="518"/>
                  </a:lnTo>
                  <a:lnTo>
                    <a:pt x="1032" y="515"/>
                  </a:lnTo>
                  <a:lnTo>
                    <a:pt x="1031" y="514"/>
                  </a:lnTo>
                  <a:lnTo>
                    <a:pt x="1028" y="514"/>
                  </a:lnTo>
                  <a:lnTo>
                    <a:pt x="1028" y="511"/>
                  </a:lnTo>
                  <a:lnTo>
                    <a:pt x="1031" y="511"/>
                  </a:lnTo>
                  <a:lnTo>
                    <a:pt x="1031" y="508"/>
                  </a:lnTo>
                  <a:lnTo>
                    <a:pt x="1029" y="502"/>
                  </a:lnTo>
                  <a:lnTo>
                    <a:pt x="1029" y="498"/>
                  </a:lnTo>
                  <a:lnTo>
                    <a:pt x="1027" y="498"/>
                  </a:lnTo>
                  <a:lnTo>
                    <a:pt x="1025" y="499"/>
                  </a:lnTo>
                  <a:lnTo>
                    <a:pt x="1022" y="499"/>
                  </a:lnTo>
                  <a:lnTo>
                    <a:pt x="1019" y="494"/>
                  </a:lnTo>
                  <a:lnTo>
                    <a:pt x="1019" y="491"/>
                  </a:lnTo>
                  <a:lnTo>
                    <a:pt x="1022" y="487"/>
                  </a:lnTo>
                  <a:lnTo>
                    <a:pt x="1022" y="485"/>
                  </a:lnTo>
                  <a:lnTo>
                    <a:pt x="1022" y="479"/>
                  </a:lnTo>
                  <a:lnTo>
                    <a:pt x="1019" y="476"/>
                  </a:lnTo>
                  <a:lnTo>
                    <a:pt x="1015" y="476"/>
                  </a:lnTo>
                  <a:lnTo>
                    <a:pt x="1014" y="475"/>
                  </a:lnTo>
                  <a:lnTo>
                    <a:pt x="1011" y="465"/>
                  </a:lnTo>
                  <a:lnTo>
                    <a:pt x="1008" y="464"/>
                  </a:lnTo>
                  <a:lnTo>
                    <a:pt x="1005" y="464"/>
                  </a:lnTo>
                  <a:lnTo>
                    <a:pt x="1002" y="464"/>
                  </a:lnTo>
                  <a:lnTo>
                    <a:pt x="1002" y="461"/>
                  </a:lnTo>
                  <a:lnTo>
                    <a:pt x="1001" y="455"/>
                  </a:lnTo>
                  <a:lnTo>
                    <a:pt x="998" y="449"/>
                  </a:lnTo>
                  <a:lnTo>
                    <a:pt x="998" y="446"/>
                  </a:lnTo>
                  <a:lnTo>
                    <a:pt x="995" y="446"/>
                  </a:lnTo>
                  <a:lnTo>
                    <a:pt x="992" y="448"/>
                  </a:lnTo>
                  <a:lnTo>
                    <a:pt x="991" y="448"/>
                  </a:lnTo>
                  <a:lnTo>
                    <a:pt x="992" y="444"/>
                  </a:lnTo>
                  <a:lnTo>
                    <a:pt x="991" y="441"/>
                  </a:lnTo>
                  <a:lnTo>
                    <a:pt x="989" y="439"/>
                  </a:lnTo>
                  <a:lnTo>
                    <a:pt x="985" y="438"/>
                  </a:lnTo>
                  <a:lnTo>
                    <a:pt x="982" y="436"/>
                  </a:lnTo>
                  <a:lnTo>
                    <a:pt x="979" y="435"/>
                  </a:lnTo>
                  <a:lnTo>
                    <a:pt x="976" y="432"/>
                  </a:lnTo>
                  <a:lnTo>
                    <a:pt x="975" y="431"/>
                  </a:lnTo>
                  <a:lnTo>
                    <a:pt x="974" y="436"/>
                  </a:lnTo>
                  <a:lnTo>
                    <a:pt x="974" y="445"/>
                  </a:lnTo>
                  <a:lnTo>
                    <a:pt x="975" y="452"/>
                  </a:lnTo>
                  <a:lnTo>
                    <a:pt x="974" y="459"/>
                  </a:lnTo>
                  <a:lnTo>
                    <a:pt x="974" y="466"/>
                  </a:lnTo>
                  <a:lnTo>
                    <a:pt x="978" y="469"/>
                  </a:lnTo>
                  <a:lnTo>
                    <a:pt x="981" y="476"/>
                  </a:lnTo>
                  <a:lnTo>
                    <a:pt x="984" y="482"/>
                  </a:lnTo>
                  <a:lnTo>
                    <a:pt x="984" y="485"/>
                  </a:lnTo>
                  <a:lnTo>
                    <a:pt x="979" y="488"/>
                  </a:lnTo>
                  <a:lnTo>
                    <a:pt x="979" y="489"/>
                  </a:lnTo>
                  <a:lnTo>
                    <a:pt x="979" y="492"/>
                  </a:lnTo>
                  <a:lnTo>
                    <a:pt x="976" y="495"/>
                  </a:lnTo>
                  <a:lnTo>
                    <a:pt x="976" y="495"/>
                  </a:lnTo>
                  <a:lnTo>
                    <a:pt x="976" y="499"/>
                  </a:lnTo>
                  <a:lnTo>
                    <a:pt x="976" y="501"/>
                  </a:lnTo>
                  <a:lnTo>
                    <a:pt x="976" y="505"/>
                  </a:lnTo>
                  <a:lnTo>
                    <a:pt x="976" y="508"/>
                  </a:lnTo>
                  <a:lnTo>
                    <a:pt x="976" y="511"/>
                  </a:lnTo>
                  <a:lnTo>
                    <a:pt x="974" y="511"/>
                  </a:lnTo>
                  <a:lnTo>
                    <a:pt x="974" y="512"/>
                  </a:lnTo>
                  <a:lnTo>
                    <a:pt x="971" y="512"/>
                  </a:lnTo>
                  <a:lnTo>
                    <a:pt x="966" y="511"/>
                  </a:lnTo>
                  <a:lnTo>
                    <a:pt x="966" y="509"/>
                  </a:lnTo>
                  <a:lnTo>
                    <a:pt x="966" y="505"/>
                  </a:lnTo>
                  <a:lnTo>
                    <a:pt x="965" y="504"/>
                  </a:lnTo>
                  <a:lnTo>
                    <a:pt x="961" y="502"/>
                  </a:lnTo>
                  <a:lnTo>
                    <a:pt x="958" y="499"/>
                  </a:lnTo>
                  <a:lnTo>
                    <a:pt x="956" y="495"/>
                  </a:lnTo>
                  <a:lnTo>
                    <a:pt x="955" y="492"/>
                  </a:lnTo>
                  <a:lnTo>
                    <a:pt x="954" y="492"/>
                  </a:lnTo>
                  <a:lnTo>
                    <a:pt x="954" y="497"/>
                  </a:lnTo>
                  <a:lnTo>
                    <a:pt x="954" y="499"/>
                  </a:lnTo>
                  <a:lnTo>
                    <a:pt x="958" y="504"/>
                  </a:lnTo>
                  <a:lnTo>
                    <a:pt x="956" y="505"/>
                  </a:lnTo>
                  <a:lnTo>
                    <a:pt x="954" y="505"/>
                  </a:lnTo>
                  <a:lnTo>
                    <a:pt x="952" y="507"/>
                  </a:lnTo>
                  <a:lnTo>
                    <a:pt x="948" y="508"/>
                  </a:lnTo>
                  <a:lnTo>
                    <a:pt x="944" y="507"/>
                  </a:lnTo>
                  <a:lnTo>
                    <a:pt x="944" y="502"/>
                  </a:lnTo>
                  <a:lnTo>
                    <a:pt x="944" y="498"/>
                  </a:lnTo>
                  <a:lnTo>
                    <a:pt x="941" y="498"/>
                  </a:lnTo>
                  <a:lnTo>
                    <a:pt x="933" y="499"/>
                  </a:lnTo>
                  <a:lnTo>
                    <a:pt x="928" y="504"/>
                  </a:lnTo>
                  <a:lnTo>
                    <a:pt x="926" y="504"/>
                  </a:lnTo>
                  <a:lnTo>
                    <a:pt x="923" y="505"/>
                  </a:lnTo>
                  <a:lnTo>
                    <a:pt x="918" y="512"/>
                  </a:lnTo>
                  <a:lnTo>
                    <a:pt x="918" y="515"/>
                  </a:lnTo>
                  <a:lnTo>
                    <a:pt x="916" y="519"/>
                  </a:lnTo>
                  <a:lnTo>
                    <a:pt x="916" y="522"/>
                  </a:lnTo>
                  <a:lnTo>
                    <a:pt x="913" y="524"/>
                  </a:lnTo>
                  <a:lnTo>
                    <a:pt x="913" y="528"/>
                  </a:lnTo>
                  <a:lnTo>
                    <a:pt x="916" y="532"/>
                  </a:lnTo>
                  <a:lnTo>
                    <a:pt x="919" y="535"/>
                  </a:lnTo>
                  <a:lnTo>
                    <a:pt x="919" y="537"/>
                  </a:lnTo>
                  <a:lnTo>
                    <a:pt x="913" y="541"/>
                  </a:lnTo>
                  <a:lnTo>
                    <a:pt x="911" y="547"/>
                  </a:lnTo>
                  <a:lnTo>
                    <a:pt x="906" y="548"/>
                  </a:lnTo>
                  <a:lnTo>
                    <a:pt x="905" y="552"/>
                  </a:lnTo>
                  <a:lnTo>
                    <a:pt x="905" y="557"/>
                  </a:lnTo>
                  <a:lnTo>
                    <a:pt x="909" y="560"/>
                  </a:lnTo>
                  <a:lnTo>
                    <a:pt x="906" y="562"/>
                  </a:lnTo>
                  <a:lnTo>
                    <a:pt x="901" y="561"/>
                  </a:lnTo>
                  <a:lnTo>
                    <a:pt x="896" y="564"/>
                  </a:lnTo>
                  <a:lnTo>
                    <a:pt x="892" y="571"/>
                  </a:lnTo>
                  <a:lnTo>
                    <a:pt x="892" y="574"/>
                  </a:lnTo>
                  <a:lnTo>
                    <a:pt x="895" y="580"/>
                  </a:lnTo>
                  <a:lnTo>
                    <a:pt x="895" y="584"/>
                  </a:lnTo>
                  <a:lnTo>
                    <a:pt x="893" y="587"/>
                  </a:lnTo>
                  <a:lnTo>
                    <a:pt x="895" y="592"/>
                  </a:lnTo>
                  <a:lnTo>
                    <a:pt x="888" y="597"/>
                  </a:lnTo>
                  <a:lnTo>
                    <a:pt x="885" y="597"/>
                  </a:lnTo>
                  <a:lnTo>
                    <a:pt x="879" y="600"/>
                  </a:lnTo>
                  <a:lnTo>
                    <a:pt x="873" y="604"/>
                  </a:lnTo>
                  <a:lnTo>
                    <a:pt x="869" y="608"/>
                  </a:lnTo>
                  <a:lnTo>
                    <a:pt x="862" y="614"/>
                  </a:lnTo>
                  <a:lnTo>
                    <a:pt x="859" y="618"/>
                  </a:lnTo>
                  <a:lnTo>
                    <a:pt x="858" y="624"/>
                  </a:lnTo>
                  <a:lnTo>
                    <a:pt x="860" y="630"/>
                  </a:lnTo>
                  <a:lnTo>
                    <a:pt x="862" y="634"/>
                  </a:lnTo>
                  <a:lnTo>
                    <a:pt x="863" y="635"/>
                  </a:lnTo>
                  <a:lnTo>
                    <a:pt x="866" y="637"/>
                  </a:lnTo>
                  <a:lnTo>
                    <a:pt x="863" y="640"/>
                  </a:lnTo>
                  <a:lnTo>
                    <a:pt x="860" y="640"/>
                  </a:lnTo>
                  <a:lnTo>
                    <a:pt x="859" y="641"/>
                  </a:lnTo>
                  <a:lnTo>
                    <a:pt x="858" y="647"/>
                  </a:lnTo>
                  <a:lnTo>
                    <a:pt x="856" y="654"/>
                  </a:lnTo>
                  <a:lnTo>
                    <a:pt x="856" y="658"/>
                  </a:lnTo>
                  <a:lnTo>
                    <a:pt x="858" y="664"/>
                  </a:lnTo>
                  <a:lnTo>
                    <a:pt x="858" y="671"/>
                  </a:lnTo>
                  <a:lnTo>
                    <a:pt x="858" y="677"/>
                  </a:lnTo>
                  <a:lnTo>
                    <a:pt x="858" y="684"/>
                  </a:lnTo>
                  <a:lnTo>
                    <a:pt x="856" y="687"/>
                  </a:lnTo>
                  <a:lnTo>
                    <a:pt x="852" y="690"/>
                  </a:lnTo>
                  <a:lnTo>
                    <a:pt x="852" y="693"/>
                  </a:lnTo>
                  <a:lnTo>
                    <a:pt x="852" y="696"/>
                  </a:lnTo>
                  <a:lnTo>
                    <a:pt x="856" y="701"/>
                  </a:lnTo>
                  <a:lnTo>
                    <a:pt x="863" y="711"/>
                  </a:lnTo>
                  <a:lnTo>
                    <a:pt x="866" y="713"/>
                  </a:lnTo>
                  <a:lnTo>
                    <a:pt x="872" y="716"/>
                  </a:lnTo>
                  <a:lnTo>
                    <a:pt x="875" y="719"/>
                  </a:lnTo>
                  <a:lnTo>
                    <a:pt x="876" y="721"/>
                  </a:lnTo>
                  <a:lnTo>
                    <a:pt x="882" y="723"/>
                  </a:lnTo>
                  <a:lnTo>
                    <a:pt x="885" y="726"/>
                  </a:lnTo>
                  <a:lnTo>
                    <a:pt x="888" y="729"/>
                  </a:lnTo>
                  <a:lnTo>
                    <a:pt x="888" y="731"/>
                  </a:lnTo>
                  <a:lnTo>
                    <a:pt x="885" y="731"/>
                  </a:lnTo>
                  <a:lnTo>
                    <a:pt x="883" y="731"/>
                  </a:lnTo>
                  <a:lnTo>
                    <a:pt x="882" y="731"/>
                  </a:lnTo>
                  <a:lnTo>
                    <a:pt x="882" y="734"/>
                  </a:lnTo>
                  <a:lnTo>
                    <a:pt x="882" y="740"/>
                  </a:lnTo>
                  <a:lnTo>
                    <a:pt x="880" y="746"/>
                  </a:lnTo>
                  <a:lnTo>
                    <a:pt x="880" y="753"/>
                  </a:lnTo>
                  <a:lnTo>
                    <a:pt x="880" y="759"/>
                  </a:lnTo>
                  <a:lnTo>
                    <a:pt x="882" y="763"/>
                  </a:lnTo>
                  <a:lnTo>
                    <a:pt x="883" y="766"/>
                  </a:lnTo>
                  <a:lnTo>
                    <a:pt x="883" y="767"/>
                  </a:lnTo>
                  <a:lnTo>
                    <a:pt x="883" y="776"/>
                  </a:lnTo>
                  <a:lnTo>
                    <a:pt x="885" y="780"/>
                  </a:lnTo>
                  <a:lnTo>
                    <a:pt x="886" y="786"/>
                  </a:lnTo>
                  <a:lnTo>
                    <a:pt x="886" y="793"/>
                  </a:lnTo>
                  <a:lnTo>
                    <a:pt x="886" y="797"/>
                  </a:lnTo>
                  <a:lnTo>
                    <a:pt x="886" y="800"/>
                  </a:lnTo>
                  <a:lnTo>
                    <a:pt x="889" y="802"/>
                  </a:lnTo>
                  <a:lnTo>
                    <a:pt x="891" y="803"/>
                  </a:lnTo>
                  <a:lnTo>
                    <a:pt x="892" y="809"/>
                  </a:lnTo>
                  <a:lnTo>
                    <a:pt x="893" y="812"/>
                  </a:lnTo>
                  <a:lnTo>
                    <a:pt x="896" y="816"/>
                  </a:lnTo>
                  <a:lnTo>
                    <a:pt x="902" y="819"/>
                  </a:lnTo>
                  <a:lnTo>
                    <a:pt x="905" y="820"/>
                  </a:lnTo>
                  <a:lnTo>
                    <a:pt x="906" y="823"/>
                  </a:lnTo>
                  <a:lnTo>
                    <a:pt x="906" y="825"/>
                  </a:lnTo>
                  <a:lnTo>
                    <a:pt x="909" y="825"/>
                  </a:lnTo>
                  <a:lnTo>
                    <a:pt x="909" y="827"/>
                  </a:lnTo>
                  <a:lnTo>
                    <a:pt x="908" y="829"/>
                  </a:lnTo>
                  <a:lnTo>
                    <a:pt x="905" y="829"/>
                  </a:lnTo>
                  <a:lnTo>
                    <a:pt x="902" y="829"/>
                  </a:lnTo>
                  <a:lnTo>
                    <a:pt x="902" y="830"/>
                  </a:lnTo>
                  <a:lnTo>
                    <a:pt x="903" y="832"/>
                  </a:lnTo>
                  <a:lnTo>
                    <a:pt x="905" y="835"/>
                  </a:lnTo>
                  <a:lnTo>
                    <a:pt x="905" y="839"/>
                  </a:lnTo>
                  <a:lnTo>
                    <a:pt x="906" y="842"/>
                  </a:lnTo>
                  <a:lnTo>
                    <a:pt x="903" y="847"/>
                  </a:lnTo>
                  <a:lnTo>
                    <a:pt x="905" y="850"/>
                  </a:lnTo>
                  <a:lnTo>
                    <a:pt x="905" y="855"/>
                  </a:lnTo>
                  <a:lnTo>
                    <a:pt x="906" y="859"/>
                  </a:lnTo>
                  <a:lnTo>
                    <a:pt x="905" y="862"/>
                  </a:lnTo>
                  <a:lnTo>
                    <a:pt x="905" y="865"/>
                  </a:lnTo>
                  <a:lnTo>
                    <a:pt x="905" y="867"/>
                  </a:lnTo>
                  <a:lnTo>
                    <a:pt x="908" y="869"/>
                  </a:lnTo>
                  <a:lnTo>
                    <a:pt x="908" y="873"/>
                  </a:lnTo>
                  <a:lnTo>
                    <a:pt x="908" y="877"/>
                  </a:lnTo>
                  <a:lnTo>
                    <a:pt x="903" y="876"/>
                  </a:lnTo>
                  <a:lnTo>
                    <a:pt x="903" y="880"/>
                  </a:lnTo>
                  <a:lnTo>
                    <a:pt x="903" y="886"/>
                  </a:lnTo>
                  <a:lnTo>
                    <a:pt x="905" y="892"/>
                  </a:lnTo>
                  <a:lnTo>
                    <a:pt x="905" y="896"/>
                  </a:lnTo>
                  <a:lnTo>
                    <a:pt x="905" y="905"/>
                  </a:lnTo>
                  <a:lnTo>
                    <a:pt x="902" y="916"/>
                  </a:lnTo>
                  <a:lnTo>
                    <a:pt x="902" y="923"/>
                  </a:lnTo>
                  <a:lnTo>
                    <a:pt x="903" y="930"/>
                  </a:lnTo>
                  <a:lnTo>
                    <a:pt x="906" y="939"/>
                  </a:lnTo>
                  <a:lnTo>
                    <a:pt x="908" y="941"/>
                  </a:lnTo>
                  <a:lnTo>
                    <a:pt x="909" y="945"/>
                  </a:lnTo>
                  <a:lnTo>
                    <a:pt x="909" y="949"/>
                  </a:lnTo>
                  <a:lnTo>
                    <a:pt x="909" y="955"/>
                  </a:lnTo>
                  <a:lnTo>
                    <a:pt x="911" y="961"/>
                  </a:lnTo>
                  <a:lnTo>
                    <a:pt x="912" y="968"/>
                  </a:lnTo>
                  <a:lnTo>
                    <a:pt x="909" y="973"/>
                  </a:lnTo>
                  <a:lnTo>
                    <a:pt x="909" y="978"/>
                  </a:lnTo>
                  <a:lnTo>
                    <a:pt x="908" y="983"/>
                  </a:lnTo>
                  <a:lnTo>
                    <a:pt x="909" y="986"/>
                  </a:lnTo>
                  <a:lnTo>
                    <a:pt x="911" y="989"/>
                  </a:lnTo>
                  <a:lnTo>
                    <a:pt x="915" y="991"/>
                  </a:lnTo>
                  <a:lnTo>
                    <a:pt x="919" y="992"/>
                  </a:lnTo>
                  <a:lnTo>
                    <a:pt x="925" y="995"/>
                  </a:lnTo>
                  <a:lnTo>
                    <a:pt x="932" y="998"/>
                  </a:lnTo>
                  <a:lnTo>
                    <a:pt x="933" y="1001"/>
                  </a:lnTo>
                  <a:lnTo>
                    <a:pt x="933" y="1002"/>
                  </a:lnTo>
                  <a:lnTo>
                    <a:pt x="932" y="1005"/>
                  </a:lnTo>
                  <a:lnTo>
                    <a:pt x="933" y="1008"/>
                  </a:lnTo>
                  <a:lnTo>
                    <a:pt x="933" y="1009"/>
                  </a:lnTo>
                  <a:lnTo>
                    <a:pt x="933" y="1012"/>
                  </a:lnTo>
                  <a:lnTo>
                    <a:pt x="932" y="1014"/>
                  </a:lnTo>
                  <a:lnTo>
                    <a:pt x="931" y="1011"/>
                  </a:lnTo>
                  <a:lnTo>
                    <a:pt x="929" y="1006"/>
                  </a:lnTo>
                  <a:lnTo>
                    <a:pt x="928" y="1002"/>
                  </a:lnTo>
                  <a:lnTo>
                    <a:pt x="925" y="1004"/>
                  </a:lnTo>
                  <a:lnTo>
                    <a:pt x="925" y="1006"/>
                  </a:lnTo>
                  <a:lnTo>
                    <a:pt x="922" y="1009"/>
                  </a:lnTo>
                  <a:lnTo>
                    <a:pt x="921" y="1012"/>
                  </a:lnTo>
                  <a:lnTo>
                    <a:pt x="921" y="1016"/>
                  </a:lnTo>
                  <a:lnTo>
                    <a:pt x="926" y="1022"/>
                  </a:lnTo>
                  <a:lnTo>
                    <a:pt x="929" y="1028"/>
                  </a:lnTo>
                  <a:lnTo>
                    <a:pt x="936" y="1032"/>
                  </a:lnTo>
                  <a:lnTo>
                    <a:pt x="941" y="1034"/>
                  </a:lnTo>
                  <a:lnTo>
                    <a:pt x="942" y="1035"/>
                  </a:lnTo>
                  <a:lnTo>
                    <a:pt x="945" y="1038"/>
                  </a:lnTo>
                  <a:lnTo>
                    <a:pt x="946" y="1038"/>
                  </a:lnTo>
                  <a:lnTo>
                    <a:pt x="952" y="1039"/>
                  </a:lnTo>
                  <a:lnTo>
                    <a:pt x="958" y="1039"/>
                  </a:lnTo>
                  <a:lnTo>
                    <a:pt x="961" y="1041"/>
                  </a:lnTo>
                  <a:lnTo>
                    <a:pt x="964" y="1042"/>
                  </a:lnTo>
                  <a:lnTo>
                    <a:pt x="962" y="1042"/>
                  </a:lnTo>
                  <a:lnTo>
                    <a:pt x="958" y="1042"/>
                  </a:lnTo>
                  <a:lnTo>
                    <a:pt x="951" y="1042"/>
                  </a:lnTo>
                  <a:lnTo>
                    <a:pt x="946" y="1042"/>
                  </a:lnTo>
                  <a:lnTo>
                    <a:pt x="948" y="1044"/>
                  </a:lnTo>
                  <a:lnTo>
                    <a:pt x="951" y="1048"/>
                  </a:lnTo>
                  <a:lnTo>
                    <a:pt x="951" y="1051"/>
                  </a:lnTo>
                  <a:lnTo>
                    <a:pt x="952" y="1054"/>
                  </a:lnTo>
                  <a:lnTo>
                    <a:pt x="955" y="1057"/>
                  </a:lnTo>
                  <a:lnTo>
                    <a:pt x="956" y="1059"/>
                  </a:lnTo>
                  <a:lnTo>
                    <a:pt x="954" y="1064"/>
                  </a:lnTo>
                  <a:lnTo>
                    <a:pt x="954" y="1065"/>
                  </a:lnTo>
                  <a:lnTo>
                    <a:pt x="959" y="1068"/>
                  </a:lnTo>
                  <a:lnTo>
                    <a:pt x="964" y="1069"/>
                  </a:lnTo>
                  <a:lnTo>
                    <a:pt x="966" y="1068"/>
                  </a:lnTo>
                  <a:lnTo>
                    <a:pt x="971" y="1065"/>
                  </a:lnTo>
                  <a:lnTo>
                    <a:pt x="974" y="1062"/>
                  </a:lnTo>
                  <a:lnTo>
                    <a:pt x="974" y="1058"/>
                  </a:lnTo>
                  <a:lnTo>
                    <a:pt x="972" y="1055"/>
                  </a:lnTo>
                  <a:lnTo>
                    <a:pt x="971" y="1049"/>
                  </a:lnTo>
                  <a:lnTo>
                    <a:pt x="969" y="1048"/>
                  </a:lnTo>
                  <a:lnTo>
                    <a:pt x="968" y="1046"/>
                  </a:lnTo>
                  <a:lnTo>
                    <a:pt x="971" y="1046"/>
                  </a:lnTo>
                  <a:lnTo>
                    <a:pt x="974" y="1046"/>
                  </a:lnTo>
                  <a:lnTo>
                    <a:pt x="978" y="1051"/>
                  </a:lnTo>
                  <a:lnTo>
                    <a:pt x="979" y="1051"/>
                  </a:lnTo>
                  <a:lnTo>
                    <a:pt x="984" y="1052"/>
                  </a:lnTo>
                  <a:lnTo>
                    <a:pt x="986" y="1055"/>
                  </a:lnTo>
                  <a:lnTo>
                    <a:pt x="989" y="1052"/>
                  </a:lnTo>
                  <a:lnTo>
                    <a:pt x="991" y="1049"/>
                  </a:lnTo>
                  <a:lnTo>
                    <a:pt x="991" y="1048"/>
                  </a:lnTo>
                  <a:lnTo>
                    <a:pt x="986" y="1048"/>
                  </a:lnTo>
                  <a:lnTo>
                    <a:pt x="985" y="1046"/>
                  </a:lnTo>
                  <a:lnTo>
                    <a:pt x="979" y="1046"/>
                  </a:lnTo>
                  <a:lnTo>
                    <a:pt x="978" y="1045"/>
                  </a:lnTo>
                  <a:lnTo>
                    <a:pt x="975" y="1044"/>
                  </a:lnTo>
                  <a:lnTo>
                    <a:pt x="971" y="1042"/>
                  </a:lnTo>
                  <a:lnTo>
                    <a:pt x="971" y="1041"/>
                  </a:lnTo>
                  <a:lnTo>
                    <a:pt x="974" y="1038"/>
                  </a:lnTo>
                  <a:lnTo>
                    <a:pt x="979" y="1036"/>
                  </a:lnTo>
                  <a:lnTo>
                    <a:pt x="981" y="1036"/>
                  </a:lnTo>
                  <a:lnTo>
                    <a:pt x="981" y="1031"/>
                  </a:lnTo>
                  <a:lnTo>
                    <a:pt x="982" y="1028"/>
                  </a:lnTo>
                  <a:lnTo>
                    <a:pt x="984" y="1026"/>
                  </a:lnTo>
                  <a:lnTo>
                    <a:pt x="989" y="1025"/>
                  </a:lnTo>
                  <a:lnTo>
                    <a:pt x="994" y="1025"/>
                  </a:lnTo>
                  <a:lnTo>
                    <a:pt x="999" y="1025"/>
                  </a:lnTo>
                  <a:lnTo>
                    <a:pt x="1002" y="1024"/>
                  </a:lnTo>
                  <a:lnTo>
                    <a:pt x="1004" y="1022"/>
                  </a:lnTo>
                  <a:lnTo>
                    <a:pt x="1004" y="1019"/>
                  </a:lnTo>
                  <a:lnTo>
                    <a:pt x="1005" y="1015"/>
                  </a:lnTo>
                  <a:lnTo>
                    <a:pt x="1005" y="1012"/>
                  </a:lnTo>
                  <a:lnTo>
                    <a:pt x="1008" y="1011"/>
                  </a:lnTo>
                  <a:lnTo>
                    <a:pt x="1014" y="1011"/>
                  </a:lnTo>
                  <a:lnTo>
                    <a:pt x="1018" y="1012"/>
                  </a:lnTo>
                  <a:lnTo>
                    <a:pt x="1024" y="1014"/>
                  </a:lnTo>
                  <a:lnTo>
                    <a:pt x="1025" y="1014"/>
                  </a:lnTo>
                  <a:lnTo>
                    <a:pt x="1029" y="1014"/>
                  </a:lnTo>
                  <a:lnTo>
                    <a:pt x="1032" y="1014"/>
                  </a:lnTo>
                  <a:lnTo>
                    <a:pt x="1035" y="1014"/>
                  </a:lnTo>
                  <a:lnTo>
                    <a:pt x="1037" y="1015"/>
                  </a:lnTo>
                  <a:lnTo>
                    <a:pt x="1038" y="1016"/>
                  </a:lnTo>
                  <a:lnTo>
                    <a:pt x="1039" y="1016"/>
                  </a:lnTo>
                  <a:lnTo>
                    <a:pt x="1042" y="1016"/>
                  </a:lnTo>
                  <a:lnTo>
                    <a:pt x="1042" y="1019"/>
                  </a:lnTo>
                  <a:lnTo>
                    <a:pt x="1042" y="1022"/>
                  </a:lnTo>
                  <a:lnTo>
                    <a:pt x="1041" y="1024"/>
                  </a:lnTo>
                  <a:lnTo>
                    <a:pt x="1041" y="1025"/>
                  </a:lnTo>
                  <a:lnTo>
                    <a:pt x="1047" y="1025"/>
                  </a:lnTo>
                  <a:lnTo>
                    <a:pt x="1049" y="1025"/>
                  </a:lnTo>
                  <a:lnTo>
                    <a:pt x="1051" y="1031"/>
                  </a:lnTo>
                  <a:lnTo>
                    <a:pt x="1052" y="1031"/>
                  </a:lnTo>
                  <a:lnTo>
                    <a:pt x="1055" y="1032"/>
                  </a:lnTo>
                  <a:lnTo>
                    <a:pt x="1058" y="1032"/>
                  </a:lnTo>
                  <a:lnTo>
                    <a:pt x="1058" y="1034"/>
                  </a:lnTo>
                  <a:lnTo>
                    <a:pt x="1052" y="1038"/>
                  </a:lnTo>
                  <a:lnTo>
                    <a:pt x="1049" y="1041"/>
                  </a:lnTo>
                  <a:lnTo>
                    <a:pt x="1048" y="1044"/>
                  </a:lnTo>
                  <a:lnTo>
                    <a:pt x="1048" y="1045"/>
                  </a:lnTo>
                  <a:lnTo>
                    <a:pt x="1047" y="1048"/>
                  </a:lnTo>
                  <a:lnTo>
                    <a:pt x="1042" y="1048"/>
                  </a:lnTo>
                  <a:lnTo>
                    <a:pt x="1041" y="1049"/>
                  </a:lnTo>
                  <a:lnTo>
                    <a:pt x="1039" y="1051"/>
                  </a:lnTo>
                  <a:lnTo>
                    <a:pt x="1038" y="1054"/>
                  </a:lnTo>
                  <a:lnTo>
                    <a:pt x="1035" y="1055"/>
                  </a:lnTo>
                  <a:lnTo>
                    <a:pt x="1035" y="1057"/>
                  </a:lnTo>
                  <a:lnTo>
                    <a:pt x="1035" y="1058"/>
                  </a:lnTo>
                  <a:lnTo>
                    <a:pt x="1035" y="1059"/>
                  </a:lnTo>
                  <a:lnTo>
                    <a:pt x="1041" y="1062"/>
                  </a:lnTo>
                  <a:lnTo>
                    <a:pt x="1042" y="1064"/>
                  </a:lnTo>
                  <a:lnTo>
                    <a:pt x="1041" y="1065"/>
                  </a:lnTo>
                  <a:lnTo>
                    <a:pt x="1035" y="1068"/>
                  </a:lnTo>
                  <a:lnTo>
                    <a:pt x="1032" y="1069"/>
                  </a:lnTo>
                  <a:lnTo>
                    <a:pt x="1025" y="1071"/>
                  </a:lnTo>
                  <a:lnTo>
                    <a:pt x="1017" y="1072"/>
                  </a:lnTo>
                  <a:lnTo>
                    <a:pt x="1012" y="1072"/>
                  </a:lnTo>
                  <a:lnTo>
                    <a:pt x="1011" y="1075"/>
                  </a:lnTo>
                  <a:lnTo>
                    <a:pt x="1011" y="1078"/>
                  </a:lnTo>
                  <a:lnTo>
                    <a:pt x="1009" y="1081"/>
                  </a:lnTo>
                  <a:lnTo>
                    <a:pt x="1008" y="1084"/>
                  </a:lnTo>
                  <a:lnTo>
                    <a:pt x="1008" y="1087"/>
                  </a:lnTo>
                  <a:lnTo>
                    <a:pt x="1009" y="1088"/>
                  </a:lnTo>
                  <a:lnTo>
                    <a:pt x="1015" y="1089"/>
                  </a:lnTo>
                  <a:lnTo>
                    <a:pt x="1018" y="1092"/>
                  </a:lnTo>
                  <a:lnTo>
                    <a:pt x="1018" y="1098"/>
                  </a:lnTo>
                  <a:lnTo>
                    <a:pt x="1015" y="1102"/>
                  </a:lnTo>
                  <a:lnTo>
                    <a:pt x="1011" y="1105"/>
                  </a:lnTo>
                  <a:lnTo>
                    <a:pt x="1009" y="1110"/>
                  </a:lnTo>
                  <a:lnTo>
                    <a:pt x="1008" y="1117"/>
                  </a:lnTo>
                  <a:lnTo>
                    <a:pt x="1008" y="1117"/>
                  </a:lnTo>
                  <a:lnTo>
                    <a:pt x="1005" y="1120"/>
                  </a:lnTo>
                  <a:lnTo>
                    <a:pt x="999" y="1124"/>
                  </a:lnTo>
                  <a:lnTo>
                    <a:pt x="994" y="1125"/>
                  </a:lnTo>
                  <a:lnTo>
                    <a:pt x="992" y="1125"/>
                  </a:lnTo>
                  <a:lnTo>
                    <a:pt x="991" y="1122"/>
                  </a:lnTo>
                  <a:lnTo>
                    <a:pt x="988" y="1121"/>
                  </a:lnTo>
                  <a:lnTo>
                    <a:pt x="985" y="1121"/>
                  </a:lnTo>
                  <a:lnTo>
                    <a:pt x="981" y="1121"/>
                  </a:lnTo>
                  <a:lnTo>
                    <a:pt x="978" y="1120"/>
                  </a:lnTo>
                  <a:lnTo>
                    <a:pt x="976" y="1124"/>
                  </a:lnTo>
                  <a:lnTo>
                    <a:pt x="974" y="1127"/>
                  </a:lnTo>
                  <a:lnTo>
                    <a:pt x="971" y="1127"/>
                  </a:lnTo>
                  <a:lnTo>
                    <a:pt x="971" y="1124"/>
                  </a:lnTo>
                  <a:lnTo>
                    <a:pt x="969" y="1121"/>
                  </a:lnTo>
                  <a:lnTo>
                    <a:pt x="971" y="1117"/>
                  </a:lnTo>
                  <a:lnTo>
                    <a:pt x="969" y="1114"/>
                  </a:lnTo>
                  <a:lnTo>
                    <a:pt x="969" y="1115"/>
                  </a:lnTo>
                  <a:lnTo>
                    <a:pt x="968" y="1117"/>
                  </a:lnTo>
                  <a:lnTo>
                    <a:pt x="966" y="1122"/>
                  </a:lnTo>
                  <a:lnTo>
                    <a:pt x="966" y="1130"/>
                  </a:lnTo>
                  <a:lnTo>
                    <a:pt x="964" y="1130"/>
                  </a:lnTo>
                  <a:lnTo>
                    <a:pt x="961" y="1131"/>
                  </a:lnTo>
                  <a:lnTo>
                    <a:pt x="956" y="1131"/>
                  </a:lnTo>
                  <a:lnTo>
                    <a:pt x="954" y="1132"/>
                  </a:lnTo>
                  <a:lnTo>
                    <a:pt x="954" y="1132"/>
                  </a:lnTo>
                  <a:lnTo>
                    <a:pt x="952" y="1137"/>
                  </a:lnTo>
                  <a:lnTo>
                    <a:pt x="949" y="1138"/>
                  </a:lnTo>
                  <a:lnTo>
                    <a:pt x="948" y="1138"/>
                  </a:lnTo>
                  <a:lnTo>
                    <a:pt x="948" y="1141"/>
                  </a:lnTo>
                  <a:lnTo>
                    <a:pt x="951" y="1141"/>
                  </a:lnTo>
                  <a:lnTo>
                    <a:pt x="954" y="1147"/>
                  </a:lnTo>
                  <a:lnTo>
                    <a:pt x="954" y="1148"/>
                  </a:lnTo>
                  <a:lnTo>
                    <a:pt x="952" y="1150"/>
                  </a:lnTo>
                  <a:lnTo>
                    <a:pt x="952" y="1152"/>
                  </a:lnTo>
                  <a:lnTo>
                    <a:pt x="952" y="1154"/>
                  </a:lnTo>
                  <a:lnTo>
                    <a:pt x="952" y="1155"/>
                  </a:lnTo>
                  <a:lnTo>
                    <a:pt x="955" y="1154"/>
                  </a:lnTo>
                  <a:lnTo>
                    <a:pt x="956" y="1151"/>
                  </a:lnTo>
                  <a:lnTo>
                    <a:pt x="959" y="1152"/>
                  </a:lnTo>
                  <a:lnTo>
                    <a:pt x="961" y="1155"/>
                  </a:lnTo>
                  <a:lnTo>
                    <a:pt x="962" y="1158"/>
                  </a:lnTo>
                  <a:lnTo>
                    <a:pt x="962" y="1160"/>
                  </a:lnTo>
                  <a:lnTo>
                    <a:pt x="959" y="1164"/>
                  </a:lnTo>
                  <a:lnTo>
                    <a:pt x="955" y="1167"/>
                  </a:lnTo>
                  <a:lnTo>
                    <a:pt x="955" y="1170"/>
                  </a:lnTo>
                  <a:lnTo>
                    <a:pt x="954" y="1173"/>
                  </a:lnTo>
                  <a:lnTo>
                    <a:pt x="951" y="1173"/>
                  </a:lnTo>
                  <a:lnTo>
                    <a:pt x="949" y="1174"/>
                  </a:lnTo>
                  <a:lnTo>
                    <a:pt x="949" y="1175"/>
                  </a:lnTo>
                  <a:lnTo>
                    <a:pt x="946" y="1178"/>
                  </a:lnTo>
                  <a:lnTo>
                    <a:pt x="946" y="1181"/>
                  </a:lnTo>
                  <a:lnTo>
                    <a:pt x="948" y="1183"/>
                  </a:lnTo>
                  <a:lnTo>
                    <a:pt x="949" y="1185"/>
                  </a:lnTo>
                  <a:lnTo>
                    <a:pt x="952" y="1190"/>
                  </a:lnTo>
                  <a:lnTo>
                    <a:pt x="955" y="1195"/>
                  </a:lnTo>
                  <a:lnTo>
                    <a:pt x="955" y="1200"/>
                  </a:lnTo>
                  <a:lnTo>
                    <a:pt x="956" y="1201"/>
                  </a:lnTo>
                  <a:lnTo>
                    <a:pt x="959" y="1201"/>
                  </a:lnTo>
                  <a:lnTo>
                    <a:pt x="958" y="1205"/>
                  </a:lnTo>
                  <a:lnTo>
                    <a:pt x="954" y="1207"/>
                  </a:lnTo>
                  <a:lnTo>
                    <a:pt x="948" y="1211"/>
                  </a:lnTo>
                  <a:lnTo>
                    <a:pt x="946" y="1214"/>
                  </a:lnTo>
                  <a:lnTo>
                    <a:pt x="945" y="1215"/>
                  </a:lnTo>
                  <a:lnTo>
                    <a:pt x="942" y="1215"/>
                  </a:lnTo>
                  <a:lnTo>
                    <a:pt x="936" y="1218"/>
                  </a:lnTo>
                  <a:lnTo>
                    <a:pt x="929" y="1223"/>
                  </a:lnTo>
                  <a:lnTo>
                    <a:pt x="923" y="1224"/>
                  </a:lnTo>
                  <a:lnTo>
                    <a:pt x="918" y="1223"/>
                  </a:lnTo>
                  <a:lnTo>
                    <a:pt x="915" y="1220"/>
                  </a:lnTo>
                  <a:lnTo>
                    <a:pt x="913" y="1220"/>
                  </a:lnTo>
                  <a:lnTo>
                    <a:pt x="909" y="1221"/>
                  </a:lnTo>
                  <a:lnTo>
                    <a:pt x="909" y="1223"/>
                  </a:lnTo>
                  <a:lnTo>
                    <a:pt x="913" y="1224"/>
                  </a:lnTo>
                  <a:lnTo>
                    <a:pt x="915" y="1227"/>
                  </a:lnTo>
                  <a:lnTo>
                    <a:pt x="909" y="1231"/>
                  </a:lnTo>
                  <a:lnTo>
                    <a:pt x="906" y="1237"/>
                  </a:lnTo>
                  <a:lnTo>
                    <a:pt x="906" y="1243"/>
                  </a:lnTo>
                  <a:lnTo>
                    <a:pt x="912" y="1247"/>
                  </a:lnTo>
                  <a:lnTo>
                    <a:pt x="913" y="1250"/>
                  </a:lnTo>
                  <a:lnTo>
                    <a:pt x="913" y="1254"/>
                  </a:lnTo>
                  <a:lnTo>
                    <a:pt x="912" y="1258"/>
                  </a:lnTo>
                  <a:lnTo>
                    <a:pt x="908" y="1263"/>
                  </a:lnTo>
                  <a:lnTo>
                    <a:pt x="906" y="1267"/>
                  </a:lnTo>
                  <a:lnTo>
                    <a:pt x="903" y="1270"/>
                  </a:lnTo>
                  <a:lnTo>
                    <a:pt x="898" y="1271"/>
                  </a:lnTo>
                  <a:lnTo>
                    <a:pt x="896" y="1276"/>
                  </a:lnTo>
                  <a:lnTo>
                    <a:pt x="896" y="1281"/>
                  </a:lnTo>
                  <a:lnTo>
                    <a:pt x="896" y="1286"/>
                  </a:lnTo>
                  <a:lnTo>
                    <a:pt x="893" y="1287"/>
                  </a:lnTo>
                  <a:lnTo>
                    <a:pt x="886" y="1291"/>
                  </a:lnTo>
                  <a:lnTo>
                    <a:pt x="879" y="1297"/>
                  </a:lnTo>
                  <a:lnTo>
                    <a:pt x="875" y="1303"/>
                  </a:lnTo>
                  <a:lnTo>
                    <a:pt x="875" y="1304"/>
                  </a:lnTo>
                  <a:lnTo>
                    <a:pt x="873" y="1306"/>
                  </a:lnTo>
                  <a:lnTo>
                    <a:pt x="870" y="1304"/>
                  </a:lnTo>
                  <a:lnTo>
                    <a:pt x="869" y="1303"/>
                  </a:lnTo>
                  <a:lnTo>
                    <a:pt x="865" y="1301"/>
                  </a:lnTo>
                  <a:lnTo>
                    <a:pt x="862" y="1300"/>
                  </a:lnTo>
                  <a:lnTo>
                    <a:pt x="858" y="1301"/>
                  </a:lnTo>
                  <a:lnTo>
                    <a:pt x="855" y="1301"/>
                  </a:lnTo>
                  <a:lnTo>
                    <a:pt x="852" y="1297"/>
                  </a:lnTo>
                  <a:lnTo>
                    <a:pt x="846" y="1296"/>
                  </a:lnTo>
                  <a:lnTo>
                    <a:pt x="842" y="1294"/>
                  </a:lnTo>
                  <a:lnTo>
                    <a:pt x="835" y="1293"/>
                  </a:lnTo>
                  <a:lnTo>
                    <a:pt x="830" y="1293"/>
                  </a:lnTo>
                  <a:lnTo>
                    <a:pt x="830" y="1289"/>
                  </a:lnTo>
                  <a:lnTo>
                    <a:pt x="835" y="1287"/>
                  </a:lnTo>
                  <a:lnTo>
                    <a:pt x="838" y="1284"/>
                  </a:lnTo>
                  <a:lnTo>
                    <a:pt x="838" y="1281"/>
                  </a:lnTo>
                  <a:lnTo>
                    <a:pt x="838" y="1277"/>
                  </a:lnTo>
                  <a:lnTo>
                    <a:pt x="839" y="1274"/>
                  </a:lnTo>
                  <a:lnTo>
                    <a:pt x="842" y="1271"/>
                  </a:lnTo>
                  <a:lnTo>
                    <a:pt x="842" y="1270"/>
                  </a:lnTo>
                  <a:lnTo>
                    <a:pt x="840" y="1266"/>
                  </a:lnTo>
                  <a:lnTo>
                    <a:pt x="845" y="1258"/>
                  </a:lnTo>
                  <a:lnTo>
                    <a:pt x="849" y="1257"/>
                  </a:lnTo>
                  <a:lnTo>
                    <a:pt x="853" y="1251"/>
                  </a:lnTo>
                  <a:lnTo>
                    <a:pt x="858" y="1248"/>
                  </a:lnTo>
                  <a:lnTo>
                    <a:pt x="863" y="1247"/>
                  </a:lnTo>
                  <a:lnTo>
                    <a:pt x="866" y="1247"/>
                  </a:lnTo>
                  <a:lnTo>
                    <a:pt x="866" y="1244"/>
                  </a:lnTo>
                  <a:lnTo>
                    <a:pt x="869" y="1240"/>
                  </a:lnTo>
                  <a:lnTo>
                    <a:pt x="872" y="1238"/>
                  </a:lnTo>
                  <a:lnTo>
                    <a:pt x="876" y="1237"/>
                  </a:lnTo>
                  <a:lnTo>
                    <a:pt x="876" y="1233"/>
                  </a:lnTo>
                  <a:lnTo>
                    <a:pt x="879" y="1230"/>
                  </a:lnTo>
                  <a:lnTo>
                    <a:pt x="883" y="1226"/>
                  </a:lnTo>
                  <a:lnTo>
                    <a:pt x="885" y="1223"/>
                  </a:lnTo>
                  <a:lnTo>
                    <a:pt x="885" y="1218"/>
                  </a:lnTo>
                  <a:lnTo>
                    <a:pt x="885" y="1214"/>
                  </a:lnTo>
                  <a:lnTo>
                    <a:pt x="888" y="1211"/>
                  </a:lnTo>
                  <a:lnTo>
                    <a:pt x="889" y="1208"/>
                  </a:lnTo>
                  <a:lnTo>
                    <a:pt x="889" y="1205"/>
                  </a:lnTo>
                  <a:lnTo>
                    <a:pt x="886" y="1205"/>
                  </a:lnTo>
                  <a:lnTo>
                    <a:pt x="880" y="1205"/>
                  </a:lnTo>
                  <a:lnTo>
                    <a:pt x="872" y="1207"/>
                  </a:lnTo>
                  <a:lnTo>
                    <a:pt x="869" y="1208"/>
                  </a:lnTo>
                  <a:lnTo>
                    <a:pt x="866" y="1211"/>
                  </a:lnTo>
                  <a:lnTo>
                    <a:pt x="865" y="1214"/>
                  </a:lnTo>
                  <a:lnTo>
                    <a:pt x="863" y="1218"/>
                  </a:lnTo>
                  <a:lnTo>
                    <a:pt x="863" y="1220"/>
                  </a:lnTo>
                  <a:lnTo>
                    <a:pt x="859" y="1220"/>
                  </a:lnTo>
                  <a:lnTo>
                    <a:pt x="856" y="1221"/>
                  </a:lnTo>
                  <a:lnTo>
                    <a:pt x="853" y="1220"/>
                  </a:lnTo>
                  <a:lnTo>
                    <a:pt x="853" y="1221"/>
                  </a:lnTo>
                  <a:lnTo>
                    <a:pt x="853" y="1223"/>
                  </a:lnTo>
                  <a:lnTo>
                    <a:pt x="852" y="1226"/>
                  </a:lnTo>
                  <a:lnTo>
                    <a:pt x="852" y="1227"/>
                  </a:lnTo>
                  <a:lnTo>
                    <a:pt x="849" y="1228"/>
                  </a:lnTo>
                  <a:lnTo>
                    <a:pt x="843" y="1230"/>
                  </a:lnTo>
                  <a:lnTo>
                    <a:pt x="840" y="1228"/>
                  </a:lnTo>
                  <a:lnTo>
                    <a:pt x="840" y="1226"/>
                  </a:lnTo>
                  <a:lnTo>
                    <a:pt x="840" y="1223"/>
                  </a:lnTo>
                  <a:lnTo>
                    <a:pt x="839" y="1221"/>
                  </a:lnTo>
                  <a:lnTo>
                    <a:pt x="836" y="1221"/>
                  </a:lnTo>
                  <a:lnTo>
                    <a:pt x="833" y="1221"/>
                  </a:lnTo>
                  <a:lnTo>
                    <a:pt x="829" y="1221"/>
                  </a:lnTo>
                  <a:lnTo>
                    <a:pt x="827" y="1220"/>
                  </a:lnTo>
                  <a:lnTo>
                    <a:pt x="826" y="1218"/>
                  </a:lnTo>
                  <a:lnTo>
                    <a:pt x="822" y="1218"/>
                  </a:lnTo>
                  <a:lnTo>
                    <a:pt x="816" y="1217"/>
                  </a:lnTo>
                  <a:lnTo>
                    <a:pt x="813" y="1217"/>
                  </a:lnTo>
                  <a:lnTo>
                    <a:pt x="812" y="1218"/>
                  </a:lnTo>
                  <a:lnTo>
                    <a:pt x="807" y="1218"/>
                  </a:lnTo>
                  <a:lnTo>
                    <a:pt x="807" y="1218"/>
                  </a:lnTo>
                  <a:lnTo>
                    <a:pt x="802" y="1217"/>
                  </a:lnTo>
                  <a:lnTo>
                    <a:pt x="797" y="1218"/>
                  </a:lnTo>
                  <a:lnTo>
                    <a:pt x="796" y="1218"/>
                  </a:lnTo>
                  <a:lnTo>
                    <a:pt x="797" y="1215"/>
                  </a:lnTo>
                  <a:lnTo>
                    <a:pt x="793" y="1215"/>
                  </a:lnTo>
                  <a:lnTo>
                    <a:pt x="790" y="1214"/>
                  </a:lnTo>
                  <a:lnTo>
                    <a:pt x="787" y="1213"/>
                  </a:lnTo>
                  <a:lnTo>
                    <a:pt x="787" y="1214"/>
                  </a:lnTo>
                  <a:lnTo>
                    <a:pt x="789" y="1218"/>
                  </a:lnTo>
                  <a:lnTo>
                    <a:pt x="789" y="1221"/>
                  </a:lnTo>
                  <a:lnTo>
                    <a:pt x="787" y="1223"/>
                  </a:lnTo>
                  <a:lnTo>
                    <a:pt x="787" y="1224"/>
                  </a:lnTo>
                  <a:lnTo>
                    <a:pt x="785" y="1227"/>
                  </a:lnTo>
                  <a:lnTo>
                    <a:pt x="777" y="1233"/>
                  </a:lnTo>
                  <a:lnTo>
                    <a:pt x="773" y="1236"/>
                  </a:lnTo>
                  <a:lnTo>
                    <a:pt x="773" y="1238"/>
                  </a:lnTo>
                  <a:lnTo>
                    <a:pt x="772" y="1243"/>
                  </a:lnTo>
                  <a:lnTo>
                    <a:pt x="770" y="1243"/>
                  </a:lnTo>
                  <a:lnTo>
                    <a:pt x="766" y="1244"/>
                  </a:lnTo>
                  <a:lnTo>
                    <a:pt x="764" y="1246"/>
                  </a:lnTo>
                  <a:lnTo>
                    <a:pt x="767" y="1247"/>
                  </a:lnTo>
                  <a:lnTo>
                    <a:pt x="770" y="1248"/>
                  </a:lnTo>
                  <a:lnTo>
                    <a:pt x="773" y="1248"/>
                  </a:lnTo>
                  <a:lnTo>
                    <a:pt x="775" y="1251"/>
                  </a:lnTo>
                  <a:lnTo>
                    <a:pt x="775" y="1254"/>
                  </a:lnTo>
                  <a:lnTo>
                    <a:pt x="779" y="1254"/>
                  </a:lnTo>
                  <a:lnTo>
                    <a:pt x="780" y="1257"/>
                  </a:lnTo>
                  <a:lnTo>
                    <a:pt x="780" y="1258"/>
                  </a:lnTo>
                  <a:lnTo>
                    <a:pt x="777" y="1263"/>
                  </a:lnTo>
                  <a:lnTo>
                    <a:pt x="773" y="1266"/>
                  </a:lnTo>
                  <a:lnTo>
                    <a:pt x="773" y="1267"/>
                  </a:lnTo>
                  <a:lnTo>
                    <a:pt x="772" y="1271"/>
                  </a:lnTo>
                  <a:lnTo>
                    <a:pt x="769" y="1271"/>
                  </a:lnTo>
                  <a:lnTo>
                    <a:pt x="766" y="1268"/>
                  </a:lnTo>
                  <a:lnTo>
                    <a:pt x="766" y="1266"/>
                  </a:lnTo>
                  <a:lnTo>
                    <a:pt x="766" y="1264"/>
                  </a:lnTo>
                  <a:lnTo>
                    <a:pt x="763" y="1264"/>
                  </a:lnTo>
                  <a:lnTo>
                    <a:pt x="762" y="1267"/>
                  </a:lnTo>
                  <a:lnTo>
                    <a:pt x="760" y="1268"/>
                  </a:lnTo>
                  <a:lnTo>
                    <a:pt x="757" y="1271"/>
                  </a:lnTo>
                  <a:lnTo>
                    <a:pt x="754" y="1276"/>
                  </a:lnTo>
                  <a:lnTo>
                    <a:pt x="752" y="1280"/>
                  </a:lnTo>
                  <a:lnTo>
                    <a:pt x="749" y="1280"/>
                  </a:lnTo>
                  <a:lnTo>
                    <a:pt x="749" y="1277"/>
                  </a:lnTo>
                  <a:lnTo>
                    <a:pt x="752" y="1274"/>
                  </a:lnTo>
                  <a:lnTo>
                    <a:pt x="754" y="1270"/>
                  </a:lnTo>
                  <a:lnTo>
                    <a:pt x="754" y="1267"/>
                  </a:lnTo>
                  <a:lnTo>
                    <a:pt x="756" y="1264"/>
                  </a:lnTo>
                  <a:lnTo>
                    <a:pt x="759" y="1260"/>
                  </a:lnTo>
                  <a:lnTo>
                    <a:pt x="759" y="1258"/>
                  </a:lnTo>
                  <a:lnTo>
                    <a:pt x="756" y="1258"/>
                  </a:lnTo>
                  <a:lnTo>
                    <a:pt x="753" y="1261"/>
                  </a:lnTo>
                  <a:lnTo>
                    <a:pt x="749" y="1267"/>
                  </a:lnTo>
                  <a:lnTo>
                    <a:pt x="744" y="1268"/>
                  </a:lnTo>
                  <a:lnTo>
                    <a:pt x="742" y="1268"/>
                  </a:lnTo>
                  <a:lnTo>
                    <a:pt x="739" y="1270"/>
                  </a:lnTo>
                  <a:lnTo>
                    <a:pt x="734" y="1268"/>
                  </a:lnTo>
                  <a:lnTo>
                    <a:pt x="732" y="1268"/>
                  </a:lnTo>
                  <a:lnTo>
                    <a:pt x="727" y="1271"/>
                  </a:lnTo>
                  <a:lnTo>
                    <a:pt x="724" y="1271"/>
                  </a:lnTo>
                  <a:lnTo>
                    <a:pt x="719" y="1273"/>
                  </a:lnTo>
                  <a:lnTo>
                    <a:pt x="713" y="1277"/>
                  </a:lnTo>
                  <a:lnTo>
                    <a:pt x="710" y="1280"/>
                  </a:lnTo>
                  <a:lnTo>
                    <a:pt x="707" y="1281"/>
                  </a:lnTo>
                  <a:lnTo>
                    <a:pt x="704" y="1279"/>
                  </a:lnTo>
                  <a:lnTo>
                    <a:pt x="704" y="1281"/>
                  </a:lnTo>
                  <a:lnTo>
                    <a:pt x="703" y="1284"/>
                  </a:lnTo>
                  <a:lnTo>
                    <a:pt x="691" y="1284"/>
                  </a:lnTo>
                  <a:lnTo>
                    <a:pt x="681" y="1286"/>
                  </a:lnTo>
                  <a:lnTo>
                    <a:pt x="671" y="1293"/>
                  </a:lnTo>
                  <a:lnTo>
                    <a:pt x="663" y="1300"/>
                  </a:lnTo>
                  <a:lnTo>
                    <a:pt x="658" y="1306"/>
                  </a:lnTo>
                  <a:lnTo>
                    <a:pt x="656" y="1314"/>
                  </a:lnTo>
                  <a:lnTo>
                    <a:pt x="653" y="1323"/>
                  </a:lnTo>
                  <a:lnTo>
                    <a:pt x="651" y="1332"/>
                  </a:lnTo>
                  <a:lnTo>
                    <a:pt x="647" y="1337"/>
                  </a:lnTo>
                  <a:lnTo>
                    <a:pt x="646" y="1339"/>
                  </a:lnTo>
                  <a:lnTo>
                    <a:pt x="644" y="1342"/>
                  </a:lnTo>
                  <a:lnTo>
                    <a:pt x="644" y="1344"/>
                  </a:lnTo>
                  <a:lnTo>
                    <a:pt x="647" y="1346"/>
                  </a:lnTo>
                  <a:lnTo>
                    <a:pt x="650" y="1344"/>
                  </a:lnTo>
                  <a:lnTo>
                    <a:pt x="651" y="1344"/>
                  </a:lnTo>
                  <a:lnTo>
                    <a:pt x="654" y="1344"/>
                  </a:lnTo>
                  <a:lnTo>
                    <a:pt x="656" y="1349"/>
                  </a:lnTo>
                  <a:lnTo>
                    <a:pt x="656" y="1350"/>
                  </a:lnTo>
                  <a:lnTo>
                    <a:pt x="658" y="1352"/>
                  </a:lnTo>
                  <a:lnTo>
                    <a:pt x="661" y="1349"/>
                  </a:lnTo>
                  <a:lnTo>
                    <a:pt x="664" y="1347"/>
                  </a:lnTo>
                  <a:lnTo>
                    <a:pt x="670" y="1347"/>
                  </a:lnTo>
                  <a:lnTo>
                    <a:pt x="673" y="1352"/>
                  </a:lnTo>
                  <a:lnTo>
                    <a:pt x="674" y="1353"/>
                  </a:lnTo>
                  <a:lnTo>
                    <a:pt x="673" y="1356"/>
                  </a:lnTo>
                  <a:lnTo>
                    <a:pt x="669" y="1356"/>
                  </a:lnTo>
                  <a:lnTo>
                    <a:pt x="666" y="1357"/>
                  </a:lnTo>
                  <a:lnTo>
                    <a:pt x="664" y="1359"/>
                  </a:lnTo>
                  <a:lnTo>
                    <a:pt x="663" y="1363"/>
                  </a:lnTo>
                  <a:lnTo>
                    <a:pt x="660" y="1367"/>
                  </a:lnTo>
                  <a:lnTo>
                    <a:pt x="658" y="1372"/>
                  </a:lnTo>
                  <a:lnTo>
                    <a:pt x="656" y="1374"/>
                  </a:lnTo>
                  <a:lnTo>
                    <a:pt x="651" y="1374"/>
                  </a:lnTo>
                  <a:lnTo>
                    <a:pt x="648" y="1372"/>
                  </a:lnTo>
                  <a:lnTo>
                    <a:pt x="647" y="1369"/>
                  </a:lnTo>
                  <a:lnTo>
                    <a:pt x="646" y="1364"/>
                  </a:lnTo>
                  <a:lnTo>
                    <a:pt x="647" y="1362"/>
                  </a:lnTo>
                  <a:lnTo>
                    <a:pt x="646" y="1360"/>
                  </a:lnTo>
                  <a:lnTo>
                    <a:pt x="643" y="1366"/>
                  </a:lnTo>
                  <a:lnTo>
                    <a:pt x="643" y="1370"/>
                  </a:lnTo>
                  <a:lnTo>
                    <a:pt x="643" y="1373"/>
                  </a:lnTo>
                  <a:lnTo>
                    <a:pt x="646" y="1377"/>
                  </a:lnTo>
                  <a:lnTo>
                    <a:pt x="646" y="1380"/>
                  </a:lnTo>
                  <a:lnTo>
                    <a:pt x="646" y="1384"/>
                  </a:lnTo>
                  <a:lnTo>
                    <a:pt x="650" y="1390"/>
                  </a:lnTo>
                  <a:lnTo>
                    <a:pt x="653" y="1390"/>
                  </a:lnTo>
                  <a:lnTo>
                    <a:pt x="656" y="1390"/>
                  </a:lnTo>
                  <a:lnTo>
                    <a:pt x="658" y="1389"/>
                  </a:lnTo>
                  <a:lnTo>
                    <a:pt x="658" y="1384"/>
                  </a:lnTo>
                  <a:lnTo>
                    <a:pt x="660" y="1382"/>
                  </a:lnTo>
                  <a:lnTo>
                    <a:pt x="661" y="1380"/>
                  </a:lnTo>
                  <a:lnTo>
                    <a:pt x="664" y="1380"/>
                  </a:lnTo>
                  <a:lnTo>
                    <a:pt x="664" y="1383"/>
                  </a:lnTo>
                  <a:lnTo>
                    <a:pt x="666" y="1384"/>
                  </a:lnTo>
                  <a:lnTo>
                    <a:pt x="667" y="1383"/>
                  </a:lnTo>
                  <a:lnTo>
                    <a:pt x="667" y="1380"/>
                  </a:lnTo>
                  <a:lnTo>
                    <a:pt x="669" y="1377"/>
                  </a:lnTo>
                  <a:lnTo>
                    <a:pt x="669" y="1377"/>
                  </a:lnTo>
                  <a:lnTo>
                    <a:pt x="671" y="1377"/>
                  </a:lnTo>
                  <a:lnTo>
                    <a:pt x="671" y="1382"/>
                  </a:lnTo>
                  <a:lnTo>
                    <a:pt x="671" y="1384"/>
                  </a:lnTo>
                  <a:lnTo>
                    <a:pt x="673" y="1389"/>
                  </a:lnTo>
                  <a:lnTo>
                    <a:pt x="676" y="1389"/>
                  </a:lnTo>
                  <a:lnTo>
                    <a:pt x="680" y="1392"/>
                  </a:lnTo>
                  <a:lnTo>
                    <a:pt x="680" y="1395"/>
                  </a:lnTo>
                  <a:lnTo>
                    <a:pt x="680" y="1397"/>
                  </a:lnTo>
                  <a:lnTo>
                    <a:pt x="680" y="1397"/>
                  </a:lnTo>
                  <a:lnTo>
                    <a:pt x="676" y="1396"/>
                  </a:lnTo>
                  <a:lnTo>
                    <a:pt x="673" y="1396"/>
                  </a:lnTo>
                  <a:lnTo>
                    <a:pt x="670" y="1399"/>
                  </a:lnTo>
                  <a:lnTo>
                    <a:pt x="670" y="1402"/>
                  </a:lnTo>
                  <a:lnTo>
                    <a:pt x="670" y="1405"/>
                  </a:lnTo>
                  <a:lnTo>
                    <a:pt x="670" y="1407"/>
                  </a:lnTo>
                  <a:lnTo>
                    <a:pt x="669" y="1409"/>
                  </a:lnTo>
                  <a:lnTo>
                    <a:pt x="666" y="1409"/>
                  </a:lnTo>
                  <a:lnTo>
                    <a:pt x="664" y="1406"/>
                  </a:lnTo>
                  <a:lnTo>
                    <a:pt x="664" y="1405"/>
                  </a:lnTo>
                  <a:lnTo>
                    <a:pt x="663" y="1406"/>
                  </a:lnTo>
                  <a:lnTo>
                    <a:pt x="661" y="1407"/>
                  </a:lnTo>
                  <a:lnTo>
                    <a:pt x="661" y="1409"/>
                  </a:lnTo>
                  <a:lnTo>
                    <a:pt x="661" y="1413"/>
                  </a:lnTo>
                  <a:lnTo>
                    <a:pt x="660" y="1416"/>
                  </a:lnTo>
                  <a:lnTo>
                    <a:pt x="657" y="1417"/>
                  </a:lnTo>
                  <a:lnTo>
                    <a:pt x="653" y="1420"/>
                  </a:lnTo>
                  <a:lnTo>
                    <a:pt x="651" y="1423"/>
                  </a:lnTo>
                  <a:lnTo>
                    <a:pt x="650" y="1426"/>
                  </a:lnTo>
                  <a:lnTo>
                    <a:pt x="647" y="1426"/>
                  </a:lnTo>
                  <a:lnTo>
                    <a:pt x="646" y="1425"/>
                  </a:lnTo>
                  <a:lnTo>
                    <a:pt x="644" y="1422"/>
                  </a:lnTo>
                  <a:lnTo>
                    <a:pt x="641" y="1419"/>
                  </a:lnTo>
                  <a:lnTo>
                    <a:pt x="637" y="1416"/>
                  </a:lnTo>
                  <a:lnTo>
                    <a:pt x="636" y="1412"/>
                  </a:lnTo>
                  <a:lnTo>
                    <a:pt x="630" y="1412"/>
                  </a:lnTo>
                  <a:lnTo>
                    <a:pt x="627" y="1413"/>
                  </a:lnTo>
                  <a:lnTo>
                    <a:pt x="620" y="1417"/>
                  </a:lnTo>
                  <a:lnTo>
                    <a:pt x="614" y="1423"/>
                  </a:lnTo>
                  <a:lnTo>
                    <a:pt x="607" y="1432"/>
                  </a:lnTo>
                  <a:lnTo>
                    <a:pt x="601" y="1440"/>
                  </a:lnTo>
                  <a:lnTo>
                    <a:pt x="600" y="1445"/>
                  </a:lnTo>
                  <a:lnTo>
                    <a:pt x="600" y="1448"/>
                  </a:lnTo>
                  <a:lnTo>
                    <a:pt x="604" y="1452"/>
                  </a:lnTo>
                  <a:lnTo>
                    <a:pt x="607" y="1453"/>
                  </a:lnTo>
                  <a:lnTo>
                    <a:pt x="607" y="1459"/>
                  </a:lnTo>
                  <a:lnTo>
                    <a:pt x="606" y="1460"/>
                  </a:lnTo>
                  <a:lnTo>
                    <a:pt x="603" y="1462"/>
                  </a:lnTo>
                  <a:lnTo>
                    <a:pt x="601" y="1460"/>
                  </a:lnTo>
                  <a:lnTo>
                    <a:pt x="598" y="1459"/>
                  </a:lnTo>
                  <a:lnTo>
                    <a:pt x="595" y="1460"/>
                  </a:lnTo>
                  <a:lnTo>
                    <a:pt x="594" y="1465"/>
                  </a:lnTo>
                  <a:lnTo>
                    <a:pt x="594" y="1469"/>
                  </a:lnTo>
                  <a:lnTo>
                    <a:pt x="594" y="1470"/>
                  </a:lnTo>
                  <a:lnTo>
                    <a:pt x="595" y="1472"/>
                  </a:lnTo>
                  <a:lnTo>
                    <a:pt x="597" y="1475"/>
                  </a:lnTo>
                  <a:lnTo>
                    <a:pt x="595" y="1476"/>
                  </a:lnTo>
                  <a:lnTo>
                    <a:pt x="591" y="1478"/>
                  </a:lnTo>
                  <a:lnTo>
                    <a:pt x="585" y="1479"/>
                  </a:lnTo>
                  <a:lnTo>
                    <a:pt x="577" y="1478"/>
                  </a:lnTo>
                  <a:lnTo>
                    <a:pt x="575" y="1479"/>
                  </a:lnTo>
                  <a:lnTo>
                    <a:pt x="571" y="1479"/>
                  </a:lnTo>
                  <a:lnTo>
                    <a:pt x="568" y="1480"/>
                  </a:lnTo>
                  <a:lnTo>
                    <a:pt x="567" y="1480"/>
                  </a:lnTo>
                  <a:lnTo>
                    <a:pt x="564" y="1482"/>
                  </a:lnTo>
                  <a:lnTo>
                    <a:pt x="564" y="1486"/>
                  </a:lnTo>
                  <a:lnTo>
                    <a:pt x="563" y="1488"/>
                  </a:lnTo>
                  <a:lnTo>
                    <a:pt x="557" y="1489"/>
                  </a:lnTo>
                  <a:lnTo>
                    <a:pt x="553" y="1489"/>
                  </a:lnTo>
                  <a:lnTo>
                    <a:pt x="541" y="1493"/>
                  </a:lnTo>
                  <a:lnTo>
                    <a:pt x="540" y="1486"/>
                  </a:lnTo>
                  <a:lnTo>
                    <a:pt x="545" y="1479"/>
                  </a:lnTo>
                  <a:lnTo>
                    <a:pt x="540" y="1470"/>
                  </a:lnTo>
                  <a:lnTo>
                    <a:pt x="534" y="1458"/>
                  </a:lnTo>
                  <a:lnTo>
                    <a:pt x="530" y="1449"/>
                  </a:lnTo>
                  <a:lnTo>
                    <a:pt x="525" y="1445"/>
                  </a:lnTo>
                  <a:lnTo>
                    <a:pt x="518" y="1443"/>
                  </a:lnTo>
                  <a:lnTo>
                    <a:pt x="517" y="1437"/>
                  </a:lnTo>
                  <a:lnTo>
                    <a:pt x="514" y="1432"/>
                  </a:lnTo>
                  <a:lnTo>
                    <a:pt x="511" y="1430"/>
                  </a:lnTo>
                  <a:lnTo>
                    <a:pt x="505" y="1427"/>
                  </a:lnTo>
                  <a:lnTo>
                    <a:pt x="501" y="1423"/>
                  </a:lnTo>
                  <a:lnTo>
                    <a:pt x="494" y="1422"/>
                  </a:lnTo>
                  <a:lnTo>
                    <a:pt x="489" y="1419"/>
                  </a:lnTo>
                  <a:lnTo>
                    <a:pt x="485" y="1419"/>
                  </a:lnTo>
                  <a:lnTo>
                    <a:pt x="485" y="1425"/>
                  </a:lnTo>
                  <a:lnTo>
                    <a:pt x="485" y="1430"/>
                  </a:lnTo>
                  <a:lnTo>
                    <a:pt x="482" y="1433"/>
                  </a:lnTo>
                  <a:lnTo>
                    <a:pt x="478" y="1435"/>
                  </a:lnTo>
                  <a:lnTo>
                    <a:pt x="475" y="1432"/>
                  </a:lnTo>
                  <a:lnTo>
                    <a:pt x="471" y="1432"/>
                  </a:lnTo>
                  <a:lnTo>
                    <a:pt x="461" y="1432"/>
                  </a:lnTo>
                  <a:lnTo>
                    <a:pt x="458" y="1429"/>
                  </a:lnTo>
                  <a:lnTo>
                    <a:pt x="457" y="1426"/>
                  </a:lnTo>
                  <a:lnTo>
                    <a:pt x="455" y="1420"/>
                  </a:lnTo>
                  <a:lnTo>
                    <a:pt x="454" y="1417"/>
                  </a:lnTo>
                  <a:lnTo>
                    <a:pt x="449" y="1416"/>
                  </a:lnTo>
                  <a:lnTo>
                    <a:pt x="447" y="1417"/>
                  </a:lnTo>
                  <a:lnTo>
                    <a:pt x="442" y="1425"/>
                  </a:lnTo>
                  <a:lnTo>
                    <a:pt x="429" y="1417"/>
                  </a:lnTo>
                  <a:lnTo>
                    <a:pt x="419" y="1416"/>
                  </a:lnTo>
                  <a:lnTo>
                    <a:pt x="414" y="1416"/>
                  </a:lnTo>
                  <a:lnTo>
                    <a:pt x="408" y="1420"/>
                  </a:lnTo>
                  <a:lnTo>
                    <a:pt x="404" y="1432"/>
                  </a:lnTo>
                  <a:lnTo>
                    <a:pt x="396" y="1437"/>
                  </a:lnTo>
                  <a:lnTo>
                    <a:pt x="389" y="1448"/>
                  </a:lnTo>
                  <a:lnTo>
                    <a:pt x="384" y="1453"/>
                  </a:lnTo>
                  <a:lnTo>
                    <a:pt x="369" y="1449"/>
                  </a:lnTo>
                  <a:lnTo>
                    <a:pt x="362" y="1446"/>
                  </a:lnTo>
                  <a:lnTo>
                    <a:pt x="359" y="1445"/>
                  </a:lnTo>
                  <a:lnTo>
                    <a:pt x="358" y="1440"/>
                  </a:lnTo>
                  <a:lnTo>
                    <a:pt x="361" y="1437"/>
                  </a:lnTo>
                  <a:lnTo>
                    <a:pt x="356" y="1433"/>
                  </a:lnTo>
                  <a:lnTo>
                    <a:pt x="353" y="1432"/>
                  </a:lnTo>
                  <a:lnTo>
                    <a:pt x="351" y="1433"/>
                  </a:lnTo>
                  <a:lnTo>
                    <a:pt x="345" y="1436"/>
                  </a:lnTo>
                  <a:lnTo>
                    <a:pt x="339" y="1435"/>
                  </a:lnTo>
                  <a:lnTo>
                    <a:pt x="336" y="1432"/>
                  </a:lnTo>
                  <a:lnTo>
                    <a:pt x="338" y="1427"/>
                  </a:lnTo>
                  <a:lnTo>
                    <a:pt x="341" y="1420"/>
                  </a:lnTo>
                  <a:lnTo>
                    <a:pt x="343" y="1419"/>
                  </a:lnTo>
                  <a:lnTo>
                    <a:pt x="339" y="1413"/>
                  </a:lnTo>
                  <a:lnTo>
                    <a:pt x="336" y="1406"/>
                  </a:lnTo>
                  <a:lnTo>
                    <a:pt x="338" y="1402"/>
                  </a:lnTo>
                  <a:lnTo>
                    <a:pt x="342" y="1397"/>
                  </a:lnTo>
                  <a:lnTo>
                    <a:pt x="345" y="1396"/>
                  </a:lnTo>
                  <a:lnTo>
                    <a:pt x="345" y="1395"/>
                  </a:lnTo>
                  <a:lnTo>
                    <a:pt x="345" y="1376"/>
                  </a:lnTo>
                  <a:lnTo>
                    <a:pt x="343" y="1370"/>
                  </a:lnTo>
                  <a:lnTo>
                    <a:pt x="345" y="1369"/>
                  </a:lnTo>
                  <a:lnTo>
                    <a:pt x="349" y="1367"/>
                  </a:lnTo>
                  <a:lnTo>
                    <a:pt x="356" y="1369"/>
                  </a:lnTo>
                  <a:lnTo>
                    <a:pt x="361" y="1367"/>
                  </a:lnTo>
                  <a:lnTo>
                    <a:pt x="365" y="1366"/>
                  </a:lnTo>
                  <a:lnTo>
                    <a:pt x="372" y="1359"/>
                  </a:lnTo>
                  <a:lnTo>
                    <a:pt x="373" y="1350"/>
                  </a:lnTo>
                  <a:lnTo>
                    <a:pt x="371" y="1347"/>
                  </a:lnTo>
                  <a:lnTo>
                    <a:pt x="363" y="1340"/>
                  </a:lnTo>
                  <a:lnTo>
                    <a:pt x="356" y="1329"/>
                  </a:lnTo>
                  <a:lnTo>
                    <a:pt x="349" y="1329"/>
                  </a:lnTo>
                  <a:lnTo>
                    <a:pt x="348" y="1327"/>
                  </a:lnTo>
                  <a:lnTo>
                    <a:pt x="348" y="1321"/>
                  </a:lnTo>
                  <a:lnTo>
                    <a:pt x="353" y="1317"/>
                  </a:lnTo>
                  <a:lnTo>
                    <a:pt x="356" y="1311"/>
                  </a:lnTo>
                  <a:lnTo>
                    <a:pt x="356" y="1304"/>
                  </a:lnTo>
                  <a:lnTo>
                    <a:pt x="355" y="1300"/>
                  </a:lnTo>
                  <a:lnTo>
                    <a:pt x="349" y="1300"/>
                  </a:lnTo>
                  <a:lnTo>
                    <a:pt x="345" y="1299"/>
                  </a:lnTo>
                  <a:lnTo>
                    <a:pt x="342" y="1294"/>
                  </a:lnTo>
                  <a:lnTo>
                    <a:pt x="342" y="1294"/>
                  </a:lnTo>
                  <a:lnTo>
                    <a:pt x="345" y="1291"/>
                  </a:lnTo>
                  <a:lnTo>
                    <a:pt x="345" y="1289"/>
                  </a:lnTo>
                  <a:lnTo>
                    <a:pt x="341" y="1283"/>
                  </a:lnTo>
                  <a:lnTo>
                    <a:pt x="333" y="1277"/>
                  </a:lnTo>
                  <a:lnTo>
                    <a:pt x="326" y="1274"/>
                  </a:lnTo>
                  <a:lnTo>
                    <a:pt x="320" y="1271"/>
                  </a:lnTo>
                  <a:lnTo>
                    <a:pt x="319" y="1261"/>
                  </a:lnTo>
                  <a:lnTo>
                    <a:pt x="316" y="1256"/>
                  </a:lnTo>
                  <a:lnTo>
                    <a:pt x="313" y="1250"/>
                  </a:lnTo>
                  <a:lnTo>
                    <a:pt x="309" y="1250"/>
                  </a:lnTo>
                  <a:lnTo>
                    <a:pt x="303" y="1251"/>
                  </a:lnTo>
                  <a:lnTo>
                    <a:pt x="290" y="1241"/>
                  </a:lnTo>
                  <a:lnTo>
                    <a:pt x="285" y="1236"/>
                  </a:lnTo>
                  <a:lnTo>
                    <a:pt x="270" y="1228"/>
                  </a:lnTo>
                  <a:lnTo>
                    <a:pt x="257" y="1223"/>
                  </a:lnTo>
                  <a:lnTo>
                    <a:pt x="246" y="1221"/>
                  </a:lnTo>
                  <a:lnTo>
                    <a:pt x="237" y="1217"/>
                  </a:lnTo>
                  <a:lnTo>
                    <a:pt x="230" y="1220"/>
                  </a:lnTo>
                  <a:lnTo>
                    <a:pt x="223" y="1221"/>
                  </a:lnTo>
                  <a:lnTo>
                    <a:pt x="213" y="1220"/>
                  </a:lnTo>
                  <a:lnTo>
                    <a:pt x="204" y="1220"/>
                  </a:lnTo>
                  <a:lnTo>
                    <a:pt x="200" y="1223"/>
                  </a:lnTo>
                  <a:lnTo>
                    <a:pt x="193" y="1224"/>
                  </a:lnTo>
                  <a:lnTo>
                    <a:pt x="189" y="1226"/>
                  </a:lnTo>
                  <a:lnTo>
                    <a:pt x="192" y="1233"/>
                  </a:lnTo>
                  <a:lnTo>
                    <a:pt x="193" y="1236"/>
                  </a:lnTo>
                  <a:lnTo>
                    <a:pt x="192" y="1240"/>
                  </a:lnTo>
                  <a:lnTo>
                    <a:pt x="192" y="1244"/>
                  </a:lnTo>
                  <a:lnTo>
                    <a:pt x="190" y="1247"/>
                  </a:lnTo>
                  <a:lnTo>
                    <a:pt x="184" y="1243"/>
                  </a:lnTo>
                  <a:lnTo>
                    <a:pt x="180" y="1247"/>
                  </a:lnTo>
                  <a:lnTo>
                    <a:pt x="173" y="1243"/>
                  </a:lnTo>
                  <a:lnTo>
                    <a:pt x="169" y="1247"/>
                  </a:lnTo>
                  <a:lnTo>
                    <a:pt x="169" y="1257"/>
                  </a:lnTo>
                  <a:lnTo>
                    <a:pt x="164" y="1258"/>
                  </a:lnTo>
                  <a:lnTo>
                    <a:pt x="157" y="1256"/>
                  </a:lnTo>
                  <a:lnTo>
                    <a:pt x="146" y="1256"/>
                  </a:lnTo>
                  <a:lnTo>
                    <a:pt x="141" y="1258"/>
                  </a:lnTo>
                  <a:lnTo>
                    <a:pt x="130" y="1274"/>
                  </a:lnTo>
                  <a:lnTo>
                    <a:pt x="124" y="1268"/>
                  </a:lnTo>
                  <a:lnTo>
                    <a:pt x="123" y="1263"/>
                  </a:lnTo>
                  <a:lnTo>
                    <a:pt x="127" y="1250"/>
                  </a:lnTo>
                  <a:lnTo>
                    <a:pt x="130" y="1243"/>
                  </a:lnTo>
                  <a:lnTo>
                    <a:pt x="129" y="1237"/>
                  </a:lnTo>
                  <a:lnTo>
                    <a:pt x="121" y="1233"/>
                  </a:lnTo>
                  <a:lnTo>
                    <a:pt x="123" y="1230"/>
                  </a:lnTo>
                  <a:lnTo>
                    <a:pt x="130" y="1230"/>
                  </a:lnTo>
                  <a:lnTo>
                    <a:pt x="129" y="1226"/>
                  </a:lnTo>
                  <a:lnTo>
                    <a:pt x="117" y="1204"/>
                  </a:lnTo>
                  <a:lnTo>
                    <a:pt x="111" y="1198"/>
                  </a:lnTo>
                  <a:lnTo>
                    <a:pt x="107" y="1195"/>
                  </a:lnTo>
                  <a:lnTo>
                    <a:pt x="107" y="1191"/>
                  </a:lnTo>
                  <a:lnTo>
                    <a:pt x="109" y="1185"/>
                  </a:lnTo>
                  <a:lnTo>
                    <a:pt x="111" y="1184"/>
                  </a:lnTo>
                  <a:lnTo>
                    <a:pt x="120" y="1185"/>
                  </a:lnTo>
                  <a:lnTo>
                    <a:pt x="124" y="1184"/>
                  </a:lnTo>
                  <a:lnTo>
                    <a:pt x="126" y="1183"/>
                  </a:lnTo>
                  <a:lnTo>
                    <a:pt x="119" y="1173"/>
                  </a:lnTo>
                  <a:lnTo>
                    <a:pt x="116" y="1171"/>
                  </a:lnTo>
                  <a:lnTo>
                    <a:pt x="107" y="1168"/>
                  </a:lnTo>
                  <a:lnTo>
                    <a:pt x="109" y="1161"/>
                  </a:lnTo>
                  <a:lnTo>
                    <a:pt x="101" y="1157"/>
                  </a:lnTo>
                  <a:lnTo>
                    <a:pt x="93" y="1150"/>
                  </a:lnTo>
                  <a:lnTo>
                    <a:pt x="90" y="1147"/>
                  </a:lnTo>
                  <a:lnTo>
                    <a:pt x="80" y="1137"/>
                  </a:lnTo>
                  <a:lnTo>
                    <a:pt x="70" y="1124"/>
                  </a:lnTo>
                  <a:lnTo>
                    <a:pt x="68" y="1120"/>
                  </a:lnTo>
                  <a:lnTo>
                    <a:pt x="63" y="1114"/>
                  </a:lnTo>
                  <a:lnTo>
                    <a:pt x="57" y="1112"/>
                  </a:lnTo>
                  <a:lnTo>
                    <a:pt x="57" y="1112"/>
                  </a:lnTo>
                  <a:lnTo>
                    <a:pt x="56" y="1110"/>
                  </a:lnTo>
                  <a:lnTo>
                    <a:pt x="54" y="1107"/>
                  </a:lnTo>
                  <a:lnTo>
                    <a:pt x="48" y="1104"/>
                  </a:lnTo>
                  <a:lnTo>
                    <a:pt x="46" y="1099"/>
                  </a:lnTo>
                  <a:lnTo>
                    <a:pt x="44" y="1095"/>
                  </a:lnTo>
                  <a:lnTo>
                    <a:pt x="43" y="1091"/>
                  </a:lnTo>
                  <a:lnTo>
                    <a:pt x="43" y="1091"/>
                  </a:lnTo>
                  <a:lnTo>
                    <a:pt x="41" y="1078"/>
                  </a:lnTo>
                  <a:lnTo>
                    <a:pt x="38" y="1068"/>
                  </a:lnTo>
                  <a:lnTo>
                    <a:pt x="33" y="1059"/>
                  </a:lnTo>
                  <a:lnTo>
                    <a:pt x="25" y="1051"/>
                  </a:lnTo>
                  <a:lnTo>
                    <a:pt x="25" y="1051"/>
                  </a:lnTo>
                  <a:lnTo>
                    <a:pt x="25" y="1046"/>
                  </a:lnTo>
                  <a:lnTo>
                    <a:pt x="24" y="1039"/>
                  </a:lnTo>
                  <a:lnTo>
                    <a:pt x="24" y="1034"/>
                  </a:lnTo>
                  <a:lnTo>
                    <a:pt x="23" y="1028"/>
                  </a:lnTo>
                  <a:lnTo>
                    <a:pt x="23" y="1028"/>
                  </a:lnTo>
                  <a:lnTo>
                    <a:pt x="18" y="1024"/>
                  </a:lnTo>
                  <a:lnTo>
                    <a:pt x="14" y="1019"/>
                  </a:lnTo>
                  <a:lnTo>
                    <a:pt x="10" y="1015"/>
                  </a:lnTo>
                  <a:lnTo>
                    <a:pt x="8" y="1011"/>
                  </a:lnTo>
                  <a:lnTo>
                    <a:pt x="8" y="1011"/>
                  </a:lnTo>
                  <a:close/>
                  <a:moveTo>
                    <a:pt x="1060" y="989"/>
                  </a:moveTo>
                  <a:lnTo>
                    <a:pt x="1057" y="989"/>
                  </a:lnTo>
                  <a:lnTo>
                    <a:pt x="1055" y="994"/>
                  </a:lnTo>
                  <a:lnTo>
                    <a:pt x="1055" y="996"/>
                  </a:lnTo>
                  <a:lnTo>
                    <a:pt x="1057" y="1001"/>
                  </a:lnTo>
                  <a:lnTo>
                    <a:pt x="1058" y="1001"/>
                  </a:lnTo>
                  <a:lnTo>
                    <a:pt x="1058" y="1001"/>
                  </a:lnTo>
                  <a:lnTo>
                    <a:pt x="1058" y="998"/>
                  </a:lnTo>
                  <a:lnTo>
                    <a:pt x="1058" y="995"/>
                  </a:lnTo>
                  <a:lnTo>
                    <a:pt x="1060" y="991"/>
                  </a:lnTo>
                  <a:lnTo>
                    <a:pt x="1060" y="989"/>
                  </a:lnTo>
                  <a:lnTo>
                    <a:pt x="1060" y="989"/>
                  </a:lnTo>
                  <a:close/>
                  <a:moveTo>
                    <a:pt x="1072" y="1008"/>
                  </a:moveTo>
                  <a:lnTo>
                    <a:pt x="1068" y="1011"/>
                  </a:lnTo>
                  <a:lnTo>
                    <a:pt x="1070" y="1011"/>
                  </a:lnTo>
                  <a:lnTo>
                    <a:pt x="1071" y="1011"/>
                  </a:lnTo>
                  <a:lnTo>
                    <a:pt x="1072" y="1011"/>
                  </a:lnTo>
                  <a:lnTo>
                    <a:pt x="1074" y="1009"/>
                  </a:lnTo>
                  <a:lnTo>
                    <a:pt x="1072" y="1008"/>
                  </a:lnTo>
                  <a:lnTo>
                    <a:pt x="1072" y="1008"/>
                  </a:lnTo>
                  <a:close/>
                  <a:moveTo>
                    <a:pt x="1058" y="1024"/>
                  </a:moveTo>
                  <a:lnTo>
                    <a:pt x="1057" y="1026"/>
                  </a:lnTo>
                  <a:lnTo>
                    <a:pt x="1058" y="1028"/>
                  </a:lnTo>
                  <a:lnTo>
                    <a:pt x="1060" y="1026"/>
                  </a:lnTo>
                  <a:lnTo>
                    <a:pt x="1060" y="1025"/>
                  </a:lnTo>
                  <a:lnTo>
                    <a:pt x="1058" y="1024"/>
                  </a:lnTo>
                  <a:lnTo>
                    <a:pt x="1058" y="1024"/>
                  </a:lnTo>
                  <a:close/>
                  <a:moveTo>
                    <a:pt x="1062" y="1018"/>
                  </a:moveTo>
                  <a:lnTo>
                    <a:pt x="1061" y="1019"/>
                  </a:lnTo>
                  <a:lnTo>
                    <a:pt x="1061" y="1019"/>
                  </a:lnTo>
                  <a:lnTo>
                    <a:pt x="1061" y="1021"/>
                  </a:lnTo>
                  <a:lnTo>
                    <a:pt x="1062" y="1021"/>
                  </a:lnTo>
                  <a:lnTo>
                    <a:pt x="1064" y="1019"/>
                  </a:lnTo>
                  <a:lnTo>
                    <a:pt x="1064" y="1019"/>
                  </a:lnTo>
                  <a:lnTo>
                    <a:pt x="1062" y="1018"/>
                  </a:lnTo>
                  <a:lnTo>
                    <a:pt x="1062" y="1018"/>
                  </a:lnTo>
                  <a:close/>
                  <a:moveTo>
                    <a:pt x="807" y="1306"/>
                  </a:moveTo>
                  <a:lnTo>
                    <a:pt x="803" y="1306"/>
                  </a:lnTo>
                  <a:lnTo>
                    <a:pt x="802" y="1307"/>
                  </a:lnTo>
                  <a:lnTo>
                    <a:pt x="802" y="1309"/>
                  </a:lnTo>
                  <a:lnTo>
                    <a:pt x="802" y="1311"/>
                  </a:lnTo>
                  <a:lnTo>
                    <a:pt x="802" y="1313"/>
                  </a:lnTo>
                  <a:lnTo>
                    <a:pt x="802" y="1314"/>
                  </a:lnTo>
                  <a:lnTo>
                    <a:pt x="803" y="1316"/>
                  </a:lnTo>
                  <a:lnTo>
                    <a:pt x="802" y="1317"/>
                  </a:lnTo>
                  <a:lnTo>
                    <a:pt x="797" y="1320"/>
                  </a:lnTo>
                  <a:lnTo>
                    <a:pt x="799" y="1324"/>
                  </a:lnTo>
                  <a:lnTo>
                    <a:pt x="799" y="1326"/>
                  </a:lnTo>
                  <a:lnTo>
                    <a:pt x="797" y="1329"/>
                  </a:lnTo>
                  <a:lnTo>
                    <a:pt x="797" y="1332"/>
                  </a:lnTo>
                  <a:lnTo>
                    <a:pt x="800" y="1336"/>
                  </a:lnTo>
                  <a:lnTo>
                    <a:pt x="800" y="1337"/>
                  </a:lnTo>
                  <a:lnTo>
                    <a:pt x="803" y="1339"/>
                  </a:lnTo>
                  <a:lnTo>
                    <a:pt x="805" y="1337"/>
                  </a:lnTo>
                  <a:lnTo>
                    <a:pt x="805" y="1334"/>
                  </a:lnTo>
                  <a:lnTo>
                    <a:pt x="807" y="1333"/>
                  </a:lnTo>
                  <a:lnTo>
                    <a:pt x="809" y="1332"/>
                  </a:lnTo>
                  <a:lnTo>
                    <a:pt x="810" y="1329"/>
                  </a:lnTo>
                  <a:lnTo>
                    <a:pt x="810" y="1320"/>
                  </a:lnTo>
                  <a:lnTo>
                    <a:pt x="810" y="1317"/>
                  </a:lnTo>
                  <a:lnTo>
                    <a:pt x="810" y="1314"/>
                  </a:lnTo>
                  <a:lnTo>
                    <a:pt x="810" y="1309"/>
                  </a:lnTo>
                  <a:lnTo>
                    <a:pt x="810" y="1307"/>
                  </a:lnTo>
                  <a:lnTo>
                    <a:pt x="807" y="1306"/>
                  </a:lnTo>
                  <a:lnTo>
                    <a:pt x="807" y="1306"/>
                  </a:lnTo>
                  <a:close/>
                  <a:moveTo>
                    <a:pt x="697" y="1389"/>
                  </a:moveTo>
                  <a:lnTo>
                    <a:pt x="693" y="1392"/>
                  </a:lnTo>
                  <a:lnTo>
                    <a:pt x="690" y="1393"/>
                  </a:lnTo>
                  <a:lnTo>
                    <a:pt x="690" y="1397"/>
                  </a:lnTo>
                  <a:lnTo>
                    <a:pt x="691" y="1399"/>
                  </a:lnTo>
                  <a:lnTo>
                    <a:pt x="693" y="1402"/>
                  </a:lnTo>
                  <a:lnTo>
                    <a:pt x="693" y="1407"/>
                  </a:lnTo>
                  <a:lnTo>
                    <a:pt x="694" y="1410"/>
                  </a:lnTo>
                  <a:lnTo>
                    <a:pt x="697" y="1410"/>
                  </a:lnTo>
                  <a:lnTo>
                    <a:pt x="699" y="1409"/>
                  </a:lnTo>
                  <a:lnTo>
                    <a:pt x="697" y="1403"/>
                  </a:lnTo>
                  <a:lnTo>
                    <a:pt x="697" y="1400"/>
                  </a:lnTo>
                  <a:lnTo>
                    <a:pt x="699" y="1396"/>
                  </a:lnTo>
                  <a:lnTo>
                    <a:pt x="699" y="1393"/>
                  </a:lnTo>
                  <a:lnTo>
                    <a:pt x="699" y="1392"/>
                  </a:lnTo>
                  <a:lnTo>
                    <a:pt x="697" y="138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82" name="Freeform 230"/>
            <p:cNvSpPr>
              <a:spLocks noEditPoints="1"/>
            </p:cNvSpPr>
            <p:nvPr/>
          </p:nvSpPr>
          <p:spPr bwMode="auto">
            <a:xfrm>
              <a:off x="7185236" y="3604393"/>
              <a:ext cx="943943" cy="1785921"/>
            </a:xfrm>
            <a:custGeom>
              <a:avLst/>
              <a:gdLst>
                <a:gd name="T0" fmla="*/ 1106 w 1547"/>
                <a:gd name="T1" fmla="*/ 2502 h 2700"/>
                <a:gd name="T2" fmla="*/ 1138 w 1547"/>
                <a:gd name="T3" fmla="*/ 2684 h 2700"/>
                <a:gd name="T4" fmla="*/ 1224 w 1547"/>
                <a:gd name="T5" fmla="*/ 2575 h 2700"/>
                <a:gd name="T6" fmla="*/ 1371 w 1547"/>
                <a:gd name="T7" fmla="*/ 2493 h 2700"/>
                <a:gd name="T8" fmla="*/ 1417 w 1547"/>
                <a:gd name="T9" fmla="*/ 2327 h 2700"/>
                <a:gd name="T10" fmla="*/ 1340 w 1547"/>
                <a:gd name="T11" fmla="*/ 2261 h 2700"/>
                <a:gd name="T12" fmla="*/ 1477 w 1547"/>
                <a:gd name="T13" fmla="*/ 2237 h 2700"/>
                <a:gd name="T14" fmla="*/ 1529 w 1547"/>
                <a:gd name="T15" fmla="*/ 2256 h 2700"/>
                <a:gd name="T16" fmla="*/ 1521 w 1547"/>
                <a:gd name="T17" fmla="*/ 2004 h 2700"/>
                <a:gd name="T18" fmla="*/ 1458 w 1547"/>
                <a:gd name="T19" fmla="*/ 1885 h 2700"/>
                <a:gd name="T20" fmla="*/ 1374 w 1547"/>
                <a:gd name="T21" fmla="*/ 1782 h 2700"/>
                <a:gd name="T22" fmla="*/ 1320 w 1547"/>
                <a:gd name="T23" fmla="*/ 1638 h 2700"/>
                <a:gd name="T24" fmla="*/ 1305 w 1547"/>
                <a:gd name="T25" fmla="*/ 1525 h 2700"/>
                <a:gd name="T26" fmla="*/ 1222 w 1547"/>
                <a:gd name="T27" fmla="*/ 1435 h 2700"/>
                <a:gd name="T28" fmla="*/ 1208 w 1547"/>
                <a:gd name="T29" fmla="*/ 1393 h 2700"/>
                <a:gd name="T30" fmla="*/ 1146 w 1547"/>
                <a:gd name="T31" fmla="*/ 1355 h 2700"/>
                <a:gd name="T32" fmla="*/ 989 w 1547"/>
                <a:gd name="T33" fmla="*/ 1316 h 2700"/>
                <a:gd name="T34" fmla="*/ 891 w 1547"/>
                <a:gd name="T35" fmla="*/ 1375 h 2700"/>
                <a:gd name="T36" fmla="*/ 916 w 1547"/>
                <a:gd name="T37" fmla="*/ 1477 h 2700"/>
                <a:gd name="T38" fmla="*/ 841 w 1547"/>
                <a:gd name="T39" fmla="*/ 1521 h 2700"/>
                <a:gd name="T40" fmla="*/ 792 w 1547"/>
                <a:gd name="T41" fmla="*/ 1459 h 2700"/>
                <a:gd name="T42" fmla="*/ 780 w 1547"/>
                <a:gd name="T43" fmla="*/ 1479 h 2700"/>
                <a:gd name="T44" fmla="*/ 748 w 1547"/>
                <a:gd name="T45" fmla="*/ 1492 h 2700"/>
                <a:gd name="T46" fmla="*/ 708 w 1547"/>
                <a:gd name="T47" fmla="*/ 1419 h 2700"/>
                <a:gd name="T48" fmla="*/ 573 w 1547"/>
                <a:gd name="T49" fmla="*/ 1481 h 2700"/>
                <a:gd name="T50" fmla="*/ 601 w 1547"/>
                <a:gd name="T51" fmla="*/ 1303 h 2700"/>
                <a:gd name="T52" fmla="*/ 641 w 1547"/>
                <a:gd name="T53" fmla="*/ 1180 h 2700"/>
                <a:gd name="T54" fmla="*/ 642 w 1547"/>
                <a:gd name="T55" fmla="*/ 1065 h 2700"/>
                <a:gd name="T56" fmla="*/ 655 w 1547"/>
                <a:gd name="T57" fmla="*/ 965 h 2700"/>
                <a:gd name="T58" fmla="*/ 691 w 1547"/>
                <a:gd name="T59" fmla="*/ 815 h 2700"/>
                <a:gd name="T60" fmla="*/ 795 w 1547"/>
                <a:gd name="T61" fmla="*/ 417 h 2700"/>
                <a:gd name="T62" fmla="*/ 900 w 1547"/>
                <a:gd name="T63" fmla="*/ 329 h 2700"/>
                <a:gd name="T64" fmla="*/ 947 w 1547"/>
                <a:gd name="T65" fmla="*/ 282 h 2700"/>
                <a:gd name="T66" fmla="*/ 818 w 1547"/>
                <a:gd name="T67" fmla="*/ 231 h 2700"/>
                <a:gd name="T68" fmla="*/ 771 w 1547"/>
                <a:gd name="T69" fmla="*/ 76 h 2700"/>
                <a:gd name="T70" fmla="*/ 563 w 1547"/>
                <a:gd name="T71" fmla="*/ 93 h 2700"/>
                <a:gd name="T72" fmla="*/ 436 w 1547"/>
                <a:gd name="T73" fmla="*/ 189 h 2700"/>
                <a:gd name="T74" fmla="*/ 270 w 1547"/>
                <a:gd name="T75" fmla="*/ 179 h 2700"/>
                <a:gd name="T76" fmla="*/ 253 w 1547"/>
                <a:gd name="T77" fmla="*/ 414 h 2700"/>
                <a:gd name="T78" fmla="*/ 346 w 1547"/>
                <a:gd name="T79" fmla="*/ 673 h 2700"/>
                <a:gd name="T80" fmla="*/ 204 w 1547"/>
                <a:gd name="T81" fmla="*/ 796 h 2700"/>
                <a:gd name="T82" fmla="*/ 66 w 1547"/>
                <a:gd name="T83" fmla="*/ 915 h 2700"/>
                <a:gd name="T84" fmla="*/ 36 w 1547"/>
                <a:gd name="T85" fmla="*/ 1077 h 2700"/>
                <a:gd name="T86" fmla="*/ 55 w 1547"/>
                <a:gd name="T87" fmla="*/ 1192 h 2700"/>
                <a:gd name="T88" fmla="*/ 88 w 1547"/>
                <a:gd name="T89" fmla="*/ 1315 h 2700"/>
                <a:gd name="T90" fmla="*/ 191 w 1547"/>
                <a:gd name="T91" fmla="*/ 1518 h 2700"/>
                <a:gd name="T92" fmla="*/ 281 w 1547"/>
                <a:gd name="T93" fmla="*/ 1580 h 2700"/>
                <a:gd name="T94" fmla="*/ 370 w 1547"/>
                <a:gd name="T95" fmla="*/ 1878 h 2700"/>
                <a:gd name="T96" fmla="*/ 580 w 1547"/>
                <a:gd name="T97" fmla="*/ 1701 h 2700"/>
                <a:gd name="T98" fmla="*/ 678 w 1547"/>
                <a:gd name="T99" fmla="*/ 1847 h 2700"/>
                <a:gd name="T100" fmla="*/ 555 w 1547"/>
                <a:gd name="T101" fmla="*/ 2002 h 2700"/>
                <a:gd name="T102" fmla="*/ 486 w 1547"/>
                <a:gd name="T103" fmla="*/ 2238 h 2700"/>
                <a:gd name="T104" fmla="*/ 626 w 1547"/>
                <a:gd name="T105" fmla="*/ 2390 h 2700"/>
                <a:gd name="T106" fmla="*/ 777 w 1547"/>
                <a:gd name="T107" fmla="*/ 2386 h 2700"/>
                <a:gd name="T108" fmla="*/ 999 w 1547"/>
                <a:gd name="T109" fmla="*/ 2370 h 2700"/>
                <a:gd name="T110" fmla="*/ 695 w 1547"/>
                <a:gd name="T111" fmla="*/ 1338 h 2700"/>
                <a:gd name="T112" fmla="*/ 668 w 1547"/>
                <a:gd name="T113" fmla="*/ 1376 h 2700"/>
                <a:gd name="T114" fmla="*/ 764 w 1547"/>
                <a:gd name="T115" fmla="*/ 1308 h 2700"/>
                <a:gd name="T116" fmla="*/ 745 w 1547"/>
                <a:gd name="T117" fmla="*/ 1358 h 2700"/>
                <a:gd name="T118" fmla="*/ 813 w 1547"/>
                <a:gd name="T119" fmla="*/ 1332 h 2700"/>
                <a:gd name="T120" fmla="*/ 811 w 1547"/>
                <a:gd name="T121" fmla="*/ 1391 h 2700"/>
                <a:gd name="T122" fmla="*/ 662 w 1547"/>
                <a:gd name="T123" fmla="*/ 1392 h 2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47" h="2700">
                  <a:moveTo>
                    <a:pt x="1062" y="2359"/>
                  </a:moveTo>
                  <a:lnTo>
                    <a:pt x="1062" y="2359"/>
                  </a:lnTo>
                  <a:lnTo>
                    <a:pt x="1066" y="2362"/>
                  </a:lnTo>
                  <a:lnTo>
                    <a:pt x="1066" y="2362"/>
                  </a:lnTo>
                  <a:lnTo>
                    <a:pt x="1067" y="2363"/>
                  </a:lnTo>
                  <a:lnTo>
                    <a:pt x="1069" y="2364"/>
                  </a:lnTo>
                  <a:lnTo>
                    <a:pt x="1069" y="2364"/>
                  </a:lnTo>
                  <a:lnTo>
                    <a:pt x="1069" y="2367"/>
                  </a:lnTo>
                  <a:lnTo>
                    <a:pt x="1069" y="2372"/>
                  </a:lnTo>
                  <a:lnTo>
                    <a:pt x="1069" y="2372"/>
                  </a:lnTo>
                  <a:lnTo>
                    <a:pt x="1069" y="2376"/>
                  </a:lnTo>
                  <a:lnTo>
                    <a:pt x="1070" y="2379"/>
                  </a:lnTo>
                  <a:lnTo>
                    <a:pt x="1075" y="2380"/>
                  </a:lnTo>
                  <a:lnTo>
                    <a:pt x="1076" y="2385"/>
                  </a:lnTo>
                  <a:lnTo>
                    <a:pt x="1077" y="2389"/>
                  </a:lnTo>
                  <a:lnTo>
                    <a:pt x="1076" y="2395"/>
                  </a:lnTo>
                  <a:lnTo>
                    <a:pt x="1073" y="2399"/>
                  </a:lnTo>
                  <a:lnTo>
                    <a:pt x="1070" y="2400"/>
                  </a:lnTo>
                  <a:lnTo>
                    <a:pt x="1066" y="2405"/>
                  </a:lnTo>
                  <a:lnTo>
                    <a:pt x="1062" y="2410"/>
                  </a:lnTo>
                  <a:lnTo>
                    <a:pt x="1060" y="2417"/>
                  </a:lnTo>
                  <a:lnTo>
                    <a:pt x="1060" y="2425"/>
                  </a:lnTo>
                  <a:lnTo>
                    <a:pt x="1063" y="2432"/>
                  </a:lnTo>
                  <a:lnTo>
                    <a:pt x="1063" y="2439"/>
                  </a:lnTo>
                  <a:lnTo>
                    <a:pt x="1063" y="2446"/>
                  </a:lnTo>
                  <a:lnTo>
                    <a:pt x="1060" y="2455"/>
                  </a:lnTo>
                  <a:lnTo>
                    <a:pt x="1060" y="2460"/>
                  </a:lnTo>
                  <a:lnTo>
                    <a:pt x="1062" y="2466"/>
                  </a:lnTo>
                  <a:lnTo>
                    <a:pt x="1065" y="2469"/>
                  </a:lnTo>
                  <a:lnTo>
                    <a:pt x="1067" y="2470"/>
                  </a:lnTo>
                  <a:lnTo>
                    <a:pt x="1070" y="2473"/>
                  </a:lnTo>
                  <a:lnTo>
                    <a:pt x="1077" y="2475"/>
                  </a:lnTo>
                  <a:lnTo>
                    <a:pt x="1080" y="2475"/>
                  </a:lnTo>
                  <a:lnTo>
                    <a:pt x="1085" y="2476"/>
                  </a:lnTo>
                  <a:lnTo>
                    <a:pt x="1087" y="2478"/>
                  </a:lnTo>
                  <a:lnTo>
                    <a:pt x="1090" y="2485"/>
                  </a:lnTo>
                  <a:lnTo>
                    <a:pt x="1093" y="2486"/>
                  </a:lnTo>
                  <a:lnTo>
                    <a:pt x="1095" y="2488"/>
                  </a:lnTo>
                  <a:lnTo>
                    <a:pt x="1096" y="2488"/>
                  </a:lnTo>
                  <a:lnTo>
                    <a:pt x="1102" y="2489"/>
                  </a:lnTo>
                  <a:lnTo>
                    <a:pt x="1105" y="2492"/>
                  </a:lnTo>
                  <a:lnTo>
                    <a:pt x="1106" y="2493"/>
                  </a:lnTo>
                  <a:lnTo>
                    <a:pt x="1106" y="2496"/>
                  </a:lnTo>
                  <a:lnTo>
                    <a:pt x="1106" y="2502"/>
                  </a:lnTo>
                  <a:lnTo>
                    <a:pt x="1108" y="2508"/>
                  </a:lnTo>
                  <a:lnTo>
                    <a:pt x="1108" y="2513"/>
                  </a:lnTo>
                  <a:lnTo>
                    <a:pt x="1109" y="2519"/>
                  </a:lnTo>
                  <a:lnTo>
                    <a:pt x="1109" y="2522"/>
                  </a:lnTo>
                  <a:lnTo>
                    <a:pt x="1108" y="2526"/>
                  </a:lnTo>
                  <a:lnTo>
                    <a:pt x="1106" y="2529"/>
                  </a:lnTo>
                  <a:lnTo>
                    <a:pt x="1105" y="2535"/>
                  </a:lnTo>
                  <a:lnTo>
                    <a:pt x="1103" y="2542"/>
                  </a:lnTo>
                  <a:lnTo>
                    <a:pt x="1103" y="2548"/>
                  </a:lnTo>
                  <a:lnTo>
                    <a:pt x="1099" y="2552"/>
                  </a:lnTo>
                  <a:lnTo>
                    <a:pt x="1095" y="2555"/>
                  </a:lnTo>
                  <a:lnTo>
                    <a:pt x="1090" y="2558"/>
                  </a:lnTo>
                  <a:lnTo>
                    <a:pt x="1086" y="2562"/>
                  </a:lnTo>
                  <a:lnTo>
                    <a:pt x="1085" y="2568"/>
                  </a:lnTo>
                  <a:lnTo>
                    <a:pt x="1085" y="2575"/>
                  </a:lnTo>
                  <a:lnTo>
                    <a:pt x="1085" y="2581"/>
                  </a:lnTo>
                  <a:lnTo>
                    <a:pt x="1083" y="2586"/>
                  </a:lnTo>
                  <a:lnTo>
                    <a:pt x="1083" y="2589"/>
                  </a:lnTo>
                  <a:lnTo>
                    <a:pt x="1083" y="2592"/>
                  </a:lnTo>
                  <a:lnTo>
                    <a:pt x="1085" y="2595"/>
                  </a:lnTo>
                  <a:lnTo>
                    <a:pt x="1086" y="2599"/>
                  </a:lnTo>
                  <a:lnTo>
                    <a:pt x="1092" y="2601"/>
                  </a:lnTo>
                  <a:lnTo>
                    <a:pt x="1095" y="2602"/>
                  </a:lnTo>
                  <a:lnTo>
                    <a:pt x="1099" y="2608"/>
                  </a:lnTo>
                  <a:lnTo>
                    <a:pt x="1102" y="2612"/>
                  </a:lnTo>
                  <a:lnTo>
                    <a:pt x="1102" y="2617"/>
                  </a:lnTo>
                  <a:lnTo>
                    <a:pt x="1100" y="2619"/>
                  </a:lnTo>
                  <a:lnTo>
                    <a:pt x="1099" y="2625"/>
                  </a:lnTo>
                  <a:lnTo>
                    <a:pt x="1099" y="2628"/>
                  </a:lnTo>
                  <a:lnTo>
                    <a:pt x="1099" y="2634"/>
                  </a:lnTo>
                  <a:lnTo>
                    <a:pt x="1100" y="2639"/>
                  </a:lnTo>
                  <a:lnTo>
                    <a:pt x="1103" y="2645"/>
                  </a:lnTo>
                  <a:lnTo>
                    <a:pt x="1106" y="2652"/>
                  </a:lnTo>
                  <a:lnTo>
                    <a:pt x="1108" y="2661"/>
                  </a:lnTo>
                  <a:lnTo>
                    <a:pt x="1109" y="2664"/>
                  </a:lnTo>
                  <a:lnTo>
                    <a:pt x="1109" y="2667"/>
                  </a:lnTo>
                  <a:lnTo>
                    <a:pt x="1113" y="2671"/>
                  </a:lnTo>
                  <a:lnTo>
                    <a:pt x="1116" y="2675"/>
                  </a:lnTo>
                  <a:lnTo>
                    <a:pt x="1119" y="2687"/>
                  </a:lnTo>
                  <a:lnTo>
                    <a:pt x="1120" y="2692"/>
                  </a:lnTo>
                  <a:lnTo>
                    <a:pt x="1122" y="2698"/>
                  </a:lnTo>
                  <a:lnTo>
                    <a:pt x="1120" y="2700"/>
                  </a:lnTo>
                  <a:lnTo>
                    <a:pt x="1128" y="2692"/>
                  </a:lnTo>
                  <a:lnTo>
                    <a:pt x="1138" y="2684"/>
                  </a:lnTo>
                  <a:lnTo>
                    <a:pt x="1143" y="2678"/>
                  </a:lnTo>
                  <a:lnTo>
                    <a:pt x="1149" y="2675"/>
                  </a:lnTo>
                  <a:lnTo>
                    <a:pt x="1152" y="2670"/>
                  </a:lnTo>
                  <a:lnTo>
                    <a:pt x="1153" y="2665"/>
                  </a:lnTo>
                  <a:lnTo>
                    <a:pt x="1153" y="2658"/>
                  </a:lnTo>
                  <a:lnTo>
                    <a:pt x="1148" y="2652"/>
                  </a:lnTo>
                  <a:lnTo>
                    <a:pt x="1143" y="2642"/>
                  </a:lnTo>
                  <a:lnTo>
                    <a:pt x="1142" y="2631"/>
                  </a:lnTo>
                  <a:lnTo>
                    <a:pt x="1139" y="2624"/>
                  </a:lnTo>
                  <a:lnTo>
                    <a:pt x="1140" y="2621"/>
                  </a:lnTo>
                  <a:lnTo>
                    <a:pt x="1142" y="2619"/>
                  </a:lnTo>
                  <a:lnTo>
                    <a:pt x="1146" y="2622"/>
                  </a:lnTo>
                  <a:lnTo>
                    <a:pt x="1149" y="2621"/>
                  </a:lnTo>
                  <a:lnTo>
                    <a:pt x="1151" y="2617"/>
                  </a:lnTo>
                  <a:lnTo>
                    <a:pt x="1149" y="2614"/>
                  </a:lnTo>
                  <a:lnTo>
                    <a:pt x="1146" y="2607"/>
                  </a:lnTo>
                  <a:lnTo>
                    <a:pt x="1145" y="2602"/>
                  </a:lnTo>
                  <a:lnTo>
                    <a:pt x="1143" y="2597"/>
                  </a:lnTo>
                  <a:lnTo>
                    <a:pt x="1142" y="2592"/>
                  </a:lnTo>
                  <a:lnTo>
                    <a:pt x="1142" y="2591"/>
                  </a:lnTo>
                  <a:lnTo>
                    <a:pt x="1149" y="2584"/>
                  </a:lnTo>
                  <a:lnTo>
                    <a:pt x="1165" y="2572"/>
                  </a:lnTo>
                  <a:lnTo>
                    <a:pt x="1175" y="2569"/>
                  </a:lnTo>
                  <a:lnTo>
                    <a:pt x="1179" y="2566"/>
                  </a:lnTo>
                  <a:lnTo>
                    <a:pt x="1179" y="2561"/>
                  </a:lnTo>
                  <a:lnTo>
                    <a:pt x="1181" y="2555"/>
                  </a:lnTo>
                  <a:lnTo>
                    <a:pt x="1182" y="2552"/>
                  </a:lnTo>
                  <a:lnTo>
                    <a:pt x="1185" y="2552"/>
                  </a:lnTo>
                  <a:lnTo>
                    <a:pt x="1189" y="2552"/>
                  </a:lnTo>
                  <a:lnTo>
                    <a:pt x="1195" y="2552"/>
                  </a:lnTo>
                  <a:lnTo>
                    <a:pt x="1199" y="2549"/>
                  </a:lnTo>
                  <a:lnTo>
                    <a:pt x="1204" y="2548"/>
                  </a:lnTo>
                  <a:lnTo>
                    <a:pt x="1206" y="2548"/>
                  </a:lnTo>
                  <a:lnTo>
                    <a:pt x="1206" y="2549"/>
                  </a:lnTo>
                  <a:lnTo>
                    <a:pt x="1206" y="2554"/>
                  </a:lnTo>
                  <a:lnTo>
                    <a:pt x="1211" y="2556"/>
                  </a:lnTo>
                  <a:lnTo>
                    <a:pt x="1218" y="2556"/>
                  </a:lnTo>
                  <a:lnTo>
                    <a:pt x="1222" y="2556"/>
                  </a:lnTo>
                  <a:lnTo>
                    <a:pt x="1225" y="2556"/>
                  </a:lnTo>
                  <a:lnTo>
                    <a:pt x="1226" y="2559"/>
                  </a:lnTo>
                  <a:lnTo>
                    <a:pt x="1228" y="2564"/>
                  </a:lnTo>
                  <a:lnTo>
                    <a:pt x="1226" y="2569"/>
                  </a:lnTo>
                  <a:lnTo>
                    <a:pt x="1224" y="2574"/>
                  </a:lnTo>
                  <a:lnTo>
                    <a:pt x="1224" y="2575"/>
                  </a:lnTo>
                  <a:lnTo>
                    <a:pt x="1229" y="2578"/>
                  </a:lnTo>
                  <a:lnTo>
                    <a:pt x="1232" y="2576"/>
                  </a:lnTo>
                  <a:lnTo>
                    <a:pt x="1236" y="2571"/>
                  </a:lnTo>
                  <a:lnTo>
                    <a:pt x="1245" y="2561"/>
                  </a:lnTo>
                  <a:lnTo>
                    <a:pt x="1246" y="2561"/>
                  </a:lnTo>
                  <a:lnTo>
                    <a:pt x="1252" y="2559"/>
                  </a:lnTo>
                  <a:lnTo>
                    <a:pt x="1255" y="2556"/>
                  </a:lnTo>
                  <a:lnTo>
                    <a:pt x="1256" y="2551"/>
                  </a:lnTo>
                  <a:lnTo>
                    <a:pt x="1259" y="2548"/>
                  </a:lnTo>
                  <a:lnTo>
                    <a:pt x="1264" y="2549"/>
                  </a:lnTo>
                  <a:lnTo>
                    <a:pt x="1268" y="2552"/>
                  </a:lnTo>
                  <a:lnTo>
                    <a:pt x="1268" y="2555"/>
                  </a:lnTo>
                  <a:lnTo>
                    <a:pt x="1267" y="2558"/>
                  </a:lnTo>
                  <a:lnTo>
                    <a:pt x="1261" y="2559"/>
                  </a:lnTo>
                  <a:lnTo>
                    <a:pt x="1258" y="2562"/>
                  </a:lnTo>
                  <a:lnTo>
                    <a:pt x="1261" y="2564"/>
                  </a:lnTo>
                  <a:lnTo>
                    <a:pt x="1267" y="2564"/>
                  </a:lnTo>
                  <a:lnTo>
                    <a:pt x="1269" y="2561"/>
                  </a:lnTo>
                  <a:lnTo>
                    <a:pt x="1277" y="2559"/>
                  </a:lnTo>
                  <a:lnTo>
                    <a:pt x="1289" y="2562"/>
                  </a:lnTo>
                  <a:lnTo>
                    <a:pt x="1297" y="2562"/>
                  </a:lnTo>
                  <a:lnTo>
                    <a:pt x="1301" y="2559"/>
                  </a:lnTo>
                  <a:lnTo>
                    <a:pt x="1304" y="2554"/>
                  </a:lnTo>
                  <a:lnTo>
                    <a:pt x="1307" y="2548"/>
                  </a:lnTo>
                  <a:lnTo>
                    <a:pt x="1308" y="2546"/>
                  </a:lnTo>
                  <a:lnTo>
                    <a:pt x="1315" y="2546"/>
                  </a:lnTo>
                  <a:lnTo>
                    <a:pt x="1324" y="2549"/>
                  </a:lnTo>
                  <a:lnTo>
                    <a:pt x="1328" y="2548"/>
                  </a:lnTo>
                  <a:lnTo>
                    <a:pt x="1337" y="2542"/>
                  </a:lnTo>
                  <a:lnTo>
                    <a:pt x="1341" y="2539"/>
                  </a:lnTo>
                  <a:lnTo>
                    <a:pt x="1342" y="2531"/>
                  </a:lnTo>
                  <a:lnTo>
                    <a:pt x="1345" y="2529"/>
                  </a:lnTo>
                  <a:lnTo>
                    <a:pt x="1350" y="2528"/>
                  </a:lnTo>
                  <a:lnTo>
                    <a:pt x="1354" y="2525"/>
                  </a:lnTo>
                  <a:lnTo>
                    <a:pt x="1358" y="2526"/>
                  </a:lnTo>
                  <a:lnTo>
                    <a:pt x="1361" y="2525"/>
                  </a:lnTo>
                  <a:lnTo>
                    <a:pt x="1362" y="2519"/>
                  </a:lnTo>
                  <a:lnTo>
                    <a:pt x="1364" y="2515"/>
                  </a:lnTo>
                  <a:lnTo>
                    <a:pt x="1367" y="2512"/>
                  </a:lnTo>
                  <a:lnTo>
                    <a:pt x="1368" y="2506"/>
                  </a:lnTo>
                  <a:lnTo>
                    <a:pt x="1368" y="2502"/>
                  </a:lnTo>
                  <a:lnTo>
                    <a:pt x="1370" y="2499"/>
                  </a:lnTo>
                  <a:lnTo>
                    <a:pt x="1371" y="2496"/>
                  </a:lnTo>
                  <a:lnTo>
                    <a:pt x="1371" y="2493"/>
                  </a:lnTo>
                  <a:lnTo>
                    <a:pt x="1371" y="2489"/>
                  </a:lnTo>
                  <a:lnTo>
                    <a:pt x="1371" y="2486"/>
                  </a:lnTo>
                  <a:lnTo>
                    <a:pt x="1374" y="2482"/>
                  </a:lnTo>
                  <a:lnTo>
                    <a:pt x="1375" y="2479"/>
                  </a:lnTo>
                  <a:lnTo>
                    <a:pt x="1380" y="2473"/>
                  </a:lnTo>
                  <a:lnTo>
                    <a:pt x="1378" y="2468"/>
                  </a:lnTo>
                  <a:lnTo>
                    <a:pt x="1375" y="2465"/>
                  </a:lnTo>
                  <a:lnTo>
                    <a:pt x="1368" y="2460"/>
                  </a:lnTo>
                  <a:lnTo>
                    <a:pt x="1365" y="2456"/>
                  </a:lnTo>
                  <a:lnTo>
                    <a:pt x="1362" y="2449"/>
                  </a:lnTo>
                  <a:lnTo>
                    <a:pt x="1361" y="2429"/>
                  </a:lnTo>
                  <a:lnTo>
                    <a:pt x="1362" y="2425"/>
                  </a:lnTo>
                  <a:lnTo>
                    <a:pt x="1365" y="2422"/>
                  </a:lnTo>
                  <a:lnTo>
                    <a:pt x="1368" y="2422"/>
                  </a:lnTo>
                  <a:lnTo>
                    <a:pt x="1373" y="2423"/>
                  </a:lnTo>
                  <a:lnTo>
                    <a:pt x="1378" y="2423"/>
                  </a:lnTo>
                  <a:lnTo>
                    <a:pt x="1381" y="2420"/>
                  </a:lnTo>
                  <a:lnTo>
                    <a:pt x="1385" y="2415"/>
                  </a:lnTo>
                  <a:lnTo>
                    <a:pt x="1390" y="2413"/>
                  </a:lnTo>
                  <a:lnTo>
                    <a:pt x="1395" y="2413"/>
                  </a:lnTo>
                  <a:lnTo>
                    <a:pt x="1401" y="2413"/>
                  </a:lnTo>
                  <a:lnTo>
                    <a:pt x="1407" y="2407"/>
                  </a:lnTo>
                  <a:lnTo>
                    <a:pt x="1411" y="2400"/>
                  </a:lnTo>
                  <a:lnTo>
                    <a:pt x="1413" y="2389"/>
                  </a:lnTo>
                  <a:lnTo>
                    <a:pt x="1414" y="2385"/>
                  </a:lnTo>
                  <a:lnTo>
                    <a:pt x="1417" y="2382"/>
                  </a:lnTo>
                  <a:lnTo>
                    <a:pt x="1420" y="2379"/>
                  </a:lnTo>
                  <a:lnTo>
                    <a:pt x="1421" y="2373"/>
                  </a:lnTo>
                  <a:lnTo>
                    <a:pt x="1425" y="2370"/>
                  </a:lnTo>
                  <a:lnTo>
                    <a:pt x="1428" y="2366"/>
                  </a:lnTo>
                  <a:lnTo>
                    <a:pt x="1427" y="2354"/>
                  </a:lnTo>
                  <a:lnTo>
                    <a:pt x="1427" y="2353"/>
                  </a:lnTo>
                  <a:lnTo>
                    <a:pt x="1428" y="2349"/>
                  </a:lnTo>
                  <a:lnTo>
                    <a:pt x="1433" y="2344"/>
                  </a:lnTo>
                  <a:lnTo>
                    <a:pt x="1437" y="2339"/>
                  </a:lnTo>
                  <a:lnTo>
                    <a:pt x="1441" y="2334"/>
                  </a:lnTo>
                  <a:lnTo>
                    <a:pt x="1441" y="2329"/>
                  </a:lnTo>
                  <a:lnTo>
                    <a:pt x="1440" y="2324"/>
                  </a:lnTo>
                  <a:lnTo>
                    <a:pt x="1437" y="2323"/>
                  </a:lnTo>
                  <a:lnTo>
                    <a:pt x="1434" y="2323"/>
                  </a:lnTo>
                  <a:lnTo>
                    <a:pt x="1428" y="2323"/>
                  </a:lnTo>
                  <a:lnTo>
                    <a:pt x="1424" y="2327"/>
                  </a:lnTo>
                  <a:lnTo>
                    <a:pt x="1420" y="2327"/>
                  </a:lnTo>
                  <a:lnTo>
                    <a:pt x="1417" y="2327"/>
                  </a:lnTo>
                  <a:lnTo>
                    <a:pt x="1414" y="2323"/>
                  </a:lnTo>
                  <a:lnTo>
                    <a:pt x="1417" y="2314"/>
                  </a:lnTo>
                  <a:lnTo>
                    <a:pt x="1415" y="2312"/>
                  </a:lnTo>
                  <a:lnTo>
                    <a:pt x="1414" y="2310"/>
                  </a:lnTo>
                  <a:lnTo>
                    <a:pt x="1407" y="2309"/>
                  </a:lnTo>
                  <a:lnTo>
                    <a:pt x="1403" y="2312"/>
                  </a:lnTo>
                  <a:lnTo>
                    <a:pt x="1401" y="2316"/>
                  </a:lnTo>
                  <a:lnTo>
                    <a:pt x="1397" y="2319"/>
                  </a:lnTo>
                  <a:lnTo>
                    <a:pt x="1393" y="2320"/>
                  </a:lnTo>
                  <a:lnTo>
                    <a:pt x="1383" y="2320"/>
                  </a:lnTo>
                  <a:lnTo>
                    <a:pt x="1377" y="2319"/>
                  </a:lnTo>
                  <a:lnTo>
                    <a:pt x="1371" y="2320"/>
                  </a:lnTo>
                  <a:lnTo>
                    <a:pt x="1367" y="2323"/>
                  </a:lnTo>
                  <a:lnTo>
                    <a:pt x="1360" y="2329"/>
                  </a:lnTo>
                  <a:lnTo>
                    <a:pt x="1357" y="2333"/>
                  </a:lnTo>
                  <a:lnTo>
                    <a:pt x="1352" y="2334"/>
                  </a:lnTo>
                  <a:lnTo>
                    <a:pt x="1350" y="2333"/>
                  </a:lnTo>
                  <a:lnTo>
                    <a:pt x="1348" y="2330"/>
                  </a:lnTo>
                  <a:lnTo>
                    <a:pt x="1348" y="2326"/>
                  </a:lnTo>
                  <a:lnTo>
                    <a:pt x="1352" y="2319"/>
                  </a:lnTo>
                  <a:lnTo>
                    <a:pt x="1360" y="2312"/>
                  </a:lnTo>
                  <a:lnTo>
                    <a:pt x="1361" y="2307"/>
                  </a:lnTo>
                  <a:lnTo>
                    <a:pt x="1358" y="2304"/>
                  </a:lnTo>
                  <a:lnTo>
                    <a:pt x="1354" y="2306"/>
                  </a:lnTo>
                  <a:lnTo>
                    <a:pt x="1350" y="2304"/>
                  </a:lnTo>
                  <a:lnTo>
                    <a:pt x="1347" y="2304"/>
                  </a:lnTo>
                  <a:lnTo>
                    <a:pt x="1345" y="2306"/>
                  </a:lnTo>
                  <a:lnTo>
                    <a:pt x="1340" y="2309"/>
                  </a:lnTo>
                  <a:lnTo>
                    <a:pt x="1335" y="2307"/>
                  </a:lnTo>
                  <a:lnTo>
                    <a:pt x="1328" y="2306"/>
                  </a:lnTo>
                  <a:lnTo>
                    <a:pt x="1324" y="2304"/>
                  </a:lnTo>
                  <a:lnTo>
                    <a:pt x="1318" y="2304"/>
                  </a:lnTo>
                  <a:lnTo>
                    <a:pt x="1312" y="2303"/>
                  </a:lnTo>
                  <a:lnTo>
                    <a:pt x="1311" y="2301"/>
                  </a:lnTo>
                  <a:lnTo>
                    <a:pt x="1311" y="2299"/>
                  </a:lnTo>
                  <a:lnTo>
                    <a:pt x="1312" y="2290"/>
                  </a:lnTo>
                  <a:lnTo>
                    <a:pt x="1314" y="2283"/>
                  </a:lnTo>
                  <a:lnTo>
                    <a:pt x="1314" y="2279"/>
                  </a:lnTo>
                  <a:lnTo>
                    <a:pt x="1315" y="2274"/>
                  </a:lnTo>
                  <a:lnTo>
                    <a:pt x="1322" y="2266"/>
                  </a:lnTo>
                  <a:lnTo>
                    <a:pt x="1330" y="2260"/>
                  </a:lnTo>
                  <a:lnTo>
                    <a:pt x="1331" y="2259"/>
                  </a:lnTo>
                  <a:lnTo>
                    <a:pt x="1334" y="2260"/>
                  </a:lnTo>
                  <a:lnTo>
                    <a:pt x="1340" y="2261"/>
                  </a:lnTo>
                  <a:lnTo>
                    <a:pt x="1344" y="2261"/>
                  </a:lnTo>
                  <a:lnTo>
                    <a:pt x="1348" y="2257"/>
                  </a:lnTo>
                  <a:lnTo>
                    <a:pt x="1354" y="2251"/>
                  </a:lnTo>
                  <a:lnTo>
                    <a:pt x="1355" y="2247"/>
                  </a:lnTo>
                  <a:lnTo>
                    <a:pt x="1357" y="2240"/>
                  </a:lnTo>
                  <a:lnTo>
                    <a:pt x="1360" y="2234"/>
                  </a:lnTo>
                  <a:lnTo>
                    <a:pt x="1365" y="2228"/>
                  </a:lnTo>
                  <a:lnTo>
                    <a:pt x="1371" y="2226"/>
                  </a:lnTo>
                  <a:lnTo>
                    <a:pt x="1375" y="2223"/>
                  </a:lnTo>
                  <a:lnTo>
                    <a:pt x="1375" y="2216"/>
                  </a:lnTo>
                  <a:lnTo>
                    <a:pt x="1368" y="2204"/>
                  </a:lnTo>
                  <a:lnTo>
                    <a:pt x="1370" y="2200"/>
                  </a:lnTo>
                  <a:lnTo>
                    <a:pt x="1371" y="2190"/>
                  </a:lnTo>
                  <a:lnTo>
                    <a:pt x="1374" y="2185"/>
                  </a:lnTo>
                  <a:lnTo>
                    <a:pt x="1378" y="2184"/>
                  </a:lnTo>
                  <a:lnTo>
                    <a:pt x="1383" y="2185"/>
                  </a:lnTo>
                  <a:lnTo>
                    <a:pt x="1388" y="2187"/>
                  </a:lnTo>
                  <a:lnTo>
                    <a:pt x="1394" y="2187"/>
                  </a:lnTo>
                  <a:lnTo>
                    <a:pt x="1400" y="2188"/>
                  </a:lnTo>
                  <a:lnTo>
                    <a:pt x="1403" y="2190"/>
                  </a:lnTo>
                  <a:lnTo>
                    <a:pt x="1407" y="2198"/>
                  </a:lnTo>
                  <a:lnTo>
                    <a:pt x="1411" y="2203"/>
                  </a:lnTo>
                  <a:lnTo>
                    <a:pt x="1415" y="2206"/>
                  </a:lnTo>
                  <a:lnTo>
                    <a:pt x="1421" y="2208"/>
                  </a:lnTo>
                  <a:lnTo>
                    <a:pt x="1424" y="2213"/>
                  </a:lnTo>
                  <a:lnTo>
                    <a:pt x="1425" y="2214"/>
                  </a:lnTo>
                  <a:lnTo>
                    <a:pt x="1428" y="2213"/>
                  </a:lnTo>
                  <a:lnTo>
                    <a:pt x="1433" y="2208"/>
                  </a:lnTo>
                  <a:lnTo>
                    <a:pt x="1434" y="2208"/>
                  </a:lnTo>
                  <a:lnTo>
                    <a:pt x="1438" y="2208"/>
                  </a:lnTo>
                  <a:lnTo>
                    <a:pt x="1440" y="2211"/>
                  </a:lnTo>
                  <a:lnTo>
                    <a:pt x="1441" y="2216"/>
                  </a:lnTo>
                  <a:lnTo>
                    <a:pt x="1438" y="2226"/>
                  </a:lnTo>
                  <a:lnTo>
                    <a:pt x="1437" y="2236"/>
                  </a:lnTo>
                  <a:lnTo>
                    <a:pt x="1437" y="2237"/>
                  </a:lnTo>
                  <a:lnTo>
                    <a:pt x="1438" y="2238"/>
                  </a:lnTo>
                  <a:lnTo>
                    <a:pt x="1441" y="2234"/>
                  </a:lnTo>
                  <a:lnTo>
                    <a:pt x="1446" y="2230"/>
                  </a:lnTo>
                  <a:lnTo>
                    <a:pt x="1448" y="2228"/>
                  </a:lnTo>
                  <a:lnTo>
                    <a:pt x="1453" y="2228"/>
                  </a:lnTo>
                  <a:lnTo>
                    <a:pt x="1457" y="2231"/>
                  </a:lnTo>
                  <a:lnTo>
                    <a:pt x="1464" y="2234"/>
                  </a:lnTo>
                  <a:lnTo>
                    <a:pt x="1470" y="2236"/>
                  </a:lnTo>
                  <a:lnTo>
                    <a:pt x="1477" y="2237"/>
                  </a:lnTo>
                  <a:lnTo>
                    <a:pt x="1483" y="2238"/>
                  </a:lnTo>
                  <a:lnTo>
                    <a:pt x="1484" y="2240"/>
                  </a:lnTo>
                  <a:lnTo>
                    <a:pt x="1484" y="2244"/>
                  </a:lnTo>
                  <a:lnTo>
                    <a:pt x="1486" y="2248"/>
                  </a:lnTo>
                  <a:lnTo>
                    <a:pt x="1487" y="2251"/>
                  </a:lnTo>
                  <a:lnTo>
                    <a:pt x="1490" y="2253"/>
                  </a:lnTo>
                  <a:lnTo>
                    <a:pt x="1489" y="2256"/>
                  </a:lnTo>
                  <a:lnTo>
                    <a:pt x="1487" y="2256"/>
                  </a:lnTo>
                  <a:lnTo>
                    <a:pt x="1483" y="2256"/>
                  </a:lnTo>
                  <a:lnTo>
                    <a:pt x="1481" y="2259"/>
                  </a:lnTo>
                  <a:lnTo>
                    <a:pt x="1478" y="2266"/>
                  </a:lnTo>
                  <a:lnTo>
                    <a:pt x="1476" y="2270"/>
                  </a:lnTo>
                  <a:lnTo>
                    <a:pt x="1471" y="2274"/>
                  </a:lnTo>
                  <a:lnTo>
                    <a:pt x="1467" y="2280"/>
                  </a:lnTo>
                  <a:lnTo>
                    <a:pt x="1466" y="2283"/>
                  </a:lnTo>
                  <a:lnTo>
                    <a:pt x="1468" y="2286"/>
                  </a:lnTo>
                  <a:lnTo>
                    <a:pt x="1476" y="2287"/>
                  </a:lnTo>
                  <a:lnTo>
                    <a:pt x="1484" y="2289"/>
                  </a:lnTo>
                  <a:lnTo>
                    <a:pt x="1486" y="2291"/>
                  </a:lnTo>
                  <a:lnTo>
                    <a:pt x="1487" y="2296"/>
                  </a:lnTo>
                  <a:lnTo>
                    <a:pt x="1487" y="2303"/>
                  </a:lnTo>
                  <a:lnTo>
                    <a:pt x="1487" y="2307"/>
                  </a:lnTo>
                  <a:lnTo>
                    <a:pt x="1487" y="2309"/>
                  </a:lnTo>
                  <a:lnTo>
                    <a:pt x="1490" y="2309"/>
                  </a:lnTo>
                  <a:lnTo>
                    <a:pt x="1496" y="2306"/>
                  </a:lnTo>
                  <a:lnTo>
                    <a:pt x="1504" y="2299"/>
                  </a:lnTo>
                  <a:lnTo>
                    <a:pt x="1510" y="2294"/>
                  </a:lnTo>
                  <a:lnTo>
                    <a:pt x="1514" y="2293"/>
                  </a:lnTo>
                  <a:lnTo>
                    <a:pt x="1520" y="2293"/>
                  </a:lnTo>
                  <a:lnTo>
                    <a:pt x="1523" y="2294"/>
                  </a:lnTo>
                  <a:lnTo>
                    <a:pt x="1529" y="2297"/>
                  </a:lnTo>
                  <a:lnTo>
                    <a:pt x="1531" y="2297"/>
                  </a:lnTo>
                  <a:lnTo>
                    <a:pt x="1531" y="2294"/>
                  </a:lnTo>
                  <a:lnTo>
                    <a:pt x="1534" y="2293"/>
                  </a:lnTo>
                  <a:lnTo>
                    <a:pt x="1537" y="2293"/>
                  </a:lnTo>
                  <a:lnTo>
                    <a:pt x="1540" y="2293"/>
                  </a:lnTo>
                  <a:lnTo>
                    <a:pt x="1540" y="2289"/>
                  </a:lnTo>
                  <a:lnTo>
                    <a:pt x="1539" y="2284"/>
                  </a:lnTo>
                  <a:lnTo>
                    <a:pt x="1536" y="2279"/>
                  </a:lnTo>
                  <a:lnTo>
                    <a:pt x="1534" y="2273"/>
                  </a:lnTo>
                  <a:lnTo>
                    <a:pt x="1534" y="2267"/>
                  </a:lnTo>
                  <a:lnTo>
                    <a:pt x="1534" y="2261"/>
                  </a:lnTo>
                  <a:lnTo>
                    <a:pt x="1531" y="2257"/>
                  </a:lnTo>
                  <a:lnTo>
                    <a:pt x="1529" y="2256"/>
                  </a:lnTo>
                  <a:lnTo>
                    <a:pt x="1529" y="2254"/>
                  </a:lnTo>
                  <a:lnTo>
                    <a:pt x="1530" y="2250"/>
                  </a:lnTo>
                  <a:lnTo>
                    <a:pt x="1531" y="2248"/>
                  </a:lnTo>
                  <a:lnTo>
                    <a:pt x="1530" y="2244"/>
                  </a:lnTo>
                  <a:lnTo>
                    <a:pt x="1530" y="2241"/>
                  </a:lnTo>
                  <a:lnTo>
                    <a:pt x="1529" y="2237"/>
                  </a:lnTo>
                  <a:lnTo>
                    <a:pt x="1527" y="2230"/>
                  </a:lnTo>
                  <a:lnTo>
                    <a:pt x="1527" y="2220"/>
                  </a:lnTo>
                  <a:lnTo>
                    <a:pt x="1527" y="2210"/>
                  </a:lnTo>
                  <a:lnTo>
                    <a:pt x="1526" y="2194"/>
                  </a:lnTo>
                  <a:lnTo>
                    <a:pt x="1527" y="2190"/>
                  </a:lnTo>
                  <a:lnTo>
                    <a:pt x="1530" y="2187"/>
                  </a:lnTo>
                  <a:lnTo>
                    <a:pt x="1531" y="2181"/>
                  </a:lnTo>
                  <a:lnTo>
                    <a:pt x="1533" y="2178"/>
                  </a:lnTo>
                  <a:lnTo>
                    <a:pt x="1534" y="2171"/>
                  </a:lnTo>
                  <a:lnTo>
                    <a:pt x="1537" y="2144"/>
                  </a:lnTo>
                  <a:lnTo>
                    <a:pt x="1539" y="2131"/>
                  </a:lnTo>
                  <a:lnTo>
                    <a:pt x="1537" y="2122"/>
                  </a:lnTo>
                  <a:lnTo>
                    <a:pt x="1539" y="2118"/>
                  </a:lnTo>
                  <a:lnTo>
                    <a:pt x="1540" y="2114"/>
                  </a:lnTo>
                  <a:lnTo>
                    <a:pt x="1543" y="2110"/>
                  </a:lnTo>
                  <a:lnTo>
                    <a:pt x="1544" y="2105"/>
                  </a:lnTo>
                  <a:lnTo>
                    <a:pt x="1546" y="2101"/>
                  </a:lnTo>
                  <a:lnTo>
                    <a:pt x="1543" y="2090"/>
                  </a:lnTo>
                  <a:lnTo>
                    <a:pt x="1544" y="2084"/>
                  </a:lnTo>
                  <a:lnTo>
                    <a:pt x="1547" y="2078"/>
                  </a:lnTo>
                  <a:lnTo>
                    <a:pt x="1546" y="2075"/>
                  </a:lnTo>
                  <a:lnTo>
                    <a:pt x="1543" y="2072"/>
                  </a:lnTo>
                  <a:lnTo>
                    <a:pt x="1540" y="2068"/>
                  </a:lnTo>
                  <a:lnTo>
                    <a:pt x="1536" y="2065"/>
                  </a:lnTo>
                  <a:lnTo>
                    <a:pt x="1536" y="2062"/>
                  </a:lnTo>
                  <a:lnTo>
                    <a:pt x="1536" y="2058"/>
                  </a:lnTo>
                  <a:lnTo>
                    <a:pt x="1533" y="2055"/>
                  </a:lnTo>
                  <a:lnTo>
                    <a:pt x="1530" y="2051"/>
                  </a:lnTo>
                  <a:lnTo>
                    <a:pt x="1524" y="2047"/>
                  </a:lnTo>
                  <a:lnTo>
                    <a:pt x="1523" y="2039"/>
                  </a:lnTo>
                  <a:lnTo>
                    <a:pt x="1523" y="2032"/>
                  </a:lnTo>
                  <a:lnTo>
                    <a:pt x="1523" y="2028"/>
                  </a:lnTo>
                  <a:lnTo>
                    <a:pt x="1521" y="2024"/>
                  </a:lnTo>
                  <a:lnTo>
                    <a:pt x="1520" y="2021"/>
                  </a:lnTo>
                  <a:lnTo>
                    <a:pt x="1520" y="2014"/>
                  </a:lnTo>
                  <a:lnTo>
                    <a:pt x="1520" y="2009"/>
                  </a:lnTo>
                  <a:lnTo>
                    <a:pt x="1521" y="2006"/>
                  </a:lnTo>
                  <a:lnTo>
                    <a:pt x="1521" y="2004"/>
                  </a:lnTo>
                  <a:lnTo>
                    <a:pt x="1521" y="2001"/>
                  </a:lnTo>
                  <a:lnTo>
                    <a:pt x="1520" y="1996"/>
                  </a:lnTo>
                  <a:lnTo>
                    <a:pt x="1517" y="1994"/>
                  </a:lnTo>
                  <a:lnTo>
                    <a:pt x="1516" y="1994"/>
                  </a:lnTo>
                  <a:lnTo>
                    <a:pt x="1513" y="1992"/>
                  </a:lnTo>
                  <a:lnTo>
                    <a:pt x="1513" y="1989"/>
                  </a:lnTo>
                  <a:lnTo>
                    <a:pt x="1511" y="1988"/>
                  </a:lnTo>
                  <a:lnTo>
                    <a:pt x="1510" y="1988"/>
                  </a:lnTo>
                  <a:lnTo>
                    <a:pt x="1509" y="1994"/>
                  </a:lnTo>
                  <a:lnTo>
                    <a:pt x="1507" y="1996"/>
                  </a:lnTo>
                  <a:lnTo>
                    <a:pt x="1507" y="1999"/>
                  </a:lnTo>
                  <a:lnTo>
                    <a:pt x="1507" y="2002"/>
                  </a:lnTo>
                  <a:lnTo>
                    <a:pt x="1507" y="2004"/>
                  </a:lnTo>
                  <a:lnTo>
                    <a:pt x="1506" y="2005"/>
                  </a:lnTo>
                  <a:lnTo>
                    <a:pt x="1504" y="2004"/>
                  </a:lnTo>
                  <a:lnTo>
                    <a:pt x="1506" y="2001"/>
                  </a:lnTo>
                  <a:lnTo>
                    <a:pt x="1506" y="1994"/>
                  </a:lnTo>
                  <a:lnTo>
                    <a:pt x="1506" y="1989"/>
                  </a:lnTo>
                  <a:lnTo>
                    <a:pt x="1506" y="1986"/>
                  </a:lnTo>
                  <a:lnTo>
                    <a:pt x="1504" y="1984"/>
                  </a:lnTo>
                  <a:lnTo>
                    <a:pt x="1501" y="1982"/>
                  </a:lnTo>
                  <a:lnTo>
                    <a:pt x="1500" y="1984"/>
                  </a:lnTo>
                  <a:lnTo>
                    <a:pt x="1499" y="1982"/>
                  </a:lnTo>
                  <a:lnTo>
                    <a:pt x="1499" y="1981"/>
                  </a:lnTo>
                  <a:lnTo>
                    <a:pt x="1500" y="1979"/>
                  </a:lnTo>
                  <a:lnTo>
                    <a:pt x="1503" y="1978"/>
                  </a:lnTo>
                  <a:lnTo>
                    <a:pt x="1503" y="1975"/>
                  </a:lnTo>
                  <a:lnTo>
                    <a:pt x="1501" y="1972"/>
                  </a:lnTo>
                  <a:lnTo>
                    <a:pt x="1496" y="1969"/>
                  </a:lnTo>
                  <a:lnTo>
                    <a:pt x="1490" y="1966"/>
                  </a:lnTo>
                  <a:lnTo>
                    <a:pt x="1487" y="1961"/>
                  </a:lnTo>
                  <a:lnTo>
                    <a:pt x="1486" y="1953"/>
                  </a:lnTo>
                  <a:lnTo>
                    <a:pt x="1486" y="1949"/>
                  </a:lnTo>
                  <a:lnTo>
                    <a:pt x="1484" y="1939"/>
                  </a:lnTo>
                  <a:lnTo>
                    <a:pt x="1481" y="1928"/>
                  </a:lnTo>
                  <a:lnTo>
                    <a:pt x="1481" y="1922"/>
                  </a:lnTo>
                  <a:lnTo>
                    <a:pt x="1481" y="1916"/>
                  </a:lnTo>
                  <a:lnTo>
                    <a:pt x="1480" y="1912"/>
                  </a:lnTo>
                  <a:lnTo>
                    <a:pt x="1477" y="1908"/>
                  </a:lnTo>
                  <a:lnTo>
                    <a:pt x="1477" y="1903"/>
                  </a:lnTo>
                  <a:lnTo>
                    <a:pt x="1471" y="1896"/>
                  </a:lnTo>
                  <a:lnTo>
                    <a:pt x="1467" y="1893"/>
                  </a:lnTo>
                  <a:lnTo>
                    <a:pt x="1461" y="1890"/>
                  </a:lnTo>
                  <a:lnTo>
                    <a:pt x="1458" y="1885"/>
                  </a:lnTo>
                  <a:lnTo>
                    <a:pt x="1457" y="1880"/>
                  </a:lnTo>
                  <a:lnTo>
                    <a:pt x="1456" y="1878"/>
                  </a:lnTo>
                  <a:lnTo>
                    <a:pt x="1453" y="1878"/>
                  </a:lnTo>
                  <a:lnTo>
                    <a:pt x="1448" y="1878"/>
                  </a:lnTo>
                  <a:lnTo>
                    <a:pt x="1443" y="1876"/>
                  </a:lnTo>
                  <a:lnTo>
                    <a:pt x="1438" y="1873"/>
                  </a:lnTo>
                  <a:lnTo>
                    <a:pt x="1436" y="1869"/>
                  </a:lnTo>
                  <a:lnTo>
                    <a:pt x="1436" y="1865"/>
                  </a:lnTo>
                  <a:lnTo>
                    <a:pt x="1436" y="1859"/>
                  </a:lnTo>
                  <a:lnTo>
                    <a:pt x="1434" y="1853"/>
                  </a:lnTo>
                  <a:lnTo>
                    <a:pt x="1431" y="1849"/>
                  </a:lnTo>
                  <a:lnTo>
                    <a:pt x="1433" y="1846"/>
                  </a:lnTo>
                  <a:lnTo>
                    <a:pt x="1434" y="1840"/>
                  </a:lnTo>
                  <a:lnTo>
                    <a:pt x="1436" y="1836"/>
                  </a:lnTo>
                  <a:lnTo>
                    <a:pt x="1437" y="1835"/>
                  </a:lnTo>
                  <a:lnTo>
                    <a:pt x="1438" y="1830"/>
                  </a:lnTo>
                  <a:lnTo>
                    <a:pt x="1440" y="1825"/>
                  </a:lnTo>
                  <a:lnTo>
                    <a:pt x="1440" y="1822"/>
                  </a:lnTo>
                  <a:lnTo>
                    <a:pt x="1437" y="1822"/>
                  </a:lnTo>
                  <a:lnTo>
                    <a:pt x="1434" y="1823"/>
                  </a:lnTo>
                  <a:lnTo>
                    <a:pt x="1430" y="1825"/>
                  </a:lnTo>
                  <a:lnTo>
                    <a:pt x="1427" y="1823"/>
                  </a:lnTo>
                  <a:lnTo>
                    <a:pt x="1425" y="1826"/>
                  </a:lnTo>
                  <a:lnTo>
                    <a:pt x="1427" y="1827"/>
                  </a:lnTo>
                  <a:lnTo>
                    <a:pt x="1428" y="1827"/>
                  </a:lnTo>
                  <a:lnTo>
                    <a:pt x="1430" y="1827"/>
                  </a:lnTo>
                  <a:lnTo>
                    <a:pt x="1431" y="1829"/>
                  </a:lnTo>
                  <a:lnTo>
                    <a:pt x="1431" y="1829"/>
                  </a:lnTo>
                  <a:lnTo>
                    <a:pt x="1431" y="1832"/>
                  </a:lnTo>
                  <a:lnTo>
                    <a:pt x="1428" y="1832"/>
                  </a:lnTo>
                  <a:lnTo>
                    <a:pt x="1427" y="1832"/>
                  </a:lnTo>
                  <a:lnTo>
                    <a:pt x="1423" y="1829"/>
                  </a:lnTo>
                  <a:lnTo>
                    <a:pt x="1417" y="1826"/>
                  </a:lnTo>
                  <a:lnTo>
                    <a:pt x="1408" y="1813"/>
                  </a:lnTo>
                  <a:lnTo>
                    <a:pt x="1403" y="1805"/>
                  </a:lnTo>
                  <a:lnTo>
                    <a:pt x="1401" y="1802"/>
                  </a:lnTo>
                  <a:lnTo>
                    <a:pt x="1401" y="1799"/>
                  </a:lnTo>
                  <a:lnTo>
                    <a:pt x="1400" y="1799"/>
                  </a:lnTo>
                  <a:lnTo>
                    <a:pt x="1397" y="1797"/>
                  </a:lnTo>
                  <a:lnTo>
                    <a:pt x="1394" y="1796"/>
                  </a:lnTo>
                  <a:lnTo>
                    <a:pt x="1391" y="1790"/>
                  </a:lnTo>
                  <a:lnTo>
                    <a:pt x="1384" y="1787"/>
                  </a:lnTo>
                  <a:lnTo>
                    <a:pt x="1378" y="1784"/>
                  </a:lnTo>
                  <a:lnTo>
                    <a:pt x="1374" y="1782"/>
                  </a:lnTo>
                  <a:lnTo>
                    <a:pt x="1373" y="1777"/>
                  </a:lnTo>
                  <a:lnTo>
                    <a:pt x="1370" y="1774"/>
                  </a:lnTo>
                  <a:lnTo>
                    <a:pt x="1370" y="1769"/>
                  </a:lnTo>
                  <a:lnTo>
                    <a:pt x="1370" y="1766"/>
                  </a:lnTo>
                  <a:lnTo>
                    <a:pt x="1362" y="1757"/>
                  </a:lnTo>
                  <a:lnTo>
                    <a:pt x="1360" y="1753"/>
                  </a:lnTo>
                  <a:lnTo>
                    <a:pt x="1358" y="1750"/>
                  </a:lnTo>
                  <a:lnTo>
                    <a:pt x="1357" y="1743"/>
                  </a:lnTo>
                  <a:lnTo>
                    <a:pt x="1357" y="1740"/>
                  </a:lnTo>
                  <a:lnTo>
                    <a:pt x="1355" y="1736"/>
                  </a:lnTo>
                  <a:lnTo>
                    <a:pt x="1352" y="1733"/>
                  </a:lnTo>
                  <a:lnTo>
                    <a:pt x="1351" y="1730"/>
                  </a:lnTo>
                  <a:lnTo>
                    <a:pt x="1351" y="1727"/>
                  </a:lnTo>
                  <a:lnTo>
                    <a:pt x="1351" y="1723"/>
                  </a:lnTo>
                  <a:lnTo>
                    <a:pt x="1352" y="1719"/>
                  </a:lnTo>
                  <a:lnTo>
                    <a:pt x="1352" y="1716"/>
                  </a:lnTo>
                  <a:lnTo>
                    <a:pt x="1351" y="1711"/>
                  </a:lnTo>
                  <a:lnTo>
                    <a:pt x="1348" y="1709"/>
                  </a:lnTo>
                  <a:lnTo>
                    <a:pt x="1347" y="1703"/>
                  </a:lnTo>
                  <a:lnTo>
                    <a:pt x="1347" y="1699"/>
                  </a:lnTo>
                  <a:lnTo>
                    <a:pt x="1347" y="1696"/>
                  </a:lnTo>
                  <a:lnTo>
                    <a:pt x="1345" y="1693"/>
                  </a:lnTo>
                  <a:lnTo>
                    <a:pt x="1344" y="1690"/>
                  </a:lnTo>
                  <a:lnTo>
                    <a:pt x="1340" y="1688"/>
                  </a:lnTo>
                  <a:lnTo>
                    <a:pt x="1337" y="1687"/>
                  </a:lnTo>
                  <a:lnTo>
                    <a:pt x="1335" y="1683"/>
                  </a:lnTo>
                  <a:lnTo>
                    <a:pt x="1332" y="1678"/>
                  </a:lnTo>
                  <a:lnTo>
                    <a:pt x="1330" y="1676"/>
                  </a:lnTo>
                  <a:lnTo>
                    <a:pt x="1328" y="1674"/>
                  </a:lnTo>
                  <a:lnTo>
                    <a:pt x="1328" y="1668"/>
                  </a:lnTo>
                  <a:lnTo>
                    <a:pt x="1330" y="1661"/>
                  </a:lnTo>
                  <a:lnTo>
                    <a:pt x="1330" y="1656"/>
                  </a:lnTo>
                  <a:lnTo>
                    <a:pt x="1331" y="1651"/>
                  </a:lnTo>
                  <a:lnTo>
                    <a:pt x="1331" y="1646"/>
                  </a:lnTo>
                  <a:lnTo>
                    <a:pt x="1332" y="1641"/>
                  </a:lnTo>
                  <a:lnTo>
                    <a:pt x="1331" y="1640"/>
                  </a:lnTo>
                  <a:lnTo>
                    <a:pt x="1330" y="1637"/>
                  </a:lnTo>
                  <a:lnTo>
                    <a:pt x="1330" y="1634"/>
                  </a:lnTo>
                  <a:lnTo>
                    <a:pt x="1328" y="1633"/>
                  </a:lnTo>
                  <a:lnTo>
                    <a:pt x="1327" y="1633"/>
                  </a:lnTo>
                  <a:lnTo>
                    <a:pt x="1325" y="1634"/>
                  </a:lnTo>
                  <a:lnTo>
                    <a:pt x="1325" y="1636"/>
                  </a:lnTo>
                  <a:lnTo>
                    <a:pt x="1324" y="1638"/>
                  </a:lnTo>
                  <a:lnTo>
                    <a:pt x="1320" y="1638"/>
                  </a:lnTo>
                  <a:lnTo>
                    <a:pt x="1317" y="1637"/>
                  </a:lnTo>
                  <a:lnTo>
                    <a:pt x="1315" y="1633"/>
                  </a:lnTo>
                  <a:lnTo>
                    <a:pt x="1317" y="1630"/>
                  </a:lnTo>
                  <a:lnTo>
                    <a:pt x="1321" y="1628"/>
                  </a:lnTo>
                  <a:lnTo>
                    <a:pt x="1322" y="1624"/>
                  </a:lnTo>
                  <a:lnTo>
                    <a:pt x="1322" y="1623"/>
                  </a:lnTo>
                  <a:lnTo>
                    <a:pt x="1318" y="1618"/>
                  </a:lnTo>
                  <a:lnTo>
                    <a:pt x="1311" y="1611"/>
                  </a:lnTo>
                  <a:lnTo>
                    <a:pt x="1311" y="1611"/>
                  </a:lnTo>
                  <a:lnTo>
                    <a:pt x="1311" y="1608"/>
                  </a:lnTo>
                  <a:lnTo>
                    <a:pt x="1314" y="1603"/>
                  </a:lnTo>
                  <a:lnTo>
                    <a:pt x="1315" y="1597"/>
                  </a:lnTo>
                  <a:lnTo>
                    <a:pt x="1317" y="1591"/>
                  </a:lnTo>
                  <a:lnTo>
                    <a:pt x="1320" y="1591"/>
                  </a:lnTo>
                  <a:lnTo>
                    <a:pt x="1321" y="1588"/>
                  </a:lnTo>
                  <a:lnTo>
                    <a:pt x="1322" y="1585"/>
                  </a:lnTo>
                  <a:lnTo>
                    <a:pt x="1322" y="1581"/>
                  </a:lnTo>
                  <a:lnTo>
                    <a:pt x="1320" y="1578"/>
                  </a:lnTo>
                  <a:lnTo>
                    <a:pt x="1320" y="1572"/>
                  </a:lnTo>
                  <a:lnTo>
                    <a:pt x="1318" y="1568"/>
                  </a:lnTo>
                  <a:lnTo>
                    <a:pt x="1315" y="1565"/>
                  </a:lnTo>
                  <a:lnTo>
                    <a:pt x="1315" y="1564"/>
                  </a:lnTo>
                  <a:lnTo>
                    <a:pt x="1317" y="1560"/>
                  </a:lnTo>
                  <a:lnTo>
                    <a:pt x="1318" y="1557"/>
                  </a:lnTo>
                  <a:lnTo>
                    <a:pt x="1318" y="1554"/>
                  </a:lnTo>
                  <a:lnTo>
                    <a:pt x="1315" y="1552"/>
                  </a:lnTo>
                  <a:lnTo>
                    <a:pt x="1317" y="1551"/>
                  </a:lnTo>
                  <a:lnTo>
                    <a:pt x="1320" y="1550"/>
                  </a:lnTo>
                  <a:lnTo>
                    <a:pt x="1320" y="1548"/>
                  </a:lnTo>
                  <a:lnTo>
                    <a:pt x="1320" y="1545"/>
                  </a:lnTo>
                  <a:lnTo>
                    <a:pt x="1322" y="1542"/>
                  </a:lnTo>
                  <a:lnTo>
                    <a:pt x="1325" y="1542"/>
                  </a:lnTo>
                  <a:lnTo>
                    <a:pt x="1327" y="1540"/>
                  </a:lnTo>
                  <a:lnTo>
                    <a:pt x="1327" y="1538"/>
                  </a:lnTo>
                  <a:lnTo>
                    <a:pt x="1324" y="1535"/>
                  </a:lnTo>
                  <a:lnTo>
                    <a:pt x="1322" y="1535"/>
                  </a:lnTo>
                  <a:lnTo>
                    <a:pt x="1321" y="1534"/>
                  </a:lnTo>
                  <a:lnTo>
                    <a:pt x="1321" y="1532"/>
                  </a:lnTo>
                  <a:lnTo>
                    <a:pt x="1320" y="1531"/>
                  </a:lnTo>
                  <a:lnTo>
                    <a:pt x="1315" y="1531"/>
                  </a:lnTo>
                  <a:lnTo>
                    <a:pt x="1312" y="1531"/>
                  </a:lnTo>
                  <a:lnTo>
                    <a:pt x="1309" y="1530"/>
                  </a:lnTo>
                  <a:lnTo>
                    <a:pt x="1308" y="1527"/>
                  </a:lnTo>
                  <a:lnTo>
                    <a:pt x="1305" y="1525"/>
                  </a:lnTo>
                  <a:lnTo>
                    <a:pt x="1304" y="1522"/>
                  </a:lnTo>
                  <a:lnTo>
                    <a:pt x="1304" y="1521"/>
                  </a:lnTo>
                  <a:lnTo>
                    <a:pt x="1304" y="1518"/>
                  </a:lnTo>
                  <a:lnTo>
                    <a:pt x="1301" y="1517"/>
                  </a:lnTo>
                  <a:lnTo>
                    <a:pt x="1302" y="1514"/>
                  </a:lnTo>
                  <a:lnTo>
                    <a:pt x="1302" y="1511"/>
                  </a:lnTo>
                  <a:lnTo>
                    <a:pt x="1305" y="1505"/>
                  </a:lnTo>
                  <a:lnTo>
                    <a:pt x="1309" y="1501"/>
                  </a:lnTo>
                  <a:lnTo>
                    <a:pt x="1311" y="1497"/>
                  </a:lnTo>
                  <a:lnTo>
                    <a:pt x="1311" y="1495"/>
                  </a:lnTo>
                  <a:lnTo>
                    <a:pt x="1311" y="1494"/>
                  </a:lnTo>
                  <a:lnTo>
                    <a:pt x="1307" y="1491"/>
                  </a:lnTo>
                  <a:lnTo>
                    <a:pt x="1305" y="1488"/>
                  </a:lnTo>
                  <a:lnTo>
                    <a:pt x="1305" y="1487"/>
                  </a:lnTo>
                  <a:lnTo>
                    <a:pt x="1302" y="1487"/>
                  </a:lnTo>
                  <a:lnTo>
                    <a:pt x="1301" y="1487"/>
                  </a:lnTo>
                  <a:lnTo>
                    <a:pt x="1299" y="1488"/>
                  </a:lnTo>
                  <a:lnTo>
                    <a:pt x="1298" y="1492"/>
                  </a:lnTo>
                  <a:lnTo>
                    <a:pt x="1294" y="1495"/>
                  </a:lnTo>
                  <a:lnTo>
                    <a:pt x="1289" y="1497"/>
                  </a:lnTo>
                  <a:lnTo>
                    <a:pt x="1285" y="1495"/>
                  </a:lnTo>
                  <a:lnTo>
                    <a:pt x="1278" y="1494"/>
                  </a:lnTo>
                  <a:lnTo>
                    <a:pt x="1269" y="1494"/>
                  </a:lnTo>
                  <a:lnTo>
                    <a:pt x="1264" y="1494"/>
                  </a:lnTo>
                  <a:lnTo>
                    <a:pt x="1258" y="1492"/>
                  </a:lnTo>
                  <a:lnTo>
                    <a:pt x="1254" y="1488"/>
                  </a:lnTo>
                  <a:lnTo>
                    <a:pt x="1249" y="1484"/>
                  </a:lnTo>
                  <a:lnTo>
                    <a:pt x="1246" y="1479"/>
                  </a:lnTo>
                  <a:lnTo>
                    <a:pt x="1246" y="1477"/>
                  </a:lnTo>
                  <a:lnTo>
                    <a:pt x="1249" y="1474"/>
                  </a:lnTo>
                  <a:lnTo>
                    <a:pt x="1251" y="1472"/>
                  </a:lnTo>
                  <a:lnTo>
                    <a:pt x="1252" y="1468"/>
                  </a:lnTo>
                  <a:lnTo>
                    <a:pt x="1251" y="1465"/>
                  </a:lnTo>
                  <a:lnTo>
                    <a:pt x="1249" y="1461"/>
                  </a:lnTo>
                  <a:lnTo>
                    <a:pt x="1249" y="1458"/>
                  </a:lnTo>
                  <a:lnTo>
                    <a:pt x="1248" y="1455"/>
                  </a:lnTo>
                  <a:lnTo>
                    <a:pt x="1245" y="1452"/>
                  </a:lnTo>
                  <a:lnTo>
                    <a:pt x="1244" y="1449"/>
                  </a:lnTo>
                  <a:lnTo>
                    <a:pt x="1244" y="1445"/>
                  </a:lnTo>
                  <a:lnTo>
                    <a:pt x="1241" y="1442"/>
                  </a:lnTo>
                  <a:lnTo>
                    <a:pt x="1234" y="1438"/>
                  </a:lnTo>
                  <a:lnTo>
                    <a:pt x="1228" y="1436"/>
                  </a:lnTo>
                  <a:lnTo>
                    <a:pt x="1225" y="1435"/>
                  </a:lnTo>
                  <a:lnTo>
                    <a:pt x="1222" y="1435"/>
                  </a:lnTo>
                  <a:lnTo>
                    <a:pt x="1219" y="1435"/>
                  </a:lnTo>
                  <a:lnTo>
                    <a:pt x="1219" y="1432"/>
                  </a:lnTo>
                  <a:lnTo>
                    <a:pt x="1219" y="1429"/>
                  </a:lnTo>
                  <a:lnTo>
                    <a:pt x="1221" y="1426"/>
                  </a:lnTo>
                  <a:lnTo>
                    <a:pt x="1219" y="1424"/>
                  </a:lnTo>
                  <a:lnTo>
                    <a:pt x="1218" y="1424"/>
                  </a:lnTo>
                  <a:lnTo>
                    <a:pt x="1214" y="1424"/>
                  </a:lnTo>
                  <a:lnTo>
                    <a:pt x="1211" y="1425"/>
                  </a:lnTo>
                  <a:lnTo>
                    <a:pt x="1208" y="1426"/>
                  </a:lnTo>
                  <a:lnTo>
                    <a:pt x="1201" y="1426"/>
                  </a:lnTo>
                  <a:lnTo>
                    <a:pt x="1196" y="1426"/>
                  </a:lnTo>
                  <a:lnTo>
                    <a:pt x="1192" y="1426"/>
                  </a:lnTo>
                  <a:lnTo>
                    <a:pt x="1188" y="1425"/>
                  </a:lnTo>
                  <a:lnTo>
                    <a:pt x="1185" y="1424"/>
                  </a:lnTo>
                  <a:lnTo>
                    <a:pt x="1178" y="1421"/>
                  </a:lnTo>
                  <a:lnTo>
                    <a:pt x="1175" y="1421"/>
                  </a:lnTo>
                  <a:lnTo>
                    <a:pt x="1172" y="1421"/>
                  </a:lnTo>
                  <a:lnTo>
                    <a:pt x="1168" y="1421"/>
                  </a:lnTo>
                  <a:lnTo>
                    <a:pt x="1163" y="1419"/>
                  </a:lnTo>
                  <a:lnTo>
                    <a:pt x="1158" y="1419"/>
                  </a:lnTo>
                  <a:lnTo>
                    <a:pt x="1158" y="1412"/>
                  </a:lnTo>
                  <a:lnTo>
                    <a:pt x="1159" y="1412"/>
                  </a:lnTo>
                  <a:lnTo>
                    <a:pt x="1162" y="1411"/>
                  </a:lnTo>
                  <a:lnTo>
                    <a:pt x="1165" y="1411"/>
                  </a:lnTo>
                  <a:lnTo>
                    <a:pt x="1169" y="1411"/>
                  </a:lnTo>
                  <a:lnTo>
                    <a:pt x="1172" y="1414"/>
                  </a:lnTo>
                  <a:lnTo>
                    <a:pt x="1175" y="1414"/>
                  </a:lnTo>
                  <a:lnTo>
                    <a:pt x="1178" y="1414"/>
                  </a:lnTo>
                  <a:lnTo>
                    <a:pt x="1182" y="1414"/>
                  </a:lnTo>
                  <a:lnTo>
                    <a:pt x="1185" y="1415"/>
                  </a:lnTo>
                  <a:lnTo>
                    <a:pt x="1188" y="1415"/>
                  </a:lnTo>
                  <a:lnTo>
                    <a:pt x="1191" y="1415"/>
                  </a:lnTo>
                  <a:lnTo>
                    <a:pt x="1198" y="1412"/>
                  </a:lnTo>
                  <a:lnTo>
                    <a:pt x="1202" y="1411"/>
                  </a:lnTo>
                  <a:lnTo>
                    <a:pt x="1204" y="1406"/>
                  </a:lnTo>
                  <a:lnTo>
                    <a:pt x="1205" y="1401"/>
                  </a:lnTo>
                  <a:lnTo>
                    <a:pt x="1205" y="1399"/>
                  </a:lnTo>
                  <a:lnTo>
                    <a:pt x="1204" y="1398"/>
                  </a:lnTo>
                  <a:lnTo>
                    <a:pt x="1199" y="1395"/>
                  </a:lnTo>
                  <a:lnTo>
                    <a:pt x="1199" y="1393"/>
                  </a:lnTo>
                  <a:lnTo>
                    <a:pt x="1201" y="1392"/>
                  </a:lnTo>
                  <a:lnTo>
                    <a:pt x="1202" y="1392"/>
                  </a:lnTo>
                  <a:lnTo>
                    <a:pt x="1205" y="1393"/>
                  </a:lnTo>
                  <a:lnTo>
                    <a:pt x="1208" y="1393"/>
                  </a:lnTo>
                  <a:lnTo>
                    <a:pt x="1209" y="1391"/>
                  </a:lnTo>
                  <a:lnTo>
                    <a:pt x="1209" y="1388"/>
                  </a:lnTo>
                  <a:lnTo>
                    <a:pt x="1211" y="1382"/>
                  </a:lnTo>
                  <a:lnTo>
                    <a:pt x="1211" y="1381"/>
                  </a:lnTo>
                  <a:lnTo>
                    <a:pt x="1212" y="1378"/>
                  </a:lnTo>
                  <a:lnTo>
                    <a:pt x="1211" y="1375"/>
                  </a:lnTo>
                  <a:lnTo>
                    <a:pt x="1208" y="1372"/>
                  </a:lnTo>
                  <a:lnTo>
                    <a:pt x="1204" y="1369"/>
                  </a:lnTo>
                  <a:lnTo>
                    <a:pt x="1201" y="1368"/>
                  </a:lnTo>
                  <a:lnTo>
                    <a:pt x="1198" y="1368"/>
                  </a:lnTo>
                  <a:lnTo>
                    <a:pt x="1195" y="1369"/>
                  </a:lnTo>
                  <a:lnTo>
                    <a:pt x="1193" y="1368"/>
                  </a:lnTo>
                  <a:lnTo>
                    <a:pt x="1193" y="1366"/>
                  </a:lnTo>
                  <a:lnTo>
                    <a:pt x="1193" y="1363"/>
                  </a:lnTo>
                  <a:lnTo>
                    <a:pt x="1195" y="1359"/>
                  </a:lnTo>
                  <a:lnTo>
                    <a:pt x="1192" y="1358"/>
                  </a:lnTo>
                  <a:lnTo>
                    <a:pt x="1189" y="1356"/>
                  </a:lnTo>
                  <a:lnTo>
                    <a:pt x="1188" y="1356"/>
                  </a:lnTo>
                  <a:lnTo>
                    <a:pt x="1185" y="1359"/>
                  </a:lnTo>
                  <a:lnTo>
                    <a:pt x="1181" y="1361"/>
                  </a:lnTo>
                  <a:lnTo>
                    <a:pt x="1178" y="1363"/>
                  </a:lnTo>
                  <a:lnTo>
                    <a:pt x="1176" y="1365"/>
                  </a:lnTo>
                  <a:lnTo>
                    <a:pt x="1173" y="1366"/>
                  </a:lnTo>
                  <a:lnTo>
                    <a:pt x="1171" y="1365"/>
                  </a:lnTo>
                  <a:lnTo>
                    <a:pt x="1168" y="1365"/>
                  </a:lnTo>
                  <a:lnTo>
                    <a:pt x="1165" y="1365"/>
                  </a:lnTo>
                  <a:lnTo>
                    <a:pt x="1162" y="1363"/>
                  </a:lnTo>
                  <a:lnTo>
                    <a:pt x="1161" y="1362"/>
                  </a:lnTo>
                  <a:lnTo>
                    <a:pt x="1159" y="1361"/>
                  </a:lnTo>
                  <a:lnTo>
                    <a:pt x="1155" y="1361"/>
                  </a:lnTo>
                  <a:lnTo>
                    <a:pt x="1152" y="1363"/>
                  </a:lnTo>
                  <a:lnTo>
                    <a:pt x="1151" y="1363"/>
                  </a:lnTo>
                  <a:lnTo>
                    <a:pt x="1148" y="1362"/>
                  </a:lnTo>
                  <a:lnTo>
                    <a:pt x="1148" y="1361"/>
                  </a:lnTo>
                  <a:lnTo>
                    <a:pt x="1146" y="1359"/>
                  </a:lnTo>
                  <a:lnTo>
                    <a:pt x="1145" y="1361"/>
                  </a:lnTo>
                  <a:lnTo>
                    <a:pt x="1142" y="1363"/>
                  </a:lnTo>
                  <a:lnTo>
                    <a:pt x="1140" y="1365"/>
                  </a:lnTo>
                  <a:lnTo>
                    <a:pt x="1139" y="1363"/>
                  </a:lnTo>
                  <a:lnTo>
                    <a:pt x="1138" y="1361"/>
                  </a:lnTo>
                  <a:lnTo>
                    <a:pt x="1138" y="1358"/>
                  </a:lnTo>
                  <a:lnTo>
                    <a:pt x="1139" y="1356"/>
                  </a:lnTo>
                  <a:lnTo>
                    <a:pt x="1143" y="1355"/>
                  </a:lnTo>
                  <a:lnTo>
                    <a:pt x="1146" y="1355"/>
                  </a:lnTo>
                  <a:lnTo>
                    <a:pt x="1149" y="1353"/>
                  </a:lnTo>
                  <a:lnTo>
                    <a:pt x="1151" y="1352"/>
                  </a:lnTo>
                  <a:lnTo>
                    <a:pt x="1151" y="1349"/>
                  </a:lnTo>
                  <a:lnTo>
                    <a:pt x="1148" y="1349"/>
                  </a:lnTo>
                  <a:lnTo>
                    <a:pt x="1142" y="1349"/>
                  </a:lnTo>
                  <a:lnTo>
                    <a:pt x="1136" y="1352"/>
                  </a:lnTo>
                  <a:lnTo>
                    <a:pt x="1123" y="1355"/>
                  </a:lnTo>
                  <a:lnTo>
                    <a:pt x="1110" y="1356"/>
                  </a:lnTo>
                  <a:lnTo>
                    <a:pt x="1103" y="1358"/>
                  </a:lnTo>
                  <a:lnTo>
                    <a:pt x="1096" y="1356"/>
                  </a:lnTo>
                  <a:lnTo>
                    <a:pt x="1090" y="1355"/>
                  </a:lnTo>
                  <a:lnTo>
                    <a:pt x="1086" y="1352"/>
                  </a:lnTo>
                  <a:lnTo>
                    <a:pt x="1083" y="1349"/>
                  </a:lnTo>
                  <a:lnTo>
                    <a:pt x="1077" y="1348"/>
                  </a:lnTo>
                  <a:lnTo>
                    <a:pt x="1073" y="1348"/>
                  </a:lnTo>
                  <a:lnTo>
                    <a:pt x="1072" y="1350"/>
                  </a:lnTo>
                  <a:lnTo>
                    <a:pt x="1067" y="1350"/>
                  </a:lnTo>
                  <a:lnTo>
                    <a:pt x="1060" y="1349"/>
                  </a:lnTo>
                  <a:lnTo>
                    <a:pt x="1053" y="1346"/>
                  </a:lnTo>
                  <a:lnTo>
                    <a:pt x="1049" y="1343"/>
                  </a:lnTo>
                  <a:lnTo>
                    <a:pt x="1047" y="1339"/>
                  </a:lnTo>
                  <a:lnTo>
                    <a:pt x="1047" y="1333"/>
                  </a:lnTo>
                  <a:lnTo>
                    <a:pt x="1047" y="1330"/>
                  </a:lnTo>
                  <a:lnTo>
                    <a:pt x="1046" y="1328"/>
                  </a:lnTo>
                  <a:lnTo>
                    <a:pt x="1043" y="1328"/>
                  </a:lnTo>
                  <a:lnTo>
                    <a:pt x="1040" y="1329"/>
                  </a:lnTo>
                  <a:lnTo>
                    <a:pt x="1036" y="1328"/>
                  </a:lnTo>
                  <a:lnTo>
                    <a:pt x="1033" y="1328"/>
                  </a:lnTo>
                  <a:lnTo>
                    <a:pt x="1030" y="1326"/>
                  </a:lnTo>
                  <a:lnTo>
                    <a:pt x="1029" y="1325"/>
                  </a:lnTo>
                  <a:lnTo>
                    <a:pt x="1029" y="1322"/>
                  </a:lnTo>
                  <a:lnTo>
                    <a:pt x="1026" y="1320"/>
                  </a:lnTo>
                  <a:lnTo>
                    <a:pt x="1023" y="1320"/>
                  </a:lnTo>
                  <a:lnTo>
                    <a:pt x="1022" y="1320"/>
                  </a:lnTo>
                  <a:lnTo>
                    <a:pt x="1020" y="1322"/>
                  </a:lnTo>
                  <a:lnTo>
                    <a:pt x="1013" y="1322"/>
                  </a:lnTo>
                  <a:lnTo>
                    <a:pt x="1010" y="1322"/>
                  </a:lnTo>
                  <a:lnTo>
                    <a:pt x="1006" y="1323"/>
                  </a:lnTo>
                  <a:lnTo>
                    <a:pt x="1003" y="1325"/>
                  </a:lnTo>
                  <a:lnTo>
                    <a:pt x="999" y="1323"/>
                  </a:lnTo>
                  <a:lnTo>
                    <a:pt x="993" y="1323"/>
                  </a:lnTo>
                  <a:lnTo>
                    <a:pt x="990" y="1320"/>
                  </a:lnTo>
                  <a:lnTo>
                    <a:pt x="989" y="1319"/>
                  </a:lnTo>
                  <a:lnTo>
                    <a:pt x="989" y="1316"/>
                  </a:lnTo>
                  <a:lnTo>
                    <a:pt x="987" y="1316"/>
                  </a:lnTo>
                  <a:lnTo>
                    <a:pt x="987" y="1315"/>
                  </a:lnTo>
                  <a:lnTo>
                    <a:pt x="986" y="1315"/>
                  </a:lnTo>
                  <a:lnTo>
                    <a:pt x="984" y="1316"/>
                  </a:lnTo>
                  <a:lnTo>
                    <a:pt x="984" y="1319"/>
                  </a:lnTo>
                  <a:lnTo>
                    <a:pt x="983" y="1322"/>
                  </a:lnTo>
                  <a:lnTo>
                    <a:pt x="980" y="1323"/>
                  </a:lnTo>
                  <a:lnTo>
                    <a:pt x="979" y="1325"/>
                  </a:lnTo>
                  <a:lnTo>
                    <a:pt x="977" y="1322"/>
                  </a:lnTo>
                  <a:lnTo>
                    <a:pt x="976" y="1318"/>
                  </a:lnTo>
                  <a:lnTo>
                    <a:pt x="974" y="1315"/>
                  </a:lnTo>
                  <a:lnTo>
                    <a:pt x="974" y="1312"/>
                  </a:lnTo>
                  <a:lnTo>
                    <a:pt x="973" y="1310"/>
                  </a:lnTo>
                  <a:lnTo>
                    <a:pt x="970" y="1310"/>
                  </a:lnTo>
                  <a:lnTo>
                    <a:pt x="969" y="1312"/>
                  </a:lnTo>
                  <a:lnTo>
                    <a:pt x="966" y="1316"/>
                  </a:lnTo>
                  <a:lnTo>
                    <a:pt x="963" y="1323"/>
                  </a:lnTo>
                  <a:lnTo>
                    <a:pt x="959" y="1332"/>
                  </a:lnTo>
                  <a:lnTo>
                    <a:pt x="957" y="1336"/>
                  </a:lnTo>
                  <a:lnTo>
                    <a:pt x="951" y="1342"/>
                  </a:lnTo>
                  <a:lnTo>
                    <a:pt x="946" y="1349"/>
                  </a:lnTo>
                  <a:lnTo>
                    <a:pt x="941" y="1353"/>
                  </a:lnTo>
                  <a:lnTo>
                    <a:pt x="939" y="1358"/>
                  </a:lnTo>
                  <a:lnTo>
                    <a:pt x="936" y="1362"/>
                  </a:lnTo>
                  <a:lnTo>
                    <a:pt x="933" y="1366"/>
                  </a:lnTo>
                  <a:lnTo>
                    <a:pt x="929" y="1369"/>
                  </a:lnTo>
                  <a:lnTo>
                    <a:pt x="926" y="1369"/>
                  </a:lnTo>
                  <a:lnTo>
                    <a:pt x="927" y="1368"/>
                  </a:lnTo>
                  <a:lnTo>
                    <a:pt x="929" y="1366"/>
                  </a:lnTo>
                  <a:lnTo>
                    <a:pt x="934" y="1361"/>
                  </a:lnTo>
                  <a:lnTo>
                    <a:pt x="934" y="1358"/>
                  </a:lnTo>
                  <a:lnTo>
                    <a:pt x="934" y="1356"/>
                  </a:lnTo>
                  <a:lnTo>
                    <a:pt x="931" y="1356"/>
                  </a:lnTo>
                  <a:lnTo>
                    <a:pt x="926" y="1358"/>
                  </a:lnTo>
                  <a:lnTo>
                    <a:pt x="916" y="1362"/>
                  </a:lnTo>
                  <a:lnTo>
                    <a:pt x="907" y="1363"/>
                  </a:lnTo>
                  <a:lnTo>
                    <a:pt x="897" y="1365"/>
                  </a:lnTo>
                  <a:lnTo>
                    <a:pt x="888" y="1366"/>
                  </a:lnTo>
                  <a:lnTo>
                    <a:pt x="884" y="1368"/>
                  </a:lnTo>
                  <a:lnTo>
                    <a:pt x="883" y="1371"/>
                  </a:lnTo>
                  <a:lnTo>
                    <a:pt x="883" y="1373"/>
                  </a:lnTo>
                  <a:lnTo>
                    <a:pt x="886" y="1373"/>
                  </a:lnTo>
                  <a:lnTo>
                    <a:pt x="887" y="1373"/>
                  </a:lnTo>
                  <a:lnTo>
                    <a:pt x="891" y="1375"/>
                  </a:lnTo>
                  <a:lnTo>
                    <a:pt x="893" y="1378"/>
                  </a:lnTo>
                  <a:lnTo>
                    <a:pt x="894" y="1383"/>
                  </a:lnTo>
                  <a:lnTo>
                    <a:pt x="896" y="1388"/>
                  </a:lnTo>
                  <a:lnTo>
                    <a:pt x="898" y="1391"/>
                  </a:lnTo>
                  <a:lnTo>
                    <a:pt x="900" y="1393"/>
                  </a:lnTo>
                  <a:lnTo>
                    <a:pt x="900" y="1398"/>
                  </a:lnTo>
                  <a:lnTo>
                    <a:pt x="898" y="1403"/>
                  </a:lnTo>
                  <a:lnTo>
                    <a:pt x="900" y="1405"/>
                  </a:lnTo>
                  <a:lnTo>
                    <a:pt x="903" y="1406"/>
                  </a:lnTo>
                  <a:lnTo>
                    <a:pt x="903" y="1408"/>
                  </a:lnTo>
                  <a:lnTo>
                    <a:pt x="906" y="1406"/>
                  </a:lnTo>
                  <a:lnTo>
                    <a:pt x="906" y="1402"/>
                  </a:lnTo>
                  <a:lnTo>
                    <a:pt x="906" y="1399"/>
                  </a:lnTo>
                  <a:lnTo>
                    <a:pt x="907" y="1395"/>
                  </a:lnTo>
                  <a:lnTo>
                    <a:pt x="910" y="1395"/>
                  </a:lnTo>
                  <a:lnTo>
                    <a:pt x="911" y="1395"/>
                  </a:lnTo>
                  <a:lnTo>
                    <a:pt x="914" y="1402"/>
                  </a:lnTo>
                  <a:lnTo>
                    <a:pt x="917" y="1409"/>
                  </a:lnTo>
                  <a:lnTo>
                    <a:pt x="920" y="1415"/>
                  </a:lnTo>
                  <a:lnTo>
                    <a:pt x="918" y="1421"/>
                  </a:lnTo>
                  <a:lnTo>
                    <a:pt x="923" y="1428"/>
                  </a:lnTo>
                  <a:lnTo>
                    <a:pt x="927" y="1435"/>
                  </a:lnTo>
                  <a:lnTo>
                    <a:pt x="933" y="1446"/>
                  </a:lnTo>
                  <a:lnTo>
                    <a:pt x="936" y="1452"/>
                  </a:lnTo>
                  <a:lnTo>
                    <a:pt x="936" y="1459"/>
                  </a:lnTo>
                  <a:lnTo>
                    <a:pt x="936" y="1468"/>
                  </a:lnTo>
                  <a:lnTo>
                    <a:pt x="937" y="1477"/>
                  </a:lnTo>
                  <a:lnTo>
                    <a:pt x="937" y="1482"/>
                  </a:lnTo>
                  <a:lnTo>
                    <a:pt x="934" y="1489"/>
                  </a:lnTo>
                  <a:lnTo>
                    <a:pt x="927" y="1497"/>
                  </a:lnTo>
                  <a:lnTo>
                    <a:pt x="921" y="1499"/>
                  </a:lnTo>
                  <a:lnTo>
                    <a:pt x="918" y="1499"/>
                  </a:lnTo>
                  <a:lnTo>
                    <a:pt x="917" y="1498"/>
                  </a:lnTo>
                  <a:lnTo>
                    <a:pt x="917" y="1497"/>
                  </a:lnTo>
                  <a:lnTo>
                    <a:pt x="917" y="1492"/>
                  </a:lnTo>
                  <a:lnTo>
                    <a:pt x="916" y="1492"/>
                  </a:lnTo>
                  <a:lnTo>
                    <a:pt x="916" y="1489"/>
                  </a:lnTo>
                  <a:lnTo>
                    <a:pt x="918" y="1488"/>
                  </a:lnTo>
                  <a:lnTo>
                    <a:pt x="920" y="1487"/>
                  </a:lnTo>
                  <a:lnTo>
                    <a:pt x="920" y="1485"/>
                  </a:lnTo>
                  <a:lnTo>
                    <a:pt x="920" y="1482"/>
                  </a:lnTo>
                  <a:lnTo>
                    <a:pt x="918" y="1481"/>
                  </a:lnTo>
                  <a:lnTo>
                    <a:pt x="917" y="1479"/>
                  </a:lnTo>
                  <a:lnTo>
                    <a:pt x="916" y="1477"/>
                  </a:lnTo>
                  <a:lnTo>
                    <a:pt x="916" y="1471"/>
                  </a:lnTo>
                  <a:lnTo>
                    <a:pt x="917" y="1459"/>
                  </a:lnTo>
                  <a:lnTo>
                    <a:pt x="918" y="1451"/>
                  </a:lnTo>
                  <a:lnTo>
                    <a:pt x="920" y="1444"/>
                  </a:lnTo>
                  <a:lnTo>
                    <a:pt x="917" y="1438"/>
                  </a:lnTo>
                  <a:lnTo>
                    <a:pt x="914" y="1434"/>
                  </a:lnTo>
                  <a:lnTo>
                    <a:pt x="911" y="1429"/>
                  </a:lnTo>
                  <a:lnTo>
                    <a:pt x="908" y="1425"/>
                  </a:lnTo>
                  <a:lnTo>
                    <a:pt x="907" y="1419"/>
                  </a:lnTo>
                  <a:lnTo>
                    <a:pt x="906" y="1415"/>
                  </a:lnTo>
                  <a:lnTo>
                    <a:pt x="903" y="1415"/>
                  </a:lnTo>
                  <a:lnTo>
                    <a:pt x="898" y="1416"/>
                  </a:lnTo>
                  <a:lnTo>
                    <a:pt x="897" y="1419"/>
                  </a:lnTo>
                  <a:lnTo>
                    <a:pt x="898" y="1425"/>
                  </a:lnTo>
                  <a:lnTo>
                    <a:pt x="896" y="1431"/>
                  </a:lnTo>
                  <a:lnTo>
                    <a:pt x="893" y="1436"/>
                  </a:lnTo>
                  <a:lnTo>
                    <a:pt x="893" y="1441"/>
                  </a:lnTo>
                  <a:lnTo>
                    <a:pt x="894" y="1448"/>
                  </a:lnTo>
                  <a:lnTo>
                    <a:pt x="896" y="1451"/>
                  </a:lnTo>
                  <a:lnTo>
                    <a:pt x="897" y="1454"/>
                  </a:lnTo>
                  <a:lnTo>
                    <a:pt x="901" y="1461"/>
                  </a:lnTo>
                  <a:lnTo>
                    <a:pt x="901" y="1464"/>
                  </a:lnTo>
                  <a:lnTo>
                    <a:pt x="901" y="1468"/>
                  </a:lnTo>
                  <a:lnTo>
                    <a:pt x="898" y="1478"/>
                  </a:lnTo>
                  <a:lnTo>
                    <a:pt x="893" y="1494"/>
                  </a:lnTo>
                  <a:lnTo>
                    <a:pt x="887" y="1508"/>
                  </a:lnTo>
                  <a:lnTo>
                    <a:pt x="880" y="1514"/>
                  </a:lnTo>
                  <a:lnTo>
                    <a:pt x="876" y="1517"/>
                  </a:lnTo>
                  <a:lnTo>
                    <a:pt x="873" y="1522"/>
                  </a:lnTo>
                  <a:lnTo>
                    <a:pt x="870" y="1524"/>
                  </a:lnTo>
                  <a:lnTo>
                    <a:pt x="866" y="1527"/>
                  </a:lnTo>
                  <a:lnTo>
                    <a:pt x="861" y="1528"/>
                  </a:lnTo>
                  <a:lnTo>
                    <a:pt x="855" y="1531"/>
                  </a:lnTo>
                  <a:lnTo>
                    <a:pt x="851" y="1537"/>
                  </a:lnTo>
                  <a:lnTo>
                    <a:pt x="845" y="1542"/>
                  </a:lnTo>
                  <a:lnTo>
                    <a:pt x="841" y="1545"/>
                  </a:lnTo>
                  <a:lnTo>
                    <a:pt x="837" y="1545"/>
                  </a:lnTo>
                  <a:lnTo>
                    <a:pt x="833" y="1545"/>
                  </a:lnTo>
                  <a:lnTo>
                    <a:pt x="828" y="1541"/>
                  </a:lnTo>
                  <a:lnTo>
                    <a:pt x="830" y="1537"/>
                  </a:lnTo>
                  <a:lnTo>
                    <a:pt x="833" y="1531"/>
                  </a:lnTo>
                  <a:lnTo>
                    <a:pt x="835" y="1522"/>
                  </a:lnTo>
                  <a:lnTo>
                    <a:pt x="838" y="1521"/>
                  </a:lnTo>
                  <a:lnTo>
                    <a:pt x="841" y="1521"/>
                  </a:lnTo>
                  <a:lnTo>
                    <a:pt x="844" y="1521"/>
                  </a:lnTo>
                  <a:lnTo>
                    <a:pt x="845" y="1519"/>
                  </a:lnTo>
                  <a:lnTo>
                    <a:pt x="845" y="1518"/>
                  </a:lnTo>
                  <a:lnTo>
                    <a:pt x="844" y="1515"/>
                  </a:lnTo>
                  <a:lnTo>
                    <a:pt x="844" y="1512"/>
                  </a:lnTo>
                  <a:lnTo>
                    <a:pt x="844" y="1509"/>
                  </a:lnTo>
                  <a:lnTo>
                    <a:pt x="844" y="1505"/>
                  </a:lnTo>
                  <a:lnTo>
                    <a:pt x="843" y="1504"/>
                  </a:lnTo>
                  <a:lnTo>
                    <a:pt x="843" y="1499"/>
                  </a:lnTo>
                  <a:lnTo>
                    <a:pt x="843" y="1497"/>
                  </a:lnTo>
                  <a:lnTo>
                    <a:pt x="841" y="1494"/>
                  </a:lnTo>
                  <a:lnTo>
                    <a:pt x="840" y="1489"/>
                  </a:lnTo>
                  <a:lnTo>
                    <a:pt x="841" y="1484"/>
                  </a:lnTo>
                  <a:lnTo>
                    <a:pt x="845" y="1475"/>
                  </a:lnTo>
                  <a:lnTo>
                    <a:pt x="848" y="1472"/>
                  </a:lnTo>
                  <a:lnTo>
                    <a:pt x="848" y="1469"/>
                  </a:lnTo>
                  <a:lnTo>
                    <a:pt x="850" y="1468"/>
                  </a:lnTo>
                  <a:lnTo>
                    <a:pt x="848" y="1465"/>
                  </a:lnTo>
                  <a:lnTo>
                    <a:pt x="848" y="1464"/>
                  </a:lnTo>
                  <a:lnTo>
                    <a:pt x="848" y="1461"/>
                  </a:lnTo>
                  <a:lnTo>
                    <a:pt x="848" y="1458"/>
                  </a:lnTo>
                  <a:lnTo>
                    <a:pt x="848" y="1456"/>
                  </a:lnTo>
                  <a:lnTo>
                    <a:pt x="847" y="1456"/>
                  </a:lnTo>
                  <a:lnTo>
                    <a:pt x="845" y="1456"/>
                  </a:lnTo>
                  <a:lnTo>
                    <a:pt x="844" y="1461"/>
                  </a:lnTo>
                  <a:lnTo>
                    <a:pt x="841" y="1464"/>
                  </a:lnTo>
                  <a:lnTo>
                    <a:pt x="838" y="1465"/>
                  </a:lnTo>
                  <a:lnTo>
                    <a:pt x="835" y="1465"/>
                  </a:lnTo>
                  <a:lnTo>
                    <a:pt x="831" y="1467"/>
                  </a:lnTo>
                  <a:lnTo>
                    <a:pt x="827" y="1472"/>
                  </a:lnTo>
                  <a:lnTo>
                    <a:pt x="825" y="1474"/>
                  </a:lnTo>
                  <a:lnTo>
                    <a:pt x="821" y="1474"/>
                  </a:lnTo>
                  <a:lnTo>
                    <a:pt x="814" y="1471"/>
                  </a:lnTo>
                  <a:lnTo>
                    <a:pt x="808" y="1469"/>
                  </a:lnTo>
                  <a:lnTo>
                    <a:pt x="801" y="1468"/>
                  </a:lnTo>
                  <a:lnTo>
                    <a:pt x="800" y="1469"/>
                  </a:lnTo>
                  <a:lnTo>
                    <a:pt x="800" y="1471"/>
                  </a:lnTo>
                  <a:lnTo>
                    <a:pt x="800" y="1472"/>
                  </a:lnTo>
                  <a:lnTo>
                    <a:pt x="800" y="1474"/>
                  </a:lnTo>
                  <a:lnTo>
                    <a:pt x="798" y="1474"/>
                  </a:lnTo>
                  <a:lnTo>
                    <a:pt x="795" y="1472"/>
                  </a:lnTo>
                  <a:lnTo>
                    <a:pt x="794" y="1469"/>
                  </a:lnTo>
                  <a:lnTo>
                    <a:pt x="792" y="1462"/>
                  </a:lnTo>
                  <a:lnTo>
                    <a:pt x="792" y="1459"/>
                  </a:lnTo>
                  <a:lnTo>
                    <a:pt x="797" y="1458"/>
                  </a:lnTo>
                  <a:lnTo>
                    <a:pt x="800" y="1458"/>
                  </a:lnTo>
                  <a:lnTo>
                    <a:pt x="801" y="1459"/>
                  </a:lnTo>
                  <a:lnTo>
                    <a:pt x="801" y="1464"/>
                  </a:lnTo>
                  <a:lnTo>
                    <a:pt x="801" y="1465"/>
                  </a:lnTo>
                  <a:lnTo>
                    <a:pt x="802" y="1465"/>
                  </a:lnTo>
                  <a:lnTo>
                    <a:pt x="804" y="1465"/>
                  </a:lnTo>
                  <a:lnTo>
                    <a:pt x="805" y="1462"/>
                  </a:lnTo>
                  <a:lnTo>
                    <a:pt x="805" y="1456"/>
                  </a:lnTo>
                  <a:lnTo>
                    <a:pt x="805" y="1442"/>
                  </a:lnTo>
                  <a:lnTo>
                    <a:pt x="807" y="1431"/>
                  </a:lnTo>
                  <a:lnTo>
                    <a:pt x="810" y="1424"/>
                  </a:lnTo>
                  <a:lnTo>
                    <a:pt x="808" y="1416"/>
                  </a:lnTo>
                  <a:lnTo>
                    <a:pt x="807" y="1414"/>
                  </a:lnTo>
                  <a:lnTo>
                    <a:pt x="805" y="1415"/>
                  </a:lnTo>
                  <a:lnTo>
                    <a:pt x="804" y="1415"/>
                  </a:lnTo>
                  <a:lnTo>
                    <a:pt x="802" y="1419"/>
                  </a:lnTo>
                  <a:lnTo>
                    <a:pt x="800" y="1425"/>
                  </a:lnTo>
                  <a:lnTo>
                    <a:pt x="795" y="1428"/>
                  </a:lnTo>
                  <a:lnTo>
                    <a:pt x="791" y="1429"/>
                  </a:lnTo>
                  <a:lnTo>
                    <a:pt x="787" y="1431"/>
                  </a:lnTo>
                  <a:lnTo>
                    <a:pt x="782" y="1432"/>
                  </a:lnTo>
                  <a:lnTo>
                    <a:pt x="781" y="1434"/>
                  </a:lnTo>
                  <a:lnTo>
                    <a:pt x="780" y="1438"/>
                  </a:lnTo>
                  <a:lnTo>
                    <a:pt x="778" y="1442"/>
                  </a:lnTo>
                  <a:lnTo>
                    <a:pt x="777" y="1446"/>
                  </a:lnTo>
                  <a:lnTo>
                    <a:pt x="774" y="1449"/>
                  </a:lnTo>
                  <a:lnTo>
                    <a:pt x="775" y="1451"/>
                  </a:lnTo>
                  <a:lnTo>
                    <a:pt x="775" y="1451"/>
                  </a:lnTo>
                  <a:lnTo>
                    <a:pt x="777" y="1451"/>
                  </a:lnTo>
                  <a:lnTo>
                    <a:pt x="778" y="1451"/>
                  </a:lnTo>
                  <a:lnTo>
                    <a:pt x="778" y="1452"/>
                  </a:lnTo>
                  <a:lnTo>
                    <a:pt x="777" y="1455"/>
                  </a:lnTo>
                  <a:lnTo>
                    <a:pt x="774" y="1455"/>
                  </a:lnTo>
                  <a:lnTo>
                    <a:pt x="772" y="1455"/>
                  </a:lnTo>
                  <a:lnTo>
                    <a:pt x="772" y="1456"/>
                  </a:lnTo>
                  <a:lnTo>
                    <a:pt x="772" y="1459"/>
                  </a:lnTo>
                  <a:lnTo>
                    <a:pt x="771" y="1464"/>
                  </a:lnTo>
                  <a:lnTo>
                    <a:pt x="770" y="1465"/>
                  </a:lnTo>
                  <a:lnTo>
                    <a:pt x="770" y="1469"/>
                  </a:lnTo>
                  <a:lnTo>
                    <a:pt x="770" y="1474"/>
                  </a:lnTo>
                  <a:lnTo>
                    <a:pt x="771" y="1475"/>
                  </a:lnTo>
                  <a:lnTo>
                    <a:pt x="777" y="1478"/>
                  </a:lnTo>
                  <a:lnTo>
                    <a:pt x="780" y="1479"/>
                  </a:lnTo>
                  <a:lnTo>
                    <a:pt x="781" y="1481"/>
                  </a:lnTo>
                  <a:lnTo>
                    <a:pt x="784" y="1484"/>
                  </a:lnTo>
                  <a:lnTo>
                    <a:pt x="785" y="1484"/>
                  </a:lnTo>
                  <a:lnTo>
                    <a:pt x="787" y="1484"/>
                  </a:lnTo>
                  <a:lnTo>
                    <a:pt x="788" y="1484"/>
                  </a:lnTo>
                  <a:lnTo>
                    <a:pt x="790" y="1481"/>
                  </a:lnTo>
                  <a:lnTo>
                    <a:pt x="792" y="1479"/>
                  </a:lnTo>
                  <a:lnTo>
                    <a:pt x="794" y="1478"/>
                  </a:lnTo>
                  <a:lnTo>
                    <a:pt x="794" y="1478"/>
                  </a:lnTo>
                  <a:lnTo>
                    <a:pt x="797" y="1481"/>
                  </a:lnTo>
                  <a:lnTo>
                    <a:pt x="797" y="1488"/>
                  </a:lnTo>
                  <a:lnTo>
                    <a:pt x="797" y="1495"/>
                  </a:lnTo>
                  <a:lnTo>
                    <a:pt x="800" y="1499"/>
                  </a:lnTo>
                  <a:lnTo>
                    <a:pt x="802" y="1507"/>
                  </a:lnTo>
                  <a:lnTo>
                    <a:pt x="802" y="1512"/>
                  </a:lnTo>
                  <a:lnTo>
                    <a:pt x="802" y="1515"/>
                  </a:lnTo>
                  <a:lnTo>
                    <a:pt x="801" y="1517"/>
                  </a:lnTo>
                  <a:lnTo>
                    <a:pt x="798" y="1518"/>
                  </a:lnTo>
                  <a:lnTo>
                    <a:pt x="795" y="1515"/>
                  </a:lnTo>
                  <a:lnTo>
                    <a:pt x="792" y="1512"/>
                  </a:lnTo>
                  <a:lnTo>
                    <a:pt x="791" y="1512"/>
                  </a:lnTo>
                  <a:lnTo>
                    <a:pt x="788" y="1515"/>
                  </a:lnTo>
                  <a:lnTo>
                    <a:pt x="782" y="1521"/>
                  </a:lnTo>
                  <a:lnTo>
                    <a:pt x="780" y="1527"/>
                  </a:lnTo>
                  <a:lnTo>
                    <a:pt x="780" y="1528"/>
                  </a:lnTo>
                  <a:lnTo>
                    <a:pt x="781" y="1531"/>
                  </a:lnTo>
                  <a:lnTo>
                    <a:pt x="781" y="1534"/>
                  </a:lnTo>
                  <a:lnTo>
                    <a:pt x="781" y="1535"/>
                  </a:lnTo>
                  <a:lnTo>
                    <a:pt x="777" y="1538"/>
                  </a:lnTo>
                  <a:lnTo>
                    <a:pt x="772" y="1540"/>
                  </a:lnTo>
                  <a:lnTo>
                    <a:pt x="768" y="1538"/>
                  </a:lnTo>
                  <a:lnTo>
                    <a:pt x="765" y="1537"/>
                  </a:lnTo>
                  <a:lnTo>
                    <a:pt x="764" y="1532"/>
                  </a:lnTo>
                  <a:lnTo>
                    <a:pt x="761" y="1530"/>
                  </a:lnTo>
                  <a:lnTo>
                    <a:pt x="758" y="1528"/>
                  </a:lnTo>
                  <a:lnTo>
                    <a:pt x="755" y="1524"/>
                  </a:lnTo>
                  <a:lnTo>
                    <a:pt x="752" y="1517"/>
                  </a:lnTo>
                  <a:lnTo>
                    <a:pt x="751" y="1512"/>
                  </a:lnTo>
                  <a:lnTo>
                    <a:pt x="751" y="1508"/>
                  </a:lnTo>
                  <a:lnTo>
                    <a:pt x="752" y="1505"/>
                  </a:lnTo>
                  <a:lnTo>
                    <a:pt x="754" y="1501"/>
                  </a:lnTo>
                  <a:lnTo>
                    <a:pt x="754" y="1498"/>
                  </a:lnTo>
                  <a:lnTo>
                    <a:pt x="751" y="1497"/>
                  </a:lnTo>
                  <a:lnTo>
                    <a:pt x="748" y="1492"/>
                  </a:lnTo>
                  <a:lnTo>
                    <a:pt x="747" y="1491"/>
                  </a:lnTo>
                  <a:lnTo>
                    <a:pt x="748" y="1489"/>
                  </a:lnTo>
                  <a:lnTo>
                    <a:pt x="749" y="1489"/>
                  </a:lnTo>
                  <a:lnTo>
                    <a:pt x="749" y="1487"/>
                  </a:lnTo>
                  <a:lnTo>
                    <a:pt x="747" y="1485"/>
                  </a:lnTo>
                  <a:lnTo>
                    <a:pt x="744" y="1482"/>
                  </a:lnTo>
                  <a:lnTo>
                    <a:pt x="741" y="1481"/>
                  </a:lnTo>
                  <a:lnTo>
                    <a:pt x="739" y="1481"/>
                  </a:lnTo>
                  <a:lnTo>
                    <a:pt x="737" y="1481"/>
                  </a:lnTo>
                  <a:lnTo>
                    <a:pt x="737" y="1479"/>
                  </a:lnTo>
                  <a:lnTo>
                    <a:pt x="738" y="1475"/>
                  </a:lnTo>
                  <a:lnTo>
                    <a:pt x="738" y="1474"/>
                  </a:lnTo>
                  <a:lnTo>
                    <a:pt x="737" y="1472"/>
                  </a:lnTo>
                  <a:lnTo>
                    <a:pt x="734" y="1472"/>
                  </a:lnTo>
                  <a:lnTo>
                    <a:pt x="732" y="1472"/>
                  </a:lnTo>
                  <a:lnTo>
                    <a:pt x="732" y="1469"/>
                  </a:lnTo>
                  <a:lnTo>
                    <a:pt x="734" y="1467"/>
                  </a:lnTo>
                  <a:lnTo>
                    <a:pt x="735" y="1465"/>
                  </a:lnTo>
                  <a:lnTo>
                    <a:pt x="734" y="1462"/>
                  </a:lnTo>
                  <a:lnTo>
                    <a:pt x="732" y="1461"/>
                  </a:lnTo>
                  <a:lnTo>
                    <a:pt x="729" y="1461"/>
                  </a:lnTo>
                  <a:lnTo>
                    <a:pt x="727" y="1461"/>
                  </a:lnTo>
                  <a:lnTo>
                    <a:pt x="725" y="1461"/>
                  </a:lnTo>
                  <a:lnTo>
                    <a:pt x="722" y="1458"/>
                  </a:lnTo>
                  <a:lnTo>
                    <a:pt x="719" y="1452"/>
                  </a:lnTo>
                  <a:lnTo>
                    <a:pt x="719" y="1451"/>
                  </a:lnTo>
                  <a:lnTo>
                    <a:pt x="721" y="1451"/>
                  </a:lnTo>
                  <a:lnTo>
                    <a:pt x="721" y="1451"/>
                  </a:lnTo>
                  <a:lnTo>
                    <a:pt x="724" y="1451"/>
                  </a:lnTo>
                  <a:lnTo>
                    <a:pt x="724" y="1451"/>
                  </a:lnTo>
                  <a:lnTo>
                    <a:pt x="724" y="1446"/>
                  </a:lnTo>
                  <a:lnTo>
                    <a:pt x="721" y="1444"/>
                  </a:lnTo>
                  <a:lnTo>
                    <a:pt x="721" y="1439"/>
                  </a:lnTo>
                  <a:lnTo>
                    <a:pt x="721" y="1438"/>
                  </a:lnTo>
                  <a:lnTo>
                    <a:pt x="719" y="1436"/>
                  </a:lnTo>
                  <a:lnTo>
                    <a:pt x="717" y="1435"/>
                  </a:lnTo>
                  <a:lnTo>
                    <a:pt x="715" y="1431"/>
                  </a:lnTo>
                  <a:lnTo>
                    <a:pt x="717" y="1428"/>
                  </a:lnTo>
                  <a:lnTo>
                    <a:pt x="718" y="1426"/>
                  </a:lnTo>
                  <a:lnTo>
                    <a:pt x="718" y="1424"/>
                  </a:lnTo>
                  <a:lnTo>
                    <a:pt x="717" y="1424"/>
                  </a:lnTo>
                  <a:lnTo>
                    <a:pt x="714" y="1424"/>
                  </a:lnTo>
                  <a:lnTo>
                    <a:pt x="709" y="1422"/>
                  </a:lnTo>
                  <a:lnTo>
                    <a:pt x="708" y="1419"/>
                  </a:lnTo>
                  <a:lnTo>
                    <a:pt x="705" y="1418"/>
                  </a:lnTo>
                  <a:lnTo>
                    <a:pt x="704" y="1419"/>
                  </a:lnTo>
                  <a:lnTo>
                    <a:pt x="701" y="1422"/>
                  </a:lnTo>
                  <a:lnTo>
                    <a:pt x="699" y="1426"/>
                  </a:lnTo>
                  <a:lnTo>
                    <a:pt x="697" y="1428"/>
                  </a:lnTo>
                  <a:lnTo>
                    <a:pt x="694" y="1428"/>
                  </a:lnTo>
                  <a:lnTo>
                    <a:pt x="692" y="1425"/>
                  </a:lnTo>
                  <a:lnTo>
                    <a:pt x="692" y="1421"/>
                  </a:lnTo>
                  <a:lnTo>
                    <a:pt x="692" y="1419"/>
                  </a:lnTo>
                  <a:lnTo>
                    <a:pt x="691" y="1418"/>
                  </a:lnTo>
                  <a:lnTo>
                    <a:pt x="689" y="1418"/>
                  </a:lnTo>
                  <a:lnTo>
                    <a:pt x="688" y="1419"/>
                  </a:lnTo>
                  <a:lnTo>
                    <a:pt x="686" y="1424"/>
                  </a:lnTo>
                  <a:lnTo>
                    <a:pt x="689" y="1428"/>
                  </a:lnTo>
                  <a:lnTo>
                    <a:pt x="688" y="1431"/>
                  </a:lnTo>
                  <a:lnTo>
                    <a:pt x="688" y="1435"/>
                  </a:lnTo>
                  <a:lnTo>
                    <a:pt x="681" y="1442"/>
                  </a:lnTo>
                  <a:lnTo>
                    <a:pt x="676" y="1444"/>
                  </a:lnTo>
                  <a:lnTo>
                    <a:pt x="674" y="1444"/>
                  </a:lnTo>
                  <a:lnTo>
                    <a:pt x="669" y="1448"/>
                  </a:lnTo>
                  <a:lnTo>
                    <a:pt x="666" y="1449"/>
                  </a:lnTo>
                  <a:lnTo>
                    <a:pt x="661" y="1451"/>
                  </a:lnTo>
                  <a:lnTo>
                    <a:pt x="655" y="1452"/>
                  </a:lnTo>
                  <a:lnTo>
                    <a:pt x="652" y="1454"/>
                  </a:lnTo>
                  <a:lnTo>
                    <a:pt x="649" y="1459"/>
                  </a:lnTo>
                  <a:lnTo>
                    <a:pt x="645" y="1464"/>
                  </a:lnTo>
                  <a:lnTo>
                    <a:pt x="636" y="1474"/>
                  </a:lnTo>
                  <a:lnTo>
                    <a:pt x="631" y="1478"/>
                  </a:lnTo>
                  <a:lnTo>
                    <a:pt x="626" y="1481"/>
                  </a:lnTo>
                  <a:lnTo>
                    <a:pt x="622" y="1479"/>
                  </a:lnTo>
                  <a:lnTo>
                    <a:pt x="619" y="1479"/>
                  </a:lnTo>
                  <a:lnTo>
                    <a:pt x="618" y="1477"/>
                  </a:lnTo>
                  <a:lnTo>
                    <a:pt x="615" y="1474"/>
                  </a:lnTo>
                  <a:lnTo>
                    <a:pt x="612" y="1472"/>
                  </a:lnTo>
                  <a:lnTo>
                    <a:pt x="611" y="1472"/>
                  </a:lnTo>
                  <a:lnTo>
                    <a:pt x="609" y="1472"/>
                  </a:lnTo>
                  <a:lnTo>
                    <a:pt x="606" y="1474"/>
                  </a:lnTo>
                  <a:lnTo>
                    <a:pt x="603" y="1475"/>
                  </a:lnTo>
                  <a:lnTo>
                    <a:pt x="601" y="1477"/>
                  </a:lnTo>
                  <a:lnTo>
                    <a:pt x="596" y="1477"/>
                  </a:lnTo>
                  <a:lnTo>
                    <a:pt x="591" y="1477"/>
                  </a:lnTo>
                  <a:lnTo>
                    <a:pt x="585" y="1479"/>
                  </a:lnTo>
                  <a:lnTo>
                    <a:pt x="576" y="1481"/>
                  </a:lnTo>
                  <a:lnTo>
                    <a:pt x="573" y="1481"/>
                  </a:lnTo>
                  <a:lnTo>
                    <a:pt x="569" y="1479"/>
                  </a:lnTo>
                  <a:lnTo>
                    <a:pt x="563" y="1477"/>
                  </a:lnTo>
                  <a:lnTo>
                    <a:pt x="558" y="1472"/>
                  </a:lnTo>
                  <a:lnTo>
                    <a:pt x="555" y="1467"/>
                  </a:lnTo>
                  <a:lnTo>
                    <a:pt x="555" y="1462"/>
                  </a:lnTo>
                  <a:lnTo>
                    <a:pt x="556" y="1454"/>
                  </a:lnTo>
                  <a:lnTo>
                    <a:pt x="556" y="1446"/>
                  </a:lnTo>
                  <a:lnTo>
                    <a:pt x="558" y="1442"/>
                  </a:lnTo>
                  <a:lnTo>
                    <a:pt x="560" y="1439"/>
                  </a:lnTo>
                  <a:lnTo>
                    <a:pt x="562" y="1434"/>
                  </a:lnTo>
                  <a:lnTo>
                    <a:pt x="560" y="1429"/>
                  </a:lnTo>
                  <a:lnTo>
                    <a:pt x="562" y="1426"/>
                  </a:lnTo>
                  <a:lnTo>
                    <a:pt x="565" y="1422"/>
                  </a:lnTo>
                  <a:lnTo>
                    <a:pt x="566" y="1419"/>
                  </a:lnTo>
                  <a:lnTo>
                    <a:pt x="569" y="1416"/>
                  </a:lnTo>
                  <a:lnTo>
                    <a:pt x="570" y="1412"/>
                  </a:lnTo>
                  <a:lnTo>
                    <a:pt x="575" y="1411"/>
                  </a:lnTo>
                  <a:lnTo>
                    <a:pt x="576" y="1408"/>
                  </a:lnTo>
                  <a:lnTo>
                    <a:pt x="578" y="1405"/>
                  </a:lnTo>
                  <a:lnTo>
                    <a:pt x="579" y="1398"/>
                  </a:lnTo>
                  <a:lnTo>
                    <a:pt x="580" y="1393"/>
                  </a:lnTo>
                  <a:lnTo>
                    <a:pt x="583" y="1391"/>
                  </a:lnTo>
                  <a:lnTo>
                    <a:pt x="586" y="1386"/>
                  </a:lnTo>
                  <a:lnTo>
                    <a:pt x="586" y="1382"/>
                  </a:lnTo>
                  <a:lnTo>
                    <a:pt x="589" y="1375"/>
                  </a:lnTo>
                  <a:lnTo>
                    <a:pt x="593" y="1366"/>
                  </a:lnTo>
                  <a:lnTo>
                    <a:pt x="596" y="1363"/>
                  </a:lnTo>
                  <a:lnTo>
                    <a:pt x="596" y="1358"/>
                  </a:lnTo>
                  <a:lnTo>
                    <a:pt x="596" y="1352"/>
                  </a:lnTo>
                  <a:lnTo>
                    <a:pt x="598" y="1349"/>
                  </a:lnTo>
                  <a:lnTo>
                    <a:pt x="598" y="1346"/>
                  </a:lnTo>
                  <a:lnTo>
                    <a:pt x="595" y="1343"/>
                  </a:lnTo>
                  <a:lnTo>
                    <a:pt x="595" y="1339"/>
                  </a:lnTo>
                  <a:lnTo>
                    <a:pt x="596" y="1335"/>
                  </a:lnTo>
                  <a:lnTo>
                    <a:pt x="595" y="1330"/>
                  </a:lnTo>
                  <a:lnTo>
                    <a:pt x="595" y="1329"/>
                  </a:lnTo>
                  <a:lnTo>
                    <a:pt x="596" y="1325"/>
                  </a:lnTo>
                  <a:lnTo>
                    <a:pt x="596" y="1322"/>
                  </a:lnTo>
                  <a:lnTo>
                    <a:pt x="595" y="1319"/>
                  </a:lnTo>
                  <a:lnTo>
                    <a:pt x="595" y="1315"/>
                  </a:lnTo>
                  <a:lnTo>
                    <a:pt x="596" y="1312"/>
                  </a:lnTo>
                  <a:lnTo>
                    <a:pt x="599" y="1309"/>
                  </a:lnTo>
                  <a:lnTo>
                    <a:pt x="601" y="1306"/>
                  </a:lnTo>
                  <a:lnTo>
                    <a:pt x="601" y="1303"/>
                  </a:lnTo>
                  <a:lnTo>
                    <a:pt x="602" y="1300"/>
                  </a:lnTo>
                  <a:lnTo>
                    <a:pt x="602" y="1298"/>
                  </a:lnTo>
                  <a:lnTo>
                    <a:pt x="605" y="1296"/>
                  </a:lnTo>
                  <a:lnTo>
                    <a:pt x="608" y="1290"/>
                  </a:lnTo>
                  <a:lnTo>
                    <a:pt x="608" y="1287"/>
                  </a:lnTo>
                  <a:lnTo>
                    <a:pt x="609" y="1285"/>
                  </a:lnTo>
                  <a:lnTo>
                    <a:pt x="611" y="1285"/>
                  </a:lnTo>
                  <a:lnTo>
                    <a:pt x="613" y="1285"/>
                  </a:lnTo>
                  <a:lnTo>
                    <a:pt x="615" y="1282"/>
                  </a:lnTo>
                  <a:lnTo>
                    <a:pt x="615" y="1277"/>
                  </a:lnTo>
                  <a:lnTo>
                    <a:pt x="613" y="1275"/>
                  </a:lnTo>
                  <a:lnTo>
                    <a:pt x="613" y="1272"/>
                  </a:lnTo>
                  <a:lnTo>
                    <a:pt x="615" y="1269"/>
                  </a:lnTo>
                  <a:lnTo>
                    <a:pt x="616" y="1263"/>
                  </a:lnTo>
                  <a:lnTo>
                    <a:pt x="618" y="1257"/>
                  </a:lnTo>
                  <a:lnTo>
                    <a:pt x="618" y="1255"/>
                  </a:lnTo>
                  <a:lnTo>
                    <a:pt x="622" y="1253"/>
                  </a:lnTo>
                  <a:lnTo>
                    <a:pt x="623" y="1252"/>
                  </a:lnTo>
                  <a:lnTo>
                    <a:pt x="625" y="1249"/>
                  </a:lnTo>
                  <a:lnTo>
                    <a:pt x="623" y="1246"/>
                  </a:lnTo>
                  <a:lnTo>
                    <a:pt x="623" y="1243"/>
                  </a:lnTo>
                  <a:lnTo>
                    <a:pt x="623" y="1240"/>
                  </a:lnTo>
                  <a:lnTo>
                    <a:pt x="623" y="1237"/>
                  </a:lnTo>
                  <a:lnTo>
                    <a:pt x="626" y="1233"/>
                  </a:lnTo>
                  <a:lnTo>
                    <a:pt x="628" y="1229"/>
                  </a:lnTo>
                  <a:lnTo>
                    <a:pt x="629" y="1224"/>
                  </a:lnTo>
                  <a:lnTo>
                    <a:pt x="628" y="1219"/>
                  </a:lnTo>
                  <a:lnTo>
                    <a:pt x="629" y="1216"/>
                  </a:lnTo>
                  <a:lnTo>
                    <a:pt x="629" y="1214"/>
                  </a:lnTo>
                  <a:lnTo>
                    <a:pt x="632" y="1214"/>
                  </a:lnTo>
                  <a:lnTo>
                    <a:pt x="636" y="1214"/>
                  </a:lnTo>
                  <a:lnTo>
                    <a:pt x="638" y="1213"/>
                  </a:lnTo>
                  <a:lnTo>
                    <a:pt x="638" y="1212"/>
                  </a:lnTo>
                  <a:lnTo>
                    <a:pt x="638" y="1209"/>
                  </a:lnTo>
                  <a:lnTo>
                    <a:pt x="638" y="1206"/>
                  </a:lnTo>
                  <a:lnTo>
                    <a:pt x="636" y="1204"/>
                  </a:lnTo>
                  <a:lnTo>
                    <a:pt x="636" y="1202"/>
                  </a:lnTo>
                  <a:lnTo>
                    <a:pt x="635" y="1199"/>
                  </a:lnTo>
                  <a:lnTo>
                    <a:pt x="635" y="1194"/>
                  </a:lnTo>
                  <a:lnTo>
                    <a:pt x="639" y="1193"/>
                  </a:lnTo>
                  <a:lnTo>
                    <a:pt x="639" y="1190"/>
                  </a:lnTo>
                  <a:lnTo>
                    <a:pt x="639" y="1186"/>
                  </a:lnTo>
                  <a:lnTo>
                    <a:pt x="639" y="1183"/>
                  </a:lnTo>
                  <a:lnTo>
                    <a:pt x="641" y="1180"/>
                  </a:lnTo>
                  <a:lnTo>
                    <a:pt x="645" y="1176"/>
                  </a:lnTo>
                  <a:lnTo>
                    <a:pt x="648" y="1171"/>
                  </a:lnTo>
                  <a:lnTo>
                    <a:pt x="648" y="1167"/>
                  </a:lnTo>
                  <a:lnTo>
                    <a:pt x="648" y="1163"/>
                  </a:lnTo>
                  <a:lnTo>
                    <a:pt x="646" y="1160"/>
                  </a:lnTo>
                  <a:lnTo>
                    <a:pt x="648" y="1156"/>
                  </a:lnTo>
                  <a:lnTo>
                    <a:pt x="649" y="1154"/>
                  </a:lnTo>
                  <a:lnTo>
                    <a:pt x="648" y="1149"/>
                  </a:lnTo>
                  <a:lnTo>
                    <a:pt x="645" y="1144"/>
                  </a:lnTo>
                  <a:lnTo>
                    <a:pt x="645" y="1137"/>
                  </a:lnTo>
                  <a:lnTo>
                    <a:pt x="645" y="1131"/>
                  </a:lnTo>
                  <a:lnTo>
                    <a:pt x="646" y="1127"/>
                  </a:lnTo>
                  <a:lnTo>
                    <a:pt x="648" y="1124"/>
                  </a:lnTo>
                  <a:lnTo>
                    <a:pt x="651" y="1124"/>
                  </a:lnTo>
                  <a:lnTo>
                    <a:pt x="651" y="1121"/>
                  </a:lnTo>
                  <a:lnTo>
                    <a:pt x="649" y="1120"/>
                  </a:lnTo>
                  <a:lnTo>
                    <a:pt x="646" y="1117"/>
                  </a:lnTo>
                  <a:lnTo>
                    <a:pt x="648" y="1116"/>
                  </a:lnTo>
                  <a:lnTo>
                    <a:pt x="648" y="1114"/>
                  </a:lnTo>
                  <a:lnTo>
                    <a:pt x="651" y="1114"/>
                  </a:lnTo>
                  <a:lnTo>
                    <a:pt x="652" y="1113"/>
                  </a:lnTo>
                  <a:lnTo>
                    <a:pt x="652" y="1111"/>
                  </a:lnTo>
                  <a:lnTo>
                    <a:pt x="654" y="1110"/>
                  </a:lnTo>
                  <a:lnTo>
                    <a:pt x="655" y="1110"/>
                  </a:lnTo>
                  <a:lnTo>
                    <a:pt x="658" y="1110"/>
                  </a:lnTo>
                  <a:lnTo>
                    <a:pt x="661" y="1108"/>
                  </a:lnTo>
                  <a:lnTo>
                    <a:pt x="662" y="1107"/>
                  </a:lnTo>
                  <a:lnTo>
                    <a:pt x="662" y="1106"/>
                  </a:lnTo>
                  <a:lnTo>
                    <a:pt x="658" y="1101"/>
                  </a:lnTo>
                  <a:lnTo>
                    <a:pt x="656" y="1101"/>
                  </a:lnTo>
                  <a:lnTo>
                    <a:pt x="652" y="1100"/>
                  </a:lnTo>
                  <a:lnTo>
                    <a:pt x="648" y="1101"/>
                  </a:lnTo>
                  <a:lnTo>
                    <a:pt x="644" y="1100"/>
                  </a:lnTo>
                  <a:lnTo>
                    <a:pt x="639" y="1098"/>
                  </a:lnTo>
                  <a:lnTo>
                    <a:pt x="636" y="1096"/>
                  </a:lnTo>
                  <a:lnTo>
                    <a:pt x="638" y="1093"/>
                  </a:lnTo>
                  <a:lnTo>
                    <a:pt x="638" y="1088"/>
                  </a:lnTo>
                  <a:lnTo>
                    <a:pt x="645" y="1084"/>
                  </a:lnTo>
                  <a:lnTo>
                    <a:pt x="645" y="1080"/>
                  </a:lnTo>
                  <a:lnTo>
                    <a:pt x="645" y="1078"/>
                  </a:lnTo>
                  <a:lnTo>
                    <a:pt x="642" y="1076"/>
                  </a:lnTo>
                  <a:lnTo>
                    <a:pt x="642" y="1074"/>
                  </a:lnTo>
                  <a:lnTo>
                    <a:pt x="642" y="1070"/>
                  </a:lnTo>
                  <a:lnTo>
                    <a:pt x="642" y="1065"/>
                  </a:lnTo>
                  <a:lnTo>
                    <a:pt x="644" y="1061"/>
                  </a:lnTo>
                  <a:lnTo>
                    <a:pt x="645" y="1058"/>
                  </a:lnTo>
                  <a:lnTo>
                    <a:pt x="644" y="1055"/>
                  </a:lnTo>
                  <a:lnTo>
                    <a:pt x="642" y="1050"/>
                  </a:lnTo>
                  <a:lnTo>
                    <a:pt x="641" y="1044"/>
                  </a:lnTo>
                  <a:lnTo>
                    <a:pt x="641" y="1043"/>
                  </a:lnTo>
                  <a:lnTo>
                    <a:pt x="642" y="1038"/>
                  </a:lnTo>
                  <a:lnTo>
                    <a:pt x="642" y="1037"/>
                  </a:lnTo>
                  <a:lnTo>
                    <a:pt x="645" y="1035"/>
                  </a:lnTo>
                  <a:lnTo>
                    <a:pt x="646" y="1035"/>
                  </a:lnTo>
                  <a:lnTo>
                    <a:pt x="646" y="1038"/>
                  </a:lnTo>
                  <a:lnTo>
                    <a:pt x="649" y="1041"/>
                  </a:lnTo>
                  <a:lnTo>
                    <a:pt x="651" y="1044"/>
                  </a:lnTo>
                  <a:lnTo>
                    <a:pt x="652" y="1044"/>
                  </a:lnTo>
                  <a:lnTo>
                    <a:pt x="654" y="1043"/>
                  </a:lnTo>
                  <a:lnTo>
                    <a:pt x="654" y="1041"/>
                  </a:lnTo>
                  <a:lnTo>
                    <a:pt x="654" y="1038"/>
                  </a:lnTo>
                  <a:lnTo>
                    <a:pt x="649" y="1034"/>
                  </a:lnTo>
                  <a:lnTo>
                    <a:pt x="646" y="1028"/>
                  </a:lnTo>
                  <a:lnTo>
                    <a:pt x="645" y="1021"/>
                  </a:lnTo>
                  <a:lnTo>
                    <a:pt x="642" y="1015"/>
                  </a:lnTo>
                  <a:lnTo>
                    <a:pt x="644" y="1012"/>
                  </a:lnTo>
                  <a:lnTo>
                    <a:pt x="644" y="1010"/>
                  </a:lnTo>
                  <a:lnTo>
                    <a:pt x="646" y="1005"/>
                  </a:lnTo>
                  <a:lnTo>
                    <a:pt x="648" y="1002"/>
                  </a:lnTo>
                  <a:lnTo>
                    <a:pt x="648" y="1000"/>
                  </a:lnTo>
                  <a:lnTo>
                    <a:pt x="648" y="997"/>
                  </a:lnTo>
                  <a:lnTo>
                    <a:pt x="648" y="995"/>
                  </a:lnTo>
                  <a:lnTo>
                    <a:pt x="649" y="994"/>
                  </a:lnTo>
                  <a:lnTo>
                    <a:pt x="651" y="995"/>
                  </a:lnTo>
                  <a:lnTo>
                    <a:pt x="652" y="997"/>
                  </a:lnTo>
                  <a:lnTo>
                    <a:pt x="655" y="997"/>
                  </a:lnTo>
                  <a:lnTo>
                    <a:pt x="656" y="995"/>
                  </a:lnTo>
                  <a:lnTo>
                    <a:pt x="656" y="992"/>
                  </a:lnTo>
                  <a:lnTo>
                    <a:pt x="656" y="988"/>
                  </a:lnTo>
                  <a:lnTo>
                    <a:pt x="654" y="984"/>
                  </a:lnTo>
                  <a:lnTo>
                    <a:pt x="651" y="981"/>
                  </a:lnTo>
                  <a:lnTo>
                    <a:pt x="651" y="978"/>
                  </a:lnTo>
                  <a:lnTo>
                    <a:pt x="651" y="975"/>
                  </a:lnTo>
                  <a:lnTo>
                    <a:pt x="652" y="974"/>
                  </a:lnTo>
                  <a:lnTo>
                    <a:pt x="654" y="972"/>
                  </a:lnTo>
                  <a:lnTo>
                    <a:pt x="655" y="971"/>
                  </a:lnTo>
                  <a:lnTo>
                    <a:pt x="655" y="968"/>
                  </a:lnTo>
                  <a:lnTo>
                    <a:pt x="655" y="965"/>
                  </a:lnTo>
                  <a:lnTo>
                    <a:pt x="654" y="962"/>
                  </a:lnTo>
                  <a:lnTo>
                    <a:pt x="655" y="957"/>
                  </a:lnTo>
                  <a:lnTo>
                    <a:pt x="655" y="948"/>
                  </a:lnTo>
                  <a:lnTo>
                    <a:pt x="656" y="945"/>
                  </a:lnTo>
                  <a:lnTo>
                    <a:pt x="662" y="941"/>
                  </a:lnTo>
                  <a:lnTo>
                    <a:pt x="664" y="938"/>
                  </a:lnTo>
                  <a:lnTo>
                    <a:pt x="665" y="937"/>
                  </a:lnTo>
                  <a:lnTo>
                    <a:pt x="664" y="934"/>
                  </a:lnTo>
                  <a:lnTo>
                    <a:pt x="664" y="932"/>
                  </a:lnTo>
                  <a:lnTo>
                    <a:pt x="665" y="931"/>
                  </a:lnTo>
                  <a:lnTo>
                    <a:pt x="668" y="929"/>
                  </a:lnTo>
                  <a:lnTo>
                    <a:pt x="671" y="928"/>
                  </a:lnTo>
                  <a:lnTo>
                    <a:pt x="671" y="925"/>
                  </a:lnTo>
                  <a:lnTo>
                    <a:pt x="671" y="922"/>
                  </a:lnTo>
                  <a:lnTo>
                    <a:pt x="671" y="919"/>
                  </a:lnTo>
                  <a:lnTo>
                    <a:pt x="672" y="915"/>
                  </a:lnTo>
                  <a:lnTo>
                    <a:pt x="672" y="911"/>
                  </a:lnTo>
                  <a:lnTo>
                    <a:pt x="669" y="907"/>
                  </a:lnTo>
                  <a:lnTo>
                    <a:pt x="668" y="904"/>
                  </a:lnTo>
                  <a:lnTo>
                    <a:pt x="668" y="899"/>
                  </a:lnTo>
                  <a:lnTo>
                    <a:pt x="671" y="898"/>
                  </a:lnTo>
                  <a:lnTo>
                    <a:pt x="672" y="895"/>
                  </a:lnTo>
                  <a:lnTo>
                    <a:pt x="674" y="892"/>
                  </a:lnTo>
                  <a:lnTo>
                    <a:pt x="675" y="889"/>
                  </a:lnTo>
                  <a:lnTo>
                    <a:pt x="678" y="888"/>
                  </a:lnTo>
                  <a:lnTo>
                    <a:pt x="679" y="886"/>
                  </a:lnTo>
                  <a:lnTo>
                    <a:pt x="681" y="884"/>
                  </a:lnTo>
                  <a:lnTo>
                    <a:pt x="679" y="879"/>
                  </a:lnTo>
                  <a:lnTo>
                    <a:pt x="676" y="872"/>
                  </a:lnTo>
                  <a:lnTo>
                    <a:pt x="675" y="865"/>
                  </a:lnTo>
                  <a:lnTo>
                    <a:pt x="674" y="854"/>
                  </a:lnTo>
                  <a:lnTo>
                    <a:pt x="675" y="845"/>
                  </a:lnTo>
                  <a:lnTo>
                    <a:pt x="676" y="839"/>
                  </a:lnTo>
                  <a:lnTo>
                    <a:pt x="679" y="836"/>
                  </a:lnTo>
                  <a:lnTo>
                    <a:pt x="682" y="833"/>
                  </a:lnTo>
                  <a:lnTo>
                    <a:pt x="684" y="832"/>
                  </a:lnTo>
                  <a:lnTo>
                    <a:pt x="685" y="828"/>
                  </a:lnTo>
                  <a:lnTo>
                    <a:pt x="685" y="826"/>
                  </a:lnTo>
                  <a:lnTo>
                    <a:pt x="686" y="826"/>
                  </a:lnTo>
                  <a:lnTo>
                    <a:pt x="689" y="826"/>
                  </a:lnTo>
                  <a:lnTo>
                    <a:pt x="692" y="826"/>
                  </a:lnTo>
                  <a:lnTo>
                    <a:pt x="692" y="825"/>
                  </a:lnTo>
                  <a:lnTo>
                    <a:pt x="692" y="821"/>
                  </a:lnTo>
                  <a:lnTo>
                    <a:pt x="691" y="815"/>
                  </a:lnTo>
                  <a:lnTo>
                    <a:pt x="691" y="811"/>
                  </a:lnTo>
                  <a:lnTo>
                    <a:pt x="694" y="808"/>
                  </a:lnTo>
                  <a:lnTo>
                    <a:pt x="695" y="803"/>
                  </a:lnTo>
                  <a:lnTo>
                    <a:pt x="695" y="801"/>
                  </a:lnTo>
                  <a:lnTo>
                    <a:pt x="691" y="798"/>
                  </a:lnTo>
                  <a:lnTo>
                    <a:pt x="689" y="793"/>
                  </a:lnTo>
                  <a:lnTo>
                    <a:pt x="688" y="788"/>
                  </a:lnTo>
                  <a:lnTo>
                    <a:pt x="685" y="782"/>
                  </a:lnTo>
                  <a:lnTo>
                    <a:pt x="682" y="778"/>
                  </a:lnTo>
                  <a:lnTo>
                    <a:pt x="682" y="770"/>
                  </a:lnTo>
                  <a:lnTo>
                    <a:pt x="681" y="762"/>
                  </a:lnTo>
                  <a:lnTo>
                    <a:pt x="676" y="753"/>
                  </a:lnTo>
                  <a:lnTo>
                    <a:pt x="672" y="742"/>
                  </a:lnTo>
                  <a:lnTo>
                    <a:pt x="671" y="729"/>
                  </a:lnTo>
                  <a:lnTo>
                    <a:pt x="671" y="722"/>
                  </a:lnTo>
                  <a:lnTo>
                    <a:pt x="672" y="715"/>
                  </a:lnTo>
                  <a:lnTo>
                    <a:pt x="674" y="703"/>
                  </a:lnTo>
                  <a:lnTo>
                    <a:pt x="675" y="699"/>
                  </a:lnTo>
                  <a:lnTo>
                    <a:pt x="679" y="695"/>
                  </a:lnTo>
                  <a:lnTo>
                    <a:pt x="685" y="690"/>
                  </a:lnTo>
                  <a:lnTo>
                    <a:pt x="688" y="683"/>
                  </a:lnTo>
                  <a:lnTo>
                    <a:pt x="694" y="672"/>
                  </a:lnTo>
                  <a:lnTo>
                    <a:pt x="698" y="653"/>
                  </a:lnTo>
                  <a:lnTo>
                    <a:pt x="701" y="640"/>
                  </a:lnTo>
                  <a:lnTo>
                    <a:pt x="698" y="627"/>
                  </a:lnTo>
                  <a:lnTo>
                    <a:pt x="698" y="613"/>
                  </a:lnTo>
                  <a:lnTo>
                    <a:pt x="697" y="606"/>
                  </a:lnTo>
                  <a:lnTo>
                    <a:pt x="697" y="604"/>
                  </a:lnTo>
                  <a:lnTo>
                    <a:pt x="694" y="589"/>
                  </a:lnTo>
                  <a:lnTo>
                    <a:pt x="694" y="558"/>
                  </a:lnTo>
                  <a:lnTo>
                    <a:pt x="698" y="538"/>
                  </a:lnTo>
                  <a:lnTo>
                    <a:pt x="705" y="520"/>
                  </a:lnTo>
                  <a:lnTo>
                    <a:pt x="715" y="505"/>
                  </a:lnTo>
                  <a:lnTo>
                    <a:pt x="721" y="497"/>
                  </a:lnTo>
                  <a:lnTo>
                    <a:pt x="728" y="484"/>
                  </a:lnTo>
                  <a:lnTo>
                    <a:pt x="732" y="475"/>
                  </a:lnTo>
                  <a:lnTo>
                    <a:pt x="737" y="471"/>
                  </a:lnTo>
                  <a:lnTo>
                    <a:pt x="738" y="470"/>
                  </a:lnTo>
                  <a:lnTo>
                    <a:pt x="748" y="467"/>
                  </a:lnTo>
                  <a:lnTo>
                    <a:pt x="755" y="464"/>
                  </a:lnTo>
                  <a:lnTo>
                    <a:pt x="767" y="448"/>
                  </a:lnTo>
                  <a:lnTo>
                    <a:pt x="774" y="435"/>
                  </a:lnTo>
                  <a:lnTo>
                    <a:pt x="781" y="427"/>
                  </a:lnTo>
                  <a:lnTo>
                    <a:pt x="795" y="417"/>
                  </a:lnTo>
                  <a:lnTo>
                    <a:pt x="798" y="415"/>
                  </a:lnTo>
                  <a:lnTo>
                    <a:pt x="798" y="412"/>
                  </a:lnTo>
                  <a:lnTo>
                    <a:pt x="800" y="411"/>
                  </a:lnTo>
                  <a:lnTo>
                    <a:pt x="804" y="410"/>
                  </a:lnTo>
                  <a:lnTo>
                    <a:pt x="805" y="408"/>
                  </a:lnTo>
                  <a:lnTo>
                    <a:pt x="804" y="412"/>
                  </a:lnTo>
                  <a:lnTo>
                    <a:pt x="804" y="414"/>
                  </a:lnTo>
                  <a:lnTo>
                    <a:pt x="807" y="412"/>
                  </a:lnTo>
                  <a:lnTo>
                    <a:pt x="814" y="407"/>
                  </a:lnTo>
                  <a:lnTo>
                    <a:pt x="815" y="407"/>
                  </a:lnTo>
                  <a:lnTo>
                    <a:pt x="824" y="398"/>
                  </a:lnTo>
                  <a:lnTo>
                    <a:pt x="831" y="394"/>
                  </a:lnTo>
                  <a:lnTo>
                    <a:pt x="830" y="392"/>
                  </a:lnTo>
                  <a:lnTo>
                    <a:pt x="828" y="392"/>
                  </a:lnTo>
                  <a:lnTo>
                    <a:pt x="830" y="389"/>
                  </a:lnTo>
                  <a:lnTo>
                    <a:pt x="831" y="388"/>
                  </a:lnTo>
                  <a:lnTo>
                    <a:pt x="834" y="387"/>
                  </a:lnTo>
                  <a:lnTo>
                    <a:pt x="837" y="388"/>
                  </a:lnTo>
                  <a:lnTo>
                    <a:pt x="835" y="389"/>
                  </a:lnTo>
                  <a:lnTo>
                    <a:pt x="835" y="392"/>
                  </a:lnTo>
                  <a:lnTo>
                    <a:pt x="837" y="388"/>
                  </a:lnTo>
                  <a:lnTo>
                    <a:pt x="838" y="387"/>
                  </a:lnTo>
                  <a:lnTo>
                    <a:pt x="841" y="384"/>
                  </a:lnTo>
                  <a:lnTo>
                    <a:pt x="848" y="381"/>
                  </a:lnTo>
                  <a:lnTo>
                    <a:pt x="851" y="377"/>
                  </a:lnTo>
                  <a:lnTo>
                    <a:pt x="860" y="365"/>
                  </a:lnTo>
                  <a:lnTo>
                    <a:pt x="863" y="359"/>
                  </a:lnTo>
                  <a:lnTo>
                    <a:pt x="866" y="357"/>
                  </a:lnTo>
                  <a:lnTo>
                    <a:pt x="866" y="357"/>
                  </a:lnTo>
                  <a:lnTo>
                    <a:pt x="867" y="357"/>
                  </a:lnTo>
                  <a:lnTo>
                    <a:pt x="870" y="357"/>
                  </a:lnTo>
                  <a:lnTo>
                    <a:pt x="871" y="358"/>
                  </a:lnTo>
                  <a:lnTo>
                    <a:pt x="873" y="358"/>
                  </a:lnTo>
                  <a:lnTo>
                    <a:pt x="873" y="357"/>
                  </a:lnTo>
                  <a:lnTo>
                    <a:pt x="873" y="354"/>
                  </a:lnTo>
                  <a:lnTo>
                    <a:pt x="876" y="351"/>
                  </a:lnTo>
                  <a:lnTo>
                    <a:pt x="884" y="339"/>
                  </a:lnTo>
                  <a:lnTo>
                    <a:pt x="888" y="336"/>
                  </a:lnTo>
                  <a:lnTo>
                    <a:pt x="896" y="336"/>
                  </a:lnTo>
                  <a:lnTo>
                    <a:pt x="901" y="336"/>
                  </a:lnTo>
                  <a:lnTo>
                    <a:pt x="903" y="335"/>
                  </a:lnTo>
                  <a:lnTo>
                    <a:pt x="901" y="334"/>
                  </a:lnTo>
                  <a:lnTo>
                    <a:pt x="900" y="331"/>
                  </a:lnTo>
                  <a:lnTo>
                    <a:pt x="900" y="329"/>
                  </a:lnTo>
                  <a:lnTo>
                    <a:pt x="900" y="326"/>
                  </a:lnTo>
                  <a:lnTo>
                    <a:pt x="903" y="328"/>
                  </a:lnTo>
                  <a:lnTo>
                    <a:pt x="904" y="328"/>
                  </a:lnTo>
                  <a:lnTo>
                    <a:pt x="906" y="325"/>
                  </a:lnTo>
                  <a:lnTo>
                    <a:pt x="906" y="324"/>
                  </a:lnTo>
                  <a:lnTo>
                    <a:pt x="907" y="322"/>
                  </a:lnTo>
                  <a:lnTo>
                    <a:pt x="908" y="322"/>
                  </a:lnTo>
                  <a:lnTo>
                    <a:pt x="910" y="322"/>
                  </a:lnTo>
                  <a:lnTo>
                    <a:pt x="910" y="325"/>
                  </a:lnTo>
                  <a:lnTo>
                    <a:pt x="910" y="326"/>
                  </a:lnTo>
                  <a:lnTo>
                    <a:pt x="913" y="329"/>
                  </a:lnTo>
                  <a:lnTo>
                    <a:pt x="913" y="335"/>
                  </a:lnTo>
                  <a:lnTo>
                    <a:pt x="914" y="345"/>
                  </a:lnTo>
                  <a:lnTo>
                    <a:pt x="916" y="349"/>
                  </a:lnTo>
                  <a:lnTo>
                    <a:pt x="918" y="352"/>
                  </a:lnTo>
                  <a:lnTo>
                    <a:pt x="923" y="352"/>
                  </a:lnTo>
                  <a:lnTo>
                    <a:pt x="924" y="351"/>
                  </a:lnTo>
                  <a:lnTo>
                    <a:pt x="926" y="349"/>
                  </a:lnTo>
                  <a:lnTo>
                    <a:pt x="930" y="349"/>
                  </a:lnTo>
                  <a:lnTo>
                    <a:pt x="931" y="349"/>
                  </a:lnTo>
                  <a:lnTo>
                    <a:pt x="934" y="349"/>
                  </a:lnTo>
                  <a:lnTo>
                    <a:pt x="936" y="352"/>
                  </a:lnTo>
                  <a:lnTo>
                    <a:pt x="936" y="354"/>
                  </a:lnTo>
                  <a:lnTo>
                    <a:pt x="940" y="352"/>
                  </a:lnTo>
                  <a:lnTo>
                    <a:pt x="940" y="349"/>
                  </a:lnTo>
                  <a:lnTo>
                    <a:pt x="943" y="345"/>
                  </a:lnTo>
                  <a:lnTo>
                    <a:pt x="946" y="342"/>
                  </a:lnTo>
                  <a:lnTo>
                    <a:pt x="943" y="339"/>
                  </a:lnTo>
                  <a:lnTo>
                    <a:pt x="943" y="335"/>
                  </a:lnTo>
                  <a:lnTo>
                    <a:pt x="947" y="332"/>
                  </a:lnTo>
                  <a:lnTo>
                    <a:pt x="949" y="331"/>
                  </a:lnTo>
                  <a:lnTo>
                    <a:pt x="953" y="329"/>
                  </a:lnTo>
                  <a:lnTo>
                    <a:pt x="954" y="329"/>
                  </a:lnTo>
                  <a:lnTo>
                    <a:pt x="954" y="328"/>
                  </a:lnTo>
                  <a:lnTo>
                    <a:pt x="953" y="325"/>
                  </a:lnTo>
                  <a:lnTo>
                    <a:pt x="949" y="318"/>
                  </a:lnTo>
                  <a:lnTo>
                    <a:pt x="946" y="315"/>
                  </a:lnTo>
                  <a:lnTo>
                    <a:pt x="941" y="309"/>
                  </a:lnTo>
                  <a:lnTo>
                    <a:pt x="934" y="305"/>
                  </a:lnTo>
                  <a:lnTo>
                    <a:pt x="933" y="301"/>
                  </a:lnTo>
                  <a:lnTo>
                    <a:pt x="933" y="296"/>
                  </a:lnTo>
                  <a:lnTo>
                    <a:pt x="933" y="291"/>
                  </a:lnTo>
                  <a:lnTo>
                    <a:pt x="934" y="288"/>
                  </a:lnTo>
                  <a:lnTo>
                    <a:pt x="947" y="282"/>
                  </a:lnTo>
                  <a:lnTo>
                    <a:pt x="951" y="282"/>
                  </a:lnTo>
                  <a:lnTo>
                    <a:pt x="954" y="284"/>
                  </a:lnTo>
                  <a:lnTo>
                    <a:pt x="956" y="285"/>
                  </a:lnTo>
                  <a:lnTo>
                    <a:pt x="959" y="284"/>
                  </a:lnTo>
                  <a:lnTo>
                    <a:pt x="963" y="282"/>
                  </a:lnTo>
                  <a:lnTo>
                    <a:pt x="967" y="282"/>
                  </a:lnTo>
                  <a:lnTo>
                    <a:pt x="970" y="276"/>
                  </a:lnTo>
                  <a:lnTo>
                    <a:pt x="970" y="276"/>
                  </a:lnTo>
                  <a:lnTo>
                    <a:pt x="969" y="269"/>
                  </a:lnTo>
                  <a:lnTo>
                    <a:pt x="974" y="262"/>
                  </a:lnTo>
                  <a:lnTo>
                    <a:pt x="969" y="253"/>
                  </a:lnTo>
                  <a:lnTo>
                    <a:pt x="963" y="239"/>
                  </a:lnTo>
                  <a:lnTo>
                    <a:pt x="959" y="232"/>
                  </a:lnTo>
                  <a:lnTo>
                    <a:pt x="954" y="228"/>
                  </a:lnTo>
                  <a:lnTo>
                    <a:pt x="947" y="226"/>
                  </a:lnTo>
                  <a:lnTo>
                    <a:pt x="946" y="220"/>
                  </a:lnTo>
                  <a:lnTo>
                    <a:pt x="943" y="215"/>
                  </a:lnTo>
                  <a:lnTo>
                    <a:pt x="940" y="212"/>
                  </a:lnTo>
                  <a:lnTo>
                    <a:pt x="934" y="210"/>
                  </a:lnTo>
                  <a:lnTo>
                    <a:pt x="930" y="206"/>
                  </a:lnTo>
                  <a:lnTo>
                    <a:pt x="923" y="205"/>
                  </a:lnTo>
                  <a:lnTo>
                    <a:pt x="918" y="202"/>
                  </a:lnTo>
                  <a:lnTo>
                    <a:pt x="914" y="202"/>
                  </a:lnTo>
                  <a:lnTo>
                    <a:pt x="914" y="208"/>
                  </a:lnTo>
                  <a:lnTo>
                    <a:pt x="914" y="212"/>
                  </a:lnTo>
                  <a:lnTo>
                    <a:pt x="911" y="216"/>
                  </a:lnTo>
                  <a:lnTo>
                    <a:pt x="907" y="218"/>
                  </a:lnTo>
                  <a:lnTo>
                    <a:pt x="903" y="215"/>
                  </a:lnTo>
                  <a:lnTo>
                    <a:pt x="900" y="215"/>
                  </a:lnTo>
                  <a:lnTo>
                    <a:pt x="890" y="215"/>
                  </a:lnTo>
                  <a:lnTo>
                    <a:pt x="887" y="212"/>
                  </a:lnTo>
                  <a:lnTo>
                    <a:pt x="886" y="209"/>
                  </a:lnTo>
                  <a:lnTo>
                    <a:pt x="884" y="203"/>
                  </a:lnTo>
                  <a:lnTo>
                    <a:pt x="883" y="200"/>
                  </a:lnTo>
                  <a:lnTo>
                    <a:pt x="878" y="199"/>
                  </a:lnTo>
                  <a:lnTo>
                    <a:pt x="876" y="200"/>
                  </a:lnTo>
                  <a:lnTo>
                    <a:pt x="871" y="206"/>
                  </a:lnTo>
                  <a:lnTo>
                    <a:pt x="857" y="200"/>
                  </a:lnTo>
                  <a:lnTo>
                    <a:pt x="848" y="199"/>
                  </a:lnTo>
                  <a:lnTo>
                    <a:pt x="843" y="199"/>
                  </a:lnTo>
                  <a:lnTo>
                    <a:pt x="837" y="203"/>
                  </a:lnTo>
                  <a:lnTo>
                    <a:pt x="833" y="215"/>
                  </a:lnTo>
                  <a:lnTo>
                    <a:pt x="825" y="220"/>
                  </a:lnTo>
                  <a:lnTo>
                    <a:pt x="818" y="231"/>
                  </a:lnTo>
                  <a:lnTo>
                    <a:pt x="813" y="236"/>
                  </a:lnTo>
                  <a:lnTo>
                    <a:pt x="798" y="232"/>
                  </a:lnTo>
                  <a:lnTo>
                    <a:pt x="791" y="229"/>
                  </a:lnTo>
                  <a:lnTo>
                    <a:pt x="788" y="226"/>
                  </a:lnTo>
                  <a:lnTo>
                    <a:pt x="787" y="223"/>
                  </a:lnTo>
                  <a:lnTo>
                    <a:pt x="790" y="219"/>
                  </a:lnTo>
                  <a:lnTo>
                    <a:pt x="785" y="215"/>
                  </a:lnTo>
                  <a:lnTo>
                    <a:pt x="782" y="213"/>
                  </a:lnTo>
                  <a:lnTo>
                    <a:pt x="780" y="216"/>
                  </a:lnTo>
                  <a:lnTo>
                    <a:pt x="774" y="219"/>
                  </a:lnTo>
                  <a:lnTo>
                    <a:pt x="768" y="218"/>
                  </a:lnTo>
                  <a:lnTo>
                    <a:pt x="765" y="215"/>
                  </a:lnTo>
                  <a:lnTo>
                    <a:pt x="765" y="210"/>
                  </a:lnTo>
                  <a:lnTo>
                    <a:pt x="770" y="203"/>
                  </a:lnTo>
                  <a:lnTo>
                    <a:pt x="771" y="202"/>
                  </a:lnTo>
                  <a:lnTo>
                    <a:pt x="768" y="196"/>
                  </a:lnTo>
                  <a:lnTo>
                    <a:pt x="765" y="189"/>
                  </a:lnTo>
                  <a:lnTo>
                    <a:pt x="767" y="183"/>
                  </a:lnTo>
                  <a:lnTo>
                    <a:pt x="771" y="180"/>
                  </a:lnTo>
                  <a:lnTo>
                    <a:pt x="774" y="179"/>
                  </a:lnTo>
                  <a:lnTo>
                    <a:pt x="774" y="178"/>
                  </a:lnTo>
                  <a:lnTo>
                    <a:pt x="774" y="159"/>
                  </a:lnTo>
                  <a:lnTo>
                    <a:pt x="771" y="153"/>
                  </a:lnTo>
                  <a:lnTo>
                    <a:pt x="774" y="150"/>
                  </a:lnTo>
                  <a:lnTo>
                    <a:pt x="777" y="150"/>
                  </a:lnTo>
                  <a:lnTo>
                    <a:pt x="785" y="150"/>
                  </a:lnTo>
                  <a:lnTo>
                    <a:pt x="790" y="150"/>
                  </a:lnTo>
                  <a:lnTo>
                    <a:pt x="794" y="149"/>
                  </a:lnTo>
                  <a:lnTo>
                    <a:pt x="801" y="142"/>
                  </a:lnTo>
                  <a:lnTo>
                    <a:pt x="802" y="133"/>
                  </a:lnTo>
                  <a:lnTo>
                    <a:pt x="800" y="130"/>
                  </a:lnTo>
                  <a:lnTo>
                    <a:pt x="791" y="122"/>
                  </a:lnTo>
                  <a:lnTo>
                    <a:pt x="785" y="110"/>
                  </a:lnTo>
                  <a:lnTo>
                    <a:pt x="778" y="112"/>
                  </a:lnTo>
                  <a:lnTo>
                    <a:pt x="777" y="110"/>
                  </a:lnTo>
                  <a:lnTo>
                    <a:pt x="777" y="104"/>
                  </a:lnTo>
                  <a:lnTo>
                    <a:pt x="782" y="100"/>
                  </a:lnTo>
                  <a:lnTo>
                    <a:pt x="785" y="93"/>
                  </a:lnTo>
                  <a:lnTo>
                    <a:pt x="785" y="87"/>
                  </a:lnTo>
                  <a:lnTo>
                    <a:pt x="782" y="83"/>
                  </a:lnTo>
                  <a:lnTo>
                    <a:pt x="778" y="83"/>
                  </a:lnTo>
                  <a:lnTo>
                    <a:pt x="774" y="82"/>
                  </a:lnTo>
                  <a:lnTo>
                    <a:pt x="771" y="77"/>
                  </a:lnTo>
                  <a:lnTo>
                    <a:pt x="771" y="76"/>
                  </a:lnTo>
                  <a:lnTo>
                    <a:pt x="774" y="73"/>
                  </a:lnTo>
                  <a:lnTo>
                    <a:pt x="774" y="70"/>
                  </a:lnTo>
                  <a:lnTo>
                    <a:pt x="770" y="66"/>
                  </a:lnTo>
                  <a:lnTo>
                    <a:pt x="762" y="60"/>
                  </a:lnTo>
                  <a:lnTo>
                    <a:pt x="755" y="57"/>
                  </a:lnTo>
                  <a:lnTo>
                    <a:pt x="749" y="53"/>
                  </a:lnTo>
                  <a:lnTo>
                    <a:pt x="748" y="44"/>
                  </a:lnTo>
                  <a:lnTo>
                    <a:pt x="745" y="39"/>
                  </a:lnTo>
                  <a:lnTo>
                    <a:pt x="742" y="33"/>
                  </a:lnTo>
                  <a:lnTo>
                    <a:pt x="738" y="33"/>
                  </a:lnTo>
                  <a:lnTo>
                    <a:pt x="732" y="33"/>
                  </a:lnTo>
                  <a:lnTo>
                    <a:pt x="719" y="24"/>
                  </a:lnTo>
                  <a:lnTo>
                    <a:pt x="714" y="19"/>
                  </a:lnTo>
                  <a:lnTo>
                    <a:pt x="699" y="10"/>
                  </a:lnTo>
                  <a:lnTo>
                    <a:pt x="686" y="6"/>
                  </a:lnTo>
                  <a:lnTo>
                    <a:pt x="675" y="4"/>
                  </a:lnTo>
                  <a:lnTo>
                    <a:pt x="666" y="0"/>
                  </a:lnTo>
                  <a:lnTo>
                    <a:pt x="659" y="3"/>
                  </a:lnTo>
                  <a:lnTo>
                    <a:pt x="652" y="3"/>
                  </a:lnTo>
                  <a:lnTo>
                    <a:pt x="642" y="3"/>
                  </a:lnTo>
                  <a:lnTo>
                    <a:pt x="633" y="1"/>
                  </a:lnTo>
                  <a:lnTo>
                    <a:pt x="629" y="6"/>
                  </a:lnTo>
                  <a:lnTo>
                    <a:pt x="621" y="7"/>
                  </a:lnTo>
                  <a:lnTo>
                    <a:pt x="618" y="9"/>
                  </a:lnTo>
                  <a:lnTo>
                    <a:pt x="621" y="14"/>
                  </a:lnTo>
                  <a:lnTo>
                    <a:pt x="622" y="19"/>
                  </a:lnTo>
                  <a:lnTo>
                    <a:pt x="619" y="23"/>
                  </a:lnTo>
                  <a:lnTo>
                    <a:pt x="621" y="26"/>
                  </a:lnTo>
                  <a:lnTo>
                    <a:pt x="619" y="30"/>
                  </a:lnTo>
                  <a:lnTo>
                    <a:pt x="613" y="26"/>
                  </a:lnTo>
                  <a:lnTo>
                    <a:pt x="609" y="30"/>
                  </a:lnTo>
                  <a:lnTo>
                    <a:pt x="602" y="26"/>
                  </a:lnTo>
                  <a:lnTo>
                    <a:pt x="598" y="30"/>
                  </a:lnTo>
                  <a:lnTo>
                    <a:pt x="598" y="40"/>
                  </a:lnTo>
                  <a:lnTo>
                    <a:pt x="593" y="41"/>
                  </a:lnTo>
                  <a:lnTo>
                    <a:pt x="586" y="39"/>
                  </a:lnTo>
                  <a:lnTo>
                    <a:pt x="575" y="39"/>
                  </a:lnTo>
                  <a:lnTo>
                    <a:pt x="570" y="41"/>
                  </a:lnTo>
                  <a:lnTo>
                    <a:pt x="559" y="57"/>
                  </a:lnTo>
                  <a:lnTo>
                    <a:pt x="559" y="69"/>
                  </a:lnTo>
                  <a:lnTo>
                    <a:pt x="562" y="73"/>
                  </a:lnTo>
                  <a:lnTo>
                    <a:pt x="566" y="79"/>
                  </a:lnTo>
                  <a:lnTo>
                    <a:pt x="566" y="84"/>
                  </a:lnTo>
                  <a:lnTo>
                    <a:pt x="563" y="93"/>
                  </a:lnTo>
                  <a:lnTo>
                    <a:pt x="563" y="104"/>
                  </a:lnTo>
                  <a:lnTo>
                    <a:pt x="562" y="115"/>
                  </a:lnTo>
                  <a:lnTo>
                    <a:pt x="552" y="122"/>
                  </a:lnTo>
                  <a:lnTo>
                    <a:pt x="546" y="127"/>
                  </a:lnTo>
                  <a:lnTo>
                    <a:pt x="538" y="126"/>
                  </a:lnTo>
                  <a:lnTo>
                    <a:pt x="532" y="119"/>
                  </a:lnTo>
                  <a:lnTo>
                    <a:pt x="529" y="113"/>
                  </a:lnTo>
                  <a:lnTo>
                    <a:pt x="526" y="107"/>
                  </a:lnTo>
                  <a:lnTo>
                    <a:pt x="523" y="106"/>
                  </a:lnTo>
                  <a:lnTo>
                    <a:pt x="520" y="103"/>
                  </a:lnTo>
                  <a:lnTo>
                    <a:pt x="519" y="99"/>
                  </a:lnTo>
                  <a:lnTo>
                    <a:pt x="516" y="97"/>
                  </a:lnTo>
                  <a:lnTo>
                    <a:pt x="513" y="100"/>
                  </a:lnTo>
                  <a:lnTo>
                    <a:pt x="512" y="107"/>
                  </a:lnTo>
                  <a:lnTo>
                    <a:pt x="515" y="116"/>
                  </a:lnTo>
                  <a:lnTo>
                    <a:pt x="516" y="123"/>
                  </a:lnTo>
                  <a:lnTo>
                    <a:pt x="512" y="127"/>
                  </a:lnTo>
                  <a:lnTo>
                    <a:pt x="506" y="126"/>
                  </a:lnTo>
                  <a:lnTo>
                    <a:pt x="505" y="120"/>
                  </a:lnTo>
                  <a:lnTo>
                    <a:pt x="503" y="115"/>
                  </a:lnTo>
                  <a:lnTo>
                    <a:pt x="497" y="109"/>
                  </a:lnTo>
                  <a:lnTo>
                    <a:pt x="489" y="106"/>
                  </a:lnTo>
                  <a:lnTo>
                    <a:pt x="485" y="106"/>
                  </a:lnTo>
                  <a:lnTo>
                    <a:pt x="480" y="109"/>
                  </a:lnTo>
                  <a:lnTo>
                    <a:pt x="476" y="119"/>
                  </a:lnTo>
                  <a:lnTo>
                    <a:pt x="467" y="119"/>
                  </a:lnTo>
                  <a:lnTo>
                    <a:pt x="462" y="113"/>
                  </a:lnTo>
                  <a:lnTo>
                    <a:pt x="457" y="115"/>
                  </a:lnTo>
                  <a:lnTo>
                    <a:pt x="456" y="116"/>
                  </a:lnTo>
                  <a:lnTo>
                    <a:pt x="459" y="122"/>
                  </a:lnTo>
                  <a:lnTo>
                    <a:pt x="460" y="130"/>
                  </a:lnTo>
                  <a:lnTo>
                    <a:pt x="462" y="143"/>
                  </a:lnTo>
                  <a:lnTo>
                    <a:pt x="469" y="149"/>
                  </a:lnTo>
                  <a:lnTo>
                    <a:pt x="472" y="153"/>
                  </a:lnTo>
                  <a:lnTo>
                    <a:pt x="469" y="156"/>
                  </a:lnTo>
                  <a:lnTo>
                    <a:pt x="460" y="155"/>
                  </a:lnTo>
                  <a:lnTo>
                    <a:pt x="452" y="150"/>
                  </a:lnTo>
                  <a:lnTo>
                    <a:pt x="447" y="152"/>
                  </a:lnTo>
                  <a:lnTo>
                    <a:pt x="444" y="155"/>
                  </a:lnTo>
                  <a:lnTo>
                    <a:pt x="443" y="165"/>
                  </a:lnTo>
                  <a:lnTo>
                    <a:pt x="440" y="169"/>
                  </a:lnTo>
                  <a:lnTo>
                    <a:pt x="439" y="175"/>
                  </a:lnTo>
                  <a:lnTo>
                    <a:pt x="439" y="185"/>
                  </a:lnTo>
                  <a:lnTo>
                    <a:pt x="436" y="189"/>
                  </a:lnTo>
                  <a:lnTo>
                    <a:pt x="432" y="190"/>
                  </a:lnTo>
                  <a:lnTo>
                    <a:pt x="429" y="188"/>
                  </a:lnTo>
                  <a:lnTo>
                    <a:pt x="429" y="183"/>
                  </a:lnTo>
                  <a:lnTo>
                    <a:pt x="429" y="180"/>
                  </a:lnTo>
                  <a:lnTo>
                    <a:pt x="423" y="179"/>
                  </a:lnTo>
                  <a:lnTo>
                    <a:pt x="420" y="179"/>
                  </a:lnTo>
                  <a:lnTo>
                    <a:pt x="416" y="178"/>
                  </a:lnTo>
                  <a:lnTo>
                    <a:pt x="413" y="175"/>
                  </a:lnTo>
                  <a:lnTo>
                    <a:pt x="409" y="173"/>
                  </a:lnTo>
                  <a:lnTo>
                    <a:pt x="404" y="175"/>
                  </a:lnTo>
                  <a:lnTo>
                    <a:pt x="401" y="173"/>
                  </a:lnTo>
                  <a:lnTo>
                    <a:pt x="397" y="172"/>
                  </a:lnTo>
                  <a:lnTo>
                    <a:pt x="396" y="172"/>
                  </a:lnTo>
                  <a:lnTo>
                    <a:pt x="394" y="178"/>
                  </a:lnTo>
                  <a:lnTo>
                    <a:pt x="399" y="183"/>
                  </a:lnTo>
                  <a:lnTo>
                    <a:pt x="394" y="183"/>
                  </a:lnTo>
                  <a:lnTo>
                    <a:pt x="394" y="185"/>
                  </a:lnTo>
                  <a:lnTo>
                    <a:pt x="389" y="189"/>
                  </a:lnTo>
                  <a:lnTo>
                    <a:pt x="381" y="189"/>
                  </a:lnTo>
                  <a:lnTo>
                    <a:pt x="377" y="185"/>
                  </a:lnTo>
                  <a:lnTo>
                    <a:pt x="371" y="182"/>
                  </a:lnTo>
                  <a:lnTo>
                    <a:pt x="359" y="183"/>
                  </a:lnTo>
                  <a:lnTo>
                    <a:pt x="354" y="183"/>
                  </a:lnTo>
                  <a:lnTo>
                    <a:pt x="348" y="182"/>
                  </a:lnTo>
                  <a:lnTo>
                    <a:pt x="347" y="178"/>
                  </a:lnTo>
                  <a:lnTo>
                    <a:pt x="344" y="176"/>
                  </a:lnTo>
                  <a:lnTo>
                    <a:pt x="337" y="173"/>
                  </a:lnTo>
                  <a:lnTo>
                    <a:pt x="331" y="173"/>
                  </a:lnTo>
                  <a:lnTo>
                    <a:pt x="327" y="172"/>
                  </a:lnTo>
                  <a:lnTo>
                    <a:pt x="323" y="167"/>
                  </a:lnTo>
                  <a:lnTo>
                    <a:pt x="320" y="162"/>
                  </a:lnTo>
                  <a:lnTo>
                    <a:pt x="316" y="162"/>
                  </a:lnTo>
                  <a:lnTo>
                    <a:pt x="313" y="167"/>
                  </a:lnTo>
                  <a:lnTo>
                    <a:pt x="306" y="172"/>
                  </a:lnTo>
                  <a:lnTo>
                    <a:pt x="303" y="169"/>
                  </a:lnTo>
                  <a:lnTo>
                    <a:pt x="297" y="162"/>
                  </a:lnTo>
                  <a:lnTo>
                    <a:pt x="294" y="162"/>
                  </a:lnTo>
                  <a:lnTo>
                    <a:pt x="291" y="162"/>
                  </a:lnTo>
                  <a:lnTo>
                    <a:pt x="291" y="166"/>
                  </a:lnTo>
                  <a:lnTo>
                    <a:pt x="284" y="172"/>
                  </a:lnTo>
                  <a:lnTo>
                    <a:pt x="277" y="172"/>
                  </a:lnTo>
                  <a:lnTo>
                    <a:pt x="270" y="172"/>
                  </a:lnTo>
                  <a:lnTo>
                    <a:pt x="268" y="175"/>
                  </a:lnTo>
                  <a:lnTo>
                    <a:pt x="270" y="179"/>
                  </a:lnTo>
                  <a:lnTo>
                    <a:pt x="273" y="189"/>
                  </a:lnTo>
                  <a:lnTo>
                    <a:pt x="273" y="192"/>
                  </a:lnTo>
                  <a:lnTo>
                    <a:pt x="261" y="199"/>
                  </a:lnTo>
                  <a:lnTo>
                    <a:pt x="258" y="203"/>
                  </a:lnTo>
                  <a:lnTo>
                    <a:pt x="258" y="209"/>
                  </a:lnTo>
                  <a:lnTo>
                    <a:pt x="265" y="228"/>
                  </a:lnTo>
                  <a:lnTo>
                    <a:pt x="273" y="232"/>
                  </a:lnTo>
                  <a:lnTo>
                    <a:pt x="277" y="238"/>
                  </a:lnTo>
                  <a:lnTo>
                    <a:pt x="281" y="245"/>
                  </a:lnTo>
                  <a:lnTo>
                    <a:pt x="280" y="248"/>
                  </a:lnTo>
                  <a:lnTo>
                    <a:pt x="277" y="251"/>
                  </a:lnTo>
                  <a:lnTo>
                    <a:pt x="277" y="253"/>
                  </a:lnTo>
                  <a:lnTo>
                    <a:pt x="281" y="255"/>
                  </a:lnTo>
                  <a:lnTo>
                    <a:pt x="285" y="259"/>
                  </a:lnTo>
                  <a:lnTo>
                    <a:pt x="281" y="272"/>
                  </a:lnTo>
                  <a:lnTo>
                    <a:pt x="278" y="273"/>
                  </a:lnTo>
                  <a:lnTo>
                    <a:pt x="271" y="279"/>
                  </a:lnTo>
                  <a:lnTo>
                    <a:pt x="273" y="284"/>
                  </a:lnTo>
                  <a:lnTo>
                    <a:pt x="278" y="285"/>
                  </a:lnTo>
                  <a:lnTo>
                    <a:pt x="283" y="289"/>
                  </a:lnTo>
                  <a:lnTo>
                    <a:pt x="287" y="294"/>
                  </a:lnTo>
                  <a:lnTo>
                    <a:pt x="288" y="302"/>
                  </a:lnTo>
                  <a:lnTo>
                    <a:pt x="287" y="314"/>
                  </a:lnTo>
                  <a:lnTo>
                    <a:pt x="287" y="325"/>
                  </a:lnTo>
                  <a:lnTo>
                    <a:pt x="288" y="328"/>
                  </a:lnTo>
                  <a:lnTo>
                    <a:pt x="293" y="335"/>
                  </a:lnTo>
                  <a:lnTo>
                    <a:pt x="287" y="339"/>
                  </a:lnTo>
                  <a:lnTo>
                    <a:pt x="290" y="345"/>
                  </a:lnTo>
                  <a:lnTo>
                    <a:pt x="294" y="364"/>
                  </a:lnTo>
                  <a:lnTo>
                    <a:pt x="291" y="368"/>
                  </a:lnTo>
                  <a:lnTo>
                    <a:pt x="284" y="365"/>
                  </a:lnTo>
                  <a:lnTo>
                    <a:pt x="280" y="367"/>
                  </a:lnTo>
                  <a:lnTo>
                    <a:pt x="280" y="371"/>
                  </a:lnTo>
                  <a:lnTo>
                    <a:pt x="281" y="377"/>
                  </a:lnTo>
                  <a:lnTo>
                    <a:pt x="280" y="381"/>
                  </a:lnTo>
                  <a:lnTo>
                    <a:pt x="275" y="387"/>
                  </a:lnTo>
                  <a:lnTo>
                    <a:pt x="270" y="387"/>
                  </a:lnTo>
                  <a:lnTo>
                    <a:pt x="267" y="389"/>
                  </a:lnTo>
                  <a:lnTo>
                    <a:pt x="267" y="395"/>
                  </a:lnTo>
                  <a:lnTo>
                    <a:pt x="268" y="400"/>
                  </a:lnTo>
                  <a:lnTo>
                    <a:pt x="267" y="404"/>
                  </a:lnTo>
                  <a:lnTo>
                    <a:pt x="261" y="414"/>
                  </a:lnTo>
                  <a:lnTo>
                    <a:pt x="258" y="418"/>
                  </a:lnTo>
                  <a:lnTo>
                    <a:pt x="253" y="414"/>
                  </a:lnTo>
                  <a:lnTo>
                    <a:pt x="253" y="420"/>
                  </a:lnTo>
                  <a:lnTo>
                    <a:pt x="253" y="424"/>
                  </a:lnTo>
                  <a:lnTo>
                    <a:pt x="255" y="431"/>
                  </a:lnTo>
                  <a:lnTo>
                    <a:pt x="260" y="434"/>
                  </a:lnTo>
                  <a:lnTo>
                    <a:pt x="264" y="432"/>
                  </a:lnTo>
                  <a:lnTo>
                    <a:pt x="267" y="434"/>
                  </a:lnTo>
                  <a:lnTo>
                    <a:pt x="267" y="438"/>
                  </a:lnTo>
                  <a:lnTo>
                    <a:pt x="263" y="444"/>
                  </a:lnTo>
                  <a:lnTo>
                    <a:pt x="255" y="450"/>
                  </a:lnTo>
                  <a:lnTo>
                    <a:pt x="251" y="461"/>
                  </a:lnTo>
                  <a:lnTo>
                    <a:pt x="250" y="467"/>
                  </a:lnTo>
                  <a:lnTo>
                    <a:pt x="257" y="480"/>
                  </a:lnTo>
                  <a:lnTo>
                    <a:pt x="258" y="493"/>
                  </a:lnTo>
                  <a:lnTo>
                    <a:pt x="260" y="508"/>
                  </a:lnTo>
                  <a:lnTo>
                    <a:pt x="265" y="510"/>
                  </a:lnTo>
                  <a:lnTo>
                    <a:pt x="274" y="514"/>
                  </a:lnTo>
                  <a:lnTo>
                    <a:pt x="285" y="518"/>
                  </a:lnTo>
                  <a:lnTo>
                    <a:pt x="290" y="518"/>
                  </a:lnTo>
                  <a:lnTo>
                    <a:pt x="293" y="523"/>
                  </a:lnTo>
                  <a:lnTo>
                    <a:pt x="294" y="527"/>
                  </a:lnTo>
                  <a:lnTo>
                    <a:pt x="293" y="531"/>
                  </a:lnTo>
                  <a:lnTo>
                    <a:pt x="291" y="534"/>
                  </a:lnTo>
                  <a:lnTo>
                    <a:pt x="291" y="540"/>
                  </a:lnTo>
                  <a:lnTo>
                    <a:pt x="301" y="544"/>
                  </a:lnTo>
                  <a:lnTo>
                    <a:pt x="307" y="547"/>
                  </a:lnTo>
                  <a:lnTo>
                    <a:pt x="308" y="560"/>
                  </a:lnTo>
                  <a:lnTo>
                    <a:pt x="314" y="569"/>
                  </a:lnTo>
                  <a:lnTo>
                    <a:pt x="314" y="583"/>
                  </a:lnTo>
                  <a:lnTo>
                    <a:pt x="314" y="587"/>
                  </a:lnTo>
                  <a:lnTo>
                    <a:pt x="323" y="593"/>
                  </a:lnTo>
                  <a:lnTo>
                    <a:pt x="327" y="599"/>
                  </a:lnTo>
                  <a:lnTo>
                    <a:pt x="326" y="606"/>
                  </a:lnTo>
                  <a:lnTo>
                    <a:pt x="328" y="609"/>
                  </a:lnTo>
                  <a:lnTo>
                    <a:pt x="334" y="610"/>
                  </a:lnTo>
                  <a:lnTo>
                    <a:pt x="338" y="613"/>
                  </a:lnTo>
                  <a:lnTo>
                    <a:pt x="347" y="633"/>
                  </a:lnTo>
                  <a:lnTo>
                    <a:pt x="346" y="636"/>
                  </a:lnTo>
                  <a:lnTo>
                    <a:pt x="350" y="646"/>
                  </a:lnTo>
                  <a:lnTo>
                    <a:pt x="346" y="656"/>
                  </a:lnTo>
                  <a:lnTo>
                    <a:pt x="344" y="659"/>
                  </a:lnTo>
                  <a:lnTo>
                    <a:pt x="341" y="660"/>
                  </a:lnTo>
                  <a:lnTo>
                    <a:pt x="341" y="666"/>
                  </a:lnTo>
                  <a:lnTo>
                    <a:pt x="343" y="670"/>
                  </a:lnTo>
                  <a:lnTo>
                    <a:pt x="346" y="673"/>
                  </a:lnTo>
                  <a:lnTo>
                    <a:pt x="346" y="674"/>
                  </a:lnTo>
                  <a:lnTo>
                    <a:pt x="341" y="676"/>
                  </a:lnTo>
                  <a:lnTo>
                    <a:pt x="330" y="674"/>
                  </a:lnTo>
                  <a:lnTo>
                    <a:pt x="323" y="673"/>
                  </a:lnTo>
                  <a:lnTo>
                    <a:pt x="318" y="682"/>
                  </a:lnTo>
                  <a:lnTo>
                    <a:pt x="318" y="695"/>
                  </a:lnTo>
                  <a:lnTo>
                    <a:pt x="318" y="699"/>
                  </a:lnTo>
                  <a:lnTo>
                    <a:pt x="321" y="703"/>
                  </a:lnTo>
                  <a:lnTo>
                    <a:pt x="326" y="709"/>
                  </a:lnTo>
                  <a:lnTo>
                    <a:pt x="327" y="713"/>
                  </a:lnTo>
                  <a:lnTo>
                    <a:pt x="326" y="716"/>
                  </a:lnTo>
                  <a:lnTo>
                    <a:pt x="324" y="720"/>
                  </a:lnTo>
                  <a:lnTo>
                    <a:pt x="321" y="725"/>
                  </a:lnTo>
                  <a:lnTo>
                    <a:pt x="321" y="729"/>
                  </a:lnTo>
                  <a:lnTo>
                    <a:pt x="321" y="733"/>
                  </a:lnTo>
                  <a:lnTo>
                    <a:pt x="317" y="739"/>
                  </a:lnTo>
                  <a:lnTo>
                    <a:pt x="310" y="746"/>
                  </a:lnTo>
                  <a:lnTo>
                    <a:pt x="306" y="756"/>
                  </a:lnTo>
                  <a:lnTo>
                    <a:pt x="300" y="763"/>
                  </a:lnTo>
                  <a:lnTo>
                    <a:pt x="297" y="769"/>
                  </a:lnTo>
                  <a:lnTo>
                    <a:pt x="293" y="772"/>
                  </a:lnTo>
                  <a:lnTo>
                    <a:pt x="290" y="772"/>
                  </a:lnTo>
                  <a:lnTo>
                    <a:pt x="287" y="772"/>
                  </a:lnTo>
                  <a:lnTo>
                    <a:pt x="281" y="778"/>
                  </a:lnTo>
                  <a:lnTo>
                    <a:pt x="274" y="779"/>
                  </a:lnTo>
                  <a:lnTo>
                    <a:pt x="268" y="780"/>
                  </a:lnTo>
                  <a:lnTo>
                    <a:pt x="264" y="782"/>
                  </a:lnTo>
                  <a:lnTo>
                    <a:pt x="258" y="782"/>
                  </a:lnTo>
                  <a:lnTo>
                    <a:pt x="255" y="780"/>
                  </a:lnTo>
                  <a:lnTo>
                    <a:pt x="254" y="782"/>
                  </a:lnTo>
                  <a:lnTo>
                    <a:pt x="251" y="785"/>
                  </a:lnTo>
                  <a:lnTo>
                    <a:pt x="247" y="786"/>
                  </a:lnTo>
                  <a:lnTo>
                    <a:pt x="240" y="786"/>
                  </a:lnTo>
                  <a:lnTo>
                    <a:pt x="235" y="786"/>
                  </a:lnTo>
                  <a:lnTo>
                    <a:pt x="228" y="786"/>
                  </a:lnTo>
                  <a:lnTo>
                    <a:pt x="224" y="788"/>
                  </a:lnTo>
                  <a:lnTo>
                    <a:pt x="220" y="788"/>
                  </a:lnTo>
                  <a:lnTo>
                    <a:pt x="215" y="788"/>
                  </a:lnTo>
                  <a:lnTo>
                    <a:pt x="214" y="788"/>
                  </a:lnTo>
                  <a:lnTo>
                    <a:pt x="212" y="789"/>
                  </a:lnTo>
                  <a:lnTo>
                    <a:pt x="212" y="791"/>
                  </a:lnTo>
                  <a:lnTo>
                    <a:pt x="210" y="793"/>
                  </a:lnTo>
                  <a:lnTo>
                    <a:pt x="207" y="796"/>
                  </a:lnTo>
                  <a:lnTo>
                    <a:pt x="204" y="796"/>
                  </a:lnTo>
                  <a:lnTo>
                    <a:pt x="204" y="798"/>
                  </a:lnTo>
                  <a:lnTo>
                    <a:pt x="202" y="803"/>
                  </a:lnTo>
                  <a:lnTo>
                    <a:pt x="201" y="806"/>
                  </a:lnTo>
                  <a:lnTo>
                    <a:pt x="198" y="813"/>
                  </a:lnTo>
                  <a:lnTo>
                    <a:pt x="195" y="818"/>
                  </a:lnTo>
                  <a:lnTo>
                    <a:pt x="195" y="825"/>
                  </a:lnTo>
                  <a:lnTo>
                    <a:pt x="194" y="831"/>
                  </a:lnTo>
                  <a:lnTo>
                    <a:pt x="195" y="833"/>
                  </a:lnTo>
                  <a:lnTo>
                    <a:pt x="197" y="838"/>
                  </a:lnTo>
                  <a:lnTo>
                    <a:pt x="198" y="841"/>
                  </a:lnTo>
                  <a:lnTo>
                    <a:pt x="200" y="848"/>
                  </a:lnTo>
                  <a:lnTo>
                    <a:pt x="202" y="856"/>
                  </a:lnTo>
                  <a:lnTo>
                    <a:pt x="202" y="859"/>
                  </a:lnTo>
                  <a:lnTo>
                    <a:pt x="204" y="864"/>
                  </a:lnTo>
                  <a:lnTo>
                    <a:pt x="202" y="868"/>
                  </a:lnTo>
                  <a:lnTo>
                    <a:pt x="202" y="868"/>
                  </a:lnTo>
                  <a:lnTo>
                    <a:pt x="201" y="871"/>
                  </a:lnTo>
                  <a:lnTo>
                    <a:pt x="198" y="876"/>
                  </a:lnTo>
                  <a:lnTo>
                    <a:pt x="195" y="878"/>
                  </a:lnTo>
                  <a:lnTo>
                    <a:pt x="191" y="878"/>
                  </a:lnTo>
                  <a:lnTo>
                    <a:pt x="184" y="878"/>
                  </a:lnTo>
                  <a:lnTo>
                    <a:pt x="181" y="878"/>
                  </a:lnTo>
                  <a:lnTo>
                    <a:pt x="178" y="878"/>
                  </a:lnTo>
                  <a:lnTo>
                    <a:pt x="175" y="879"/>
                  </a:lnTo>
                  <a:lnTo>
                    <a:pt x="171" y="881"/>
                  </a:lnTo>
                  <a:lnTo>
                    <a:pt x="167" y="879"/>
                  </a:lnTo>
                  <a:lnTo>
                    <a:pt x="159" y="879"/>
                  </a:lnTo>
                  <a:lnTo>
                    <a:pt x="155" y="879"/>
                  </a:lnTo>
                  <a:lnTo>
                    <a:pt x="151" y="882"/>
                  </a:lnTo>
                  <a:lnTo>
                    <a:pt x="148" y="885"/>
                  </a:lnTo>
                  <a:lnTo>
                    <a:pt x="147" y="891"/>
                  </a:lnTo>
                  <a:lnTo>
                    <a:pt x="144" y="896"/>
                  </a:lnTo>
                  <a:lnTo>
                    <a:pt x="139" y="898"/>
                  </a:lnTo>
                  <a:lnTo>
                    <a:pt x="134" y="896"/>
                  </a:lnTo>
                  <a:lnTo>
                    <a:pt x="129" y="898"/>
                  </a:lnTo>
                  <a:lnTo>
                    <a:pt x="105" y="902"/>
                  </a:lnTo>
                  <a:lnTo>
                    <a:pt x="98" y="904"/>
                  </a:lnTo>
                  <a:lnTo>
                    <a:pt x="96" y="908"/>
                  </a:lnTo>
                  <a:lnTo>
                    <a:pt x="91" y="915"/>
                  </a:lnTo>
                  <a:lnTo>
                    <a:pt x="86" y="919"/>
                  </a:lnTo>
                  <a:lnTo>
                    <a:pt x="79" y="921"/>
                  </a:lnTo>
                  <a:lnTo>
                    <a:pt x="72" y="919"/>
                  </a:lnTo>
                  <a:lnTo>
                    <a:pt x="69" y="915"/>
                  </a:lnTo>
                  <a:lnTo>
                    <a:pt x="66" y="915"/>
                  </a:lnTo>
                  <a:lnTo>
                    <a:pt x="63" y="918"/>
                  </a:lnTo>
                  <a:lnTo>
                    <a:pt x="61" y="921"/>
                  </a:lnTo>
                  <a:lnTo>
                    <a:pt x="58" y="922"/>
                  </a:lnTo>
                  <a:lnTo>
                    <a:pt x="53" y="925"/>
                  </a:lnTo>
                  <a:lnTo>
                    <a:pt x="53" y="928"/>
                  </a:lnTo>
                  <a:lnTo>
                    <a:pt x="53" y="932"/>
                  </a:lnTo>
                  <a:lnTo>
                    <a:pt x="53" y="937"/>
                  </a:lnTo>
                  <a:lnTo>
                    <a:pt x="52" y="939"/>
                  </a:lnTo>
                  <a:lnTo>
                    <a:pt x="48" y="942"/>
                  </a:lnTo>
                  <a:lnTo>
                    <a:pt x="45" y="944"/>
                  </a:lnTo>
                  <a:lnTo>
                    <a:pt x="43" y="947"/>
                  </a:lnTo>
                  <a:lnTo>
                    <a:pt x="41" y="948"/>
                  </a:lnTo>
                  <a:lnTo>
                    <a:pt x="36" y="954"/>
                  </a:lnTo>
                  <a:lnTo>
                    <a:pt x="35" y="958"/>
                  </a:lnTo>
                  <a:lnTo>
                    <a:pt x="36" y="965"/>
                  </a:lnTo>
                  <a:lnTo>
                    <a:pt x="36" y="970"/>
                  </a:lnTo>
                  <a:lnTo>
                    <a:pt x="36" y="974"/>
                  </a:lnTo>
                  <a:lnTo>
                    <a:pt x="36" y="978"/>
                  </a:lnTo>
                  <a:lnTo>
                    <a:pt x="35" y="980"/>
                  </a:lnTo>
                  <a:lnTo>
                    <a:pt x="35" y="984"/>
                  </a:lnTo>
                  <a:lnTo>
                    <a:pt x="36" y="985"/>
                  </a:lnTo>
                  <a:lnTo>
                    <a:pt x="41" y="984"/>
                  </a:lnTo>
                  <a:lnTo>
                    <a:pt x="43" y="984"/>
                  </a:lnTo>
                  <a:lnTo>
                    <a:pt x="43" y="987"/>
                  </a:lnTo>
                  <a:lnTo>
                    <a:pt x="43" y="994"/>
                  </a:lnTo>
                  <a:lnTo>
                    <a:pt x="43" y="1001"/>
                  </a:lnTo>
                  <a:lnTo>
                    <a:pt x="41" y="1004"/>
                  </a:lnTo>
                  <a:lnTo>
                    <a:pt x="38" y="1004"/>
                  </a:lnTo>
                  <a:lnTo>
                    <a:pt x="33" y="1005"/>
                  </a:lnTo>
                  <a:lnTo>
                    <a:pt x="32" y="1010"/>
                  </a:lnTo>
                  <a:lnTo>
                    <a:pt x="32" y="1015"/>
                  </a:lnTo>
                  <a:lnTo>
                    <a:pt x="32" y="1021"/>
                  </a:lnTo>
                  <a:lnTo>
                    <a:pt x="33" y="1025"/>
                  </a:lnTo>
                  <a:lnTo>
                    <a:pt x="36" y="1030"/>
                  </a:lnTo>
                  <a:lnTo>
                    <a:pt x="39" y="1033"/>
                  </a:lnTo>
                  <a:lnTo>
                    <a:pt x="42" y="1040"/>
                  </a:lnTo>
                  <a:lnTo>
                    <a:pt x="45" y="1045"/>
                  </a:lnTo>
                  <a:lnTo>
                    <a:pt x="45" y="1051"/>
                  </a:lnTo>
                  <a:lnTo>
                    <a:pt x="43" y="1057"/>
                  </a:lnTo>
                  <a:lnTo>
                    <a:pt x="42" y="1060"/>
                  </a:lnTo>
                  <a:lnTo>
                    <a:pt x="43" y="1065"/>
                  </a:lnTo>
                  <a:lnTo>
                    <a:pt x="43" y="1073"/>
                  </a:lnTo>
                  <a:lnTo>
                    <a:pt x="42" y="1077"/>
                  </a:lnTo>
                  <a:lnTo>
                    <a:pt x="36" y="1077"/>
                  </a:lnTo>
                  <a:lnTo>
                    <a:pt x="31" y="1078"/>
                  </a:lnTo>
                  <a:lnTo>
                    <a:pt x="29" y="1080"/>
                  </a:lnTo>
                  <a:lnTo>
                    <a:pt x="29" y="1084"/>
                  </a:lnTo>
                  <a:lnTo>
                    <a:pt x="32" y="1087"/>
                  </a:lnTo>
                  <a:lnTo>
                    <a:pt x="36" y="1093"/>
                  </a:lnTo>
                  <a:lnTo>
                    <a:pt x="42" y="1096"/>
                  </a:lnTo>
                  <a:lnTo>
                    <a:pt x="48" y="1100"/>
                  </a:lnTo>
                  <a:lnTo>
                    <a:pt x="51" y="1104"/>
                  </a:lnTo>
                  <a:lnTo>
                    <a:pt x="52" y="1110"/>
                  </a:lnTo>
                  <a:lnTo>
                    <a:pt x="51" y="1114"/>
                  </a:lnTo>
                  <a:lnTo>
                    <a:pt x="48" y="1117"/>
                  </a:lnTo>
                  <a:lnTo>
                    <a:pt x="42" y="1121"/>
                  </a:lnTo>
                  <a:lnTo>
                    <a:pt x="41" y="1127"/>
                  </a:lnTo>
                  <a:lnTo>
                    <a:pt x="41" y="1131"/>
                  </a:lnTo>
                  <a:lnTo>
                    <a:pt x="45" y="1137"/>
                  </a:lnTo>
                  <a:lnTo>
                    <a:pt x="51" y="1141"/>
                  </a:lnTo>
                  <a:lnTo>
                    <a:pt x="52" y="1149"/>
                  </a:lnTo>
                  <a:lnTo>
                    <a:pt x="52" y="1153"/>
                  </a:lnTo>
                  <a:lnTo>
                    <a:pt x="51" y="1154"/>
                  </a:lnTo>
                  <a:lnTo>
                    <a:pt x="46" y="1153"/>
                  </a:lnTo>
                  <a:lnTo>
                    <a:pt x="41" y="1151"/>
                  </a:lnTo>
                  <a:lnTo>
                    <a:pt x="33" y="1149"/>
                  </a:lnTo>
                  <a:lnTo>
                    <a:pt x="28" y="1147"/>
                  </a:lnTo>
                  <a:lnTo>
                    <a:pt x="23" y="1147"/>
                  </a:lnTo>
                  <a:lnTo>
                    <a:pt x="16" y="1150"/>
                  </a:lnTo>
                  <a:lnTo>
                    <a:pt x="8" y="1151"/>
                  </a:lnTo>
                  <a:lnTo>
                    <a:pt x="2" y="1154"/>
                  </a:lnTo>
                  <a:lnTo>
                    <a:pt x="0" y="1157"/>
                  </a:lnTo>
                  <a:lnTo>
                    <a:pt x="0" y="1161"/>
                  </a:lnTo>
                  <a:lnTo>
                    <a:pt x="3" y="1166"/>
                  </a:lnTo>
                  <a:lnTo>
                    <a:pt x="8" y="1170"/>
                  </a:lnTo>
                  <a:lnTo>
                    <a:pt x="13" y="1171"/>
                  </a:lnTo>
                  <a:lnTo>
                    <a:pt x="19" y="1171"/>
                  </a:lnTo>
                  <a:lnTo>
                    <a:pt x="22" y="1171"/>
                  </a:lnTo>
                  <a:lnTo>
                    <a:pt x="23" y="1174"/>
                  </a:lnTo>
                  <a:lnTo>
                    <a:pt x="23" y="1177"/>
                  </a:lnTo>
                  <a:lnTo>
                    <a:pt x="25" y="1179"/>
                  </a:lnTo>
                  <a:lnTo>
                    <a:pt x="31" y="1181"/>
                  </a:lnTo>
                  <a:lnTo>
                    <a:pt x="38" y="1183"/>
                  </a:lnTo>
                  <a:lnTo>
                    <a:pt x="43" y="1186"/>
                  </a:lnTo>
                  <a:lnTo>
                    <a:pt x="45" y="1187"/>
                  </a:lnTo>
                  <a:lnTo>
                    <a:pt x="46" y="1190"/>
                  </a:lnTo>
                  <a:lnTo>
                    <a:pt x="49" y="1192"/>
                  </a:lnTo>
                  <a:lnTo>
                    <a:pt x="55" y="1192"/>
                  </a:lnTo>
                  <a:lnTo>
                    <a:pt x="59" y="1194"/>
                  </a:lnTo>
                  <a:lnTo>
                    <a:pt x="65" y="1197"/>
                  </a:lnTo>
                  <a:lnTo>
                    <a:pt x="71" y="1200"/>
                  </a:lnTo>
                  <a:lnTo>
                    <a:pt x="78" y="1202"/>
                  </a:lnTo>
                  <a:lnTo>
                    <a:pt x="81" y="1203"/>
                  </a:lnTo>
                  <a:lnTo>
                    <a:pt x="82" y="1209"/>
                  </a:lnTo>
                  <a:lnTo>
                    <a:pt x="81" y="1212"/>
                  </a:lnTo>
                  <a:lnTo>
                    <a:pt x="79" y="1217"/>
                  </a:lnTo>
                  <a:lnTo>
                    <a:pt x="71" y="1226"/>
                  </a:lnTo>
                  <a:lnTo>
                    <a:pt x="69" y="1229"/>
                  </a:lnTo>
                  <a:lnTo>
                    <a:pt x="69" y="1232"/>
                  </a:lnTo>
                  <a:lnTo>
                    <a:pt x="72" y="1236"/>
                  </a:lnTo>
                  <a:lnTo>
                    <a:pt x="74" y="1240"/>
                  </a:lnTo>
                  <a:lnTo>
                    <a:pt x="72" y="1247"/>
                  </a:lnTo>
                  <a:lnTo>
                    <a:pt x="68" y="1256"/>
                  </a:lnTo>
                  <a:lnTo>
                    <a:pt x="68" y="1262"/>
                  </a:lnTo>
                  <a:lnTo>
                    <a:pt x="71" y="1267"/>
                  </a:lnTo>
                  <a:lnTo>
                    <a:pt x="74" y="1272"/>
                  </a:lnTo>
                  <a:lnTo>
                    <a:pt x="72" y="1276"/>
                  </a:lnTo>
                  <a:lnTo>
                    <a:pt x="68" y="1280"/>
                  </a:lnTo>
                  <a:lnTo>
                    <a:pt x="68" y="1283"/>
                  </a:lnTo>
                  <a:lnTo>
                    <a:pt x="68" y="1286"/>
                  </a:lnTo>
                  <a:lnTo>
                    <a:pt x="68" y="1289"/>
                  </a:lnTo>
                  <a:lnTo>
                    <a:pt x="69" y="1283"/>
                  </a:lnTo>
                  <a:lnTo>
                    <a:pt x="69" y="1283"/>
                  </a:lnTo>
                  <a:lnTo>
                    <a:pt x="68" y="1287"/>
                  </a:lnTo>
                  <a:lnTo>
                    <a:pt x="66" y="1290"/>
                  </a:lnTo>
                  <a:lnTo>
                    <a:pt x="62" y="1292"/>
                  </a:lnTo>
                  <a:lnTo>
                    <a:pt x="58" y="1292"/>
                  </a:lnTo>
                  <a:lnTo>
                    <a:pt x="58" y="1292"/>
                  </a:lnTo>
                  <a:lnTo>
                    <a:pt x="52" y="1293"/>
                  </a:lnTo>
                  <a:lnTo>
                    <a:pt x="49" y="1295"/>
                  </a:lnTo>
                  <a:lnTo>
                    <a:pt x="48" y="1298"/>
                  </a:lnTo>
                  <a:lnTo>
                    <a:pt x="49" y="1302"/>
                  </a:lnTo>
                  <a:lnTo>
                    <a:pt x="51" y="1305"/>
                  </a:lnTo>
                  <a:lnTo>
                    <a:pt x="53" y="1308"/>
                  </a:lnTo>
                  <a:lnTo>
                    <a:pt x="56" y="1309"/>
                  </a:lnTo>
                  <a:lnTo>
                    <a:pt x="61" y="1310"/>
                  </a:lnTo>
                  <a:lnTo>
                    <a:pt x="75" y="1310"/>
                  </a:lnTo>
                  <a:lnTo>
                    <a:pt x="75" y="1310"/>
                  </a:lnTo>
                  <a:lnTo>
                    <a:pt x="79" y="1310"/>
                  </a:lnTo>
                  <a:lnTo>
                    <a:pt x="82" y="1312"/>
                  </a:lnTo>
                  <a:lnTo>
                    <a:pt x="88" y="1315"/>
                  </a:lnTo>
                  <a:lnTo>
                    <a:pt x="88" y="1315"/>
                  </a:lnTo>
                  <a:lnTo>
                    <a:pt x="94" y="1316"/>
                  </a:lnTo>
                  <a:lnTo>
                    <a:pt x="101" y="1319"/>
                  </a:lnTo>
                  <a:lnTo>
                    <a:pt x="114" y="1326"/>
                  </a:lnTo>
                  <a:lnTo>
                    <a:pt x="125" y="1336"/>
                  </a:lnTo>
                  <a:lnTo>
                    <a:pt x="135" y="1346"/>
                  </a:lnTo>
                  <a:lnTo>
                    <a:pt x="135" y="1346"/>
                  </a:lnTo>
                  <a:lnTo>
                    <a:pt x="137" y="1355"/>
                  </a:lnTo>
                  <a:lnTo>
                    <a:pt x="138" y="1363"/>
                  </a:lnTo>
                  <a:lnTo>
                    <a:pt x="138" y="1373"/>
                  </a:lnTo>
                  <a:lnTo>
                    <a:pt x="137" y="1381"/>
                  </a:lnTo>
                  <a:lnTo>
                    <a:pt x="134" y="1389"/>
                  </a:lnTo>
                  <a:lnTo>
                    <a:pt x="129" y="1395"/>
                  </a:lnTo>
                  <a:lnTo>
                    <a:pt x="122" y="1399"/>
                  </a:lnTo>
                  <a:lnTo>
                    <a:pt x="114" y="1402"/>
                  </a:lnTo>
                  <a:lnTo>
                    <a:pt x="114" y="1402"/>
                  </a:lnTo>
                  <a:lnTo>
                    <a:pt x="109" y="1403"/>
                  </a:lnTo>
                  <a:lnTo>
                    <a:pt x="106" y="1405"/>
                  </a:lnTo>
                  <a:lnTo>
                    <a:pt x="105" y="1408"/>
                  </a:lnTo>
                  <a:lnTo>
                    <a:pt x="104" y="1412"/>
                  </a:lnTo>
                  <a:lnTo>
                    <a:pt x="104" y="1421"/>
                  </a:lnTo>
                  <a:lnTo>
                    <a:pt x="106" y="1431"/>
                  </a:lnTo>
                  <a:lnTo>
                    <a:pt x="114" y="1451"/>
                  </a:lnTo>
                  <a:lnTo>
                    <a:pt x="116" y="1459"/>
                  </a:lnTo>
                  <a:lnTo>
                    <a:pt x="118" y="1465"/>
                  </a:lnTo>
                  <a:lnTo>
                    <a:pt x="118" y="1465"/>
                  </a:lnTo>
                  <a:lnTo>
                    <a:pt x="118" y="1491"/>
                  </a:lnTo>
                  <a:lnTo>
                    <a:pt x="119" y="1504"/>
                  </a:lnTo>
                  <a:lnTo>
                    <a:pt x="121" y="1509"/>
                  </a:lnTo>
                  <a:lnTo>
                    <a:pt x="122" y="1514"/>
                  </a:lnTo>
                  <a:lnTo>
                    <a:pt x="122" y="1514"/>
                  </a:lnTo>
                  <a:lnTo>
                    <a:pt x="125" y="1517"/>
                  </a:lnTo>
                  <a:lnTo>
                    <a:pt x="128" y="1519"/>
                  </a:lnTo>
                  <a:lnTo>
                    <a:pt x="134" y="1522"/>
                  </a:lnTo>
                  <a:lnTo>
                    <a:pt x="135" y="1525"/>
                  </a:lnTo>
                  <a:lnTo>
                    <a:pt x="137" y="1528"/>
                  </a:lnTo>
                  <a:lnTo>
                    <a:pt x="138" y="1532"/>
                  </a:lnTo>
                  <a:lnTo>
                    <a:pt x="137" y="1538"/>
                  </a:lnTo>
                  <a:lnTo>
                    <a:pt x="157" y="1541"/>
                  </a:lnTo>
                  <a:lnTo>
                    <a:pt x="164" y="1541"/>
                  </a:lnTo>
                  <a:lnTo>
                    <a:pt x="167" y="1538"/>
                  </a:lnTo>
                  <a:lnTo>
                    <a:pt x="174" y="1528"/>
                  </a:lnTo>
                  <a:lnTo>
                    <a:pt x="179" y="1522"/>
                  </a:lnTo>
                  <a:lnTo>
                    <a:pt x="188" y="1519"/>
                  </a:lnTo>
                  <a:lnTo>
                    <a:pt x="191" y="1518"/>
                  </a:lnTo>
                  <a:lnTo>
                    <a:pt x="191" y="1515"/>
                  </a:lnTo>
                  <a:lnTo>
                    <a:pt x="191" y="1509"/>
                  </a:lnTo>
                  <a:lnTo>
                    <a:pt x="194" y="1505"/>
                  </a:lnTo>
                  <a:lnTo>
                    <a:pt x="198" y="1504"/>
                  </a:lnTo>
                  <a:lnTo>
                    <a:pt x="204" y="1504"/>
                  </a:lnTo>
                  <a:lnTo>
                    <a:pt x="208" y="1508"/>
                  </a:lnTo>
                  <a:lnTo>
                    <a:pt x="211" y="1511"/>
                  </a:lnTo>
                  <a:lnTo>
                    <a:pt x="214" y="1509"/>
                  </a:lnTo>
                  <a:lnTo>
                    <a:pt x="220" y="1507"/>
                  </a:lnTo>
                  <a:lnTo>
                    <a:pt x="222" y="1504"/>
                  </a:lnTo>
                  <a:lnTo>
                    <a:pt x="225" y="1497"/>
                  </a:lnTo>
                  <a:lnTo>
                    <a:pt x="231" y="1489"/>
                  </a:lnTo>
                  <a:lnTo>
                    <a:pt x="238" y="1484"/>
                  </a:lnTo>
                  <a:lnTo>
                    <a:pt x="244" y="1478"/>
                  </a:lnTo>
                  <a:lnTo>
                    <a:pt x="248" y="1472"/>
                  </a:lnTo>
                  <a:lnTo>
                    <a:pt x="253" y="1469"/>
                  </a:lnTo>
                  <a:lnTo>
                    <a:pt x="263" y="1467"/>
                  </a:lnTo>
                  <a:lnTo>
                    <a:pt x="271" y="1467"/>
                  </a:lnTo>
                  <a:lnTo>
                    <a:pt x="277" y="1467"/>
                  </a:lnTo>
                  <a:lnTo>
                    <a:pt x="280" y="1468"/>
                  </a:lnTo>
                  <a:lnTo>
                    <a:pt x="284" y="1474"/>
                  </a:lnTo>
                  <a:lnTo>
                    <a:pt x="285" y="1478"/>
                  </a:lnTo>
                  <a:lnTo>
                    <a:pt x="288" y="1484"/>
                  </a:lnTo>
                  <a:lnTo>
                    <a:pt x="294" y="1491"/>
                  </a:lnTo>
                  <a:lnTo>
                    <a:pt x="303" y="1492"/>
                  </a:lnTo>
                  <a:lnTo>
                    <a:pt x="310" y="1492"/>
                  </a:lnTo>
                  <a:lnTo>
                    <a:pt x="314" y="1491"/>
                  </a:lnTo>
                  <a:lnTo>
                    <a:pt x="318" y="1489"/>
                  </a:lnTo>
                  <a:lnTo>
                    <a:pt x="324" y="1489"/>
                  </a:lnTo>
                  <a:lnTo>
                    <a:pt x="330" y="1491"/>
                  </a:lnTo>
                  <a:lnTo>
                    <a:pt x="330" y="1495"/>
                  </a:lnTo>
                  <a:lnTo>
                    <a:pt x="326" y="1499"/>
                  </a:lnTo>
                  <a:lnTo>
                    <a:pt x="313" y="1507"/>
                  </a:lnTo>
                  <a:lnTo>
                    <a:pt x="310" y="1509"/>
                  </a:lnTo>
                  <a:lnTo>
                    <a:pt x="308" y="1512"/>
                  </a:lnTo>
                  <a:lnTo>
                    <a:pt x="313" y="1515"/>
                  </a:lnTo>
                  <a:lnTo>
                    <a:pt x="314" y="1519"/>
                  </a:lnTo>
                  <a:lnTo>
                    <a:pt x="314" y="1527"/>
                  </a:lnTo>
                  <a:lnTo>
                    <a:pt x="313" y="1532"/>
                  </a:lnTo>
                  <a:lnTo>
                    <a:pt x="308" y="1537"/>
                  </a:lnTo>
                  <a:lnTo>
                    <a:pt x="293" y="1542"/>
                  </a:lnTo>
                  <a:lnTo>
                    <a:pt x="310" y="1561"/>
                  </a:lnTo>
                  <a:lnTo>
                    <a:pt x="283" y="1575"/>
                  </a:lnTo>
                  <a:lnTo>
                    <a:pt x="281" y="1580"/>
                  </a:lnTo>
                  <a:lnTo>
                    <a:pt x="281" y="1588"/>
                  </a:lnTo>
                  <a:lnTo>
                    <a:pt x="285" y="1594"/>
                  </a:lnTo>
                  <a:lnTo>
                    <a:pt x="278" y="1610"/>
                  </a:lnTo>
                  <a:lnTo>
                    <a:pt x="273" y="1633"/>
                  </a:lnTo>
                  <a:lnTo>
                    <a:pt x="270" y="1640"/>
                  </a:lnTo>
                  <a:lnTo>
                    <a:pt x="260" y="1644"/>
                  </a:lnTo>
                  <a:lnTo>
                    <a:pt x="254" y="1653"/>
                  </a:lnTo>
                  <a:lnTo>
                    <a:pt x="248" y="1658"/>
                  </a:lnTo>
                  <a:lnTo>
                    <a:pt x="245" y="1671"/>
                  </a:lnTo>
                  <a:lnTo>
                    <a:pt x="241" y="1677"/>
                  </a:lnTo>
                  <a:lnTo>
                    <a:pt x="247" y="1688"/>
                  </a:lnTo>
                  <a:lnTo>
                    <a:pt x="248" y="1694"/>
                  </a:lnTo>
                  <a:lnTo>
                    <a:pt x="254" y="1723"/>
                  </a:lnTo>
                  <a:lnTo>
                    <a:pt x="254" y="1729"/>
                  </a:lnTo>
                  <a:lnTo>
                    <a:pt x="244" y="1734"/>
                  </a:lnTo>
                  <a:lnTo>
                    <a:pt x="240" y="1733"/>
                  </a:lnTo>
                  <a:lnTo>
                    <a:pt x="237" y="1734"/>
                  </a:lnTo>
                  <a:lnTo>
                    <a:pt x="234" y="1741"/>
                  </a:lnTo>
                  <a:lnTo>
                    <a:pt x="231" y="1744"/>
                  </a:lnTo>
                  <a:lnTo>
                    <a:pt x="224" y="1747"/>
                  </a:lnTo>
                  <a:lnTo>
                    <a:pt x="222" y="1763"/>
                  </a:lnTo>
                  <a:lnTo>
                    <a:pt x="218" y="1772"/>
                  </a:lnTo>
                  <a:lnTo>
                    <a:pt x="217" y="1790"/>
                  </a:lnTo>
                  <a:lnTo>
                    <a:pt x="221" y="1799"/>
                  </a:lnTo>
                  <a:lnTo>
                    <a:pt x="224" y="1809"/>
                  </a:lnTo>
                  <a:lnTo>
                    <a:pt x="225" y="1820"/>
                  </a:lnTo>
                  <a:lnTo>
                    <a:pt x="230" y="1822"/>
                  </a:lnTo>
                  <a:lnTo>
                    <a:pt x="234" y="1820"/>
                  </a:lnTo>
                  <a:lnTo>
                    <a:pt x="240" y="1815"/>
                  </a:lnTo>
                  <a:lnTo>
                    <a:pt x="245" y="1815"/>
                  </a:lnTo>
                  <a:lnTo>
                    <a:pt x="261" y="1813"/>
                  </a:lnTo>
                  <a:lnTo>
                    <a:pt x="274" y="1813"/>
                  </a:lnTo>
                  <a:lnTo>
                    <a:pt x="277" y="1813"/>
                  </a:lnTo>
                  <a:lnTo>
                    <a:pt x="285" y="1805"/>
                  </a:lnTo>
                  <a:lnTo>
                    <a:pt x="291" y="1802"/>
                  </a:lnTo>
                  <a:lnTo>
                    <a:pt x="321" y="1802"/>
                  </a:lnTo>
                  <a:lnTo>
                    <a:pt x="324" y="1802"/>
                  </a:lnTo>
                  <a:lnTo>
                    <a:pt x="336" y="1812"/>
                  </a:lnTo>
                  <a:lnTo>
                    <a:pt x="341" y="1820"/>
                  </a:lnTo>
                  <a:lnTo>
                    <a:pt x="360" y="1849"/>
                  </a:lnTo>
                  <a:lnTo>
                    <a:pt x="369" y="1857"/>
                  </a:lnTo>
                  <a:lnTo>
                    <a:pt x="369" y="1866"/>
                  </a:lnTo>
                  <a:lnTo>
                    <a:pt x="367" y="1872"/>
                  </a:lnTo>
                  <a:lnTo>
                    <a:pt x="370" y="1878"/>
                  </a:lnTo>
                  <a:lnTo>
                    <a:pt x="374" y="1878"/>
                  </a:lnTo>
                  <a:lnTo>
                    <a:pt x="380" y="1872"/>
                  </a:lnTo>
                  <a:lnTo>
                    <a:pt x="383" y="1868"/>
                  </a:lnTo>
                  <a:lnTo>
                    <a:pt x="389" y="1865"/>
                  </a:lnTo>
                  <a:lnTo>
                    <a:pt x="394" y="1862"/>
                  </a:lnTo>
                  <a:lnTo>
                    <a:pt x="397" y="1859"/>
                  </a:lnTo>
                  <a:lnTo>
                    <a:pt x="403" y="1857"/>
                  </a:lnTo>
                  <a:lnTo>
                    <a:pt x="410" y="1866"/>
                  </a:lnTo>
                  <a:lnTo>
                    <a:pt x="413" y="1868"/>
                  </a:lnTo>
                  <a:lnTo>
                    <a:pt x="424" y="1862"/>
                  </a:lnTo>
                  <a:lnTo>
                    <a:pt x="426" y="1853"/>
                  </a:lnTo>
                  <a:lnTo>
                    <a:pt x="424" y="1845"/>
                  </a:lnTo>
                  <a:lnTo>
                    <a:pt x="424" y="1842"/>
                  </a:lnTo>
                  <a:lnTo>
                    <a:pt x="433" y="1840"/>
                  </a:lnTo>
                  <a:lnTo>
                    <a:pt x="443" y="1835"/>
                  </a:lnTo>
                  <a:lnTo>
                    <a:pt x="449" y="1829"/>
                  </a:lnTo>
                  <a:lnTo>
                    <a:pt x="464" y="1826"/>
                  </a:lnTo>
                  <a:lnTo>
                    <a:pt x="470" y="1820"/>
                  </a:lnTo>
                  <a:lnTo>
                    <a:pt x="473" y="1812"/>
                  </a:lnTo>
                  <a:lnTo>
                    <a:pt x="479" y="1809"/>
                  </a:lnTo>
                  <a:lnTo>
                    <a:pt x="486" y="1806"/>
                  </a:lnTo>
                  <a:lnTo>
                    <a:pt x="489" y="1799"/>
                  </a:lnTo>
                  <a:lnTo>
                    <a:pt x="490" y="1794"/>
                  </a:lnTo>
                  <a:lnTo>
                    <a:pt x="499" y="1787"/>
                  </a:lnTo>
                  <a:lnTo>
                    <a:pt x="506" y="1783"/>
                  </a:lnTo>
                  <a:lnTo>
                    <a:pt x="507" y="1782"/>
                  </a:lnTo>
                  <a:lnTo>
                    <a:pt x="506" y="1769"/>
                  </a:lnTo>
                  <a:lnTo>
                    <a:pt x="503" y="1763"/>
                  </a:lnTo>
                  <a:lnTo>
                    <a:pt x="512" y="1753"/>
                  </a:lnTo>
                  <a:lnTo>
                    <a:pt x="513" y="1746"/>
                  </a:lnTo>
                  <a:lnTo>
                    <a:pt x="520" y="1739"/>
                  </a:lnTo>
                  <a:lnTo>
                    <a:pt x="523" y="1734"/>
                  </a:lnTo>
                  <a:lnTo>
                    <a:pt x="526" y="1730"/>
                  </a:lnTo>
                  <a:lnTo>
                    <a:pt x="532" y="1727"/>
                  </a:lnTo>
                  <a:lnTo>
                    <a:pt x="542" y="1727"/>
                  </a:lnTo>
                  <a:lnTo>
                    <a:pt x="549" y="1729"/>
                  </a:lnTo>
                  <a:lnTo>
                    <a:pt x="558" y="1729"/>
                  </a:lnTo>
                  <a:lnTo>
                    <a:pt x="566" y="1727"/>
                  </a:lnTo>
                  <a:lnTo>
                    <a:pt x="572" y="1726"/>
                  </a:lnTo>
                  <a:lnTo>
                    <a:pt x="575" y="1724"/>
                  </a:lnTo>
                  <a:lnTo>
                    <a:pt x="579" y="1723"/>
                  </a:lnTo>
                  <a:lnTo>
                    <a:pt x="583" y="1719"/>
                  </a:lnTo>
                  <a:lnTo>
                    <a:pt x="582" y="1711"/>
                  </a:lnTo>
                  <a:lnTo>
                    <a:pt x="580" y="1701"/>
                  </a:lnTo>
                  <a:lnTo>
                    <a:pt x="585" y="1696"/>
                  </a:lnTo>
                  <a:lnTo>
                    <a:pt x="589" y="1690"/>
                  </a:lnTo>
                  <a:lnTo>
                    <a:pt x="596" y="1688"/>
                  </a:lnTo>
                  <a:lnTo>
                    <a:pt x="599" y="1686"/>
                  </a:lnTo>
                  <a:lnTo>
                    <a:pt x="602" y="1683"/>
                  </a:lnTo>
                  <a:lnTo>
                    <a:pt x="601" y="1676"/>
                  </a:lnTo>
                  <a:lnTo>
                    <a:pt x="601" y="1673"/>
                  </a:lnTo>
                  <a:lnTo>
                    <a:pt x="605" y="1670"/>
                  </a:lnTo>
                  <a:lnTo>
                    <a:pt x="609" y="1670"/>
                  </a:lnTo>
                  <a:lnTo>
                    <a:pt x="618" y="1673"/>
                  </a:lnTo>
                  <a:lnTo>
                    <a:pt x="625" y="1676"/>
                  </a:lnTo>
                  <a:lnTo>
                    <a:pt x="631" y="1676"/>
                  </a:lnTo>
                  <a:lnTo>
                    <a:pt x="645" y="1676"/>
                  </a:lnTo>
                  <a:lnTo>
                    <a:pt x="651" y="1681"/>
                  </a:lnTo>
                  <a:lnTo>
                    <a:pt x="652" y="1684"/>
                  </a:lnTo>
                  <a:lnTo>
                    <a:pt x="649" y="1688"/>
                  </a:lnTo>
                  <a:lnTo>
                    <a:pt x="645" y="1688"/>
                  </a:lnTo>
                  <a:lnTo>
                    <a:pt x="645" y="1693"/>
                  </a:lnTo>
                  <a:lnTo>
                    <a:pt x="648" y="1696"/>
                  </a:lnTo>
                  <a:lnTo>
                    <a:pt x="656" y="1697"/>
                  </a:lnTo>
                  <a:lnTo>
                    <a:pt x="662" y="1704"/>
                  </a:lnTo>
                  <a:lnTo>
                    <a:pt x="665" y="1710"/>
                  </a:lnTo>
                  <a:lnTo>
                    <a:pt x="665" y="1721"/>
                  </a:lnTo>
                  <a:lnTo>
                    <a:pt x="671" y="1731"/>
                  </a:lnTo>
                  <a:lnTo>
                    <a:pt x="671" y="1739"/>
                  </a:lnTo>
                  <a:lnTo>
                    <a:pt x="665" y="1743"/>
                  </a:lnTo>
                  <a:lnTo>
                    <a:pt x="664" y="1747"/>
                  </a:lnTo>
                  <a:lnTo>
                    <a:pt x="665" y="1762"/>
                  </a:lnTo>
                  <a:lnTo>
                    <a:pt x="671" y="1782"/>
                  </a:lnTo>
                  <a:lnTo>
                    <a:pt x="679" y="1790"/>
                  </a:lnTo>
                  <a:lnTo>
                    <a:pt x="688" y="1790"/>
                  </a:lnTo>
                  <a:lnTo>
                    <a:pt x="692" y="1789"/>
                  </a:lnTo>
                  <a:lnTo>
                    <a:pt x="698" y="1793"/>
                  </a:lnTo>
                  <a:lnTo>
                    <a:pt x="698" y="1802"/>
                  </a:lnTo>
                  <a:lnTo>
                    <a:pt x="695" y="1815"/>
                  </a:lnTo>
                  <a:lnTo>
                    <a:pt x="695" y="1823"/>
                  </a:lnTo>
                  <a:lnTo>
                    <a:pt x="697" y="1827"/>
                  </a:lnTo>
                  <a:lnTo>
                    <a:pt x="704" y="1830"/>
                  </a:lnTo>
                  <a:lnTo>
                    <a:pt x="707" y="1832"/>
                  </a:lnTo>
                  <a:lnTo>
                    <a:pt x="707" y="1837"/>
                  </a:lnTo>
                  <a:lnTo>
                    <a:pt x="701" y="1843"/>
                  </a:lnTo>
                  <a:lnTo>
                    <a:pt x="688" y="1839"/>
                  </a:lnTo>
                  <a:lnTo>
                    <a:pt x="682" y="1845"/>
                  </a:lnTo>
                  <a:lnTo>
                    <a:pt x="678" y="1847"/>
                  </a:lnTo>
                  <a:lnTo>
                    <a:pt x="666" y="1847"/>
                  </a:lnTo>
                  <a:lnTo>
                    <a:pt x="658" y="1847"/>
                  </a:lnTo>
                  <a:lnTo>
                    <a:pt x="652" y="1850"/>
                  </a:lnTo>
                  <a:lnTo>
                    <a:pt x="641" y="1852"/>
                  </a:lnTo>
                  <a:lnTo>
                    <a:pt x="635" y="1853"/>
                  </a:lnTo>
                  <a:lnTo>
                    <a:pt x="625" y="1857"/>
                  </a:lnTo>
                  <a:lnTo>
                    <a:pt x="619" y="1859"/>
                  </a:lnTo>
                  <a:lnTo>
                    <a:pt x="609" y="1856"/>
                  </a:lnTo>
                  <a:lnTo>
                    <a:pt x="602" y="1860"/>
                  </a:lnTo>
                  <a:lnTo>
                    <a:pt x="588" y="1859"/>
                  </a:lnTo>
                  <a:lnTo>
                    <a:pt x="570" y="1860"/>
                  </a:lnTo>
                  <a:lnTo>
                    <a:pt x="570" y="1866"/>
                  </a:lnTo>
                  <a:lnTo>
                    <a:pt x="573" y="1875"/>
                  </a:lnTo>
                  <a:lnTo>
                    <a:pt x="575" y="1880"/>
                  </a:lnTo>
                  <a:lnTo>
                    <a:pt x="579" y="1885"/>
                  </a:lnTo>
                  <a:lnTo>
                    <a:pt x="579" y="1890"/>
                  </a:lnTo>
                  <a:lnTo>
                    <a:pt x="579" y="1895"/>
                  </a:lnTo>
                  <a:lnTo>
                    <a:pt x="585" y="1902"/>
                  </a:lnTo>
                  <a:lnTo>
                    <a:pt x="589" y="1903"/>
                  </a:lnTo>
                  <a:lnTo>
                    <a:pt x="593" y="1908"/>
                  </a:lnTo>
                  <a:lnTo>
                    <a:pt x="608" y="1915"/>
                  </a:lnTo>
                  <a:lnTo>
                    <a:pt x="615" y="1918"/>
                  </a:lnTo>
                  <a:lnTo>
                    <a:pt x="615" y="1922"/>
                  </a:lnTo>
                  <a:lnTo>
                    <a:pt x="611" y="1926"/>
                  </a:lnTo>
                  <a:lnTo>
                    <a:pt x="609" y="1929"/>
                  </a:lnTo>
                  <a:lnTo>
                    <a:pt x="609" y="1935"/>
                  </a:lnTo>
                  <a:lnTo>
                    <a:pt x="606" y="1939"/>
                  </a:lnTo>
                  <a:lnTo>
                    <a:pt x="596" y="1945"/>
                  </a:lnTo>
                  <a:lnTo>
                    <a:pt x="589" y="1948"/>
                  </a:lnTo>
                  <a:lnTo>
                    <a:pt x="585" y="1953"/>
                  </a:lnTo>
                  <a:lnTo>
                    <a:pt x="582" y="1956"/>
                  </a:lnTo>
                  <a:lnTo>
                    <a:pt x="573" y="1958"/>
                  </a:lnTo>
                  <a:lnTo>
                    <a:pt x="569" y="1961"/>
                  </a:lnTo>
                  <a:lnTo>
                    <a:pt x="566" y="1968"/>
                  </a:lnTo>
                  <a:lnTo>
                    <a:pt x="559" y="1978"/>
                  </a:lnTo>
                  <a:lnTo>
                    <a:pt x="562" y="1974"/>
                  </a:lnTo>
                  <a:lnTo>
                    <a:pt x="562" y="1974"/>
                  </a:lnTo>
                  <a:lnTo>
                    <a:pt x="560" y="1976"/>
                  </a:lnTo>
                  <a:lnTo>
                    <a:pt x="560" y="1979"/>
                  </a:lnTo>
                  <a:lnTo>
                    <a:pt x="559" y="1988"/>
                  </a:lnTo>
                  <a:lnTo>
                    <a:pt x="559" y="1988"/>
                  </a:lnTo>
                  <a:lnTo>
                    <a:pt x="559" y="1996"/>
                  </a:lnTo>
                  <a:lnTo>
                    <a:pt x="558" y="1999"/>
                  </a:lnTo>
                  <a:lnTo>
                    <a:pt x="555" y="2002"/>
                  </a:lnTo>
                  <a:lnTo>
                    <a:pt x="555" y="2002"/>
                  </a:lnTo>
                  <a:lnTo>
                    <a:pt x="553" y="2002"/>
                  </a:lnTo>
                  <a:lnTo>
                    <a:pt x="553" y="2004"/>
                  </a:lnTo>
                  <a:lnTo>
                    <a:pt x="553" y="2006"/>
                  </a:lnTo>
                  <a:lnTo>
                    <a:pt x="553" y="2006"/>
                  </a:lnTo>
                  <a:lnTo>
                    <a:pt x="553" y="2009"/>
                  </a:lnTo>
                  <a:lnTo>
                    <a:pt x="553" y="2012"/>
                  </a:lnTo>
                  <a:lnTo>
                    <a:pt x="553" y="2012"/>
                  </a:lnTo>
                  <a:lnTo>
                    <a:pt x="559" y="2015"/>
                  </a:lnTo>
                  <a:lnTo>
                    <a:pt x="559" y="2015"/>
                  </a:lnTo>
                  <a:lnTo>
                    <a:pt x="559" y="2018"/>
                  </a:lnTo>
                  <a:lnTo>
                    <a:pt x="558" y="2024"/>
                  </a:lnTo>
                  <a:lnTo>
                    <a:pt x="556" y="2026"/>
                  </a:lnTo>
                  <a:lnTo>
                    <a:pt x="555" y="2034"/>
                  </a:lnTo>
                  <a:lnTo>
                    <a:pt x="550" y="2039"/>
                  </a:lnTo>
                  <a:lnTo>
                    <a:pt x="546" y="2041"/>
                  </a:lnTo>
                  <a:lnTo>
                    <a:pt x="539" y="2041"/>
                  </a:lnTo>
                  <a:lnTo>
                    <a:pt x="533" y="2051"/>
                  </a:lnTo>
                  <a:lnTo>
                    <a:pt x="528" y="2055"/>
                  </a:lnTo>
                  <a:lnTo>
                    <a:pt x="513" y="2074"/>
                  </a:lnTo>
                  <a:lnTo>
                    <a:pt x="500" y="2088"/>
                  </a:lnTo>
                  <a:lnTo>
                    <a:pt x="496" y="2091"/>
                  </a:lnTo>
                  <a:lnTo>
                    <a:pt x="489" y="2091"/>
                  </a:lnTo>
                  <a:lnTo>
                    <a:pt x="486" y="2095"/>
                  </a:lnTo>
                  <a:lnTo>
                    <a:pt x="489" y="2104"/>
                  </a:lnTo>
                  <a:lnTo>
                    <a:pt x="492" y="2111"/>
                  </a:lnTo>
                  <a:lnTo>
                    <a:pt x="495" y="2117"/>
                  </a:lnTo>
                  <a:lnTo>
                    <a:pt x="499" y="2125"/>
                  </a:lnTo>
                  <a:lnTo>
                    <a:pt x="507" y="2134"/>
                  </a:lnTo>
                  <a:lnTo>
                    <a:pt x="507" y="2140"/>
                  </a:lnTo>
                  <a:lnTo>
                    <a:pt x="502" y="2145"/>
                  </a:lnTo>
                  <a:lnTo>
                    <a:pt x="492" y="2147"/>
                  </a:lnTo>
                  <a:lnTo>
                    <a:pt x="492" y="2155"/>
                  </a:lnTo>
                  <a:lnTo>
                    <a:pt x="497" y="2164"/>
                  </a:lnTo>
                  <a:lnTo>
                    <a:pt x="492" y="2173"/>
                  </a:lnTo>
                  <a:lnTo>
                    <a:pt x="483" y="2178"/>
                  </a:lnTo>
                  <a:lnTo>
                    <a:pt x="482" y="2191"/>
                  </a:lnTo>
                  <a:lnTo>
                    <a:pt x="483" y="2207"/>
                  </a:lnTo>
                  <a:lnTo>
                    <a:pt x="487" y="2218"/>
                  </a:lnTo>
                  <a:lnTo>
                    <a:pt x="479" y="2221"/>
                  </a:lnTo>
                  <a:lnTo>
                    <a:pt x="473" y="2226"/>
                  </a:lnTo>
                  <a:lnTo>
                    <a:pt x="475" y="2233"/>
                  </a:lnTo>
                  <a:lnTo>
                    <a:pt x="482" y="2234"/>
                  </a:lnTo>
                  <a:lnTo>
                    <a:pt x="486" y="2238"/>
                  </a:lnTo>
                  <a:lnTo>
                    <a:pt x="486" y="2243"/>
                  </a:lnTo>
                  <a:lnTo>
                    <a:pt x="482" y="2254"/>
                  </a:lnTo>
                  <a:lnTo>
                    <a:pt x="483" y="2273"/>
                  </a:lnTo>
                  <a:lnTo>
                    <a:pt x="487" y="2283"/>
                  </a:lnTo>
                  <a:lnTo>
                    <a:pt x="493" y="2284"/>
                  </a:lnTo>
                  <a:lnTo>
                    <a:pt x="496" y="2281"/>
                  </a:lnTo>
                  <a:lnTo>
                    <a:pt x="497" y="2274"/>
                  </a:lnTo>
                  <a:lnTo>
                    <a:pt x="507" y="2269"/>
                  </a:lnTo>
                  <a:lnTo>
                    <a:pt x="513" y="2269"/>
                  </a:lnTo>
                  <a:lnTo>
                    <a:pt x="519" y="2271"/>
                  </a:lnTo>
                  <a:lnTo>
                    <a:pt x="525" y="2276"/>
                  </a:lnTo>
                  <a:lnTo>
                    <a:pt x="528" y="2283"/>
                  </a:lnTo>
                  <a:lnTo>
                    <a:pt x="522" y="2300"/>
                  </a:lnTo>
                  <a:lnTo>
                    <a:pt x="522" y="2304"/>
                  </a:lnTo>
                  <a:lnTo>
                    <a:pt x="533" y="2306"/>
                  </a:lnTo>
                  <a:lnTo>
                    <a:pt x="538" y="2309"/>
                  </a:lnTo>
                  <a:lnTo>
                    <a:pt x="546" y="2300"/>
                  </a:lnTo>
                  <a:lnTo>
                    <a:pt x="548" y="2299"/>
                  </a:lnTo>
                  <a:lnTo>
                    <a:pt x="556" y="2303"/>
                  </a:lnTo>
                  <a:lnTo>
                    <a:pt x="562" y="2300"/>
                  </a:lnTo>
                  <a:lnTo>
                    <a:pt x="563" y="2294"/>
                  </a:lnTo>
                  <a:lnTo>
                    <a:pt x="566" y="2293"/>
                  </a:lnTo>
                  <a:lnTo>
                    <a:pt x="572" y="2297"/>
                  </a:lnTo>
                  <a:lnTo>
                    <a:pt x="576" y="2303"/>
                  </a:lnTo>
                  <a:lnTo>
                    <a:pt x="583" y="2304"/>
                  </a:lnTo>
                  <a:lnTo>
                    <a:pt x="589" y="2310"/>
                  </a:lnTo>
                  <a:lnTo>
                    <a:pt x="595" y="2314"/>
                  </a:lnTo>
                  <a:lnTo>
                    <a:pt x="599" y="2316"/>
                  </a:lnTo>
                  <a:lnTo>
                    <a:pt x="596" y="2320"/>
                  </a:lnTo>
                  <a:lnTo>
                    <a:pt x="595" y="2326"/>
                  </a:lnTo>
                  <a:lnTo>
                    <a:pt x="592" y="2330"/>
                  </a:lnTo>
                  <a:lnTo>
                    <a:pt x="593" y="2332"/>
                  </a:lnTo>
                  <a:lnTo>
                    <a:pt x="599" y="2333"/>
                  </a:lnTo>
                  <a:lnTo>
                    <a:pt x="603" y="2332"/>
                  </a:lnTo>
                  <a:lnTo>
                    <a:pt x="606" y="2334"/>
                  </a:lnTo>
                  <a:lnTo>
                    <a:pt x="611" y="2342"/>
                  </a:lnTo>
                  <a:lnTo>
                    <a:pt x="616" y="2350"/>
                  </a:lnTo>
                  <a:lnTo>
                    <a:pt x="622" y="2353"/>
                  </a:lnTo>
                  <a:lnTo>
                    <a:pt x="628" y="2366"/>
                  </a:lnTo>
                  <a:lnTo>
                    <a:pt x="633" y="2370"/>
                  </a:lnTo>
                  <a:lnTo>
                    <a:pt x="633" y="2373"/>
                  </a:lnTo>
                  <a:lnTo>
                    <a:pt x="626" y="2382"/>
                  </a:lnTo>
                  <a:lnTo>
                    <a:pt x="623" y="2386"/>
                  </a:lnTo>
                  <a:lnTo>
                    <a:pt x="626" y="2390"/>
                  </a:lnTo>
                  <a:lnTo>
                    <a:pt x="633" y="2390"/>
                  </a:lnTo>
                  <a:lnTo>
                    <a:pt x="639" y="2393"/>
                  </a:lnTo>
                  <a:lnTo>
                    <a:pt x="644" y="2397"/>
                  </a:lnTo>
                  <a:lnTo>
                    <a:pt x="645" y="2412"/>
                  </a:lnTo>
                  <a:lnTo>
                    <a:pt x="646" y="2415"/>
                  </a:lnTo>
                  <a:lnTo>
                    <a:pt x="655" y="2422"/>
                  </a:lnTo>
                  <a:lnTo>
                    <a:pt x="658" y="2425"/>
                  </a:lnTo>
                  <a:lnTo>
                    <a:pt x="658" y="2432"/>
                  </a:lnTo>
                  <a:lnTo>
                    <a:pt x="656" y="2445"/>
                  </a:lnTo>
                  <a:lnTo>
                    <a:pt x="668" y="2453"/>
                  </a:lnTo>
                  <a:lnTo>
                    <a:pt x="671" y="2453"/>
                  </a:lnTo>
                  <a:lnTo>
                    <a:pt x="674" y="2450"/>
                  </a:lnTo>
                  <a:lnTo>
                    <a:pt x="675" y="2445"/>
                  </a:lnTo>
                  <a:lnTo>
                    <a:pt x="679" y="2439"/>
                  </a:lnTo>
                  <a:lnTo>
                    <a:pt x="684" y="2430"/>
                  </a:lnTo>
                  <a:lnTo>
                    <a:pt x="689" y="2423"/>
                  </a:lnTo>
                  <a:lnTo>
                    <a:pt x="691" y="2423"/>
                  </a:lnTo>
                  <a:lnTo>
                    <a:pt x="698" y="2423"/>
                  </a:lnTo>
                  <a:lnTo>
                    <a:pt x="705" y="2425"/>
                  </a:lnTo>
                  <a:lnTo>
                    <a:pt x="711" y="2425"/>
                  </a:lnTo>
                  <a:lnTo>
                    <a:pt x="714" y="2422"/>
                  </a:lnTo>
                  <a:lnTo>
                    <a:pt x="714" y="2419"/>
                  </a:lnTo>
                  <a:lnTo>
                    <a:pt x="711" y="2413"/>
                  </a:lnTo>
                  <a:lnTo>
                    <a:pt x="709" y="2409"/>
                  </a:lnTo>
                  <a:lnTo>
                    <a:pt x="711" y="2405"/>
                  </a:lnTo>
                  <a:lnTo>
                    <a:pt x="711" y="2400"/>
                  </a:lnTo>
                  <a:lnTo>
                    <a:pt x="711" y="2399"/>
                  </a:lnTo>
                  <a:lnTo>
                    <a:pt x="708" y="2393"/>
                  </a:lnTo>
                  <a:lnTo>
                    <a:pt x="707" y="2390"/>
                  </a:lnTo>
                  <a:lnTo>
                    <a:pt x="707" y="2386"/>
                  </a:lnTo>
                  <a:lnTo>
                    <a:pt x="709" y="2385"/>
                  </a:lnTo>
                  <a:lnTo>
                    <a:pt x="715" y="2383"/>
                  </a:lnTo>
                  <a:lnTo>
                    <a:pt x="721" y="2383"/>
                  </a:lnTo>
                  <a:lnTo>
                    <a:pt x="728" y="2383"/>
                  </a:lnTo>
                  <a:lnTo>
                    <a:pt x="735" y="2383"/>
                  </a:lnTo>
                  <a:lnTo>
                    <a:pt x="739" y="2383"/>
                  </a:lnTo>
                  <a:lnTo>
                    <a:pt x="744" y="2386"/>
                  </a:lnTo>
                  <a:lnTo>
                    <a:pt x="745" y="2390"/>
                  </a:lnTo>
                  <a:lnTo>
                    <a:pt x="745" y="2395"/>
                  </a:lnTo>
                  <a:lnTo>
                    <a:pt x="747" y="2396"/>
                  </a:lnTo>
                  <a:lnTo>
                    <a:pt x="751" y="2397"/>
                  </a:lnTo>
                  <a:lnTo>
                    <a:pt x="762" y="2396"/>
                  </a:lnTo>
                  <a:lnTo>
                    <a:pt x="771" y="2392"/>
                  </a:lnTo>
                  <a:lnTo>
                    <a:pt x="777" y="2386"/>
                  </a:lnTo>
                  <a:lnTo>
                    <a:pt x="780" y="2382"/>
                  </a:lnTo>
                  <a:lnTo>
                    <a:pt x="784" y="2379"/>
                  </a:lnTo>
                  <a:lnTo>
                    <a:pt x="788" y="2379"/>
                  </a:lnTo>
                  <a:lnTo>
                    <a:pt x="790" y="2382"/>
                  </a:lnTo>
                  <a:lnTo>
                    <a:pt x="792" y="2383"/>
                  </a:lnTo>
                  <a:lnTo>
                    <a:pt x="795" y="2383"/>
                  </a:lnTo>
                  <a:lnTo>
                    <a:pt x="798" y="2382"/>
                  </a:lnTo>
                  <a:lnTo>
                    <a:pt x="800" y="2379"/>
                  </a:lnTo>
                  <a:lnTo>
                    <a:pt x="800" y="2377"/>
                  </a:lnTo>
                  <a:lnTo>
                    <a:pt x="802" y="2376"/>
                  </a:lnTo>
                  <a:lnTo>
                    <a:pt x="804" y="2377"/>
                  </a:lnTo>
                  <a:lnTo>
                    <a:pt x="808" y="2380"/>
                  </a:lnTo>
                  <a:lnTo>
                    <a:pt x="813" y="2380"/>
                  </a:lnTo>
                  <a:lnTo>
                    <a:pt x="815" y="2377"/>
                  </a:lnTo>
                  <a:lnTo>
                    <a:pt x="820" y="2377"/>
                  </a:lnTo>
                  <a:lnTo>
                    <a:pt x="830" y="2377"/>
                  </a:lnTo>
                  <a:lnTo>
                    <a:pt x="833" y="2379"/>
                  </a:lnTo>
                  <a:lnTo>
                    <a:pt x="837" y="2385"/>
                  </a:lnTo>
                  <a:lnTo>
                    <a:pt x="843" y="2392"/>
                  </a:lnTo>
                  <a:lnTo>
                    <a:pt x="850" y="2395"/>
                  </a:lnTo>
                  <a:lnTo>
                    <a:pt x="854" y="2396"/>
                  </a:lnTo>
                  <a:lnTo>
                    <a:pt x="863" y="2403"/>
                  </a:lnTo>
                  <a:lnTo>
                    <a:pt x="887" y="2412"/>
                  </a:lnTo>
                  <a:lnTo>
                    <a:pt x="911" y="2407"/>
                  </a:lnTo>
                  <a:lnTo>
                    <a:pt x="933" y="2402"/>
                  </a:lnTo>
                  <a:lnTo>
                    <a:pt x="937" y="2403"/>
                  </a:lnTo>
                  <a:lnTo>
                    <a:pt x="943" y="2409"/>
                  </a:lnTo>
                  <a:lnTo>
                    <a:pt x="947" y="2409"/>
                  </a:lnTo>
                  <a:lnTo>
                    <a:pt x="951" y="2407"/>
                  </a:lnTo>
                  <a:lnTo>
                    <a:pt x="954" y="2409"/>
                  </a:lnTo>
                  <a:lnTo>
                    <a:pt x="957" y="2409"/>
                  </a:lnTo>
                  <a:lnTo>
                    <a:pt x="963" y="2405"/>
                  </a:lnTo>
                  <a:lnTo>
                    <a:pt x="969" y="2403"/>
                  </a:lnTo>
                  <a:lnTo>
                    <a:pt x="973" y="2402"/>
                  </a:lnTo>
                  <a:lnTo>
                    <a:pt x="974" y="2400"/>
                  </a:lnTo>
                  <a:lnTo>
                    <a:pt x="982" y="2393"/>
                  </a:lnTo>
                  <a:lnTo>
                    <a:pt x="984" y="2387"/>
                  </a:lnTo>
                  <a:lnTo>
                    <a:pt x="987" y="2386"/>
                  </a:lnTo>
                  <a:lnTo>
                    <a:pt x="987" y="2383"/>
                  </a:lnTo>
                  <a:lnTo>
                    <a:pt x="989" y="2379"/>
                  </a:lnTo>
                  <a:lnTo>
                    <a:pt x="992" y="2373"/>
                  </a:lnTo>
                  <a:lnTo>
                    <a:pt x="994" y="2372"/>
                  </a:lnTo>
                  <a:lnTo>
                    <a:pt x="996" y="2370"/>
                  </a:lnTo>
                  <a:lnTo>
                    <a:pt x="999" y="2370"/>
                  </a:lnTo>
                  <a:lnTo>
                    <a:pt x="1002" y="2373"/>
                  </a:lnTo>
                  <a:lnTo>
                    <a:pt x="1004" y="2375"/>
                  </a:lnTo>
                  <a:lnTo>
                    <a:pt x="1009" y="2376"/>
                  </a:lnTo>
                  <a:lnTo>
                    <a:pt x="1014" y="2377"/>
                  </a:lnTo>
                  <a:lnTo>
                    <a:pt x="1020" y="2377"/>
                  </a:lnTo>
                  <a:lnTo>
                    <a:pt x="1027" y="2379"/>
                  </a:lnTo>
                  <a:lnTo>
                    <a:pt x="1032" y="2377"/>
                  </a:lnTo>
                  <a:lnTo>
                    <a:pt x="1035" y="2375"/>
                  </a:lnTo>
                  <a:lnTo>
                    <a:pt x="1039" y="2369"/>
                  </a:lnTo>
                  <a:lnTo>
                    <a:pt x="1042" y="2362"/>
                  </a:lnTo>
                  <a:lnTo>
                    <a:pt x="1046" y="2357"/>
                  </a:lnTo>
                  <a:lnTo>
                    <a:pt x="1052" y="2357"/>
                  </a:lnTo>
                  <a:lnTo>
                    <a:pt x="1062" y="2357"/>
                  </a:lnTo>
                  <a:lnTo>
                    <a:pt x="1062" y="2359"/>
                  </a:lnTo>
                  <a:lnTo>
                    <a:pt x="1062" y="2359"/>
                  </a:lnTo>
                  <a:close/>
                  <a:moveTo>
                    <a:pt x="137" y="1538"/>
                  </a:moveTo>
                  <a:lnTo>
                    <a:pt x="116" y="1501"/>
                  </a:lnTo>
                  <a:lnTo>
                    <a:pt x="118" y="1504"/>
                  </a:lnTo>
                  <a:lnTo>
                    <a:pt x="118" y="1508"/>
                  </a:lnTo>
                  <a:lnTo>
                    <a:pt x="121" y="1512"/>
                  </a:lnTo>
                  <a:lnTo>
                    <a:pt x="126" y="1518"/>
                  </a:lnTo>
                  <a:lnTo>
                    <a:pt x="132" y="1522"/>
                  </a:lnTo>
                  <a:lnTo>
                    <a:pt x="137" y="1530"/>
                  </a:lnTo>
                  <a:lnTo>
                    <a:pt x="137" y="1538"/>
                  </a:lnTo>
                  <a:lnTo>
                    <a:pt x="137" y="1538"/>
                  </a:lnTo>
                  <a:close/>
                  <a:moveTo>
                    <a:pt x="669" y="1366"/>
                  </a:moveTo>
                  <a:lnTo>
                    <a:pt x="671" y="1363"/>
                  </a:lnTo>
                  <a:lnTo>
                    <a:pt x="674" y="1363"/>
                  </a:lnTo>
                  <a:lnTo>
                    <a:pt x="675" y="1361"/>
                  </a:lnTo>
                  <a:lnTo>
                    <a:pt x="676" y="1359"/>
                  </a:lnTo>
                  <a:lnTo>
                    <a:pt x="676" y="1358"/>
                  </a:lnTo>
                  <a:lnTo>
                    <a:pt x="678" y="1355"/>
                  </a:lnTo>
                  <a:lnTo>
                    <a:pt x="678" y="1353"/>
                  </a:lnTo>
                  <a:lnTo>
                    <a:pt x="678" y="1349"/>
                  </a:lnTo>
                  <a:lnTo>
                    <a:pt x="678" y="1348"/>
                  </a:lnTo>
                  <a:lnTo>
                    <a:pt x="679" y="1346"/>
                  </a:lnTo>
                  <a:lnTo>
                    <a:pt x="681" y="1345"/>
                  </a:lnTo>
                  <a:lnTo>
                    <a:pt x="684" y="1343"/>
                  </a:lnTo>
                  <a:lnTo>
                    <a:pt x="685" y="1342"/>
                  </a:lnTo>
                  <a:lnTo>
                    <a:pt x="688" y="1338"/>
                  </a:lnTo>
                  <a:lnTo>
                    <a:pt x="691" y="1336"/>
                  </a:lnTo>
                  <a:lnTo>
                    <a:pt x="692" y="1336"/>
                  </a:lnTo>
                  <a:lnTo>
                    <a:pt x="695" y="1336"/>
                  </a:lnTo>
                  <a:lnTo>
                    <a:pt x="695" y="1338"/>
                  </a:lnTo>
                  <a:lnTo>
                    <a:pt x="695" y="1343"/>
                  </a:lnTo>
                  <a:lnTo>
                    <a:pt x="695" y="1348"/>
                  </a:lnTo>
                  <a:lnTo>
                    <a:pt x="697" y="1352"/>
                  </a:lnTo>
                  <a:lnTo>
                    <a:pt x="697" y="1355"/>
                  </a:lnTo>
                  <a:lnTo>
                    <a:pt x="695" y="1356"/>
                  </a:lnTo>
                  <a:lnTo>
                    <a:pt x="694" y="1358"/>
                  </a:lnTo>
                  <a:lnTo>
                    <a:pt x="694" y="1358"/>
                  </a:lnTo>
                  <a:lnTo>
                    <a:pt x="695" y="1361"/>
                  </a:lnTo>
                  <a:lnTo>
                    <a:pt x="695" y="1361"/>
                  </a:lnTo>
                  <a:lnTo>
                    <a:pt x="697" y="1362"/>
                  </a:lnTo>
                  <a:lnTo>
                    <a:pt x="697" y="1363"/>
                  </a:lnTo>
                  <a:lnTo>
                    <a:pt x="697" y="1363"/>
                  </a:lnTo>
                  <a:lnTo>
                    <a:pt x="699" y="1365"/>
                  </a:lnTo>
                  <a:lnTo>
                    <a:pt x="701" y="1368"/>
                  </a:lnTo>
                  <a:lnTo>
                    <a:pt x="701" y="1372"/>
                  </a:lnTo>
                  <a:lnTo>
                    <a:pt x="698" y="1375"/>
                  </a:lnTo>
                  <a:lnTo>
                    <a:pt x="695" y="1378"/>
                  </a:lnTo>
                  <a:lnTo>
                    <a:pt x="691" y="1376"/>
                  </a:lnTo>
                  <a:lnTo>
                    <a:pt x="689" y="1375"/>
                  </a:lnTo>
                  <a:lnTo>
                    <a:pt x="688" y="1373"/>
                  </a:lnTo>
                  <a:lnTo>
                    <a:pt x="686" y="1372"/>
                  </a:lnTo>
                  <a:lnTo>
                    <a:pt x="685" y="1372"/>
                  </a:lnTo>
                  <a:lnTo>
                    <a:pt x="685" y="1372"/>
                  </a:lnTo>
                  <a:lnTo>
                    <a:pt x="685" y="1373"/>
                  </a:lnTo>
                  <a:lnTo>
                    <a:pt x="685" y="1375"/>
                  </a:lnTo>
                  <a:lnTo>
                    <a:pt x="685" y="1376"/>
                  </a:lnTo>
                  <a:lnTo>
                    <a:pt x="684" y="1376"/>
                  </a:lnTo>
                  <a:lnTo>
                    <a:pt x="682" y="1376"/>
                  </a:lnTo>
                  <a:lnTo>
                    <a:pt x="681" y="1378"/>
                  </a:lnTo>
                  <a:lnTo>
                    <a:pt x="679" y="1381"/>
                  </a:lnTo>
                  <a:lnTo>
                    <a:pt x="679" y="1381"/>
                  </a:lnTo>
                  <a:lnTo>
                    <a:pt x="676" y="1382"/>
                  </a:lnTo>
                  <a:lnTo>
                    <a:pt x="676" y="1383"/>
                  </a:lnTo>
                  <a:lnTo>
                    <a:pt x="676" y="1385"/>
                  </a:lnTo>
                  <a:lnTo>
                    <a:pt x="678" y="1386"/>
                  </a:lnTo>
                  <a:lnTo>
                    <a:pt x="679" y="1388"/>
                  </a:lnTo>
                  <a:lnTo>
                    <a:pt x="676" y="1389"/>
                  </a:lnTo>
                  <a:lnTo>
                    <a:pt x="672" y="1389"/>
                  </a:lnTo>
                  <a:lnTo>
                    <a:pt x="669" y="1389"/>
                  </a:lnTo>
                  <a:lnTo>
                    <a:pt x="668" y="1386"/>
                  </a:lnTo>
                  <a:lnTo>
                    <a:pt x="668" y="1383"/>
                  </a:lnTo>
                  <a:lnTo>
                    <a:pt x="665" y="1381"/>
                  </a:lnTo>
                  <a:lnTo>
                    <a:pt x="665" y="1379"/>
                  </a:lnTo>
                  <a:lnTo>
                    <a:pt x="668" y="1376"/>
                  </a:lnTo>
                  <a:lnTo>
                    <a:pt x="668" y="1375"/>
                  </a:lnTo>
                  <a:lnTo>
                    <a:pt x="668" y="1372"/>
                  </a:lnTo>
                  <a:lnTo>
                    <a:pt x="669" y="1369"/>
                  </a:lnTo>
                  <a:lnTo>
                    <a:pt x="669" y="1366"/>
                  </a:lnTo>
                  <a:lnTo>
                    <a:pt x="669" y="1366"/>
                  </a:lnTo>
                  <a:close/>
                  <a:moveTo>
                    <a:pt x="722" y="1346"/>
                  </a:moveTo>
                  <a:lnTo>
                    <a:pt x="722" y="1339"/>
                  </a:lnTo>
                  <a:lnTo>
                    <a:pt x="722" y="1333"/>
                  </a:lnTo>
                  <a:lnTo>
                    <a:pt x="719" y="1325"/>
                  </a:lnTo>
                  <a:lnTo>
                    <a:pt x="717" y="1319"/>
                  </a:lnTo>
                  <a:lnTo>
                    <a:pt x="718" y="1316"/>
                  </a:lnTo>
                  <a:lnTo>
                    <a:pt x="718" y="1313"/>
                  </a:lnTo>
                  <a:lnTo>
                    <a:pt x="717" y="1310"/>
                  </a:lnTo>
                  <a:lnTo>
                    <a:pt x="717" y="1308"/>
                  </a:lnTo>
                  <a:lnTo>
                    <a:pt x="719" y="1306"/>
                  </a:lnTo>
                  <a:lnTo>
                    <a:pt x="721" y="1305"/>
                  </a:lnTo>
                  <a:lnTo>
                    <a:pt x="721" y="1303"/>
                  </a:lnTo>
                  <a:lnTo>
                    <a:pt x="722" y="1302"/>
                  </a:lnTo>
                  <a:lnTo>
                    <a:pt x="727" y="1303"/>
                  </a:lnTo>
                  <a:lnTo>
                    <a:pt x="729" y="1305"/>
                  </a:lnTo>
                  <a:lnTo>
                    <a:pt x="734" y="1305"/>
                  </a:lnTo>
                  <a:lnTo>
                    <a:pt x="741" y="1303"/>
                  </a:lnTo>
                  <a:lnTo>
                    <a:pt x="747" y="1300"/>
                  </a:lnTo>
                  <a:lnTo>
                    <a:pt x="748" y="1298"/>
                  </a:lnTo>
                  <a:lnTo>
                    <a:pt x="748" y="1296"/>
                  </a:lnTo>
                  <a:lnTo>
                    <a:pt x="752" y="1296"/>
                  </a:lnTo>
                  <a:lnTo>
                    <a:pt x="754" y="1298"/>
                  </a:lnTo>
                  <a:lnTo>
                    <a:pt x="755" y="1298"/>
                  </a:lnTo>
                  <a:lnTo>
                    <a:pt x="758" y="1298"/>
                  </a:lnTo>
                  <a:lnTo>
                    <a:pt x="761" y="1299"/>
                  </a:lnTo>
                  <a:lnTo>
                    <a:pt x="762" y="1299"/>
                  </a:lnTo>
                  <a:lnTo>
                    <a:pt x="762" y="1300"/>
                  </a:lnTo>
                  <a:lnTo>
                    <a:pt x="762" y="1302"/>
                  </a:lnTo>
                  <a:lnTo>
                    <a:pt x="761" y="1305"/>
                  </a:lnTo>
                  <a:lnTo>
                    <a:pt x="760" y="1305"/>
                  </a:lnTo>
                  <a:lnTo>
                    <a:pt x="758" y="1308"/>
                  </a:lnTo>
                  <a:lnTo>
                    <a:pt x="760" y="1313"/>
                  </a:lnTo>
                  <a:lnTo>
                    <a:pt x="758" y="1316"/>
                  </a:lnTo>
                  <a:lnTo>
                    <a:pt x="758" y="1318"/>
                  </a:lnTo>
                  <a:lnTo>
                    <a:pt x="760" y="1319"/>
                  </a:lnTo>
                  <a:lnTo>
                    <a:pt x="761" y="1320"/>
                  </a:lnTo>
                  <a:lnTo>
                    <a:pt x="761" y="1319"/>
                  </a:lnTo>
                  <a:lnTo>
                    <a:pt x="762" y="1316"/>
                  </a:lnTo>
                  <a:lnTo>
                    <a:pt x="764" y="1308"/>
                  </a:lnTo>
                  <a:lnTo>
                    <a:pt x="767" y="1300"/>
                  </a:lnTo>
                  <a:lnTo>
                    <a:pt x="770" y="1298"/>
                  </a:lnTo>
                  <a:lnTo>
                    <a:pt x="774" y="1296"/>
                  </a:lnTo>
                  <a:lnTo>
                    <a:pt x="777" y="1296"/>
                  </a:lnTo>
                  <a:lnTo>
                    <a:pt x="780" y="1295"/>
                  </a:lnTo>
                  <a:lnTo>
                    <a:pt x="782" y="1293"/>
                  </a:lnTo>
                  <a:lnTo>
                    <a:pt x="784" y="1293"/>
                  </a:lnTo>
                  <a:lnTo>
                    <a:pt x="784" y="1296"/>
                  </a:lnTo>
                  <a:lnTo>
                    <a:pt x="784" y="1299"/>
                  </a:lnTo>
                  <a:lnTo>
                    <a:pt x="784" y="1303"/>
                  </a:lnTo>
                  <a:lnTo>
                    <a:pt x="781" y="1306"/>
                  </a:lnTo>
                  <a:lnTo>
                    <a:pt x="780" y="1309"/>
                  </a:lnTo>
                  <a:lnTo>
                    <a:pt x="775" y="1319"/>
                  </a:lnTo>
                  <a:lnTo>
                    <a:pt x="774" y="1322"/>
                  </a:lnTo>
                  <a:lnTo>
                    <a:pt x="774" y="1325"/>
                  </a:lnTo>
                  <a:lnTo>
                    <a:pt x="777" y="1326"/>
                  </a:lnTo>
                  <a:lnTo>
                    <a:pt x="778" y="1328"/>
                  </a:lnTo>
                  <a:lnTo>
                    <a:pt x="781" y="1329"/>
                  </a:lnTo>
                  <a:lnTo>
                    <a:pt x="782" y="1330"/>
                  </a:lnTo>
                  <a:lnTo>
                    <a:pt x="785" y="1332"/>
                  </a:lnTo>
                  <a:lnTo>
                    <a:pt x="788" y="1342"/>
                  </a:lnTo>
                  <a:lnTo>
                    <a:pt x="788" y="1346"/>
                  </a:lnTo>
                  <a:lnTo>
                    <a:pt x="787" y="1349"/>
                  </a:lnTo>
                  <a:lnTo>
                    <a:pt x="784" y="1350"/>
                  </a:lnTo>
                  <a:lnTo>
                    <a:pt x="784" y="1353"/>
                  </a:lnTo>
                  <a:lnTo>
                    <a:pt x="782" y="1355"/>
                  </a:lnTo>
                  <a:lnTo>
                    <a:pt x="784" y="1359"/>
                  </a:lnTo>
                  <a:lnTo>
                    <a:pt x="784" y="1363"/>
                  </a:lnTo>
                  <a:lnTo>
                    <a:pt x="781" y="1368"/>
                  </a:lnTo>
                  <a:lnTo>
                    <a:pt x="781" y="1369"/>
                  </a:lnTo>
                  <a:lnTo>
                    <a:pt x="781" y="1376"/>
                  </a:lnTo>
                  <a:lnTo>
                    <a:pt x="781" y="1378"/>
                  </a:lnTo>
                  <a:lnTo>
                    <a:pt x="780" y="1378"/>
                  </a:lnTo>
                  <a:lnTo>
                    <a:pt x="774" y="1378"/>
                  </a:lnTo>
                  <a:lnTo>
                    <a:pt x="771" y="1376"/>
                  </a:lnTo>
                  <a:lnTo>
                    <a:pt x="767" y="1372"/>
                  </a:lnTo>
                  <a:lnTo>
                    <a:pt x="762" y="1368"/>
                  </a:lnTo>
                  <a:lnTo>
                    <a:pt x="760" y="1365"/>
                  </a:lnTo>
                  <a:lnTo>
                    <a:pt x="757" y="1363"/>
                  </a:lnTo>
                  <a:lnTo>
                    <a:pt x="757" y="1363"/>
                  </a:lnTo>
                  <a:lnTo>
                    <a:pt x="754" y="1363"/>
                  </a:lnTo>
                  <a:lnTo>
                    <a:pt x="751" y="1362"/>
                  </a:lnTo>
                  <a:lnTo>
                    <a:pt x="747" y="1361"/>
                  </a:lnTo>
                  <a:lnTo>
                    <a:pt x="745" y="1358"/>
                  </a:lnTo>
                  <a:lnTo>
                    <a:pt x="742" y="1356"/>
                  </a:lnTo>
                  <a:lnTo>
                    <a:pt x="739" y="1356"/>
                  </a:lnTo>
                  <a:lnTo>
                    <a:pt x="738" y="1358"/>
                  </a:lnTo>
                  <a:lnTo>
                    <a:pt x="735" y="1361"/>
                  </a:lnTo>
                  <a:lnTo>
                    <a:pt x="735" y="1363"/>
                  </a:lnTo>
                  <a:lnTo>
                    <a:pt x="735" y="1368"/>
                  </a:lnTo>
                  <a:lnTo>
                    <a:pt x="734" y="1372"/>
                  </a:lnTo>
                  <a:lnTo>
                    <a:pt x="732" y="1378"/>
                  </a:lnTo>
                  <a:lnTo>
                    <a:pt x="731" y="1379"/>
                  </a:lnTo>
                  <a:lnTo>
                    <a:pt x="729" y="1379"/>
                  </a:lnTo>
                  <a:lnTo>
                    <a:pt x="727" y="1378"/>
                  </a:lnTo>
                  <a:lnTo>
                    <a:pt x="725" y="1375"/>
                  </a:lnTo>
                  <a:lnTo>
                    <a:pt x="725" y="1369"/>
                  </a:lnTo>
                  <a:lnTo>
                    <a:pt x="722" y="1366"/>
                  </a:lnTo>
                  <a:lnTo>
                    <a:pt x="721" y="1362"/>
                  </a:lnTo>
                  <a:lnTo>
                    <a:pt x="719" y="1358"/>
                  </a:lnTo>
                  <a:lnTo>
                    <a:pt x="719" y="1352"/>
                  </a:lnTo>
                  <a:lnTo>
                    <a:pt x="722" y="1350"/>
                  </a:lnTo>
                  <a:lnTo>
                    <a:pt x="722" y="1346"/>
                  </a:lnTo>
                  <a:lnTo>
                    <a:pt x="722" y="1346"/>
                  </a:lnTo>
                  <a:close/>
                  <a:moveTo>
                    <a:pt x="795" y="1286"/>
                  </a:moveTo>
                  <a:lnTo>
                    <a:pt x="791" y="1287"/>
                  </a:lnTo>
                  <a:lnTo>
                    <a:pt x="790" y="1289"/>
                  </a:lnTo>
                  <a:lnTo>
                    <a:pt x="787" y="1289"/>
                  </a:lnTo>
                  <a:lnTo>
                    <a:pt x="785" y="1285"/>
                  </a:lnTo>
                  <a:lnTo>
                    <a:pt x="784" y="1283"/>
                  </a:lnTo>
                  <a:lnTo>
                    <a:pt x="784" y="1280"/>
                  </a:lnTo>
                  <a:lnTo>
                    <a:pt x="785" y="1277"/>
                  </a:lnTo>
                  <a:lnTo>
                    <a:pt x="790" y="1276"/>
                  </a:lnTo>
                  <a:lnTo>
                    <a:pt x="792" y="1276"/>
                  </a:lnTo>
                  <a:lnTo>
                    <a:pt x="795" y="1277"/>
                  </a:lnTo>
                  <a:lnTo>
                    <a:pt x="797" y="1280"/>
                  </a:lnTo>
                  <a:lnTo>
                    <a:pt x="797" y="1283"/>
                  </a:lnTo>
                  <a:lnTo>
                    <a:pt x="795" y="1286"/>
                  </a:lnTo>
                  <a:lnTo>
                    <a:pt x="795" y="1286"/>
                  </a:lnTo>
                  <a:close/>
                  <a:moveTo>
                    <a:pt x="814" y="1340"/>
                  </a:moveTo>
                  <a:lnTo>
                    <a:pt x="810" y="1342"/>
                  </a:lnTo>
                  <a:lnTo>
                    <a:pt x="808" y="1342"/>
                  </a:lnTo>
                  <a:lnTo>
                    <a:pt x="807" y="1340"/>
                  </a:lnTo>
                  <a:lnTo>
                    <a:pt x="805" y="1338"/>
                  </a:lnTo>
                  <a:lnTo>
                    <a:pt x="805" y="1335"/>
                  </a:lnTo>
                  <a:lnTo>
                    <a:pt x="808" y="1332"/>
                  </a:lnTo>
                  <a:lnTo>
                    <a:pt x="810" y="1332"/>
                  </a:lnTo>
                  <a:lnTo>
                    <a:pt x="813" y="1332"/>
                  </a:lnTo>
                  <a:lnTo>
                    <a:pt x="814" y="1332"/>
                  </a:lnTo>
                  <a:lnTo>
                    <a:pt x="815" y="1335"/>
                  </a:lnTo>
                  <a:lnTo>
                    <a:pt x="817" y="1338"/>
                  </a:lnTo>
                  <a:lnTo>
                    <a:pt x="815" y="1339"/>
                  </a:lnTo>
                  <a:lnTo>
                    <a:pt x="814" y="1340"/>
                  </a:lnTo>
                  <a:lnTo>
                    <a:pt x="814" y="1340"/>
                  </a:lnTo>
                  <a:close/>
                  <a:moveTo>
                    <a:pt x="780" y="1405"/>
                  </a:moveTo>
                  <a:lnTo>
                    <a:pt x="775" y="1399"/>
                  </a:lnTo>
                  <a:lnTo>
                    <a:pt x="775" y="1398"/>
                  </a:lnTo>
                  <a:lnTo>
                    <a:pt x="775" y="1393"/>
                  </a:lnTo>
                  <a:lnTo>
                    <a:pt x="774" y="1391"/>
                  </a:lnTo>
                  <a:lnTo>
                    <a:pt x="775" y="1389"/>
                  </a:lnTo>
                  <a:lnTo>
                    <a:pt x="777" y="1389"/>
                  </a:lnTo>
                  <a:lnTo>
                    <a:pt x="778" y="1391"/>
                  </a:lnTo>
                  <a:lnTo>
                    <a:pt x="782" y="1396"/>
                  </a:lnTo>
                  <a:lnTo>
                    <a:pt x="785" y="1398"/>
                  </a:lnTo>
                  <a:lnTo>
                    <a:pt x="787" y="1401"/>
                  </a:lnTo>
                  <a:lnTo>
                    <a:pt x="787" y="1403"/>
                  </a:lnTo>
                  <a:lnTo>
                    <a:pt x="787" y="1406"/>
                  </a:lnTo>
                  <a:lnTo>
                    <a:pt x="788" y="1408"/>
                  </a:lnTo>
                  <a:lnTo>
                    <a:pt x="794" y="1409"/>
                  </a:lnTo>
                  <a:lnTo>
                    <a:pt x="794" y="1411"/>
                  </a:lnTo>
                  <a:lnTo>
                    <a:pt x="792" y="1412"/>
                  </a:lnTo>
                  <a:lnTo>
                    <a:pt x="790" y="1414"/>
                  </a:lnTo>
                  <a:lnTo>
                    <a:pt x="787" y="1416"/>
                  </a:lnTo>
                  <a:lnTo>
                    <a:pt x="785" y="1416"/>
                  </a:lnTo>
                  <a:lnTo>
                    <a:pt x="784" y="1416"/>
                  </a:lnTo>
                  <a:lnTo>
                    <a:pt x="784" y="1414"/>
                  </a:lnTo>
                  <a:lnTo>
                    <a:pt x="784" y="1409"/>
                  </a:lnTo>
                  <a:lnTo>
                    <a:pt x="782" y="1408"/>
                  </a:lnTo>
                  <a:lnTo>
                    <a:pt x="780" y="1405"/>
                  </a:lnTo>
                  <a:lnTo>
                    <a:pt x="780" y="1405"/>
                  </a:lnTo>
                  <a:close/>
                  <a:moveTo>
                    <a:pt x="801" y="1403"/>
                  </a:moveTo>
                  <a:lnTo>
                    <a:pt x="802" y="1399"/>
                  </a:lnTo>
                  <a:lnTo>
                    <a:pt x="801" y="1396"/>
                  </a:lnTo>
                  <a:lnTo>
                    <a:pt x="800" y="1393"/>
                  </a:lnTo>
                  <a:lnTo>
                    <a:pt x="800" y="1391"/>
                  </a:lnTo>
                  <a:lnTo>
                    <a:pt x="801" y="1386"/>
                  </a:lnTo>
                  <a:lnTo>
                    <a:pt x="804" y="1385"/>
                  </a:lnTo>
                  <a:lnTo>
                    <a:pt x="807" y="1385"/>
                  </a:lnTo>
                  <a:lnTo>
                    <a:pt x="810" y="1386"/>
                  </a:lnTo>
                  <a:lnTo>
                    <a:pt x="811" y="1386"/>
                  </a:lnTo>
                  <a:lnTo>
                    <a:pt x="811" y="1388"/>
                  </a:lnTo>
                  <a:lnTo>
                    <a:pt x="811" y="1391"/>
                  </a:lnTo>
                  <a:lnTo>
                    <a:pt x="810" y="1391"/>
                  </a:lnTo>
                  <a:lnTo>
                    <a:pt x="808" y="1392"/>
                  </a:lnTo>
                  <a:lnTo>
                    <a:pt x="808" y="1393"/>
                  </a:lnTo>
                  <a:lnTo>
                    <a:pt x="808" y="1396"/>
                  </a:lnTo>
                  <a:lnTo>
                    <a:pt x="810" y="1399"/>
                  </a:lnTo>
                  <a:lnTo>
                    <a:pt x="810" y="1402"/>
                  </a:lnTo>
                  <a:lnTo>
                    <a:pt x="810" y="1403"/>
                  </a:lnTo>
                  <a:lnTo>
                    <a:pt x="805" y="1411"/>
                  </a:lnTo>
                  <a:lnTo>
                    <a:pt x="802" y="1414"/>
                  </a:lnTo>
                  <a:lnTo>
                    <a:pt x="800" y="1415"/>
                  </a:lnTo>
                  <a:lnTo>
                    <a:pt x="798" y="1414"/>
                  </a:lnTo>
                  <a:lnTo>
                    <a:pt x="798" y="1411"/>
                  </a:lnTo>
                  <a:lnTo>
                    <a:pt x="800" y="1409"/>
                  </a:lnTo>
                  <a:lnTo>
                    <a:pt x="801" y="1403"/>
                  </a:lnTo>
                  <a:lnTo>
                    <a:pt x="801" y="1403"/>
                  </a:lnTo>
                  <a:close/>
                  <a:moveTo>
                    <a:pt x="654" y="1441"/>
                  </a:moveTo>
                  <a:lnTo>
                    <a:pt x="652" y="1438"/>
                  </a:lnTo>
                  <a:lnTo>
                    <a:pt x="651" y="1436"/>
                  </a:lnTo>
                  <a:lnTo>
                    <a:pt x="651" y="1435"/>
                  </a:lnTo>
                  <a:lnTo>
                    <a:pt x="652" y="1432"/>
                  </a:lnTo>
                  <a:lnTo>
                    <a:pt x="655" y="1432"/>
                  </a:lnTo>
                  <a:lnTo>
                    <a:pt x="658" y="1432"/>
                  </a:lnTo>
                  <a:lnTo>
                    <a:pt x="659" y="1432"/>
                  </a:lnTo>
                  <a:lnTo>
                    <a:pt x="661" y="1434"/>
                  </a:lnTo>
                  <a:lnTo>
                    <a:pt x="661" y="1436"/>
                  </a:lnTo>
                  <a:lnTo>
                    <a:pt x="664" y="1438"/>
                  </a:lnTo>
                  <a:lnTo>
                    <a:pt x="666" y="1438"/>
                  </a:lnTo>
                  <a:lnTo>
                    <a:pt x="668" y="1436"/>
                  </a:lnTo>
                  <a:lnTo>
                    <a:pt x="671" y="1435"/>
                  </a:lnTo>
                  <a:lnTo>
                    <a:pt x="674" y="1434"/>
                  </a:lnTo>
                  <a:lnTo>
                    <a:pt x="675" y="1434"/>
                  </a:lnTo>
                  <a:lnTo>
                    <a:pt x="676" y="1435"/>
                  </a:lnTo>
                  <a:lnTo>
                    <a:pt x="675" y="1438"/>
                  </a:lnTo>
                  <a:lnTo>
                    <a:pt x="672" y="1441"/>
                  </a:lnTo>
                  <a:lnTo>
                    <a:pt x="669" y="1442"/>
                  </a:lnTo>
                  <a:lnTo>
                    <a:pt x="665" y="1441"/>
                  </a:lnTo>
                  <a:lnTo>
                    <a:pt x="661" y="1444"/>
                  </a:lnTo>
                  <a:lnTo>
                    <a:pt x="659" y="1444"/>
                  </a:lnTo>
                  <a:lnTo>
                    <a:pt x="658" y="1442"/>
                  </a:lnTo>
                  <a:lnTo>
                    <a:pt x="655" y="1442"/>
                  </a:lnTo>
                  <a:lnTo>
                    <a:pt x="654" y="1441"/>
                  </a:lnTo>
                  <a:lnTo>
                    <a:pt x="654" y="1441"/>
                  </a:lnTo>
                  <a:close/>
                  <a:moveTo>
                    <a:pt x="662" y="1391"/>
                  </a:moveTo>
                  <a:lnTo>
                    <a:pt x="662" y="1392"/>
                  </a:lnTo>
                  <a:lnTo>
                    <a:pt x="659" y="1393"/>
                  </a:lnTo>
                  <a:lnTo>
                    <a:pt x="659" y="1393"/>
                  </a:lnTo>
                  <a:lnTo>
                    <a:pt x="658" y="1392"/>
                  </a:lnTo>
                  <a:lnTo>
                    <a:pt x="658" y="1389"/>
                  </a:lnTo>
                  <a:lnTo>
                    <a:pt x="659" y="1388"/>
                  </a:lnTo>
                  <a:lnTo>
                    <a:pt x="662" y="1388"/>
                  </a:lnTo>
                  <a:lnTo>
                    <a:pt x="662" y="1388"/>
                  </a:lnTo>
                  <a:lnTo>
                    <a:pt x="664" y="1389"/>
                  </a:lnTo>
                  <a:lnTo>
                    <a:pt x="662" y="1391"/>
                  </a:lnTo>
                  <a:lnTo>
                    <a:pt x="662" y="1391"/>
                  </a:lnTo>
                  <a:close/>
                  <a:moveTo>
                    <a:pt x="967" y="1305"/>
                  </a:moveTo>
                  <a:lnTo>
                    <a:pt x="966" y="1306"/>
                  </a:lnTo>
                  <a:lnTo>
                    <a:pt x="964" y="1308"/>
                  </a:lnTo>
                  <a:lnTo>
                    <a:pt x="963" y="1306"/>
                  </a:lnTo>
                  <a:lnTo>
                    <a:pt x="963" y="1305"/>
                  </a:lnTo>
                  <a:lnTo>
                    <a:pt x="963" y="1302"/>
                  </a:lnTo>
                  <a:lnTo>
                    <a:pt x="964" y="1300"/>
                  </a:lnTo>
                  <a:lnTo>
                    <a:pt x="967" y="1299"/>
                  </a:lnTo>
                  <a:lnTo>
                    <a:pt x="969" y="1299"/>
                  </a:lnTo>
                  <a:lnTo>
                    <a:pt x="969" y="1302"/>
                  </a:lnTo>
                  <a:lnTo>
                    <a:pt x="967" y="1305"/>
                  </a:lnTo>
                  <a:lnTo>
                    <a:pt x="967" y="1305"/>
                  </a:lnTo>
                  <a:close/>
                  <a:moveTo>
                    <a:pt x="897" y="1302"/>
                  </a:moveTo>
                  <a:lnTo>
                    <a:pt x="898" y="1298"/>
                  </a:lnTo>
                  <a:lnTo>
                    <a:pt x="900" y="1295"/>
                  </a:lnTo>
                  <a:lnTo>
                    <a:pt x="900" y="1296"/>
                  </a:lnTo>
                  <a:lnTo>
                    <a:pt x="901" y="1296"/>
                  </a:lnTo>
                  <a:lnTo>
                    <a:pt x="903" y="1299"/>
                  </a:lnTo>
                  <a:lnTo>
                    <a:pt x="903" y="1302"/>
                  </a:lnTo>
                  <a:lnTo>
                    <a:pt x="901" y="1305"/>
                  </a:lnTo>
                  <a:lnTo>
                    <a:pt x="898" y="1306"/>
                  </a:lnTo>
                  <a:lnTo>
                    <a:pt x="897" y="1305"/>
                  </a:lnTo>
                  <a:lnTo>
                    <a:pt x="897" y="1303"/>
                  </a:lnTo>
                  <a:lnTo>
                    <a:pt x="897" y="130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83" name="Freeform 231"/>
            <p:cNvSpPr>
              <a:spLocks noEditPoints="1"/>
            </p:cNvSpPr>
            <p:nvPr/>
          </p:nvSpPr>
          <p:spPr bwMode="auto">
            <a:xfrm>
              <a:off x="7256062" y="4448406"/>
              <a:ext cx="520207" cy="173300"/>
            </a:xfrm>
            <a:custGeom>
              <a:avLst/>
              <a:gdLst>
                <a:gd name="T0" fmla="*/ 2 w 853"/>
                <a:gd name="T1" fmla="*/ 232 h 262"/>
                <a:gd name="T2" fmla="*/ 558 w 853"/>
                <a:gd name="T3" fmla="*/ 87 h 262"/>
                <a:gd name="T4" fmla="*/ 562 w 853"/>
                <a:gd name="T5" fmla="*/ 73 h 262"/>
                <a:gd name="T6" fmla="*/ 572 w 853"/>
                <a:gd name="T7" fmla="*/ 62 h 262"/>
                <a:gd name="T8" fmla="*/ 579 w 853"/>
                <a:gd name="T9" fmla="*/ 72 h 262"/>
                <a:gd name="T10" fmla="*/ 579 w 853"/>
                <a:gd name="T11" fmla="*/ 85 h 262"/>
                <a:gd name="T12" fmla="*/ 585 w 853"/>
                <a:gd name="T13" fmla="*/ 92 h 262"/>
                <a:gd name="T14" fmla="*/ 572 w 853"/>
                <a:gd name="T15" fmla="*/ 97 h 262"/>
                <a:gd name="T16" fmla="*/ 569 w 853"/>
                <a:gd name="T17" fmla="*/ 100 h 262"/>
                <a:gd name="T18" fmla="*/ 560 w 853"/>
                <a:gd name="T19" fmla="*/ 106 h 262"/>
                <a:gd name="T20" fmla="*/ 556 w 853"/>
                <a:gd name="T21" fmla="*/ 113 h 262"/>
                <a:gd name="T22" fmla="*/ 552 w 853"/>
                <a:gd name="T23" fmla="*/ 100 h 262"/>
                <a:gd name="T24" fmla="*/ 606 w 853"/>
                <a:gd name="T25" fmla="*/ 70 h 262"/>
                <a:gd name="T26" fmla="*/ 609 w 853"/>
                <a:gd name="T27" fmla="*/ 93 h 262"/>
                <a:gd name="T28" fmla="*/ 618 w 853"/>
                <a:gd name="T29" fmla="*/ 96 h 262"/>
                <a:gd name="T30" fmla="*/ 626 w 853"/>
                <a:gd name="T31" fmla="*/ 80 h 262"/>
                <a:gd name="T32" fmla="*/ 641 w 853"/>
                <a:gd name="T33" fmla="*/ 87 h 262"/>
                <a:gd name="T34" fmla="*/ 664 w 853"/>
                <a:gd name="T35" fmla="*/ 102 h 262"/>
                <a:gd name="T36" fmla="*/ 668 w 853"/>
                <a:gd name="T37" fmla="*/ 83 h 262"/>
                <a:gd name="T38" fmla="*/ 672 w 853"/>
                <a:gd name="T39" fmla="*/ 66 h 262"/>
                <a:gd name="T40" fmla="*/ 658 w 853"/>
                <a:gd name="T41" fmla="*/ 49 h 262"/>
                <a:gd name="T42" fmla="*/ 668 w 853"/>
                <a:gd name="T43" fmla="*/ 23 h 262"/>
                <a:gd name="T44" fmla="*/ 658 w 853"/>
                <a:gd name="T45" fmla="*/ 20 h 262"/>
                <a:gd name="T46" fmla="*/ 645 w 853"/>
                <a:gd name="T47" fmla="*/ 44 h 262"/>
                <a:gd name="T48" fmla="*/ 644 w 853"/>
                <a:gd name="T49" fmla="*/ 29 h 262"/>
                <a:gd name="T50" fmla="*/ 642 w 853"/>
                <a:gd name="T51" fmla="*/ 22 h 262"/>
                <a:gd name="T52" fmla="*/ 631 w 853"/>
                <a:gd name="T53" fmla="*/ 24 h 262"/>
                <a:gd name="T54" fmla="*/ 605 w 853"/>
                <a:gd name="T55" fmla="*/ 27 h 262"/>
                <a:gd name="T56" fmla="*/ 602 w 853"/>
                <a:gd name="T57" fmla="*/ 40 h 262"/>
                <a:gd name="T58" fmla="*/ 606 w 853"/>
                <a:gd name="T59" fmla="*/ 70 h 262"/>
                <a:gd name="T60" fmla="*/ 674 w 853"/>
                <a:gd name="T61" fmla="*/ 0 h 262"/>
                <a:gd name="T62" fmla="*/ 674 w 853"/>
                <a:gd name="T63" fmla="*/ 13 h 262"/>
                <a:gd name="T64" fmla="*/ 701 w 853"/>
                <a:gd name="T65" fmla="*/ 62 h 262"/>
                <a:gd name="T66" fmla="*/ 689 w 853"/>
                <a:gd name="T67" fmla="*/ 59 h 262"/>
                <a:gd name="T68" fmla="*/ 698 w 853"/>
                <a:gd name="T69" fmla="*/ 64 h 262"/>
                <a:gd name="T70" fmla="*/ 669 w 853"/>
                <a:gd name="T71" fmla="*/ 140 h 262"/>
                <a:gd name="T72" fmla="*/ 672 w 853"/>
                <a:gd name="T73" fmla="*/ 132 h 262"/>
                <a:gd name="T74" fmla="*/ 662 w 853"/>
                <a:gd name="T75" fmla="*/ 115 h 262"/>
                <a:gd name="T76" fmla="*/ 659 w 853"/>
                <a:gd name="T77" fmla="*/ 123 h 262"/>
                <a:gd name="T78" fmla="*/ 682 w 853"/>
                <a:gd name="T79" fmla="*/ 138 h 262"/>
                <a:gd name="T80" fmla="*/ 694 w 853"/>
                <a:gd name="T81" fmla="*/ 123 h 262"/>
                <a:gd name="T82" fmla="*/ 695 w 853"/>
                <a:gd name="T83" fmla="*/ 112 h 262"/>
                <a:gd name="T84" fmla="*/ 684 w 853"/>
                <a:gd name="T85" fmla="*/ 115 h 262"/>
                <a:gd name="T86" fmla="*/ 538 w 853"/>
                <a:gd name="T87" fmla="*/ 165 h 262"/>
                <a:gd name="T88" fmla="*/ 553 w 853"/>
                <a:gd name="T89" fmla="*/ 166 h 262"/>
                <a:gd name="T90" fmla="*/ 555 w 853"/>
                <a:gd name="T91" fmla="*/ 159 h 262"/>
                <a:gd name="T92" fmla="*/ 543 w 853"/>
                <a:gd name="T93" fmla="*/ 156 h 262"/>
                <a:gd name="T94" fmla="*/ 536 w 853"/>
                <a:gd name="T95" fmla="*/ 162 h 262"/>
                <a:gd name="T96" fmla="*/ 546 w 853"/>
                <a:gd name="T97" fmla="*/ 112 h 262"/>
                <a:gd name="T98" fmla="*/ 546 w 853"/>
                <a:gd name="T99" fmla="*/ 116 h 262"/>
                <a:gd name="T100" fmla="*/ 851 w 853"/>
                <a:gd name="T101" fmla="*/ 23 h 262"/>
                <a:gd name="T102" fmla="*/ 850 w 853"/>
                <a:gd name="T103" fmla="*/ 30 h 262"/>
                <a:gd name="T104" fmla="*/ 782 w 853"/>
                <a:gd name="T105" fmla="*/ 30 h 262"/>
                <a:gd name="T106" fmla="*/ 784 w 853"/>
                <a:gd name="T107" fmla="*/ 19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3" h="262">
                  <a:moveTo>
                    <a:pt x="21" y="262"/>
                  </a:moveTo>
                  <a:lnTo>
                    <a:pt x="21" y="254"/>
                  </a:lnTo>
                  <a:lnTo>
                    <a:pt x="16" y="246"/>
                  </a:lnTo>
                  <a:lnTo>
                    <a:pt x="10" y="242"/>
                  </a:lnTo>
                  <a:lnTo>
                    <a:pt x="5" y="236"/>
                  </a:lnTo>
                  <a:lnTo>
                    <a:pt x="2" y="232"/>
                  </a:lnTo>
                  <a:lnTo>
                    <a:pt x="2" y="228"/>
                  </a:lnTo>
                  <a:lnTo>
                    <a:pt x="0" y="225"/>
                  </a:lnTo>
                  <a:lnTo>
                    <a:pt x="21" y="262"/>
                  </a:lnTo>
                  <a:close/>
                  <a:moveTo>
                    <a:pt x="553" y="90"/>
                  </a:moveTo>
                  <a:lnTo>
                    <a:pt x="555" y="87"/>
                  </a:lnTo>
                  <a:lnTo>
                    <a:pt x="558" y="87"/>
                  </a:lnTo>
                  <a:lnTo>
                    <a:pt x="559" y="85"/>
                  </a:lnTo>
                  <a:lnTo>
                    <a:pt x="560" y="83"/>
                  </a:lnTo>
                  <a:lnTo>
                    <a:pt x="560" y="82"/>
                  </a:lnTo>
                  <a:lnTo>
                    <a:pt x="562" y="79"/>
                  </a:lnTo>
                  <a:lnTo>
                    <a:pt x="562" y="77"/>
                  </a:lnTo>
                  <a:lnTo>
                    <a:pt x="562" y="73"/>
                  </a:lnTo>
                  <a:lnTo>
                    <a:pt x="562" y="72"/>
                  </a:lnTo>
                  <a:lnTo>
                    <a:pt x="563" y="70"/>
                  </a:lnTo>
                  <a:lnTo>
                    <a:pt x="565" y="69"/>
                  </a:lnTo>
                  <a:lnTo>
                    <a:pt x="568" y="67"/>
                  </a:lnTo>
                  <a:lnTo>
                    <a:pt x="569" y="66"/>
                  </a:lnTo>
                  <a:lnTo>
                    <a:pt x="572" y="62"/>
                  </a:lnTo>
                  <a:lnTo>
                    <a:pt x="575" y="60"/>
                  </a:lnTo>
                  <a:lnTo>
                    <a:pt x="576" y="60"/>
                  </a:lnTo>
                  <a:lnTo>
                    <a:pt x="579" y="60"/>
                  </a:lnTo>
                  <a:lnTo>
                    <a:pt x="579" y="62"/>
                  </a:lnTo>
                  <a:lnTo>
                    <a:pt x="579" y="67"/>
                  </a:lnTo>
                  <a:lnTo>
                    <a:pt x="579" y="72"/>
                  </a:lnTo>
                  <a:lnTo>
                    <a:pt x="581" y="76"/>
                  </a:lnTo>
                  <a:lnTo>
                    <a:pt x="581" y="79"/>
                  </a:lnTo>
                  <a:lnTo>
                    <a:pt x="579" y="80"/>
                  </a:lnTo>
                  <a:lnTo>
                    <a:pt x="578" y="82"/>
                  </a:lnTo>
                  <a:lnTo>
                    <a:pt x="578" y="82"/>
                  </a:lnTo>
                  <a:lnTo>
                    <a:pt x="579" y="85"/>
                  </a:lnTo>
                  <a:lnTo>
                    <a:pt x="579" y="85"/>
                  </a:lnTo>
                  <a:lnTo>
                    <a:pt x="581" y="86"/>
                  </a:lnTo>
                  <a:lnTo>
                    <a:pt x="581" y="87"/>
                  </a:lnTo>
                  <a:lnTo>
                    <a:pt x="581" y="87"/>
                  </a:lnTo>
                  <a:lnTo>
                    <a:pt x="583" y="89"/>
                  </a:lnTo>
                  <a:lnTo>
                    <a:pt x="585" y="92"/>
                  </a:lnTo>
                  <a:lnTo>
                    <a:pt x="585" y="96"/>
                  </a:lnTo>
                  <a:lnTo>
                    <a:pt x="582" y="99"/>
                  </a:lnTo>
                  <a:lnTo>
                    <a:pt x="579" y="102"/>
                  </a:lnTo>
                  <a:lnTo>
                    <a:pt x="575" y="100"/>
                  </a:lnTo>
                  <a:lnTo>
                    <a:pt x="573" y="99"/>
                  </a:lnTo>
                  <a:lnTo>
                    <a:pt x="572" y="97"/>
                  </a:lnTo>
                  <a:lnTo>
                    <a:pt x="570" y="96"/>
                  </a:lnTo>
                  <a:lnTo>
                    <a:pt x="569" y="96"/>
                  </a:lnTo>
                  <a:lnTo>
                    <a:pt x="569" y="96"/>
                  </a:lnTo>
                  <a:lnTo>
                    <a:pt x="569" y="97"/>
                  </a:lnTo>
                  <a:lnTo>
                    <a:pt x="569" y="99"/>
                  </a:lnTo>
                  <a:lnTo>
                    <a:pt x="569" y="100"/>
                  </a:lnTo>
                  <a:lnTo>
                    <a:pt x="568" y="100"/>
                  </a:lnTo>
                  <a:lnTo>
                    <a:pt x="566" y="100"/>
                  </a:lnTo>
                  <a:lnTo>
                    <a:pt x="565" y="102"/>
                  </a:lnTo>
                  <a:lnTo>
                    <a:pt x="563" y="105"/>
                  </a:lnTo>
                  <a:lnTo>
                    <a:pt x="563" y="105"/>
                  </a:lnTo>
                  <a:lnTo>
                    <a:pt x="560" y="106"/>
                  </a:lnTo>
                  <a:lnTo>
                    <a:pt x="560" y="107"/>
                  </a:lnTo>
                  <a:lnTo>
                    <a:pt x="560" y="109"/>
                  </a:lnTo>
                  <a:lnTo>
                    <a:pt x="562" y="110"/>
                  </a:lnTo>
                  <a:lnTo>
                    <a:pt x="563" y="112"/>
                  </a:lnTo>
                  <a:lnTo>
                    <a:pt x="560" y="113"/>
                  </a:lnTo>
                  <a:lnTo>
                    <a:pt x="556" y="113"/>
                  </a:lnTo>
                  <a:lnTo>
                    <a:pt x="553" y="113"/>
                  </a:lnTo>
                  <a:lnTo>
                    <a:pt x="552" y="110"/>
                  </a:lnTo>
                  <a:lnTo>
                    <a:pt x="552" y="107"/>
                  </a:lnTo>
                  <a:lnTo>
                    <a:pt x="549" y="105"/>
                  </a:lnTo>
                  <a:lnTo>
                    <a:pt x="549" y="103"/>
                  </a:lnTo>
                  <a:lnTo>
                    <a:pt x="552" y="100"/>
                  </a:lnTo>
                  <a:lnTo>
                    <a:pt x="552" y="99"/>
                  </a:lnTo>
                  <a:lnTo>
                    <a:pt x="552" y="96"/>
                  </a:lnTo>
                  <a:lnTo>
                    <a:pt x="553" y="93"/>
                  </a:lnTo>
                  <a:lnTo>
                    <a:pt x="553" y="90"/>
                  </a:lnTo>
                  <a:lnTo>
                    <a:pt x="553" y="90"/>
                  </a:lnTo>
                  <a:close/>
                  <a:moveTo>
                    <a:pt x="606" y="70"/>
                  </a:moveTo>
                  <a:lnTo>
                    <a:pt x="606" y="74"/>
                  </a:lnTo>
                  <a:lnTo>
                    <a:pt x="603" y="76"/>
                  </a:lnTo>
                  <a:lnTo>
                    <a:pt x="603" y="82"/>
                  </a:lnTo>
                  <a:lnTo>
                    <a:pt x="605" y="86"/>
                  </a:lnTo>
                  <a:lnTo>
                    <a:pt x="606" y="90"/>
                  </a:lnTo>
                  <a:lnTo>
                    <a:pt x="609" y="93"/>
                  </a:lnTo>
                  <a:lnTo>
                    <a:pt x="609" y="99"/>
                  </a:lnTo>
                  <a:lnTo>
                    <a:pt x="611" y="102"/>
                  </a:lnTo>
                  <a:lnTo>
                    <a:pt x="613" y="103"/>
                  </a:lnTo>
                  <a:lnTo>
                    <a:pt x="615" y="103"/>
                  </a:lnTo>
                  <a:lnTo>
                    <a:pt x="616" y="102"/>
                  </a:lnTo>
                  <a:lnTo>
                    <a:pt x="618" y="96"/>
                  </a:lnTo>
                  <a:lnTo>
                    <a:pt x="619" y="92"/>
                  </a:lnTo>
                  <a:lnTo>
                    <a:pt x="619" y="87"/>
                  </a:lnTo>
                  <a:lnTo>
                    <a:pt x="619" y="85"/>
                  </a:lnTo>
                  <a:lnTo>
                    <a:pt x="622" y="82"/>
                  </a:lnTo>
                  <a:lnTo>
                    <a:pt x="623" y="80"/>
                  </a:lnTo>
                  <a:lnTo>
                    <a:pt x="626" y="80"/>
                  </a:lnTo>
                  <a:lnTo>
                    <a:pt x="629" y="82"/>
                  </a:lnTo>
                  <a:lnTo>
                    <a:pt x="631" y="85"/>
                  </a:lnTo>
                  <a:lnTo>
                    <a:pt x="635" y="86"/>
                  </a:lnTo>
                  <a:lnTo>
                    <a:pt x="638" y="87"/>
                  </a:lnTo>
                  <a:lnTo>
                    <a:pt x="641" y="87"/>
                  </a:lnTo>
                  <a:lnTo>
                    <a:pt x="641" y="87"/>
                  </a:lnTo>
                  <a:lnTo>
                    <a:pt x="644" y="89"/>
                  </a:lnTo>
                  <a:lnTo>
                    <a:pt x="646" y="92"/>
                  </a:lnTo>
                  <a:lnTo>
                    <a:pt x="651" y="96"/>
                  </a:lnTo>
                  <a:lnTo>
                    <a:pt x="655" y="100"/>
                  </a:lnTo>
                  <a:lnTo>
                    <a:pt x="658" y="102"/>
                  </a:lnTo>
                  <a:lnTo>
                    <a:pt x="664" y="102"/>
                  </a:lnTo>
                  <a:lnTo>
                    <a:pt x="665" y="102"/>
                  </a:lnTo>
                  <a:lnTo>
                    <a:pt x="665" y="100"/>
                  </a:lnTo>
                  <a:lnTo>
                    <a:pt x="665" y="93"/>
                  </a:lnTo>
                  <a:lnTo>
                    <a:pt x="665" y="92"/>
                  </a:lnTo>
                  <a:lnTo>
                    <a:pt x="668" y="87"/>
                  </a:lnTo>
                  <a:lnTo>
                    <a:pt x="668" y="83"/>
                  </a:lnTo>
                  <a:lnTo>
                    <a:pt x="666" y="79"/>
                  </a:lnTo>
                  <a:lnTo>
                    <a:pt x="668" y="77"/>
                  </a:lnTo>
                  <a:lnTo>
                    <a:pt x="668" y="74"/>
                  </a:lnTo>
                  <a:lnTo>
                    <a:pt x="671" y="73"/>
                  </a:lnTo>
                  <a:lnTo>
                    <a:pt x="672" y="70"/>
                  </a:lnTo>
                  <a:lnTo>
                    <a:pt x="672" y="66"/>
                  </a:lnTo>
                  <a:lnTo>
                    <a:pt x="669" y="56"/>
                  </a:lnTo>
                  <a:lnTo>
                    <a:pt x="666" y="54"/>
                  </a:lnTo>
                  <a:lnTo>
                    <a:pt x="665" y="53"/>
                  </a:lnTo>
                  <a:lnTo>
                    <a:pt x="662" y="52"/>
                  </a:lnTo>
                  <a:lnTo>
                    <a:pt x="661" y="50"/>
                  </a:lnTo>
                  <a:lnTo>
                    <a:pt x="658" y="49"/>
                  </a:lnTo>
                  <a:lnTo>
                    <a:pt x="658" y="46"/>
                  </a:lnTo>
                  <a:lnTo>
                    <a:pt x="659" y="43"/>
                  </a:lnTo>
                  <a:lnTo>
                    <a:pt x="664" y="33"/>
                  </a:lnTo>
                  <a:lnTo>
                    <a:pt x="665" y="30"/>
                  </a:lnTo>
                  <a:lnTo>
                    <a:pt x="668" y="27"/>
                  </a:lnTo>
                  <a:lnTo>
                    <a:pt x="668" y="23"/>
                  </a:lnTo>
                  <a:lnTo>
                    <a:pt x="668" y="20"/>
                  </a:lnTo>
                  <a:lnTo>
                    <a:pt x="668" y="17"/>
                  </a:lnTo>
                  <a:lnTo>
                    <a:pt x="666" y="17"/>
                  </a:lnTo>
                  <a:lnTo>
                    <a:pt x="664" y="19"/>
                  </a:lnTo>
                  <a:lnTo>
                    <a:pt x="661" y="20"/>
                  </a:lnTo>
                  <a:lnTo>
                    <a:pt x="658" y="20"/>
                  </a:lnTo>
                  <a:lnTo>
                    <a:pt x="654" y="22"/>
                  </a:lnTo>
                  <a:lnTo>
                    <a:pt x="651" y="24"/>
                  </a:lnTo>
                  <a:lnTo>
                    <a:pt x="648" y="32"/>
                  </a:lnTo>
                  <a:lnTo>
                    <a:pt x="646" y="40"/>
                  </a:lnTo>
                  <a:lnTo>
                    <a:pt x="645" y="43"/>
                  </a:lnTo>
                  <a:lnTo>
                    <a:pt x="645" y="44"/>
                  </a:lnTo>
                  <a:lnTo>
                    <a:pt x="644" y="43"/>
                  </a:lnTo>
                  <a:lnTo>
                    <a:pt x="642" y="42"/>
                  </a:lnTo>
                  <a:lnTo>
                    <a:pt x="642" y="40"/>
                  </a:lnTo>
                  <a:lnTo>
                    <a:pt x="644" y="37"/>
                  </a:lnTo>
                  <a:lnTo>
                    <a:pt x="642" y="32"/>
                  </a:lnTo>
                  <a:lnTo>
                    <a:pt x="644" y="29"/>
                  </a:lnTo>
                  <a:lnTo>
                    <a:pt x="645" y="29"/>
                  </a:lnTo>
                  <a:lnTo>
                    <a:pt x="646" y="26"/>
                  </a:lnTo>
                  <a:lnTo>
                    <a:pt x="646" y="24"/>
                  </a:lnTo>
                  <a:lnTo>
                    <a:pt x="646" y="23"/>
                  </a:lnTo>
                  <a:lnTo>
                    <a:pt x="645" y="23"/>
                  </a:lnTo>
                  <a:lnTo>
                    <a:pt x="642" y="22"/>
                  </a:lnTo>
                  <a:lnTo>
                    <a:pt x="639" y="22"/>
                  </a:lnTo>
                  <a:lnTo>
                    <a:pt x="638" y="22"/>
                  </a:lnTo>
                  <a:lnTo>
                    <a:pt x="636" y="20"/>
                  </a:lnTo>
                  <a:lnTo>
                    <a:pt x="632" y="20"/>
                  </a:lnTo>
                  <a:lnTo>
                    <a:pt x="632" y="22"/>
                  </a:lnTo>
                  <a:lnTo>
                    <a:pt x="631" y="24"/>
                  </a:lnTo>
                  <a:lnTo>
                    <a:pt x="625" y="27"/>
                  </a:lnTo>
                  <a:lnTo>
                    <a:pt x="618" y="29"/>
                  </a:lnTo>
                  <a:lnTo>
                    <a:pt x="613" y="29"/>
                  </a:lnTo>
                  <a:lnTo>
                    <a:pt x="611" y="27"/>
                  </a:lnTo>
                  <a:lnTo>
                    <a:pt x="606" y="26"/>
                  </a:lnTo>
                  <a:lnTo>
                    <a:pt x="605" y="27"/>
                  </a:lnTo>
                  <a:lnTo>
                    <a:pt x="605" y="29"/>
                  </a:lnTo>
                  <a:lnTo>
                    <a:pt x="603" y="30"/>
                  </a:lnTo>
                  <a:lnTo>
                    <a:pt x="601" y="32"/>
                  </a:lnTo>
                  <a:lnTo>
                    <a:pt x="601" y="34"/>
                  </a:lnTo>
                  <a:lnTo>
                    <a:pt x="602" y="37"/>
                  </a:lnTo>
                  <a:lnTo>
                    <a:pt x="602" y="40"/>
                  </a:lnTo>
                  <a:lnTo>
                    <a:pt x="601" y="43"/>
                  </a:lnTo>
                  <a:lnTo>
                    <a:pt x="603" y="49"/>
                  </a:lnTo>
                  <a:lnTo>
                    <a:pt x="606" y="57"/>
                  </a:lnTo>
                  <a:lnTo>
                    <a:pt x="606" y="63"/>
                  </a:lnTo>
                  <a:lnTo>
                    <a:pt x="606" y="70"/>
                  </a:lnTo>
                  <a:lnTo>
                    <a:pt x="606" y="70"/>
                  </a:lnTo>
                  <a:close/>
                  <a:moveTo>
                    <a:pt x="679" y="10"/>
                  </a:moveTo>
                  <a:lnTo>
                    <a:pt x="681" y="7"/>
                  </a:lnTo>
                  <a:lnTo>
                    <a:pt x="681" y="4"/>
                  </a:lnTo>
                  <a:lnTo>
                    <a:pt x="679" y="1"/>
                  </a:lnTo>
                  <a:lnTo>
                    <a:pt x="676" y="0"/>
                  </a:lnTo>
                  <a:lnTo>
                    <a:pt x="674" y="0"/>
                  </a:lnTo>
                  <a:lnTo>
                    <a:pt x="669" y="1"/>
                  </a:lnTo>
                  <a:lnTo>
                    <a:pt x="668" y="4"/>
                  </a:lnTo>
                  <a:lnTo>
                    <a:pt x="668" y="7"/>
                  </a:lnTo>
                  <a:lnTo>
                    <a:pt x="669" y="9"/>
                  </a:lnTo>
                  <a:lnTo>
                    <a:pt x="671" y="13"/>
                  </a:lnTo>
                  <a:lnTo>
                    <a:pt x="674" y="13"/>
                  </a:lnTo>
                  <a:lnTo>
                    <a:pt x="675" y="11"/>
                  </a:lnTo>
                  <a:lnTo>
                    <a:pt x="679" y="10"/>
                  </a:lnTo>
                  <a:lnTo>
                    <a:pt x="679" y="10"/>
                  </a:lnTo>
                  <a:close/>
                  <a:moveTo>
                    <a:pt x="698" y="64"/>
                  </a:moveTo>
                  <a:lnTo>
                    <a:pt x="699" y="63"/>
                  </a:lnTo>
                  <a:lnTo>
                    <a:pt x="701" y="62"/>
                  </a:lnTo>
                  <a:lnTo>
                    <a:pt x="699" y="59"/>
                  </a:lnTo>
                  <a:lnTo>
                    <a:pt x="698" y="56"/>
                  </a:lnTo>
                  <a:lnTo>
                    <a:pt x="697" y="56"/>
                  </a:lnTo>
                  <a:lnTo>
                    <a:pt x="694" y="56"/>
                  </a:lnTo>
                  <a:lnTo>
                    <a:pt x="692" y="56"/>
                  </a:lnTo>
                  <a:lnTo>
                    <a:pt x="689" y="59"/>
                  </a:lnTo>
                  <a:lnTo>
                    <a:pt x="689" y="62"/>
                  </a:lnTo>
                  <a:lnTo>
                    <a:pt x="691" y="64"/>
                  </a:lnTo>
                  <a:lnTo>
                    <a:pt x="692" y="66"/>
                  </a:lnTo>
                  <a:lnTo>
                    <a:pt x="694" y="66"/>
                  </a:lnTo>
                  <a:lnTo>
                    <a:pt x="698" y="64"/>
                  </a:lnTo>
                  <a:lnTo>
                    <a:pt x="698" y="64"/>
                  </a:lnTo>
                  <a:close/>
                  <a:moveTo>
                    <a:pt x="664" y="129"/>
                  </a:moveTo>
                  <a:lnTo>
                    <a:pt x="666" y="132"/>
                  </a:lnTo>
                  <a:lnTo>
                    <a:pt x="668" y="133"/>
                  </a:lnTo>
                  <a:lnTo>
                    <a:pt x="668" y="138"/>
                  </a:lnTo>
                  <a:lnTo>
                    <a:pt x="668" y="140"/>
                  </a:lnTo>
                  <a:lnTo>
                    <a:pt x="669" y="140"/>
                  </a:lnTo>
                  <a:lnTo>
                    <a:pt x="671" y="140"/>
                  </a:lnTo>
                  <a:lnTo>
                    <a:pt x="674" y="138"/>
                  </a:lnTo>
                  <a:lnTo>
                    <a:pt x="676" y="136"/>
                  </a:lnTo>
                  <a:lnTo>
                    <a:pt x="678" y="135"/>
                  </a:lnTo>
                  <a:lnTo>
                    <a:pt x="678" y="133"/>
                  </a:lnTo>
                  <a:lnTo>
                    <a:pt x="672" y="132"/>
                  </a:lnTo>
                  <a:lnTo>
                    <a:pt x="671" y="130"/>
                  </a:lnTo>
                  <a:lnTo>
                    <a:pt x="671" y="127"/>
                  </a:lnTo>
                  <a:lnTo>
                    <a:pt x="671" y="125"/>
                  </a:lnTo>
                  <a:lnTo>
                    <a:pt x="669" y="122"/>
                  </a:lnTo>
                  <a:lnTo>
                    <a:pt x="666" y="120"/>
                  </a:lnTo>
                  <a:lnTo>
                    <a:pt x="662" y="115"/>
                  </a:lnTo>
                  <a:lnTo>
                    <a:pt x="661" y="113"/>
                  </a:lnTo>
                  <a:lnTo>
                    <a:pt x="659" y="113"/>
                  </a:lnTo>
                  <a:lnTo>
                    <a:pt x="658" y="115"/>
                  </a:lnTo>
                  <a:lnTo>
                    <a:pt x="659" y="117"/>
                  </a:lnTo>
                  <a:lnTo>
                    <a:pt x="659" y="122"/>
                  </a:lnTo>
                  <a:lnTo>
                    <a:pt x="659" y="123"/>
                  </a:lnTo>
                  <a:lnTo>
                    <a:pt x="664" y="129"/>
                  </a:lnTo>
                  <a:lnTo>
                    <a:pt x="664" y="129"/>
                  </a:lnTo>
                  <a:close/>
                  <a:moveTo>
                    <a:pt x="685" y="127"/>
                  </a:moveTo>
                  <a:lnTo>
                    <a:pt x="684" y="133"/>
                  </a:lnTo>
                  <a:lnTo>
                    <a:pt x="682" y="135"/>
                  </a:lnTo>
                  <a:lnTo>
                    <a:pt x="682" y="138"/>
                  </a:lnTo>
                  <a:lnTo>
                    <a:pt x="684" y="139"/>
                  </a:lnTo>
                  <a:lnTo>
                    <a:pt x="686" y="138"/>
                  </a:lnTo>
                  <a:lnTo>
                    <a:pt x="689" y="135"/>
                  </a:lnTo>
                  <a:lnTo>
                    <a:pt x="694" y="127"/>
                  </a:lnTo>
                  <a:lnTo>
                    <a:pt x="694" y="126"/>
                  </a:lnTo>
                  <a:lnTo>
                    <a:pt x="694" y="123"/>
                  </a:lnTo>
                  <a:lnTo>
                    <a:pt x="692" y="120"/>
                  </a:lnTo>
                  <a:lnTo>
                    <a:pt x="692" y="117"/>
                  </a:lnTo>
                  <a:lnTo>
                    <a:pt x="692" y="116"/>
                  </a:lnTo>
                  <a:lnTo>
                    <a:pt x="694" y="115"/>
                  </a:lnTo>
                  <a:lnTo>
                    <a:pt x="695" y="115"/>
                  </a:lnTo>
                  <a:lnTo>
                    <a:pt x="695" y="112"/>
                  </a:lnTo>
                  <a:lnTo>
                    <a:pt x="695" y="110"/>
                  </a:lnTo>
                  <a:lnTo>
                    <a:pt x="694" y="110"/>
                  </a:lnTo>
                  <a:lnTo>
                    <a:pt x="691" y="109"/>
                  </a:lnTo>
                  <a:lnTo>
                    <a:pt x="688" y="109"/>
                  </a:lnTo>
                  <a:lnTo>
                    <a:pt x="685" y="110"/>
                  </a:lnTo>
                  <a:lnTo>
                    <a:pt x="684" y="115"/>
                  </a:lnTo>
                  <a:lnTo>
                    <a:pt x="684" y="117"/>
                  </a:lnTo>
                  <a:lnTo>
                    <a:pt x="685" y="120"/>
                  </a:lnTo>
                  <a:lnTo>
                    <a:pt x="686" y="123"/>
                  </a:lnTo>
                  <a:lnTo>
                    <a:pt x="685" y="127"/>
                  </a:lnTo>
                  <a:lnTo>
                    <a:pt x="685" y="127"/>
                  </a:lnTo>
                  <a:close/>
                  <a:moveTo>
                    <a:pt x="538" y="165"/>
                  </a:moveTo>
                  <a:lnTo>
                    <a:pt x="539" y="166"/>
                  </a:lnTo>
                  <a:lnTo>
                    <a:pt x="542" y="166"/>
                  </a:lnTo>
                  <a:lnTo>
                    <a:pt x="543" y="168"/>
                  </a:lnTo>
                  <a:lnTo>
                    <a:pt x="545" y="168"/>
                  </a:lnTo>
                  <a:lnTo>
                    <a:pt x="549" y="165"/>
                  </a:lnTo>
                  <a:lnTo>
                    <a:pt x="553" y="166"/>
                  </a:lnTo>
                  <a:lnTo>
                    <a:pt x="556" y="165"/>
                  </a:lnTo>
                  <a:lnTo>
                    <a:pt x="559" y="162"/>
                  </a:lnTo>
                  <a:lnTo>
                    <a:pt x="560" y="159"/>
                  </a:lnTo>
                  <a:lnTo>
                    <a:pt x="559" y="158"/>
                  </a:lnTo>
                  <a:lnTo>
                    <a:pt x="558" y="158"/>
                  </a:lnTo>
                  <a:lnTo>
                    <a:pt x="555" y="159"/>
                  </a:lnTo>
                  <a:lnTo>
                    <a:pt x="552" y="160"/>
                  </a:lnTo>
                  <a:lnTo>
                    <a:pt x="550" y="162"/>
                  </a:lnTo>
                  <a:lnTo>
                    <a:pt x="548" y="162"/>
                  </a:lnTo>
                  <a:lnTo>
                    <a:pt x="545" y="160"/>
                  </a:lnTo>
                  <a:lnTo>
                    <a:pt x="545" y="158"/>
                  </a:lnTo>
                  <a:lnTo>
                    <a:pt x="543" y="156"/>
                  </a:lnTo>
                  <a:lnTo>
                    <a:pt x="542" y="156"/>
                  </a:lnTo>
                  <a:lnTo>
                    <a:pt x="539" y="156"/>
                  </a:lnTo>
                  <a:lnTo>
                    <a:pt x="536" y="156"/>
                  </a:lnTo>
                  <a:lnTo>
                    <a:pt x="535" y="159"/>
                  </a:lnTo>
                  <a:lnTo>
                    <a:pt x="535" y="160"/>
                  </a:lnTo>
                  <a:lnTo>
                    <a:pt x="536" y="162"/>
                  </a:lnTo>
                  <a:lnTo>
                    <a:pt x="538" y="165"/>
                  </a:lnTo>
                  <a:lnTo>
                    <a:pt x="538" y="165"/>
                  </a:lnTo>
                  <a:close/>
                  <a:moveTo>
                    <a:pt x="546" y="115"/>
                  </a:moveTo>
                  <a:lnTo>
                    <a:pt x="548" y="113"/>
                  </a:lnTo>
                  <a:lnTo>
                    <a:pt x="546" y="112"/>
                  </a:lnTo>
                  <a:lnTo>
                    <a:pt x="546" y="112"/>
                  </a:lnTo>
                  <a:lnTo>
                    <a:pt x="543" y="112"/>
                  </a:lnTo>
                  <a:lnTo>
                    <a:pt x="542" y="113"/>
                  </a:lnTo>
                  <a:lnTo>
                    <a:pt x="542" y="116"/>
                  </a:lnTo>
                  <a:lnTo>
                    <a:pt x="543" y="117"/>
                  </a:lnTo>
                  <a:lnTo>
                    <a:pt x="543" y="117"/>
                  </a:lnTo>
                  <a:lnTo>
                    <a:pt x="546" y="116"/>
                  </a:lnTo>
                  <a:lnTo>
                    <a:pt x="546" y="115"/>
                  </a:lnTo>
                  <a:lnTo>
                    <a:pt x="546" y="115"/>
                  </a:lnTo>
                  <a:close/>
                  <a:moveTo>
                    <a:pt x="851" y="29"/>
                  </a:moveTo>
                  <a:lnTo>
                    <a:pt x="853" y="26"/>
                  </a:lnTo>
                  <a:lnTo>
                    <a:pt x="853" y="23"/>
                  </a:lnTo>
                  <a:lnTo>
                    <a:pt x="851" y="23"/>
                  </a:lnTo>
                  <a:lnTo>
                    <a:pt x="848" y="24"/>
                  </a:lnTo>
                  <a:lnTo>
                    <a:pt x="847" y="26"/>
                  </a:lnTo>
                  <a:lnTo>
                    <a:pt x="847" y="29"/>
                  </a:lnTo>
                  <a:lnTo>
                    <a:pt x="847" y="30"/>
                  </a:lnTo>
                  <a:lnTo>
                    <a:pt x="848" y="32"/>
                  </a:lnTo>
                  <a:lnTo>
                    <a:pt x="850" y="30"/>
                  </a:lnTo>
                  <a:lnTo>
                    <a:pt x="851" y="29"/>
                  </a:lnTo>
                  <a:lnTo>
                    <a:pt x="851" y="29"/>
                  </a:lnTo>
                  <a:close/>
                  <a:moveTo>
                    <a:pt x="781" y="26"/>
                  </a:moveTo>
                  <a:lnTo>
                    <a:pt x="781" y="27"/>
                  </a:lnTo>
                  <a:lnTo>
                    <a:pt x="781" y="29"/>
                  </a:lnTo>
                  <a:lnTo>
                    <a:pt x="782" y="30"/>
                  </a:lnTo>
                  <a:lnTo>
                    <a:pt x="785" y="29"/>
                  </a:lnTo>
                  <a:lnTo>
                    <a:pt x="787" y="26"/>
                  </a:lnTo>
                  <a:lnTo>
                    <a:pt x="787" y="23"/>
                  </a:lnTo>
                  <a:lnTo>
                    <a:pt x="785" y="20"/>
                  </a:lnTo>
                  <a:lnTo>
                    <a:pt x="784" y="20"/>
                  </a:lnTo>
                  <a:lnTo>
                    <a:pt x="784" y="19"/>
                  </a:lnTo>
                  <a:lnTo>
                    <a:pt x="782" y="22"/>
                  </a:lnTo>
                  <a:lnTo>
                    <a:pt x="781" y="26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84" name="Freeform 232"/>
            <p:cNvSpPr>
              <a:spLocks/>
            </p:cNvSpPr>
            <p:nvPr/>
          </p:nvSpPr>
          <p:spPr bwMode="auto">
            <a:xfrm>
              <a:off x="7256062" y="4596571"/>
              <a:ext cx="12211" cy="25135"/>
            </a:xfrm>
            <a:custGeom>
              <a:avLst/>
              <a:gdLst>
                <a:gd name="T0" fmla="*/ 21 w 21"/>
                <a:gd name="T1" fmla="*/ 37 h 37"/>
                <a:gd name="T2" fmla="*/ 21 w 21"/>
                <a:gd name="T3" fmla="*/ 29 h 37"/>
                <a:gd name="T4" fmla="*/ 16 w 21"/>
                <a:gd name="T5" fmla="*/ 21 h 37"/>
                <a:gd name="T6" fmla="*/ 10 w 21"/>
                <a:gd name="T7" fmla="*/ 17 h 37"/>
                <a:gd name="T8" fmla="*/ 5 w 21"/>
                <a:gd name="T9" fmla="*/ 11 h 37"/>
                <a:gd name="T10" fmla="*/ 2 w 21"/>
                <a:gd name="T11" fmla="*/ 7 h 37"/>
                <a:gd name="T12" fmla="*/ 2 w 21"/>
                <a:gd name="T13" fmla="*/ 3 h 37"/>
                <a:gd name="T14" fmla="*/ 0 w 21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7">
                  <a:moveTo>
                    <a:pt x="21" y="37"/>
                  </a:moveTo>
                  <a:lnTo>
                    <a:pt x="21" y="29"/>
                  </a:lnTo>
                  <a:lnTo>
                    <a:pt x="16" y="21"/>
                  </a:lnTo>
                  <a:lnTo>
                    <a:pt x="10" y="17"/>
                  </a:lnTo>
                  <a:lnTo>
                    <a:pt x="5" y="11"/>
                  </a:lnTo>
                  <a:lnTo>
                    <a:pt x="2" y="7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85" name="Freeform 233"/>
            <p:cNvSpPr>
              <a:spLocks/>
            </p:cNvSpPr>
            <p:nvPr/>
          </p:nvSpPr>
          <p:spPr bwMode="auto">
            <a:xfrm>
              <a:off x="7590655" y="4488093"/>
              <a:ext cx="21981" cy="35718"/>
            </a:xfrm>
            <a:custGeom>
              <a:avLst/>
              <a:gdLst>
                <a:gd name="T0" fmla="*/ 6 w 36"/>
                <a:gd name="T1" fmla="*/ 27 h 53"/>
                <a:gd name="T2" fmla="*/ 10 w 36"/>
                <a:gd name="T3" fmla="*/ 25 h 53"/>
                <a:gd name="T4" fmla="*/ 11 w 36"/>
                <a:gd name="T5" fmla="*/ 22 h 53"/>
                <a:gd name="T6" fmla="*/ 13 w 36"/>
                <a:gd name="T7" fmla="*/ 17 h 53"/>
                <a:gd name="T8" fmla="*/ 13 w 36"/>
                <a:gd name="T9" fmla="*/ 12 h 53"/>
                <a:gd name="T10" fmla="*/ 16 w 36"/>
                <a:gd name="T11" fmla="*/ 9 h 53"/>
                <a:gd name="T12" fmla="*/ 20 w 36"/>
                <a:gd name="T13" fmla="*/ 6 h 53"/>
                <a:gd name="T14" fmla="*/ 26 w 36"/>
                <a:gd name="T15" fmla="*/ 0 h 53"/>
                <a:gd name="T16" fmla="*/ 30 w 36"/>
                <a:gd name="T17" fmla="*/ 0 h 53"/>
                <a:gd name="T18" fmla="*/ 30 w 36"/>
                <a:gd name="T19" fmla="*/ 7 h 53"/>
                <a:gd name="T20" fmla="*/ 32 w 36"/>
                <a:gd name="T21" fmla="*/ 16 h 53"/>
                <a:gd name="T22" fmla="*/ 30 w 36"/>
                <a:gd name="T23" fmla="*/ 20 h 53"/>
                <a:gd name="T24" fmla="*/ 29 w 36"/>
                <a:gd name="T25" fmla="*/ 22 h 53"/>
                <a:gd name="T26" fmla="*/ 30 w 36"/>
                <a:gd name="T27" fmla="*/ 25 h 53"/>
                <a:gd name="T28" fmla="*/ 32 w 36"/>
                <a:gd name="T29" fmla="*/ 27 h 53"/>
                <a:gd name="T30" fmla="*/ 34 w 36"/>
                <a:gd name="T31" fmla="*/ 29 h 53"/>
                <a:gd name="T32" fmla="*/ 36 w 36"/>
                <a:gd name="T33" fmla="*/ 36 h 53"/>
                <a:gd name="T34" fmla="*/ 30 w 36"/>
                <a:gd name="T35" fmla="*/ 42 h 53"/>
                <a:gd name="T36" fmla="*/ 24 w 36"/>
                <a:gd name="T37" fmla="*/ 39 h 53"/>
                <a:gd name="T38" fmla="*/ 21 w 36"/>
                <a:gd name="T39" fmla="*/ 36 h 53"/>
                <a:gd name="T40" fmla="*/ 20 w 36"/>
                <a:gd name="T41" fmla="*/ 36 h 53"/>
                <a:gd name="T42" fmla="*/ 20 w 36"/>
                <a:gd name="T43" fmla="*/ 39 h 53"/>
                <a:gd name="T44" fmla="*/ 19 w 36"/>
                <a:gd name="T45" fmla="*/ 40 h 53"/>
                <a:gd name="T46" fmla="*/ 16 w 36"/>
                <a:gd name="T47" fmla="*/ 42 h 53"/>
                <a:gd name="T48" fmla="*/ 14 w 36"/>
                <a:gd name="T49" fmla="*/ 45 h 53"/>
                <a:gd name="T50" fmla="*/ 11 w 36"/>
                <a:gd name="T51" fmla="*/ 47 h 53"/>
                <a:gd name="T52" fmla="*/ 13 w 36"/>
                <a:gd name="T53" fmla="*/ 50 h 53"/>
                <a:gd name="T54" fmla="*/ 11 w 36"/>
                <a:gd name="T55" fmla="*/ 53 h 53"/>
                <a:gd name="T56" fmla="*/ 4 w 36"/>
                <a:gd name="T57" fmla="*/ 53 h 53"/>
                <a:gd name="T58" fmla="*/ 3 w 36"/>
                <a:gd name="T59" fmla="*/ 47 h 53"/>
                <a:gd name="T60" fmla="*/ 0 w 36"/>
                <a:gd name="T61" fmla="*/ 43 h 53"/>
                <a:gd name="T62" fmla="*/ 3 w 36"/>
                <a:gd name="T63" fmla="*/ 39 h 53"/>
                <a:gd name="T64" fmla="*/ 4 w 36"/>
                <a:gd name="T65" fmla="*/ 33 h 53"/>
                <a:gd name="T66" fmla="*/ 4 w 36"/>
                <a:gd name="T67" fmla="*/ 3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" h="53">
                  <a:moveTo>
                    <a:pt x="4" y="30"/>
                  </a:moveTo>
                  <a:lnTo>
                    <a:pt x="6" y="27"/>
                  </a:lnTo>
                  <a:lnTo>
                    <a:pt x="9" y="27"/>
                  </a:lnTo>
                  <a:lnTo>
                    <a:pt x="10" y="25"/>
                  </a:lnTo>
                  <a:lnTo>
                    <a:pt x="11" y="23"/>
                  </a:lnTo>
                  <a:lnTo>
                    <a:pt x="11" y="22"/>
                  </a:lnTo>
                  <a:lnTo>
                    <a:pt x="13" y="19"/>
                  </a:lnTo>
                  <a:lnTo>
                    <a:pt x="13" y="17"/>
                  </a:lnTo>
                  <a:lnTo>
                    <a:pt x="13" y="13"/>
                  </a:lnTo>
                  <a:lnTo>
                    <a:pt x="13" y="12"/>
                  </a:lnTo>
                  <a:lnTo>
                    <a:pt x="14" y="10"/>
                  </a:lnTo>
                  <a:lnTo>
                    <a:pt x="16" y="9"/>
                  </a:lnTo>
                  <a:lnTo>
                    <a:pt x="19" y="7"/>
                  </a:lnTo>
                  <a:lnTo>
                    <a:pt x="20" y="6"/>
                  </a:lnTo>
                  <a:lnTo>
                    <a:pt x="23" y="2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30" y="0"/>
                  </a:lnTo>
                  <a:lnTo>
                    <a:pt x="30" y="2"/>
                  </a:lnTo>
                  <a:lnTo>
                    <a:pt x="30" y="7"/>
                  </a:lnTo>
                  <a:lnTo>
                    <a:pt x="30" y="12"/>
                  </a:lnTo>
                  <a:lnTo>
                    <a:pt x="32" y="16"/>
                  </a:lnTo>
                  <a:lnTo>
                    <a:pt x="32" y="19"/>
                  </a:lnTo>
                  <a:lnTo>
                    <a:pt x="30" y="20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2" y="26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4" y="29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3" y="39"/>
                  </a:lnTo>
                  <a:lnTo>
                    <a:pt x="30" y="42"/>
                  </a:lnTo>
                  <a:lnTo>
                    <a:pt x="26" y="40"/>
                  </a:lnTo>
                  <a:lnTo>
                    <a:pt x="24" y="39"/>
                  </a:lnTo>
                  <a:lnTo>
                    <a:pt x="23" y="37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7"/>
                  </a:lnTo>
                  <a:lnTo>
                    <a:pt x="20" y="39"/>
                  </a:lnTo>
                  <a:lnTo>
                    <a:pt x="20" y="40"/>
                  </a:lnTo>
                  <a:lnTo>
                    <a:pt x="19" y="40"/>
                  </a:lnTo>
                  <a:lnTo>
                    <a:pt x="17" y="40"/>
                  </a:lnTo>
                  <a:lnTo>
                    <a:pt x="16" y="42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1" y="46"/>
                  </a:lnTo>
                  <a:lnTo>
                    <a:pt x="11" y="47"/>
                  </a:lnTo>
                  <a:lnTo>
                    <a:pt x="11" y="49"/>
                  </a:lnTo>
                  <a:lnTo>
                    <a:pt x="13" y="50"/>
                  </a:lnTo>
                  <a:lnTo>
                    <a:pt x="14" y="52"/>
                  </a:lnTo>
                  <a:lnTo>
                    <a:pt x="11" y="53"/>
                  </a:lnTo>
                  <a:lnTo>
                    <a:pt x="7" y="53"/>
                  </a:lnTo>
                  <a:lnTo>
                    <a:pt x="4" y="53"/>
                  </a:lnTo>
                  <a:lnTo>
                    <a:pt x="3" y="50"/>
                  </a:lnTo>
                  <a:lnTo>
                    <a:pt x="3" y="47"/>
                  </a:lnTo>
                  <a:lnTo>
                    <a:pt x="0" y="45"/>
                  </a:lnTo>
                  <a:lnTo>
                    <a:pt x="0" y="43"/>
                  </a:lnTo>
                  <a:lnTo>
                    <a:pt x="3" y="40"/>
                  </a:lnTo>
                  <a:lnTo>
                    <a:pt x="3" y="39"/>
                  </a:lnTo>
                  <a:lnTo>
                    <a:pt x="3" y="36"/>
                  </a:lnTo>
                  <a:lnTo>
                    <a:pt x="4" y="33"/>
                  </a:lnTo>
                  <a:lnTo>
                    <a:pt x="4" y="30"/>
                  </a:lnTo>
                  <a:lnTo>
                    <a:pt x="4" y="3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86" name="Freeform 234"/>
            <p:cNvSpPr>
              <a:spLocks/>
            </p:cNvSpPr>
            <p:nvPr/>
          </p:nvSpPr>
          <p:spPr bwMode="auto">
            <a:xfrm>
              <a:off x="7622405" y="4460312"/>
              <a:ext cx="43961" cy="56885"/>
            </a:xfrm>
            <a:custGeom>
              <a:avLst/>
              <a:gdLst>
                <a:gd name="T0" fmla="*/ 5 w 71"/>
                <a:gd name="T1" fmla="*/ 57 h 86"/>
                <a:gd name="T2" fmla="*/ 2 w 71"/>
                <a:gd name="T3" fmla="*/ 65 h 86"/>
                <a:gd name="T4" fmla="*/ 5 w 71"/>
                <a:gd name="T5" fmla="*/ 73 h 86"/>
                <a:gd name="T6" fmla="*/ 8 w 71"/>
                <a:gd name="T7" fmla="*/ 82 h 86"/>
                <a:gd name="T8" fmla="*/ 12 w 71"/>
                <a:gd name="T9" fmla="*/ 86 h 86"/>
                <a:gd name="T10" fmla="*/ 15 w 71"/>
                <a:gd name="T11" fmla="*/ 85 h 86"/>
                <a:gd name="T12" fmla="*/ 18 w 71"/>
                <a:gd name="T13" fmla="*/ 75 h 86"/>
                <a:gd name="T14" fmla="*/ 18 w 71"/>
                <a:gd name="T15" fmla="*/ 68 h 86"/>
                <a:gd name="T16" fmla="*/ 22 w 71"/>
                <a:gd name="T17" fmla="*/ 63 h 86"/>
                <a:gd name="T18" fmla="*/ 28 w 71"/>
                <a:gd name="T19" fmla="*/ 65 h 86"/>
                <a:gd name="T20" fmla="*/ 34 w 71"/>
                <a:gd name="T21" fmla="*/ 69 h 86"/>
                <a:gd name="T22" fmla="*/ 40 w 71"/>
                <a:gd name="T23" fmla="*/ 70 h 86"/>
                <a:gd name="T24" fmla="*/ 43 w 71"/>
                <a:gd name="T25" fmla="*/ 72 h 86"/>
                <a:gd name="T26" fmla="*/ 50 w 71"/>
                <a:gd name="T27" fmla="*/ 79 h 86"/>
                <a:gd name="T28" fmla="*/ 57 w 71"/>
                <a:gd name="T29" fmla="*/ 85 h 86"/>
                <a:gd name="T30" fmla="*/ 64 w 71"/>
                <a:gd name="T31" fmla="*/ 85 h 86"/>
                <a:gd name="T32" fmla="*/ 64 w 71"/>
                <a:gd name="T33" fmla="*/ 76 h 86"/>
                <a:gd name="T34" fmla="*/ 67 w 71"/>
                <a:gd name="T35" fmla="*/ 70 h 86"/>
                <a:gd name="T36" fmla="*/ 65 w 71"/>
                <a:gd name="T37" fmla="*/ 62 h 86"/>
                <a:gd name="T38" fmla="*/ 67 w 71"/>
                <a:gd name="T39" fmla="*/ 57 h 86"/>
                <a:gd name="T40" fmla="*/ 71 w 71"/>
                <a:gd name="T41" fmla="*/ 53 h 86"/>
                <a:gd name="T42" fmla="*/ 68 w 71"/>
                <a:gd name="T43" fmla="*/ 39 h 86"/>
                <a:gd name="T44" fmla="*/ 64 w 71"/>
                <a:gd name="T45" fmla="*/ 36 h 86"/>
                <a:gd name="T46" fmla="*/ 60 w 71"/>
                <a:gd name="T47" fmla="*/ 33 h 86"/>
                <a:gd name="T48" fmla="*/ 57 w 71"/>
                <a:gd name="T49" fmla="*/ 29 h 86"/>
                <a:gd name="T50" fmla="*/ 63 w 71"/>
                <a:gd name="T51" fmla="*/ 16 h 86"/>
                <a:gd name="T52" fmla="*/ 67 w 71"/>
                <a:gd name="T53" fmla="*/ 10 h 86"/>
                <a:gd name="T54" fmla="*/ 67 w 71"/>
                <a:gd name="T55" fmla="*/ 3 h 86"/>
                <a:gd name="T56" fmla="*/ 65 w 71"/>
                <a:gd name="T57" fmla="*/ 0 h 86"/>
                <a:gd name="T58" fmla="*/ 60 w 71"/>
                <a:gd name="T59" fmla="*/ 3 h 86"/>
                <a:gd name="T60" fmla="*/ 53 w 71"/>
                <a:gd name="T61" fmla="*/ 5 h 86"/>
                <a:gd name="T62" fmla="*/ 47 w 71"/>
                <a:gd name="T63" fmla="*/ 15 h 86"/>
                <a:gd name="T64" fmla="*/ 44 w 71"/>
                <a:gd name="T65" fmla="*/ 26 h 86"/>
                <a:gd name="T66" fmla="*/ 43 w 71"/>
                <a:gd name="T67" fmla="*/ 26 h 86"/>
                <a:gd name="T68" fmla="*/ 41 w 71"/>
                <a:gd name="T69" fmla="*/ 23 h 86"/>
                <a:gd name="T70" fmla="*/ 41 w 71"/>
                <a:gd name="T71" fmla="*/ 15 h 86"/>
                <a:gd name="T72" fmla="*/ 44 w 71"/>
                <a:gd name="T73" fmla="*/ 12 h 86"/>
                <a:gd name="T74" fmla="*/ 45 w 71"/>
                <a:gd name="T75" fmla="*/ 7 h 86"/>
                <a:gd name="T76" fmla="*/ 44 w 71"/>
                <a:gd name="T77" fmla="*/ 6 h 86"/>
                <a:gd name="T78" fmla="*/ 38 w 71"/>
                <a:gd name="T79" fmla="*/ 5 h 86"/>
                <a:gd name="T80" fmla="*/ 35 w 71"/>
                <a:gd name="T81" fmla="*/ 3 h 86"/>
                <a:gd name="T82" fmla="*/ 31 w 71"/>
                <a:gd name="T83" fmla="*/ 5 h 86"/>
                <a:gd name="T84" fmla="*/ 24 w 71"/>
                <a:gd name="T85" fmla="*/ 10 h 86"/>
                <a:gd name="T86" fmla="*/ 12 w 71"/>
                <a:gd name="T87" fmla="*/ 12 h 86"/>
                <a:gd name="T88" fmla="*/ 5 w 71"/>
                <a:gd name="T89" fmla="*/ 9 h 86"/>
                <a:gd name="T90" fmla="*/ 4 w 71"/>
                <a:gd name="T91" fmla="*/ 12 h 86"/>
                <a:gd name="T92" fmla="*/ 0 w 71"/>
                <a:gd name="T93" fmla="*/ 15 h 86"/>
                <a:gd name="T94" fmla="*/ 1 w 71"/>
                <a:gd name="T95" fmla="*/ 20 h 86"/>
                <a:gd name="T96" fmla="*/ 0 w 71"/>
                <a:gd name="T97" fmla="*/ 26 h 86"/>
                <a:gd name="T98" fmla="*/ 5 w 71"/>
                <a:gd name="T99" fmla="*/ 40 h 86"/>
                <a:gd name="T100" fmla="*/ 5 w 71"/>
                <a:gd name="T101" fmla="*/ 5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1" h="86">
                  <a:moveTo>
                    <a:pt x="5" y="53"/>
                  </a:moveTo>
                  <a:lnTo>
                    <a:pt x="5" y="57"/>
                  </a:lnTo>
                  <a:lnTo>
                    <a:pt x="2" y="59"/>
                  </a:lnTo>
                  <a:lnTo>
                    <a:pt x="2" y="65"/>
                  </a:lnTo>
                  <a:lnTo>
                    <a:pt x="4" y="69"/>
                  </a:lnTo>
                  <a:lnTo>
                    <a:pt x="5" y="73"/>
                  </a:lnTo>
                  <a:lnTo>
                    <a:pt x="8" y="76"/>
                  </a:lnTo>
                  <a:lnTo>
                    <a:pt x="8" y="82"/>
                  </a:lnTo>
                  <a:lnTo>
                    <a:pt x="10" y="85"/>
                  </a:lnTo>
                  <a:lnTo>
                    <a:pt x="12" y="86"/>
                  </a:lnTo>
                  <a:lnTo>
                    <a:pt x="14" y="86"/>
                  </a:lnTo>
                  <a:lnTo>
                    <a:pt x="15" y="85"/>
                  </a:lnTo>
                  <a:lnTo>
                    <a:pt x="17" y="79"/>
                  </a:lnTo>
                  <a:lnTo>
                    <a:pt x="18" y="75"/>
                  </a:lnTo>
                  <a:lnTo>
                    <a:pt x="18" y="70"/>
                  </a:lnTo>
                  <a:lnTo>
                    <a:pt x="18" y="68"/>
                  </a:lnTo>
                  <a:lnTo>
                    <a:pt x="21" y="65"/>
                  </a:lnTo>
                  <a:lnTo>
                    <a:pt x="22" y="63"/>
                  </a:lnTo>
                  <a:lnTo>
                    <a:pt x="25" y="63"/>
                  </a:lnTo>
                  <a:lnTo>
                    <a:pt x="28" y="65"/>
                  </a:lnTo>
                  <a:lnTo>
                    <a:pt x="30" y="68"/>
                  </a:lnTo>
                  <a:lnTo>
                    <a:pt x="34" y="69"/>
                  </a:lnTo>
                  <a:lnTo>
                    <a:pt x="37" y="70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3" y="72"/>
                  </a:lnTo>
                  <a:lnTo>
                    <a:pt x="45" y="75"/>
                  </a:lnTo>
                  <a:lnTo>
                    <a:pt x="50" y="79"/>
                  </a:lnTo>
                  <a:lnTo>
                    <a:pt x="54" y="83"/>
                  </a:lnTo>
                  <a:lnTo>
                    <a:pt x="57" y="85"/>
                  </a:lnTo>
                  <a:lnTo>
                    <a:pt x="63" y="85"/>
                  </a:lnTo>
                  <a:lnTo>
                    <a:pt x="64" y="85"/>
                  </a:lnTo>
                  <a:lnTo>
                    <a:pt x="64" y="83"/>
                  </a:lnTo>
                  <a:lnTo>
                    <a:pt x="64" y="76"/>
                  </a:lnTo>
                  <a:lnTo>
                    <a:pt x="64" y="75"/>
                  </a:lnTo>
                  <a:lnTo>
                    <a:pt x="67" y="70"/>
                  </a:lnTo>
                  <a:lnTo>
                    <a:pt x="67" y="66"/>
                  </a:lnTo>
                  <a:lnTo>
                    <a:pt x="65" y="62"/>
                  </a:lnTo>
                  <a:lnTo>
                    <a:pt x="67" y="60"/>
                  </a:lnTo>
                  <a:lnTo>
                    <a:pt x="67" y="57"/>
                  </a:lnTo>
                  <a:lnTo>
                    <a:pt x="70" y="56"/>
                  </a:lnTo>
                  <a:lnTo>
                    <a:pt x="71" y="53"/>
                  </a:lnTo>
                  <a:lnTo>
                    <a:pt x="71" y="49"/>
                  </a:lnTo>
                  <a:lnTo>
                    <a:pt x="68" y="39"/>
                  </a:lnTo>
                  <a:lnTo>
                    <a:pt x="65" y="37"/>
                  </a:lnTo>
                  <a:lnTo>
                    <a:pt x="64" y="36"/>
                  </a:lnTo>
                  <a:lnTo>
                    <a:pt x="61" y="35"/>
                  </a:lnTo>
                  <a:lnTo>
                    <a:pt x="60" y="33"/>
                  </a:lnTo>
                  <a:lnTo>
                    <a:pt x="57" y="32"/>
                  </a:lnTo>
                  <a:lnTo>
                    <a:pt x="57" y="29"/>
                  </a:lnTo>
                  <a:lnTo>
                    <a:pt x="58" y="26"/>
                  </a:lnTo>
                  <a:lnTo>
                    <a:pt x="63" y="16"/>
                  </a:lnTo>
                  <a:lnTo>
                    <a:pt x="64" y="13"/>
                  </a:lnTo>
                  <a:lnTo>
                    <a:pt x="67" y="10"/>
                  </a:lnTo>
                  <a:lnTo>
                    <a:pt x="67" y="6"/>
                  </a:lnTo>
                  <a:lnTo>
                    <a:pt x="67" y="3"/>
                  </a:lnTo>
                  <a:lnTo>
                    <a:pt x="67" y="0"/>
                  </a:lnTo>
                  <a:lnTo>
                    <a:pt x="65" y="0"/>
                  </a:lnTo>
                  <a:lnTo>
                    <a:pt x="63" y="2"/>
                  </a:lnTo>
                  <a:lnTo>
                    <a:pt x="60" y="3"/>
                  </a:lnTo>
                  <a:lnTo>
                    <a:pt x="57" y="3"/>
                  </a:lnTo>
                  <a:lnTo>
                    <a:pt x="53" y="5"/>
                  </a:lnTo>
                  <a:lnTo>
                    <a:pt x="50" y="7"/>
                  </a:lnTo>
                  <a:lnTo>
                    <a:pt x="47" y="15"/>
                  </a:lnTo>
                  <a:lnTo>
                    <a:pt x="45" y="23"/>
                  </a:lnTo>
                  <a:lnTo>
                    <a:pt x="44" y="26"/>
                  </a:lnTo>
                  <a:lnTo>
                    <a:pt x="44" y="27"/>
                  </a:lnTo>
                  <a:lnTo>
                    <a:pt x="43" y="26"/>
                  </a:lnTo>
                  <a:lnTo>
                    <a:pt x="41" y="25"/>
                  </a:lnTo>
                  <a:lnTo>
                    <a:pt x="41" y="23"/>
                  </a:lnTo>
                  <a:lnTo>
                    <a:pt x="43" y="20"/>
                  </a:lnTo>
                  <a:lnTo>
                    <a:pt x="41" y="15"/>
                  </a:lnTo>
                  <a:lnTo>
                    <a:pt x="43" y="12"/>
                  </a:lnTo>
                  <a:lnTo>
                    <a:pt x="44" y="12"/>
                  </a:lnTo>
                  <a:lnTo>
                    <a:pt x="45" y="9"/>
                  </a:lnTo>
                  <a:lnTo>
                    <a:pt x="45" y="7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1" y="5"/>
                  </a:lnTo>
                  <a:lnTo>
                    <a:pt x="38" y="5"/>
                  </a:lnTo>
                  <a:lnTo>
                    <a:pt x="37" y="5"/>
                  </a:lnTo>
                  <a:lnTo>
                    <a:pt x="35" y="3"/>
                  </a:lnTo>
                  <a:lnTo>
                    <a:pt x="31" y="3"/>
                  </a:lnTo>
                  <a:lnTo>
                    <a:pt x="31" y="5"/>
                  </a:lnTo>
                  <a:lnTo>
                    <a:pt x="30" y="7"/>
                  </a:lnTo>
                  <a:lnTo>
                    <a:pt x="24" y="10"/>
                  </a:lnTo>
                  <a:lnTo>
                    <a:pt x="17" y="12"/>
                  </a:lnTo>
                  <a:lnTo>
                    <a:pt x="12" y="12"/>
                  </a:lnTo>
                  <a:lnTo>
                    <a:pt x="10" y="10"/>
                  </a:lnTo>
                  <a:lnTo>
                    <a:pt x="5" y="9"/>
                  </a:lnTo>
                  <a:lnTo>
                    <a:pt x="4" y="10"/>
                  </a:lnTo>
                  <a:lnTo>
                    <a:pt x="4" y="12"/>
                  </a:lnTo>
                  <a:lnTo>
                    <a:pt x="2" y="13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0"/>
                  </a:lnTo>
                  <a:lnTo>
                    <a:pt x="1" y="23"/>
                  </a:lnTo>
                  <a:lnTo>
                    <a:pt x="0" y="26"/>
                  </a:lnTo>
                  <a:lnTo>
                    <a:pt x="2" y="32"/>
                  </a:lnTo>
                  <a:lnTo>
                    <a:pt x="5" y="40"/>
                  </a:lnTo>
                  <a:lnTo>
                    <a:pt x="5" y="46"/>
                  </a:lnTo>
                  <a:lnTo>
                    <a:pt x="5" y="53"/>
                  </a:lnTo>
                  <a:lnTo>
                    <a:pt x="5" y="5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87" name="Freeform 235"/>
            <p:cNvSpPr>
              <a:spLocks/>
            </p:cNvSpPr>
            <p:nvPr/>
          </p:nvSpPr>
          <p:spPr bwMode="auto">
            <a:xfrm>
              <a:off x="7662702" y="4448406"/>
              <a:ext cx="8548" cy="7937"/>
            </a:xfrm>
            <a:custGeom>
              <a:avLst/>
              <a:gdLst>
                <a:gd name="T0" fmla="*/ 11 w 13"/>
                <a:gd name="T1" fmla="*/ 10 h 13"/>
                <a:gd name="T2" fmla="*/ 13 w 13"/>
                <a:gd name="T3" fmla="*/ 7 h 13"/>
                <a:gd name="T4" fmla="*/ 13 w 13"/>
                <a:gd name="T5" fmla="*/ 4 h 13"/>
                <a:gd name="T6" fmla="*/ 11 w 13"/>
                <a:gd name="T7" fmla="*/ 1 h 13"/>
                <a:gd name="T8" fmla="*/ 8 w 13"/>
                <a:gd name="T9" fmla="*/ 0 h 13"/>
                <a:gd name="T10" fmla="*/ 6 w 13"/>
                <a:gd name="T11" fmla="*/ 0 h 13"/>
                <a:gd name="T12" fmla="*/ 1 w 13"/>
                <a:gd name="T13" fmla="*/ 1 h 13"/>
                <a:gd name="T14" fmla="*/ 0 w 13"/>
                <a:gd name="T15" fmla="*/ 4 h 13"/>
                <a:gd name="T16" fmla="*/ 0 w 13"/>
                <a:gd name="T17" fmla="*/ 7 h 13"/>
                <a:gd name="T18" fmla="*/ 1 w 13"/>
                <a:gd name="T19" fmla="*/ 9 h 13"/>
                <a:gd name="T20" fmla="*/ 3 w 13"/>
                <a:gd name="T21" fmla="*/ 13 h 13"/>
                <a:gd name="T22" fmla="*/ 6 w 13"/>
                <a:gd name="T23" fmla="*/ 13 h 13"/>
                <a:gd name="T24" fmla="*/ 7 w 13"/>
                <a:gd name="T25" fmla="*/ 11 h 13"/>
                <a:gd name="T26" fmla="*/ 11 w 13"/>
                <a:gd name="T27" fmla="*/ 10 h 13"/>
                <a:gd name="T28" fmla="*/ 11 w 13"/>
                <a:gd name="T29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" h="13">
                  <a:moveTo>
                    <a:pt x="11" y="10"/>
                  </a:moveTo>
                  <a:lnTo>
                    <a:pt x="13" y="7"/>
                  </a:lnTo>
                  <a:lnTo>
                    <a:pt x="13" y="4"/>
                  </a:lnTo>
                  <a:lnTo>
                    <a:pt x="11" y="1"/>
                  </a:lnTo>
                  <a:lnTo>
                    <a:pt x="8" y="0"/>
                  </a:lnTo>
                  <a:lnTo>
                    <a:pt x="6" y="0"/>
                  </a:lnTo>
                  <a:lnTo>
                    <a:pt x="1" y="1"/>
                  </a:lnTo>
                  <a:lnTo>
                    <a:pt x="0" y="4"/>
                  </a:lnTo>
                  <a:lnTo>
                    <a:pt x="0" y="7"/>
                  </a:lnTo>
                  <a:lnTo>
                    <a:pt x="1" y="9"/>
                  </a:lnTo>
                  <a:lnTo>
                    <a:pt x="3" y="13"/>
                  </a:lnTo>
                  <a:lnTo>
                    <a:pt x="6" y="13"/>
                  </a:lnTo>
                  <a:lnTo>
                    <a:pt x="7" y="11"/>
                  </a:lnTo>
                  <a:lnTo>
                    <a:pt x="11" y="10"/>
                  </a:lnTo>
                  <a:lnTo>
                    <a:pt x="11" y="10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88" name="Freeform 236"/>
            <p:cNvSpPr>
              <a:spLocks/>
            </p:cNvSpPr>
            <p:nvPr/>
          </p:nvSpPr>
          <p:spPr bwMode="auto">
            <a:xfrm>
              <a:off x="7676135" y="4485447"/>
              <a:ext cx="7327" cy="6615"/>
            </a:xfrm>
            <a:custGeom>
              <a:avLst/>
              <a:gdLst>
                <a:gd name="T0" fmla="*/ 9 w 12"/>
                <a:gd name="T1" fmla="*/ 8 h 10"/>
                <a:gd name="T2" fmla="*/ 10 w 12"/>
                <a:gd name="T3" fmla="*/ 7 h 10"/>
                <a:gd name="T4" fmla="*/ 12 w 12"/>
                <a:gd name="T5" fmla="*/ 6 h 10"/>
                <a:gd name="T6" fmla="*/ 10 w 12"/>
                <a:gd name="T7" fmla="*/ 3 h 10"/>
                <a:gd name="T8" fmla="*/ 9 w 12"/>
                <a:gd name="T9" fmla="*/ 0 h 10"/>
                <a:gd name="T10" fmla="*/ 8 w 12"/>
                <a:gd name="T11" fmla="*/ 0 h 10"/>
                <a:gd name="T12" fmla="*/ 5 w 12"/>
                <a:gd name="T13" fmla="*/ 0 h 10"/>
                <a:gd name="T14" fmla="*/ 3 w 12"/>
                <a:gd name="T15" fmla="*/ 0 h 10"/>
                <a:gd name="T16" fmla="*/ 0 w 12"/>
                <a:gd name="T17" fmla="*/ 3 h 10"/>
                <a:gd name="T18" fmla="*/ 0 w 12"/>
                <a:gd name="T19" fmla="*/ 6 h 10"/>
                <a:gd name="T20" fmla="*/ 2 w 12"/>
                <a:gd name="T21" fmla="*/ 8 h 10"/>
                <a:gd name="T22" fmla="*/ 3 w 12"/>
                <a:gd name="T23" fmla="*/ 10 h 10"/>
                <a:gd name="T24" fmla="*/ 5 w 12"/>
                <a:gd name="T25" fmla="*/ 10 h 10"/>
                <a:gd name="T26" fmla="*/ 9 w 12"/>
                <a:gd name="T27" fmla="*/ 8 h 10"/>
                <a:gd name="T28" fmla="*/ 9 w 12"/>
                <a:gd name="T2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9" y="8"/>
                  </a:moveTo>
                  <a:lnTo>
                    <a:pt x="10" y="7"/>
                  </a:lnTo>
                  <a:lnTo>
                    <a:pt x="12" y="6"/>
                  </a:lnTo>
                  <a:lnTo>
                    <a:pt x="10" y="3"/>
                  </a:lnTo>
                  <a:lnTo>
                    <a:pt x="9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8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9" y="8"/>
                  </a:lnTo>
                  <a:lnTo>
                    <a:pt x="9" y="8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89" name="Freeform 237"/>
            <p:cNvSpPr>
              <a:spLocks/>
            </p:cNvSpPr>
            <p:nvPr/>
          </p:nvSpPr>
          <p:spPr bwMode="auto">
            <a:xfrm>
              <a:off x="7656597" y="4523812"/>
              <a:ext cx="12211" cy="17198"/>
            </a:xfrm>
            <a:custGeom>
              <a:avLst/>
              <a:gdLst>
                <a:gd name="T0" fmla="*/ 6 w 20"/>
                <a:gd name="T1" fmla="*/ 16 h 27"/>
                <a:gd name="T2" fmla="*/ 8 w 20"/>
                <a:gd name="T3" fmla="*/ 19 h 27"/>
                <a:gd name="T4" fmla="*/ 10 w 20"/>
                <a:gd name="T5" fmla="*/ 20 h 27"/>
                <a:gd name="T6" fmla="*/ 10 w 20"/>
                <a:gd name="T7" fmla="*/ 25 h 27"/>
                <a:gd name="T8" fmla="*/ 10 w 20"/>
                <a:gd name="T9" fmla="*/ 27 h 27"/>
                <a:gd name="T10" fmla="*/ 11 w 20"/>
                <a:gd name="T11" fmla="*/ 27 h 27"/>
                <a:gd name="T12" fmla="*/ 13 w 20"/>
                <a:gd name="T13" fmla="*/ 27 h 27"/>
                <a:gd name="T14" fmla="*/ 16 w 20"/>
                <a:gd name="T15" fmla="*/ 25 h 27"/>
                <a:gd name="T16" fmla="*/ 18 w 20"/>
                <a:gd name="T17" fmla="*/ 23 h 27"/>
                <a:gd name="T18" fmla="*/ 20 w 20"/>
                <a:gd name="T19" fmla="*/ 22 h 27"/>
                <a:gd name="T20" fmla="*/ 20 w 20"/>
                <a:gd name="T21" fmla="*/ 20 h 27"/>
                <a:gd name="T22" fmla="*/ 14 w 20"/>
                <a:gd name="T23" fmla="*/ 19 h 27"/>
                <a:gd name="T24" fmla="*/ 13 w 20"/>
                <a:gd name="T25" fmla="*/ 17 h 27"/>
                <a:gd name="T26" fmla="*/ 13 w 20"/>
                <a:gd name="T27" fmla="*/ 14 h 27"/>
                <a:gd name="T28" fmla="*/ 13 w 20"/>
                <a:gd name="T29" fmla="*/ 12 h 27"/>
                <a:gd name="T30" fmla="*/ 11 w 20"/>
                <a:gd name="T31" fmla="*/ 9 h 27"/>
                <a:gd name="T32" fmla="*/ 8 w 20"/>
                <a:gd name="T33" fmla="*/ 7 h 27"/>
                <a:gd name="T34" fmla="*/ 4 w 20"/>
                <a:gd name="T35" fmla="*/ 2 h 27"/>
                <a:gd name="T36" fmla="*/ 3 w 20"/>
                <a:gd name="T37" fmla="*/ 0 h 27"/>
                <a:gd name="T38" fmla="*/ 1 w 20"/>
                <a:gd name="T39" fmla="*/ 0 h 27"/>
                <a:gd name="T40" fmla="*/ 0 w 20"/>
                <a:gd name="T41" fmla="*/ 2 h 27"/>
                <a:gd name="T42" fmla="*/ 1 w 20"/>
                <a:gd name="T43" fmla="*/ 4 h 27"/>
                <a:gd name="T44" fmla="*/ 1 w 20"/>
                <a:gd name="T45" fmla="*/ 9 h 27"/>
                <a:gd name="T46" fmla="*/ 1 w 20"/>
                <a:gd name="T47" fmla="*/ 10 h 27"/>
                <a:gd name="T48" fmla="*/ 6 w 20"/>
                <a:gd name="T49" fmla="*/ 16 h 27"/>
                <a:gd name="T50" fmla="*/ 6 w 20"/>
                <a:gd name="T51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" h="27">
                  <a:moveTo>
                    <a:pt x="6" y="16"/>
                  </a:moveTo>
                  <a:lnTo>
                    <a:pt x="8" y="19"/>
                  </a:lnTo>
                  <a:lnTo>
                    <a:pt x="10" y="20"/>
                  </a:lnTo>
                  <a:lnTo>
                    <a:pt x="10" y="25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3" y="27"/>
                  </a:lnTo>
                  <a:lnTo>
                    <a:pt x="16" y="25"/>
                  </a:lnTo>
                  <a:lnTo>
                    <a:pt x="18" y="23"/>
                  </a:lnTo>
                  <a:lnTo>
                    <a:pt x="20" y="22"/>
                  </a:lnTo>
                  <a:lnTo>
                    <a:pt x="20" y="20"/>
                  </a:lnTo>
                  <a:lnTo>
                    <a:pt x="14" y="19"/>
                  </a:lnTo>
                  <a:lnTo>
                    <a:pt x="13" y="17"/>
                  </a:lnTo>
                  <a:lnTo>
                    <a:pt x="13" y="14"/>
                  </a:lnTo>
                  <a:lnTo>
                    <a:pt x="13" y="12"/>
                  </a:lnTo>
                  <a:lnTo>
                    <a:pt x="11" y="9"/>
                  </a:lnTo>
                  <a:lnTo>
                    <a:pt x="8" y="7"/>
                  </a:lnTo>
                  <a:lnTo>
                    <a:pt x="4" y="2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1" y="4"/>
                  </a:lnTo>
                  <a:lnTo>
                    <a:pt x="1" y="9"/>
                  </a:lnTo>
                  <a:lnTo>
                    <a:pt x="1" y="10"/>
                  </a:lnTo>
                  <a:lnTo>
                    <a:pt x="6" y="16"/>
                  </a:lnTo>
                  <a:lnTo>
                    <a:pt x="6" y="16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90" name="Freeform 238"/>
            <p:cNvSpPr>
              <a:spLocks/>
            </p:cNvSpPr>
            <p:nvPr/>
          </p:nvSpPr>
          <p:spPr bwMode="auto">
            <a:xfrm>
              <a:off x="7672472" y="4519843"/>
              <a:ext cx="7327" cy="19844"/>
            </a:xfrm>
            <a:custGeom>
              <a:avLst/>
              <a:gdLst>
                <a:gd name="T0" fmla="*/ 3 w 13"/>
                <a:gd name="T1" fmla="*/ 18 h 30"/>
                <a:gd name="T2" fmla="*/ 2 w 13"/>
                <a:gd name="T3" fmla="*/ 24 h 30"/>
                <a:gd name="T4" fmla="*/ 0 w 13"/>
                <a:gd name="T5" fmla="*/ 26 h 30"/>
                <a:gd name="T6" fmla="*/ 0 w 13"/>
                <a:gd name="T7" fmla="*/ 29 h 30"/>
                <a:gd name="T8" fmla="*/ 2 w 13"/>
                <a:gd name="T9" fmla="*/ 30 h 30"/>
                <a:gd name="T10" fmla="*/ 4 w 13"/>
                <a:gd name="T11" fmla="*/ 29 h 30"/>
                <a:gd name="T12" fmla="*/ 7 w 13"/>
                <a:gd name="T13" fmla="*/ 26 h 30"/>
                <a:gd name="T14" fmla="*/ 12 w 13"/>
                <a:gd name="T15" fmla="*/ 18 h 30"/>
                <a:gd name="T16" fmla="*/ 12 w 13"/>
                <a:gd name="T17" fmla="*/ 17 h 30"/>
                <a:gd name="T18" fmla="*/ 12 w 13"/>
                <a:gd name="T19" fmla="*/ 14 h 30"/>
                <a:gd name="T20" fmla="*/ 10 w 13"/>
                <a:gd name="T21" fmla="*/ 11 h 30"/>
                <a:gd name="T22" fmla="*/ 10 w 13"/>
                <a:gd name="T23" fmla="*/ 8 h 30"/>
                <a:gd name="T24" fmla="*/ 10 w 13"/>
                <a:gd name="T25" fmla="*/ 7 h 30"/>
                <a:gd name="T26" fmla="*/ 12 w 13"/>
                <a:gd name="T27" fmla="*/ 6 h 30"/>
                <a:gd name="T28" fmla="*/ 13 w 13"/>
                <a:gd name="T29" fmla="*/ 6 h 30"/>
                <a:gd name="T30" fmla="*/ 13 w 13"/>
                <a:gd name="T31" fmla="*/ 3 h 30"/>
                <a:gd name="T32" fmla="*/ 13 w 13"/>
                <a:gd name="T33" fmla="*/ 1 h 30"/>
                <a:gd name="T34" fmla="*/ 12 w 13"/>
                <a:gd name="T35" fmla="*/ 1 h 30"/>
                <a:gd name="T36" fmla="*/ 9 w 13"/>
                <a:gd name="T37" fmla="*/ 0 h 30"/>
                <a:gd name="T38" fmla="*/ 6 w 13"/>
                <a:gd name="T39" fmla="*/ 0 h 30"/>
                <a:gd name="T40" fmla="*/ 3 w 13"/>
                <a:gd name="T41" fmla="*/ 1 h 30"/>
                <a:gd name="T42" fmla="*/ 2 w 13"/>
                <a:gd name="T43" fmla="*/ 6 h 30"/>
                <a:gd name="T44" fmla="*/ 2 w 13"/>
                <a:gd name="T45" fmla="*/ 8 h 30"/>
                <a:gd name="T46" fmla="*/ 3 w 13"/>
                <a:gd name="T47" fmla="*/ 11 h 30"/>
                <a:gd name="T48" fmla="*/ 4 w 13"/>
                <a:gd name="T49" fmla="*/ 14 h 30"/>
                <a:gd name="T50" fmla="*/ 3 w 13"/>
                <a:gd name="T51" fmla="*/ 18 h 30"/>
                <a:gd name="T52" fmla="*/ 3 w 13"/>
                <a:gd name="T5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" h="30">
                  <a:moveTo>
                    <a:pt x="3" y="18"/>
                  </a:moveTo>
                  <a:lnTo>
                    <a:pt x="2" y="24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2" y="30"/>
                  </a:lnTo>
                  <a:lnTo>
                    <a:pt x="4" y="29"/>
                  </a:lnTo>
                  <a:lnTo>
                    <a:pt x="7" y="26"/>
                  </a:lnTo>
                  <a:lnTo>
                    <a:pt x="12" y="18"/>
                  </a:lnTo>
                  <a:lnTo>
                    <a:pt x="12" y="17"/>
                  </a:lnTo>
                  <a:lnTo>
                    <a:pt x="12" y="14"/>
                  </a:lnTo>
                  <a:lnTo>
                    <a:pt x="10" y="11"/>
                  </a:lnTo>
                  <a:lnTo>
                    <a:pt x="10" y="8"/>
                  </a:lnTo>
                  <a:lnTo>
                    <a:pt x="10" y="7"/>
                  </a:lnTo>
                  <a:lnTo>
                    <a:pt x="12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1"/>
                  </a:lnTo>
                  <a:lnTo>
                    <a:pt x="12" y="1"/>
                  </a:lnTo>
                  <a:lnTo>
                    <a:pt x="9" y="0"/>
                  </a:lnTo>
                  <a:lnTo>
                    <a:pt x="6" y="0"/>
                  </a:lnTo>
                  <a:lnTo>
                    <a:pt x="3" y="1"/>
                  </a:lnTo>
                  <a:lnTo>
                    <a:pt x="2" y="6"/>
                  </a:lnTo>
                  <a:lnTo>
                    <a:pt x="2" y="8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3" y="18"/>
                  </a:lnTo>
                  <a:lnTo>
                    <a:pt x="3" y="18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91" name="Freeform 239"/>
            <p:cNvSpPr>
              <a:spLocks/>
            </p:cNvSpPr>
            <p:nvPr/>
          </p:nvSpPr>
          <p:spPr bwMode="auto">
            <a:xfrm>
              <a:off x="7582107" y="4551593"/>
              <a:ext cx="15875" cy="7937"/>
            </a:xfrm>
            <a:custGeom>
              <a:avLst/>
              <a:gdLst>
                <a:gd name="T0" fmla="*/ 3 w 25"/>
                <a:gd name="T1" fmla="*/ 9 h 12"/>
                <a:gd name="T2" fmla="*/ 4 w 25"/>
                <a:gd name="T3" fmla="*/ 10 h 12"/>
                <a:gd name="T4" fmla="*/ 7 w 25"/>
                <a:gd name="T5" fmla="*/ 10 h 12"/>
                <a:gd name="T6" fmla="*/ 8 w 25"/>
                <a:gd name="T7" fmla="*/ 12 h 12"/>
                <a:gd name="T8" fmla="*/ 10 w 25"/>
                <a:gd name="T9" fmla="*/ 12 h 12"/>
                <a:gd name="T10" fmla="*/ 14 w 25"/>
                <a:gd name="T11" fmla="*/ 9 h 12"/>
                <a:gd name="T12" fmla="*/ 18 w 25"/>
                <a:gd name="T13" fmla="*/ 10 h 12"/>
                <a:gd name="T14" fmla="*/ 21 w 25"/>
                <a:gd name="T15" fmla="*/ 9 h 12"/>
                <a:gd name="T16" fmla="*/ 24 w 25"/>
                <a:gd name="T17" fmla="*/ 6 h 12"/>
                <a:gd name="T18" fmla="*/ 25 w 25"/>
                <a:gd name="T19" fmla="*/ 3 h 12"/>
                <a:gd name="T20" fmla="*/ 24 w 25"/>
                <a:gd name="T21" fmla="*/ 2 h 12"/>
                <a:gd name="T22" fmla="*/ 23 w 25"/>
                <a:gd name="T23" fmla="*/ 2 h 12"/>
                <a:gd name="T24" fmla="*/ 20 w 25"/>
                <a:gd name="T25" fmla="*/ 3 h 12"/>
                <a:gd name="T26" fmla="*/ 17 w 25"/>
                <a:gd name="T27" fmla="*/ 4 h 12"/>
                <a:gd name="T28" fmla="*/ 15 w 25"/>
                <a:gd name="T29" fmla="*/ 6 h 12"/>
                <a:gd name="T30" fmla="*/ 13 w 25"/>
                <a:gd name="T31" fmla="*/ 6 h 12"/>
                <a:gd name="T32" fmla="*/ 10 w 25"/>
                <a:gd name="T33" fmla="*/ 4 h 12"/>
                <a:gd name="T34" fmla="*/ 10 w 25"/>
                <a:gd name="T35" fmla="*/ 2 h 12"/>
                <a:gd name="T36" fmla="*/ 8 w 25"/>
                <a:gd name="T37" fmla="*/ 0 h 12"/>
                <a:gd name="T38" fmla="*/ 7 w 25"/>
                <a:gd name="T39" fmla="*/ 0 h 12"/>
                <a:gd name="T40" fmla="*/ 4 w 25"/>
                <a:gd name="T41" fmla="*/ 0 h 12"/>
                <a:gd name="T42" fmla="*/ 1 w 25"/>
                <a:gd name="T43" fmla="*/ 0 h 12"/>
                <a:gd name="T44" fmla="*/ 0 w 25"/>
                <a:gd name="T45" fmla="*/ 3 h 12"/>
                <a:gd name="T46" fmla="*/ 0 w 25"/>
                <a:gd name="T47" fmla="*/ 4 h 12"/>
                <a:gd name="T48" fmla="*/ 1 w 25"/>
                <a:gd name="T49" fmla="*/ 6 h 12"/>
                <a:gd name="T50" fmla="*/ 3 w 25"/>
                <a:gd name="T51" fmla="*/ 9 h 12"/>
                <a:gd name="T52" fmla="*/ 3 w 25"/>
                <a:gd name="T53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5" h="12">
                  <a:moveTo>
                    <a:pt x="3" y="9"/>
                  </a:moveTo>
                  <a:lnTo>
                    <a:pt x="4" y="10"/>
                  </a:lnTo>
                  <a:lnTo>
                    <a:pt x="7" y="10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4" y="9"/>
                  </a:lnTo>
                  <a:lnTo>
                    <a:pt x="18" y="10"/>
                  </a:lnTo>
                  <a:lnTo>
                    <a:pt x="21" y="9"/>
                  </a:lnTo>
                  <a:lnTo>
                    <a:pt x="24" y="6"/>
                  </a:lnTo>
                  <a:lnTo>
                    <a:pt x="25" y="3"/>
                  </a:lnTo>
                  <a:lnTo>
                    <a:pt x="24" y="2"/>
                  </a:lnTo>
                  <a:lnTo>
                    <a:pt x="23" y="2"/>
                  </a:lnTo>
                  <a:lnTo>
                    <a:pt x="20" y="3"/>
                  </a:lnTo>
                  <a:lnTo>
                    <a:pt x="17" y="4"/>
                  </a:lnTo>
                  <a:lnTo>
                    <a:pt x="15" y="6"/>
                  </a:lnTo>
                  <a:lnTo>
                    <a:pt x="13" y="6"/>
                  </a:lnTo>
                  <a:lnTo>
                    <a:pt x="10" y="4"/>
                  </a:lnTo>
                  <a:lnTo>
                    <a:pt x="10" y="2"/>
                  </a:lnTo>
                  <a:lnTo>
                    <a:pt x="8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  <a:lnTo>
                    <a:pt x="0" y="4"/>
                  </a:lnTo>
                  <a:lnTo>
                    <a:pt x="1" y="6"/>
                  </a:lnTo>
                  <a:lnTo>
                    <a:pt x="3" y="9"/>
                  </a:lnTo>
                  <a:lnTo>
                    <a:pt x="3" y="9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92" name="Freeform 240"/>
            <p:cNvSpPr>
              <a:spLocks/>
            </p:cNvSpPr>
            <p:nvPr/>
          </p:nvSpPr>
          <p:spPr bwMode="auto">
            <a:xfrm>
              <a:off x="7585771" y="4522489"/>
              <a:ext cx="3663" cy="3969"/>
            </a:xfrm>
            <a:custGeom>
              <a:avLst/>
              <a:gdLst>
                <a:gd name="T0" fmla="*/ 4 w 6"/>
                <a:gd name="T1" fmla="*/ 3 h 5"/>
                <a:gd name="T2" fmla="*/ 6 w 6"/>
                <a:gd name="T3" fmla="*/ 1 h 5"/>
                <a:gd name="T4" fmla="*/ 4 w 6"/>
                <a:gd name="T5" fmla="*/ 0 h 5"/>
                <a:gd name="T6" fmla="*/ 4 w 6"/>
                <a:gd name="T7" fmla="*/ 0 h 5"/>
                <a:gd name="T8" fmla="*/ 1 w 6"/>
                <a:gd name="T9" fmla="*/ 0 h 5"/>
                <a:gd name="T10" fmla="*/ 0 w 6"/>
                <a:gd name="T11" fmla="*/ 1 h 5"/>
                <a:gd name="T12" fmla="*/ 0 w 6"/>
                <a:gd name="T13" fmla="*/ 4 h 5"/>
                <a:gd name="T14" fmla="*/ 1 w 6"/>
                <a:gd name="T15" fmla="*/ 5 h 5"/>
                <a:gd name="T16" fmla="*/ 1 w 6"/>
                <a:gd name="T17" fmla="*/ 5 h 5"/>
                <a:gd name="T18" fmla="*/ 4 w 6"/>
                <a:gd name="T19" fmla="*/ 4 h 5"/>
                <a:gd name="T20" fmla="*/ 4 w 6"/>
                <a:gd name="T21" fmla="*/ 3 h 5"/>
                <a:gd name="T22" fmla="*/ 4 w 6"/>
                <a:gd name="T23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5">
                  <a:moveTo>
                    <a:pt x="4" y="3"/>
                  </a:moveTo>
                  <a:lnTo>
                    <a:pt x="6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4" y="4"/>
                  </a:lnTo>
                  <a:lnTo>
                    <a:pt x="4" y="3"/>
                  </a:lnTo>
                  <a:lnTo>
                    <a:pt x="4" y="3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93" name="Freeform 241"/>
            <p:cNvSpPr>
              <a:spLocks/>
            </p:cNvSpPr>
            <p:nvPr/>
          </p:nvSpPr>
          <p:spPr bwMode="auto">
            <a:xfrm>
              <a:off x="7772605" y="4462958"/>
              <a:ext cx="3663" cy="6615"/>
            </a:xfrm>
            <a:custGeom>
              <a:avLst/>
              <a:gdLst>
                <a:gd name="T0" fmla="*/ 4 w 6"/>
                <a:gd name="T1" fmla="*/ 6 h 9"/>
                <a:gd name="T2" fmla="*/ 6 w 6"/>
                <a:gd name="T3" fmla="*/ 3 h 9"/>
                <a:gd name="T4" fmla="*/ 6 w 6"/>
                <a:gd name="T5" fmla="*/ 0 h 9"/>
                <a:gd name="T6" fmla="*/ 4 w 6"/>
                <a:gd name="T7" fmla="*/ 0 h 9"/>
                <a:gd name="T8" fmla="*/ 1 w 6"/>
                <a:gd name="T9" fmla="*/ 1 h 9"/>
                <a:gd name="T10" fmla="*/ 0 w 6"/>
                <a:gd name="T11" fmla="*/ 3 h 9"/>
                <a:gd name="T12" fmla="*/ 0 w 6"/>
                <a:gd name="T13" fmla="*/ 6 h 9"/>
                <a:gd name="T14" fmla="*/ 0 w 6"/>
                <a:gd name="T15" fmla="*/ 7 h 9"/>
                <a:gd name="T16" fmla="*/ 1 w 6"/>
                <a:gd name="T17" fmla="*/ 9 h 9"/>
                <a:gd name="T18" fmla="*/ 3 w 6"/>
                <a:gd name="T19" fmla="*/ 7 h 9"/>
                <a:gd name="T20" fmla="*/ 4 w 6"/>
                <a:gd name="T21" fmla="*/ 6 h 9"/>
                <a:gd name="T22" fmla="*/ 4 w 6"/>
                <a:gd name="T23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9">
                  <a:moveTo>
                    <a:pt x="4" y="6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4" y="0"/>
                  </a:lnTo>
                  <a:lnTo>
                    <a:pt x="1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9"/>
                  </a:lnTo>
                  <a:lnTo>
                    <a:pt x="3" y="7"/>
                  </a:lnTo>
                  <a:lnTo>
                    <a:pt x="4" y="6"/>
                  </a:lnTo>
                  <a:lnTo>
                    <a:pt x="4" y="6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94" name="Freeform 242"/>
            <p:cNvSpPr>
              <a:spLocks/>
            </p:cNvSpPr>
            <p:nvPr/>
          </p:nvSpPr>
          <p:spPr bwMode="auto">
            <a:xfrm>
              <a:off x="7732308" y="4460312"/>
              <a:ext cx="3663" cy="7937"/>
            </a:xfrm>
            <a:custGeom>
              <a:avLst/>
              <a:gdLst>
                <a:gd name="T0" fmla="*/ 0 w 6"/>
                <a:gd name="T1" fmla="*/ 7 h 11"/>
                <a:gd name="T2" fmla="*/ 0 w 6"/>
                <a:gd name="T3" fmla="*/ 8 h 11"/>
                <a:gd name="T4" fmla="*/ 0 w 6"/>
                <a:gd name="T5" fmla="*/ 10 h 11"/>
                <a:gd name="T6" fmla="*/ 1 w 6"/>
                <a:gd name="T7" fmla="*/ 11 h 11"/>
                <a:gd name="T8" fmla="*/ 4 w 6"/>
                <a:gd name="T9" fmla="*/ 10 h 11"/>
                <a:gd name="T10" fmla="*/ 6 w 6"/>
                <a:gd name="T11" fmla="*/ 7 h 11"/>
                <a:gd name="T12" fmla="*/ 6 w 6"/>
                <a:gd name="T13" fmla="*/ 4 h 11"/>
                <a:gd name="T14" fmla="*/ 4 w 6"/>
                <a:gd name="T15" fmla="*/ 1 h 11"/>
                <a:gd name="T16" fmla="*/ 3 w 6"/>
                <a:gd name="T17" fmla="*/ 1 h 11"/>
                <a:gd name="T18" fmla="*/ 3 w 6"/>
                <a:gd name="T19" fmla="*/ 0 h 11"/>
                <a:gd name="T20" fmla="*/ 1 w 6"/>
                <a:gd name="T21" fmla="*/ 3 h 11"/>
                <a:gd name="T22" fmla="*/ 0 w 6"/>
                <a:gd name="T23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11">
                  <a:moveTo>
                    <a:pt x="0" y="7"/>
                  </a:move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0"/>
                  </a:lnTo>
                  <a:lnTo>
                    <a:pt x="6" y="7"/>
                  </a:lnTo>
                  <a:lnTo>
                    <a:pt x="6" y="4"/>
                  </a:lnTo>
                  <a:lnTo>
                    <a:pt x="4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1" y="3"/>
                  </a:lnTo>
                  <a:lnTo>
                    <a:pt x="0" y="7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95" name="Freeform 243"/>
            <p:cNvSpPr>
              <a:spLocks/>
            </p:cNvSpPr>
            <p:nvPr/>
          </p:nvSpPr>
          <p:spPr bwMode="auto">
            <a:xfrm>
              <a:off x="7561348" y="5164097"/>
              <a:ext cx="282084" cy="223571"/>
            </a:xfrm>
            <a:custGeom>
              <a:avLst/>
              <a:gdLst>
                <a:gd name="T0" fmla="*/ 371 w 461"/>
                <a:gd name="T1" fmla="*/ 20 h 340"/>
                <a:gd name="T2" fmla="*/ 382 w 461"/>
                <a:gd name="T3" fmla="*/ 12 h 340"/>
                <a:gd name="T4" fmla="*/ 398 w 461"/>
                <a:gd name="T5" fmla="*/ 20 h 340"/>
                <a:gd name="T6" fmla="*/ 419 w 461"/>
                <a:gd name="T7" fmla="*/ 18 h 340"/>
                <a:gd name="T8" fmla="*/ 437 w 461"/>
                <a:gd name="T9" fmla="*/ 0 h 340"/>
                <a:gd name="T10" fmla="*/ 459 w 461"/>
                <a:gd name="T11" fmla="*/ 28 h 340"/>
                <a:gd name="T12" fmla="*/ 454 w 461"/>
                <a:gd name="T13" fmla="*/ 43 h 340"/>
                <a:gd name="T14" fmla="*/ 442 w 461"/>
                <a:gd name="T15" fmla="*/ 66 h 340"/>
                <a:gd name="T16" fmla="*/ 401 w 461"/>
                <a:gd name="T17" fmla="*/ 63 h 340"/>
                <a:gd name="T18" fmla="*/ 372 w 461"/>
                <a:gd name="T19" fmla="*/ 85 h 340"/>
                <a:gd name="T20" fmla="*/ 369 w 461"/>
                <a:gd name="T21" fmla="*/ 96 h 340"/>
                <a:gd name="T22" fmla="*/ 341 w 461"/>
                <a:gd name="T23" fmla="*/ 124 h 340"/>
                <a:gd name="T24" fmla="*/ 331 w 461"/>
                <a:gd name="T25" fmla="*/ 145 h 340"/>
                <a:gd name="T26" fmla="*/ 321 w 461"/>
                <a:gd name="T27" fmla="*/ 156 h 340"/>
                <a:gd name="T28" fmla="*/ 298 w 461"/>
                <a:gd name="T29" fmla="*/ 164 h 340"/>
                <a:gd name="T30" fmla="*/ 292 w 461"/>
                <a:gd name="T31" fmla="*/ 187 h 340"/>
                <a:gd name="T32" fmla="*/ 285 w 461"/>
                <a:gd name="T33" fmla="*/ 214 h 340"/>
                <a:gd name="T34" fmla="*/ 278 w 461"/>
                <a:gd name="T35" fmla="*/ 241 h 340"/>
                <a:gd name="T36" fmla="*/ 280 w 461"/>
                <a:gd name="T37" fmla="*/ 254 h 340"/>
                <a:gd name="T38" fmla="*/ 237 w 461"/>
                <a:gd name="T39" fmla="*/ 280 h 340"/>
                <a:gd name="T40" fmla="*/ 212 w 461"/>
                <a:gd name="T41" fmla="*/ 297 h 340"/>
                <a:gd name="T42" fmla="*/ 189 w 461"/>
                <a:gd name="T43" fmla="*/ 317 h 340"/>
                <a:gd name="T44" fmla="*/ 169 w 461"/>
                <a:gd name="T45" fmla="*/ 317 h 340"/>
                <a:gd name="T46" fmla="*/ 152 w 461"/>
                <a:gd name="T47" fmla="*/ 324 h 340"/>
                <a:gd name="T48" fmla="*/ 129 w 461"/>
                <a:gd name="T49" fmla="*/ 340 h 340"/>
                <a:gd name="T50" fmla="*/ 113 w 461"/>
                <a:gd name="T51" fmla="*/ 337 h 340"/>
                <a:gd name="T52" fmla="*/ 94 w 461"/>
                <a:gd name="T53" fmla="*/ 315 h 340"/>
                <a:gd name="T54" fmla="*/ 58 w 461"/>
                <a:gd name="T55" fmla="*/ 290 h 340"/>
                <a:gd name="T56" fmla="*/ 53 w 461"/>
                <a:gd name="T57" fmla="*/ 268 h 340"/>
                <a:gd name="T58" fmla="*/ 41 w 461"/>
                <a:gd name="T59" fmla="*/ 247 h 340"/>
                <a:gd name="T60" fmla="*/ 11 w 461"/>
                <a:gd name="T61" fmla="*/ 237 h 340"/>
                <a:gd name="T62" fmla="*/ 0 w 461"/>
                <a:gd name="T63" fmla="*/ 212 h 340"/>
                <a:gd name="T64" fmla="*/ 5 w 461"/>
                <a:gd name="T65" fmla="*/ 172 h 340"/>
                <a:gd name="T66" fmla="*/ 24 w 461"/>
                <a:gd name="T67" fmla="*/ 124 h 340"/>
                <a:gd name="T68" fmla="*/ 40 w 461"/>
                <a:gd name="T69" fmla="*/ 91 h 340"/>
                <a:gd name="T70" fmla="*/ 58 w 461"/>
                <a:gd name="T71" fmla="*/ 88 h 340"/>
                <a:gd name="T72" fmla="*/ 76 w 461"/>
                <a:gd name="T73" fmla="*/ 66 h 340"/>
                <a:gd name="T74" fmla="*/ 97 w 461"/>
                <a:gd name="T75" fmla="*/ 65 h 340"/>
                <a:gd name="T76" fmla="*/ 94 w 461"/>
                <a:gd name="T77" fmla="*/ 48 h 340"/>
                <a:gd name="T78" fmla="*/ 90 w 461"/>
                <a:gd name="T79" fmla="*/ 33 h 340"/>
                <a:gd name="T80" fmla="*/ 104 w 461"/>
                <a:gd name="T81" fmla="*/ 26 h 340"/>
                <a:gd name="T82" fmla="*/ 127 w 461"/>
                <a:gd name="T83" fmla="*/ 29 h 340"/>
                <a:gd name="T84" fmla="*/ 134 w 461"/>
                <a:gd name="T85" fmla="*/ 40 h 340"/>
                <a:gd name="T86" fmla="*/ 163 w 461"/>
                <a:gd name="T87" fmla="*/ 25 h 340"/>
                <a:gd name="T88" fmla="*/ 176 w 461"/>
                <a:gd name="T89" fmla="*/ 26 h 340"/>
                <a:gd name="T90" fmla="*/ 183 w 461"/>
                <a:gd name="T91" fmla="*/ 20 h 340"/>
                <a:gd name="T92" fmla="*/ 196 w 461"/>
                <a:gd name="T93" fmla="*/ 23 h 340"/>
                <a:gd name="T94" fmla="*/ 217 w 461"/>
                <a:gd name="T95" fmla="*/ 22 h 340"/>
                <a:gd name="T96" fmla="*/ 237 w 461"/>
                <a:gd name="T97" fmla="*/ 39 h 340"/>
                <a:gd name="T98" fmla="*/ 315 w 461"/>
                <a:gd name="T99" fmla="*/ 45 h 340"/>
                <a:gd name="T100" fmla="*/ 325 w 461"/>
                <a:gd name="T101" fmla="*/ 52 h 340"/>
                <a:gd name="T102" fmla="*/ 336 w 461"/>
                <a:gd name="T103" fmla="*/ 52 h 340"/>
                <a:gd name="T104" fmla="*/ 349 w 461"/>
                <a:gd name="T105" fmla="*/ 46 h 340"/>
                <a:gd name="T106" fmla="*/ 359 w 461"/>
                <a:gd name="T107" fmla="*/ 4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61" h="340">
                  <a:moveTo>
                    <a:pt x="366" y="30"/>
                  </a:moveTo>
                  <a:lnTo>
                    <a:pt x="369" y="29"/>
                  </a:lnTo>
                  <a:lnTo>
                    <a:pt x="371" y="26"/>
                  </a:lnTo>
                  <a:lnTo>
                    <a:pt x="371" y="20"/>
                  </a:lnTo>
                  <a:lnTo>
                    <a:pt x="375" y="16"/>
                  </a:lnTo>
                  <a:lnTo>
                    <a:pt x="376" y="13"/>
                  </a:lnTo>
                  <a:lnTo>
                    <a:pt x="379" y="12"/>
                  </a:lnTo>
                  <a:lnTo>
                    <a:pt x="382" y="12"/>
                  </a:lnTo>
                  <a:lnTo>
                    <a:pt x="385" y="16"/>
                  </a:lnTo>
                  <a:lnTo>
                    <a:pt x="388" y="18"/>
                  </a:lnTo>
                  <a:lnTo>
                    <a:pt x="392" y="19"/>
                  </a:lnTo>
                  <a:lnTo>
                    <a:pt x="398" y="20"/>
                  </a:lnTo>
                  <a:lnTo>
                    <a:pt x="404" y="20"/>
                  </a:lnTo>
                  <a:lnTo>
                    <a:pt x="411" y="22"/>
                  </a:lnTo>
                  <a:lnTo>
                    <a:pt x="415" y="20"/>
                  </a:lnTo>
                  <a:lnTo>
                    <a:pt x="419" y="18"/>
                  </a:lnTo>
                  <a:lnTo>
                    <a:pt x="422" y="12"/>
                  </a:lnTo>
                  <a:lnTo>
                    <a:pt x="425" y="5"/>
                  </a:lnTo>
                  <a:lnTo>
                    <a:pt x="429" y="0"/>
                  </a:lnTo>
                  <a:lnTo>
                    <a:pt x="437" y="0"/>
                  </a:lnTo>
                  <a:lnTo>
                    <a:pt x="445" y="0"/>
                  </a:lnTo>
                  <a:lnTo>
                    <a:pt x="454" y="22"/>
                  </a:lnTo>
                  <a:lnTo>
                    <a:pt x="458" y="23"/>
                  </a:lnTo>
                  <a:lnTo>
                    <a:pt x="459" y="28"/>
                  </a:lnTo>
                  <a:lnTo>
                    <a:pt x="461" y="32"/>
                  </a:lnTo>
                  <a:lnTo>
                    <a:pt x="459" y="38"/>
                  </a:lnTo>
                  <a:lnTo>
                    <a:pt x="457" y="42"/>
                  </a:lnTo>
                  <a:lnTo>
                    <a:pt x="454" y="43"/>
                  </a:lnTo>
                  <a:lnTo>
                    <a:pt x="449" y="48"/>
                  </a:lnTo>
                  <a:lnTo>
                    <a:pt x="445" y="53"/>
                  </a:lnTo>
                  <a:lnTo>
                    <a:pt x="444" y="60"/>
                  </a:lnTo>
                  <a:lnTo>
                    <a:pt x="442" y="66"/>
                  </a:lnTo>
                  <a:lnTo>
                    <a:pt x="442" y="66"/>
                  </a:lnTo>
                  <a:lnTo>
                    <a:pt x="422" y="63"/>
                  </a:lnTo>
                  <a:lnTo>
                    <a:pt x="406" y="62"/>
                  </a:lnTo>
                  <a:lnTo>
                    <a:pt x="401" y="63"/>
                  </a:lnTo>
                  <a:lnTo>
                    <a:pt x="396" y="63"/>
                  </a:lnTo>
                  <a:lnTo>
                    <a:pt x="396" y="63"/>
                  </a:lnTo>
                  <a:lnTo>
                    <a:pt x="379" y="76"/>
                  </a:lnTo>
                  <a:lnTo>
                    <a:pt x="372" y="85"/>
                  </a:lnTo>
                  <a:lnTo>
                    <a:pt x="369" y="89"/>
                  </a:lnTo>
                  <a:lnTo>
                    <a:pt x="369" y="93"/>
                  </a:lnTo>
                  <a:lnTo>
                    <a:pt x="369" y="93"/>
                  </a:lnTo>
                  <a:lnTo>
                    <a:pt x="369" y="96"/>
                  </a:lnTo>
                  <a:lnTo>
                    <a:pt x="366" y="101"/>
                  </a:lnTo>
                  <a:lnTo>
                    <a:pt x="358" y="109"/>
                  </a:lnTo>
                  <a:lnTo>
                    <a:pt x="346" y="118"/>
                  </a:lnTo>
                  <a:lnTo>
                    <a:pt x="341" y="124"/>
                  </a:lnTo>
                  <a:lnTo>
                    <a:pt x="336" y="129"/>
                  </a:lnTo>
                  <a:lnTo>
                    <a:pt x="336" y="129"/>
                  </a:lnTo>
                  <a:lnTo>
                    <a:pt x="332" y="138"/>
                  </a:lnTo>
                  <a:lnTo>
                    <a:pt x="331" y="145"/>
                  </a:lnTo>
                  <a:lnTo>
                    <a:pt x="331" y="151"/>
                  </a:lnTo>
                  <a:lnTo>
                    <a:pt x="329" y="154"/>
                  </a:lnTo>
                  <a:lnTo>
                    <a:pt x="329" y="154"/>
                  </a:lnTo>
                  <a:lnTo>
                    <a:pt x="321" y="156"/>
                  </a:lnTo>
                  <a:lnTo>
                    <a:pt x="313" y="158"/>
                  </a:lnTo>
                  <a:lnTo>
                    <a:pt x="308" y="159"/>
                  </a:lnTo>
                  <a:lnTo>
                    <a:pt x="302" y="161"/>
                  </a:lnTo>
                  <a:lnTo>
                    <a:pt x="298" y="164"/>
                  </a:lnTo>
                  <a:lnTo>
                    <a:pt x="295" y="168"/>
                  </a:lnTo>
                  <a:lnTo>
                    <a:pt x="293" y="175"/>
                  </a:lnTo>
                  <a:lnTo>
                    <a:pt x="292" y="187"/>
                  </a:lnTo>
                  <a:lnTo>
                    <a:pt x="292" y="187"/>
                  </a:lnTo>
                  <a:lnTo>
                    <a:pt x="292" y="197"/>
                  </a:lnTo>
                  <a:lnTo>
                    <a:pt x="289" y="204"/>
                  </a:lnTo>
                  <a:lnTo>
                    <a:pt x="288" y="209"/>
                  </a:lnTo>
                  <a:lnTo>
                    <a:pt x="285" y="214"/>
                  </a:lnTo>
                  <a:lnTo>
                    <a:pt x="282" y="219"/>
                  </a:lnTo>
                  <a:lnTo>
                    <a:pt x="279" y="224"/>
                  </a:lnTo>
                  <a:lnTo>
                    <a:pt x="278" y="231"/>
                  </a:lnTo>
                  <a:lnTo>
                    <a:pt x="278" y="241"/>
                  </a:lnTo>
                  <a:lnTo>
                    <a:pt x="278" y="241"/>
                  </a:lnTo>
                  <a:lnTo>
                    <a:pt x="280" y="245"/>
                  </a:lnTo>
                  <a:lnTo>
                    <a:pt x="280" y="250"/>
                  </a:lnTo>
                  <a:lnTo>
                    <a:pt x="280" y="254"/>
                  </a:lnTo>
                  <a:lnTo>
                    <a:pt x="278" y="257"/>
                  </a:lnTo>
                  <a:lnTo>
                    <a:pt x="270" y="264"/>
                  </a:lnTo>
                  <a:lnTo>
                    <a:pt x="260" y="270"/>
                  </a:lnTo>
                  <a:lnTo>
                    <a:pt x="237" y="280"/>
                  </a:lnTo>
                  <a:lnTo>
                    <a:pt x="227" y="284"/>
                  </a:lnTo>
                  <a:lnTo>
                    <a:pt x="222" y="288"/>
                  </a:lnTo>
                  <a:lnTo>
                    <a:pt x="222" y="288"/>
                  </a:lnTo>
                  <a:lnTo>
                    <a:pt x="212" y="297"/>
                  </a:lnTo>
                  <a:lnTo>
                    <a:pt x="205" y="301"/>
                  </a:lnTo>
                  <a:lnTo>
                    <a:pt x="197" y="307"/>
                  </a:lnTo>
                  <a:lnTo>
                    <a:pt x="189" y="317"/>
                  </a:lnTo>
                  <a:lnTo>
                    <a:pt x="189" y="317"/>
                  </a:lnTo>
                  <a:lnTo>
                    <a:pt x="187" y="318"/>
                  </a:lnTo>
                  <a:lnTo>
                    <a:pt x="184" y="318"/>
                  </a:lnTo>
                  <a:lnTo>
                    <a:pt x="177" y="317"/>
                  </a:lnTo>
                  <a:lnTo>
                    <a:pt x="169" y="317"/>
                  </a:lnTo>
                  <a:lnTo>
                    <a:pt x="164" y="317"/>
                  </a:lnTo>
                  <a:lnTo>
                    <a:pt x="162" y="318"/>
                  </a:lnTo>
                  <a:lnTo>
                    <a:pt x="162" y="318"/>
                  </a:lnTo>
                  <a:lnTo>
                    <a:pt x="152" y="324"/>
                  </a:lnTo>
                  <a:lnTo>
                    <a:pt x="143" y="331"/>
                  </a:lnTo>
                  <a:lnTo>
                    <a:pt x="139" y="335"/>
                  </a:lnTo>
                  <a:lnTo>
                    <a:pt x="133" y="338"/>
                  </a:lnTo>
                  <a:lnTo>
                    <a:pt x="129" y="340"/>
                  </a:lnTo>
                  <a:lnTo>
                    <a:pt x="121" y="340"/>
                  </a:lnTo>
                  <a:lnTo>
                    <a:pt x="121" y="340"/>
                  </a:lnTo>
                  <a:lnTo>
                    <a:pt x="117" y="338"/>
                  </a:lnTo>
                  <a:lnTo>
                    <a:pt x="113" y="337"/>
                  </a:lnTo>
                  <a:lnTo>
                    <a:pt x="107" y="331"/>
                  </a:lnTo>
                  <a:lnTo>
                    <a:pt x="101" y="324"/>
                  </a:lnTo>
                  <a:lnTo>
                    <a:pt x="94" y="315"/>
                  </a:lnTo>
                  <a:lnTo>
                    <a:pt x="94" y="315"/>
                  </a:lnTo>
                  <a:lnTo>
                    <a:pt x="81" y="308"/>
                  </a:lnTo>
                  <a:lnTo>
                    <a:pt x="68" y="300"/>
                  </a:lnTo>
                  <a:lnTo>
                    <a:pt x="63" y="294"/>
                  </a:lnTo>
                  <a:lnTo>
                    <a:pt x="58" y="290"/>
                  </a:lnTo>
                  <a:lnTo>
                    <a:pt x="56" y="284"/>
                  </a:lnTo>
                  <a:lnTo>
                    <a:pt x="54" y="278"/>
                  </a:lnTo>
                  <a:lnTo>
                    <a:pt x="54" y="278"/>
                  </a:lnTo>
                  <a:lnTo>
                    <a:pt x="53" y="268"/>
                  </a:lnTo>
                  <a:lnTo>
                    <a:pt x="51" y="261"/>
                  </a:lnTo>
                  <a:lnTo>
                    <a:pt x="48" y="255"/>
                  </a:lnTo>
                  <a:lnTo>
                    <a:pt x="46" y="251"/>
                  </a:lnTo>
                  <a:lnTo>
                    <a:pt x="41" y="247"/>
                  </a:lnTo>
                  <a:lnTo>
                    <a:pt x="37" y="245"/>
                  </a:lnTo>
                  <a:lnTo>
                    <a:pt x="27" y="242"/>
                  </a:lnTo>
                  <a:lnTo>
                    <a:pt x="17" y="238"/>
                  </a:lnTo>
                  <a:lnTo>
                    <a:pt x="11" y="237"/>
                  </a:lnTo>
                  <a:lnTo>
                    <a:pt x="8" y="232"/>
                  </a:lnTo>
                  <a:lnTo>
                    <a:pt x="4" y="228"/>
                  </a:lnTo>
                  <a:lnTo>
                    <a:pt x="1" y="221"/>
                  </a:lnTo>
                  <a:lnTo>
                    <a:pt x="0" y="212"/>
                  </a:lnTo>
                  <a:lnTo>
                    <a:pt x="0" y="201"/>
                  </a:lnTo>
                  <a:lnTo>
                    <a:pt x="0" y="201"/>
                  </a:lnTo>
                  <a:lnTo>
                    <a:pt x="3" y="182"/>
                  </a:lnTo>
                  <a:lnTo>
                    <a:pt x="5" y="172"/>
                  </a:lnTo>
                  <a:lnTo>
                    <a:pt x="8" y="164"/>
                  </a:lnTo>
                  <a:lnTo>
                    <a:pt x="8" y="164"/>
                  </a:lnTo>
                  <a:lnTo>
                    <a:pt x="14" y="148"/>
                  </a:lnTo>
                  <a:lnTo>
                    <a:pt x="24" y="124"/>
                  </a:lnTo>
                  <a:lnTo>
                    <a:pt x="33" y="101"/>
                  </a:lnTo>
                  <a:lnTo>
                    <a:pt x="37" y="93"/>
                  </a:lnTo>
                  <a:lnTo>
                    <a:pt x="38" y="92"/>
                  </a:lnTo>
                  <a:lnTo>
                    <a:pt x="40" y="91"/>
                  </a:lnTo>
                  <a:lnTo>
                    <a:pt x="53" y="96"/>
                  </a:lnTo>
                  <a:lnTo>
                    <a:pt x="56" y="96"/>
                  </a:lnTo>
                  <a:lnTo>
                    <a:pt x="57" y="93"/>
                  </a:lnTo>
                  <a:lnTo>
                    <a:pt x="58" y="88"/>
                  </a:lnTo>
                  <a:lnTo>
                    <a:pt x="63" y="82"/>
                  </a:lnTo>
                  <a:lnTo>
                    <a:pt x="68" y="73"/>
                  </a:lnTo>
                  <a:lnTo>
                    <a:pt x="73" y="66"/>
                  </a:lnTo>
                  <a:lnTo>
                    <a:pt x="76" y="66"/>
                  </a:lnTo>
                  <a:lnTo>
                    <a:pt x="81" y="66"/>
                  </a:lnTo>
                  <a:lnTo>
                    <a:pt x="89" y="68"/>
                  </a:lnTo>
                  <a:lnTo>
                    <a:pt x="94" y="68"/>
                  </a:lnTo>
                  <a:lnTo>
                    <a:pt x="97" y="65"/>
                  </a:lnTo>
                  <a:lnTo>
                    <a:pt x="97" y="62"/>
                  </a:lnTo>
                  <a:lnTo>
                    <a:pt x="96" y="56"/>
                  </a:lnTo>
                  <a:lnTo>
                    <a:pt x="93" y="52"/>
                  </a:lnTo>
                  <a:lnTo>
                    <a:pt x="94" y="48"/>
                  </a:lnTo>
                  <a:lnTo>
                    <a:pt x="94" y="43"/>
                  </a:lnTo>
                  <a:lnTo>
                    <a:pt x="94" y="42"/>
                  </a:lnTo>
                  <a:lnTo>
                    <a:pt x="91" y="36"/>
                  </a:lnTo>
                  <a:lnTo>
                    <a:pt x="90" y="33"/>
                  </a:lnTo>
                  <a:lnTo>
                    <a:pt x="91" y="29"/>
                  </a:lnTo>
                  <a:lnTo>
                    <a:pt x="93" y="28"/>
                  </a:lnTo>
                  <a:lnTo>
                    <a:pt x="99" y="26"/>
                  </a:lnTo>
                  <a:lnTo>
                    <a:pt x="104" y="26"/>
                  </a:lnTo>
                  <a:lnTo>
                    <a:pt x="113" y="26"/>
                  </a:lnTo>
                  <a:lnTo>
                    <a:pt x="120" y="26"/>
                  </a:lnTo>
                  <a:lnTo>
                    <a:pt x="123" y="26"/>
                  </a:lnTo>
                  <a:lnTo>
                    <a:pt x="127" y="29"/>
                  </a:lnTo>
                  <a:lnTo>
                    <a:pt x="129" y="33"/>
                  </a:lnTo>
                  <a:lnTo>
                    <a:pt x="129" y="38"/>
                  </a:lnTo>
                  <a:lnTo>
                    <a:pt x="130" y="39"/>
                  </a:lnTo>
                  <a:lnTo>
                    <a:pt x="134" y="40"/>
                  </a:lnTo>
                  <a:lnTo>
                    <a:pt x="147" y="39"/>
                  </a:lnTo>
                  <a:lnTo>
                    <a:pt x="156" y="35"/>
                  </a:lnTo>
                  <a:lnTo>
                    <a:pt x="160" y="29"/>
                  </a:lnTo>
                  <a:lnTo>
                    <a:pt x="163" y="25"/>
                  </a:lnTo>
                  <a:lnTo>
                    <a:pt x="167" y="22"/>
                  </a:lnTo>
                  <a:lnTo>
                    <a:pt x="172" y="22"/>
                  </a:lnTo>
                  <a:lnTo>
                    <a:pt x="173" y="25"/>
                  </a:lnTo>
                  <a:lnTo>
                    <a:pt x="176" y="26"/>
                  </a:lnTo>
                  <a:lnTo>
                    <a:pt x="179" y="26"/>
                  </a:lnTo>
                  <a:lnTo>
                    <a:pt x="182" y="25"/>
                  </a:lnTo>
                  <a:lnTo>
                    <a:pt x="183" y="22"/>
                  </a:lnTo>
                  <a:lnTo>
                    <a:pt x="183" y="20"/>
                  </a:lnTo>
                  <a:lnTo>
                    <a:pt x="186" y="19"/>
                  </a:lnTo>
                  <a:lnTo>
                    <a:pt x="187" y="20"/>
                  </a:lnTo>
                  <a:lnTo>
                    <a:pt x="192" y="23"/>
                  </a:lnTo>
                  <a:lnTo>
                    <a:pt x="196" y="23"/>
                  </a:lnTo>
                  <a:lnTo>
                    <a:pt x="199" y="20"/>
                  </a:lnTo>
                  <a:lnTo>
                    <a:pt x="205" y="20"/>
                  </a:lnTo>
                  <a:lnTo>
                    <a:pt x="213" y="20"/>
                  </a:lnTo>
                  <a:lnTo>
                    <a:pt x="217" y="22"/>
                  </a:lnTo>
                  <a:lnTo>
                    <a:pt x="222" y="28"/>
                  </a:lnTo>
                  <a:lnTo>
                    <a:pt x="226" y="35"/>
                  </a:lnTo>
                  <a:lnTo>
                    <a:pt x="233" y="38"/>
                  </a:lnTo>
                  <a:lnTo>
                    <a:pt x="237" y="39"/>
                  </a:lnTo>
                  <a:lnTo>
                    <a:pt x="246" y="46"/>
                  </a:lnTo>
                  <a:lnTo>
                    <a:pt x="270" y="55"/>
                  </a:lnTo>
                  <a:lnTo>
                    <a:pt x="295" y="50"/>
                  </a:lnTo>
                  <a:lnTo>
                    <a:pt x="315" y="45"/>
                  </a:lnTo>
                  <a:lnTo>
                    <a:pt x="315" y="45"/>
                  </a:lnTo>
                  <a:lnTo>
                    <a:pt x="319" y="46"/>
                  </a:lnTo>
                  <a:lnTo>
                    <a:pt x="323" y="50"/>
                  </a:lnTo>
                  <a:lnTo>
                    <a:pt x="325" y="52"/>
                  </a:lnTo>
                  <a:lnTo>
                    <a:pt x="329" y="52"/>
                  </a:lnTo>
                  <a:lnTo>
                    <a:pt x="331" y="50"/>
                  </a:lnTo>
                  <a:lnTo>
                    <a:pt x="333" y="50"/>
                  </a:lnTo>
                  <a:lnTo>
                    <a:pt x="336" y="52"/>
                  </a:lnTo>
                  <a:lnTo>
                    <a:pt x="339" y="50"/>
                  </a:lnTo>
                  <a:lnTo>
                    <a:pt x="343" y="48"/>
                  </a:lnTo>
                  <a:lnTo>
                    <a:pt x="345" y="46"/>
                  </a:lnTo>
                  <a:lnTo>
                    <a:pt x="349" y="46"/>
                  </a:lnTo>
                  <a:lnTo>
                    <a:pt x="352" y="46"/>
                  </a:lnTo>
                  <a:lnTo>
                    <a:pt x="355" y="45"/>
                  </a:lnTo>
                  <a:lnTo>
                    <a:pt x="356" y="42"/>
                  </a:lnTo>
                  <a:lnTo>
                    <a:pt x="359" y="40"/>
                  </a:lnTo>
                  <a:lnTo>
                    <a:pt x="361" y="38"/>
                  </a:lnTo>
                  <a:lnTo>
                    <a:pt x="364" y="36"/>
                  </a:lnTo>
                  <a:lnTo>
                    <a:pt x="366" y="3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96" name="Freeform 244"/>
            <p:cNvSpPr>
              <a:spLocks noEditPoints="1"/>
            </p:cNvSpPr>
            <p:nvPr/>
          </p:nvSpPr>
          <p:spPr bwMode="auto">
            <a:xfrm>
              <a:off x="7893498" y="4353157"/>
              <a:ext cx="560504" cy="772576"/>
            </a:xfrm>
            <a:custGeom>
              <a:avLst/>
              <a:gdLst>
                <a:gd name="T0" fmla="*/ 22 w 918"/>
                <a:gd name="T1" fmla="*/ 31 h 1167"/>
                <a:gd name="T2" fmla="*/ 0 w 918"/>
                <a:gd name="T3" fmla="*/ 38 h 1167"/>
                <a:gd name="T4" fmla="*/ 81 w 918"/>
                <a:gd name="T5" fmla="*/ 91 h 1167"/>
                <a:gd name="T6" fmla="*/ 97 w 918"/>
                <a:gd name="T7" fmla="*/ 86 h 1167"/>
                <a:gd name="T8" fmla="*/ 91 w 918"/>
                <a:gd name="T9" fmla="*/ 126 h 1167"/>
                <a:gd name="T10" fmla="*/ 108 w 918"/>
                <a:gd name="T11" fmla="*/ 122 h 1167"/>
                <a:gd name="T12" fmla="*/ 85 w 918"/>
                <a:gd name="T13" fmla="*/ 162 h 1167"/>
                <a:gd name="T14" fmla="*/ 67 w 918"/>
                <a:gd name="T15" fmla="*/ 150 h 1167"/>
                <a:gd name="T16" fmla="*/ 73 w 918"/>
                <a:gd name="T17" fmla="*/ 212 h 1167"/>
                <a:gd name="T18" fmla="*/ 131 w 918"/>
                <a:gd name="T19" fmla="*/ 292 h 1167"/>
                <a:gd name="T20" fmla="*/ 159 w 918"/>
                <a:gd name="T21" fmla="*/ 354 h 1167"/>
                <a:gd name="T22" fmla="*/ 187 w 918"/>
                <a:gd name="T23" fmla="*/ 397 h 1167"/>
                <a:gd name="T24" fmla="*/ 207 w 918"/>
                <a:gd name="T25" fmla="*/ 411 h 1167"/>
                <a:gd name="T26" fmla="*/ 234 w 918"/>
                <a:gd name="T27" fmla="*/ 418 h 1167"/>
                <a:gd name="T28" fmla="*/ 282 w 918"/>
                <a:gd name="T29" fmla="*/ 437 h 1167"/>
                <a:gd name="T30" fmla="*/ 355 w 918"/>
                <a:gd name="T31" fmla="*/ 551 h 1167"/>
                <a:gd name="T32" fmla="*/ 448 w 918"/>
                <a:gd name="T33" fmla="*/ 664 h 1167"/>
                <a:gd name="T34" fmla="*/ 508 w 918"/>
                <a:gd name="T35" fmla="*/ 796 h 1167"/>
                <a:gd name="T36" fmla="*/ 615 w 918"/>
                <a:gd name="T37" fmla="*/ 898 h 1167"/>
                <a:gd name="T38" fmla="*/ 684 w 918"/>
                <a:gd name="T39" fmla="*/ 1007 h 1167"/>
                <a:gd name="T40" fmla="*/ 716 w 918"/>
                <a:gd name="T41" fmla="*/ 1091 h 1167"/>
                <a:gd name="T42" fmla="*/ 804 w 918"/>
                <a:gd name="T43" fmla="*/ 1153 h 1167"/>
                <a:gd name="T44" fmla="*/ 770 w 918"/>
                <a:gd name="T45" fmla="*/ 1024 h 1167"/>
                <a:gd name="T46" fmla="*/ 807 w 918"/>
                <a:gd name="T47" fmla="*/ 1012 h 1167"/>
                <a:gd name="T48" fmla="*/ 853 w 918"/>
                <a:gd name="T49" fmla="*/ 987 h 1167"/>
                <a:gd name="T50" fmla="*/ 915 w 918"/>
                <a:gd name="T51" fmla="*/ 1051 h 1167"/>
                <a:gd name="T52" fmla="*/ 898 w 918"/>
                <a:gd name="T53" fmla="*/ 985 h 1167"/>
                <a:gd name="T54" fmla="*/ 820 w 918"/>
                <a:gd name="T55" fmla="*/ 957 h 1167"/>
                <a:gd name="T56" fmla="*/ 688 w 918"/>
                <a:gd name="T57" fmla="*/ 898 h 1167"/>
                <a:gd name="T58" fmla="*/ 594 w 918"/>
                <a:gd name="T59" fmla="*/ 710 h 1167"/>
                <a:gd name="T60" fmla="*/ 605 w 918"/>
                <a:gd name="T61" fmla="*/ 608 h 1167"/>
                <a:gd name="T62" fmla="*/ 577 w 918"/>
                <a:gd name="T63" fmla="*/ 620 h 1167"/>
                <a:gd name="T64" fmla="*/ 608 w 918"/>
                <a:gd name="T65" fmla="*/ 598 h 1167"/>
                <a:gd name="T66" fmla="*/ 641 w 918"/>
                <a:gd name="T67" fmla="*/ 588 h 1167"/>
                <a:gd name="T68" fmla="*/ 744 w 918"/>
                <a:gd name="T69" fmla="*/ 607 h 1167"/>
                <a:gd name="T70" fmla="*/ 750 w 918"/>
                <a:gd name="T71" fmla="*/ 603 h 1167"/>
                <a:gd name="T72" fmla="*/ 667 w 918"/>
                <a:gd name="T73" fmla="*/ 573 h 1167"/>
                <a:gd name="T74" fmla="*/ 600 w 918"/>
                <a:gd name="T75" fmla="*/ 515 h 1167"/>
                <a:gd name="T76" fmla="*/ 462 w 918"/>
                <a:gd name="T77" fmla="*/ 415 h 1167"/>
                <a:gd name="T78" fmla="*/ 399 w 918"/>
                <a:gd name="T79" fmla="*/ 368 h 1167"/>
                <a:gd name="T80" fmla="*/ 385 w 918"/>
                <a:gd name="T81" fmla="*/ 348 h 1167"/>
                <a:gd name="T82" fmla="*/ 376 w 918"/>
                <a:gd name="T83" fmla="*/ 351 h 1167"/>
                <a:gd name="T84" fmla="*/ 360 w 918"/>
                <a:gd name="T85" fmla="*/ 344 h 1167"/>
                <a:gd name="T86" fmla="*/ 339 w 918"/>
                <a:gd name="T87" fmla="*/ 321 h 1167"/>
                <a:gd name="T88" fmla="*/ 310 w 918"/>
                <a:gd name="T89" fmla="*/ 306 h 1167"/>
                <a:gd name="T90" fmla="*/ 276 w 918"/>
                <a:gd name="T91" fmla="*/ 269 h 1167"/>
                <a:gd name="T92" fmla="*/ 266 w 918"/>
                <a:gd name="T93" fmla="*/ 248 h 1167"/>
                <a:gd name="T94" fmla="*/ 244 w 918"/>
                <a:gd name="T95" fmla="*/ 197 h 1167"/>
                <a:gd name="T96" fmla="*/ 266 w 918"/>
                <a:gd name="T97" fmla="*/ 236 h 1167"/>
                <a:gd name="T98" fmla="*/ 212 w 918"/>
                <a:gd name="T99" fmla="*/ 163 h 1167"/>
                <a:gd name="T100" fmla="*/ 193 w 918"/>
                <a:gd name="T101" fmla="*/ 156 h 1167"/>
                <a:gd name="T102" fmla="*/ 170 w 918"/>
                <a:gd name="T103" fmla="*/ 123 h 1167"/>
                <a:gd name="T104" fmla="*/ 224 w 918"/>
                <a:gd name="T105" fmla="*/ 166 h 1167"/>
                <a:gd name="T106" fmla="*/ 137 w 918"/>
                <a:gd name="T107" fmla="*/ 91 h 1167"/>
                <a:gd name="T108" fmla="*/ 124 w 918"/>
                <a:gd name="T109" fmla="*/ 86 h 1167"/>
                <a:gd name="T110" fmla="*/ 87 w 918"/>
                <a:gd name="T111" fmla="*/ 64 h 1167"/>
                <a:gd name="T112" fmla="*/ 44 w 918"/>
                <a:gd name="T113" fmla="*/ 13 h 1167"/>
                <a:gd name="T114" fmla="*/ 830 w 918"/>
                <a:gd name="T115" fmla="*/ 1161 h 1167"/>
                <a:gd name="T116" fmla="*/ 85 w 918"/>
                <a:gd name="T117" fmla="*/ 127 h 1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18" h="1167">
                  <a:moveTo>
                    <a:pt x="27" y="16"/>
                  </a:moveTo>
                  <a:lnTo>
                    <a:pt x="28" y="18"/>
                  </a:lnTo>
                  <a:lnTo>
                    <a:pt x="31" y="21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8" y="26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30" y="30"/>
                  </a:lnTo>
                  <a:lnTo>
                    <a:pt x="30" y="31"/>
                  </a:lnTo>
                  <a:lnTo>
                    <a:pt x="28" y="33"/>
                  </a:lnTo>
                  <a:lnTo>
                    <a:pt x="27" y="34"/>
                  </a:lnTo>
                  <a:lnTo>
                    <a:pt x="25" y="34"/>
                  </a:lnTo>
                  <a:lnTo>
                    <a:pt x="24" y="33"/>
                  </a:lnTo>
                  <a:lnTo>
                    <a:pt x="22" y="31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4" y="24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1" y="26"/>
                  </a:lnTo>
                  <a:lnTo>
                    <a:pt x="18" y="31"/>
                  </a:lnTo>
                  <a:lnTo>
                    <a:pt x="14" y="36"/>
                  </a:lnTo>
                  <a:lnTo>
                    <a:pt x="10" y="36"/>
                  </a:lnTo>
                  <a:lnTo>
                    <a:pt x="4" y="36"/>
                  </a:lnTo>
                  <a:lnTo>
                    <a:pt x="1" y="36"/>
                  </a:lnTo>
                  <a:lnTo>
                    <a:pt x="0" y="37"/>
                  </a:lnTo>
                  <a:lnTo>
                    <a:pt x="0" y="38"/>
                  </a:lnTo>
                  <a:lnTo>
                    <a:pt x="0" y="40"/>
                  </a:lnTo>
                  <a:lnTo>
                    <a:pt x="0" y="41"/>
                  </a:lnTo>
                  <a:lnTo>
                    <a:pt x="2" y="44"/>
                  </a:lnTo>
                  <a:lnTo>
                    <a:pt x="7" y="44"/>
                  </a:lnTo>
                  <a:lnTo>
                    <a:pt x="12" y="44"/>
                  </a:lnTo>
                  <a:lnTo>
                    <a:pt x="20" y="46"/>
                  </a:lnTo>
                  <a:lnTo>
                    <a:pt x="25" y="51"/>
                  </a:lnTo>
                  <a:lnTo>
                    <a:pt x="32" y="56"/>
                  </a:lnTo>
                  <a:lnTo>
                    <a:pt x="44" y="59"/>
                  </a:lnTo>
                  <a:lnTo>
                    <a:pt x="55" y="60"/>
                  </a:lnTo>
                  <a:lnTo>
                    <a:pt x="63" y="63"/>
                  </a:lnTo>
                  <a:lnTo>
                    <a:pt x="68" y="66"/>
                  </a:lnTo>
                  <a:lnTo>
                    <a:pt x="74" y="73"/>
                  </a:lnTo>
                  <a:lnTo>
                    <a:pt x="78" y="80"/>
                  </a:lnTo>
                  <a:lnTo>
                    <a:pt x="81" y="91"/>
                  </a:lnTo>
                  <a:lnTo>
                    <a:pt x="83" y="97"/>
                  </a:lnTo>
                  <a:lnTo>
                    <a:pt x="83" y="101"/>
                  </a:lnTo>
                  <a:lnTo>
                    <a:pt x="84" y="101"/>
                  </a:lnTo>
                  <a:lnTo>
                    <a:pt x="87" y="100"/>
                  </a:lnTo>
                  <a:lnTo>
                    <a:pt x="87" y="96"/>
                  </a:lnTo>
                  <a:lnTo>
                    <a:pt x="87" y="93"/>
                  </a:lnTo>
                  <a:lnTo>
                    <a:pt x="85" y="87"/>
                  </a:lnTo>
                  <a:lnTo>
                    <a:pt x="81" y="81"/>
                  </a:lnTo>
                  <a:lnTo>
                    <a:pt x="81" y="79"/>
                  </a:lnTo>
                  <a:lnTo>
                    <a:pt x="81" y="77"/>
                  </a:lnTo>
                  <a:lnTo>
                    <a:pt x="83" y="77"/>
                  </a:lnTo>
                  <a:lnTo>
                    <a:pt x="84" y="77"/>
                  </a:lnTo>
                  <a:lnTo>
                    <a:pt x="88" y="79"/>
                  </a:lnTo>
                  <a:lnTo>
                    <a:pt x="94" y="84"/>
                  </a:lnTo>
                  <a:lnTo>
                    <a:pt x="97" y="86"/>
                  </a:lnTo>
                  <a:lnTo>
                    <a:pt x="98" y="90"/>
                  </a:lnTo>
                  <a:lnTo>
                    <a:pt x="100" y="93"/>
                  </a:lnTo>
                  <a:lnTo>
                    <a:pt x="100" y="97"/>
                  </a:lnTo>
                  <a:lnTo>
                    <a:pt x="98" y="99"/>
                  </a:lnTo>
                  <a:lnTo>
                    <a:pt x="95" y="103"/>
                  </a:lnTo>
                  <a:lnTo>
                    <a:pt x="88" y="107"/>
                  </a:lnTo>
                  <a:lnTo>
                    <a:pt x="84" y="109"/>
                  </a:lnTo>
                  <a:lnTo>
                    <a:pt x="83" y="110"/>
                  </a:lnTo>
                  <a:lnTo>
                    <a:pt x="83" y="112"/>
                  </a:lnTo>
                  <a:lnTo>
                    <a:pt x="83" y="116"/>
                  </a:lnTo>
                  <a:lnTo>
                    <a:pt x="83" y="116"/>
                  </a:lnTo>
                  <a:lnTo>
                    <a:pt x="85" y="120"/>
                  </a:lnTo>
                  <a:lnTo>
                    <a:pt x="88" y="124"/>
                  </a:lnTo>
                  <a:lnTo>
                    <a:pt x="91" y="126"/>
                  </a:lnTo>
                  <a:lnTo>
                    <a:pt x="91" y="126"/>
                  </a:lnTo>
                  <a:lnTo>
                    <a:pt x="94" y="126"/>
                  </a:lnTo>
                  <a:lnTo>
                    <a:pt x="94" y="126"/>
                  </a:lnTo>
                  <a:lnTo>
                    <a:pt x="94" y="124"/>
                  </a:lnTo>
                  <a:lnTo>
                    <a:pt x="91" y="122"/>
                  </a:lnTo>
                  <a:lnTo>
                    <a:pt x="90" y="120"/>
                  </a:lnTo>
                  <a:lnTo>
                    <a:pt x="90" y="117"/>
                  </a:lnTo>
                  <a:lnTo>
                    <a:pt x="91" y="117"/>
                  </a:lnTo>
                  <a:lnTo>
                    <a:pt x="94" y="116"/>
                  </a:lnTo>
                  <a:lnTo>
                    <a:pt x="98" y="119"/>
                  </a:lnTo>
                  <a:lnTo>
                    <a:pt x="100" y="119"/>
                  </a:lnTo>
                  <a:lnTo>
                    <a:pt x="104" y="117"/>
                  </a:lnTo>
                  <a:lnTo>
                    <a:pt x="107" y="117"/>
                  </a:lnTo>
                  <a:lnTo>
                    <a:pt x="108" y="120"/>
                  </a:lnTo>
                  <a:lnTo>
                    <a:pt x="110" y="122"/>
                  </a:lnTo>
                  <a:lnTo>
                    <a:pt x="108" y="122"/>
                  </a:lnTo>
                  <a:lnTo>
                    <a:pt x="104" y="123"/>
                  </a:lnTo>
                  <a:lnTo>
                    <a:pt x="103" y="124"/>
                  </a:lnTo>
                  <a:lnTo>
                    <a:pt x="101" y="127"/>
                  </a:lnTo>
                  <a:lnTo>
                    <a:pt x="103" y="132"/>
                  </a:lnTo>
                  <a:lnTo>
                    <a:pt x="103" y="142"/>
                  </a:lnTo>
                  <a:lnTo>
                    <a:pt x="104" y="149"/>
                  </a:lnTo>
                  <a:lnTo>
                    <a:pt x="103" y="152"/>
                  </a:lnTo>
                  <a:lnTo>
                    <a:pt x="101" y="154"/>
                  </a:lnTo>
                  <a:lnTo>
                    <a:pt x="100" y="156"/>
                  </a:lnTo>
                  <a:lnTo>
                    <a:pt x="98" y="159"/>
                  </a:lnTo>
                  <a:lnTo>
                    <a:pt x="95" y="162"/>
                  </a:lnTo>
                  <a:lnTo>
                    <a:pt x="93" y="163"/>
                  </a:lnTo>
                  <a:lnTo>
                    <a:pt x="91" y="163"/>
                  </a:lnTo>
                  <a:lnTo>
                    <a:pt x="88" y="163"/>
                  </a:lnTo>
                  <a:lnTo>
                    <a:pt x="85" y="162"/>
                  </a:lnTo>
                  <a:lnTo>
                    <a:pt x="81" y="157"/>
                  </a:lnTo>
                  <a:lnTo>
                    <a:pt x="80" y="153"/>
                  </a:lnTo>
                  <a:lnTo>
                    <a:pt x="78" y="152"/>
                  </a:lnTo>
                  <a:lnTo>
                    <a:pt x="75" y="150"/>
                  </a:lnTo>
                  <a:lnTo>
                    <a:pt x="74" y="149"/>
                  </a:lnTo>
                  <a:lnTo>
                    <a:pt x="74" y="147"/>
                  </a:lnTo>
                  <a:lnTo>
                    <a:pt x="75" y="146"/>
                  </a:lnTo>
                  <a:lnTo>
                    <a:pt x="77" y="144"/>
                  </a:lnTo>
                  <a:lnTo>
                    <a:pt x="77" y="143"/>
                  </a:lnTo>
                  <a:lnTo>
                    <a:pt x="77" y="142"/>
                  </a:lnTo>
                  <a:lnTo>
                    <a:pt x="77" y="142"/>
                  </a:lnTo>
                  <a:lnTo>
                    <a:pt x="75" y="142"/>
                  </a:lnTo>
                  <a:lnTo>
                    <a:pt x="74" y="143"/>
                  </a:lnTo>
                  <a:lnTo>
                    <a:pt x="68" y="147"/>
                  </a:lnTo>
                  <a:lnTo>
                    <a:pt x="67" y="150"/>
                  </a:lnTo>
                  <a:lnTo>
                    <a:pt x="63" y="160"/>
                  </a:lnTo>
                  <a:lnTo>
                    <a:pt x="57" y="172"/>
                  </a:lnTo>
                  <a:lnTo>
                    <a:pt x="54" y="179"/>
                  </a:lnTo>
                  <a:lnTo>
                    <a:pt x="53" y="186"/>
                  </a:lnTo>
                  <a:lnTo>
                    <a:pt x="53" y="190"/>
                  </a:lnTo>
                  <a:lnTo>
                    <a:pt x="53" y="193"/>
                  </a:lnTo>
                  <a:lnTo>
                    <a:pt x="54" y="196"/>
                  </a:lnTo>
                  <a:lnTo>
                    <a:pt x="58" y="196"/>
                  </a:lnTo>
                  <a:lnTo>
                    <a:pt x="60" y="197"/>
                  </a:lnTo>
                  <a:lnTo>
                    <a:pt x="60" y="200"/>
                  </a:lnTo>
                  <a:lnTo>
                    <a:pt x="60" y="203"/>
                  </a:lnTo>
                  <a:lnTo>
                    <a:pt x="61" y="206"/>
                  </a:lnTo>
                  <a:lnTo>
                    <a:pt x="65" y="209"/>
                  </a:lnTo>
                  <a:lnTo>
                    <a:pt x="70" y="210"/>
                  </a:lnTo>
                  <a:lnTo>
                    <a:pt x="73" y="212"/>
                  </a:lnTo>
                  <a:lnTo>
                    <a:pt x="78" y="217"/>
                  </a:lnTo>
                  <a:lnTo>
                    <a:pt x="83" y="220"/>
                  </a:lnTo>
                  <a:lnTo>
                    <a:pt x="88" y="222"/>
                  </a:lnTo>
                  <a:lnTo>
                    <a:pt x="93" y="223"/>
                  </a:lnTo>
                  <a:lnTo>
                    <a:pt x="97" y="232"/>
                  </a:lnTo>
                  <a:lnTo>
                    <a:pt x="106" y="245"/>
                  </a:lnTo>
                  <a:lnTo>
                    <a:pt x="113" y="258"/>
                  </a:lnTo>
                  <a:lnTo>
                    <a:pt x="118" y="270"/>
                  </a:lnTo>
                  <a:lnTo>
                    <a:pt x="121" y="275"/>
                  </a:lnTo>
                  <a:lnTo>
                    <a:pt x="124" y="279"/>
                  </a:lnTo>
                  <a:lnTo>
                    <a:pt x="126" y="282"/>
                  </a:lnTo>
                  <a:lnTo>
                    <a:pt x="127" y="283"/>
                  </a:lnTo>
                  <a:lnTo>
                    <a:pt x="130" y="286"/>
                  </a:lnTo>
                  <a:lnTo>
                    <a:pt x="130" y="289"/>
                  </a:lnTo>
                  <a:lnTo>
                    <a:pt x="131" y="292"/>
                  </a:lnTo>
                  <a:lnTo>
                    <a:pt x="134" y="292"/>
                  </a:lnTo>
                  <a:lnTo>
                    <a:pt x="136" y="292"/>
                  </a:lnTo>
                  <a:lnTo>
                    <a:pt x="137" y="295"/>
                  </a:lnTo>
                  <a:lnTo>
                    <a:pt x="138" y="299"/>
                  </a:lnTo>
                  <a:lnTo>
                    <a:pt x="138" y="305"/>
                  </a:lnTo>
                  <a:lnTo>
                    <a:pt x="141" y="311"/>
                  </a:lnTo>
                  <a:lnTo>
                    <a:pt x="141" y="316"/>
                  </a:lnTo>
                  <a:lnTo>
                    <a:pt x="140" y="323"/>
                  </a:lnTo>
                  <a:lnTo>
                    <a:pt x="140" y="328"/>
                  </a:lnTo>
                  <a:lnTo>
                    <a:pt x="141" y="334"/>
                  </a:lnTo>
                  <a:lnTo>
                    <a:pt x="144" y="338"/>
                  </a:lnTo>
                  <a:lnTo>
                    <a:pt x="148" y="341"/>
                  </a:lnTo>
                  <a:lnTo>
                    <a:pt x="151" y="342"/>
                  </a:lnTo>
                  <a:lnTo>
                    <a:pt x="154" y="348"/>
                  </a:lnTo>
                  <a:lnTo>
                    <a:pt x="159" y="354"/>
                  </a:lnTo>
                  <a:lnTo>
                    <a:pt x="161" y="356"/>
                  </a:lnTo>
                  <a:lnTo>
                    <a:pt x="163" y="358"/>
                  </a:lnTo>
                  <a:lnTo>
                    <a:pt x="164" y="362"/>
                  </a:lnTo>
                  <a:lnTo>
                    <a:pt x="166" y="366"/>
                  </a:lnTo>
                  <a:lnTo>
                    <a:pt x="167" y="371"/>
                  </a:lnTo>
                  <a:lnTo>
                    <a:pt x="170" y="374"/>
                  </a:lnTo>
                  <a:lnTo>
                    <a:pt x="174" y="378"/>
                  </a:lnTo>
                  <a:lnTo>
                    <a:pt x="179" y="379"/>
                  </a:lnTo>
                  <a:lnTo>
                    <a:pt x="181" y="382"/>
                  </a:lnTo>
                  <a:lnTo>
                    <a:pt x="184" y="385"/>
                  </a:lnTo>
                  <a:lnTo>
                    <a:pt x="186" y="388"/>
                  </a:lnTo>
                  <a:lnTo>
                    <a:pt x="186" y="391"/>
                  </a:lnTo>
                  <a:lnTo>
                    <a:pt x="186" y="395"/>
                  </a:lnTo>
                  <a:lnTo>
                    <a:pt x="186" y="397"/>
                  </a:lnTo>
                  <a:lnTo>
                    <a:pt x="187" y="397"/>
                  </a:lnTo>
                  <a:lnTo>
                    <a:pt x="191" y="397"/>
                  </a:lnTo>
                  <a:lnTo>
                    <a:pt x="197" y="395"/>
                  </a:lnTo>
                  <a:lnTo>
                    <a:pt x="200" y="395"/>
                  </a:lnTo>
                  <a:lnTo>
                    <a:pt x="204" y="397"/>
                  </a:lnTo>
                  <a:lnTo>
                    <a:pt x="207" y="398"/>
                  </a:lnTo>
                  <a:lnTo>
                    <a:pt x="210" y="398"/>
                  </a:lnTo>
                  <a:lnTo>
                    <a:pt x="213" y="398"/>
                  </a:lnTo>
                  <a:lnTo>
                    <a:pt x="216" y="401"/>
                  </a:lnTo>
                  <a:lnTo>
                    <a:pt x="216" y="404"/>
                  </a:lnTo>
                  <a:lnTo>
                    <a:pt x="217" y="407"/>
                  </a:lnTo>
                  <a:lnTo>
                    <a:pt x="216" y="408"/>
                  </a:lnTo>
                  <a:lnTo>
                    <a:pt x="213" y="408"/>
                  </a:lnTo>
                  <a:lnTo>
                    <a:pt x="210" y="408"/>
                  </a:lnTo>
                  <a:lnTo>
                    <a:pt x="209" y="409"/>
                  </a:lnTo>
                  <a:lnTo>
                    <a:pt x="207" y="411"/>
                  </a:lnTo>
                  <a:lnTo>
                    <a:pt x="204" y="411"/>
                  </a:lnTo>
                  <a:lnTo>
                    <a:pt x="201" y="412"/>
                  </a:lnTo>
                  <a:lnTo>
                    <a:pt x="201" y="412"/>
                  </a:lnTo>
                  <a:lnTo>
                    <a:pt x="201" y="414"/>
                  </a:lnTo>
                  <a:lnTo>
                    <a:pt x="203" y="415"/>
                  </a:lnTo>
                  <a:lnTo>
                    <a:pt x="206" y="415"/>
                  </a:lnTo>
                  <a:lnTo>
                    <a:pt x="212" y="414"/>
                  </a:lnTo>
                  <a:lnTo>
                    <a:pt x="217" y="414"/>
                  </a:lnTo>
                  <a:lnTo>
                    <a:pt x="220" y="415"/>
                  </a:lnTo>
                  <a:lnTo>
                    <a:pt x="223" y="415"/>
                  </a:lnTo>
                  <a:lnTo>
                    <a:pt x="227" y="417"/>
                  </a:lnTo>
                  <a:lnTo>
                    <a:pt x="230" y="419"/>
                  </a:lnTo>
                  <a:lnTo>
                    <a:pt x="232" y="419"/>
                  </a:lnTo>
                  <a:lnTo>
                    <a:pt x="233" y="419"/>
                  </a:lnTo>
                  <a:lnTo>
                    <a:pt x="234" y="418"/>
                  </a:lnTo>
                  <a:lnTo>
                    <a:pt x="234" y="415"/>
                  </a:lnTo>
                  <a:lnTo>
                    <a:pt x="236" y="415"/>
                  </a:lnTo>
                  <a:lnTo>
                    <a:pt x="237" y="415"/>
                  </a:lnTo>
                  <a:lnTo>
                    <a:pt x="239" y="417"/>
                  </a:lnTo>
                  <a:lnTo>
                    <a:pt x="239" y="418"/>
                  </a:lnTo>
                  <a:lnTo>
                    <a:pt x="240" y="419"/>
                  </a:lnTo>
                  <a:lnTo>
                    <a:pt x="240" y="421"/>
                  </a:lnTo>
                  <a:lnTo>
                    <a:pt x="249" y="421"/>
                  </a:lnTo>
                  <a:lnTo>
                    <a:pt x="256" y="422"/>
                  </a:lnTo>
                  <a:lnTo>
                    <a:pt x="263" y="425"/>
                  </a:lnTo>
                  <a:lnTo>
                    <a:pt x="267" y="428"/>
                  </a:lnTo>
                  <a:lnTo>
                    <a:pt x="270" y="434"/>
                  </a:lnTo>
                  <a:lnTo>
                    <a:pt x="273" y="435"/>
                  </a:lnTo>
                  <a:lnTo>
                    <a:pt x="277" y="437"/>
                  </a:lnTo>
                  <a:lnTo>
                    <a:pt x="282" y="437"/>
                  </a:lnTo>
                  <a:lnTo>
                    <a:pt x="287" y="441"/>
                  </a:lnTo>
                  <a:lnTo>
                    <a:pt x="295" y="447"/>
                  </a:lnTo>
                  <a:lnTo>
                    <a:pt x="305" y="451"/>
                  </a:lnTo>
                  <a:lnTo>
                    <a:pt x="313" y="460"/>
                  </a:lnTo>
                  <a:lnTo>
                    <a:pt x="320" y="471"/>
                  </a:lnTo>
                  <a:lnTo>
                    <a:pt x="322" y="478"/>
                  </a:lnTo>
                  <a:lnTo>
                    <a:pt x="323" y="488"/>
                  </a:lnTo>
                  <a:lnTo>
                    <a:pt x="325" y="492"/>
                  </a:lnTo>
                  <a:lnTo>
                    <a:pt x="326" y="503"/>
                  </a:lnTo>
                  <a:lnTo>
                    <a:pt x="329" y="510"/>
                  </a:lnTo>
                  <a:lnTo>
                    <a:pt x="332" y="517"/>
                  </a:lnTo>
                  <a:lnTo>
                    <a:pt x="339" y="527"/>
                  </a:lnTo>
                  <a:lnTo>
                    <a:pt x="345" y="538"/>
                  </a:lnTo>
                  <a:lnTo>
                    <a:pt x="349" y="544"/>
                  </a:lnTo>
                  <a:lnTo>
                    <a:pt x="355" y="551"/>
                  </a:lnTo>
                  <a:lnTo>
                    <a:pt x="368" y="558"/>
                  </a:lnTo>
                  <a:lnTo>
                    <a:pt x="378" y="566"/>
                  </a:lnTo>
                  <a:lnTo>
                    <a:pt x="382" y="570"/>
                  </a:lnTo>
                  <a:lnTo>
                    <a:pt x="385" y="576"/>
                  </a:lnTo>
                  <a:lnTo>
                    <a:pt x="391" y="581"/>
                  </a:lnTo>
                  <a:lnTo>
                    <a:pt x="398" y="587"/>
                  </a:lnTo>
                  <a:lnTo>
                    <a:pt x="402" y="597"/>
                  </a:lnTo>
                  <a:lnTo>
                    <a:pt x="406" y="604"/>
                  </a:lnTo>
                  <a:lnTo>
                    <a:pt x="408" y="610"/>
                  </a:lnTo>
                  <a:lnTo>
                    <a:pt x="413" y="614"/>
                  </a:lnTo>
                  <a:lnTo>
                    <a:pt x="418" y="623"/>
                  </a:lnTo>
                  <a:lnTo>
                    <a:pt x="428" y="634"/>
                  </a:lnTo>
                  <a:lnTo>
                    <a:pt x="435" y="640"/>
                  </a:lnTo>
                  <a:lnTo>
                    <a:pt x="442" y="657"/>
                  </a:lnTo>
                  <a:lnTo>
                    <a:pt x="448" y="664"/>
                  </a:lnTo>
                  <a:lnTo>
                    <a:pt x="454" y="673"/>
                  </a:lnTo>
                  <a:lnTo>
                    <a:pt x="459" y="682"/>
                  </a:lnTo>
                  <a:lnTo>
                    <a:pt x="465" y="694"/>
                  </a:lnTo>
                  <a:lnTo>
                    <a:pt x="466" y="702"/>
                  </a:lnTo>
                  <a:lnTo>
                    <a:pt x="472" y="709"/>
                  </a:lnTo>
                  <a:lnTo>
                    <a:pt x="479" y="719"/>
                  </a:lnTo>
                  <a:lnTo>
                    <a:pt x="484" y="724"/>
                  </a:lnTo>
                  <a:lnTo>
                    <a:pt x="485" y="732"/>
                  </a:lnTo>
                  <a:lnTo>
                    <a:pt x="492" y="743"/>
                  </a:lnTo>
                  <a:lnTo>
                    <a:pt x="495" y="752"/>
                  </a:lnTo>
                  <a:lnTo>
                    <a:pt x="501" y="765"/>
                  </a:lnTo>
                  <a:lnTo>
                    <a:pt x="504" y="773"/>
                  </a:lnTo>
                  <a:lnTo>
                    <a:pt x="505" y="788"/>
                  </a:lnTo>
                  <a:lnTo>
                    <a:pt x="507" y="792"/>
                  </a:lnTo>
                  <a:lnTo>
                    <a:pt x="508" y="796"/>
                  </a:lnTo>
                  <a:lnTo>
                    <a:pt x="512" y="803"/>
                  </a:lnTo>
                  <a:lnTo>
                    <a:pt x="518" y="809"/>
                  </a:lnTo>
                  <a:lnTo>
                    <a:pt x="528" y="815"/>
                  </a:lnTo>
                  <a:lnTo>
                    <a:pt x="541" y="820"/>
                  </a:lnTo>
                  <a:lnTo>
                    <a:pt x="554" y="825"/>
                  </a:lnTo>
                  <a:lnTo>
                    <a:pt x="560" y="826"/>
                  </a:lnTo>
                  <a:lnTo>
                    <a:pt x="567" y="830"/>
                  </a:lnTo>
                  <a:lnTo>
                    <a:pt x="572" y="835"/>
                  </a:lnTo>
                  <a:lnTo>
                    <a:pt x="582" y="843"/>
                  </a:lnTo>
                  <a:lnTo>
                    <a:pt x="595" y="859"/>
                  </a:lnTo>
                  <a:lnTo>
                    <a:pt x="605" y="871"/>
                  </a:lnTo>
                  <a:lnTo>
                    <a:pt x="611" y="876"/>
                  </a:lnTo>
                  <a:lnTo>
                    <a:pt x="613" y="885"/>
                  </a:lnTo>
                  <a:lnTo>
                    <a:pt x="614" y="892"/>
                  </a:lnTo>
                  <a:lnTo>
                    <a:pt x="615" y="898"/>
                  </a:lnTo>
                  <a:lnTo>
                    <a:pt x="615" y="905"/>
                  </a:lnTo>
                  <a:lnTo>
                    <a:pt x="620" y="914"/>
                  </a:lnTo>
                  <a:lnTo>
                    <a:pt x="623" y="924"/>
                  </a:lnTo>
                  <a:lnTo>
                    <a:pt x="623" y="932"/>
                  </a:lnTo>
                  <a:lnTo>
                    <a:pt x="624" y="938"/>
                  </a:lnTo>
                  <a:lnTo>
                    <a:pt x="630" y="948"/>
                  </a:lnTo>
                  <a:lnTo>
                    <a:pt x="638" y="957"/>
                  </a:lnTo>
                  <a:lnTo>
                    <a:pt x="650" y="968"/>
                  </a:lnTo>
                  <a:lnTo>
                    <a:pt x="655" y="974"/>
                  </a:lnTo>
                  <a:lnTo>
                    <a:pt x="660" y="979"/>
                  </a:lnTo>
                  <a:lnTo>
                    <a:pt x="667" y="984"/>
                  </a:lnTo>
                  <a:lnTo>
                    <a:pt x="673" y="987"/>
                  </a:lnTo>
                  <a:lnTo>
                    <a:pt x="677" y="992"/>
                  </a:lnTo>
                  <a:lnTo>
                    <a:pt x="683" y="999"/>
                  </a:lnTo>
                  <a:lnTo>
                    <a:pt x="684" y="1007"/>
                  </a:lnTo>
                  <a:lnTo>
                    <a:pt x="687" y="1011"/>
                  </a:lnTo>
                  <a:lnTo>
                    <a:pt x="694" y="1018"/>
                  </a:lnTo>
                  <a:lnTo>
                    <a:pt x="697" y="1025"/>
                  </a:lnTo>
                  <a:lnTo>
                    <a:pt x="698" y="1034"/>
                  </a:lnTo>
                  <a:lnTo>
                    <a:pt x="698" y="1038"/>
                  </a:lnTo>
                  <a:lnTo>
                    <a:pt x="698" y="1045"/>
                  </a:lnTo>
                  <a:lnTo>
                    <a:pt x="697" y="1050"/>
                  </a:lnTo>
                  <a:lnTo>
                    <a:pt x="698" y="1052"/>
                  </a:lnTo>
                  <a:lnTo>
                    <a:pt x="701" y="1055"/>
                  </a:lnTo>
                  <a:lnTo>
                    <a:pt x="706" y="1064"/>
                  </a:lnTo>
                  <a:lnTo>
                    <a:pt x="708" y="1070"/>
                  </a:lnTo>
                  <a:lnTo>
                    <a:pt x="711" y="1074"/>
                  </a:lnTo>
                  <a:lnTo>
                    <a:pt x="713" y="1081"/>
                  </a:lnTo>
                  <a:lnTo>
                    <a:pt x="714" y="1087"/>
                  </a:lnTo>
                  <a:lnTo>
                    <a:pt x="716" y="1091"/>
                  </a:lnTo>
                  <a:lnTo>
                    <a:pt x="720" y="1094"/>
                  </a:lnTo>
                  <a:lnTo>
                    <a:pt x="737" y="1108"/>
                  </a:lnTo>
                  <a:lnTo>
                    <a:pt x="749" y="1117"/>
                  </a:lnTo>
                  <a:lnTo>
                    <a:pt x="760" y="1130"/>
                  </a:lnTo>
                  <a:lnTo>
                    <a:pt x="767" y="1138"/>
                  </a:lnTo>
                  <a:lnTo>
                    <a:pt x="774" y="1147"/>
                  </a:lnTo>
                  <a:lnTo>
                    <a:pt x="777" y="1151"/>
                  </a:lnTo>
                  <a:lnTo>
                    <a:pt x="783" y="1154"/>
                  </a:lnTo>
                  <a:lnTo>
                    <a:pt x="789" y="1156"/>
                  </a:lnTo>
                  <a:lnTo>
                    <a:pt x="796" y="1158"/>
                  </a:lnTo>
                  <a:lnTo>
                    <a:pt x="802" y="1161"/>
                  </a:lnTo>
                  <a:lnTo>
                    <a:pt x="806" y="1163"/>
                  </a:lnTo>
                  <a:lnTo>
                    <a:pt x="807" y="1161"/>
                  </a:lnTo>
                  <a:lnTo>
                    <a:pt x="807" y="1158"/>
                  </a:lnTo>
                  <a:lnTo>
                    <a:pt x="804" y="1153"/>
                  </a:lnTo>
                  <a:lnTo>
                    <a:pt x="802" y="1148"/>
                  </a:lnTo>
                  <a:lnTo>
                    <a:pt x="802" y="1146"/>
                  </a:lnTo>
                  <a:lnTo>
                    <a:pt x="803" y="1141"/>
                  </a:lnTo>
                  <a:lnTo>
                    <a:pt x="803" y="1137"/>
                  </a:lnTo>
                  <a:lnTo>
                    <a:pt x="803" y="1131"/>
                  </a:lnTo>
                  <a:lnTo>
                    <a:pt x="802" y="1126"/>
                  </a:lnTo>
                  <a:lnTo>
                    <a:pt x="800" y="1118"/>
                  </a:lnTo>
                  <a:lnTo>
                    <a:pt x="794" y="1111"/>
                  </a:lnTo>
                  <a:lnTo>
                    <a:pt x="789" y="1101"/>
                  </a:lnTo>
                  <a:lnTo>
                    <a:pt x="784" y="1091"/>
                  </a:lnTo>
                  <a:lnTo>
                    <a:pt x="776" y="1062"/>
                  </a:lnTo>
                  <a:lnTo>
                    <a:pt x="770" y="1045"/>
                  </a:lnTo>
                  <a:lnTo>
                    <a:pt x="770" y="1037"/>
                  </a:lnTo>
                  <a:lnTo>
                    <a:pt x="770" y="1030"/>
                  </a:lnTo>
                  <a:lnTo>
                    <a:pt x="770" y="1024"/>
                  </a:lnTo>
                  <a:lnTo>
                    <a:pt x="771" y="1022"/>
                  </a:lnTo>
                  <a:lnTo>
                    <a:pt x="773" y="1018"/>
                  </a:lnTo>
                  <a:lnTo>
                    <a:pt x="777" y="1015"/>
                  </a:lnTo>
                  <a:lnTo>
                    <a:pt x="777" y="1012"/>
                  </a:lnTo>
                  <a:lnTo>
                    <a:pt x="779" y="1010"/>
                  </a:lnTo>
                  <a:lnTo>
                    <a:pt x="779" y="1007"/>
                  </a:lnTo>
                  <a:lnTo>
                    <a:pt x="779" y="1004"/>
                  </a:lnTo>
                  <a:lnTo>
                    <a:pt x="782" y="1004"/>
                  </a:lnTo>
                  <a:lnTo>
                    <a:pt x="786" y="1007"/>
                  </a:lnTo>
                  <a:lnTo>
                    <a:pt x="793" y="1012"/>
                  </a:lnTo>
                  <a:lnTo>
                    <a:pt x="799" y="1018"/>
                  </a:lnTo>
                  <a:lnTo>
                    <a:pt x="802" y="1020"/>
                  </a:lnTo>
                  <a:lnTo>
                    <a:pt x="804" y="1020"/>
                  </a:lnTo>
                  <a:lnTo>
                    <a:pt x="806" y="1018"/>
                  </a:lnTo>
                  <a:lnTo>
                    <a:pt x="807" y="1012"/>
                  </a:lnTo>
                  <a:lnTo>
                    <a:pt x="807" y="1011"/>
                  </a:lnTo>
                  <a:lnTo>
                    <a:pt x="809" y="1010"/>
                  </a:lnTo>
                  <a:lnTo>
                    <a:pt x="813" y="1007"/>
                  </a:lnTo>
                  <a:lnTo>
                    <a:pt x="816" y="1004"/>
                  </a:lnTo>
                  <a:lnTo>
                    <a:pt x="823" y="1002"/>
                  </a:lnTo>
                  <a:lnTo>
                    <a:pt x="827" y="1001"/>
                  </a:lnTo>
                  <a:lnTo>
                    <a:pt x="830" y="999"/>
                  </a:lnTo>
                  <a:lnTo>
                    <a:pt x="833" y="997"/>
                  </a:lnTo>
                  <a:lnTo>
                    <a:pt x="837" y="994"/>
                  </a:lnTo>
                  <a:lnTo>
                    <a:pt x="843" y="992"/>
                  </a:lnTo>
                  <a:lnTo>
                    <a:pt x="847" y="992"/>
                  </a:lnTo>
                  <a:lnTo>
                    <a:pt x="850" y="992"/>
                  </a:lnTo>
                  <a:lnTo>
                    <a:pt x="855" y="994"/>
                  </a:lnTo>
                  <a:lnTo>
                    <a:pt x="852" y="989"/>
                  </a:lnTo>
                  <a:lnTo>
                    <a:pt x="853" y="987"/>
                  </a:lnTo>
                  <a:lnTo>
                    <a:pt x="857" y="987"/>
                  </a:lnTo>
                  <a:lnTo>
                    <a:pt x="863" y="991"/>
                  </a:lnTo>
                  <a:lnTo>
                    <a:pt x="862" y="994"/>
                  </a:lnTo>
                  <a:lnTo>
                    <a:pt x="865" y="998"/>
                  </a:lnTo>
                  <a:lnTo>
                    <a:pt x="870" y="1004"/>
                  </a:lnTo>
                  <a:lnTo>
                    <a:pt x="877" y="1011"/>
                  </a:lnTo>
                  <a:lnTo>
                    <a:pt x="882" y="1015"/>
                  </a:lnTo>
                  <a:lnTo>
                    <a:pt x="887" y="1018"/>
                  </a:lnTo>
                  <a:lnTo>
                    <a:pt x="895" y="1024"/>
                  </a:lnTo>
                  <a:lnTo>
                    <a:pt x="900" y="1030"/>
                  </a:lnTo>
                  <a:lnTo>
                    <a:pt x="905" y="1035"/>
                  </a:lnTo>
                  <a:lnTo>
                    <a:pt x="908" y="1040"/>
                  </a:lnTo>
                  <a:lnTo>
                    <a:pt x="910" y="1044"/>
                  </a:lnTo>
                  <a:lnTo>
                    <a:pt x="913" y="1048"/>
                  </a:lnTo>
                  <a:lnTo>
                    <a:pt x="915" y="1051"/>
                  </a:lnTo>
                  <a:lnTo>
                    <a:pt x="916" y="1051"/>
                  </a:lnTo>
                  <a:lnTo>
                    <a:pt x="918" y="1050"/>
                  </a:lnTo>
                  <a:lnTo>
                    <a:pt x="918" y="1044"/>
                  </a:lnTo>
                  <a:lnTo>
                    <a:pt x="916" y="1038"/>
                  </a:lnTo>
                  <a:lnTo>
                    <a:pt x="915" y="1034"/>
                  </a:lnTo>
                  <a:lnTo>
                    <a:pt x="912" y="1031"/>
                  </a:lnTo>
                  <a:lnTo>
                    <a:pt x="908" y="1025"/>
                  </a:lnTo>
                  <a:lnTo>
                    <a:pt x="906" y="1018"/>
                  </a:lnTo>
                  <a:lnTo>
                    <a:pt x="903" y="1012"/>
                  </a:lnTo>
                  <a:lnTo>
                    <a:pt x="902" y="1007"/>
                  </a:lnTo>
                  <a:lnTo>
                    <a:pt x="900" y="999"/>
                  </a:lnTo>
                  <a:lnTo>
                    <a:pt x="900" y="994"/>
                  </a:lnTo>
                  <a:lnTo>
                    <a:pt x="900" y="988"/>
                  </a:lnTo>
                  <a:lnTo>
                    <a:pt x="899" y="985"/>
                  </a:lnTo>
                  <a:lnTo>
                    <a:pt x="898" y="985"/>
                  </a:lnTo>
                  <a:lnTo>
                    <a:pt x="890" y="984"/>
                  </a:lnTo>
                  <a:lnTo>
                    <a:pt x="885" y="981"/>
                  </a:lnTo>
                  <a:lnTo>
                    <a:pt x="875" y="974"/>
                  </a:lnTo>
                  <a:lnTo>
                    <a:pt x="862" y="959"/>
                  </a:lnTo>
                  <a:lnTo>
                    <a:pt x="853" y="948"/>
                  </a:lnTo>
                  <a:lnTo>
                    <a:pt x="846" y="941"/>
                  </a:lnTo>
                  <a:lnTo>
                    <a:pt x="839" y="938"/>
                  </a:lnTo>
                  <a:lnTo>
                    <a:pt x="837" y="938"/>
                  </a:lnTo>
                  <a:lnTo>
                    <a:pt x="836" y="939"/>
                  </a:lnTo>
                  <a:lnTo>
                    <a:pt x="836" y="942"/>
                  </a:lnTo>
                  <a:lnTo>
                    <a:pt x="837" y="946"/>
                  </a:lnTo>
                  <a:lnTo>
                    <a:pt x="837" y="948"/>
                  </a:lnTo>
                  <a:lnTo>
                    <a:pt x="836" y="951"/>
                  </a:lnTo>
                  <a:lnTo>
                    <a:pt x="833" y="954"/>
                  </a:lnTo>
                  <a:lnTo>
                    <a:pt x="820" y="957"/>
                  </a:lnTo>
                  <a:lnTo>
                    <a:pt x="810" y="957"/>
                  </a:lnTo>
                  <a:lnTo>
                    <a:pt x="804" y="955"/>
                  </a:lnTo>
                  <a:lnTo>
                    <a:pt x="796" y="952"/>
                  </a:lnTo>
                  <a:lnTo>
                    <a:pt x="786" y="941"/>
                  </a:lnTo>
                  <a:lnTo>
                    <a:pt x="769" y="926"/>
                  </a:lnTo>
                  <a:lnTo>
                    <a:pt x="760" y="918"/>
                  </a:lnTo>
                  <a:lnTo>
                    <a:pt x="750" y="912"/>
                  </a:lnTo>
                  <a:lnTo>
                    <a:pt x="744" y="908"/>
                  </a:lnTo>
                  <a:lnTo>
                    <a:pt x="739" y="906"/>
                  </a:lnTo>
                  <a:lnTo>
                    <a:pt x="729" y="906"/>
                  </a:lnTo>
                  <a:lnTo>
                    <a:pt x="720" y="906"/>
                  </a:lnTo>
                  <a:lnTo>
                    <a:pt x="713" y="906"/>
                  </a:lnTo>
                  <a:lnTo>
                    <a:pt x="706" y="906"/>
                  </a:lnTo>
                  <a:lnTo>
                    <a:pt x="698" y="904"/>
                  </a:lnTo>
                  <a:lnTo>
                    <a:pt x="688" y="898"/>
                  </a:lnTo>
                  <a:lnTo>
                    <a:pt x="678" y="892"/>
                  </a:lnTo>
                  <a:lnTo>
                    <a:pt x="666" y="881"/>
                  </a:lnTo>
                  <a:lnTo>
                    <a:pt x="653" y="871"/>
                  </a:lnTo>
                  <a:lnTo>
                    <a:pt x="647" y="859"/>
                  </a:lnTo>
                  <a:lnTo>
                    <a:pt x="643" y="851"/>
                  </a:lnTo>
                  <a:lnTo>
                    <a:pt x="637" y="843"/>
                  </a:lnTo>
                  <a:lnTo>
                    <a:pt x="631" y="830"/>
                  </a:lnTo>
                  <a:lnTo>
                    <a:pt x="624" y="812"/>
                  </a:lnTo>
                  <a:lnTo>
                    <a:pt x="618" y="796"/>
                  </a:lnTo>
                  <a:lnTo>
                    <a:pt x="615" y="780"/>
                  </a:lnTo>
                  <a:lnTo>
                    <a:pt x="608" y="767"/>
                  </a:lnTo>
                  <a:lnTo>
                    <a:pt x="601" y="746"/>
                  </a:lnTo>
                  <a:lnTo>
                    <a:pt x="598" y="732"/>
                  </a:lnTo>
                  <a:lnTo>
                    <a:pt x="594" y="720"/>
                  </a:lnTo>
                  <a:lnTo>
                    <a:pt x="594" y="710"/>
                  </a:lnTo>
                  <a:lnTo>
                    <a:pt x="592" y="706"/>
                  </a:lnTo>
                  <a:lnTo>
                    <a:pt x="587" y="699"/>
                  </a:lnTo>
                  <a:lnTo>
                    <a:pt x="578" y="689"/>
                  </a:lnTo>
                  <a:lnTo>
                    <a:pt x="574" y="682"/>
                  </a:lnTo>
                  <a:lnTo>
                    <a:pt x="571" y="674"/>
                  </a:lnTo>
                  <a:lnTo>
                    <a:pt x="571" y="670"/>
                  </a:lnTo>
                  <a:lnTo>
                    <a:pt x="574" y="660"/>
                  </a:lnTo>
                  <a:lnTo>
                    <a:pt x="575" y="651"/>
                  </a:lnTo>
                  <a:lnTo>
                    <a:pt x="577" y="643"/>
                  </a:lnTo>
                  <a:lnTo>
                    <a:pt x="580" y="636"/>
                  </a:lnTo>
                  <a:lnTo>
                    <a:pt x="585" y="627"/>
                  </a:lnTo>
                  <a:lnTo>
                    <a:pt x="587" y="624"/>
                  </a:lnTo>
                  <a:lnTo>
                    <a:pt x="592" y="620"/>
                  </a:lnTo>
                  <a:lnTo>
                    <a:pt x="600" y="613"/>
                  </a:lnTo>
                  <a:lnTo>
                    <a:pt x="605" y="608"/>
                  </a:lnTo>
                  <a:lnTo>
                    <a:pt x="608" y="607"/>
                  </a:lnTo>
                  <a:lnTo>
                    <a:pt x="608" y="606"/>
                  </a:lnTo>
                  <a:lnTo>
                    <a:pt x="605" y="607"/>
                  </a:lnTo>
                  <a:lnTo>
                    <a:pt x="602" y="607"/>
                  </a:lnTo>
                  <a:lnTo>
                    <a:pt x="598" y="611"/>
                  </a:lnTo>
                  <a:lnTo>
                    <a:pt x="592" y="617"/>
                  </a:lnTo>
                  <a:lnTo>
                    <a:pt x="588" y="620"/>
                  </a:lnTo>
                  <a:lnTo>
                    <a:pt x="585" y="621"/>
                  </a:lnTo>
                  <a:lnTo>
                    <a:pt x="582" y="623"/>
                  </a:lnTo>
                  <a:lnTo>
                    <a:pt x="577" y="629"/>
                  </a:lnTo>
                  <a:lnTo>
                    <a:pt x="577" y="630"/>
                  </a:lnTo>
                  <a:lnTo>
                    <a:pt x="575" y="629"/>
                  </a:lnTo>
                  <a:lnTo>
                    <a:pt x="575" y="627"/>
                  </a:lnTo>
                  <a:lnTo>
                    <a:pt x="577" y="624"/>
                  </a:lnTo>
                  <a:lnTo>
                    <a:pt x="577" y="620"/>
                  </a:lnTo>
                  <a:lnTo>
                    <a:pt x="575" y="616"/>
                  </a:lnTo>
                  <a:lnTo>
                    <a:pt x="575" y="613"/>
                  </a:lnTo>
                  <a:lnTo>
                    <a:pt x="578" y="611"/>
                  </a:lnTo>
                  <a:lnTo>
                    <a:pt x="581" y="611"/>
                  </a:lnTo>
                  <a:lnTo>
                    <a:pt x="585" y="611"/>
                  </a:lnTo>
                  <a:lnTo>
                    <a:pt x="588" y="611"/>
                  </a:lnTo>
                  <a:lnTo>
                    <a:pt x="591" y="611"/>
                  </a:lnTo>
                  <a:lnTo>
                    <a:pt x="594" y="610"/>
                  </a:lnTo>
                  <a:lnTo>
                    <a:pt x="595" y="611"/>
                  </a:lnTo>
                  <a:lnTo>
                    <a:pt x="595" y="610"/>
                  </a:lnTo>
                  <a:lnTo>
                    <a:pt x="594" y="607"/>
                  </a:lnTo>
                  <a:lnTo>
                    <a:pt x="595" y="607"/>
                  </a:lnTo>
                  <a:lnTo>
                    <a:pt x="598" y="606"/>
                  </a:lnTo>
                  <a:lnTo>
                    <a:pt x="602" y="604"/>
                  </a:lnTo>
                  <a:lnTo>
                    <a:pt x="608" y="598"/>
                  </a:lnTo>
                  <a:lnTo>
                    <a:pt x="613" y="596"/>
                  </a:lnTo>
                  <a:lnTo>
                    <a:pt x="614" y="596"/>
                  </a:lnTo>
                  <a:lnTo>
                    <a:pt x="615" y="596"/>
                  </a:lnTo>
                  <a:lnTo>
                    <a:pt x="615" y="598"/>
                  </a:lnTo>
                  <a:lnTo>
                    <a:pt x="614" y="601"/>
                  </a:lnTo>
                  <a:lnTo>
                    <a:pt x="613" y="601"/>
                  </a:lnTo>
                  <a:lnTo>
                    <a:pt x="611" y="603"/>
                  </a:lnTo>
                  <a:lnTo>
                    <a:pt x="613" y="604"/>
                  </a:lnTo>
                  <a:lnTo>
                    <a:pt x="615" y="603"/>
                  </a:lnTo>
                  <a:lnTo>
                    <a:pt x="618" y="600"/>
                  </a:lnTo>
                  <a:lnTo>
                    <a:pt x="624" y="596"/>
                  </a:lnTo>
                  <a:lnTo>
                    <a:pt x="630" y="593"/>
                  </a:lnTo>
                  <a:lnTo>
                    <a:pt x="634" y="591"/>
                  </a:lnTo>
                  <a:lnTo>
                    <a:pt x="637" y="590"/>
                  </a:lnTo>
                  <a:lnTo>
                    <a:pt x="641" y="588"/>
                  </a:lnTo>
                  <a:lnTo>
                    <a:pt x="647" y="587"/>
                  </a:lnTo>
                  <a:lnTo>
                    <a:pt x="655" y="587"/>
                  </a:lnTo>
                  <a:lnTo>
                    <a:pt x="660" y="587"/>
                  </a:lnTo>
                  <a:lnTo>
                    <a:pt x="666" y="590"/>
                  </a:lnTo>
                  <a:lnTo>
                    <a:pt x="668" y="591"/>
                  </a:lnTo>
                  <a:lnTo>
                    <a:pt x="674" y="591"/>
                  </a:lnTo>
                  <a:lnTo>
                    <a:pt x="680" y="591"/>
                  </a:lnTo>
                  <a:lnTo>
                    <a:pt x="690" y="594"/>
                  </a:lnTo>
                  <a:lnTo>
                    <a:pt x="696" y="596"/>
                  </a:lnTo>
                  <a:lnTo>
                    <a:pt x="703" y="597"/>
                  </a:lnTo>
                  <a:lnTo>
                    <a:pt x="711" y="597"/>
                  </a:lnTo>
                  <a:lnTo>
                    <a:pt x="720" y="597"/>
                  </a:lnTo>
                  <a:lnTo>
                    <a:pt x="727" y="600"/>
                  </a:lnTo>
                  <a:lnTo>
                    <a:pt x="737" y="604"/>
                  </a:lnTo>
                  <a:lnTo>
                    <a:pt x="744" y="607"/>
                  </a:lnTo>
                  <a:lnTo>
                    <a:pt x="749" y="610"/>
                  </a:lnTo>
                  <a:lnTo>
                    <a:pt x="751" y="616"/>
                  </a:lnTo>
                  <a:lnTo>
                    <a:pt x="754" y="619"/>
                  </a:lnTo>
                  <a:lnTo>
                    <a:pt x="757" y="621"/>
                  </a:lnTo>
                  <a:lnTo>
                    <a:pt x="760" y="623"/>
                  </a:lnTo>
                  <a:lnTo>
                    <a:pt x="760" y="623"/>
                  </a:lnTo>
                  <a:lnTo>
                    <a:pt x="764" y="621"/>
                  </a:lnTo>
                  <a:lnTo>
                    <a:pt x="766" y="621"/>
                  </a:lnTo>
                  <a:lnTo>
                    <a:pt x="766" y="620"/>
                  </a:lnTo>
                  <a:lnTo>
                    <a:pt x="766" y="619"/>
                  </a:lnTo>
                  <a:lnTo>
                    <a:pt x="759" y="616"/>
                  </a:lnTo>
                  <a:lnTo>
                    <a:pt x="756" y="613"/>
                  </a:lnTo>
                  <a:lnTo>
                    <a:pt x="754" y="610"/>
                  </a:lnTo>
                  <a:lnTo>
                    <a:pt x="751" y="606"/>
                  </a:lnTo>
                  <a:lnTo>
                    <a:pt x="750" y="603"/>
                  </a:lnTo>
                  <a:lnTo>
                    <a:pt x="749" y="601"/>
                  </a:lnTo>
                  <a:lnTo>
                    <a:pt x="746" y="601"/>
                  </a:lnTo>
                  <a:lnTo>
                    <a:pt x="744" y="598"/>
                  </a:lnTo>
                  <a:lnTo>
                    <a:pt x="743" y="597"/>
                  </a:lnTo>
                  <a:lnTo>
                    <a:pt x="743" y="594"/>
                  </a:lnTo>
                  <a:lnTo>
                    <a:pt x="739" y="593"/>
                  </a:lnTo>
                  <a:lnTo>
                    <a:pt x="731" y="593"/>
                  </a:lnTo>
                  <a:lnTo>
                    <a:pt x="713" y="593"/>
                  </a:lnTo>
                  <a:lnTo>
                    <a:pt x="701" y="593"/>
                  </a:lnTo>
                  <a:lnTo>
                    <a:pt x="697" y="591"/>
                  </a:lnTo>
                  <a:lnTo>
                    <a:pt x="691" y="587"/>
                  </a:lnTo>
                  <a:lnTo>
                    <a:pt x="687" y="584"/>
                  </a:lnTo>
                  <a:lnTo>
                    <a:pt x="680" y="580"/>
                  </a:lnTo>
                  <a:lnTo>
                    <a:pt x="674" y="577"/>
                  </a:lnTo>
                  <a:lnTo>
                    <a:pt x="667" y="573"/>
                  </a:lnTo>
                  <a:lnTo>
                    <a:pt x="663" y="567"/>
                  </a:lnTo>
                  <a:lnTo>
                    <a:pt x="657" y="561"/>
                  </a:lnTo>
                  <a:lnTo>
                    <a:pt x="655" y="558"/>
                  </a:lnTo>
                  <a:lnTo>
                    <a:pt x="653" y="555"/>
                  </a:lnTo>
                  <a:lnTo>
                    <a:pt x="648" y="553"/>
                  </a:lnTo>
                  <a:lnTo>
                    <a:pt x="643" y="550"/>
                  </a:lnTo>
                  <a:lnTo>
                    <a:pt x="638" y="545"/>
                  </a:lnTo>
                  <a:lnTo>
                    <a:pt x="635" y="543"/>
                  </a:lnTo>
                  <a:lnTo>
                    <a:pt x="631" y="540"/>
                  </a:lnTo>
                  <a:lnTo>
                    <a:pt x="625" y="538"/>
                  </a:lnTo>
                  <a:lnTo>
                    <a:pt x="618" y="534"/>
                  </a:lnTo>
                  <a:lnTo>
                    <a:pt x="615" y="531"/>
                  </a:lnTo>
                  <a:lnTo>
                    <a:pt x="608" y="524"/>
                  </a:lnTo>
                  <a:lnTo>
                    <a:pt x="604" y="518"/>
                  </a:lnTo>
                  <a:lnTo>
                    <a:pt x="600" y="515"/>
                  </a:lnTo>
                  <a:lnTo>
                    <a:pt x="594" y="513"/>
                  </a:lnTo>
                  <a:lnTo>
                    <a:pt x="585" y="508"/>
                  </a:lnTo>
                  <a:lnTo>
                    <a:pt x="580" y="505"/>
                  </a:lnTo>
                  <a:lnTo>
                    <a:pt x="572" y="503"/>
                  </a:lnTo>
                  <a:lnTo>
                    <a:pt x="570" y="500"/>
                  </a:lnTo>
                  <a:lnTo>
                    <a:pt x="567" y="494"/>
                  </a:lnTo>
                  <a:lnTo>
                    <a:pt x="564" y="490"/>
                  </a:lnTo>
                  <a:lnTo>
                    <a:pt x="558" y="485"/>
                  </a:lnTo>
                  <a:lnTo>
                    <a:pt x="545" y="481"/>
                  </a:lnTo>
                  <a:lnTo>
                    <a:pt x="531" y="474"/>
                  </a:lnTo>
                  <a:lnTo>
                    <a:pt x="521" y="468"/>
                  </a:lnTo>
                  <a:lnTo>
                    <a:pt x="507" y="458"/>
                  </a:lnTo>
                  <a:lnTo>
                    <a:pt x="497" y="450"/>
                  </a:lnTo>
                  <a:lnTo>
                    <a:pt x="484" y="438"/>
                  </a:lnTo>
                  <a:lnTo>
                    <a:pt x="462" y="415"/>
                  </a:lnTo>
                  <a:lnTo>
                    <a:pt x="442" y="398"/>
                  </a:lnTo>
                  <a:lnTo>
                    <a:pt x="428" y="384"/>
                  </a:lnTo>
                  <a:lnTo>
                    <a:pt x="419" y="375"/>
                  </a:lnTo>
                  <a:lnTo>
                    <a:pt x="409" y="368"/>
                  </a:lnTo>
                  <a:lnTo>
                    <a:pt x="401" y="362"/>
                  </a:lnTo>
                  <a:lnTo>
                    <a:pt x="396" y="358"/>
                  </a:lnTo>
                  <a:lnTo>
                    <a:pt x="393" y="358"/>
                  </a:lnTo>
                  <a:lnTo>
                    <a:pt x="393" y="359"/>
                  </a:lnTo>
                  <a:lnTo>
                    <a:pt x="396" y="362"/>
                  </a:lnTo>
                  <a:lnTo>
                    <a:pt x="402" y="366"/>
                  </a:lnTo>
                  <a:lnTo>
                    <a:pt x="405" y="369"/>
                  </a:lnTo>
                  <a:lnTo>
                    <a:pt x="405" y="369"/>
                  </a:lnTo>
                  <a:lnTo>
                    <a:pt x="403" y="371"/>
                  </a:lnTo>
                  <a:lnTo>
                    <a:pt x="402" y="371"/>
                  </a:lnTo>
                  <a:lnTo>
                    <a:pt x="399" y="368"/>
                  </a:lnTo>
                  <a:lnTo>
                    <a:pt x="395" y="364"/>
                  </a:lnTo>
                  <a:lnTo>
                    <a:pt x="392" y="364"/>
                  </a:lnTo>
                  <a:lnTo>
                    <a:pt x="389" y="364"/>
                  </a:lnTo>
                  <a:lnTo>
                    <a:pt x="388" y="364"/>
                  </a:lnTo>
                  <a:lnTo>
                    <a:pt x="386" y="362"/>
                  </a:lnTo>
                  <a:lnTo>
                    <a:pt x="383" y="362"/>
                  </a:lnTo>
                  <a:lnTo>
                    <a:pt x="381" y="361"/>
                  </a:lnTo>
                  <a:lnTo>
                    <a:pt x="382" y="356"/>
                  </a:lnTo>
                  <a:lnTo>
                    <a:pt x="382" y="356"/>
                  </a:lnTo>
                  <a:lnTo>
                    <a:pt x="385" y="356"/>
                  </a:lnTo>
                  <a:lnTo>
                    <a:pt x="389" y="356"/>
                  </a:lnTo>
                  <a:lnTo>
                    <a:pt x="392" y="356"/>
                  </a:lnTo>
                  <a:lnTo>
                    <a:pt x="392" y="356"/>
                  </a:lnTo>
                  <a:lnTo>
                    <a:pt x="391" y="355"/>
                  </a:lnTo>
                  <a:lnTo>
                    <a:pt x="385" y="348"/>
                  </a:lnTo>
                  <a:lnTo>
                    <a:pt x="378" y="341"/>
                  </a:lnTo>
                  <a:lnTo>
                    <a:pt x="363" y="329"/>
                  </a:lnTo>
                  <a:lnTo>
                    <a:pt x="355" y="322"/>
                  </a:lnTo>
                  <a:lnTo>
                    <a:pt x="349" y="318"/>
                  </a:lnTo>
                  <a:lnTo>
                    <a:pt x="345" y="315"/>
                  </a:lnTo>
                  <a:lnTo>
                    <a:pt x="343" y="315"/>
                  </a:lnTo>
                  <a:lnTo>
                    <a:pt x="342" y="316"/>
                  </a:lnTo>
                  <a:lnTo>
                    <a:pt x="345" y="318"/>
                  </a:lnTo>
                  <a:lnTo>
                    <a:pt x="356" y="326"/>
                  </a:lnTo>
                  <a:lnTo>
                    <a:pt x="366" y="334"/>
                  </a:lnTo>
                  <a:lnTo>
                    <a:pt x="375" y="342"/>
                  </a:lnTo>
                  <a:lnTo>
                    <a:pt x="379" y="346"/>
                  </a:lnTo>
                  <a:lnTo>
                    <a:pt x="379" y="349"/>
                  </a:lnTo>
                  <a:lnTo>
                    <a:pt x="379" y="349"/>
                  </a:lnTo>
                  <a:lnTo>
                    <a:pt x="376" y="351"/>
                  </a:lnTo>
                  <a:lnTo>
                    <a:pt x="373" y="348"/>
                  </a:lnTo>
                  <a:lnTo>
                    <a:pt x="372" y="344"/>
                  </a:lnTo>
                  <a:lnTo>
                    <a:pt x="370" y="342"/>
                  </a:lnTo>
                  <a:lnTo>
                    <a:pt x="366" y="339"/>
                  </a:lnTo>
                  <a:lnTo>
                    <a:pt x="360" y="332"/>
                  </a:lnTo>
                  <a:lnTo>
                    <a:pt x="353" y="328"/>
                  </a:lnTo>
                  <a:lnTo>
                    <a:pt x="352" y="326"/>
                  </a:lnTo>
                  <a:lnTo>
                    <a:pt x="350" y="326"/>
                  </a:lnTo>
                  <a:lnTo>
                    <a:pt x="350" y="328"/>
                  </a:lnTo>
                  <a:lnTo>
                    <a:pt x="355" y="334"/>
                  </a:lnTo>
                  <a:lnTo>
                    <a:pt x="360" y="338"/>
                  </a:lnTo>
                  <a:lnTo>
                    <a:pt x="362" y="339"/>
                  </a:lnTo>
                  <a:lnTo>
                    <a:pt x="362" y="342"/>
                  </a:lnTo>
                  <a:lnTo>
                    <a:pt x="362" y="344"/>
                  </a:lnTo>
                  <a:lnTo>
                    <a:pt x="360" y="344"/>
                  </a:lnTo>
                  <a:lnTo>
                    <a:pt x="356" y="345"/>
                  </a:lnTo>
                  <a:lnTo>
                    <a:pt x="353" y="348"/>
                  </a:lnTo>
                  <a:lnTo>
                    <a:pt x="352" y="349"/>
                  </a:lnTo>
                  <a:lnTo>
                    <a:pt x="352" y="349"/>
                  </a:lnTo>
                  <a:lnTo>
                    <a:pt x="350" y="349"/>
                  </a:lnTo>
                  <a:lnTo>
                    <a:pt x="349" y="346"/>
                  </a:lnTo>
                  <a:lnTo>
                    <a:pt x="348" y="342"/>
                  </a:lnTo>
                  <a:lnTo>
                    <a:pt x="346" y="339"/>
                  </a:lnTo>
                  <a:lnTo>
                    <a:pt x="345" y="338"/>
                  </a:lnTo>
                  <a:lnTo>
                    <a:pt x="343" y="336"/>
                  </a:lnTo>
                  <a:lnTo>
                    <a:pt x="342" y="334"/>
                  </a:lnTo>
                  <a:lnTo>
                    <a:pt x="342" y="331"/>
                  </a:lnTo>
                  <a:lnTo>
                    <a:pt x="339" y="328"/>
                  </a:lnTo>
                  <a:lnTo>
                    <a:pt x="338" y="325"/>
                  </a:lnTo>
                  <a:lnTo>
                    <a:pt x="339" y="321"/>
                  </a:lnTo>
                  <a:lnTo>
                    <a:pt x="339" y="318"/>
                  </a:lnTo>
                  <a:lnTo>
                    <a:pt x="336" y="313"/>
                  </a:lnTo>
                  <a:lnTo>
                    <a:pt x="330" y="308"/>
                  </a:lnTo>
                  <a:lnTo>
                    <a:pt x="323" y="303"/>
                  </a:lnTo>
                  <a:lnTo>
                    <a:pt x="313" y="298"/>
                  </a:lnTo>
                  <a:lnTo>
                    <a:pt x="309" y="295"/>
                  </a:lnTo>
                  <a:lnTo>
                    <a:pt x="307" y="293"/>
                  </a:lnTo>
                  <a:lnTo>
                    <a:pt x="306" y="295"/>
                  </a:lnTo>
                  <a:lnTo>
                    <a:pt x="306" y="296"/>
                  </a:lnTo>
                  <a:lnTo>
                    <a:pt x="313" y="302"/>
                  </a:lnTo>
                  <a:lnTo>
                    <a:pt x="316" y="305"/>
                  </a:lnTo>
                  <a:lnTo>
                    <a:pt x="316" y="306"/>
                  </a:lnTo>
                  <a:lnTo>
                    <a:pt x="316" y="308"/>
                  </a:lnTo>
                  <a:lnTo>
                    <a:pt x="313" y="308"/>
                  </a:lnTo>
                  <a:lnTo>
                    <a:pt x="310" y="306"/>
                  </a:lnTo>
                  <a:lnTo>
                    <a:pt x="309" y="305"/>
                  </a:lnTo>
                  <a:lnTo>
                    <a:pt x="307" y="302"/>
                  </a:lnTo>
                  <a:lnTo>
                    <a:pt x="305" y="302"/>
                  </a:lnTo>
                  <a:lnTo>
                    <a:pt x="303" y="301"/>
                  </a:lnTo>
                  <a:lnTo>
                    <a:pt x="300" y="298"/>
                  </a:lnTo>
                  <a:lnTo>
                    <a:pt x="300" y="295"/>
                  </a:lnTo>
                  <a:lnTo>
                    <a:pt x="297" y="292"/>
                  </a:lnTo>
                  <a:lnTo>
                    <a:pt x="296" y="289"/>
                  </a:lnTo>
                  <a:lnTo>
                    <a:pt x="292" y="288"/>
                  </a:lnTo>
                  <a:lnTo>
                    <a:pt x="285" y="281"/>
                  </a:lnTo>
                  <a:lnTo>
                    <a:pt x="282" y="278"/>
                  </a:lnTo>
                  <a:lnTo>
                    <a:pt x="280" y="275"/>
                  </a:lnTo>
                  <a:lnTo>
                    <a:pt x="279" y="273"/>
                  </a:lnTo>
                  <a:lnTo>
                    <a:pt x="276" y="270"/>
                  </a:lnTo>
                  <a:lnTo>
                    <a:pt x="276" y="269"/>
                  </a:lnTo>
                  <a:lnTo>
                    <a:pt x="276" y="269"/>
                  </a:lnTo>
                  <a:lnTo>
                    <a:pt x="277" y="270"/>
                  </a:lnTo>
                  <a:lnTo>
                    <a:pt x="280" y="272"/>
                  </a:lnTo>
                  <a:lnTo>
                    <a:pt x="282" y="272"/>
                  </a:lnTo>
                  <a:lnTo>
                    <a:pt x="283" y="272"/>
                  </a:lnTo>
                  <a:lnTo>
                    <a:pt x="283" y="270"/>
                  </a:lnTo>
                  <a:lnTo>
                    <a:pt x="280" y="268"/>
                  </a:lnTo>
                  <a:lnTo>
                    <a:pt x="279" y="265"/>
                  </a:lnTo>
                  <a:lnTo>
                    <a:pt x="273" y="256"/>
                  </a:lnTo>
                  <a:lnTo>
                    <a:pt x="270" y="246"/>
                  </a:lnTo>
                  <a:lnTo>
                    <a:pt x="267" y="242"/>
                  </a:lnTo>
                  <a:lnTo>
                    <a:pt x="266" y="242"/>
                  </a:lnTo>
                  <a:lnTo>
                    <a:pt x="266" y="242"/>
                  </a:lnTo>
                  <a:lnTo>
                    <a:pt x="266" y="245"/>
                  </a:lnTo>
                  <a:lnTo>
                    <a:pt x="266" y="248"/>
                  </a:lnTo>
                  <a:lnTo>
                    <a:pt x="269" y="250"/>
                  </a:lnTo>
                  <a:lnTo>
                    <a:pt x="269" y="252"/>
                  </a:lnTo>
                  <a:lnTo>
                    <a:pt x="267" y="252"/>
                  </a:lnTo>
                  <a:lnTo>
                    <a:pt x="262" y="246"/>
                  </a:lnTo>
                  <a:lnTo>
                    <a:pt x="257" y="235"/>
                  </a:lnTo>
                  <a:lnTo>
                    <a:pt x="254" y="228"/>
                  </a:lnTo>
                  <a:lnTo>
                    <a:pt x="253" y="225"/>
                  </a:lnTo>
                  <a:lnTo>
                    <a:pt x="252" y="217"/>
                  </a:lnTo>
                  <a:lnTo>
                    <a:pt x="249" y="212"/>
                  </a:lnTo>
                  <a:lnTo>
                    <a:pt x="246" y="205"/>
                  </a:lnTo>
                  <a:lnTo>
                    <a:pt x="244" y="200"/>
                  </a:lnTo>
                  <a:lnTo>
                    <a:pt x="243" y="196"/>
                  </a:lnTo>
                  <a:lnTo>
                    <a:pt x="243" y="196"/>
                  </a:lnTo>
                  <a:lnTo>
                    <a:pt x="244" y="196"/>
                  </a:lnTo>
                  <a:lnTo>
                    <a:pt x="244" y="197"/>
                  </a:lnTo>
                  <a:lnTo>
                    <a:pt x="250" y="202"/>
                  </a:lnTo>
                  <a:lnTo>
                    <a:pt x="253" y="206"/>
                  </a:lnTo>
                  <a:lnTo>
                    <a:pt x="254" y="209"/>
                  </a:lnTo>
                  <a:lnTo>
                    <a:pt x="254" y="212"/>
                  </a:lnTo>
                  <a:lnTo>
                    <a:pt x="254" y="216"/>
                  </a:lnTo>
                  <a:lnTo>
                    <a:pt x="254" y="219"/>
                  </a:lnTo>
                  <a:lnTo>
                    <a:pt x="256" y="220"/>
                  </a:lnTo>
                  <a:lnTo>
                    <a:pt x="259" y="220"/>
                  </a:lnTo>
                  <a:lnTo>
                    <a:pt x="260" y="222"/>
                  </a:lnTo>
                  <a:lnTo>
                    <a:pt x="262" y="226"/>
                  </a:lnTo>
                  <a:lnTo>
                    <a:pt x="263" y="232"/>
                  </a:lnTo>
                  <a:lnTo>
                    <a:pt x="263" y="236"/>
                  </a:lnTo>
                  <a:lnTo>
                    <a:pt x="264" y="238"/>
                  </a:lnTo>
                  <a:lnTo>
                    <a:pt x="264" y="238"/>
                  </a:lnTo>
                  <a:lnTo>
                    <a:pt x="266" y="236"/>
                  </a:lnTo>
                  <a:lnTo>
                    <a:pt x="267" y="232"/>
                  </a:lnTo>
                  <a:lnTo>
                    <a:pt x="266" y="228"/>
                  </a:lnTo>
                  <a:lnTo>
                    <a:pt x="262" y="217"/>
                  </a:lnTo>
                  <a:lnTo>
                    <a:pt x="259" y="210"/>
                  </a:lnTo>
                  <a:lnTo>
                    <a:pt x="253" y="203"/>
                  </a:lnTo>
                  <a:lnTo>
                    <a:pt x="246" y="192"/>
                  </a:lnTo>
                  <a:lnTo>
                    <a:pt x="237" y="179"/>
                  </a:lnTo>
                  <a:lnTo>
                    <a:pt x="232" y="172"/>
                  </a:lnTo>
                  <a:lnTo>
                    <a:pt x="229" y="170"/>
                  </a:lnTo>
                  <a:lnTo>
                    <a:pt x="223" y="167"/>
                  </a:lnTo>
                  <a:lnTo>
                    <a:pt x="219" y="163"/>
                  </a:lnTo>
                  <a:lnTo>
                    <a:pt x="214" y="160"/>
                  </a:lnTo>
                  <a:lnTo>
                    <a:pt x="213" y="160"/>
                  </a:lnTo>
                  <a:lnTo>
                    <a:pt x="212" y="160"/>
                  </a:lnTo>
                  <a:lnTo>
                    <a:pt x="212" y="163"/>
                  </a:lnTo>
                  <a:lnTo>
                    <a:pt x="216" y="166"/>
                  </a:lnTo>
                  <a:lnTo>
                    <a:pt x="219" y="170"/>
                  </a:lnTo>
                  <a:lnTo>
                    <a:pt x="220" y="170"/>
                  </a:lnTo>
                  <a:lnTo>
                    <a:pt x="220" y="172"/>
                  </a:lnTo>
                  <a:lnTo>
                    <a:pt x="219" y="173"/>
                  </a:lnTo>
                  <a:lnTo>
                    <a:pt x="217" y="173"/>
                  </a:lnTo>
                  <a:lnTo>
                    <a:pt x="216" y="172"/>
                  </a:lnTo>
                  <a:lnTo>
                    <a:pt x="213" y="169"/>
                  </a:lnTo>
                  <a:lnTo>
                    <a:pt x="212" y="166"/>
                  </a:lnTo>
                  <a:lnTo>
                    <a:pt x="209" y="166"/>
                  </a:lnTo>
                  <a:lnTo>
                    <a:pt x="204" y="162"/>
                  </a:lnTo>
                  <a:lnTo>
                    <a:pt x="200" y="160"/>
                  </a:lnTo>
                  <a:lnTo>
                    <a:pt x="196" y="159"/>
                  </a:lnTo>
                  <a:lnTo>
                    <a:pt x="196" y="159"/>
                  </a:lnTo>
                  <a:lnTo>
                    <a:pt x="193" y="156"/>
                  </a:lnTo>
                  <a:lnTo>
                    <a:pt x="187" y="150"/>
                  </a:lnTo>
                  <a:lnTo>
                    <a:pt x="184" y="149"/>
                  </a:lnTo>
                  <a:lnTo>
                    <a:pt x="181" y="146"/>
                  </a:lnTo>
                  <a:lnTo>
                    <a:pt x="176" y="139"/>
                  </a:lnTo>
                  <a:lnTo>
                    <a:pt x="173" y="136"/>
                  </a:lnTo>
                  <a:lnTo>
                    <a:pt x="170" y="134"/>
                  </a:lnTo>
                  <a:lnTo>
                    <a:pt x="169" y="134"/>
                  </a:lnTo>
                  <a:lnTo>
                    <a:pt x="167" y="134"/>
                  </a:lnTo>
                  <a:lnTo>
                    <a:pt x="166" y="132"/>
                  </a:lnTo>
                  <a:lnTo>
                    <a:pt x="161" y="129"/>
                  </a:lnTo>
                  <a:lnTo>
                    <a:pt x="161" y="126"/>
                  </a:lnTo>
                  <a:lnTo>
                    <a:pt x="161" y="123"/>
                  </a:lnTo>
                  <a:lnTo>
                    <a:pt x="163" y="120"/>
                  </a:lnTo>
                  <a:lnTo>
                    <a:pt x="166" y="120"/>
                  </a:lnTo>
                  <a:lnTo>
                    <a:pt x="170" y="123"/>
                  </a:lnTo>
                  <a:lnTo>
                    <a:pt x="171" y="124"/>
                  </a:lnTo>
                  <a:lnTo>
                    <a:pt x="174" y="129"/>
                  </a:lnTo>
                  <a:lnTo>
                    <a:pt x="177" y="132"/>
                  </a:lnTo>
                  <a:lnTo>
                    <a:pt x="181" y="133"/>
                  </a:lnTo>
                  <a:lnTo>
                    <a:pt x="184" y="133"/>
                  </a:lnTo>
                  <a:lnTo>
                    <a:pt x="187" y="133"/>
                  </a:lnTo>
                  <a:lnTo>
                    <a:pt x="190" y="136"/>
                  </a:lnTo>
                  <a:lnTo>
                    <a:pt x="194" y="140"/>
                  </a:lnTo>
                  <a:lnTo>
                    <a:pt x="199" y="143"/>
                  </a:lnTo>
                  <a:lnTo>
                    <a:pt x="209" y="152"/>
                  </a:lnTo>
                  <a:lnTo>
                    <a:pt x="216" y="157"/>
                  </a:lnTo>
                  <a:lnTo>
                    <a:pt x="220" y="162"/>
                  </a:lnTo>
                  <a:lnTo>
                    <a:pt x="223" y="165"/>
                  </a:lnTo>
                  <a:lnTo>
                    <a:pt x="224" y="165"/>
                  </a:lnTo>
                  <a:lnTo>
                    <a:pt x="224" y="166"/>
                  </a:lnTo>
                  <a:lnTo>
                    <a:pt x="224" y="163"/>
                  </a:lnTo>
                  <a:lnTo>
                    <a:pt x="223" y="160"/>
                  </a:lnTo>
                  <a:lnTo>
                    <a:pt x="220" y="156"/>
                  </a:lnTo>
                  <a:lnTo>
                    <a:pt x="212" y="150"/>
                  </a:lnTo>
                  <a:lnTo>
                    <a:pt x="206" y="146"/>
                  </a:lnTo>
                  <a:lnTo>
                    <a:pt x="201" y="142"/>
                  </a:lnTo>
                  <a:lnTo>
                    <a:pt x="197" y="139"/>
                  </a:lnTo>
                  <a:lnTo>
                    <a:pt x="193" y="134"/>
                  </a:lnTo>
                  <a:lnTo>
                    <a:pt x="187" y="127"/>
                  </a:lnTo>
                  <a:lnTo>
                    <a:pt x="179" y="119"/>
                  </a:lnTo>
                  <a:lnTo>
                    <a:pt x="166" y="110"/>
                  </a:lnTo>
                  <a:lnTo>
                    <a:pt x="157" y="103"/>
                  </a:lnTo>
                  <a:lnTo>
                    <a:pt x="147" y="96"/>
                  </a:lnTo>
                  <a:lnTo>
                    <a:pt x="138" y="91"/>
                  </a:lnTo>
                  <a:lnTo>
                    <a:pt x="137" y="91"/>
                  </a:lnTo>
                  <a:lnTo>
                    <a:pt x="136" y="94"/>
                  </a:lnTo>
                  <a:lnTo>
                    <a:pt x="134" y="96"/>
                  </a:lnTo>
                  <a:lnTo>
                    <a:pt x="133" y="96"/>
                  </a:lnTo>
                  <a:lnTo>
                    <a:pt x="131" y="96"/>
                  </a:lnTo>
                  <a:lnTo>
                    <a:pt x="131" y="93"/>
                  </a:lnTo>
                  <a:lnTo>
                    <a:pt x="131" y="91"/>
                  </a:lnTo>
                  <a:lnTo>
                    <a:pt x="131" y="90"/>
                  </a:lnTo>
                  <a:lnTo>
                    <a:pt x="131" y="87"/>
                  </a:lnTo>
                  <a:lnTo>
                    <a:pt x="130" y="86"/>
                  </a:lnTo>
                  <a:lnTo>
                    <a:pt x="126" y="86"/>
                  </a:lnTo>
                  <a:lnTo>
                    <a:pt x="124" y="90"/>
                  </a:lnTo>
                  <a:lnTo>
                    <a:pt x="124" y="90"/>
                  </a:lnTo>
                  <a:lnTo>
                    <a:pt x="124" y="90"/>
                  </a:lnTo>
                  <a:lnTo>
                    <a:pt x="123" y="89"/>
                  </a:lnTo>
                  <a:lnTo>
                    <a:pt x="124" y="86"/>
                  </a:lnTo>
                  <a:lnTo>
                    <a:pt x="124" y="84"/>
                  </a:lnTo>
                  <a:lnTo>
                    <a:pt x="123" y="83"/>
                  </a:lnTo>
                  <a:lnTo>
                    <a:pt x="121" y="83"/>
                  </a:lnTo>
                  <a:lnTo>
                    <a:pt x="120" y="84"/>
                  </a:lnTo>
                  <a:lnTo>
                    <a:pt x="117" y="84"/>
                  </a:lnTo>
                  <a:lnTo>
                    <a:pt x="114" y="81"/>
                  </a:lnTo>
                  <a:lnTo>
                    <a:pt x="113" y="79"/>
                  </a:lnTo>
                  <a:lnTo>
                    <a:pt x="111" y="77"/>
                  </a:lnTo>
                  <a:lnTo>
                    <a:pt x="106" y="71"/>
                  </a:lnTo>
                  <a:lnTo>
                    <a:pt x="97" y="64"/>
                  </a:lnTo>
                  <a:lnTo>
                    <a:pt x="93" y="63"/>
                  </a:lnTo>
                  <a:lnTo>
                    <a:pt x="91" y="63"/>
                  </a:lnTo>
                  <a:lnTo>
                    <a:pt x="90" y="64"/>
                  </a:lnTo>
                  <a:lnTo>
                    <a:pt x="88" y="64"/>
                  </a:lnTo>
                  <a:lnTo>
                    <a:pt x="87" y="64"/>
                  </a:lnTo>
                  <a:lnTo>
                    <a:pt x="87" y="64"/>
                  </a:lnTo>
                  <a:lnTo>
                    <a:pt x="87" y="63"/>
                  </a:lnTo>
                  <a:lnTo>
                    <a:pt x="88" y="61"/>
                  </a:lnTo>
                  <a:lnTo>
                    <a:pt x="88" y="59"/>
                  </a:lnTo>
                  <a:lnTo>
                    <a:pt x="85" y="54"/>
                  </a:lnTo>
                  <a:lnTo>
                    <a:pt x="83" y="48"/>
                  </a:lnTo>
                  <a:lnTo>
                    <a:pt x="83" y="46"/>
                  </a:lnTo>
                  <a:lnTo>
                    <a:pt x="83" y="34"/>
                  </a:lnTo>
                  <a:lnTo>
                    <a:pt x="81" y="28"/>
                  </a:lnTo>
                  <a:lnTo>
                    <a:pt x="80" y="26"/>
                  </a:lnTo>
                  <a:lnTo>
                    <a:pt x="77" y="24"/>
                  </a:lnTo>
                  <a:lnTo>
                    <a:pt x="71" y="21"/>
                  </a:lnTo>
                  <a:lnTo>
                    <a:pt x="61" y="18"/>
                  </a:lnTo>
                  <a:lnTo>
                    <a:pt x="51" y="16"/>
                  </a:lnTo>
                  <a:lnTo>
                    <a:pt x="44" y="13"/>
                  </a:lnTo>
                  <a:lnTo>
                    <a:pt x="37" y="7"/>
                  </a:lnTo>
                  <a:lnTo>
                    <a:pt x="31" y="1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2" y="4"/>
                  </a:lnTo>
                  <a:lnTo>
                    <a:pt x="25" y="8"/>
                  </a:lnTo>
                  <a:lnTo>
                    <a:pt x="27" y="11"/>
                  </a:lnTo>
                  <a:lnTo>
                    <a:pt x="27" y="16"/>
                  </a:lnTo>
                  <a:lnTo>
                    <a:pt x="27" y="16"/>
                  </a:lnTo>
                  <a:close/>
                  <a:moveTo>
                    <a:pt x="835" y="1167"/>
                  </a:moveTo>
                  <a:lnTo>
                    <a:pt x="833" y="1166"/>
                  </a:lnTo>
                  <a:lnTo>
                    <a:pt x="832" y="1163"/>
                  </a:lnTo>
                  <a:lnTo>
                    <a:pt x="830" y="1161"/>
                  </a:lnTo>
                  <a:lnTo>
                    <a:pt x="830" y="1160"/>
                  </a:lnTo>
                  <a:lnTo>
                    <a:pt x="832" y="1158"/>
                  </a:lnTo>
                  <a:lnTo>
                    <a:pt x="833" y="1158"/>
                  </a:lnTo>
                  <a:lnTo>
                    <a:pt x="836" y="1160"/>
                  </a:lnTo>
                  <a:lnTo>
                    <a:pt x="837" y="1161"/>
                  </a:lnTo>
                  <a:lnTo>
                    <a:pt x="837" y="1164"/>
                  </a:lnTo>
                  <a:lnTo>
                    <a:pt x="837" y="1167"/>
                  </a:lnTo>
                  <a:lnTo>
                    <a:pt x="837" y="1167"/>
                  </a:lnTo>
                  <a:lnTo>
                    <a:pt x="835" y="1167"/>
                  </a:lnTo>
                  <a:lnTo>
                    <a:pt x="835" y="1167"/>
                  </a:lnTo>
                  <a:close/>
                  <a:moveTo>
                    <a:pt x="78" y="129"/>
                  </a:moveTo>
                  <a:lnTo>
                    <a:pt x="80" y="126"/>
                  </a:lnTo>
                  <a:lnTo>
                    <a:pt x="81" y="124"/>
                  </a:lnTo>
                  <a:lnTo>
                    <a:pt x="84" y="124"/>
                  </a:lnTo>
                  <a:lnTo>
                    <a:pt x="85" y="127"/>
                  </a:lnTo>
                  <a:lnTo>
                    <a:pt x="84" y="127"/>
                  </a:lnTo>
                  <a:lnTo>
                    <a:pt x="83" y="130"/>
                  </a:lnTo>
                  <a:lnTo>
                    <a:pt x="80" y="133"/>
                  </a:lnTo>
                  <a:lnTo>
                    <a:pt x="77" y="136"/>
                  </a:lnTo>
                  <a:lnTo>
                    <a:pt x="77" y="137"/>
                  </a:lnTo>
                  <a:lnTo>
                    <a:pt x="75" y="137"/>
                  </a:lnTo>
                  <a:lnTo>
                    <a:pt x="75" y="137"/>
                  </a:lnTo>
                  <a:lnTo>
                    <a:pt x="75" y="136"/>
                  </a:lnTo>
                  <a:lnTo>
                    <a:pt x="75" y="133"/>
                  </a:lnTo>
                  <a:lnTo>
                    <a:pt x="77" y="132"/>
                  </a:lnTo>
                  <a:lnTo>
                    <a:pt x="78" y="12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97" name="Freeform 245"/>
            <p:cNvSpPr>
              <a:spLocks/>
            </p:cNvSpPr>
            <p:nvPr/>
          </p:nvSpPr>
          <p:spPr bwMode="auto">
            <a:xfrm>
              <a:off x="5351080" y="4103128"/>
              <a:ext cx="1243123" cy="1434028"/>
            </a:xfrm>
            <a:custGeom>
              <a:avLst/>
              <a:gdLst>
                <a:gd name="T0" fmla="*/ 789 w 2037"/>
                <a:gd name="T1" fmla="*/ 516 h 2169"/>
                <a:gd name="T2" fmla="*/ 901 w 2037"/>
                <a:gd name="T3" fmla="*/ 367 h 2169"/>
                <a:gd name="T4" fmla="*/ 897 w 2037"/>
                <a:gd name="T5" fmla="*/ 267 h 2169"/>
                <a:gd name="T6" fmla="*/ 890 w 2037"/>
                <a:gd name="T7" fmla="*/ 176 h 2169"/>
                <a:gd name="T8" fmla="*/ 930 w 2037"/>
                <a:gd name="T9" fmla="*/ 63 h 2169"/>
                <a:gd name="T10" fmla="*/ 1041 w 2037"/>
                <a:gd name="T11" fmla="*/ 73 h 2169"/>
                <a:gd name="T12" fmla="*/ 1037 w 2037"/>
                <a:gd name="T13" fmla="*/ 112 h 2169"/>
                <a:gd name="T14" fmla="*/ 1124 w 2037"/>
                <a:gd name="T15" fmla="*/ 231 h 2169"/>
                <a:gd name="T16" fmla="*/ 1152 w 2037"/>
                <a:gd name="T17" fmla="*/ 297 h 2169"/>
                <a:gd name="T18" fmla="*/ 1143 w 2037"/>
                <a:gd name="T19" fmla="*/ 373 h 2169"/>
                <a:gd name="T20" fmla="*/ 1223 w 2037"/>
                <a:gd name="T21" fmla="*/ 484 h 2169"/>
                <a:gd name="T22" fmla="*/ 1203 w 2037"/>
                <a:gd name="T23" fmla="*/ 603 h 2169"/>
                <a:gd name="T24" fmla="*/ 1180 w 2037"/>
                <a:gd name="T25" fmla="*/ 779 h 2169"/>
                <a:gd name="T26" fmla="*/ 1232 w 2037"/>
                <a:gd name="T27" fmla="*/ 847 h 2169"/>
                <a:gd name="T28" fmla="*/ 1334 w 2037"/>
                <a:gd name="T29" fmla="*/ 792 h 2169"/>
                <a:gd name="T30" fmla="*/ 1408 w 2037"/>
                <a:gd name="T31" fmla="*/ 734 h 2169"/>
                <a:gd name="T32" fmla="*/ 1447 w 2037"/>
                <a:gd name="T33" fmla="*/ 818 h 2169"/>
                <a:gd name="T34" fmla="*/ 1517 w 2037"/>
                <a:gd name="T35" fmla="*/ 754 h 2169"/>
                <a:gd name="T36" fmla="*/ 1564 w 2037"/>
                <a:gd name="T37" fmla="*/ 642 h 2169"/>
                <a:gd name="T38" fmla="*/ 1613 w 2037"/>
                <a:gd name="T39" fmla="*/ 529 h 2169"/>
                <a:gd name="T40" fmla="*/ 1725 w 2037"/>
                <a:gd name="T41" fmla="*/ 517 h 2169"/>
                <a:gd name="T42" fmla="*/ 1793 w 2037"/>
                <a:gd name="T43" fmla="*/ 566 h 2169"/>
                <a:gd name="T44" fmla="*/ 1839 w 2037"/>
                <a:gd name="T45" fmla="*/ 626 h 2169"/>
                <a:gd name="T46" fmla="*/ 1931 w 2037"/>
                <a:gd name="T47" fmla="*/ 612 h 2169"/>
                <a:gd name="T48" fmla="*/ 1978 w 2037"/>
                <a:gd name="T49" fmla="*/ 725 h 2169"/>
                <a:gd name="T50" fmla="*/ 2028 w 2037"/>
                <a:gd name="T51" fmla="*/ 814 h 2169"/>
                <a:gd name="T52" fmla="*/ 1978 w 2037"/>
                <a:gd name="T53" fmla="*/ 815 h 2169"/>
                <a:gd name="T54" fmla="*/ 1882 w 2037"/>
                <a:gd name="T55" fmla="*/ 817 h 2169"/>
                <a:gd name="T56" fmla="*/ 1889 w 2037"/>
                <a:gd name="T57" fmla="*/ 924 h 2169"/>
                <a:gd name="T58" fmla="*/ 1934 w 2037"/>
                <a:gd name="T59" fmla="*/ 968 h 2169"/>
                <a:gd name="T60" fmla="*/ 1941 w 2037"/>
                <a:gd name="T61" fmla="*/ 1049 h 2169"/>
                <a:gd name="T62" fmla="*/ 1845 w 2037"/>
                <a:gd name="T63" fmla="*/ 1072 h 2169"/>
                <a:gd name="T64" fmla="*/ 1790 w 2037"/>
                <a:gd name="T65" fmla="*/ 1020 h 2169"/>
                <a:gd name="T66" fmla="*/ 1663 w 2037"/>
                <a:gd name="T67" fmla="*/ 1142 h 2169"/>
                <a:gd name="T68" fmla="*/ 1528 w 2037"/>
                <a:gd name="T69" fmla="*/ 1142 h 2169"/>
                <a:gd name="T70" fmla="*/ 1431 w 2037"/>
                <a:gd name="T71" fmla="*/ 1116 h 2169"/>
                <a:gd name="T72" fmla="*/ 1348 w 2037"/>
                <a:gd name="T73" fmla="*/ 1179 h 2169"/>
                <a:gd name="T74" fmla="*/ 1225 w 2037"/>
                <a:gd name="T75" fmla="*/ 1225 h 2169"/>
                <a:gd name="T76" fmla="*/ 1248 w 2037"/>
                <a:gd name="T77" fmla="*/ 1332 h 2169"/>
                <a:gd name="T78" fmla="*/ 1213 w 2037"/>
                <a:gd name="T79" fmla="*/ 1431 h 2169"/>
                <a:gd name="T80" fmla="*/ 1215 w 2037"/>
                <a:gd name="T81" fmla="*/ 1709 h 2169"/>
                <a:gd name="T82" fmla="*/ 1014 w 2037"/>
                <a:gd name="T83" fmla="*/ 1978 h 2169"/>
                <a:gd name="T84" fmla="*/ 801 w 2037"/>
                <a:gd name="T85" fmla="*/ 2163 h 2169"/>
                <a:gd name="T86" fmla="*/ 696 w 2037"/>
                <a:gd name="T87" fmla="*/ 2043 h 2169"/>
                <a:gd name="T88" fmla="*/ 574 w 2037"/>
                <a:gd name="T89" fmla="*/ 1965 h 2169"/>
                <a:gd name="T90" fmla="*/ 398 w 2037"/>
                <a:gd name="T91" fmla="*/ 1823 h 2169"/>
                <a:gd name="T92" fmla="*/ 298 w 2037"/>
                <a:gd name="T93" fmla="*/ 1852 h 2169"/>
                <a:gd name="T94" fmla="*/ 168 w 2037"/>
                <a:gd name="T95" fmla="*/ 1801 h 2169"/>
                <a:gd name="T96" fmla="*/ 86 w 2037"/>
                <a:gd name="T97" fmla="*/ 1762 h 2169"/>
                <a:gd name="T98" fmla="*/ 46 w 2037"/>
                <a:gd name="T99" fmla="*/ 1616 h 2169"/>
                <a:gd name="T100" fmla="*/ 113 w 2037"/>
                <a:gd name="T101" fmla="*/ 1495 h 2169"/>
                <a:gd name="T102" fmla="*/ 145 w 2037"/>
                <a:gd name="T103" fmla="*/ 1379 h 2169"/>
                <a:gd name="T104" fmla="*/ 222 w 2037"/>
                <a:gd name="T105" fmla="*/ 1298 h 2169"/>
                <a:gd name="T106" fmla="*/ 235 w 2037"/>
                <a:gd name="T107" fmla="*/ 1090 h 2169"/>
                <a:gd name="T108" fmla="*/ 384 w 2037"/>
                <a:gd name="T109" fmla="*/ 1057 h 2169"/>
                <a:gd name="T110" fmla="*/ 441 w 2037"/>
                <a:gd name="T111" fmla="*/ 1099 h 2169"/>
                <a:gd name="T112" fmla="*/ 493 w 2037"/>
                <a:gd name="T113" fmla="*/ 1083 h 2169"/>
                <a:gd name="T114" fmla="*/ 626 w 2037"/>
                <a:gd name="T115" fmla="*/ 915 h 2169"/>
                <a:gd name="T116" fmla="*/ 686 w 2037"/>
                <a:gd name="T117" fmla="*/ 854 h 2169"/>
                <a:gd name="T118" fmla="*/ 784 w 2037"/>
                <a:gd name="T119" fmla="*/ 933 h 2169"/>
                <a:gd name="T120" fmla="*/ 842 w 2037"/>
                <a:gd name="T121" fmla="*/ 828 h 2169"/>
                <a:gd name="T122" fmla="*/ 857 w 2037"/>
                <a:gd name="T123" fmla="*/ 746 h 2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37" h="2169">
                  <a:moveTo>
                    <a:pt x="768" y="603"/>
                  </a:moveTo>
                  <a:lnTo>
                    <a:pt x="775" y="609"/>
                  </a:lnTo>
                  <a:lnTo>
                    <a:pt x="772" y="606"/>
                  </a:lnTo>
                  <a:lnTo>
                    <a:pt x="768" y="603"/>
                  </a:lnTo>
                  <a:lnTo>
                    <a:pt x="765" y="599"/>
                  </a:lnTo>
                  <a:lnTo>
                    <a:pt x="765" y="596"/>
                  </a:lnTo>
                  <a:lnTo>
                    <a:pt x="768" y="592"/>
                  </a:lnTo>
                  <a:lnTo>
                    <a:pt x="771" y="589"/>
                  </a:lnTo>
                  <a:lnTo>
                    <a:pt x="772" y="587"/>
                  </a:lnTo>
                  <a:lnTo>
                    <a:pt x="772" y="583"/>
                  </a:lnTo>
                  <a:lnTo>
                    <a:pt x="774" y="579"/>
                  </a:lnTo>
                  <a:lnTo>
                    <a:pt x="774" y="570"/>
                  </a:lnTo>
                  <a:lnTo>
                    <a:pt x="775" y="563"/>
                  </a:lnTo>
                  <a:lnTo>
                    <a:pt x="778" y="559"/>
                  </a:lnTo>
                  <a:lnTo>
                    <a:pt x="784" y="556"/>
                  </a:lnTo>
                  <a:lnTo>
                    <a:pt x="784" y="552"/>
                  </a:lnTo>
                  <a:lnTo>
                    <a:pt x="785" y="549"/>
                  </a:lnTo>
                  <a:lnTo>
                    <a:pt x="785" y="546"/>
                  </a:lnTo>
                  <a:lnTo>
                    <a:pt x="802" y="533"/>
                  </a:lnTo>
                  <a:lnTo>
                    <a:pt x="798" y="517"/>
                  </a:lnTo>
                  <a:lnTo>
                    <a:pt x="789" y="516"/>
                  </a:lnTo>
                  <a:lnTo>
                    <a:pt x="788" y="514"/>
                  </a:lnTo>
                  <a:lnTo>
                    <a:pt x="789" y="512"/>
                  </a:lnTo>
                  <a:lnTo>
                    <a:pt x="795" y="507"/>
                  </a:lnTo>
                  <a:lnTo>
                    <a:pt x="798" y="506"/>
                  </a:lnTo>
                  <a:lnTo>
                    <a:pt x="812" y="500"/>
                  </a:lnTo>
                  <a:lnTo>
                    <a:pt x="818" y="497"/>
                  </a:lnTo>
                  <a:lnTo>
                    <a:pt x="821" y="492"/>
                  </a:lnTo>
                  <a:lnTo>
                    <a:pt x="821" y="487"/>
                  </a:lnTo>
                  <a:lnTo>
                    <a:pt x="822" y="481"/>
                  </a:lnTo>
                  <a:lnTo>
                    <a:pt x="829" y="476"/>
                  </a:lnTo>
                  <a:lnTo>
                    <a:pt x="841" y="470"/>
                  </a:lnTo>
                  <a:lnTo>
                    <a:pt x="847" y="460"/>
                  </a:lnTo>
                  <a:lnTo>
                    <a:pt x="851" y="457"/>
                  </a:lnTo>
                  <a:lnTo>
                    <a:pt x="857" y="461"/>
                  </a:lnTo>
                  <a:lnTo>
                    <a:pt x="862" y="456"/>
                  </a:lnTo>
                  <a:lnTo>
                    <a:pt x="871" y="449"/>
                  </a:lnTo>
                  <a:lnTo>
                    <a:pt x="865" y="427"/>
                  </a:lnTo>
                  <a:lnTo>
                    <a:pt x="864" y="426"/>
                  </a:lnTo>
                  <a:lnTo>
                    <a:pt x="891" y="393"/>
                  </a:lnTo>
                  <a:lnTo>
                    <a:pt x="900" y="380"/>
                  </a:lnTo>
                  <a:lnTo>
                    <a:pt x="901" y="367"/>
                  </a:lnTo>
                  <a:lnTo>
                    <a:pt x="898" y="360"/>
                  </a:lnTo>
                  <a:lnTo>
                    <a:pt x="897" y="353"/>
                  </a:lnTo>
                  <a:lnTo>
                    <a:pt x="890" y="347"/>
                  </a:lnTo>
                  <a:lnTo>
                    <a:pt x="891" y="340"/>
                  </a:lnTo>
                  <a:lnTo>
                    <a:pt x="897" y="337"/>
                  </a:lnTo>
                  <a:lnTo>
                    <a:pt x="901" y="337"/>
                  </a:lnTo>
                  <a:lnTo>
                    <a:pt x="898" y="327"/>
                  </a:lnTo>
                  <a:lnTo>
                    <a:pt x="907" y="318"/>
                  </a:lnTo>
                  <a:lnTo>
                    <a:pt x="915" y="311"/>
                  </a:lnTo>
                  <a:lnTo>
                    <a:pt x="915" y="305"/>
                  </a:lnTo>
                  <a:lnTo>
                    <a:pt x="914" y="301"/>
                  </a:lnTo>
                  <a:lnTo>
                    <a:pt x="914" y="297"/>
                  </a:lnTo>
                  <a:lnTo>
                    <a:pt x="918" y="292"/>
                  </a:lnTo>
                  <a:lnTo>
                    <a:pt x="920" y="290"/>
                  </a:lnTo>
                  <a:lnTo>
                    <a:pt x="915" y="284"/>
                  </a:lnTo>
                  <a:lnTo>
                    <a:pt x="908" y="281"/>
                  </a:lnTo>
                  <a:lnTo>
                    <a:pt x="902" y="281"/>
                  </a:lnTo>
                  <a:lnTo>
                    <a:pt x="898" y="280"/>
                  </a:lnTo>
                  <a:lnTo>
                    <a:pt x="895" y="280"/>
                  </a:lnTo>
                  <a:lnTo>
                    <a:pt x="897" y="275"/>
                  </a:lnTo>
                  <a:lnTo>
                    <a:pt x="897" y="267"/>
                  </a:lnTo>
                  <a:lnTo>
                    <a:pt x="895" y="258"/>
                  </a:lnTo>
                  <a:lnTo>
                    <a:pt x="891" y="254"/>
                  </a:lnTo>
                  <a:lnTo>
                    <a:pt x="882" y="248"/>
                  </a:lnTo>
                  <a:lnTo>
                    <a:pt x="871" y="241"/>
                  </a:lnTo>
                  <a:lnTo>
                    <a:pt x="868" y="235"/>
                  </a:lnTo>
                  <a:lnTo>
                    <a:pt x="867" y="231"/>
                  </a:lnTo>
                  <a:lnTo>
                    <a:pt x="867" y="225"/>
                  </a:lnTo>
                  <a:lnTo>
                    <a:pt x="867" y="218"/>
                  </a:lnTo>
                  <a:lnTo>
                    <a:pt x="875" y="215"/>
                  </a:lnTo>
                  <a:lnTo>
                    <a:pt x="880" y="212"/>
                  </a:lnTo>
                  <a:lnTo>
                    <a:pt x="881" y="205"/>
                  </a:lnTo>
                  <a:lnTo>
                    <a:pt x="882" y="201"/>
                  </a:lnTo>
                  <a:lnTo>
                    <a:pt x="882" y="196"/>
                  </a:lnTo>
                  <a:lnTo>
                    <a:pt x="881" y="195"/>
                  </a:lnTo>
                  <a:lnTo>
                    <a:pt x="878" y="191"/>
                  </a:lnTo>
                  <a:lnTo>
                    <a:pt x="878" y="188"/>
                  </a:lnTo>
                  <a:lnTo>
                    <a:pt x="878" y="181"/>
                  </a:lnTo>
                  <a:lnTo>
                    <a:pt x="878" y="178"/>
                  </a:lnTo>
                  <a:lnTo>
                    <a:pt x="880" y="176"/>
                  </a:lnTo>
                  <a:lnTo>
                    <a:pt x="884" y="176"/>
                  </a:lnTo>
                  <a:lnTo>
                    <a:pt x="890" y="176"/>
                  </a:lnTo>
                  <a:lnTo>
                    <a:pt x="892" y="176"/>
                  </a:lnTo>
                  <a:lnTo>
                    <a:pt x="897" y="175"/>
                  </a:lnTo>
                  <a:lnTo>
                    <a:pt x="897" y="169"/>
                  </a:lnTo>
                  <a:lnTo>
                    <a:pt x="897" y="166"/>
                  </a:lnTo>
                  <a:lnTo>
                    <a:pt x="895" y="162"/>
                  </a:lnTo>
                  <a:lnTo>
                    <a:pt x="882" y="148"/>
                  </a:lnTo>
                  <a:lnTo>
                    <a:pt x="894" y="133"/>
                  </a:lnTo>
                  <a:lnTo>
                    <a:pt x="894" y="126"/>
                  </a:lnTo>
                  <a:lnTo>
                    <a:pt x="890" y="118"/>
                  </a:lnTo>
                  <a:lnTo>
                    <a:pt x="890" y="111"/>
                  </a:lnTo>
                  <a:lnTo>
                    <a:pt x="892" y="103"/>
                  </a:lnTo>
                  <a:lnTo>
                    <a:pt x="898" y="96"/>
                  </a:lnTo>
                  <a:lnTo>
                    <a:pt x="900" y="86"/>
                  </a:lnTo>
                  <a:lnTo>
                    <a:pt x="898" y="82"/>
                  </a:lnTo>
                  <a:lnTo>
                    <a:pt x="894" y="75"/>
                  </a:lnTo>
                  <a:lnTo>
                    <a:pt x="890" y="68"/>
                  </a:lnTo>
                  <a:lnTo>
                    <a:pt x="888" y="66"/>
                  </a:lnTo>
                  <a:lnTo>
                    <a:pt x="888" y="65"/>
                  </a:lnTo>
                  <a:lnTo>
                    <a:pt x="895" y="60"/>
                  </a:lnTo>
                  <a:lnTo>
                    <a:pt x="917" y="73"/>
                  </a:lnTo>
                  <a:lnTo>
                    <a:pt x="930" y="63"/>
                  </a:lnTo>
                  <a:lnTo>
                    <a:pt x="944" y="76"/>
                  </a:lnTo>
                  <a:lnTo>
                    <a:pt x="955" y="76"/>
                  </a:lnTo>
                  <a:lnTo>
                    <a:pt x="960" y="59"/>
                  </a:lnTo>
                  <a:lnTo>
                    <a:pt x="967" y="53"/>
                  </a:lnTo>
                  <a:lnTo>
                    <a:pt x="1004" y="49"/>
                  </a:lnTo>
                  <a:lnTo>
                    <a:pt x="1000" y="29"/>
                  </a:lnTo>
                  <a:lnTo>
                    <a:pt x="993" y="16"/>
                  </a:lnTo>
                  <a:lnTo>
                    <a:pt x="983" y="10"/>
                  </a:lnTo>
                  <a:lnTo>
                    <a:pt x="994" y="7"/>
                  </a:lnTo>
                  <a:lnTo>
                    <a:pt x="1001" y="0"/>
                  </a:lnTo>
                  <a:lnTo>
                    <a:pt x="1003" y="3"/>
                  </a:lnTo>
                  <a:lnTo>
                    <a:pt x="1010" y="7"/>
                  </a:lnTo>
                  <a:lnTo>
                    <a:pt x="1011" y="15"/>
                  </a:lnTo>
                  <a:lnTo>
                    <a:pt x="1016" y="25"/>
                  </a:lnTo>
                  <a:lnTo>
                    <a:pt x="1021" y="33"/>
                  </a:lnTo>
                  <a:lnTo>
                    <a:pt x="1031" y="40"/>
                  </a:lnTo>
                  <a:lnTo>
                    <a:pt x="1037" y="49"/>
                  </a:lnTo>
                  <a:lnTo>
                    <a:pt x="1036" y="55"/>
                  </a:lnTo>
                  <a:lnTo>
                    <a:pt x="1037" y="62"/>
                  </a:lnTo>
                  <a:lnTo>
                    <a:pt x="1041" y="68"/>
                  </a:lnTo>
                  <a:lnTo>
                    <a:pt x="1041" y="73"/>
                  </a:lnTo>
                  <a:lnTo>
                    <a:pt x="1038" y="75"/>
                  </a:lnTo>
                  <a:lnTo>
                    <a:pt x="1036" y="78"/>
                  </a:lnTo>
                  <a:lnTo>
                    <a:pt x="1026" y="78"/>
                  </a:lnTo>
                  <a:lnTo>
                    <a:pt x="1014" y="79"/>
                  </a:lnTo>
                  <a:lnTo>
                    <a:pt x="1010" y="83"/>
                  </a:lnTo>
                  <a:lnTo>
                    <a:pt x="1007" y="88"/>
                  </a:lnTo>
                  <a:lnTo>
                    <a:pt x="1007" y="93"/>
                  </a:lnTo>
                  <a:lnTo>
                    <a:pt x="1007" y="99"/>
                  </a:lnTo>
                  <a:lnTo>
                    <a:pt x="1007" y="103"/>
                  </a:lnTo>
                  <a:lnTo>
                    <a:pt x="1001" y="108"/>
                  </a:lnTo>
                  <a:lnTo>
                    <a:pt x="998" y="113"/>
                  </a:lnTo>
                  <a:lnTo>
                    <a:pt x="998" y="116"/>
                  </a:lnTo>
                  <a:lnTo>
                    <a:pt x="1001" y="119"/>
                  </a:lnTo>
                  <a:lnTo>
                    <a:pt x="1007" y="118"/>
                  </a:lnTo>
                  <a:lnTo>
                    <a:pt x="1017" y="119"/>
                  </a:lnTo>
                  <a:lnTo>
                    <a:pt x="1018" y="118"/>
                  </a:lnTo>
                  <a:lnTo>
                    <a:pt x="1018" y="118"/>
                  </a:lnTo>
                  <a:lnTo>
                    <a:pt x="1024" y="115"/>
                  </a:lnTo>
                  <a:lnTo>
                    <a:pt x="1030" y="112"/>
                  </a:lnTo>
                  <a:lnTo>
                    <a:pt x="1030" y="112"/>
                  </a:lnTo>
                  <a:lnTo>
                    <a:pt x="1037" y="112"/>
                  </a:lnTo>
                  <a:lnTo>
                    <a:pt x="1046" y="112"/>
                  </a:lnTo>
                  <a:lnTo>
                    <a:pt x="1046" y="112"/>
                  </a:lnTo>
                  <a:lnTo>
                    <a:pt x="1051" y="113"/>
                  </a:lnTo>
                  <a:lnTo>
                    <a:pt x="1056" y="113"/>
                  </a:lnTo>
                  <a:lnTo>
                    <a:pt x="1056" y="113"/>
                  </a:lnTo>
                  <a:lnTo>
                    <a:pt x="1064" y="118"/>
                  </a:lnTo>
                  <a:lnTo>
                    <a:pt x="1073" y="123"/>
                  </a:lnTo>
                  <a:lnTo>
                    <a:pt x="1081" y="131"/>
                  </a:lnTo>
                  <a:lnTo>
                    <a:pt x="1090" y="139"/>
                  </a:lnTo>
                  <a:lnTo>
                    <a:pt x="1097" y="148"/>
                  </a:lnTo>
                  <a:lnTo>
                    <a:pt x="1103" y="158"/>
                  </a:lnTo>
                  <a:lnTo>
                    <a:pt x="1106" y="168"/>
                  </a:lnTo>
                  <a:lnTo>
                    <a:pt x="1107" y="179"/>
                  </a:lnTo>
                  <a:lnTo>
                    <a:pt x="1107" y="179"/>
                  </a:lnTo>
                  <a:lnTo>
                    <a:pt x="1109" y="186"/>
                  </a:lnTo>
                  <a:lnTo>
                    <a:pt x="1112" y="194"/>
                  </a:lnTo>
                  <a:lnTo>
                    <a:pt x="1120" y="207"/>
                  </a:lnTo>
                  <a:lnTo>
                    <a:pt x="1129" y="219"/>
                  </a:lnTo>
                  <a:lnTo>
                    <a:pt x="1132" y="224"/>
                  </a:lnTo>
                  <a:lnTo>
                    <a:pt x="1133" y="229"/>
                  </a:lnTo>
                  <a:lnTo>
                    <a:pt x="1124" y="231"/>
                  </a:lnTo>
                  <a:lnTo>
                    <a:pt x="1116" y="235"/>
                  </a:lnTo>
                  <a:lnTo>
                    <a:pt x="1113" y="239"/>
                  </a:lnTo>
                  <a:lnTo>
                    <a:pt x="1112" y="244"/>
                  </a:lnTo>
                  <a:lnTo>
                    <a:pt x="1112" y="255"/>
                  </a:lnTo>
                  <a:lnTo>
                    <a:pt x="1110" y="264"/>
                  </a:lnTo>
                  <a:lnTo>
                    <a:pt x="1106" y="274"/>
                  </a:lnTo>
                  <a:lnTo>
                    <a:pt x="1103" y="280"/>
                  </a:lnTo>
                  <a:lnTo>
                    <a:pt x="1103" y="287"/>
                  </a:lnTo>
                  <a:lnTo>
                    <a:pt x="1107" y="291"/>
                  </a:lnTo>
                  <a:lnTo>
                    <a:pt x="1116" y="297"/>
                  </a:lnTo>
                  <a:lnTo>
                    <a:pt x="1117" y="301"/>
                  </a:lnTo>
                  <a:lnTo>
                    <a:pt x="1120" y="301"/>
                  </a:lnTo>
                  <a:lnTo>
                    <a:pt x="1122" y="300"/>
                  </a:lnTo>
                  <a:lnTo>
                    <a:pt x="1122" y="297"/>
                  </a:lnTo>
                  <a:lnTo>
                    <a:pt x="1127" y="295"/>
                  </a:lnTo>
                  <a:lnTo>
                    <a:pt x="1139" y="294"/>
                  </a:lnTo>
                  <a:lnTo>
                    <a:pt x="1144" y="292"/>
                  </a:lnTo>
                  <a:lnTo>
                    <a:pt x="1150" y="288"/>
                  </a:lnTo>
                  <a:lnTo>
                    <a:pt x="1154" y="290"/>
                  </a:lnTo>
                  <a:lnTo>
                    <a:pt x="1153" y="294"/>
                  </a:lnTo>
                  <a:lnTo>
                    <a:pt x="1152" y="297"/>
                  </a:lnTo>
                  <a:lnTo>
                    <a:pt x="1152" y="300"/>
                  </a:lnTo>
                  <a:lnTo>
                    <a:pt x="1157" y="304"/>
                  </a:lnTo>
                  <a:lnTo>
                    <a:pt x="1159" y="308"/>
                  </a:lnTo>
                  <a:lnTo>
                    <a:pt x="1159" y="311"/>
                  </a:lnTo>
                  <a:lnTo>
                    <a:pt x="1157" y="317"/>
                  </a:lnTo>
                  <a:lnTo>
                    <a:pt x="1159" y="321"/>
                  </a:lnTo>
                  <a:lnTo>
                    <a:pt x="1163" y="324"/>
                  </a:lnTo>
                  <a:lnTo>
                    <a:pt x="1163" y="331"/>
                  </a:lnTo>
                  <a:lnTo>
                    <a:pt x="1160" y="340"/>
                  </a:lnTo>
                  <a:lnTo>
                    <a:pt x="1159" y="345"/>
                  </a:lnTo>
                  <a:lnTo>
                    <a:pt x="1153" y="350"/>
                  </a:lnTo>
                  <a:lnTo>
                    <a:pt x="1149" y="353"/>
                  </a:lnTo>
                  <a:lnTo>
                    <a:pt x="1146" y="354"/>
                  </a:lnTo>
                  <a:lnTo>
                    <a:pt x="1146" y="355"/>
                  </a:lnTo>
                  <a:lnTo>
                    <a:pt x="1146" y="355"/>
                  </a:lnTo>
                  <a:lnTo>
                    <a:pt x="1144" y="358"/>
                  </a:lnTo>
                  <a:lnTo>
                    <a:pt x="1144" y="360"/>
                  </a:lnTo>
                  <a:lnTo>
                    <a:pt x="1143" y="361"/>
                  </a:lnTo>
                  <a:lnTo>
                    <a:pt x="1143" y="364"/>
                  </a:lnTo>
                  <a:lnTo>
                    <a:pt x="1143" y="373"/>
                  </a:lnTo>
                  <a:lnTo>
                    <a:pt x="1143" y="373"/>
                  </a:lnTo>
                  <a:lnTo>
                    <a:pt x="1142" y="384"/>
                  </a:lnTo>
                  <a:lnTo>
                    <a:pt x="1142" y="390"/>
                  </a:lnTo>
                  <a:lnTo>
                    <a:pt x="1143" y="396"/>
                  </a:lnTo>
                  <a:lnTo>
                    <a:pt x="1143" y="396"/>
                  </a:lnTo>
                  <a:lnTo>
                    <a:pt x="1149" y="401"/>
                  </a:lnTo>
                  <a:lnTo>
                    <a:pt x="1156" y="407"/>
                  </a:lnTo>
                  <a:lnTo>
                    <a:pt x="1162" y="414"/>
                  </a:lnTo>
                  <a:lnTo>
                    <a:pt x="1163" y="417"/>
                  </a:lnTo>
                  <a:lnTo>
                    <a:pt x="1163" y="420"/>
                  </a:lnTo>
                  <a:lnTo>
                    <a:pt x="1170" y="431"/>
                  </a:lnTo>
                  <a:lnTo>
                    <a:pt x="1173" y="453"/>
                  </a:lnTo>
                  <a:lnTo>
                    <a:pt x="1173" y="467"/>
                  </a:lnTo>
                  <a:lnTo>
                    <a:pt x="1176" y="470"/>
                  </a:lnTo>
                  <a:lnTo>
                    <a:pt x="1183" y="470"/>
                  </a:lnTo>
                  <a:lnTo>
                    <a:pt x="1192" y="470"/>
                  </a:lnTo>
                  <a:lnTo>
                    <a:pt x="1197" y="471"/>
                  </a:lnTo>
                  <a:lnTo>
                    <a:pt x="1202" y="479"/>
                  </a:lnTo>
                  <a:lnTo>
                    <a:pt x="1206" y="483"/>
                  </a:lnTo>
                  <a:lnTo>
                    <a:pt x="1212" y="486"/>
                  </a:lnTo>
                  <a:lnTo>
                    <a:pt x="1218" y="486"/>
                  </a:lnTo>
                  <a:lnTo>
                    <a:pt x="1223" y="484"/>
                  </a:lnTo>
                  <a:lnTo>
                    <a:pt x="1229" y="486"/>
                  </a:lnTo>
                  <a:lnTo>
                    <a:pt x="1233" y="489"/>
                  </a:lnTo>
                  <a:lnTo>
                    <a:pt x="1236" y="493"/>
                  </a:lnTo>
                  <a:lnTo>
                    <a:pt x="1236" y="499"/>
                  </a:lnTo>
                  <a:lnTo>
                    <a:pt x="1228" y="524"/>
                  </a:lnTo>
                  <a:lnTo>
                    <a:pt x="1220" y="542"/>
                  </a:lnTo>
                  <a:lnTo>
                    <a:pt x="1226" y="550"/>
                  </a:lnTo>
                  <a:lnTo>
                    <a:pt x="1228" y="556"/>
                  </a:lnTo>
                  <a:lnTo>
                    <a:pt x="1228" y="562"/>
                  </a:lnTo>
                  <a:lnTo>
                    <a:pt x="1226" y="563"/>
                  </a:lnTo>
                  <a:lnTo>
                    <a:pt x="1222" y="566"/>
                  </a:lnTo>
                  <a:lnTo>
                    <a:pt x="1215" y="565"/>
                  </a:lnTo>
                  <a:lnTo>
                    <a:pt x="1210" y="565"/>
                  </a:lnTo>
                  <a:lnTo>
                    <a:pt x="1210" y="566"/>
                  </a:lnTo>
                  <a:lnTo>
                    <a:pt x="1210" y="569"/>
                  </a:lnTo>
                  <a:lnTo>
                    <a:pt x="1213" y="573"/>
                  </a:lnTo>
                  <a:lnTo>
                    <a:pt x="1215" y="577"/>
                  </a:lnTo>
                  <a:lnTo>
                    <a:pt x="1213" y="582"/>
                  </a:lnTo>
                  <a:lnTo>
                    <a:pt x="1210" y="589"/>
                  </a:lnTo>
                  <a:lnTo>
                    <a:pt x="1205" y="597"/>
                  </a:lnTo>
                  <a:lnTo>
                    <a:pt x="1203" y="603"/>
                  </a:lnTo>
                  <a:lnTo>
                    <a:pt x="1205" y="612"/>
                  </a:lnTo>
                  <a:lnTo>
                    <a:pt x="1205" y="618"/>
                  </a:lnTo>
                  <a:lnTo>
                    <a:pt x="1203" y="625"/>
                  </a:lnTo>
                  <a:lnTo>
                    <a:pt x="1202" y="630"/>
                  </a:lnTo>
                  <a:lnTo>
                    <a:pt x="1199" y="640"/>
                  </a:lnTo>
                  <a:lnTo>
                    <a:pt x="1193" y="649"/>
                  </a:lnTo>
                  <a:lnTo>
                    <a:pt x="1193" y="661"/>
                  </a:lnTo>
                  <a:lnTo>
                    <a:pt x="1197" y="673"/>
                  </a:lnTo>
                  <a:lnTo>
                    <a:pt x="1200" y="679"/>
                  </a:lnTo>
                  <a:lnTo>
                    <a:pt x="1199" y="686"/>
                  </a:lnTo>
                  <a:lnTo>
                    <a:pt x="1193" y="699"/>
                  </a:lnTo>
                  <a:lnTo>
                    <a:pt x="1195" y="705"/>
                  </a:lnTo>
                  <a:lnTo>
                    <a:pt x="1193" y="711"/>
                  </a:lnTo>
                  <a:lnTo>
                    <a:pt x="1189" y="719"/>
                  </a:lnTo>
                  <a:lnTo>
                    <a:pt x="1185" y="731"/>
                  </a:lnTo>
                  <a:lnTo>
                    <a:pt x="1186" y="734"/>
                  </a:lnTo>
                  <a:lnTo>
                    <a:pt x="1192" y="742"/>
                  </a:lnTo>
                  <a:lnTo>
                    <a:pt x="1182" y="762"/>
                  </a:lnTo>
                  <a:lnTo>
                    <a:pt x="1176" y="772"/>
                  </a:lnTo>
                  <a:lnTo>
                    <a:pt x="1176" y="777"/>
                  </a:lnTo>
                  <a:lnTo>
                    <a:pt x="1180" y="779"/>
                  </a:lnTo>
                  <a:lnTo>
                    <a:pt x="1182" y="784"/>
                  </a:lnTo>
                  <a:lnTo>
                    <a:pt x="1180" y="788"/>
                  </a:lnTo>
                  <a:lnTo>
                    <a:pt x="1177" y="792"/>
                  </a:lnTo>
                  <a:lnTo>
                    <a:pt x="1177" y="797"/>
                  </a:lnTo>
                  <a:lnTo>
                    <a:pt x="1179" y="798"/>
                  </a:lnTo>
                  <a:lnTo>
                    <a:pt x="1183" y="798"/>
                  </a:lnTo>
                  <a:lnTo>
                    <a:pt x="1185" y="798"/>
                  </a:lnTo>
                  <a:lnTo>
                    <a:pt x="1193" y="799"/>
                  </a:lnTo>
                  <a:lnTo>
                    <a:pt x="1197" y="802"/>
                  </a:lnTo>
                  <a:lnTo>
                    <a:pt x="1199" y="808"/>
                  </a:lnTo>
                  <a:lnTo>
                    <a:pt x="1203" y="817"/>
                  </a:lnTo>
                  <a:lnTo>
                    <a:pt x="1210" y="821"/>
                  </a:lnTo>
                  <a:lnTo>
                    <a:pt x="1210" y="830"/>
                  </a:lnTo>
                  <a:lnTo>
                    <a:pt x="1210" y="835"/>
                  </a:lnTo>
                  <a:lnTo>
                    <a:pt x="1213" y="835"/>
                  </a:lnTo>
                  <a:lnTo>
                    <a:pt x="1215" y="834"/>
                  </a:lnTo>
                  <a:lnTo>
                    <a:pt x="1218" y="834"/>
                  </a:lnTo>
                  <a:lnTo>
                    <a:pt x="1223" y="834"/>
                  </a:lnTo>
                  <a:lnTo>
                    <a:pt x="1226" y="838"/>
                  </a:lnTo>
                  <a:lnTo>
                    <a:pt x="1229" y="845"/>
                  </a:lnTo>
                  <a:lnTo>
                    <a:pt x="1232" y="847"/>
                  </a:lnTo>
                  <a:lnTo>
                    <a:pt x="1233" y="845"/>
                  </a:lnTo>
                  <a:lnTo>
                    <a:pt x="1233" y="842"/>
                  </a:lnTo>
                  <a:lnTo>
                    <a:pt x="1236" y="840"/>
                  </a:lnTo>
                  <a:lnTo>
                    <a:pt x="1242" y="840"/>
                  </a:lnTo>
                  <a:lnTo>
                    <a:pt x="1255" y="838"/>
                  </a:lnTo>
                  <a:lnTo>
                    <a:pt x="1266" y="838"/>
                  </a:lnTo>
                  <a:lnTo>
                    <a:pt x="1279" y="831"/>
                  </a:lnTo>
                  <a:lnTo>
                    <a:pt x="1286" y="824"/>
                  </a:lnTo>
                  <a:lnTo>
                    <a:pt x="1289" y="818"/>
                  </a:lnTo>
                  <a:lnTo>
                    <a:pt x="1291" y="811"/>
                  </a:lnTo>
                  <a:lnTo>
                    <a:pt x="1291" y="802"/>
                  </a:lnTo>
                  <a:lnTo>
                    <a:pt x="1293" y="797"/>
                  </a:lnTo>
                  <a:lnTo>
                    <a:pt x="1298" y="791"/>
                  </a:lnTo>
                  <a:lnTo>
                    <a:pt x="1305" y="787"/>
                  </a:lnTo>
                  <a:lnTo>
                    <a:pt x="1313" y="787"/>
                  </a:lnTo>
                  <a:lnTo>
                    <a:pt x="1318" y="791"/>
                  </a:lnTo>
                  <a:lnTo>
                    <a:pt x="1323" y="792"/>
                  </a:lnTo>
                  <a:lnTo>
                    <a:pt x="1325" y="789"/>
                  </a:lnTo>
                  <a:lnTo>
                    <a:pt x="1326" y="788"/>
                  </a:lnTo>
                  <a:lnTo>
                    <a:pt x="1332" y="788"/>
                  </a:lnTo>
                  <a:lnTo>
                    <a:pt x="1334" y="792"/>
                  </a:lnTo>
                  <a:lnTo>
                    <a:pt x="1338" y="792"/>
                  </a:lnTo>
                  <a:lnTo>
                    <a:pt x="1341" y="791"/>
                  </a:lnTo>
                  <a:lnTo>
                    <a:pt x="1342" y="787"/>
                  </a:lnTo>
                  <a:lnTo>
                    <a:pt x="1344" y="782"/>
                  </a:lnTo>
                  <a:lnTo>
                    <a:pt x="1349" y="778"/>
                  </a:lnTo>
                  <a:lnTo>
                    <a:pt x="1362" y="777"/>
                  </a:lnTo>
                  <a:lnTo>
                    <a:pt x="1366" y="781"/>
                  </a:lnTo>
                  <a:lnTo>
                    <a:pt x="1368" y="784"/>
                  </a:lnTo>
                  <a:lnTo>
                    <a:pt x="1369" y="784"/>
                  </a:lnTo>
                  <a:lnTo>
                    <a:pt x="1371" y="784"/>
                  </a:lnTo>
                  <a:lnTo>
                    <a:pt x="1374" y="782"/>
                  </a:lnTo>
                  <a:lnTo>
                    <a:pt x="1376" y="777"/>
                  </a:lnTo>
                  <a:lnTo>
                    <a:pt x="1385" y="769"/>
                  </a:lnTo>
                  <a:lnTo>
                    <a:pt x="1392" y="768"/>
                  </a:lnTo>
                  <a:lnTo>
                    <a:pt x="1397" y="766"/>
                  </a:lnTo>
                  <a:lnTo>
                    <a:pt x="1397" y="764"/>
                  </a:lnTo>
                  <a:lnTo>
                    <a:pt x="1397" y="762"/>
                  </a:lnTo>
                  <a:lnTo>
                    <a:pt x="1398" y="758"/>
                  </a:lnTo>
                  <a:lnTo>
                    <a:pt x="1404" y="749"/>
                  </a:lnTo>
                  <a:lnTo>
                    <a:pt x="1405" y="741"/>
                  </a:lnTo>
                  <a:lnTo>
                    <a:pt x="1408" y="734"/>
                  </a:lnTo>
                  <a:lnTo>
                    <a:pt x="1412" y="731"/>
                  </a:lnTo>
                  <a:lnTo>
                    <a:pt x="1415" y="731"/>
                  </a:lnTo>
                  <a:lnTo>
                    <a:pt x="1422" y="731"/>
                  </a:lnTo>
                  <a:lnTo>
                    <a:pt x="1425" y="736"/>
                  </a:lnTo>
                  <a:lnTo>
                    <a:pt x="1425" y="744"/>
                  </a:lnTo>
                  <a:lnTo>
                    <a:pt x="1424" y="754"/>
                  </a:lnTo>
                  <a:lnTo>
                    <a:pt x="1424" y="761"/>
                  </a:lnTo>
                  <a:lnTo>
                    <a:pt x="1427" y="758"/>
                  </a:lnTo>
                  <a:lnTo>
                    <a:pt x="1434" y="754"/>
                  </a:lnTo>
                  <a:lnTo>
                    <a:pt x="1442" y="752"/>
                  </a:lnTo>
                  <a:lnTo>
                    <a:pt x="1447" y="751"/>
                  </a:lnTo>
                  <a:lnTo>
                    <a:pt x="1450" y="751"/>
                  </a:lnTo>
                  <a:lnTo>
                    <a:pt x="1451" y="749"/>
                  </a:lnTo>
                  <a:lnTo>
                    <a:pt x="1455" y="751"/>
                  </a:lnTo>
                  <a:lnTo>
                    <a:pt x="1455" y="754"/>
                  </a:lnTo>
                  <a:lnTo>
                    <a:pt x="1451" y="761"/>
                  </a:lnTo>
                  <a:lnTo>
                    <a:pt x="1447" y="769"/>
                  </a:lnTo>
                  <a:lnTo>
                    <a:pt x="1442" y="778"/>
                  </a:lnTo>
                  <a:lnTo>
                    <a:pt x="1441" y="789"/>
                  </a:lnTo>
                  <a:lnTo>
                    <a:pt x="1442" y="804"/>
                  </a:lnTo>
                  <a:lnTo>
                    <a:pt x="1447" y="818"/>
                  </a:lnTo>
                  <a:lnTo>
                    <a:pt x="1450" y="824"/>
                  </a:lnTo>
                  <a:lnTo>
                    <a:pt x="1452" y="824"/>
                  </a:lnTo>
                  <a:lnTo>
                    <a:pt x="1455" y="824"/>
                  </a:lnTo>
                  <a:lnTo>
                    <a:pt x="1457" y="819"/>
                  </a:lnTo>
                  <a:lnTo>
                    <a:pt x="1455" y="817"/>
                  </a:lnTo>
                  <a:lnTo>
                    <a:pt x="1455" y="812"/>
                  </a:lnTo>
                  <a:lnTo>
                    <a:pt x="1457" y="805"/>
                  </a:lnTo>
                  <a:lnTo>
                    <a:pt x="1460" y="801"/>
                  </a:lnTo>
                  <a:lnTo>
                    <a:pt x="1467" y="797"/>
                  </a:lnTo>
                  <a:lnTo>
                    <a:pt x="1470" y="794"/>
                  </a:lnTo>
                  <a:lnTo>
                    <a:pt x="1471" y="791"/>
                  </a:lnTo>
                  <a:lnTo>
                    <a:pt x="1472" y="788"/>
                  </a:lnTo>
                  <a:lnTo>
                    <a:pt x="1480" y="781"/>
                  </a:lnTo>
                  <a:lnTo>
                    <a:pt x="1484" y="778"/>
                  </a:lnTo>
                  <a:lnTo>
                    <a:pt x="1490" y="775"/>
                  </a:lnTo>
                  <a:lnTo>
                    <a:pt x="1491" y="772"/>
                  </a:lnTo>
                  <a:lnTo>
                    <a:pt x="1495" y="769"/>
                  </a:lnTo>
                  <a:lnTo>
                    <a:pt x="1500" y="768"/>
                  </a:lnTo>
                  <a:lnTo>
                    <a:pt x="1505" y="766"/>
                  </a:lnTo>
                  <a:lnTo>
                    <a:pt x="1510" y="764"/>
                  </a:lnTo>
                  <a:lnTo>
                    <a:pt x="1517" y="754"/>
                  </a:lnTo>
                  <a:lnTo>
                    <a:pt x="1523" y="741"/>
                  </a:lnTo>
                  <a:lnTo>
                    <a:pt x="1523" y="735"/>
                  </a:lnTo>
                  <a:lnTo>
                    <a:pt x="1523" y="734"/>
                  </a:lnTo>
                  <a:lnTo>
                    <a:pt x="1518" y="731"/>
                  </a:lnTo>
                  <a:lnTo>
                    <a:pt x="1514" y="728"/>
                  </a:lnTo>
                  <a:lnTo>
                    <a:pt x="1514" y="725"/>
                  </a:lnTo>
                  <a:lnTo>
                    <a:pt x="1514" y="722"/>
                  </a:lnTo>
                  <a:lnTo>
                    <a:pt x="1518" y="715"/>
                  </a:lnTo>
                  <a:lnTo>
                    <a:pt x="1525" y="703"/>
                  </a:lnTo>
                  <a:lnTo>
                    <a:pt x="1525" y="698"/>
                  </a:lnTo>
                  <a:lnTo>
                    <a:pt x="1525" y="692"/>
                  </a:lnTo>
                  <a:lnTo>
                    <a:pt x="1530" y="686"/>
                  </a:lnTo>
                  <a:lnTo>
                    <a:pt x="1537" y="679"/>
                  </a:lnTo>
                  <a:lnTo>
                    <a:pt x="1540" y="672"/>
                  </a:lnTo>
                  <a:lnTo>
                    <a:pt x="1545" y="663"/>
                  </a:lnTo>
                  <a:lnTo>
                    <a:pt x="1545" y="658"/>
                  </a:lnTo>
                  <a:lnTo>
                    <a:pt x="1545" y="653"/>
                  </a:lnTo>
                  <a:lnTo>
                    <a:pt x="1548" y="652"/>
                  </a:lnTo>
                  <a:lnTo>
                    <a:pt x="1550" y="653"/>
                  </a:lnTo>
                  <a:lnTo>
                    <a:pt x="1551" y="653"/>
                  </a:lnTo>
                  <a:lnTo>
                    <a:pt x="1564" y="642"/>
                  </a:lnTo>
                  <a:lnTo>
                    <a:pt x="1567" y="632"/>
                  </a:lnTo>
                  <a:lnTo>
                    <a:pt x="1576" y="622"/>
                  </a:lnTo>
                  <a:lnTo>
                    <a:pt x="1581" y="615"/>
                  </a:lnTo>
                  <a:lnTo>
                    <a:pt x="1581" y="613"/>
                  </a:lnTo>
                  <a:lnTo>
                    <a:pt x="1580" y="610"/>
                  </a:lnTo>
                  <a:lnTo>
                    <a:pt x="1577" y="608"/>
                  </a:lnTo>
                  <a:lnTo>
                    <a:pt x="1573" y="605"/>
                  </a:lnTo>
                  <a:lnTo>
                    <a:pt x="1573" y="603"/>
                  </a:lnTo>
                  <a:lnTo>
                    <a:pt x="1574" y="599"/>
                  </a:lnTo>
                  <a:lnTo>
                    <a:pt x="1586" y="579"/>
                  </a:lnTo>
                  <a:lnTo>
                    <a:pt x="1590" y="577"/>
                  </a:lnTo>
                  <a:lnTo>
                    <a:pt x="1594" y="576"/>
                  </a:lnTo>
                  <a:lnTo>
                    <a:pt x="1598" y="579"/>
                  </a:lnTo>
                  <a:lnTo>
                    <a:pt x="1600" y="577"/>
                  </a:lnTo>
                  <a:lnTo>
                    <a:pt x="1604" y="575"/>
                  </a:lnTo>
                  <a:lnTo>
                    <a:pt x="1610" y="563"/>
                  </a:lnTo>
                  <a:lnTo>
                    <a:pt x="1613" y="559"/>
                  </a:lnTo>
                  <a:lnTo>
                    <a:pt x="1614" y="553"/>
                  </a:lnTo>
                  <a:lnTo>
                    <a:pt x="1614" y="546"/>
                  </a:lnTo>
                  <a:lnTo>
                    <a:pt x="1611" y="533"/>
                  </a:lnTo>
                  <a:lnTo>
                    <a:pt x="1613" y="529"/>
                  </a:lnTo>
                  <a:lnTo>
                    <a:pt x="1617" y="523"/>
                  </a:lnTo>
                  <a:lnTo>
                    <a:pt x="1626" y="517"/>
                  </a:lnTo>
                  <a:lnTo>
                    <a:pt x="1636" y="514"/>
                  </a:lnTo>
                  <a:lnTo>
                    <a:pt x="1643" y="510"/>
                  </a:lnTo>
                  <a:lnTo>
                    <a:pt x="1646" y="504"/>
                  </a:lnTo>
                  <a:lnTo>
                    <a:pt x="1650" y="502"/>
                  </a:lnTo>
                  <a:lnTo>
                    <a:pt x="1654" y="503"/>
                  </a:lnTo>
                  <a:lnTo>
                    <a:pt x="1659" y="504"/>
                  </a:lnTo>
                  <a:lnTo>
                    <a:pt x="1670" y="512"/>
                  </a:lnTo>
                  <a:lnTo>
                    <a:pt x="1677" y="516"/>
                  </a:lnTo>
                  <a:lnTo>
                    <a:pt x="1680" y="516"/>
                  </a:lnTo>
                  <a:lnTo>
                    <a:pt x="1686" y="512"/>
                  </a:lnTo>
                  <a:lnTo>
                    <a:pt x="1690" y="512"/>
                  </a:lnTo>
                  <a:lnTo>
                    <a:pt x="1694" y="513"/>
                  </a:lnTo>
                  <a:lnTo>
                    <a:pt x="1696" y="516"/>
                  </a:lnTo>
                  <a:lnTo>
                    <a:pt x="1702" y="517"/>
                  </a:lnTo>
                  <a:lnTo>
                    <a:pt x="1707" y="516"/>
                  </a:lnTo>
                  <a:lnTo>
                    <a:pt x="1716" y="514"/>
                  </a:lnTo>
                  <a:lnTo>
                    <a:pt x="1719" y="514"/>
                  </a:lnTo>
                  <a:lnTo>
                    <a:pt x="1722" y="514"/>
                  </a:lnTo>
                  <a:lnTo>
                    <a:pt x="1725" y="517"/>
                  </a:lnTo>
                  <a:lnTo>
                    <a:pt x="1729" y="522"/>
                  </a:lnTo>
                  <a:lnTo>
                    <a:pt x="1732" y="522"/>
                  </a:lnTo>
                  <a:lnTo>
                    <a:pt x="1735" y="520"/>
                  </a:lnTo>
                  <a:lnTo>
                    <a:pt x="1739" y="520"/>
                  </a:lnTo>
                  <a:lnTo>
                    <a:pt x="1740" y="523"/>
                  </a:lnTo>
                  <a:lnTo>
                    <a:pt x="1742" y="527"/>
                  </a:lnTo>
                  <a:lnTo>
                    <a:pt x="1746" y="530"/>
                  </a:lnTo>
                  <a:lnTo>
                    <a:pt x="1752" y="530"/>
                  </a:lnTo>
                  <a:lnTo>
                    <a:pt x="1760" y="534"/>
                  </a:lnTo>
                  <a:lnTo>
                    <a:pt x="1763" y="536"/>
                  </a:lnTo>
                  <a:lnTo>
                    <a:pt x="1765" y="540"/>
                  </a:lnTo>
                  <a:lnTo>
                    <a:pt x="1766" y="545"/>
                  </a:lnTo>
                  <a:lnTo>
                    <a:pt x="1767" y="549"/>
                  </a:lnTo>
                  <a:lnTo>
                    <a:pt x="1772" y="550"/>
                  </a:lnTo>
                  <a:lnTo>
                    <a:pt x="1778" y="552"/>
                  </a:lnTo>
                  <a:lnTo>
                    <a:pt x="1786" y="549"/>
                  </a:lnTo>
                  <a:lnTo>
                    <a:pt x="1790" y="549"/>
                  </a:lnTo>
                  <a:lnTo>
                    <a:pt x="1793" y="550"/>
                  </a:lnTo>
                  <a:lnTo>
                    <a:pt x="1795" y="553"/>
                  </a:lnTo>
                  <a:lnTo>
                    <a:pt x="1795" y="559"/>
                  </a:lnTo>
                  <a:lnTo>
                    <a:pt x="1793" y="566"/>
                  </a:lnTo>
                  <a:lnTo>
                    <a:pt x="1790" y="570"/>
                  </a:lnTo>
                  <a:lnTo>
                    <a:pt x="1788" y="573"/>
                  </a:lnTo>
                  <a:lnTo>
                    <a:pt x="1780" y="573"/>
                  </a:lnTo>
                  <a:lnTo>
                    <a:pt x="1779" y="576"/>
                  </a:lnTo>
                  <a:lnTo>
                    <a:pt x="1778" y="579"/>
                  </a:lnTo>
                  <a:lnTo>
                    <a:pt x="1779" y="580"/>
                  </a:lnTo>
                  <a:lnTo>
                    <a:pt x="1785" y="582"/>
                  </a:lnTo>
                  <a:lnTo>
                    <a:pt x="1790" y="582"/>
                  </a:lnTo>
                  <a:lnTo>
                    <a:pt x="1795" y="582"/>
                  </a:lnTo>
                  <a:lnTo>
                    <a:pt x="1796" y="583"/>
                  </a:lnTo>
                  <a:lnTo>
                    <a:pt x="1798" y="592"/>
                  </a:lnTo>
                  <a:lnTo>
                    <a:pt x="1800" y="610"/>
                  </a:lnTo>
                  <a:lnTo>
                    <a:pt x="1803" y="620"/>
                  </a:lnTo>
                  <a:lnTo>
                    <a:pt x="1803" y="626"/>
                  </a:lnTo>
                  <a:lnTo>
                    <a:pt x="1806" y="630"/>
                  </a:lnTo>
                  <a:lnTo>
                    <a:pt x="1809" y="632"/>
                  </a:lnTo>
                  <a:lnTo>
                    <a:pt x="1816" y="632"/>
                  </a:lnTo>
                  <a:lnTo>
                    <a:pt x="1822" y="630"/>
                  </a:lnTo>
                  <a:lnTo>
                    <a:pt x="1828" y="630"/>
                  </a:lnTo>
                  <a:lnTo>
                    <a:pt x="1836" y="629"/>
                  </a:lnTo>
                  <a:lnTo>
                    <a:pt x="1839" y="626"/>
                  </a:lnTo>
                  <a:lnTo>
                    <a:pt x="1845" y="620"/>
                  </a:lnTo>
                  <a:lnTo>
                    <a:pt x="1851" y="618"/>
                  </a:lnTo>
                  <a:lnTo>
                    <a:pt x="1855" y="618"/>
                  </a:lnTo>
                  <a:lnTo>
                    <a:pt x="1858" y="620"/>
                  </a:lnTo>
                  <a:lnTo>
                    <a:pt x="1862" y="626"/>
                  </a:lnTo>
                  <a:lnTo>
                    <a:pt x="1866" y="628"/>
                  </a:lnTo>
                  <a:lnTo>
                    <a:pt x="1869" y="626"/>
                  </a:lnTo>
                  <a:lnTo>
                    <a:pt x="1871" y="623"/>
                  </a:lnTo>
                  <a:lnTo>
                    <a:pt x="1869" y="618"/>
                  </a:lnTo>
                  <a:lnTo>
                    <a:pt x="1868" y="609"/>
                  </a:lnTo>
                  <a:lnTo>
                    <a:pt x="1869" y="603"/>
                  </a:lnTo>
                  <a:lnTo>
                    <a:pt x="1875" y="599"/>
                  </a:lnTo>
                  <a:lnTo>
                    <a:pt x="1882" y="596"/>
                  </a:lnTo>
                  <a:lnTo>
                    <a:pt x="1888" y="595"/>
                  </a:lnTo>
                  <a:lnTo>
                    <a:pt x="1894" y="596"/>
                  </a:lnTo>
                  <a:lnTo>
                    <a:pt x="1896" y="597"/>
                  </a:lnTo>
                  <a:lnTo>
                    <a:pt x="1898" y="602"/>
                  </a:lnTo>
                  <a:lnTo>
                    <a:pt x="1899" y="606"/>
                  </a:lnTo>
                  <a:lnTo>
                    <a:pt x="1905" y="609"/>
                  </a:lnTo>
                  <a:lnTo>
                    <a:pt x="1916" y="609"/>
                  </a:lnTo>
                  <a:lnTo>
                    <a:pt x="1931" y="612"/>
                  </a:lnTo>
                  <a:lnTo>
                    <a:pt x="1935" y="613"/>
                  </a:lnTo>
                  <a:lnTo>
                    <a:pt x="1938" y="618"/>
                  </a:lnTo>
                  <a:lnTo>
                    <a:pt x="1944" y="628"/>
                  </a:lnTo>
                  <a:lnTo>
                    <a:pt x="1945" y="632"/>
                  </a:lnTo>
                  <a:lnTo>
                    <a:pt x="1944" y="636"/>
                  </a:lnTo>
                  <a:lnTo>
                    <a:pt x="1941" y="640"/>
                  </a:lnTo>
                  <a:lnTo>
                    <a:pt x="1941" y="648"/>
                  </a:lnTo>
                  <a:lnTo>
                    <a:pt x="1944" y="658"/>
                  </a:lnTo>
                  <a:lnTo>
                    <a:pt x="1949" y="669"/>
                  </a:lnTo>
                  <a:lnTo>
                    <a:pt x="1952" y="669"/>
                  </a:lnTo>
                  <a:lnTo>
                    <a:pt x="1957" y="669"/>
                  </a:lnTo>
                  <a:lnTo>
                    <a:pt x="1962" y="671"/>
                  </a:lnTo>
                  <a:lnTo>
                    <a:pt x="1964" y="685"/>
                  </a:lnTo>
                  <a:lnTo>
                    <a:pt x="1961" y="692"/>
                  </a:lnTo>
                  <a:lnTo>
                    <a:pt x="1962" y="692"/>
                  </a:lnTo>
                  <a:lnTo>
                    <a:pt x="1962" y="693"/>
                  </a:lnTo>
                  <a:lnTo>
                    <a:pt x="1962" y="695"/>
                  </a:lnTo>
                  <a:lnTo>
                    <a:pt x="1969" y="702"/>
                  </a:lnTo>
                  <a:lnTo>
                    <a:pt x="1975" y="712"/>
                  </a:lnTo>
                  <a:lnTo>
                    <a:pt x="1978" y="721"/>
                  </a:lnTo>
                  <a:lnTo>
                    <a:pt x="1978" y="725"/>
                  </a:lnTo>
                  <a:lnTo>
                    <a:pt x="1974" y="735"/>
                  </a:lnTo>
                  <a:lnTo>
                    <a:pt x="1971" y="738"/>
                  </a:lnTo>
                  <a:lnTo>
                    <a:pt x="1972" y="741"/>
                  </a:lnTo>
                  <a:lnTo>
                    <a:pt x="1974" y="741"/>
                  </a:lnTo>
                  <a:lnTo>
                    <a:pt x="1979" y="739"/>
                  </a:lnTo>
                  <a:lnTo>
                    <a:pt x="1984" y="742"/>
                  </a:lnTo>
                  <a:lnTo>
                    <a:pt x="1992" y="745"/>
                  </a:lnTo>
                  <a:lnTo>
                    <a:pt x="1999" y="746"/>
                  </a:lnTo>
                  <a:lnTo>
                    <a:pt x="2005" y="748"/>
                  </a:lnTo>
                  <a:lnTo>
                    <a:pt x="2008" y="749"/>
                  </a:lnTo>
                  <a:lnTo>
                    <a:pt x="2011" y="755"/>
                  </a:lnTo>
                  <a:lnTo>
                    <a:pt x="2012" y="764"/>
                  </a:lnTo>
                  <a:lnTo>
                    <a:pt x="2015" y="772"/>
                  </a:lnTo>
                  <a:lnTo>
                    <a:pt x="2024" y="794"/>
                  </a:lnTo>
                  <a:lnTo>
                    <a:pt x="2031" y="804"/>
                  </a:lnTo>
                  <a:lnTo>
                    <a:pt x="2035" y="809"/>
                  </a:lnTo>
                  <a:lnTo>
                    <a:pt x="2037" y="814"/>
                  </a:lnTo>
                  <a:lnTo>
                    <a:pt x="2035" y="818"/>
                  </a:lnTo>
                  <a:lnTo>
                    <a:pt x="2035" y="821"/>
                  </a:lnTo>
                  <a:lnTo>
                    <a:pt x="2035" y="821"/>
                  </a:lnTo>
                  <a:lnTo>
                    <a:pt x="2028" y="814"/>
                  </a:lnTo>
                  <a:lnTo>
                    <a:pt x="2028" y="814"/>
                  </a:lnTo>
                  <a:lnTo>
                    <a:pt x="2025" y="812"/>
                  </a:lnTo>
                  <a:lnTo>
                    <a:pt x="2021" y="814"/>
                  </a:lnTo>
                  <a:lnTo>
                    <a:pt x="2021" y="814"/>
                  </a:lnTo>
                  <a:lnTo>
                    <a:pt x="2017" y="814"/>
                  </a:lnTo>
                  <a:lnTo>
                    <a:pt x="2012" y="814"/>
                  </a:lnTo>
                  <a:lnTo>
                    <a:pt x="2004" y="812"/>
                  </a:lnTo>
                  <a:lnTo>
                    <a:pt x="2004" y="812"/>
                  </a:lnTo>
                  <a:lnTo>
                    <a:pt x="1999" y="812"/>
                  </a:lnTo>
                  <a:lnTo>
                    <a:pt x="1997" y="814"/>
                  </a:lnTo>
                  <a:lnTo>
                    <a:pt x="1995" y="815"/>
                  </a:lnTo>
                  <a:lnTo>
                    <a:pt x="1995" y="815"/>
                  </a:lnTo>
                  <a:lnTo>
                    <a:pt x="1992" y="817"/>
                  </a:lnTo>
                  <a:lnTo>
                    <a:pt x="1991" y="818"/>
                  </a:lnTo>
                  <a:lnTo>
                    <a:pt x="1989" y="818"/>
                  </a:lnTo>
                  <a:lnTo>
                    <a:pt x="1987" y="815"/>
                  </a:lnTo>
                  <a:lnTo>
                    <a:pt x="1987" y="815"/>
                  </a:lnTo>
                  <a:lnTo>
                    <a:pt x="1985" y="814"/>
                  </a:lnTo>
                  <a:lnTo>
                    <a:pt x="1982" y="814"/>
                  </a:lnTo>
                  <a:lnTo>
                    <a:pt x="1978" y="815"/>
                  </a:lnTo>
                  <a:lnTo>
                    <a:pt x="1978" y="815"/>
                  </a:lnTo>
                  <a:lnTo>
                    <a:pt x="1972" y="815"/>
                  </a:lnTo>
                  <a:lnTo>
                    <a:pt x="1968" y="814"/>
                  </a:lnTo>
                  <a:lnTo>
                    <a:pt x="1965" y="812"/>
                  </a:lnTo>
                  <a:lnTo>
                    <a:pt x="1965" y="812"/>
                  </a:lnTo>
                  <a:lnTo>
                    <a:pt x="1962" y="809"/>
                  </a:lnTo>
                  <a:lnTo>
                    <a:pt x="1961" y="808"/>
                  </a:lnTo>
                  <a:lnTo>
                    <a:pt x="1954" y="807"/>
                  </a:lnTo>
                  <a:lnTo>
                    <a:pt x="1952" y="805"/>
                  </a:lnTo>
                  <a:lnTo>
                    <a:pt x="1949" y="792"/>
                  </a:lnTo>
                  <a:lnTo>
                    <a:pt x="1931" y="792"/>
                  </a:lnTo>
                  <a:lnTo>
                    <a:pt x="1928" y="792"/>
                  </a:lnTo>
                  <a:lnTo>
                    <a:pt x="1924" y="792"/>
                  </a:lnTo>
                  <a:lnTo>
                    <a:pt x="1918" y="792"/>
                  </a:lnTo>
                  <a:lnTo>
                    <a:pt x="1914" y="792"/>
                  </a:lnTo>
                  <a:lnTo>
                    <a:pt x="1905" y="794"/>
                  </a:lnTo>
                  <a:lnTo>
                    <a:pt x="1898" y="797"/>
                  </a:lnTo>
                  <a:lnTo>
                    <a:pt x="1891" y="798"/>
                  </a:lnTo>
                  <a:lnTo>
                    <a:pt x="1889" y="801"/>
                  </a:lnTo>
                  <a:lnTo>
                    <a:pt x="1886" y="805"/>
                  </a:lnTo>
                  <a:lnTo>
                    <a:pt x="1882" y="814"/>
                  </a:lnTo>
                  <a:lnTo>
                    <a:pt x="1882" y="817"/>
                  </a:lnTo>
                  <a:lnTo>
                    <a:pt x="1883" y="819"/>
                  </a:lnTo>
                  <a:lnTo>
                    <a:pt x="1894" y="827"/>
                  </a:lnTo>
                  <a:lnTo>
                    <a:pt x="1899" y="834"/>
                  </a:lnTo>
                  <a:lnTo>
                    <a:pt x="1899" y="840"/>
                  </a:lnTo>
                  <a:lnTo>
                    <a:pt x="1899" y="844"/>
                  </a:lnTo>
                  <a:lnTo>
                    <a:pt x="1898" y="847"/>
                  </a:lnTo>
                  <a:lnTo>
                    <a:pt x="1892" y="847"/>
                  </a:lnTo>
                  <a:lnTo>
                    <a:pt x="1888" y="848"/>
                  </a:lnTo>
                  <a:lnTo>
                    <a:pt x="1886" y="850"/>
                  </a:lnTo>
                  <a:lnTo>
                    <a:pt x="1886" y="858"/>
                  </a:lnTo>
                  <a:lnTo>
                    <a:pt x="1889" y="864"/>
                  </a:lnTo>
                  <a:lnTo>
                    <a:pt x="1894" y="871"/>
                  </a:lnTo>
                  <a:lnTo>
                    <a:pt x="1894" y="875"/>
                  </a:lnTo>
                  <a:lnTo>
                    <a:pt x="1891" y="881"/>
                  </a:lnTo>
                  <a:lnTo>
                    <a:pt x="1882" y="893"/>
                  </a:lnTo>
                  <a:lnTo>
                    <a:pt x="1879" y="897"/>
                  </a:lnTo>
                  <a:lnTo>
                    <a:pt x="1881" y="903"/>
                  </a:lnTo>
                  <a:lnTo>
                    <a:pt x="1885" y="908"/>
                  </a:lnTo>
                  <a:lnTo>
                    <a:pt x="1886" y="914"/>
                  </a:lnTo>
                  <a:lnTo>
                    <a:pt x="1886" y="920"/>
                  </a:lnTo>
                  <a:lnTo>
                    <a:pt x="1889" y="924"/>
                  </a:lnTo>
                  <a:lnTo>
                    <a:pt x="1898" y="928"/>
                  </a:lnTo>
                  <a:lnTo>
                    <a:pt x="1901" y="934"/>
                  </a:lnTo>
                  <a:lnTo>
                    <a:pt x="1899" y="940"/>
                  </a:lnTo>
                  <a:lnTo>
                    <a:pt x="1898" y="947"/>
                  </a:lnTo>
                  <a:lnTo>
                    <a:pt x="1898" y="950"/>
                  </a:lnTo>
                  <a:lnTo>
                    <a:pt x="1902" y="956"/>
                  </a:lnTo>
                  <a:lnTo>
                    <a:pt x="1905" y="966"/>
                  </a:lnTo>
                  <a:lnTo>
                    <a:pt x="1906" y="967"/>
                  </a:lnTo>
                  <a:lnTo>
                    <a:pt x="1914" y="967"/>
                  </a:lnTo>
                  <a:lnTo>
                    <a:pt x="1916" y="967"/>
                  </a:lnTo>
                  <a:lnTo>
                    <a:pt x="1918" y="968"/>
                  </a:lnTo>
                  <a:lnTo>
                    <a:pt x="1918" y="971"/>
                  </a:lnTo>
                  <a:lnTo>
                    <a:pt x="1916" y="978"/>
                  </a:lnTo>
                  <a:lnTo>
                    <a:pt x="1916" y="981"/>
                  </a:lnTo>
                  <a:lnTo>
                    <a:pt x="1919" y="983"/>
                  </a:lnTo>
                  <a:lnTo>
                    <a:pt x="1924" y="981"/>
                  </a:lnTo>
                  <a:lnTo>
                    <a:pt x="1929" y="978"/>
                  </a:lnTo>
                  <a:lnTo>
                    <a:pt x="1931" y="977"/>
                  </a:lnTo>
                  <a:lnTo>
                    <a:pt x="1931" y="970"/>
                  </a:lnTo>
                  <a:lnTo>
                    <a:pt x="1932" y="967"/>
                  </a:lnTo>
                  <a:lnTo>
                    <a:pt x="1934" y="968"/>
                  </a:lnTo>
                  <a:lnTo>
                    <a:pt x="1936" y="970"/>
                  </a:lnTo>
                  <a:lnTo>
                    <a:pt x="1939" y="970"/>
                  </a:lnTo>
                  <a:lnTo>
                    <a:pt x="1945" y="970"/>
                  </a:lnTo>
                  <a:lnTo>
                    <a:pt x="1952" y="971"/>
                  </a:lnTo>
                  <a:lnTo>
                    <a:pt x="1954" y="974"/>
                  </a:lnTo>
                  <a:lnTo>
                    <a:pt x="1952" y="978"/>
                  </a:lnTo>
                  <a:lnTo>
                    <a:pt x="1951" y="984"/>
                  </a:lnTo>
                  <a:lnTo>
                    <a:pt x="1946" y="993"/>
                  </a:lnTo>
                  <a:lnTo>
                    <a:pt x="1945" y="996"/>
                  </a:lnTo>
                  <a:lnTo>
                    <a:pt x="1946" y="1000"/>
                  </a:lnTo>
                  <a:lnTo>
                    <a:pt x="1952" y="1007"/>
                  </a:lnTo>
                  <a:lnTo>
                    <a:pt x="1954" y="1010"/>
                  </a:lnTo>
                  <a:lnTo>
                    <a:pt x="1955" y="1014"/>
                  </a:lnTo>
                  <a:lnTo>
                    <a:pt x="1954" y="1019"/>
                  </a:lnTo>
                  <a:lnTo>
                    <a:pt x="1948" y="1024"/>
                  </a:lnTo>
                  <a:lnTo>
                    <a:pt x="1945" y="1031"/>
                  </a:lnTo>
                  <a:lnTo>
                    <a:pt x="1946" y="1036"/>
                  </a:lnTo>
                  <a:lnTo>
                    <a:pt x="1949" y="1040"/>
                  </a:lnTo>
                  <a:lnTo>
                    <a:pt x="1949" y="1044"/>
                  </a:lnTo>
                  <a:lnTo>
                    <a:pt x="1948" y="1047"/>
                  </a:lnTo>
                  <a:lnTo>
                    <a:pt x="1941" y="1049"/>
                  </a:lnTo>
                  <a:lnTo>
                    <a:pt x="1935" y="1046"/>
                  </a:lnTo>
                  <a:lnTo>
                    <a:pt x="1932" y="1043"/>
                  </a:lnTo>
                  <a:lnTo>
                    <a:pt x="1931" y="1036"/>
                  </a:lnTo>
                  <a:lnTo>
                    <a:pt x="1928" y="1034"/>
                  </a:lnTo>
                  <a:lnTo>
                    <a:pt x="1925" y="1034"/>
                  </a:lnTo>
                  <a:lnTo>
                    <a:pt x="1924" y="1036"/>
                  </a:lnTo>
                  <a:lnTo>
                    <a:pt x="1919" y="1052"/>
                  </a:lnTo>
                  <a:lnTo>
                    <a:pt x="1919" y="1059"/>
                  </a:lnTo>
                  <a:lnTo>
                    <a:pt x="1916" y="1060"/>
                  </a:lnTo>
                  <a:lnTo>
                    <a:pt x="1908" y="1060"/>
                  </a:lnTo>
                  <a:lnTo>
                    <a:pt x="1904" y="1062"/>
                  </a:lnTo>
                  <a:lnTo>
                    <a:pt x="1894" y="1076"/>
                  </a:lnTo>
                  <a:lnTo>
                    <a:pt x="1888" y="1079"/>
                  </a:lnTo>
                  <a:lnTo>
                    <a:pt x="1882" y="1079"/>
                  </a:lnTo>
                  <a:lnTo>
                    <a:pt x="1878" y="1076"/>
                  </a:lnTo>
                  <a:lnTo>
                    <a:pt x="1875" y="1076"/>
                  </a:lnTo>
                  <a:lnTo>
                    <a:pt x="1869" y="1076"/>
                  </a:lnTo>
                  <a:lnTo>
                    <a:pt x="1863" y="1076"/>
                  </a:lnTo>
                  <a:lnTo>
                    <a:pt x="1855" y="1073"/>
                  </a:lnTo>
                  <a:lnTo>
                    <a:pt x="1849" y="1072"/>
                  </a:lnTo>
                  <a:lnTo>
                    <a:pt x="1845" y="1072"/>
                  </a:lnTo>
                  <a:lnTo>
                    <a:pt x="1836" y="1077"/>
                  </a:lnTo>
                  <a:lnTo>
                    <a:pt x="1833" y="1080"/>
                  </a:lnTo>
                  <a:lnTo>
                    <a:pt x="1832" y="1083"/>
                  </a:lnTo>
                  <a:lnTo>
                    <a:pt x="1829" y="1083"/>
                  </a:lnTo>
                  <a:lnTo>
                    <a:pt x="1828" y="1082"/>
                  </a:lnTo>
                  <a:lnTo>
                    <a:pt x="1825" y="1079"/>
                  </a:lnTo>
                  <a:lnTo>
                    <a:pt x="1822" y="1077"/>
                  </a:lnTo>
                  <a:lnTo>
                    <a:pt x="1809" y="1074"/>
                  </a:lnTo>
                  <a:lnTo>
                    <a:pt x="1798" y="1069"/>
                  </a:lnTo>
                  <a:lnTo>
                    <a:pt x="1793" y="1064"/>
                  </a:lnTo>
                  <a:lnTo>
                    <a:pt x="1806" y="1053"/>
                  </a:lnTo>
                  <a:lnTo>
                    <a:pt x="1820" y="1043"/>
                  </a:lnTo>
                  <a:lnTo>
                    <a:pt x="1826" y="1031"/>
                  </a:lnTo>
                  <a:lnTo>
                    <a:pt x="1832" y="1031"/>
                  </a:lnTo>
                  <a:lnTo>
                    <a:pt x="1835" y="1030"/>
                  </a:lnTo>
                  <a:lnTo>
                    <a:pt x="1833" y="1029"/>
                  </a:lnTo>
                  <a:lnTo>
                    <a:pt x="1829" y="1024"/>
                  </a:lnTo>
                  <a:lnTo>
                    <a:pt x="1819" y="1019"/>
                  </a:lnTo>
                  <a:lnTo>
                    <a:pt x="1810" y="1017"/>
                  </a:lnTo>
                  <a:lnTo>
                    <a:pt x="1799" y="1017"/>
                  </a:lnTo>
                  <a:lnTo>
                    <a:pt x="1790" y="1020"/>
                  </a:lnTo>
                  <a:lnTo>
                    <a:pt x="1786" y="1027"/>
                  </a:lnTo>
                  <a:lnTo>
                    <a:pt x="1776" y="1039"/>
                  </a:lnTo>
                  <a:lnTo>
                    <a:pt x="1770" y="1050"/>
                  </a:lnTo>
                  <a:lnTo>
                    <a:pt x="1760" y="1054"/>
                  </a:lnTo>
                  <a:lnTo>
                    <a:pt x="1749" y="1053"/>
                  </a:lnTo>
                  <a:lnTo>
                    <a:pt x="1739" y="1053"/>
                  </a:lnTo>
                  <a:lnTo>
                    <a:pt x="1733" y="1057"/>
                  </a:lnTo>
                  <a:lnTo>
                    <a:pt x="1727" y="1066"/>
                  </a:lnTo>
                  <a:lnTo>
                    <a:pt x="1727" y="1073"/>
                  </a:lnTo>
                  <a:lnTo>
                    <a:pt x="1730" y="1079"/>
                  </a:lnTo>
                  <a:lnTo>
                    <a:pt x="1730" y="1084"/>
                  </a:lnTo>
                  <a:lnTo>
                    <a:pt x="1727" y="1090"/>
                  </a:lnTo>
                  <a:lnTo>
                    <a:pt x="1720" y="1109"/>
                  </a:lnTo>
                  <a:lnTo>
                    <a:pt x="1717" y="1119"/>
                  </a:lnTo>
                  <a:lnTo>
                    <a:pt x="1714" y="1125"/>
                  </a:lnTo>
                  <a:lnTo>
                    <a:pt x="1707" y="1129"/>
                  </a:lnTo>
                  <a:lnTo>
                    <a:pt x="1700" y="1133"/>
                  </a:lnTo>
                  <a:lnTo>
                    <a:pt x="1694" y="1135"/>
                  </a:lnTo>
                  <a:lnTo>
                    <a:pt x="1680" y="1137"/>
                  </a:lnTo>
                  <a:lnTo>
                    <a:pt x="1669" y="1139"/>
                  </a:lnTo>
                  <a:lnTo>
                    <a:pt x="1663" y="1142"/>
                  </a:lnTo>
                  <a:lnTo>
                    <a:pt x="1657" y="1146"/>
                  </a:lnTo>
                  <a:lnTo>
                    <a:pt x="1653" y="1156"/>
                  </a:lnTo>
                  <a:lnTo>
                    <a:pt x="1650" y="1168"/>
                  </a:lnTo>
                  <a:lnTo>
                    <a:pt x="1647" y="1172"/>
                  </a:lnTo>
                  <a:lnTo>
                    <a:pt x="1643" y="1173"/>
                  </a:lnTo>
                  <a:lnTo>
                    <a:pt x="1640" y="1172"/>
                  </a:lnTo>
                  <a:lnTo>
                    <a:pt x="1633" y="1163"/>
                  </a:lnTo>
                  <a:lnTo>
                    <a:pt x="1623" y="1157"/>
                  </a:lnTo>
                  <a:lnTo>
                    <a:pt x="1611" y="1153"/>
                  </a:lnTo>
                  <a:lnTo>
                    <a:pt x="1606" y="1155"/>
                  </a:lnTo>
                  <a:lnTo>
                    <a:pt x="1601" y="1157"/>
                  </a:lnTo>
                  <a:lnTo>
                    <a:pt x="1593" y="1163"/>
                  </a:lnTo>
                  <a:lnTo>
                    <a:pt x="1588" y="1166"/>
                  </a:lnTo>
                  <a:lnTo>
                    <a:pt x="1581" y="1166"/>
                  </a:lnTo>
                  <a:lnTo>
                    <a:pt x="1567" y="1166"/>
                  </a:lnTo>
                  <a:lnTo>
                    <a:pt x="1561" y="1163"/>
                  </a:lnTo>
                  <a:lnTo>
                    <a:pt x="1554" y="1162"/>
                  </a:lnTo>
                  <a:lnTo>
                    <a:pt x="1545" y="1160"/>
                  </a:lnTo>
                  <a:lnTo>
                    <a:pt x="1540" y="1157"/>
                  </a:lnTo>
                  <a:lnTo>
                    <a:pt x="1533" y="1150"/>
                  </a:lnTo>
                  <a:lnTo>
                    <a:pt x="1528" y="1142"/>
                  </a:lnTo>
                  <a:lnTo>
                    <a:pt x="1527" y="1137"/>
                  </a:lnTo>
                  <a:lnTo>
                    <a:pt x="1528" y="1132"/>
                  </a:lnTo>
                  <a:lnTo>
                    <a:pt x="1530" y="1129"/>
                  </a:lnTo>
                  <a:lnTo>
                    <a:pt x="1530" y="1126"/>
                  </a:lnTo>
                  <a:lnTo>
                    <a:pt x="1528" y="1125"/>
                  </a:lnTo>
                  <a:lnTo>
                    <a:pt x="1523" y="1123"/>
                  </a:lnTo>
                  <a:lnTo>
                    <a:pt x="1521" y="1123"/>
                  </a:lnTo>
                  <a:lnTo>
                    <a:pt x="1518" y="1127"/>
                  </a:lnTo>
                  <a:lnTo>
                    <a:pt x="1515" y="1135"/>
                  </a:lnTo>
                  <a:lnTo>
                    <a:pt x="1508" y="1146"/>
                  </a:lnTo>
                  <a:lnTo>
                    <a:pt x="1491" y="1145"/>
                  </a:lnTo>
                  <a:lnTo>
                    <a:pt x="1485" y="1142"/>
                  </a:lnTo>
                  <a:lnTo>
                    <a:pt x="1475" y="1137"/>
                  </a:lnTo>
                  <a:lnTo>
                    <a:pt x="1471" y="1136"/>
                  </a:lnTo>
                  <a:lnTo>
                    <a:pt x="1465" y="1137"/>
                  </a:lnTo>
                  <a:lnTo>
                    <a:pt x="1457" y="1143"/>
                  </a:lnTo>
                  <a:lnTo>
                    <a:pt x="1452" y="1145"/>
                  </a:lnTo>
                  <a:lnTo>
                    <a:pt x="1432" y="1130"/>
                  </a:lnTo>
                  <a:lnTo>
                    <a:pt x="1431" y="1127"/>
                  </a:lnTo>
                  <a:lnTo>
                    <a:pt x="1431" y="1122"/>
                  </a:lnTo>
                  <a:lnTo>
                    <a:pt x="1431" y="1116"/>
                  </a:lnTo>
                  <a:lnTo>
                    <a:pt x="1431" y="1116"/>
                  </a:lnTo>
                  <a:lnTo>
                    <a:pt x="1425" y="1119"/>
                  </a:lnTo>
                  <a:lnTo>
                    <a:pt x="1418" y="1126"/>
                  </a:lnTo>
                  <a:lnTo>
                    <a:pt x="1417" y="1130"/>
                  </a:lnTo>
                  <a:lnTo>
                    <a:pt x="1415" y="1136"/>
                  </a:lnTo>
                  <a:lnTo>
                    <a:pt x="1414" y="1145"/>
                  </a:lnTo>
                  <a:lnTo>
                    <a:pt x="1412" y="1147"/>
                  </a:lnTo>
                  <a:lnTo>
                    <a:pt x="1412" y="1150"/>
                  </a:lnTo>
                  <a:lnTo>
                    <a:pt x="1415" y="1156"/>
                  </a:lnTo>
                  <a:lnTo>
                    <a:pt x="1411" y="1162"/>
                  </a:lnTo>
                  <a:lnTo>
                    <a:pt x="1402" y="1168"/>
                  </a:lnTo>
                  <a:lnTo>
                    <a:pt x="1395" y="1172"/>
                  </a:lnTo>
                  <a:lnTo>
                    <a:pt x="1387" y="1170"/>
                  </a:lnTo>
                  <a:lnTo>
                    <a:pt x="1378" y="1170"/>
                  </a:lnTo>
                  <a:lnTo>
                    <a:pt x="1369" y="1173"/>
                  </a:lnTo>
                  <a:lnTo>
                    <a:pt x="1366" y="1173"/>
                  </a:lnTo>
                  <a:lnTo>
                    <a:pt x="1366" y="1172"/>
                  </a:lnTo>
                  <a:lnTo>
                    <a:pt x="1365" y="1170"/>
                  </a:lnTo>
                  <a:lnTo>
                    <a:pt x="1359" y="1170"/>
                  </a:lnTo>
                  <a:lnTo>
                    <a:pt x="1354" y="1176"/>
                  </a:lnTo>
                  <a:lnTo>
                    <a:pt x="1348" y="1179"/>
                  </a:lnTo>
                  <a:lnTo>
                    <a:pt x="1342" y="1175"/>
                  </a:lnTo>
                  <a:lnTo>
                    <a:pt x="1342" y="1172"/>
                  </a:lnTo>
                  <a:lnTo>
                    <a:pt x="1342" y="1168"/>
                  </a:lnTo>
                  <a:lnTo>
                    <a:pt x="1339" y="1168"/>
                  </a:lnTo>
                  <a:lnTo>
                    <a:pt x="1332" y="1169"/>
                  </a:lnTo>
                  <a:lnTo>
                    <a:pt x="1326" y="1165"/>
                  </a:lnTo>
                  <a:lnTo>
                    <a:pt x="1321" y="1165"/>
                  </a:lnTo>
                  <a:lnTo>
                    <a:pt x="1312" y="1168"/>
                  </a:lnTo>
                  <a:lnTo>
                    <a:pt x="1302" y="1163"/>
                  </a:lnTo>
                  <a:lnTo>
                    <a:pt x="1298" y="1160"/>
                  </a:lnTo>
                  <a:lnTo>
                    <a:pt x="1289" y="1173"/>
                  </a:lnTo>
                  <a:lnTo>
                    <a:pt x="1286" y="1182"/>
                  </a:lnTo>
                  <a:lnTo>
                    <a:pt x="1293" y="1186"/>
                  </a:lnTo>
                  <a:lnTo>
                    <a:pt x="1293" y="1192"/>
                  </a:lnTo>
                  <a:lnTo>
                    <a:pt x="1282" y="1208"/>
                  </a:lnTo>
                  <a:lnTo>
                    <a:pt x="1276" y="1212"/>
                  </a:lnTo>
                  <a:lnTo>
                    <a:pt x="1265" y="1212"/>
                  </a:lnTo>
                  <a:lnTo>
                    <a:pt x="1253" y="1209"/>
                  </a:lnTo>
                  <a:lnTo>
                    <a:pt x="1248" y="1210"/>
                  </a:lnTo>
                  <a:lnTo>
                    <a:pt x="1242" y="1219"/>
                  </a:lnTo>
                  <a:lnTo>
                    <a:pt x="1225" y="1225"/>
                  </a:lnTo>
                  <a:lnTo>
                    <a:pt x="1220" y="1235"/>
                  </a:lnTo>
                  <a:lnTo>
                    <a:pt x="1210" y="1236"/>
                  </a:lnTo>
                  <a:lnTo>
                    <a:pt x="1202" y="1241"/>
                  </a:lnTo>
                  <a:lnTo>
                    <a:pt x="1196" y="1245"/>
                  </a:lnTo>
                  <a:lnTo>
                    <a:pt x="1192" y="1243"/>
                  </a:lnTo>
                  <a:lnTo>
                    <a:pt x="1186" y="1248"/>
                  </a:lnTo>
                  <a:lnTo>
                    <a:pt x="1192" y="1256"/>
                  </a:lnTo>
                  <a:lnTo>
                    <a:pt x="1186" y="1279"/>
                  </a:lnTo>
                  <a:lnTo>
                    <a:pt x="1182" y="1285"/>
                  </a:lnTo>
                  <a:lnTo>
                    <a:pt x="1187" y="1296"/>
                  </a:lnTo>
                  <a:lnTo>
                    <a:pt x="1195" y="1299"/>
                  </a:lnTo>
                  <a:lnTo>
                    <a:pt x="1197" y="1298"/>
                  </a:lnTo>
                  <a:lnTo>
                    <a:pt x="1205" y="1298"/>
                  </a:lnTo>
                  <a:lnTo>
                    <a:pt x="1219" y="1312"/>
                  </a:lnTo>
                  <a:lnTo>
                    <a:pt x="1216" y="1319"/>
                  </a:lnTo>
                  <a:lnTo>
                    <a:pt x="1223" y="1324"/>
                  </a:lnTo>
                  <a:lnTo>
                    <a:pt x="1225" y="1328"/>
                  </a:lnTo>
                  <a:lnTo>
                    <a:pt x="1230" y="1332"/>
                  </a:lnTo>
                  <a:lnTo>
                    <a:pt x="1235" y="1332"/>
                  </a:lnTo>
                  <a:lnTo>
                    <a:pt x="1240" y="1332"/>
                  </a:lnTo>
                  <a:lnTo>
                    <a:pt x="1248" y="1332"/>
                  </a:lnTo>
                  <a:lnTo>
                    <a:pt x="1248" y="1335"/>
                  </a:lnTo>
                  <a:lnTo>
                    <a:pt x="1248" y="1341"/>
                  </a:lnTo>
                  <a:lnTo>
                    <a:pt x="1248" y="1344"/>
                  </a:lnTo>
                  <a:lnTo>
                    <a:pt x="1239" y="1348"/>
                  </a:lnTo>
                  <a:lnTo>
                    <a:pt x="1228" y="1351"/>
                  </a:lnTo>
                  <a:lnTo>
                    <a:pt x="1222" y="1354"/>
                  </a:lnTo>
                  <a:lnTo>
                    <a:pt x="1209" y="1372"/>
                  </a:lnTo>
                  <a:lnTo>
                    <a:pt x="1213" y="1377"/>
                  </a:lnTo>
                  <a:lnTo>
                    <a:pt x="1216" y="1384"/>
                  </a:lnTo>
                  <a:lnTo>
                    <a:pt x="1215" y="1388"/>
                  </a:lnTo>
                  <a:lnTo>
                    <a:pt x="1212" y="1394"/>
                  </a:lnTo>
                  <a:lnTo>
                    <a:pt x="1212" y="1400"/>
                  </a:lnTo>
                  <a:lnTo>
                    <a:pt x="1213" y="1405"/>
                  </a:lnTo>
                  <a:lnTo>
                    <a:pt x="1213" y="1412"/>
                  </a:lnTo>
                  <a:lnTo>
                    <a:pt x="1213" y="1415"/>
                  </a:lnTo>
                  <a:lnTo>
                    <a:pt x="1205" y="1424"/>
                  </a:lnTo>
                  <a:lnTo>
                    <a:pt x="1205" y="1427"/>
                  </a:lnTo>
                  <a:lnTo>
                    <a:pt x="1207" y="1428"/>
                  </a:lnTo>
                  <a:lnTo>
                    <a:pt x="1209" y="1428"/>
                  </a:lnTo>
                  <a:lnTo>
                    <a:pt x="1213" y="1430"/>
                  </a:lnTo>
                  <a:lnTo>
                    <a:pt x="1213" y="1431"/>
                  </a:lnTo>
                  <a:lnTo>
                    <a:pt x="1213" y="1437"/>
                  </a:lnTo>
                  <a:lnTo>
                    <a:pt x="1212" y="1445"/>
                  </a:lnTo>
                  <a:lnTo>
                    <a:pt x="1218" y="1460"/>
                  </a:lnTo>
                  <a:lnTo>
                    <a:pt x="1226" y="1504"/>
                  </a:lnTo>
                  <a:lnTo>
                    <a:pt x="1230" y="1530"/>
                  </a:lnTo>
                  <a:lnTo>
                    <a:pt x="1232" y="1546"/>
                  </a:lnTo>
                  <a:lnTo>
                    <a:pt x="1230" y="1551"/>
                  </a:lnTo>
                  <a:lnTo>
                    <a:pt x="1228" y="1556"/>
                  </a:lnTo>
                  <a:lnTo>
                    <a:pt x="1226" y="1563"/>
                  </a:lnTo>
                  <a:lnTo>
                    <a:pt x="1223" y="1567"/>
                  </a:lnTo>
                  <a:lnTo>
                    <a:pt x="1220" y="1573"/>
                  </a:lnTo>
                  <a:lnTo>
                    <a:pt x="1220" y="1574"/>
                  </a:lnTo>
                  <a:lnTo>
                    <a:pt x="1220" y="1574"/>
                  </a:lnTo>
                  <a:lnTo>
                    <a:pt x="1225" y="1574"/>
                  </a:lnTo>
                  <a:lnTo>
                    <a:pt x="1232" y="1576"/>
                  </a:lnTo>
                  <a:lnTo>
                    <a:pt x="1240" y="1576"/>
                  </a:lnTo>
                  <a:lnTo>
                    <a:pt x="1262" y="1581"/>
                  </a:lnTo>
                  <a:lnTo>
                    <a:pt x="1242" y="1666"/>
                  </a:lnTo>
                  <a:lnTo>
                    <a:pt x="1235" y="1679"/>
                  </a:lnTo>
                  <a:lnTo>
                    <a:pt x="1235" y="1679"/>
                  </a:lnTo>
                  <a:lnTo>
                    <a:pt x="1215" y="1709"/>
                  </a:lnTo>
                  <a:lnTo>
                    <a:pt x="1206" y="1725"/>
                  </a:lnTo>
                  <a:lnTo>
                    <a:pt x="1197" y="1740"/>
                  </a:lnTo>
                  <a:lnTo>
                    <a:pt x="1197" y="1740"/>
                  </a:lnTo>
                  <a:lnTo>
                    <a:pt x="1193" y="1780"/>
                  </a:lnTo>
                  <a:lnTo>
                    <a:pt x="1193" y="1780"/>
                  </a:lnTo>
                  <a:lnTo>
                    <a:pt x="1182" y="1803"/>
                  </a:lnTo>
                  <a:lnTo>
                    <a:pt x="1167" y="1823"/>
                  </a:lnTo>
                  <a:lnTo>
                    <a:pt x="1152" y="1844"/>
                  </a:lnTo>
                  <a:lnTo>
                    <a:pt x="1134" y="1861"/>
                  </a:lnTo>
                  <a:lnTo>
                    <a:pt x="1134" y="1861"/>
                  </a:lnTo>
                  <a:lnTo>
                    <a:pt x="1093" y="1897"/>
                  </a:lnTo>
                  <a:lnTo>
                    <a:pt x="1093" y="1897"/>
                  </a:lnTo>
                  <a:lnTo>
                    <a:pt x="1060" y="1917"/>
                  </a:lnTo>
                  <a:lnTo>
                    <a:pt x="1047" y="1927"/>
                  </a:lnTo>
                  <a:lnTo>
                    <a:pt x="1033" y="1939"/>
                  </a:lnTo>
                  <a:lnTo>
                    <a:pt x="1033" y="1939"/>
                  </a:lnTo>
                  <a:lnTo>
                    <a:pt x="1030" y="1945"/>
                  </a:lnTo>
                  <a:lnTo>
                    <a:pt x="1026" y="1951"/>
                  </a:lnTo>
                  <a:lnTo>
                    <a:pt x="1021" y="1964"/>
                  </a:lnTo>
                  <a:lnTo>
                    <a:pt x="1021" y="1964"/>
                  </a:lnTo>
                  <a:lnTo>
                    <a:pt x="1014" y="1978"/>
                  </a:lnTo>
                  <a:lnTo>
                    <a:pt x="1007" y="1992"/>
                  </a:lnTo>
                  <a:lnTo>
                    <a:pt x="998" y="2005"/>
                  </a:lnTo>
                  <a:lnTo>
                    <a:pt x="988" y="2018"/>
                  </a:lnTo>
                  <a:lnTo>
                    <a:pt x="978" y="2030"/>
                  </a:lnTo>
                  <a:lnTo>
                    <a:pt x="967" y="2041"/>
                  </a:lnTo>
                  <a:lnTo>
                    <a:pt x="954" y="2050"/>
                  </a:lnTo>
                  <a:lnTo>
                    <a:pt x="941" y="2057"/>
                  </a:lnTo>
                  <a:lnTo>
                    <a:pt x="941" y="2057"/>
                  </a:lnTo>
                  <a:lnTo>
                    <a:pt x="915" y="2068"/>
                  </a:lnTo>
                  <a:lnTo>
                    <a:pt x="890" y="2078"/>
                  </a:lnTo>
                  <a:lnTo>
                    <a:pt x="894" y="2107"/>
                  </a:lnTo>
                  <a:lnTo>
                    <a:pt x="894" y="2108"/>
                  </a:lnTo>
                  <a:lnTo>
                    <a:pt x="884" y="2139"/>
                  </a:lnTo>
                  <a:lnTo>
                    <a:pt x="875" y="2141"/>
                  </a:lnTo>
                  <a:lnTo>
                    <a:pt x="864" y="2140"/>
                  </a:lnTo>
                  <a:lnTo>
                    <a:pt x="845" y="2146"/>
                  </a:lnTo>
                  <a:lnTo>
                    <a:pt x="837" y="2149"/>
                  </a:lnTo>
                  <a:lnTo>
                    <a:pt x="816" y="2164"/>
                  </a:lnTo>
                  <a:lnTo>
                    <a:pt x="809" y="2169"/>
                  </a:lnTo>
                  <a:lnTo>
                    <a:pt x="802" y="2169"/>
                  </a:lnTo>
                  <a:lnTo>
                    <a:pt x="801" y="2163"/>
                  </a:lnTo>
                  <a:lnTo>
                    <a:pt x="799" y="2150"/>
                  </a:lnTo>
                  <a:lnTo>
                    <a:pt x="799" y="2133"/>
                  </a:lnTo>
                  <a:lnTo>
                    <a:pt x="801" y="2127"/>
                  </a:lnTo>
                  <a:lnTo>
                    <a:pt x="795" y="2123"/>
                  </a:lnTo>
                  <a:lnTo>
                    <a:pt x="785" y="2118"/>
                  </a:lnTo>
                  <a:lnTo>
                    <a:pt x="778" y="2118"/>
                  </a:lnTo>
                  <a:lnTo>
                    <a:pt x="772" y="2117"/>
                  </a:lnTo>
                  <a:lnTo>
                    <a:pt x="762" y="2120"/>
                  </a:lnTo>
                  <a:lnTo>
                    <a:pt x="755" y="2121"/>
                  </a:lnTo>
                  <a:lnTo>
                    <a:pt x="749" y="2120"/>
                  </a:lnTo>
                  <a:lnTo>
                    <a:pt x="743" y="2116"/>
                  </a:lnTo>
                  <a:lnTo>
                    <a:pt x="742" y="2108"/>
                  </a:lnTo>
                  <a:lnTo>
                    <a:pt x="741" y="2100"/>
                  </a:lnTo>
                  <a:lnTo>
                    <a:pt x="739" y="2091"/>
                  </a:lnTo>
                  <a:lnTo>
                    <a:pt x="733" y="2084"/>
                  </a:lnTo>
                  <a:lnTo>
                    <a:pt x="733" y="2080"/>
                  </a:lnTo>
                  <a:lnTo>
                    <a:pt x="735" y="2074"/>
                  </a:lnTo>
                  <a:lnTo>
                    <a:pt x="736" y="2064"/>
                  </a:lnTo>
                  <a:lnTo>
                    <a:pt x="725" y="2057"/>
                  </a:lnTo>
                  <a:lnTo>
                    <a:pt x="709" y="2051"/>
                  </a:lnTo>
                  <a:lnTo>
                    <a:pt x="696" y="2043"/>
                  </a:lnTo>
                  <a:lnTo>
                    <a:pt x="685" y="2031"/>
                  </a:lnTo>
                  <a:lnTo>
                    <a:pt x="673" y="2021"/>
                  </a:lnTo>
                  <a:lnTo>
                    <a:pt x="669" y="2013"/>
                  </a:lnTo>
                  <a:lnTo>
                    <a:pt x="669" y="2005"/>
                  </a:lnTo>
                  <a:lnTo>
                    <a:pt x="668" y="2001"/>
                  </a:lnTo>
                  <a:lnTo>
                    <a:pt x="665" y="2000"/>
                  </a:lnTo>
                  <a:lnTo>
                    <a:pt x="660" y="2001"/>
                  </a:lnTo>
                  <a:lnTo>
                    <a:pt x="656" y="1998"/>
                  </a:lnTo>
                  <a:lnTo>
                    <a:pt x="650" y="2000"/>
                  </a:lnTo>
                  <a:lnTo>
                    <a:pt x="643" y="2000"/>
                  </a:lnTo>
                  <a:lnTo>
                    <a:pt x="632" y="1995"/>
                  </a:lnTo>
                  <a:lnTo>
                    <a:pt x="623" y="1994"/>
                  </a:lnTo>
                  <a:lnTo>
                    <a:pt x="620" y="1997"/>
                  </a:lnTo>
                  <a:lnTo>
                    <a:pt x="620" y="2001"/>
                  </a:lnTo>
                  <a:lnTo>
                    <a:pt x="615" y="2005"/>
                  </a:lnTo>
                  <a:lnTo>
                    <a:pt x="606" y="2002"/>
                  </a:lnTo>
                  <a:lnTo>
                    <a:pt x="602" y="1992"/>
                  </a:lnTo>
                  <a:lnTo>
                    <a:pt x="597" y="1988"/>
                  </a:lnTo>
                  <a:lnTo>
                    <a:pt x="590" y="1982"/>
                  </a:lnTo>
                  <a:lnTo>
                    <a:pt x="582" y="1975"/>
                  </a:lnTo>
                  <a:lnTo>
                    <a:pt x="574" y="1965"/>
                  </a:lnTo>
                  <a:lnTo>
                    <a:pt x="566" y="1958"/>
                  </a:lnTo>
                  <a:lnTo>
                    <a:pt x="546" y="1939"/>
                  </a:lnTo>
                  <a:lnTo>
                    <a:pt x="530" y="1928"/>
                  </a:lnTo>
                  <a:lnTo>
                    <a:pt x="521" y="1921"/>
                  </a:lnTo>
                  <a:lnTo>
                    <a:pt x="514" y="1915"/>
                  </a:lnTo>
                  <a:lnTo>
                    <a:pt x="501" y="1914"/>
                  </a:lnTo>
                  <a:lnTo>
                    <a:pt x="494" y="1909"/>
                  </a:lnTo>
                  <a:lnTo>
                    <a:pt x="486" y="1899"/>
                  </a:lnTo>
                  <a:lnTo>
                    <a:pt x="467" y="1878"/>
                  </a:lnTo>
                  <a:lnTo>
                    <a:pt x="466" y="1876"/>
                  </a:lnTo>
                  <a:lnTo>
                    <a:pt x="453" y="1859"/>
                  </a:lnTo>
                  <a:lnTo>
                    <a:pt x="448" y="1852"/>
                  </a:lnTo>
                  <a:lnTo>
                    <a:pt x="444" y="1833"/>
                  </a:lnTo>
                  <a:lnTo>
                    <a:pt x="436" y="1815"/>
                  </a:lnTo>
                  <a:lnTo>
                    <a:pt x="434" y="1812"/>
                  </a:lnTo>
                  <a:lnTo>
                    <a:pt x="431" y="1812"/>
                  </a:lnTo>
                  <a:lnTo>
                    <a:pt x="427" y="1815"/>
                  </a:lnTo>
                  <a:lnTo>
                    <a:pt x="424" y="1818"/>
                  </a:lnTo>
                  <a:lnTo>
                    <a:pt x="417" y="1825"/>
                  </a:lnTo>
                  <a:lnTo>
                    <a:pt x="408" y="1821"/>
                  </a:lnTo>
                  <a:lnTo>
                    <a:pt x="398" y="1823"/>
                  </a:lnTo>
                  <a:lnTo>
                    <a:pt x="394" y="1828"/>
                  </a:lnTo>
                  <a:lnTo>
                    <a:pt x="394" y="1829"/>
                  </a:lnTo>
                  <a:lnTo>
                    <a:pt x="394" y="1841"/>
                  </a:lnTo>
                  <a:lnTo>
                    <a:pt x="377" y="1849"/>
                  </a:lnTo>
                  <a:lnTo>
                    <a:pt x="355" y="1854"/>
                  </a:lnTo>
                  <a:lnTo>
                    <a:pt x="348" y="1854"/>
                  </a:lnTo>
                  <a:lnTo>
                    <a:pt x="347" y="1855"/>
                  </a:lnTo>
                  <a:lnTo>
                    <a:pt x="345" y="1859"/>
                  </a:lnTo>
                  <a:lnTo>
                    <a:pt x="345" y="1862"/>
                  </a:lnTo>
                  <a:lnTo>
                    <a:pt x="345" y="1868"/>
                  </a:lnTo>
                  <a:lnTo>
                    <a:pt x="342" y="1874"/>
                  </a:lnTo>
                  <a:lnTo>
                    <a:pt x="341" y="1878"/>
                  </a:lnTo>
                  <a:lnTo>
                    <a:pt x="337" y="1886"/>
                  </a:lnTo>
                  <a:lnTo>
                    <a:pt x="320" y="1876"/>
                  </a:lnTo>
                  <a:lnTo>
                    <a:pt x="312" y="1872"/>
                  </a:lnTo>
                  <a:lnTo>
                    <a:pt x="314" y="1871"/>
                  </a:lnTo>
                  <a:lnTo>
                    <a:pt x="314" y="1868"/>
                  </a:lnTo>
                  <a:lnTo>
                    <a:pt x="317" y="1862"/>
                  </a:lnTo>
                  <a:lnTo>
                    <a:pt x="304" y="1854"/>
                  </a:lnTo>
                  <a:lnTo>
                    <a:pt x="302" y="1854"/>
                  </a:lnTo>
                  <a:lnTo>
                    <a:pt x="298" y="1852"/>
                  </a:lnTo>
                  <a:lnTo>
                    <a:pt x="291" y="1852"/>
                  </a:lnTo>
                  <a:lnTo>
                    <a:pt x="281" y="1852"/>
                  </a:lnTo>
                  <a:lnTo>
                    <a:pt x="275" y="1859"/>
                  </a:lnTo>
                  <a:lnTo>
                    <a:pt x="246" y="1861"/>
                  </a:lnTo>
                  <a:lnTo>
                    <a:pt x="241" y="1858"/>
                  </a:lnTo>
                  <a:lnTo>
                    <a:pt x="242" y="1849"/>
                  </a:lnTo>
                  <a:lnTo>
                    <a:pt x="234" y="1836"/>
                  </a:lnTo>
                  <a:lnTo>
                    <a:pt x="221" y="1833"/>
                  </a:lnTo>
                  <a:lnTo>
                    <a:pt x="216" y="1829"/>
                  </a:lnTo>
                  <a:lnTo>
                    <a:pt x="214" y="1828"/>
                  </a:lnTo>
                  <a:lnTo>
                    <a:pt x="214" y="1822"/>
                  </a:lnTo>
                  <a:lnTo>
                    <a:pt x="211" y="1818"/>
                  </a:lnTo>
                  <a:lnTo>
                    <a:pt x="202" y="1813"/>
                  </a:lnTo>
                  <a:lnTo>
                    <a:pt x="189" y="1812"/>
                  </a:lnTo>
                  <a:lnTo>
                    <a:pt x="181" y="1811"/>
                  </a:lnTo>
                  <a:lnTo>
                    <a:pt x="176" y="1811"/>
                  </a:lnTo>
                  <a:lnTo>
                    <a:pt x="176" y="1808"/>
                  </a:lnTo>
                  <a:lnTo>
                    <a:pt x="176" y="1803"/>
                  </a:lnTo>
                  <a:lnTo>
                    <a:pt x="173" y="1802"/>
                  </a:lnTo>
                  <a:lnTo>
                    <a:pt x="172" y="1801"/>
                  </a:lnTo>
                  <a:lnTo>
                    <a:pt x="168" y="1801"/>
                  </a:lnTo>
                  <a:lnTo>
                    <a:pt x="166" y="1801"/>
                  </a:lnTo>
                  <a:lnTo>
                    <a:pt x="162" y="1801"/>
                  </a:lnTo>
                  <a:lnTo>
                    <a:pt x="159" y="1799"/>
                  </a:lnTo>
                  <a:lnTo>
                    <a:pt x="161" y="1796"/>
                  </a:lnTo>
                  <a:lnTo>
                    <a:pt x="158" y="1792"/>
                  </a:lnTo>
                  <a:lnTo>
                    <a:pt x="156" y="1783"/>
                  </a:lnTo>
                  <a:lnTo>
                    <a:pt x="151" y="1776"/>
                  </a:lnTo>
                  <a:lnTo>
                    <a:pt x="142" y="1773"/>
                  </a:lnTo>
                  <a:lnTo>
                    <a:pt x="138" y="1773"/>
                  </a:lnTo>
                  <a:lnTo>
                    <a:pt x="133" y="1769"/>
                  </a:lnTo>
                  <a:lnTo>
                    <a:pt x="126" y="1765"/>
                  </a:lnTo>
                  <a:lnTo>
                    <a:pt x="120" y="1765"/>
                  </a:lnTo>
                  <a:lnTo>
                    <a:pt x="116" y="1760"/>
                  </a:lnTo>
                  <a:lnTo>
                    <a:pt x="116" y="1758"/>
                  </a:lnTo>
                  <a:lnTo>
                    <a:pt x="113" y="1752"/>
                  </a:lnTo>
                  <a:lnTo>
                    <a:pt x="110" y="1750"/>
                  </a:lnTo>
                  <a:lnTo>
                    <a:pt x="106" y="1749"/>
                  </a:lnTo>
                  <a:lnTo>
                    <a:pt x="100" y="1749"/>
                  </a:lnTo>
                  <a:lnTo>
                    <a:pt x="95" y="1753"/>
                  </a:lnTo>
                  <a:lnTo>
                    <a:pt x="93" y="1760"/>
                  </a:lnTo>
                  <a:lnTo>
                    <a:pt x="86" y="1762"/>
                  </a:lnTo>
                  <a:lnTo>
                    <a:pt x="82" y="1763"/>
                  </a:lnTo>
                  <a:lnTo>
                    <a:pt x="79" y="1762"/>
                  </a:lnTo>
                  <a:lnTo>
                    <a:pt x="75" y="1758"/>
                  </a:lnTo>
                  <a:lnTo>
                    <a:pt x="73" y="1750"/>
                  </a:lnTo>
                  <a:lnTo>
                    <a:pt x="65" y="1745"/>
                  </a:lnTo>
                  <a:lnTo>
                    <a:pt x="60" y="1736"/>
                  </a:lnTo>
                  <a:lnTo>
                    <a:pt x="49" y="1720"/>
                  </a:lnTo>
                  <a:lnTo>
                    <a:pt x="35" y="1703"/>
                  </a:lnTo>
                  <a:lnTo>
                    <a:pt x="33" y="1697"/>
                  </a:lnTo>
                  <a:lnTo>
                    <a:pt x="32" y="1692"/>
                  </a:lnTo>
                  <a:lnTo>
                    <a:pt x="14" y="1664"/>
                  </a:lnTo>
                  <a:lnTo>
                    <a:pt x="10" y="1664"/>
                  </a:lnTo>
                  <a:lnTo>
                    <a:pt x="4" y="1663"/>
                  </a:lnTo>
                  <a:lnTo>
                    <a:pt x="0" y="1659"/>
                  </a:lnTo>
                  <a:lnTo>
                    <a:pt x="0" y="1653"/>
                  </a:lnTo>
                  <a:lnTo>
                    <a:pt x="0" y="1646"/>
                  </a:lnTo>
                  <a:lnTo>
                    <a:pt x="6" y="1634"/>
                  </a:lnTo>
                  <a:lnTo>
                    <a:pt x="13" y="1632"/>
                  </a:lnTo>
                  <a:lnTo>
                    <a:pt x="22" y="1632"/>
                  </a:lnTo>
                  <a:lnTo>
                    <a:pt x="29" y="1629"/>
                  </a:lnTo>
                  <a:lnTo>
                    <a:pt x="46" y="1616"/>
                  </a:lnTo>
                  <a:lnTo>
                    <a:pt x="79" y="1620"/>
                  </a:lnTo>
                  <a:lnTo>
                    <a:pt x="70" y="1619"/>
                  </a:lnTo>
                  <a:lnTo>
                    <a:pt x="77" y="1620"/>
                  </a:lnTo>
                  <a:lnTo>
                    <a:pt x="80" y="1620"/>
                  </a:lnTo>
                  <a:lnTo>
                    <a:pt x="85" y="1607"/>
                  </a:lnTo>
                  <a:lnTo>
                    <a:pt x="100" y="1571"/>
                  </a:lnTo>
                  <a:lnTo>
                    <a:pt x="102" y="1564"/>
                  </a:lnTo>
                  <a:lnTo>
                    <a:pt x="102" y="1560"/>
                  </a:lnTo>
                  <a:lnTo>
                    <a:pt x="102" y="1554"/>
                  </a:lnTo>
                  <a:lnTo>
                    <a:pt x="100" y="1548"/>
                  </a:lnTo>
                  <a:lnTo>
                    <a:pt x="96" y="1544"/>
                  </a:lnTo>
                  <a:lnTo>
                    <a:pt x="95" y="1543"/>
                  </a:lnTo>
                  <a:lnTo>
                    <a:pt x="93" y="1540"/>
                  </a:lnTo>
                  <a:lnTo>
                    <a:pt x="95" y="1538"/>
                  </a:lnTo>
                  <a:lnTo>
                    <a:pt x="99" y="1536"/>
                  </a:lnTo>
                  <a:lnTo>
                    <a:pt x="102" y="1531"/>
                  </a:lnTo>
                  <a:lnTo>
                    <a:pt x="103" y="1523"/>
                  </a:lnTo>
                  <a:lnTo>
                    <a:pt x="103" y="1506"/>
                  </a:lnTo>
                  <a:lnTo>
                    <a:pt x="103" y="1501"/>
                  </a:lnTo>
                  <a:lnTo>
                    <a:pt x="106" y="1498"/>
                  </a:lnTo>
                  <a:lnTo>
                    <a:pt x="113" y="1495"/>
                  </a:lnTo>
                  <a:lnTo>
                    <a:pt x="119" y="1495"/>
                  </a:lnTo>
                  <a:lnTo>
                    <a:pt x="123" y="1495"/>
                  </a:lnTo>
                  <a:lnTo>
                    <a:pt x="126" y="1495"/>
                  </a:lnTo>
                  <a:lnTo>
                    <a:pt x="126" y="1493"/>
                  </a:lnTo>
                  <a:lnTo>
                    <a:pt x="123" y="1484"/>
                  </a:lnTo>
                  <a:lnTo>
                    <a:pt x="119" y="1474"/>
                  </a:lnTo>
                  <a:lnTo>
                    <a:pt x="118" y="1454"/>
                  </a:lnTo>
                  <a:lnTo>
                    <a:pt x="119" y="1453"/>
                  </a:lnTo>
                  <a:lnTo>
                    <a:pt x="119" y="1450"/>
                  </a:lnTo>
                  <a:lnTo>
                    <a:pt x="120" y="1448"/>
                  </a:lnTo>
                  <a:lnTo>
                    <a:pt x="123" y="1447"/>
                  </a:lnTo>
                  <a:lnTo>
                    <a:pt x="123" y="1442"/>
                  </a:lnTo>
                  <a:lnTo>
                    <a:pt x="119" y="1441"/>
                  </a:lnTo>
                  <a:lnTo>
                    <a:pt x="113" y="1438"/>
                  </a:lnTo>
                  <a:lnTo>
                    <a:pt x="118" y="1431"/>
                  </a:lnTo>
                  <a:lnTo>
                    <a:pt x="113" y="1428"/>
                  </a:lnTo>
                  <a:lnTo>
                    <a:pt x="122" y="1411"/>
                  </a:lnTo>
                  <a:lnTo>
                    <a:pt x="133" y="1408"/>
                  </a:lnTo>
                  <a:lnTo>
                    <a:pt x="135" y="1405"/>
                  </a:lnTo>
                  <a:lnTo>
                    <a:pt x="136" y="1379"/>
                  </a:lnTo>
                  <a:lnTo>
                    <a:pt x="145" y="1379"/>
                  </a:lnTo>
                  <a:lnTo>
                    <a:pt x="153" y="1362"/>
                  </a:lnTo>
                  <a:lnTo>
                    <a:pt x="166" y="1368"/>
                  </a:lnTo>
                  <a:lnTo>
                    <a:pt x="168" y="1371"/>
                  </a:lnTo>
                  <a:lnTo>
                    <a:pt x="169" y="1374"/>
                  </a:lnTo>
                  <a:lnTo>
                    <a:pt x="172" y="1374"/>
                  </a:lnTo>
                  <a:lnTo>
                    <a:pt x="173" y="1372"/>
                  </a:lnTo>
                  <a:lnTo>
                    <a:pt x="176" y="1369"/>
                  </a:lnTo>
                  <a:lnTo>
                    <a:pt x="179" y="1358"/>
                  </a:lnTo>
                  <a:lnTo>
                    <a:pt x="185" y="1349"/>
                  </a:lnTo>
                  <a:lnTo>
                    <a:pt x="192" y="1352"/>
                  </a:lnTo>
                  <a:lnTo>
                    <a:pt x="193" y="1352"/>
                  </a:lnTo>
                  <a:lnTo>
                    <a:pt x="193" y="1349"/>
                  </a:lnTo>
                  <a:lnTo>
                    <a:pt x="195" y="1344"/>
                  </a:lnTo>
                  <a:lnTo>
                    <a:pt x="195" y="1334"/>
                  </a:lnTo>
                  <a:lnTo>
                    <a:pt x="195" y="1331"/>
                  </a:lnTo>
                  <a:lnTo>
                    <a:pt x="196" y="1326"/>
                  </a:lnTo>
                  <a:lnTo>
                    <a:pt x="199" y="1322"/>
                  </a:lnTo>
                  <a:lnTo>
                    <a:pt x="204" y="1321"/>
                  </a:lnTo>
                  <a:lnTo>
                    <a:pt x="209" y="1321"/>
                  </a:lnTo>
                  <a:lnTo>
                    <a:pt x="222" y="1322"/>
                  </a:lnTo>
                  <a:lnTo>
                    <a:pt x="222" y="1298"/>
                  </a:lnTo>
                  <a:lnTo>
                    <a:pt x="222" y="1296"/>
                  </a:lnTo>
                  <a:lnTo>
                    <a:pt x="215" y="1296"/>
                  </a:lnTo>
                  <a:lnTo>
                    <a:pt x="218" y="1286"/>
                  </a:lnTo>
                  <a:lnTo>
                    <a:pt x="218" y="1269"/>
                  </a:lnTo>
                  <a:lnTo>
                    <a:pt x="219" y="1252"/>
                  </a:lnTo>
                  <a:lnTo>
                    <a:pt x="215" y="1252"/>
                  </a:lnTo>
                  <a:lnTo>
                    <a:pt x="209" y="1253"/>
                  </a:lnTo>
                  <a:lnTo>
                    <a:pt x="201" y="1252"/>
                  </a:lnTo>
                  <a:lnTo>
                    <a:pt x="193" y="1249"/>
                  </a:lnTo>
                  <a:lnTo>
                    <a:pt x="189" y="1245"/>
                  </a:lnTo>
                  <a:lnTo>
                    <a:pt x="189" y="1239"/>
                  </a:lnTo>
                  <a:lnTo>
                    <a:pt x="193" y="1233"/>
                  </a:lnTo>
                  <a:lnTo>
                    <a:pt x="196" y="1225"/>
                  </a:lnTo>
                  <a:lnTo>
                    <a:pt x="196" y="1223"/>
                  </a:lnTo>
                  <a:lnTo>
                    <a:pt x="196" y="1218"/>
                  </a:lnTo>
                  <a:lnTo>
                    <a:pt x="175" y="1216"/>
                  </a:lnTo>
                  <a:lnTo>
                    <a:pt x="178" y="1209"/>
                  </a:lnTo>
                  <a:lnTo>
                    <a:pt x="191" y="1185"/>
                  </a:lnTo>
                  <a:lnTo>
                    <a:pt x="201" y="1162"/>
                  </a:lnTo>
                  <a:lnTo>
                    <a:pt x="229" y="1106"/>
                  </a:lnTo>
                  <a:lnTo>
                    <a:pt x="235" y="1090"/>
                  </a:lnTo>
                  <a:lnTo>
                    <a:pt x="238" y="1090"/>
                  </a:lnTo>
                  <a:lnTo>
                    <a:pt x="245" y="1089"/>
                  </a:lnTo>
                  <a:lnTo>
                    <a:pt x="235" y="1090"/>
                  </a:lnTo>
                  <a:lnTo>
                    <a:pt x="246" y="1089"/>
                  </a:lnTo>
                  <a:lnTo>
                    <a:pt x="275" y="1090"/>
                  </a:lnTo>
                  <a:lnTo>
                    <a:pt x="307" y="1097"/>
                  </a:lnTo>
                  <a:lnTo>
                    <a:pt x="310" y="1102"/>
                  </a:lnTo>
                  <a:lnTo>
                    <a:pt x="318" y="1110"/>
                  </a:lnTo>
                  <a:lnTo>
                    <a:pt x="321" y="1110"/>
                  </a:lnTo>
                  <a:lnTo>
                    <a:pt x="327" y="1107"/>
                  </a:lnTo>
                  <a:lnTo>
                    <a:pt x="335" y="1100"/>
                  </a:lnTo>
                  <a:lnTo>
                    <a:pt x="348" y="1102"/>
                  </a:lnTo>
                  <a:lnTo>
                    <a:pt x="351" y="1100"/>
                  </a:lnTo>
                  <a:lnTo>
                    <a:pt x="357" y="1099"/>
                  </a:lnTo>
                  <a:lnTo>
                    <a:pt x="367" y="1100"/>
                  </a:lnTo>
                  <a:lnTo>
                    <a:pt x="368" y="1089"/>
                  </a:lnTo>
                  <a:lnTo>
                    <a:pt x="370" y="1080"/>
                  </a:lnTo>
                  <a:lnTo>
                    <a:pt x="377" y="1073"/>
                  </a:lnTo>
                  <a:lnTo>
                    <a:pt x="381" y="1067"/>
                  </a:lnTo>
                  <a:lnTo>
                    <a:pt x="383" y="1064"/>
                  </a:lnTo>
                  <a:lnTo>
                    <a:pt x="384" y="1057"/>
                  </a:lnTo>
                  <a:lnTo>
                    <a:pt x="387" y="1050"/>
                  </a:lnTo>
                  <a:lnTo>
                    <a:pt x="388" y="1049"/>
                  </a:lnTo>
                  <a:lnTo>
                    <a:pt x="390" y="1047"/>
                  </a:lnTo>
                  <a:lnTo>
                    <a:pt x="393" y="1049"/>
                  </a:lnTo>
                  <a:lnTo>
                    <a:pt x="394" y="1050"/>
                  </a:lnTo>
                  <a:lnTo>
                    <a:pt x="397" y="1056"/>
                  </a:lnTo>
                  <a:lnTo>
                    <a:pt x="398" y="1056"/>
                  </a:lnTo>
                  <a:lnTo>
                    <a:pt x="403" y="1053"/>
                  </a:lnTo>
                  <a:lnTo>
                    <a:pt x="404" y="1052"/>
                  </a:lnTo>
                  <a:lnTo>
                    <a:pt x="411" y="1052"/>
                  </a:lnTo>
                  <a:lnTo>
                    <a:pt x="417" y="1052"/>
                  </a:lnTo>
                  <a:lnTo>
                    <a:pt x="421" y="1053"/>
                  </a:lnTo>
                  <a:lnTo>
                    <a:pt x="421" y="1064"/>
                  </a:lnTo>
                  <a:lnTo>
                    <a:pt x="421" y="1070"/>
                  </a:lnTo>
                  <a:lnTo>
                    <a:pt x="424" y="1076"/>
                  </a:lnTo>
                  <a:lnTo>
                    <a:pt x="426" y="1082"/>
                  </a:lnTo>
                  <a:lnTo>
                    <a:pt x="426" y="1084"/>
                  </a:lnTo>
                  <a:lnTo>
                    <a:pt x="427" y="1086"/>
                  </a:lnTo>
                  <a:lnTo>
                    <a:pt x="433" y="1089"/>
                  </a:lnTo>
                  <a:lnTo>
                    <a:pt x="441" y="1093"/>
                  </a:lnTo>
                  <a:lnTo>
                    <a:pt x="441" y="1099"/>
                  </a:lnTo>
                  <a:lnTo>
                    <a:pt x="446" y="1103"/>
                  </a:lnTo>
                  <a:lnTo>
                    <a:pt x="444" y="1110"/>
                  </a:lnTo>
                  <a:lnTo>
                    <a:pt x="444" y="1115"/>
                  </a:lnTo>
                  <a:lnTo>
                    <a:pt x="447" y="1120"/>
                  </a:lnTo>
                  <a:lnTo>
                    <a:pt x="450" y="1126"/>
                  </a:lnTo>
                  <a:lnTo>
                    <a:pt x="450" y="1133"/>
                  </a:lnTo>
                  <a:lnTo>
                    <a:pt x="450" y="1137"/>
                  </a:lnTo>
                  <a:lnTo>
                    <a:pt x="466" y="1145"/>
                  </a:lnTo>
                  <a:lnTo>
                    <a:pt x="479" y="1155"/>
                  </a:lnTo>
                  <a:lnTo>
                    <a:pt x="484" y="1153"/>
                  </a:lnTo>
                  <a:lnTo>
                    <a:pt x="484" y="1153"/>
                  </a:lnTo>
                  <a:lnTo>
                    <a:pt x="493" y="1150"/>
                  </a:lnTo>
                  <a:lnTo>
                    <a:pt x="501" y="1143"/>
                  </a:lnTo>
                  <a:lnTo>
                    <a:pt x="499" y="1135"/>
                  </a:lnTo>
                  <a:lnTo>
                    <a:pt x="490" y="1122"/>
                  </a:lnTo>
                  <a:lnTo>
                    <a:pt x="491" y="1093"/>
                  </a:lnTo>
                  <a:lnTo>
                    <a:pt x="484" y="1084"/>
                  </a:lnTo>
                  <a:lnTo>
                    <a:pt x="484" y="1082"/>
                  </a:lnTo>
                  <a:lnTo>
                    <a:pt x="486" y="1082"/>
                  </a:lnTo>
                  <a:lnTo>
                    <a:pt x="489" y="1082"/>
                  </a:lnTo>
                  <a:lnTo>
                    <a:pt x="493" y="1083"/>
                  </a:lnTo>
                  <a:lnTo>
                    <a:pt x="496" y="1084"/>
                  </a:lnTo>
                  <a:lnTo>
                    <a:pt x="499" y="1083"/>
                  </a:lnTo>
                  <a:lnTo>
                    <a:pt x="500" y="1082"/>
                  </a:lnTo>
                  <a:lnTo>
                    <a:pt x="504" y="1074"/>
                  </a:lnTo>
                  <a:lnTo>
                    <a:pt x="507" y="1067"/>
                  </a:lnTo>
                  <a:lnTo>
                    <a:pt x="511" y="1059"/>
                  </a:lnTo>
                  <a:lnTo>
                    <a:pt x="513" y="1053"/>
                  </a:lnTo>
                  <a:lnTo>
                    <a:pt x="511" y="1044"/>
                  </a:lnTo>
                  <a:lnTo>
                    <a:pt x="513" y="1039"/>
                  </a:lnTo>
                  <a:lnTo>
                    <a:pt x="523" y="1034"/>
                  </a:lnTo>
                  <a:lnTo>
                    <a:pt x="529" y="1023"/>
                  </a:lnTo>
                  <a:lnTo>
                    <a:pt x="549" y="1023"/>
                  </a:lnTo>
                  <a:lnTo>
                    <a:pt x="556" y="1010"/>
                  </a:lnTo>
                  <a:lnTo>
                    <a:pt x="563" y="988"/>
                  </a:lnTo>
                  <a:lnTo>
                    <a:pt x="586" y="981"/>
                  </a:lnTo>
                  <a:lnTo>
                    <a:pt x="603" y="973"/>
                  </a:lnTo>
                  <a:lnTo>
                    <a:pt x="616" y="951"/>
                  </a:lnTo>
                  <a:lnTo>
                    <a:pt x="625" y="943"/>
                  </a:lnTo>
                  <a:lnTo>
                    <a:pt x="632" y="935"/>
                  </a:lnTo>
                  <a:lnTo>
                    <a:pt x="630" y="925"/>
                  </a:lnTo>
                  <a:lnTo>
                    <a:pt x="626" y="915"/>
                  </a:lnTo>
                  <a:lnTo>
                    <a:pt x="617" y="908"/>
                  </a:lnTo>
                  <a:lnTo>
                    <a:pt x="615" y="905"/>
                  </a:lnTo>
                  <a:lnTo>
                    <a:pt x="615" y="891"/>
                  </a:lnTo>
                  <a:lnTo>
                    <a:pt x="613" y="884"/>
                  </a:lnTo>
                  <a:lnTo>
                    <a:pt x="616" y="871"/>
                  </a:lnTo>
                  <a:lnTo>
                    <a:pt x="622" y="870"/>
                  </a:lnTo>
                  <a:lnTo>
                    <a:pt x="629" y="864"/>
                  </a:lnTo>
                  <a:lnTo>
                    <a:pt x="642" y="864"/>
                  </a:lnTo>
                  <a:lnTo>
                    <a:pt x="649" y="854"/>
                  </a:lnTo>
                  <a:lnTo>
                    <a:pt x="658" y="845"/>
                  </a:lnTo>
                  <a:lnTo>
                    <a:pt x="663" y="845"/>
                  </a:lnTo>
                  <a:lnTo>
                    <a:pt x="670" y="848"/>
                  </a:lnTo>
                  <a:lnTo>
                    <a:pt x="673" y="850"/>
                  </a:lnTo>
                  <a:lnTo>
                    <a:pt x="676" y="848"/>
                  </a:lnTo>
                  <a:lnTo>
                    <a:pt x="686" y="848"/>
                  </a:lnTo>
                  <a:lnTo>
                    <a:pt x="689" y="851"/>
                  </a:lnTo>
                  <a:lnTo>
                    <a:pt x="689" y="851"/>
                  </a:lnTo>
                  <a:lnTo>
                    <a:pt x="689" y="852"/>
                  </a:lnTo>
                  <a:lnTo>
                    <a:pt x="688" y="854"/>
                  </a:lnTo>
                  <a:lnTo>
                    <a:pt x="686" y="854"/>
                  </a:lnTo>
                  <a:lnTo>
                    <a:pt x="686" y="854"/>
                  </a:lnTo>
                  <a:lnTo>
                    <a:pt x="688" y="864"/>
                  </a:lnTo>
                  <a:lnTo>
                    <a:pt x="700" y="883"/>
                  </a:lnTo>
                  <a:lnTo>
                    <a:pt x="712" y="893"/>
                  </a:lnTo>
                  <a:lnTo>
                    <a:pt x="715" y="898"/>
                  </a:lnTo>
                  <a:lnTo>
                    <a:pt x="718" y="900"/>
                  </a:lnTo>
                  <a:lnTo>
                    <a:pt x="732" y="903"/>
                  </a:lnTo>
                  <a:lnTo>
                    <a:pt x="739" y="904"/>
                  </a:lnTo>
                  <a:lnTo>
                    <a:pt x="745" y="913"/>
                  </a:lnTo>
                  <a:lnTo>
                    <a:pt x="746" y="920"/>
                  </a:lnTo>
                  <a:lnTo>
                    <a:pt x="745" y="928"/>
                  </a:lnTo>
                  <a:lnTo>
                    <a:pt x="742" y="933"/>
                  </a:lnTo>
                  <a:lnTo>
                    <a:pt x="742" y="934"/>
                  </a:lnTo>
                  <a:lnTo>
                    <a:pt x="745" y="935"/>
                  </a:lnTo>
                  <a:lnTo>
                    <a:pt x="748" y="935"/>
                  </a:lnTo>
                  <a:lnTo>
                    <a:pt x="751" y="933"/>
                  </a:lnTo>
                  <a:lnTo>
                    <a:pt x="752" y="930"/>
                  </a:lnTo>
                  <a:lnTo>
                    <a:pt x="758" y="928"/>
                  </a:lnTo>
                  <a:lnTo>
                    <a:pt x="765" y="928"/>
                  </a:lnTo>
                  <a:lnTo>
                    <a:pt x="768" y="928"/>
                  </a:lnTo>
                  <a:lnTo>
                    <a:pt x="769" y="927"/>
                  </a:lnTo>
                  <a:lnTo>
                    <a:pt x="784" y="933"/>
                  </a:lnTo>
                  <a:lnTo>
                    <a:pt x="786" y="946"/>
                  </a:lnTo>
                  <a:lnTo>
                    <a:pt x="794" y="950"/>
                  </a:lnTo>
                  <a:lnTo>
                    <a:pt x="812" y="943"/>
                  </a:lnTo>
                  <a:lnTo>
                    <a:pt x="824" y="935"/>
                  </a:lnTo>
                  <a:lnTo>
                    <a:pt x="824" y="928"/>
                  </a:lnTo>
                  <a:lnTo>
                    <a:pt x="816" y="924"/>
                  </a:lnTo>
                  <a:lnTo>
                    <a:pt x="812" y="918"/>
                  </a:lnTo>
                  <a:lnTo>
                    <a:pt x="816" y="905"/>
                  </a:lnTo>
                  <a:lnTo>
                    <a:pt x="837" y="887"/>
                  </a:lnTo>
                  <a:lnTo>
                    <a:pt x="845" y="877"/>
                  </a:lnTo>
                  <a:lnTo>
                    <a:pt x="857" y="874"/>
                  </a:lnTo>
                  <a:lnTo>
                    <a:pt x="857" y="870"/>
                  </a:lnTo>
                  <a:lnTo>
                    <a:pt x="855" y="864"/>
                  </a:lnTo>
                  <a:lnTo>
                    <a:pt x="852" y="860"/>
                  </a:lnTo>
                  <a:lnTo>
                    <a:pt x="852" y="852"/>
                  </a:lnTo>
                  <a:lnTo>
                    <a:pt x="849" y="845"/>
                  </a:lnTo>
                  <a:lnTo>
                    <a:pt x="849" y="845"/>
                  </a:lnTo>
                  <a:lnTo>
                    <a:pt x="842" y="844"/>
                  </a:lnTo>
                  <a:lnTo>
                    <a:pt x="839" y="840"/>
                  </a:lnTo>
                  <a:lnTo>
                    <a:pt x="839" y="832"/>
                  </a:lnTo>
                  <a:lnTo>
                    <a:pt x="842" y="828"/>
                  </a:lnTo>
                  <a:lnTo>
                    <a:pt x="842" y="821"/>
                  </a:lnTo>
                  <a:lnTo>
                    <a:pt x="839" y="812"/>
                  </a:lnTo>
                  <a:lnTo>
                    <a:pt x="837" y="812"/>
                  </a:lnTo>
                  <a:lnTo>
                    <a:pt x="829" y="811"/>
                  </a:lnTo>
                  <a:lnTo>
                    <a:pt x="819" y="811"/>
                  </a:lnTo>
                  <a:lnTo>
                    <a:pt x="811" y="802"/>
                  </a:lnTo>
                  <a:lnTo>
                    <a:pt x="808" y="792"/>
                  </a:lnTo>
                  <a:lnTo>
                    <a:pt x="805" y="787"/>
                  </a:lnTo>
                  <a:lnTo>
                    <a:pt x="801" y="779"/>
                  </a:lnTo>
                  <a:lnTo>
                    <a:pt x="802" y="772"/>
                  </a:lnTo>
                  <a:lnTo>
                    <a:pt x="808" y="765"/>
                  </a:lnTo>
                  <a:lnTo>
                    <a:pt x="811" y="764"/>
                  </a:lnTo>
                  <a:lnTo>
                    <a:pt x="819" y="758"/>
                  </a:lnTo>
                  <a:lnTo>
                    <a:pt x="821" y="755"/>
                  </a:lnTo>
                  <a:lnTo>
                    <a:pt x="825" y="751"/>
                  </a:lnTo>
                  <a:lnTo>
                    <a:pt x="827" y="748"/>
                  </a:lnTo>
                  <a:lnTo>
                    <a:pt x="828" y="748"/>
                  </a:lnTo>
                  <a:lnTo>
                    <a:pt x="847" y="748"/>
                  </a:lnTo>
                  <a:lnTo>
                    <a:pt x="852" y="749"/>
                  </a:lnTo>
                  <a:lnTo>
                    <a:pt x="855" y="748"/>
                  </a:lnTo>
                  <a:lnTo>
                    <a:pt x="857" y="746"/>
                  </a:lnTo>
                  <a:lnTo>
                    <a:pt x="857" y="744"/>
                  </a:lnTo>
                  <a:lnTo>
                    <a:pt x="854" y="739"/>
                  </a:lnTo>
                  <a:lnTo>
                    <a:pt x="851" y="734"/>
                  </a:lnTo>
                  <a:lnTo>
                    <a:pt x="849" y="728"/>
                  </a:lnTo>
                  <a:lnTo>
                    <a:pt x="854" y="716"/>
                  </a:lnTo>
                  <a:lnTo>
                    <a:pt x="852" y="709"/>
                  </a:lnTo>
                  <a:lnTo>
                    <a:pt x="851" y="703"/>
                  </a:lnTo>
                  <a:lnTo>
                    <a:pt x="852" y="696"/>
                  </a:lnTo>
                  <a:lnTo>
                    <a:pt x="852" y="691"/>
                  </a:lnTo>
                  <a:lnTo>
                    <a:pt x="855" y="682"/>
                  </a:lnTo>
                  <a:lnTo>
                    <a:pt x="841" y="678"/>
                  </a:lnTo>
                  <a:lnTo>
                    <a:pt x="811" y="678"/>
                  </a:lnTo>
                  <a:lnTo>
                    <a:pt x="801" y="668"/>
                  </a:lnTo>
                  <a:lnTo>
                    <a:pt x="788" y="662"/>
                  </a:lnTo>
                  <a:lnTo>
                    <a:pt x="786" y="648"/>
                  </a:lnTo>
                  <a:lnTo>
                    <a:pt x="778" y="636"/>
                  </a:lnTo>
                  <a:lnTo>
                    <a:pt x="775" y="632"/>
                  </a:lnTo>
                  <a:lnTo>
                    <a:pt x="776" y="613"/>
                  </a:lnTo>
                  <a:lnTo>
                    <a:pt x="775" y="609"/>
                  </a:lnTo>
                  <a:lnTo>
                    <a:pt x="768" y="60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98" name="Freeform 246"/>
            <p:cNvSpPr>
              <a:spLocks/>
            </p:cNvSpPr>
            <p:nvPr/>
          </p:nvSpPr>
          <p:spPr bwMode="auto">
            <a:xfrm>
              <a:off x="4850412" y="5023869"/>
              <a:ext cx="274757" cy="436558"/>
            </a:xfrm>
            <a:custGeom>
              <a:avLst/>
              <a:gdLst>
                <a:gd name="T0" fmla="*/ 309 w 448"/>
                <a:gd name="T1" fmla="*/ 510 h 659"/>
                <a:gd name="T2" fmla="*/ 379 w 448"/>
                <a:gd name="T3" fmla="*/ 455 h 659"/>
                <a:gd name="T4" fmla="*/ 398 w 448"/>
                <a:gd name="T5" fmla="*/ 435 h 659"/>
                <a:gd name="T6" fmla="*/ 394 w 448"/>
                <a:gd name="T7" fmla="*/ 408 h 659"/>
                <a:gd name="T8" fmla="*/ 412 w 448"/>
                <a:gd name="T9" fmla="*/ 407 h 659"/>
                <a:gd name="T10" fmla="*/ 437 w 448"/>
                <a:gd name="T11" fmla="*/ 391 h 659"/>
                <a:gd name="T12" fmla="*/ 448 w 448"/>
                <a:gd name="T13" fmla="*/ 365 h 659"/>
                <a:gd name="T14" fmla="*/ 437 w 448"/>
                <a:gd name="T15" fmla="*/ 345 h 659"/>
                <a:gd name="T16" fmla="*/ 422 w 448"/>
                <a:gd name="T17" fmla="*/ 309 h 659"/>
                <a:gd name="T18" fmla="*/ 407 w 448"/>
                <a:gd name="T19" fmla="*/ 291 h 659"/>
                <a:gd name="T20" fmla="*/ 421 w 448"/>
                <a:gd name="T21" fmla="*/ 266 h 659"/>
                <a:gd name="T22" fmla="*/ 418 w 448"/>
                <a:gd name="T23" fmla="*/ 240 h 659"/>
                <a:gd name="T24" fmla="*/ 412 w 448"/>
                <a:gd name="T25" fmla="*/ 232 h 659"/>
                <a:gd name="T26" fmla="*/ 410 w 448"/>
                <a:gd name="T27" fmla="*/ 213 h 659"/>
                <a:gd name="T28" fmla="*/ 401 w 448"/>
                <a:gd name="T29" fmla="*/ 206 h 659"/>
                <a:gd name="T30" fmla="*/ 398 w 448"/>
                <a:gd name="T31" fmla="*/ 197 h 659"/>
                <a:gd name="T32" fmla="*/ 404 w 448"/>
                <a:gd name="T33" fmla="*/ 185 h 659"/>
                <a:gd name="T34" fmla="*/ 388 w 448"/>
                <a:gd name="T35" fmla="*/ 162 h 659"/>
                <a:gd name="T36" fmla="*/ 371 w 448"/>
                <a:gd name="T37" fmla="*/ 149 h 659"/>
                <a:gd name="T38" fmla="*/ 375 w 448"/>
                <a:gd name="T39" fmla="*/ 142 h 659"/>
                <a:gd name="T40" fmla="*/ 379 w 448"/>
                <a:gd name="T41" fmla="*/ 124 h 659"/>
                <a:gd name="T42" fmla="*/ 368 w 448"/>
                <a:gd name="T43" fmla="*/ 119 h 659"/>
                <a:gd name="T44" fmla="*/ 369 w 448"/>
                <a:gd name="T45" fmla="*/ 104 h 659"/>
                <a:gd name="T46" fmla="*/ 349 w 448"/>
                <a:gd name="T47" fmla="*/ 80 h 659"/>
                <a:gd name="T48" fmla="*/ 286 w 448"/>
                <a:gd name="T49" fmla="*/ 71 h 659"/>
                <a:gd name="T50" fmla="*/ 259 w 448"/>
                <a:gd name="T51" fmla="*/ 67 h 659"/>
                <a:gd name="T52" fmla="*/ 243 w 448"/>
                <a:gd name="T53" fmla="*/ 76 h 659"/>
                <a:gd name="T54" fmla="*/ 232 w 448"/>
                <a:gd name="T55" fmla="*/ 60 h 659"/>
                <a:gd name="T56" fmla="*/ 216 w 448"/>
                <a:gd name="T57" fmla="*/ 53 h 659"/>
                <a:gd name="T58" fmla="*/ 210 w 448"/>
                <a:gd name="T59" fmla="*/ 20 h 659"/>
                <a:gd name="T60" fmla="*/ 173 w 448"/>
                <a:gd name="T61" fmla="*/ 11 h 659"/>
                <a:gd name="T62" fmla="*/ 175 w 448"/>
                <a:gd name="T63" fmla="*/ 47 h 659"/>
                <a:gd name="T64" fmla="*/ 173 w 448"/>
                <a:gd name="T65" fmla="*/ 84 h 659"/>
                <a:gd name="T66" fmla="*/ 156 w 448"/>
                <a:gd name="T67" fmla="*/ 133 h 659"/>
                <a:gd name="T68" fmla="*/ 132 w 448"/>
                <a:gd name="T69" fmla="*/ 162 h 659"/>
                <a:gd name="T70" fmla="*/ 173 w 448"/>
                <a:gd name="T71" fmla="*/ 159 h 659"/>
                <a:gd name="T72" fmla="*/ 185 w 448"/>
                <a:gd name="T73" fmla="*/ 182 h 659"/>
                <a:gd name="T74" fmla="*/ 200 w 448"/>
                <a:gd name="T75" fmla="*/ 210 h 659"/>
                <a:gd name="T76" fmla="*/ 188 w 448"/>
                <a:gd name="T77" fmla="*/ 266 h 659"/>
                <a:gd name="T78" fmla="*/ 150 w 448"/>
                <a:gd name="T79" fmla="*/ 309 h 659"/>
                <a:gd name="T80" fmla="*/ 140 w 448"/>
                <a:gd name="T81" fmla="*/ 332 h 659"/>
                <a:gd name="T82" fmla="*/ 157 w 448"/>
                <a:gd name="T83" fmla="*/ 381 h 659"/>
                <a:gd name="T84" fmla="*/ 166 w 448"/>
                <a:gd name="T85" fmla="*/ 417 h 659"/>
                <a:gd name="T86" fmla="*/ 150 w 448"/>
                <a:gd name="T87" fmla="*/ 445 h 659"/>
                <a:gd name="T88" fmla="*/ 115 w 448"/>
                <a:gd name="T89" fmla="*/ 478 h 659"/>
                <a:gd name="T90" fmla="*/ 77 w 448"/>
                <a:gd name="T91" fmla="*/ 515 h 659"/>
                <a:gd name="T92" fmla="*/ 50 w 448"/>
                <a:gd name="T93" fmla="*/ 531 h 659"/>
                <a:gd name="T94" fmla="*/ 31 w 448"/>
                <a:gd name="T95" fmla="*/ 535 h 659"/>
                <a:gd name="T96" fmla="*/ 7 w 448"/>
                <a:gd name="T97" fmla="*/ 570 h 659"/>
                <a:gd name="T98" fmla="*/ 21 w 448"/>
                <a:gd name="T99" fmla="*/ 588 h 659"/>
                <a:gd name="T100" fmla="*/ 1 w 448"/>
                <a:gd name="T101" fmla="*/ 611 h 659"/>
                <a:gd name="T102" fmla="*/ 21 w 448"/>
                <a:gd name="T103" fmla="*/ 631 h 659"/>
                <a:gd name="T104" fmla="*/ 62 w 448"/>
                <a:gd name="T105" fmla="*/ 656 h 659"/>
                <a:gd name="T106" fmla="*/ 86 w 448"/>
                <a:gd name="T107" fmla="*/ 623 h 659"/>
                <a:gd name="T108" fmla="*/ 122 w 448"/>
                <a:gd name="T109" fmla="*/ 616 h 659"/>
                <a:gd name="T110" fmla="*/ 140 w 448"/>
                <a:gd name="T111" fmla="*/ 617 h 659"/>
                <a:gd name="T112" fmla="*/ 147 w 448"/>
                <a:gd name="T113" fmla="*/ 627 h 659"/>
                <a:gd name="T114" fmla="*/ 183 w 448"/>
                <a:gd name="T115" fmla="*/ 640 h 659"/>
                <a:gd name="T116" fmla="*/ 216 w 448"/>
                <a:gd name="T117" fmla="*/ 611 h 659"/>
                <a:gd name="T118" fmla="*/ 226 w 448"/>
                <a:gd name="T119" fmla="*/ 578 h 659"/>
                <a:gd name="T120" fmla="*/ 238 w 448"/>
                <a:gd name="T121" fmla="*/ 544 h 659"/>
                <a:gd name="T122" fmla="*/ 271 w 448"/>
                <a:gd name="T123" fmla="*/ 538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48" h="659">
                  <a:moveTo>
                    <a:pt x="281" y="550"/>
                  </a:moveTo>
                  <a:lnTo>
                    <a:pt x="281" y="543"/>
                  </a:lnTo>
                  <a:lnTo>
                    <a:pt x="285" y="538"/>
                  </a:lnTo>
                  <a:lnTo>
                    <a:pt x="292" y="531"/>
                  </a:lnTo>
                  <a:lnTo>
                    <a:pt x="302" y="521"/>
                  </a:lnTo>
                  <a:lnTo>
                    <a:pt x="309" y="510"/>
                  </a:lnTo>
                  <a:lnTo>
                    <a:pt x="321" y="495"/>
                  </a:lnTo>
                  <a:lnTo>
                    <a:pt x="334" y="488"/>
                  </a:lnTo>
                  <a:lnTo>
                    <a:pt x="344" y="484"/>
                  </a:lnTo>
                  <a:lnTo>
                    <a:pt x="349" y="484"/>
                  </a:lnTo>
                  <a:lnTo>
                    <a:pt x="358" y="484"/>
                  </a:lnTo>
                  <a:lnTo>
                    <a:pt x="379" y="455"/>
                  </a:lnTo>
                  <a:lnTo>
                    <a:pt x="381" y="454"/>
                  </a:lnTo>
                  <a:lnTo>
                    <a:pt x="384" y="450"/>
                  </a:lnTo>
                  <a:lnTo>
                    <a:pt x="387" y="445"/>
                  </a:lnTo>
                  <a:lnTo>
                    <a:pt x="389" y="442"/>
                  </a:lnTo>
                  <a:lnTo>
                    <a:pt x="394" y="439"/>
                  </a:lnTo>
                  <a:lnTo>
                    <a:pt x="398" y="435"/>
                  </a:lnTo>
                  <a:lnTo>
                    <a:pt x="400" y="431"/>
                  </a:lnTo>
                  <a:lnTo>
                    <a:pt x="401" y="425"/>
                  </a:lnTo>
                  <a:lnTo>
                    <a:pt x="401" y="421"/>
                  </a:lnTo>
                  <a:lnTo>
                    <a:pt x="398" y="417"/>
                  </a:lnTo>
                  <a:lnTo>
                    <a:pt x="395" y="409"/>
                  </a:lnTo>
                  <a:lnTo>
                    <a:pt x="394" y="408"/>
                  </a:lnTo>
                  <a:lnTo>
                    <a:pt x="395" y="405"/>
                  </a:lnTo>
                  <a:lnTo>
                    <a:pt x="397" y="404"/>
                  </a:lnTo>
                  <a:lnTo>
                    <a:pt x="401" y="404"/>
                  </a:lnTo>
                  <a:lnTo>
                    <a:pt x="407" y="405"/>
                  </a:lnTo>
                  <a:lnTo>
                    <a:pt x="408" y="407"/>
                  </a:lnTo>
                  <a:lnTo>
                    <a:pt x="412" y="407"/>
                  </a:lnTo>
                  <a:lnTo>
                    <a:pt x="417" y="405"/>
                  </a:lnTo>
                  <a:lnTo>
                    <a:pt x="420" y="402"/>
                  </a:lnTo>
                  <a:lnTo>
                    <a:pt x="425" y="399"/>
                  </a:lnTo>
                  <a:lnTo>
                    <a:pt x="430" y="395"/>
                  </a:lnTo>
                  <a:lnTo>
                    <a:pt x="434" y="394"/>
                  </a:lnTo>
                  <a:lnTo>
                    <a:pt x="437" y="391"/>
                  </a:lnTo>
                  <a:lnTo>
                    <a:pt x="437" y="384"/>
                  </a:lnTo>
                  <a:lnTo>
                    <a:pt x="441" y="382"/>
                  </a:lnTo>
                  <a:lnTo>
                    <a:pt x="447" y="376"/>
                  </a:lnTo>
                  <a:lnTo>
                    <a:pt x="448" y="371"/>
                  </a:lnTo>
                  <a:lnTo>
                    <a:pt x="448" y="366"/>
                  </a:lnTo>
                  <a:lnTo>
                    <a:pt x="448" y="365"/>
                  </a:lnTo>
                  <a:lnTo>
                    <a:pt x="448" y="364"/>
                  </a:lnTo>
                  <a:lnTo>
                    <a:pt x="448" y="359"/>
                  </a:lnTo>
                  <a:lnTo>
                    <a:pt x="442" y="355"/>
                  </a:lnTo>
                  <a:lnTo>
                    <a:pt x="438" y="348"/>
                  </a:lnTo>
                  <a:lnTo>
                    <a:pt x="437" y="346"/>
                  </a:lnTo>
                  <a:lnTo>
                    <a:pt x="437" y="345"/>
                  </a:lnTo>
                  <a:lnTo>
                    <a:pt x="425" y="339"/>
                  </a:lnTo>
                  <a:lnTo>
                    <a:pt x="425" y="334"/>
                  </a:lnTo>
                  <a:lnTo>
                    <a:pt x="425" y="326"/>
                  </a:lnTo>
                  <a:lnTo>
                    <a:pt x="425" y="321"/>
                  </a:lnTo>
                  <a:lnTo>
                    <a:pt x="425" y="312"/>
                  </a:lnTo>
                  <a:lnTo>
                    <a:pt x="422" y="309"/>
                  </a:lnTo>
                  <a:lnTo>
                    <a:pt x="421" y="306"/>
                  </a:lnTo>
                  <a:lnTo>
                    <a:pt x="414" y="303"/>
                  </a:lnTo>
                  <a:lnTo>
                    <a:pt x="411" y="302"/>
                  </a:lnTo>
                  <a:lnTo>
                    <a:pt x="407" y="299"/>
                  </a:lnTo>
                  <a:lnTo>
                    <a:pt x="407" y="298"/>
                  </a:lnTo>
                  <a:lnTo>
                    <a:pt x="407" y="291"/>
                  </a:lnTo>
                  <a:lnTo>
                    <a:pt x="407" y="286"/>
                  </a:lnTo>
                  <a:lnTo>
                    <a:pt x="410" y="282"/>
                  </a:lnTo>
                  <a:lnTo>
                    <a:pt x="412" y="278"/>
                  </a:lnTo>
                  <a:lnTo>
                    <a:pt x="414" y="275"/>
                  </a:lnTo>
                  <a:lnTo>
                    <a:pt x="415" y="270"/>
                  </a:lnTo>
                  <a:lnTo>
                    <a:pt x="421" y="266"/>
                  </a:lnTo>
                  <a:lnTo>
                    <a:pt x="427" y="252"/>
                  </a:lnTo>
                  <a:lnTo>
                    <a:pt x="427" y="250"/>
                  </a:lnTo>
                  <a:lnTo>
                    <a:pt x="424" y="248"/>
                  </a:lnTo>
                  <a:lnTo>
                    <a:pt x="421" y="245"/>
                  </a:lnTo>
                  <a:lnTo>
                    <a:pt x="420" y="243"/>
                  </a:lnTo>
                  <a:lnTo>
                    <a:pt x="418" y="240"/>
                  </a:lnTo>
                  <a:lnTo>
                    <a:pt x="418" y="236"/>
                  </a:lnTo>
                  <a:lnTo>
                    <a:pt x="417" y="235"/>
                  </a:lnTo>
                  <a:lnTo>
                    <a:pt x="412" y="238"/>
                  </a:lnTo>
                  <a:lnTo>
                    <a:pt x="410" y="238"/>
                  </a:lnTo>
                  <a:lnTo>
                    <a:pt x="411" y="235"/>
                  </a:lnTo>
                  <a:lnTo>
                    <a:pt x="412" y="232"/>
                  </a:lnTo>
                  <a:lnTo>
                    <a:pt x="412" y="228"/>
                  </a:lnTo>
                  <a:lnTo>
                    <a:pt x="414" y="225"/>
                  </a:lnTo>
                  <a:lnTo>
                    <a:pt x="411" y="222"/>
                  </a:lnTo>
                  <a:lnTo>
                    <a:pt x="411" y="220"/>
                  </a:lnTo>
                  <a:lnTo>
                    <a:pt x="410" y="216"/>
                  </a:lnTo>
                  <a:lnTo>
                    <a:pt x="410" y="213"/>
                  </a:lnTo>
                  <a:lnTo>
                    <a:pt x="408" y="209"/>
                  </a:lnTo>
                  <a:lnTo>
                    <a:pt x="407" y="207"/>
                  </a:lnTo>
                  <a:lnTo>
                    <a:pt x="404" y="207"/>
                  </a:lnTo>
                  <a:lnTo>
                    <a:pt x="401" y="207"/>
                  </a:lnTo>
                  <a:lnTo>
                    <a:pt x="398" y="207"/>
                  </a:lnTo>
                  <a:lnTo>
                    <a:pt x="401" y="206"/>
                  </a:lnTo>
                  <a:lnTo>
                    <a:pt x="404" y="205"/>
                  </a:lnTo>
                  <a:lnTo>
                    <a:pt x="405" y="202"/>
                  </a:lnTo>
                  <a:lnTo>
                    <a:pt x="405" y="200"/>
                  </a:lnTo>
                  <a:lnTo>
                    <a:pt x="402" y="197"/>
                  </a:lnTo>
                  <a:lnTo>
                    <a:pt x="400" y="197"/>
                  </a:lnTo>
                  <a:lnTo>
                    <a:pt x="398" y="197"/>
                  </a:lnTo>
                  <a:lnTo>
                    <a:pt x="394" y="196"/>
                  </a:lnTo>
                  <a:lnTo>
                    <a:pt x="394" y="195"/>
                  </a:lnTo>
                  <a:lnTo>
                    <a:pt x="397" y="192"/>
                  </a:lnTo>
                  <a:lnTo>
                    <a:pt x="402" y="187"/>
                  </a:lnTo>
                  <a:lnTo>
                    <a:pt x="402" y="187"/>
                  </a:lnTo>
                  <a:lnTo>
                    <a:pt x="404" y="185"/>
                  </a:lnTo>
                  <a:lnTo>
                    <a:pt x="405" y="182"/>
                  </a:lnTo>
                  <a:lnTo>
                    <a:pt x="404" y="179"/>
                  </a:lnTo>
                  <a:lnTo>
                    <a:pt x="401" y="176"/>
                  </a:lnTo>
                  <a:lnTo>
                    <a:pt x="392" y="166"/>
                  </a:lnTo>
                  <a:lnTo>
                    <a:pt x="391" y="165"/>
                  </a:lnTo>
                  <a:lnTo>
                    <a:pt x="388" y="162"/>
                  </a:lnTo>
                  <a:lnTo>
                    <a:pt x="385" y="162"/>
                  </a:lnTo>
                  <a:lnTo>
                    <a:pt x="381" y="160"/>
                  </a:lnTo>
                  <a:lnTo>
                    <a:pt x="378" y="154"/>
                  </a:lnTo>
                  <a:lnTo>
                    <a:pt x="377" y="150"/>
                  </a:lnTo>
                  <a:lnTo>
                    <a:pt x="375" y="149"/>
                  </a:lnTo>
                  <a:lnTo>
                    <a:pt x="371" y="149"/>
                  </a:lnTo>
                  <a:lnTo>
                    <a:pt x="368" y="150"/>
                  </a:lnTo>
                  <a:lnTo>
                    <a:pt x="365" y="152"/>
                  </a:lnTo>
                  <a:lnTo>
                    <a:pt x="365" y="146"/>
                  </a:lnTo>
                  <a:lnTo>
                    <a:pt x="369" y="144"/>
                  </a:lnTo>
                  <a:lnTo>
                    <a:pt x="372" y="144"/>
                  </a:lnTo>
                  <a:lnTo>
                    <a:pt x="375" y="142"/>
                  </a:lnTo>
                  <a:lnTo>
                    <a:pt x="377" y="139"/>
                  </a:lnTo>
                  <a:lnTo>
                    <a:pt x="378" y="136"/>
                  </a:lnTo>
                  <a:lnTo>
                    <a:pt x="379" y="132"/>
                  </a:lnTo>
                  <a:lnTo>
                    <a:pt x="381" y="129"/>
                  </a:lnTo>
                  <a:lnTo>
                    <a:pt x="381" y="126"/>
                  </a:lnTo>
                  <a:lnTo>
                    <a:pt x="379" y="124"/>
                  </a:lnTo>
                  <a:lnTo>
                    <a:pt x="377" y="126"/>
                  </a:lnTo>
                  <a:lnTo>
                    <a:pt x="375" y="127"/>
                  </a:lnTo>
                  <a:lnTo>
                    <a:pt x="374" y="123"/>
                  </a:lnTo>
                  <a:lnTo>
                    <a:pt x="374" y="122"/>
                  </a:lnTo>
                  <a:lnTo>
                    <a:pt x="369" y="120"/>
                  </a:lnTo>
                  <a:lnTo>
                    <a:pt x="368" y="119"/>
                  </a:lnTo>
                  <a:lnTo>
                    <a:pt x="367" y="116"/>
                  </a:lnTo>
                  <a:lnTo>
                    <a:pt x="371" y="116"/>
                  </a:lnTo>
                  <a:lnTo>
                    <a:pt x="375" y="117"/>
                  </a:lnTo>
                  <a:lnTo>
                    <a:pt x="382" y="113"/>
                  </a:lnTo>
                  <a:lnTo>
                    <a:pt x="368" y="109"/>
                  </a:lnTo>
                  <a:lnTo>
                    <a:pt x="369" y="104"/>
                  </a:lnTo>
                  <a:lnTo>
                    <a:pt x="359" y="101"/>
                  </a:lnTo>
                  <a:lnTo>
                    <a:pt x="358" y="106"/>
                  </a:lnTo>
                  <a:lnTo>
                    <a:pt x="349" y="103"/>
                  </a:lnTo>
                  <a:lnTo>
                    <a:pt x="352" y="97"/>
                  </a:lnTo>
                  <a:lnTo>
                    <a:pt x="354" y="90"/>
                  </a:lnTo>
                  <a:lnTo>
                    <a:pt x="349" y="80"/>
                  </a:lnTo>
                  <a:lnTo>
                    <a:pt x="326" y="74"/>
                  </a:lnTo>
                  <a:lnTo>
                    <a:pt x="326" y="64"/>
                  </a:lnTo>
                  <a:lnTo>
                    <a:pt x="318" y="61"/>
                  </a:lnTo>
                  <a:lnTo>
                    <a:pt x="316" y="70"/>
                  </a:lnTo>
                  <a:lnTo>
                    <a:pt x="291" y="69"/>
                  </a:lnTo>
                  <a:lnTo>
                    <a:pt x="286" y="71"/>
                  </a:lnTo>
                  <a:lnTo>
                    <a:pt x="278" y="76"/>
                  </a:lnTo>
                  <a:lnTo>
                    <a:pt x="269" y="76"/>
                  </a:lnTo>
                  <a:lnTo>
                    <a:pt x="266" y="74"/>
                  </a:lnTo>
                  <a:lnTo>
                    <a:pt x="266" y="70"/>
                  </a:lnTo>
                  <a:lnTo>
                    <a:pt x="263" y="67"/>
                  </a:lnTo>
                  <a:lnTo>
                    <a:pt x="259" y="67"/>
                  </a:lnTo>
                  <a:lnTo>
                    <a:pt x="252" y="69"/>
                  </a:lnTo>
                  <a:lnTo>
                    <a:pt x="249" y="70"/>
                  </a:lnTo>
                  <a:lnTo>
                    <a:pt x="248" y="73"/>
                  </a:lnTo>
                  <a:lnTo>
                    <a:pt x="248" y="77"/>
                  </a:lnTo>
                  <a:lnTo>
                    <a:pt x="246" y="77"/>
                  </a:lnTo>
                  <a:lnTo>
                    <a:pt x="243" y="76"/>
                  </a:lnTo>
                  <a:lnTo>
                    <a:pt x="243" y="71"/>
                  </a:lnTo>
                  <a:lnTo>
                    <a:pt x="241" y="70"/>
                  </a:lnTo>
                  <a:lnTo>
                    <a:pt x="235" y="70"/>
                  </a:lnTo>
                  <a:lnTo>
                    <a:pt x="232" y="69"/>
                  </a:lnTo>
                  <a:lnTo>
                    <a:pt x="231" y="67"/>
                  </a:lnTo>
                  <a:lnTo>
                    <a:pt x="232" y="60"/>
                  </a:lnTo>
                  <a:lnTo>
                    <a:pt x="233" y="56"/>
                  </a:lnTo>
                  <a:lnTo>
                    <a:pt x="233" y="53"/>
                  </a:lnTo>
                  <a:lnTo>
                    <a:pt x="229" y="56"/>
                  </a:lnTo>
                  <a:lnTo>
                    <a:pt x="226" y="57"/>
                  </a:lnTo>
                  <a:lnTo>
                    <a:pt x="220" y="56"/>
                  </a:lnTo>
                  <a:lnTo>
                    <a:pt x="216" y="53"/>
                  </a:lnTo>
                  <a:lnTo>
                    <a:pt x="218" y="48"/>
                  </a:lnTo>
                  <a:lnTo>
                    <a:pt x="222" y="44"/>
                  </a:lnTo>
                  <a:lnTo>
                    <a:pt x="220" y="41"/>
                  </a:lnTo>
                  <a:lnTo>
                    <a:pt x="216" y="36"/>
                  </a:lnTo>
                  <a:lnTo>
                    <a:pt x="215" y="28"/>
                  </a:lnTo>
                  <a:lnTo>
                    <a:pt x="210" y="20"/>
                  </a:lnTo>
                  <a:lnTo>
                    <a:pt x="206" y="13"/>
                  </a:lnTo>
                  <a:lnTo>
                    <a:pt x="198" y="6"/>
                  </a:lnTo>
                  <a:lnTo>
                    <a:pt x="189" y="1"/>
                  </a:lnTo>
                  <a:lnTo>
                    <a:pt x="183" y="0"/>
                  </a:lnTo>
                  <a:lnTo>
                    <a:pt x="179" y="4"/>
                  </a:lnTo>
                  <a:lnTo>
                    <a:pt x="173" y="11"/>
                  </a:lnTo>
                  <a:lnTo>
                    <a:pt x="170" y="16"/>
                  </a:lnTo>
                  <a:lnTo>
                    <a:pt x="170" y="21"/>
                  </a:lnTo>
                  <a:lnTo>
                    <a:pt x="173" y="27"/>
                  </a:lnTo>
                  <a:lnTo>
                    <a:pt x="172" y="34"/>
                  </a:lnTo>
                  <a:lnTo>
                    <a:pt x="172" y="41"/>
                  </a:lnTo>
                  <a:lnTo>
                    <a:pt x="175" y="47"/>
                  </a:lnTo>
                  <a:lnTo>
                    <a:pt x="178" y="51"/>
                  </a:lnTo>
                  <a:lnTo>
                    <a:pt x="180" y="56"/>
                  </a:lnTo>
                  <a:lnTo>
                    <a:pt x="180" y="63"/>
                  </a:lnTo>
                  <a:lnTo>
                    <a:pt x="173" y="73"/>
                  </a:lnTo>
                  <a:lnTo>
                    <a:pt x="173" y="81"/>
                  </a:lnTo>
                  <a:lnTo>
                    <a:pt x="173" y="84"/>
                  </a:lnTo>
                  <a:lnTo>
                    <a:pt x="180" y="86"/>
                  </a:lnTo>
                  <a:lnTo>
                    <a:pt x="179" y="94"/>
                  </a:lnTo>
                  <a:lnTo>
                    <a:pt x="178" y="101"/>
                  </a:lnTo>
                  <a:lnTo>
                    <a:pt x="175" y="104"/>
                  </a:lnTo>
                  <a:lnTo>
                    <a:pt x="165" y="104"/>
                  </a:lnTo>
                  <a:lnTo>
                    <a:pt x="156" y="133"/>
                  </a:lnTo>
                  <a:lnTo>
                    <a:pt x="153" y="147"/>
                  </a:lnTo>
                  <a:lnTo>
                    <a:pt x="149" y="159"/>
                  </a:lnTo>
                  <a:lnTo>
                    <a:pt x="142" y="159"/>
                  </a:lnTo>
                  <a:lnTo>
                    <a:pt x="135" y="157"/>
                  </a:lnTo>
                  <a:lnTo>
                    <a:pt x="133" y="159"/>
                  </a:lnTo>
                  <a:lnTo>
                    <a:pt x="132" y="162"/>
                  </a:lnTo>
                  <a:lnTo>
                    <a:pt x="142" y="167"/>
                  </a:lnTo>
                  <a:lnTo>
                    <a:pt x="149" y="169"/>
                  </a:lnTo>
                  <a:lnTo>
                    <a:pt x="159" y="169"/>
                  </a:lnTo>
                  <a:lnTo>
                    <a:pt x="170" y="166"/>
                  </a:lnTo>
                  <a:lnTo>
                    <a:pt x="172" y="162"/>
                  </a:lnTo>
                  <a:lnTo>
                    <a:pt x="173" y="159"/>
                  </a:lnTo>
                  <a:lnTo>
                    <a:pt x="175" y="157"/>
                  </a:lnTo>
                  <a:lnTo>
                    <a:pt x="178" y="157"/>
                  </a:lnTo>
                  <a:lnTo>
                    <a:pt x="180" y="159"/>
                  </a:lnTo>
                  <a:lnTo>
                    <a:pt x="178" y="167"/>
                  </a:lnTo>
                  <a:lnTo>
                    <a:pt x="182" y="179"/>
                  </a:lnTo>
                  <a:lnTo>
                    <a:pt x="185" y="182"/>
                  </a:lnTo>
                  <a:lnTo>
                    <a:pt x="190" y="180"/>
                  </a:lnTo>
                  <a:lnTo>
                    <a:pt x="202" y="175"/>
                  </a:lnTo>
                  <a:lnTo>
                    <a:pt x="209" y="186"/>
                  </a:lnTo>
                  <a:lnTo>
                    <a:pt x="209" y="195"/>
                  </a:lnTo>
                  <a:lnTo>
                    <a:pt x="205" y="200"/>
                  </a:lnTo>
                  <a:lnTo>
                    <a:pt x="200" y="210"/>
                  </a:lnTo>
                  <a:lnTo>
                    <a:pt x="185" y="216"/>
                  </a:lnTo>
                  <a:lnTo>
                    <a:pt x="185" y="220"/>
                  </a:lnTo>
                  <a:lnTo>
                    <a:pt x="183" y="232"/>
                  </a:lnTo>
                  <a:lnTo>
                    <a:pt x="189" y="248"/>
                  </a:lnTo>
                  <a:lnTo>
                    <a:pt x="189" y="256"/>
                  </a:lnTo>
                  <a:lnTo>
                    <a:pt x="188" y="266"/>
                  </a:lnTo>
                  <a:lnTo>
                    <a:pt x="175" y="272"/>
                  </a:lnTo>
                  <a:lnTo>
                    <a:pt x="169" y="285"/>
                  </a:lnTo>
                  <a:lnTo>
                    <a:pt x="152" y="295"/>
                  </a:lnTo>
                  <a:lnTo>
                    <a:pt x="152" y="301"/>
                  </a:lnTo>
                  <a:lnTo>
                    <a:pt x="152" y="305"/>
                  </a:lnTo>
                  <a:lnTo>
                    <a:pt x="150" y="309"/>
                  </a:lnTo>
                  <a:lnTo>
                    <a:pt x="149" y="311"/>
                  </a:lnTo>
                  <a:lnTo>
                    <a:pt x="145" y="316"/>
                  </a:lnTo>
                  <a:lnTo>
                    <a:pt x="145" y="321"/>
                  </a:lnTo>
                  <a:lnTo>
                    <a:pt x="145" y="325"/>
                  </a:lnTo>
                  <a:lnTo>
                    <a:pt x="140" y="331"/>
                  </a:lnTo>
                  <a:lnTo>
                    <a:pt x="140" y="332"/>
                  </a:lnTo>
                  <a:lnTo>
                    <a:pt x="152" y="328"/>
                  </a:lnTo>
                  <a:lnTo>
                    <a:pt x="165" y="352"/>
                  </a:lnTo>
                  <a:lnTo>
                    <a:pt x="166" y="362"/>
                  </a:lnTo>
                  <a:lnTo>
                    <a:pt x="165" y="371"/>
                  </a:lnTo>
                  <a:lnTo>
                    <a:pt x="163" y="375"/>
                  </a:lnTo>
                  <a:lnTo>
                    <a:pt x="157" y="381"/>
                  </a:lnTo>
                  <a:lnTo>
                    <a:pt x="146" y="388"/>
                  </a:lnTo>
                  <a:lnTo>
                    <a:pt x="146" y="398"/>
                  </a:lnTo>
                  <a:lnTo>
                    <a:pt x="160" y="398"/>
                  </a:lnTo>
                  <a:lnTo>
                    <a:pt x="162" y="405"/>
                  </a:lnTo>
                  <a:lnTo>
                    <a:pt x="160" y="414"/>
                  </a:lnTo>
                  <a:lnTo>
                    <a:pt x="166" y="417"/>
                  </a:lnTo>
                  <a:lnTo>
                    <a:pt x="172" y="418"/>
                  </a:lnTo>
                  <a:lnTo>
                    <a:pt x="167" y="428"/>
                  </a:lnTo>
                  <a:lnTo>
                    <a:pt x="165" y="435"/>
                  </a:lnTo>
                  <a:lnTo>
                    <a:pt x="160" y="439"/>
                  </a:lnTo>
                  <a:lnTo>
                    <a:pt x="153" y="441"/>
                  </a:lnTo>
                  <a:lnTo>
                    <a:pt x="150" y="445"/>
                  </a:lnTo>
                  <a:lnTo>
                    <a:pt x="150" y="450"/>
                  </a:lnTo>
                  <a:lnTo>
                    <a:pt x="155" y="452"/>
                  </a:lnTo>
                  <a:lnTo>
                    <a:pt x="155" y="458"/>
                  </a:lnTo>
                  <a:lnTo>
                    <a:pt x="149" y="460"/>
                  </a:lnTo>
                  <a:lnTo>
                    <a:pt x="129" y="474"/>
                  </a:lnTo>
                  <a:lnTo>
                    <a:pt x="115" y="478"/>
                  </a:lnTo>
                  <a:lnTo>
                    <a:pt x="109" y="485"/>
                  </a:lnTo>
                  <a:lnTo>
                    <a:pt x="104" y="494"/>
                  </a:lnTo>
                  <a:lnTo>
                    <a:pt x="103" y="501"/>
                  </a:lnTo>
                  <a:lnTo>
                    <a:pt x="97" y="507"/>
                  </a:lnTo>
                  <a:lnTo>
                    <a:pt x="92" y="510"/>
                  </a:lnTo>
                  <a:lnTo>
                    <a:pt x="77" y="515"/>
                  </a:lnTo>
                  <a:lnTo>
                    <a:pt x="72" y="515"/>
                  </a:lnTo>
                  <a:lnTo>
                    <a:pt x="64" y="518"/>
                  </a:lnTo>
                  <a:lnTo>
                    <a:pt x="59" y="520"/>
                  </a:lnTo>
                  <a:lnTo>
                    <a:pt x="53" y="524"/>
                  </a:lnTo>
                  <a:lnTo>
                    <a:pt x="51" y="528"/>
                  </a:lnTo>
                  <a:lnTo>
                    <a:pt x="50" y="531"/>
                  </a:lnTo>
                  <a:lnTo>
                    <a:pt x="49" y="531"/>
                  </a:lnTo>
                  <a:lnTo>
                    <a:pt x="46" y="528"/>
                  </a:lnTo>
                  <a:lnTo>
                    <a:pt x="39" y="525"/>
                  </a:lnTo>
                  <a:lnTo>
                    <a:pt x="34" y="527"/>
                  </a:lnTo>
                  <a:lnTo>
                    <a:pt x="31" y="531"/>
                  </a:lnTo>
                  <a:lnTo>
                    <a:pt x="31" y="535"/>
                  </a:lnTo>
                  <a:lnTo>
                    <a:pt x="30" y="541"/>
                  </a:lnTo>
                  <a:lnTo>
                    <a:pt x="24" y="544"/>
                  </a:lnTo>
                  <a:lnTo>
                    <a:pt x="21" y="553"/>
                  </a:lnTo>
                  <a:lnTo>
                    <a:pt x="9" y="561"/>
                  </a:lnTo>
                  <a:lnTo>
                    <a:pt x="7" y="567"/>
                  </a:lnTo>
                  <a:lnTo>
                    <a:pt x="7" y="570"/>
                  </a:lnTo>
                  <a:lnTo>
                    <a:pt x="14" y="573"/>
                  </a:lnTo>
                  <a:lnTo>
                    <a:pt x="20" y="574"/>
                  </a:lnTo>
                  <a:lnTo>
                    <a:pt x="27" y="576"/>
                  </a:lnTo>
                  <a:lnTo>
                    <a:pt x="29" y="578"/>
                  </a:lnTo>
                  <a:lnTo>
                    <a:pt x="29" y="583"/>
                  </a:lnTo>
                  <a:lnTo>
                    <a:pt x="21" y="588"/>
                  </a:lnTo>
                  <a:lnTo>
                    <a:pt x="19" y="593"/>
                  </a:lnTo>
                  <a:lnTo>
                    <a:pt x="13" y="600"/>
                  </a:lnTo>
                  <a:lnTo>
                    <a:pt x="4" y="601"/>
                  </a:lnTo>
                  <a:lnTo>
                    <a:pt x="0" y="606"/>
                  </a:lnTo>
                  <a:lnTo>
                    <a:pt x="0" y="608"/>
                  </a:lnTo>
                  <a:lnTo>
                    <a:pt x="1" y="611"/>
                  </a:lnTo>
                  <a:lnTo>
                    <a:pt x="0" y="619"/>
                  </a:lnTo>
                  <a:lnTo>
                    <a:pt x="0" y="621"/>
                  </a:lnTo>
                  <a:lnTo>
                    <a:pt x="7" y="621"/>
                  </a:lnTo>
                  <a:lnTo>
                    <a:pt x="13" y="623"/>
                  </a:lnTo>
                  <a:lnTo>
                    <a:pt x="17" y="624"/>
                  </a:lnTo>
                  <a:lnTo>
                    <a:pt x="21" y="631"/>
                  </a:lnTo>
                  <a:lnTo>
                    <a:pt x="27" y="643"/>
                  </a:lnTo>
                  <a:lnTo>
                    <a:pt x="37" y="644"/>
                  </a:lnTo>
                  <a:lnTo>
                    <a:pt x="40" y="654"/>
                  </a:lnTo>
                  <a:lnTo>
                    <a:pt x="46" y="657"/>
                  </a:lnTo>
                  <a:lnTo>
                    <a:pt x="53" y="659"/>
                  </a:lnTo>
                  <a:lnTo>
                    <a:pt x="62" y="656"/>
                  </a:lnTo>
                  <a:lnTo>
                    <a:pt x="69" y="651"/>
                  </a:lnTo>
                  <a:lnTo>
                    <a:pt x="76" y="649"/>
                  </a:lnTo>
                  <a:lnTo>
                    <a:pt x="77" y="636"/>
                  </a:lnTo>
                  <a:lnTo>
                    <a:pt x="79" y="627"/>
                  </a:lnTo>
                  <a:lnTo>
                    <a:pt x="82" y="624"/>
                  </a:lnTo>
                  <a:lnTo>
                    <a:pt x="86" y="623"/>
                  </a:lnTo>
                  <a:lnTo>
                    <a:pt x="97" y="621"/>
                  </a:lnTo>
                  <a:lnTo>
                    <a:pt x="103" y="623"/>
                  </a:lnTo>
                  <a:lnTo>
                    <a:pt x="109" y="621"/>
                  </a:lnTo>
                  <a:lnTo>
                    <a:pt x="115" y="621"/>
                  </a:lnTo>
                  <a:lnTo>
                    <a:pt x="119" y="619"/>
                  </a:lnTo>
                  <a:lnTo>
                    <a:pt x="122" y="616"/>
                  </a:lnTo>
                  <a:lnTo>
                    <a:pt x="123" y="614"/>
                  </a:lnTo>
                  <a:lnTo>
                    <a:pt x="127" y="613"/>
                  </a:lnTo>
                  <a:lnTo>
                    <a:pt x="130" y="613"/>
                  </a:lnTo>
                  <a:lnTo>
                    <a:pt x="133" y="613"/>
                  </a:lnTo>
                  <a:lnTo>
                    <a:pt x="139" y="614"/>
                  </a:lnTo>
                  <a:lnTo>
                    <a:pt x="140" y="617"/>
                  </a:lnTo>
                  <a:lnTo>
                    <a:pt x="139" y="623"/>
                  </a:lnTo>
                  <a:lnTo>
                    <a:pt x="136" y="630"/>
                  </a:lnTo>
                  <a:lnTo>
                    <a:pt x="136" y="630"/>
                  </a:lnTo>
                  <a:lnTo>
                    <a:pt x="140" y="631"/>
                  </a:lnTo>
                  <a:lnTo>
                    <a:pt x="143" y="629"/>
                  </a:lnTo>
                  <a:lnTo>
                    <a:pt x="147" y="627"/>
                  </a:lnTo>
                  <a:lnTo>
                    <a:pt x="150" y="626"/>
                  </a:lnTo>
                  <a:lnTo>
                    <a:pt x="156" y="626"/>
                  </a:lnTo>
                  <a:lnTo>
                    <a:pt x="165" y="629"/>
                  </a:lnTo>
                  <a:lnTo>
                    <a:pt x="170" y="634"/>
                  </a:lnTo>
                  <a:lnTo>
                    <a:pt x="175" y="639"/>
                  </a:lnTo>
                  <a:lnTo>
                    <a:pt x="183" y="640"/>
                  </a:lnTo>
                  <a:lnTo>
                    <a:pt x="186" y="639"/>
                  </a:lnTo>
                  <a:lnTo>
                    <a:pt x="193" y="634"/>
                  </a:lnTo>
                  <a:lnTo>
                    <a:pt x="193" y="634"/>
                  </a:lnTo>
                  <a:lnTo>
                    <a:pt x="206" y="619"/>
                  </a:lnTo>
                  <a:lnTo>
                    <a:pt x="210" y="613"/>
                  </a:lnTo>
                  <a:lnTo>
                    <a:pt x="216" y="611"/>
                  </a:lnTo>
                  <a:lnTo>
                    <a:pt x="228" y="613"/>
                  </a:lnTo>
                  <a:lnTo>
                    <a:pt x="232" y="613"/>
                  </a:lnTo>
                  <a:lnTo>
                    <a:pt x="233" y="611"/>
                  </a:lnTo>
                  <a:lnTo>
                    <a:pt x="233" y="606"/>
                  </a:lnTo>
                  <a:lnTo>
                    <a:pt x="226" y="584"/>
                  </a:lnTo>
                  <a:lnTo>
                    <a:pt x="226" y="578"/>
                  </a:lnTo>
                  <a:lnTo>
                    <a:pt x="233" y="571"/>
                  </a:lnTo>
                  <a:lnTo>
                    <a:pt x="239" y="566"/>
                  </a:lnTo>
                  <a:lnTo>
                    <a:pt x="241" y="557"/>
                  </a:lnTo>
                  <a:lnTo>
                    <a:pt x="239" y="554"/>
                  </a:lnTo>
                  <a:lnTo>
                    <a:pt x="238" y="548"/>
                  </a:lnTo>
                  <a:lnTo>
                    <a:pt x="238" y="544"/>
                  </a:lnTo>
                  <a:lnTo>
                    <a:pt x="242" y="544"/>
                  </a:lnTo>
                  <a:lnTo>
                    <a:pt x="253" y="545"/>
                  </a:lnTo>
                  <a:lnTo>
                    <a:pt x="259" y="544"/>
                  </a:lnTo>
                  <a:lnTo>
                    <a:pt x="263" y="541"/>
                  </a:lnTo>
                  <a:lnTo>
                    <a:pt x="266" y="538"/>
                  </a:lnTo>
                  <a:lnTo>
                    <a:pt x="271" y="538"/>
                  </a:lnTo>
                  <a:lnTo>
                    <a:pt x="281" y="55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99" name="Freeform 247"/>
            <p:cNvSpPr>
              <a:spLocks noEditPoints="1"/>
            </p:cNvSpPr>
            <p:nvPr/>
          </p:nvSpPr>
          <p:spPr bwMode="auto">
            <a:xfrm>
              <a:off x="4911469" y="5258023"/>
              <a:ext cx="645984" cy="431267"/>
            </a:xfrm>
            <a:custGeom>
              <a:avLst/>
              <a:gdLst>
                <a:gd name="T0" fmla="*/ 30 w 1058"/>
                <a:gd name="T1" fmla="*/ 459 h 651"/>
                <a:gd name="T2" fmla="*/ 14 w 1058"/>
                <a:gd name="T3" fmla="*/ 488 h 651"/>
                <a:gd name="T4" fmla="*/ 34 w 1058"/>
                <a:gd name="T5" fmla="*/ 507 h 651"/>
                <a:gd name="T6" fmla="*/ 40 w 1058"/>
                <a:gd name="T7" fmla="*/ 545 h 651"/>
                <a:gd name="T8" fmla="*/ 86 w 1058"/>
                <a:gd name="T9" fmla="*/ 532 h 651"/>
                <a:gd name="T10" fmla="*/ 124 w 1058"/>
                <a:gd name="T11" fmla="*/ 515 h 651"/>
                <a:gd name="T12" fmla="*/ 169 w 1058"/>
                <a:gd name="T13" fmla="*/ 512 h 651"/>
                <a:gd name="T14" fmla="*/ 182 w 1058"/>
                <a:gd name="T15" fmla="*/ 495 h 651"/>
                <a:gd name="T16" fmla="*/ 246 w 1058"/>
                <a:gd name="T17" fmla="*/ 475 h 651"/>
                <a:gd name="T18" fmla="*/ 322 w 1058"/>
                <a:gd name="T19" fmla="*/ 455 h 651"/>
                <a:gd name="T20" fmla="*/ 348 w 1058"/>
                <a:gd name="T21" fmla="*/ 435 h 651"/>
                <a:gd name="T22" fmla="*/ 379 w 1058"/>
                <a:gd name="T23" fmla="*/ 458 h 651"/>
                <a:gd name="T24" fmla="*/ 404 w 1058"/>
                <a:gd name="T25" fmla="*/ 472 h 651"/>
                <a:gd name="T26" fmla="*/ 467 w 1058"/>
                <a:gd name="T27" fmla="*/ 485 h 651"/>
                <a:gd name="T28" fmla="*/ 564 w 1058"/>
                <a:gd name="T29" fmla="*/ 590 h 651"/>
                <a:gd name="T30" fmla="*/ 604 w 1058"/>
                <a:gd name="T31" fmla="*/ 597 h 651"/>
                <a:gd name="T32" fmla="*/ 664 w 1058"/>
                <a:gd name="T33" fmla="*/ 617 h 651"/>
                <a:gd name="T34" fmla="*/ 703 w 1058"/>
                <a:gd name="T35" fmla="*/ 604 h 651"/>
                <a:gd name="T36" fmla="*/ 739 w 1058"/>
                <a:gd name="T37" fmla="*/ 617 h 651"/>
                <a:gd name="T38" fmla="*/ 782 w 1058"/>
                <a:gd name="T39" fmla="*/ 621 h 651"/>
                <a:gd name="T40" fmla="*/ 873 w 1058"/>
                <a:gd name="T41" fmla="*/ 637 h 651"/>
                <a:gd name="T42" fmla="*/ 912 w 1058"/>
                <a:gd name="T43" fmla="*/ 618 h 651"/>
                <a:gd name="T44" fmla="*/ 958 w 1058"/>
                <a:gd name="T45" fmla="*/ 527 h 651"/>
                <a:gd name="T46" fmla="*/ 918 w 1058"/>
                <a:gd name="T47" fmla="*/ 459 h 651"/>
                <a:gd name="T48" fmla="*/ 919 w 1058"/>
                <a:gd name="T49" fmla="*/ 409 h 651"/>
                <a:gd name="T50" fmla="*/ 932 w 1058"/>
                <a:gd name="T51" fmla="*/ 378 h 651"/>
                <a:gd name="T52" fmla="*/ 1009 w 1058"/>
                <a:gd name="T53" fmla="*/ 296 h 651"/>
                <a:gd name="T54" fmla="*/ 1018 w 1058"/>
                <a:gd name="T55" fmla="*/ 257 h 651"/>
                <a:gd name="T56" fmla="*/ 997 w 1058"/>
                <a:gd name="T57" fmla="*/ 246 h 651"/>
                <a:gd name="T58" fmla="*/ 1011 w 1058"/>
                <a:gd name="T59" fmla="*/ 199 h 651"/>
                <a:gd name="T60" fmla="*/ 1018 w 1058"/>
                <a:gd name="T61" fmla="*/ 157 h 651"/>
                <a:gd name="T62" fmla="*/ 1051 w 1058"/>
                <a:gd name="T63" fmla="*/ 153 h 651"/>
                <a:gd name="T64" fmla="*/ 1024 w 1058"/>
                <a:gd name="T65" fmla="*/ 104 h 651"/>
                <a:gd name="T66" fmla="*/ 955 w 1058"/>
                <a:gd name="T67" fmla="*/ 87 h 651"/>
                <a:gd name="T68" fmla="*/ 902 w 1058"/>
                <a:gd name="T69" fmla="*/ 63 h 651"/>
                <a:gd name="T70" fmla="*/ 883 w 1058"/>
                <a:gd name="T71" fmla="*/ 51 h 651"/>
                <a:gd name="T72" fmla="*/ 856 w 1058"/>
                <a:gd name="T73" fmla="*/ 20 h 651"/>
                <a:gd name="T74" fmla="*/ 822 w 1058"/>
                <a:gd name="T75" fmla="*/ 0 h 651"/>
                <a:gd name="T76" fmla="*/ 783 w 1058"/>
                <a:gd name="T77" fmla="*/ 28 h 651"/>
                <a:gd name="T78" fmla="*/ 755 w 1058"/>
                <a:gd name="T79" fmla="*/ 38 h 651"/>
                <a:gd name="T80" fmla="*/ 697 w 1058"/>
                <a:gd name="T81" fmla="*/ 47 h 651"/>
                <a:gd name="T82" fmla="*/ 614 w 1058"/>
                <a:gd name="T83" fmla="*/ 51 h 651"/>
                <a:gd name="T84" fmla="*/ 603 w 1058"/>
                <a:gd name="T85" fmla="*/ 101 h 651"/>
                <a:gd name="T86" fmla="*/ 553 w 1058"/>
                <a:gd name="T87" fmla="*/ 137 h 651"/>
                <a:gd name="T88" fmla="*/ 515 w 1058"/>
                <a:gd name="T89" fmla="*/ 193 h 651"/>
                <a:gd name="T90" fmla="*/ 475 w 1058"/>
                <a:gd name="T91" fmla="*/ 233 h 651"/>
                <a:gd name="T92" fmla="*/ 389 w 1058"/>
                <a:gd name="T93" fmla="*/ 277 h 651"/>
                <a:gd name="T94" fmla="*/ 323 w 1058"/>
                <a:gd name="T95" fmla="*/ 275 h 651"/>
                <a:gd name="T96" fmla="*/ 256 w 1058"/>
                <a:gd name="T97" fmla="*/ 250 h 651"/>
                <a:gd name="T98" fmla="*/ 216 w 1058"/>
                <a:gd name="T99" fmla="*/ 240 h 651"/>
                <a:gd name="T100" fmla="*/ 174 w 1058"/>
                <a:gd name="T101" fmla="*/ 184 h 651"/>
                <a:gd name="T102" fmla="*/ 143 w 1058"/>
                <a:gd name="T103" fmla="*/ 200 h 651"/>
                <a:gd name="T104" fmla="*/ 134 w 1058"/>
                <a:gd name="T105" fmla="*/ 259 h 651"/>
                <a:gd name="T106" fmla="*/ 87 w 1058"/>
                <a:gd name="T107" fmla="*/ 286 h 651"/>
                <a:gd name="T108" fmla="*/ 43 w 1058"/>
                <a:gd name="T109" fmla="*/ 277 h 651"/>
                <a:gd name="T110" fmla="*/ 31 w 1058"/>
                <a:gd name="T111" fmla="*/ 259 h 651"/>
                <a:gd name="T112" fmla="*/ 1 w 1058"/>
                <a:gd name="T113" fmla="*/ 277 h 651"/>
                <a:gd name="T114" fmla="*/ 4 w 1058"/>
                <a:gd name="T115" fmla="*/ 322 h 651"/>
                <a:gd name="T116" fmla="*/ 31 w 1058"/>
                <a:gd name="T117" fmla="*/ 388 h 651"/>
                <a:gd name="T118" fmla="*/ 76 w 1058"/>
                <a:gd name="T119" fmla="*/ 452 h 651"/>
                <a:gd name="T120" fmla="*/ 948 w 1058"/>
                <a:gd name="T121" fmla="*/ 369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58" h="651">
                  <a:moveTo>
                    <a:pt x="68" y="466"/>
                  </a:moveTo>
                  <a:lnTo>
                    <a:pt x="46" y="461"/>
                  </a:lnTo>
                  <a:lnTo>
                    <a:pt x="43" y="455"/>
                  </a:lnTo>
                  <a:lnTo>
                    <a:pt x="41" y="454"/>
                  </a:lnTo>
                  <a:lnTo>
                    <a:pt x="37" y="452"/>
                  </a:lnTo>
                  <a:lnTo>
                    <a:pt x="33" y="452"/>
                  </a:lnTo>
                  <a:lnTo>
                    <a:pt x="31" y="455"/>
                  </a:lnTo>
                  <a:lnTo>
                    <a:pt x="30" y="459"/>
                  </a:lnTo>
                  <a:lnTo>
                    <a:pt x="33" y="465"/>
                  </a:lnTo>
                  <a:lnTo>
                    <a:pt x="37" y="469"/>
                  </a:lnTo>
                  <a:lnTo>
                    <a:pt x="36" y="472"/>
                  </a:lnTo>
                  <a:lnTo>
                    <a:pt x="33" y="474"/>
                  </a:lnTo>
                  <a:lnTo>
                    <a:pt x="28" y="474"/>
                  </a:lnTo>
                  <a:lnTo>
                    <a:pt x="23" y="476"/>
                  </a:lnTo>
                  <a:lnTo>
                    <a:pt x="17" y="481"/>
                  </a:lnTo>
                  <a:lnTo>
                    <a:pt x="14" y="488"/>
                  </a:lnTo>
                  <a:lnTo>
                    <a:pt x="13" y="491"/>
                  </a:lnTo>
                  <a:lnTo>
                    <a:pt x="13" y="494"/>
                  </a:lnTo>
                  <a:lnTo>
                    <a:pt x="13" y="495"/>
                  </a:lnTo>
                  <a:lnTo>
                    <a:pt x="14" y="498"/>
                  </a:lnTo>
                  <a:lnTo>
                    <a:pt x="20" y="501"/>
                  </a:lnTo>
                  <a:lnTo>
                    <a:pt x="27" y="499"/>
                  </a:lnTo>
                  <a:lnTo>
                    <a:pt x="33" y="502"/>
                  </a:lnTo>
                  <a:lnTo>
                    <a:pt x="34" y="507"/>
                  </a:lnTo>
                  <a:lnTo>
                    <a:pt x="34" y="512"/>
                  </a:lnTo>
                  <a:lnTo>
                    <a:pt x="36" y="517"/>
                  </a:lnTo>
                  <a:lnTo>
                    <a:pt x="36" y="519"/>
                  </a:lnTo>
                  <a:lnTo>
                    <a:pt x="34" y="527"/>
                  </a:lnTo>
                  <a:lnTo>
                    <a:pt x="34" y="531"/>
                  </a:lnTo>
                  <a:lnTo>
                    <a:pt x="38" y="539"/>
                  </a:lnTo>
                  <a:lnTo>
                    <a:pt x="40" y="545"/>
                  </a:lnTo>
                  <a:lnTo>
                    <a:pt x="40" y="545"/>
                  </a:lnTo>
                  <a:lnTo>
                    <a:pt x="46" y="547"/>
                  </a:lnTo>
                  <a:lnTo>
                    <a:pt x="53" y="547"/>
                  </a:lnTo>
                  <a:lnTo>
                    <a:pt x="57" y="548"/>
                  </a:lnTo>
                  <a:lnTo>
                    <a:pt x="68" y="547"/>
                  </a:lnTo>
                  <a:lnTo>
                    <a:pt x="81" y="542"/>
                  </a:lnTo>
                  <a:lnTo>
                    <a:pt x="84" y="539"/>
                  </a:lnTo>
                  <a:lnTo>
                    <a:pt x="86" y="535"/>
                  </a:lnTo>
                  <a:lnTo>
                    <a:pt x="86" y="532"/>
                  </a:lnTo>
                  <a:lnTo>
                    <a:pt x="89" y="528"/>
                  </a:lnTo>
                  <a:lnTo>
                    <a:pt x="91" y="525"/>
                  </a:lnTo>
                  <a:lnTo>
                    <a:pt x="96" y="527"/>
                  </a:lnTo>
                  <a:lnTo>
                    <a:pt x="97" y="528"/>
                  </a:lnTo>
                  <a:lnTo>
                    <a:pt x="100" y="529"/>
                  </a:lnTo>
                  <a:lnTo>
                    <a:pt x="106" y="529"/>
                  </a:lnTo>
                  <a:lnTo>
                    <a:pt x="113" y="525"/>
                  </a:lnTo>
                  <a:lnTo>
                    <a:pt x="124" y="515"/>
                  </a:lnTo>
                  <a:lnTo>
                    <a:pt x="140" y="511"/>
                  </a:lnTo>
                  <a:lnTo>
                    <a:pt x="144" y="511"/>
                  </a:lnTo>
                  <a:lnTo>
                    <a:pt x="152" y="514"/>
                  </a:lnTo>
                  <a:lnTo>
                    <a:pt x="154" y="514"/>
                  </a:lnTo>
                  <a:lnTo>
                    <a:pt x="159" y="515"/>
                  </a:lnTo>
                  <a:lnTo>
                    <a:pt x="163" y="515"/>
                  </a:lnTo>
                  <a:lnTo>
                    <a:pt x="167" y="517"/>
                  </a:lnTo>
                  <a:lnTo>
                    <a:pt x="169" y="512"/>
                  </a:lnTo>
                  <a:lnTo>
                    <a:pt x="169" y="507"/>
                  </a:lnTo>
                  <a:lnTo>
                    <a:pt x="164" y="504"/>
                  </a:lnTo>
                  <a:lnTo>
                    <a:pt x="162" y="497"/>
                  </a:lnTo>
                  <a:lnTo>
                    <a:pt x="164" y="495"/>
                  </a:lnTo>
                  <a:lnTo>
                    <a:pt x="172" y="497"/>
                  </a:lnTo>
                  <a:lnTo>
                    <a:pt x="176" y="497"/>
                  </a:lnTo>
                  <a:lnTo>
                    <a:pt x="177" y="497"/>
                  </a:lnTo>
                  <a:lnTo>
                    <a:pt x="182" y="495"/>
                  </a:lnTo>
                  <a:lnTo>
                    <a:pt x="186" y="488"/>
                  </a:lnTo>
                  <a:lnTo>
                    <a:pt x="196" y="487"/>
                  </a:lnTo>
                  <a:lnTo>
                    <a:pt x="205" y="489"/>
                  </a:lnTo>
                  <a:lnTo>
                    <a:pt x="222" y="489"/>
                  </a:lnTo>
                  <a:lnTo>
                    <a:pt x="229" y="489"/>
                  </a:lnTo>
                  <a:lnTo>
                    <a:pt x="233" y="484"/>
                  </a:lnTo>
                  <a:lnTo>
                    <a:pt x="239" y="479"/>
                  </a:lnTo>
                  <a:lnTo>
                    <a:pt x="246" y="475"/>
                  </a:lnTo>
                  <a:lnTo>
                    <a:pt x="256" y="469"/>
                  </a:lnTo>
                  <a:lnTo>
                    <a:pt x="275" y="452"/>
                  </a:lnTo>
                  <a:lnTo>
                    <a:pt x="280" y="449"/>
                  </a:lnTo>
                  <a:lnTo>
                    <a:pt x="290" y="448"/>
                  </a:lnTo>
                  <a:lnTo>
                    <a:pt x="303" y="451"/>
                  </a:lnTo>
                  <a:lnTo>
                    <a:pt x="308" y="455"/>
                  </a:lnTo>
                  <a:lnTo>
                    <a:pt x="311" y="455"/>
                  </a:lnTo>
                  <a:lnTo>
                    <a:pt x="322" y="455"/>
                  </a:lnTo>
                  <a:lnTo>
                    <a:pt x="333" y="452"/>
                  </a:lnTo>
                  <a:lnTo>
                    <a:pt x="336" y="448"/>
                  </a:lnTo>
                  <a:lnTo>
                    <a:pt x="338" y="442"/>
                  </a:lnTo>
                  <a:lnTo>
                    <a:pt x="338" y="434"/>
                  </a:lnTo>
                  <a:lnTo>
                    <a:pt x="339" y="428"/>
                  </a:lnTo>
                  <a:lnTo>
                    <a:pt x="341" y="426"/>
                  </a:lnTo>
                  <a:lnTo>
                    <a:pt x="345" y="428"/>
                  </a:lnTo>
                  <a:lnTo>
                    <a:pt x="348" y="435"/>
                  </a:lnTo>
                  <a:lnTo>
                    <a:pt x="352" y="445"/>
                  </a:lnTo>
                  <a:lnTo>
                    <a:pt x="356" y="445"/>
                  </a:lnTo>
                  <a:lnTo>
                    <a:pt x="359" y="446"/>
                  </a:lnTo>
                  <a:lnTo>
                    <a:pt x="364" y="448"/>
                  </a:lnTo>
                  <a:lnTo>
                    <a:pt x="366" y="452"/>
                  </a:lnTo>
                  <a:lnTo>
                    <a:pt x="369" y="454"/>
                  </a:lnTo>
                  <a:lnTo>
                    <a:pt x="369" y="459"/>
                  </a:lnTo>
                  <a:lnTo>
                    <a:pt x="379" y="458"/>
                  </a:lnTo>
                  <a:lnTo>
                    <a:pt x="388" y="451"/>
                  </a:lnTo>
                  <a:lnTo>
                    <a:pt x="395" y="448"/>
                  </a:lnTo>
                  <a:lnTo>
                    <a:pt x="402" y="448"/>
                  </a:lnTo>
                  <a:lnTo>
                    <a:pt x="408" y="449"/>
                  </a:lnTo>
                  <a:lnTo>
                    <a:pt x="409" y="454"/>
                  </a:lnTo>
                  <a:lnTo>
                    <a:pt x="406" y="461"/>
                  </a:lnTo>
                  <a:lnTo>
                    <a:pt x="404" y="465"/>
                  </a:lnTo>
                  <a:lnTo>
                    <a:pt x="404" y="472"/>
                  </a:lnTo>
                  <a:lnTo>
                    <a:pt x="402" y="475"/>
                  </a:lnTo>
                  <a:lnTo>
                    <a:pt x="406" y="479"/>
                  </a:lnTo>
                  <a:lnTo>
                    <a:pt x="412" y="481"/>
                  </a:lnTo>
                  <a:lnTo>
                    <a:pt x="424" y="478"/>
                  </a:lnTo>
                  <a:lnTo>
                    <a:pt x="434" y="478"/>
                  </a:lnTo>
                  <a:lnTo>
                    <a:pt x="447" y="479"/>
                  </a:lnTo>
                  <a:lnTo>
                    <a:pt x="457" y="482"/>
                  </a:lnTo>
                  <a:lnTo>
                    <a:pt x="467" y="485"/>
                  </a:lnTo>
                  <a:lnTo>
                    <a:pt x="488" y="491"/>
                  </a:lnTo>
                  <a:lnTo>
                    <a:pt x="512" y="492"/>
                  </a:lnTo>
                  <a:lnTo>
                    <a:pt x="531" y="495"/>
                  </a:lnTo>
                  <a:lnTo>
                    <a:pt x="538" y="498"/>
                  </a:lnTo>
                  <a:lnTo>
                    <a:pt x="541" y="505"/>
                  </a:lnTo>
                  <a:lnTo>
                    <a:pt x="543" y="532"/>
                  </a:lnTo>
                  <a:lnTo>
                    <a:pt x="548" y="561"/>
                  </a:lnTo>
                  <a:lnTo>
                    <a:pt x="564" y="590"/>
                  </a:lnTo>
                  <a:lnTo>
                    <a:pt x="565" y="592"/>
                  </a:lnTo>
                  <a:lnTo>
                    <a:pt x="573" y="592"/>
                  </a:lnTo>
                  <a:lnTo>
                    <a:pt x="583" y="590"/>
                  </a:lnTo>
                  <a:lnTo>
                    <a:pt x="587" y="590"/>
                  </a:lnTo>
                  <a:lnTo>
                    <a:pt x="591" y="590"/>
                  </a:lnTo>
                  <a:lnTo>
                    <a:pt x="596" y="591"/>
                  </a:lnTo>
                  <a:lnTo>
                    <a:pt x="600" y="592"/>
                  </a:lnTo>
                  <a:lnTo>
                    <a:pt x="604" y="597"/>
                  </a:lnTo>
                  <a:lnTo>
                    <a:pt x="606" y="601"/>
                  </a:lnTo>
                  <a:lnTo>
                    <a:pt x="613" y="604"/>
                  </a:lnTo>
                  <a:lnTo>
                    <a:pt x="627" y="607"/>
                  </a:lnTo>
                  <a:lnTo>
                    <a:pt x="639" y="608"/>
                  </a:lnTo>
                  <a:lnTo>
                    <a:pt x="650" y="611"/>
                  </a:lnTo>
                  <a:lnTo>
                    <a:pt x="657" y="618"/>
                  </a:lnTo>
                  <a:lnTo>
                    <a:pt x="660" y="618"/>
                  </a:lnTo>
                  <a:lnTo>
                    <a:pt x="664" y="617"/>
                  </a:lnTo>
                  <a:lnTo>
                    <a:pt x="676" y="617"/>
                  </a:lnTo>
                  <a:lnTo>
                    <a:pt x="683" y="615"/>
                  </a:lnTo>
                  <a:lnTo>
                    <a:pt x="684" y="610"/>
                  </a:lnTo>
                  <a:lnTo>
                    <a:pt x="687" y="603"/>
                  </a:lnTo>
                  <a:lnTo>
                    <a:pt x="693" y="600"/>
                  </a:lnTo>
                  <a:lnTo>
                    <a:pt x="700" y="598"/>
                  </a:lnTo>
                  <a:lnTo>
                    <a:pt x="703" y="600"/>
                  </a:lnTo>
                  <a:lnTo>
                    <a:pt x="703" y="604"/>
                  </a:lnTo>
                  <a:lnTo>
                    <a:pt x="703" y="608"/>
                  </a:lnTo>
                  <a:lnTo>
                    <a:pt x="706" y="610"/>
                  </a:lnTo>
                  <a:lnTo>
                    <a:pt x="713" y="608"/>
                  </a:lnTo>
                  <a:lnTo>
                    <a:pt x="716" y="607"/>
                  </a:lnTo>
                  <a:lnTo>
                    <a:pt x="719" y="604"/>
                  </a:lnTo>
                  <a:lnTo>
                    <a:pt x="722" y="604"/>
                  </a:lnTo>
                  <a:lnTo>
                    <a:pt x="727" y="607"/>
                  </a:lnTo>
                  <a:lnTo>
                    <a:pt x="739" y="617"/>
                  </a:lnTo>
                  <a:lnTo>
                    <a:pt x="752" y="624"/>
                  </a:lnTo>
                  <a:lnTo>
                    <a:pt x="756" y="624"/>
                  </a:lnTo>
                  <a:lnTo>
                    <a:pt x="760" y="621"/>
                  </a:lnTo>
                  <a:lnTo>
                    <a:pt x="765" y="620"/>
                  </a:lnTo>
                  <a:lnTo>
                    <a:pt x="772" y="621"/>
                  </a:lnTo>
                  <a:lnTo>
                    <a:pt x="773" y="624"/>
                  </a:lnTo>
                  <a:lnTo>
                    <a:pt x="779" y="624"/>
                  </a:lnTo>
                  <a:lnTo>
                    <a:pt x="782" y="621"/>
                  </a:lnTo>
                  <a:lnTo>
                    <a:pt x="790" y="623"/>
                  </a:lnTo>
                  <a:lnTo>
                    <a:pt x="800" y="624"/>
                  </a:lnTo>
                  <a:lnTo>
                    <a:pt x="809" y="627"/>
                  </a:lnTo>
                  <a:lnTo>
                    <a:pt x="826" y="638"/>
                  </a:lnTo>
                  <a:lnTo>
                    <a:pt x="835" y="648"/>
                  </a:lnTo>
                  <a:lnTo>
                    <a:pt x="845" y="651"/>
                  </a:lnTo>
                  <a:lnTo>
                    <a:pt x="858" y="648"/>
                  </a:lnTo>
                  <a:lnTo>
                    <a:pt x="873" y="637"/>
                  </a:lnTo>
                  <a:lnTo>
                    <a:pt x="873" y="631"/>
                  </a:lnTo>
                  <a:lnTo>
                    <a:pt x="875" y="623"/>
                  </a:lnTo>
                  <a:lnTo>
                    <a:pt x="883" y="617"/>
                  </a:lnTo>
                  <a:lnTo>
                    <a:pt x="893" y="615"/>
                  </a:lnTo>
                  <a:lnTo>
                    <a:pt x="902" y="621"/>
                  </a:lnTo>
                  <a:lnTo>
                    <a:pt x="908" y="627"/>
                  </a:lnTo>
                  <a:lnTo>
                    <a:pt x="909" y="624"/>
                  </a:lnTo>
                  <a:lnTo>
                    <a:pt x="912" y="618"/>
                  </a:lnTo>
                  <a:lnTo>
                    <a:pt x="916" y="611"/>
                  </a:lnTo>
                  <a:lnTo>
                    <a:pt x="931" y="603"/>
                  </a:lnTo>
                  <a:lnTo>
                    <a:pt x="939" y="591"/>
                  </a:lnTo>
                  <a:lnTo>
                    <a:pt x="949" y="571"/>
                  </a:lnTo>
                  <a:lnTo>
                    <a:pt x="958" y="561"/>
                  </a:lnTo>
                  <a:lnTo>
                    <a:pt x="961" y="527"/>
                  </a:lnTo>
                  <a:lnTo>
                    <a:pt x="961" y="527"/>
                  </a:lnTo>
                  <a:lnTo>
                    <a:pt x="958" y="527"/>
                  </a:lnTo>
                  <a:lnTo>
                    <a:pt x="952" y="524"/>
                  </a:lnTo>
                  <a:lnTo>
                    <a:pt x="944" y="517"/>
                  </a:lnTo>
                  <a:lnTo>
                    <a:pt x="934" y="508"/>
                  </a:lnTo>
                  <a:lnTo>
                    <a:pt x="928" y="501"/>
                  </a:lnTo>
                  <a:lnTo>
                    <a:pt x="924" y="487"/>
                  </a:lnTo>
                  <a:lnTo>
                    <a:pt x="924" y="466"/>
                  </a:lnTo>
                  <a:lnTo>
                    <a:pt x="924" y="466"/>
                  </a:lnTo>
                  <a:lnTo>
                    <a:pt x="918" y="459"/>
                  </a:lnTo>
                  <a:lnTo>
                    <a:pt x="915" y="455"/>
                  </a:lnTo>
                  <a:lnTo>
                    <a:pt x="912" y="449"/>
                  </a:lnTo>
                  <a:lnTo>
                    <a:pt x="912" y="439"/>
                  </a:lnTo>
                  <a:lnTo>
                    <a:pt x="912" y="439"/>
                  </a:lnTo>
                  <a:lnTo>
                    <a:pt x="915" y="426"/>
                  </a:lnTo>
                  <a:lnTo>
                    <a:pt x="919" y="413"/>
                  </a:lnTo>
                  <a:lnTo>
                    <a:pt x="919" y="413"/>
                  </a:lnTo>
                  <a:lnTo>
                    <a:pt x="919" y="409"/>
                  </a:lnTo>
                  <a:lnTo>
                    <a:pt x="919" y="405"/>
                  </a:lnTo>
                  <a:lnTo>
                    <a:pt x="919" y="401"/>
                  </a:lnTo>
                  <a:lnTo>
                    <a:pt x="921" y="396"/>
                  </a:lnTo>
                  <a:lnTo>
                    <a:pt x="921" y="396"/>
                  </a:lnTo>
                  <a:lnTo>
                    <a:pt x="925" y="386"/>
                  </a:lnTo>
                  <a:lnTo>
                    <a:pt x="929" y="381"/>
                  </a:lnTo>
                  <a:lnTo>
                    <a:pt x="932" y="378"/>
                  </a:lnTo>
                  <a:lnTo>
                    <a:pt x="932" y="378"/>
                  </a:lnTo>
                  <a:lnTo>
                    <a:pt x="942" y="373"/>
                  </a:lnTo>
                  <a:lnTo>
                    <a:pt x="948" y="370"/>
                  </a:lnTo>
                  <a:lnTo>
                    <a:pt x="951" y="366"/>
                  </a:lnTo>
                  <a:lnTo>
                    <a:pt x="951" y="366"/>
                  </a:lnTo>
                  <a:lnTo>
                    <a:pt x="954" y="353"/>
                  </a:lnTo>
                  <a:lnTo>
                    <a:pt x="958" y="342"/>
                  </a:lnTo>
                  <a:lnTo>
                    <a:pt x="999" y="310"/>
                  </a:lnTo>
                  <a:lnTo>
                    <a:pt x="1009" y="296"/>
                  </a:lnTo>
                  <a:lnTo>
                    <a:pt x="1009" y="296"/>
                  </a:lnTo>
                  <a:lnTo>
                    <a:pt x="1012" y="289"/>
                  </a:lnTo>
                  <a:lnTo>
                    <a:pt x="1014" y="285"/>
                  </a:lnTo>
                  <a:lnTo>
                    <a:pt x="1018" y="279"/>
                  </a:lnTo>
                  <a:lnTo>
                    <a:pt x="1024" y="275"/>
                  </a:lnTo>
                  <a:lnTo>
                    <a:pt x="1024" y="275"/>
                  </a:lnTo>
                  <a:lnTo>
                    <a:pt x="1021" y="263"/>
                  </a:lnTo>
                  <a:lnTo>
                    <a:pt x="1018" y="257"/>
                  </a:lnTo>
                  <a:lnTo>
                    <a:pt x="1015" y="253"/>
                  </a:lnTo>
                  <a:lnTo>
                    <a:pt x="1012" y="249"/>
                  </a:lnTo>
                  <a:lnTo>
                    <a:pt x="1008" y="246"/>
                  </a:lnTo>
                  <a:lnTo>
                    <a:pt x="1004" y="243"/>
                  </a:lnTo>
                  <a:lnTo>
                    <a:pt x="1002" y="244"/>
                  </a:lnTo>
                  <a:lnTo>
                    <a:pt x="999" y="244"/>
                  </a:lnTo>
                  <a:lnTo>
                    <a:pt x="998" y="246"/>
                  </a:lnTo>
                  <a:lnTo>
                    <a:pt x="997" y="246"/>
                  </a:lnTo>
                  <a:lnTo>
                    <a:pt x="995" y="244"/>
                  </a:lnTo>
                  <a:lnTo>
                    <a:pt x="995" y="244"/>
                  </a:lnTo>
                  <a:lnTo>
                    <a:pt x="997" y="240"/>
                  </a:lnTo>
                  <a:lnTo>
                    <a:pt x="998" y="234"/>
                  </a:lnTo>
                  <a:lnTo>
                    <a:pt x="998" y="220"/>
                  </a:lnTo>
                  <a:lnTo>
                    <a:pt x="999" y="212"/>
                  </a:lnTo>
                  <a:lnTo>
                    <a:pt x="1005" y="207"/>
                  </a:lnTo>
                  <a:lnTo>
                    <a:pt x="1011" y="199"/>
                  </a:lnTo>
                  <a:lnTo>
                    <a:pt x="1014" y="191"/>
                  </a:lnTo>
                  <a:lnTo>
                    <a:pt x="1022" y="181"/>
                  </a:lnTo>
                  <a:lnTo>
                    <a:pt x="1024" y="179"/>
                  </a:lnTo>
                  <a:lnTo>
                    <a:pt x="1025" y="173"/>
                  </a:lnTo>
                  <a:lnTo>
                    <a:pt x="1025" y="166"/>
                  </a:lnTo>
                  <a:lnTo>
                    <a:pt x="1025" y="164"/>
                  </a:lnTo>
                  <a:lnTo>
                    <a:pt x="1018" y="163"/>
                  </a:lnTo>
                  <a:lnTo>
                    <a:pt x="1018" y="157"/>
                  </a:lnTo>
                  <a:lnTo>
                    <a:pt x="1018" y="147"/>
                  </a:lnTo>
                  <a:lnTo>
                    <a:pt x="1028" y="143"/>
                  </a:lnTo>
                  <a:lnTo>
                    <a:pt x="1034" y="140"/>
                  </a:lnTo>
                  <a:lnTo>
                    <a:pt x="1038" y="143"/>
                  </a:lnTo>
                  <a:lnTo>
                    <a:pt x="1044" y="150"/>
                  </a:lnTo>
                  <a:lnTo>
                    <a:pt x="1048" y="153"/>
                  </a:lnTo>
                  <a:lnTo>
                    <a:pt x="1051" y="153"/>
                  </a:lnTo>
                  <a:lnTo>
                    <a:pt x="1051" y="153"/>
                  </a:lnTo>
                  <a:lnTo>
                    <a:pt x="1058" y="137"/>
                  </a:lnTo>
                  <a:lnTo>
                    <a:pt x="1041" y="128"/>
                  </a:lnTo>
                  <a:lnTo>
                    <a:pt x="1035" y="124"/>
                  </a:lnTo>
                  <a:lnTo>
                    <a:pt x="1035" y="121"/>
                  </a:lnTo>
                  <a:lnTo>
                    <a:pt x="1035" y="120"/>
                  </a:lnTo>
                  <a:lnTo>
                    <a:pt x="1038" y="114"/>
                  </a:lnTo>
                  <a:lnTo>
                    <a:pt x="1025" y="106"/>
                  </a:lnTo>
                  <a:lnTo>
                    <a:pt x="1024" y="104"/>
                  </a:lnTo>
                  <a:lnTo>
                    <a:pt x="1019" y="104"/>
                  </a:lnTo>
                  <a:lnTo>
                    <a:pt x="1014" y="103"/>
                  </a:lnTo>
                  <a:lnTo>
                    <a:pt x="1004" y="104"/>
                  </a:lnTo>
                  <a:lnTo>
                    <a:pt x="997" y="110"/>
                  </a:lnTo>
                  <a:lnTo>
                    <a:pt x="968" y="113"/>
                  </a:lnTo>
                  <a:lnTo>
                    <a:pt x="962" y="110"/>
                  </a:lnTo>
                  <a:lnTo>
                    <a:pt x="964" y="101"/>
                  </a:lnTo>
                  <a:lnTo>
                    <a:pt x="955" y="87"/>
                  </a:lnTo>
                  <a:lnTo>
                    <a:pt x="944" y="84"/>
                  </a:lnTo>
                  <a:lnTo>
                    <a:pt x="938" y="80"/>
                  </a:lnTo>
                  <a:lnTo>
                    <a:pt x="935" y="80"/>
                  </a:lnTo>
                  <a:lnTo>
                    <a:pt x="935" y="74"/>
                  </a:lnTo>
                  <a:lnTo>
                    <a:pt x="932" y="68"/>
                  </a:lnTo>
                  <a:lnTo>
                    <a:pt x="924" y="65"/>
                  </a:lnTo>
                  <a:lnTo>
                    <a:pt x="912" y="64"/>
                  </a:lnTo>
                  <a:lnTo>
                    <a:pt x="902" y="63"/>
                  </a:lnTo>
                  <a:lnTo>
                    <a:pt x="898" y="63"/>
                  </a:lnTo>
                  <a:lnTo>
                    <a:pt x="898" y="58"/>
                  </a:lnTo>
                  <a:lnTo>
                    <a:pt x="898" y="55"/>
                  </a:lnTo>
                  <a:lnTo>
                    <a:pt x="896" y="53"/>
                  </a:lnTo>
                  <a:lnTo>
                    <a:pt x="893" y="53"/>
                  </a:lnTo>
                  <a:lnTo>
                    <a:pt x="889" y="53"/>
                  </a:lnTo>
                  <a:lnTo>
                    <a:pt x="888" y="53"/>
                  </a:lnTo>
                  <a:lnTo>
                    <a:pt x="883" y="51"/>
                  </a:lnTo>
                  <a:lnTo>
                    <a:pt x="881" y="51"/>
                  </a:lnTo>
                  <a:lnTo>
                    <a:pt x="882" y="48"/>
                  </a:lnTo>
                  <a:lnTo>
                    <a:pt x="879" y="43"/>
                  </a:lnTo>
                  <a:lnTo>
                    <a:pt x="878" y="35"/>
                  </a:lnTo>
                  <a:lnTo>
                    <a:pt x="872" y="27"/>
                  </a:lnTo>
                  <a:lnTo>
                    <a:pt x="863" y="25"/>
                  </a:lnTo>
                  <a:lnTo>
                    <a:pt x="859" y="24"/>
                  </a:lnTo>
                  <a:lnTo>
                    <a:pt x="856" y="20"/>
                  </a:lnTo>
                  <a:lnTo>
                    <a:pt x="848" y="17"/>
                  </a:lnTo>
                  <a:lnTo>
                    <a:pt x="842" y="17"/>
                  </a:lnTo>
                  <a:lnTo>
                    <a:pt x="838" y="12"/>
                  </a:lnTo>
                  <a:lnTo>
                    <a:pt x="838" y="8"/>
                  </a:lnTo>
                  <a:lnTo>
                    <a:pt x="835" y="2"/>
                  </a:lnTo>
                  <a:lnTo>
                    <a:pt x="832" y="1"/>
                  </a:lnTo>
                  <a:lnTo>
                    <a:pt x="828" y="1"/>
                  </a:lnTo>
                  <a:lnTo>
                    <a:pt x="822" y="0"/>
                  </a:lnTo>
                  <a:lnTo>
                    <a:pt x="816" y="5"/>
                  </a:lnTo>
                  <a:lnTo>
                    <a:pt x="815" y="12"/>
                  </a:lnTo>
                  <a:lnTo>
                    <a:pt x="815" y="17"/>
                  </a:lnTo>
                  <a:lnTo>
                    <a:pt x="812" y="22"/>
                  </a:lnTo>
                  <a:lnTo>
                    <a:pt x="809" y="28"/>
                  </a:lnTo>
                  <a:lnTo>
                    <a:pt x="800" y="30"/>
                  </a:lnTo>
                  <a:lnTo>
                    <a:pt x="786" y="32"/>
                  </a:lnTo>
                  <a:lnTo>
                    <a:pt x="783" y="28"/>
                  </a:lnTo>
                  <a:lnTo>
                    <a:pt x="779" y="24"/>
                  </a:lnTo>
                  <a:lnTo>
                    <a:pt x="775" y="21"/>
                  </a:lnTo>
                  <a:lnTo>
                    <a:pt x="767" y="21"/>
                  </a:lnTo>
                  <a:lnTo>
                    <a:pt x="763" y="22"/>
                  </a:lnTo>
                  <a:lnTo>
                    <a:pt x="762" y="27"/>
                  </a:lnTo>
                  <a:lnTo>
                    <a:pt x="760" y="31"/>
                  </a:lnTo>
                  <a:lnTo>
                    <a:pt x="759" y="34"/>
                  </a:lnTo>
                  <a:lnTo>
                    <a:pt x="755" y="38"/>
                  </a:lnTo>
                  <a:lnTo>
                    <a:pt x="750" y="41"/>
                  </a:lnTo>
                  <a:lnTo>
                    <a:pt x="749" y="41"/>
                  </a:lnTo>
                  <a:lnTo>
                    <a:pt x="740" y="37"/>
                  </a:lnTo>
                  <a:lnTo>
                    <a:pt x="729" y="34"/>
                  </a:lnTo>
                  <a:lnTo>
                    <a:pt x="722" y="31"/>
                  </a:lnTo>
                  <a:lnTo>
                    <a:pt x="717" y="31"/>
                  </a:lnTo>
                  <a:lnTo>
                    <a:pt x="713" y="34"/>
                  </a:lnTo>
                  <a:lnTo>
                    <a:pt x="697" y="47"/>
                  </a:lnTo>
                  <a:lnTo>
                    <a:pt x="692" y="48"/>
                  </a:lnTo>
                  <a:lnTo>
                    <a:pt x="684" y="47"/>
                  </a:lnTo>
                  <a:lnTo>
                    <a:pt x="681" y="45"/>
                  </a:lnTo>
                  <a:lnTo>
                    <a:pt x="677" y="34"/>
                  </a:lnTo>
                  <a:lnTo>
                    <a:pt x="667" y="37"/>
                  </a:lnTo>
                  <a:lnTo>
                    <a:pt x="644" y="43"/>
                  </a:lnTo>
                  <a:lnTo>
                    <a:pt x="624" y="47"/>
                  </a:lnTo>
                  <a:lnTo>
                    <a:pt x="614" y="51"/>
                  </a:lnTo>
                  <a:lnTo>
                    <a:pt x="608" y="53"/>
                  </a:lnTo>
                  <a:lnTo>
                    <a:pt x="608" y="57"/>
                  </a:lnTo>
                  <a:lnTo>
                    <a:pt x="611" y="60"/>
                  </a:lnTo>
                  <a:lnTo>
                    <a:pt x="618" y="61"/>
                  </a:lnTo>
                  <a:lnTo>
                    <a:pt x="618" y="65"/>
                  </a:lnTo>
                  <a:lnTo>
                    <a:pt x="608" y="78"/>
                  </a:lnTo>
                  <a:lnTo>
                    <a:pt x="607" y="93"/>
                  </a:lnTo>
                  <a:lnTo>
                    <a:pt x="603" y="101"/>
                  </a:lnTo>
                  <a:lnTo>
                    <a:pt x="596" y="111"/>
                  </a:lnTo>
                  <a:lnTo>
                    <a:pt x="596" y="118"/>
                  </a:lnTo>
                  <a:lnTo>
                    <a:pt x="596" y="121"/>
                  </a:lnTo>
                  <a:lnTo>
                    <a:pt x="593" y="121"/>
                  </a:lnTo>
                  <a:lnTo>
                    <a:pt x="586" y="118"/>
                  </a:lnTo>
                  <a:lnTo>
                    <a:pt x="578" y="117"/>
                  </a:lnTo>
                  <a:lnTo>
                    <a:pt x="571" y="121"/>
                  </a:lnTo>
                  <a:lnTo>
                    <a:pt x="553" y="137"/>
                  </a:lnTo>
                  <a:lnTo>
                    <a:pt x="543" y="146"/>
                  </a:lnTo>
                  <a:lnTo>
                    <a:pt x="538" y="154"/>
                  </a:lnTo>
                  <a:lnTo>
                    <a:pt x="537" y="164"/>
                  </a:lnTo>
                  <a:lnTo>
                    <a:pt x="531" y="170"/>
                  </a:lnTo>
                  <a:lnTo>
                    <a:pt x="525" y="181"/>
                  </a:lnTo>
                  <a:lnTo>
                    <a:pt x="517" y="189"/>
                  </a:lnTo>
                  <a:lnTo>
                    <a:pt x="515" y="189"/>
                  </a:lnTo>
                  <a:lnTo>
                    <a:pt x="515" y="193"/>
                  </a:lnTo>
                  <a:lnTo>
                    <a:pt x="514" y="199"/>
                  </a:lnTo>
                  <a:lnTo>
                    <a:pt x="512" y="203"/>
                  </a:lnTo>
                  <a:lnTo>
                    <a:pt x="510" y="207"/>
                  </a:lnTo>
                  <a:lnTo>
                    <a:pt x="504" y="213"/>
                  </a:lnTo>
                  <a:lnTo>
                    <a:pt x="500" y="226"/>
                  </a:lnTo>
                  <a:lnTo>
                    <a:pt x="498" y="230"/>
                  </a:lnTo>
                  <a:lnTo>
                    <a:pt x="485" y="232"/>
                  </a:lnTo>
                  <a:lnTo>
                    <a:pt x="475" y="233"/>
                  </a:lnTo>
                  <a:lnTo>
                    <a:pt x="468" y="236"/>
                  </a:lnTo>
                  <a:lnTo>
                    <a:pt x="445" y="253"/>
                  </a:lnTo>
                  <a:lnTo>
                    <a:pt x="431" y="260"/>
                  </a:lnTo>
                  <a:lnTo>
                    <a:pt x="418" y="276"/>
                  </a:lnTo>
                  <a:lnTo>
                    <a:pt x="411" y="277"/>
                  </a:lnTo>
                  <a:lnTo>
                    <a:pt x="406" y="272"/>
                  </a:lnTo>
                  <a:lnTo>
                    <a:pt x="398" y="270"/>
                  </a:lnTo>
                  <a:lnTo>
                    <a:pt x="389" y="277"/>
                  </a:lnTo>
                  <a:lnTo>
                    <a:pt x="381" y="279"/>
                  </a:lnTo>
                  <a:lnTo>
                    <a:pt x="369" y="276"/>
                  </a:lnTo>
                  <a:lnTo>
                    <a:pt x="358" y="275"/>
                  </a:lnTo>
                  <a:lnTo>
                    <a:pt x="352" y="275"/>
                  </a:lnTo>
                  <a:lnTo>
                    <a:pt x="338" y="276"/>
                  </a:lnTo>
                  <a:lnTo>
                    <a:pt x="328" y="276"/>
                  </a:lnTo>
                  <a:lnTo>
                    <a:pt x="325" y="276"/>
                  </a:lnTo>
                  <a:lnTo>
                    <a:pt x="323" y="275"/>
                  </a:lnTo>
                  <a:lnTo>
                    <a:pt x="321" y="270"/>
                  </a:lnTo>
                  <a:lnTo>
                    <a:pt x="313" y="263"/>
                  </a:lnTo>
                  <a:lnTo>
                    <a:pt x="306" y="262"/>
                  </a:lnTo>
                  <a:lnTo>
                    <a:pt x="299" y="260"/>
                  </a:lnTo>
                  <a:lnTo>
                    <a:pt x="290" y="256"/>
                  </a:lnTo>
                  <a:lnTo>
                    <a:pt x="283" y="253"/>
                  </a:lnTo>
                  <a:lnTo>
                    <a:pt x="268" y="250"/>
                  </a:lnTo>
                  <a:lnTo>
                    <a:pt x="256" y="250"/>
                  </a:lnTo>
                  <a:lnTo>
                    <a:pt x="249" y="249"/>
                  </a:lnTo>
                  <a:lnTo>
                    <a:pt x="246" y="247"/>
                  </a:lnTo>
                  <a:lnTo>
                    <a:pt x="242" y="243"/>
                  </a:lnTo>
                  <a:lnTo>
                    <a:pt x="239" y="239"/>
                  </a:lnTo>
                  <a:lnTo>
                    <a:pt x="232" y="239"/>
                  </a:lnTo>
                  <a:lnTo>
                    <a:pt x="227" y="239"/>
                  </a:lnTo>
                  <a:lnTo>
                    <a:pt x="223" y="242"/>
                  </a:lnTo>
                  <a:lnTo>
                    <a:pt x="216" y="240"/>
                  </a:lnTo>
                  <a:lnTo>
                    <a:pt x="210" y="239"/>
                  </a:lnTo>
                  <a:lnTo>
                    <a:pt x="209" y="234"/>
                  </a:lnTo>
                  <a:lnTo>
                    <a:pt x="207" y="226"/>
                  </a:lnTo>
                  <a:lnTo>
                    <a:pt x="206" y="217"/>
                  </a:lnTo>
                  <a:lnTo>
                    <a:pt x="202" y="212"/>
                  </a:lnTo>
                  <a:lnTo>
                    <a:pt x="192" y="204"/>
                  </a:lnTo>
                  <a:lnTo>
                    <a:pt x="183" y="196"/>
                  </a:lnTo>
                  <a:lnTo>
                    <a:pt x="174" y="184"/>
                  </a:lnTo>
                  <a:lnTo>
                    <a:pt x="169" y="184"/>
                  </a:lnTo>
                  <a:lnTo>
                    <a:pt x="167" y="187"/>
                  </a:lnTo>
                  <a:lnTo>
                    <a:pt x="163" y="190"/>
                  </a:lnTo>
                  <a:lnTo>
                    <a:pt x="157" y="191"/>
                  </a:lnTo>
                  <a:lnTo>
                    <a:pt x="146" y="190"/>
                  </a:lnTo>
                  <a:lnTo>
                    <a:pt x="142" y="190"/>
                  </a:lnTo>
                  <a:lnTo>
                    <a:pt x="140" y="194"/>
                  </a:lnTo>
                  <a:lnTo>
                    <a:pt x="143" y="200"/>
                  </a:lnTo>
                  <a:lnTo>
                    <a:pt x="143" y="203"/>
                  </a:lnTo>
                  <a:lnTo>
                    <a:pt x="142" y="212"/>
                  </a:lnTo>
                  <a:lnTo>
                    <a:pt x="136" y="217"/>
                  </a:lnTo>
                  <a:lnTo>
                    <a:pt x="129" y="224"/>
                  </a:lnTo>
                  <a:lnTo>
                    <a:pt x="129" y="230"/>
                  </a:lnTo>
                  <a:lnTo>
                    <a:pt x="137" y="252"/>
                  </a:lnTo>
                  <a:lnTo>
                    <a:pt x="136" y="257"/>
                  </a:lnTo>
                  <a:lnTo>
                    <a:pt x="134" y="259"/>
                  </a:lnTo>
                  <a:lnTo>
                    <a:pt x="130" y="259"/>
                  </a:lnTo>
                  <a:lnTo>
                    <a:pt x="120" y="257"/>
                  </a:lnTo>
                  <a:lnTo>
                    <a:pt x="114" y="259"/>
                  </a:lnTo>
                  <a:lnTo>
                    <a:pt x="110" y="265"/>
                  </a:lnTo>
                  <a:lnTo>
                    <a:pt x="97" y="280"/>
                  </a:lnTo>
                  <a:lnTo>
                    <a:pt x="96" y="280"/>
                  </a:lnTo>
                  <a:lnTo>
                    <a:pt x="90" y="285"/>
                  </a:lnTo>
                  <a:lnTo>
                    <a:pt x="87" y="286"/>
                  </a:lnTo>
                  <a:lnTo>
                    <a:pt x="79" y="285"/>
                  </a:lnTo>
                  <a:lnTo>
                    <a:pt x="74" y="280"/>
                  </a:lnTo>
                  <a:lnTo>
                    <a:pt x="67" y="275"/>
                  </a:lnTo>
                  <a:lnTo>
                    <a:pt x="60" y="272"/>
                  </a:lnTo>
                  <a:lnTo>
                    <a:pt x="53" y="272"/>
                  </a:lnTo>
                  <a:lnTo>
                    <a:pt x="50" y="273"/>
                  </a:lnTo>
                  <a:lnTo>
                    <a:pt x="46" y="275"/>
                  </a:lnTo>
                  <a:lnTo>
                    <a:pt x="43" y="277"/>
                  </a:lnTo>
                  <a:lnTo>
                    <a:pt x="40" y="276"/>
                  </a:lnTo>
                  <a:lnTo>
                    <a:pt x="40" y="276"/>
                  </a:lnTo>
                  <a:lnTo>
                    <a:pt x="43" y="269"/>
                  </a:lnTo>
                  <a:lnTo>
                    <a:pt x="43" y="263"/>
                  </a:lnTo>
                  <a:lnTo>
                    <a:pt x="41" y="260"/>
                  </a:lnTo>
                  <a:lnTo>
                    <a:pt x="37" y="259"/>
                  </a:lnTo>
                  <a:lnTo>
                    <a:pt x="33" y="259"/>
                  </a:lnTo>
                  <a:lnTo>
                    <a:pt x="31" y="259"/>
                  </a:lnTo>
                  <a:lnTo>
                    <a:pt x="26" y="260"/>
                  </a:lnTo>
                  <a:lnTo>
                    <a:pt x="26" y="262"/>
                  </a:lnTo>
                  <a:lnTo>
                    <a:pt x="21" y="265"/>
                  </a:lnTo>
                  <a:lnTo>
                    <a:pt x="17" y="267"/>
                  </a:lnTo>
                  <a:lnTo>
                    <a:pt x="13" y="267"/>
                  </a:lnTo>
                  <a:lnTo>
                    <a:pt x="5" y="269"/>
                  </a:lnTo>
                  <a:lnTo>
                    <a:pt x="0" y="267"/>
                  </a:lnTo>
                  <a:lnTo>
                    <a:pt x="1" y="277"/>
                  </a:lnTo>
                  <a:lnTo>
                    <a:pt x="7" y="287"/>
                  </a:lnTo>
                  <a:lnTo>
                    <a:pt x="10" y="292"/>
                  </a:lnTo>
                  <a:lnTo>
                    <a:pt x="10" y="296"/>
                  </a:lnTo>
                  <a:lnTo>
                    <a:pt x="10" y="300"/>
                  </a:lnTo>
                  <a:lnTo>
                    <a:pt x="10" y="307"/>
                  </a:lnTo>
                  <a:lnTo>
                    <a:pt x="7" y="313"/>
                  </a:lnTo>
                  <a:lnTo>
                    <a:pt x="5" y="318"/>
                  </a:lnTo>
                  <a:lnTo>
                    <a:pt x="4" y="322"/>
                  </a:lnTo>
                  <a:lnTo>
                    <a:pt x="4" y="328"/>
                  </a:lnTo>
                  <a:lnTo>
                    <a:pt x="7" y="333"/>
                  </a:lnTo>
                  <a:lnTo>
                    <a:pt x="10" y="338"/>
                  </a:lnTo>
                  <a:lnTo>
                    <a:pt x="10" y="345"/>
                  </a:lnTo>
                  <a:lnTo>
                    <a:pt x="10" y="355"/>
                  </a:lnTo>
                  <a:lnTo>
                    <a:pt x="14" y="360"/>
                  </a:lnTo>
                  <a:lnTo>
                    <a:pt x="21" y="373"/>
                  </a:lnTo>
                  <a:lnTo>
                    <a:pt x="31" y="388"/>
                  </a:lnTo>
                  <a:lnTo>
                    <a:pt x="38" y="401"/>
                  </a:lnTo>
                  <a:lnTo>
                    <a:pt x="47" y="411"/>
                  </a:lnTo>
                  <a:lnTo>
                    <a:pt x="51" y="425"/>
                  </a:lnTo>
                  <a:lnTo>
                    <a:pt x="58" y="434"/>
                  </a:lnTo>
                  <a:lnTo>
                    <a:pt x="60" y="439"/>
                  </a:lnTo>
                  <a:lnTo>
                    <a:pt x="68" y="446"/>
                  </a:lnTo>
                  <a:lnTo>
                    <a:pt x="76" y="452"/>
                  </a:lnTo>
                  <a:lnTo>
                    <a:pt x="76" y="452"/>
                  </a:lnTo>
                  <a:lnTo>
                    <a:pt x="77" y="456"/>
                  </a:lnTo>
                  <a:lnTo>
                    <a:pt x="79" y="459"/>
                  </a:lnTo>
                  <a:lnTo>
                    <a:pt x="77" y="462"/>
                  </a:lnTo>
                  <a:lnTo>
                    <a:pt x="77" y="464"/>
                  </a:lnTo>
                  <a:lnTo>
                    <a:pt x="73" y="466"/>
                  </a:lnTo>
                  <a:lnTo>
                    <a:pt x="68" y="466"/>
                  </a:lnTo>
                  <a:lnTo>
                    <a:pt x="68" y="466"/>
                  </a:lnTo>
                  <a:close/>
                  <a:moveTo>
                    <a:pt x="948" y="369"/>
                  </a:moveTo>
                  <a:lnTo>
                    <a:pt x="949" y="370"/>
                  </a:lnTo>
                  <a:lnTo>
                    <a:pt x="949" y="372"/>
                  </a:lnTo>
                  <a:lnTo>
                    <a:pt x="948" y="370"/>
                  </a:lnTo>
                  <a:lnTo>
                    <a:pt x="948" y="36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00" name="Freeform 248"/>
            <p:cNvSpPr>
              <a:spLocks/>
            </p:cNvSpPr>
            <p:nvPr/>
          </p:nvSpPr>
          <p:spPr bwMode="auto">
            <a:xfrm>
              <a:off x="5518377" y="4775163"/>
              <a:ext cx="1044077" cy="871794"/>
            </a:xfrm>
            <a:custGeom>
              <a:avLst/>
              <a:gdLst>
                <a:gd name="T0" fmla="*/ 1489 w 1710"/>
                <a:gd name="T1" fmla="*/ 592 h 1318"/>
                <a:gd name="T2" fmla="*/ 1469 w 1710"/>
                <a:gd name="T3" fmla="*/ 619 h 1318"/>
                <a:gd name="T4" fmla="*/ 1515 w 1710"/>
                <a:gd name="T5" fmla="*/ 680 h 1318"/>
                <a:gd name="T6" fmla="*/ 1525 w 1710"/>
                <a:gd name="T7" fmla="*/ 718 h 1318"/>
                <a:gd name="T8" fmla="*/ 1462 w 1710"/>
                <a:gd name="T9" fmla="*/ 811 h 1318"/>
                <a:gd name="T10" fmla="*/ 1379 w 1710"/>
                <a:gd name="T11" fmla="*/ 845 h 1318"/>
                <a:gd name="T12" fmla="*/ 1332 w 1710"/>
                <a:gd name="T13" fmla="*/ 881 h 1318"/>
                <a:gd name="T14" fmla="*/ 1244 w 1710"/>
                <a:gd name="T15" fmla="*/ 975 h 1318"/>
                <a:gd name="T16" fmla="*/ 1196 w 1710"/>
                <a:gd name="T17" fmla="*/ 1018 h 1318"/>
                <a:gd name="T18" fmla="*/ 1064 w 1710"/>
                <a:gd name="T19" fmla="*/ 1050 h 1318"/>
                <a:gd name="T20" fmla="*/ 1017 w 1710"/>
                <a:gd name="T21" fmla="*/ 1113 h 1318"/>
                <a:gd name="T22" fmla="*/ 1039 w 1710"/>
                <a:gd name="T23" fmla="*/ 1205 h 1318"/>
                <a:gd name="T24" fmla="*/ 956 w 1710"/>
                <a:gd name="T25" fmla="*/ 1269 h 1318"/>
                <a:gd name="T26" fmla="*/ 876 w 1710"/>
                <a:gd name="T27" fmla="*/ 1281 h 1318"/>
                <a:gd name="T28" fmla="*/ 770 w 1710"/>
                <a:gd name="T29" fmla="*/ 1258 h 1318"/>
                <a:gd name="T30" fmla="*/ 646 w 1710"/>
                <a:gd name="T31" fmla="*/ 1273 h 1318"/>
                <a:gd name="T32" fmla="*/ 537 w 1710"/>
                <a:gd name="T33" fmla="*/ 1316 h 1318"/>
                <a:gd name="T34" fmla="*/ 449 w 1710"/>
                <a:gd name="T35" fmla="*/ 1291 h 1318"/>
                <a:gd name="T36" fmla="*/ 381 w 1710"/>
                <a:gd name="T37" fmla="*/ 1186 h 1318"/>
                <a:gd name="T38" fmla="*/ 312 w 1710"/>
                <a:gd name="T39" fmla="*/ 1107 h 1318"/>
                <a:gd name="T40" fmla="*/ 134 w 1710"/>
                <a:gd name="T41" fmla="*/ 1060 h 1318"/>
                <a:gd name="T42" fmla="*/ 76 w 1710"/>
                <a:gd name="T43" fmla="*/ 1026 h 1318"/>
                <a:gd name="T44" fmla="*/ 1 w 1710"/>
                <a:gd name="T45" fmla="*/ 978 h 1318"/>
                <a:gd name="T46" fmla="*/ 30 w 1710"/>
                <a:gd name="T47" fmla="*/ 898 h 1318"/>
                <a:gd name="T48" fmla="*/ 67 w 1710"/>
                <a:gd name="T49" fmla="*/ 861 h 1318"/>
                <a:gd name="T50" fmla="*/ 134 w 1710"/>
                <a:gd name="T51" fmla="*/ 804 h 1318"/>
                <a:gd name="T52" fmla="*/ 240 w 1710"/>
                <a:gd name="T53" fmla="*/ 898 h 1318"/>
                <a:gd name="T54" fmla="*/ 346 w 1710"/>
                <a:gd name="T55" fmla="*/ 980 h 1318"/>
                <a:gd name="T56" fmla="*/ 422 w 1710"/>
                <a:gd name="T57" fmla="*/ 1026 h 1318"/>
                <a:gd name="T58" fmla="*/ 488 w 1710"/>
                <a:gd name="T59" fmla="*/ 1103 h 1318"/>
                <a:gd name="T60" fmla="*/ 571 w 1710"/>
                <a:gd name="T61" fmla="*/ 1129 h 1318"/>
                <a:gd name="T62" fmla="*/ 714 w 1710"/>
                <a:gd name="T63" fmla="*/ 1001 h 1318"/>
                <a:gd name="T64" fmla="*/ 819 w 1710"/>
                <a:gd name="T65" fmla="*/ 880 h 1318"/>
                <a:gd name="T66" fmla="*/ 968 w 1710"/>
                <a:gd name="T67" fmla="*/ 649 h 1318"/>
                <a:gd name="T68" fmla="*/ 956 w 1710"/>
                <a:gd name="T69" fmla="*/ 513 h 1318"/>
                <a:gd name="T70" fmla="*/ 939 w 1710"/>
                <a:gd name="T71" fmla="*/ 388 h 1318"/>
                <a:gd name="T72" fmla="*/ 974 w 1710"/>
                <a:gd name="T73" fmla="*/ 315 h 1318"/>
                <a:gd name="T74" fmla="*/ 912 w 1710"/>
                <a:gd name="T75" fmla="*/ 262 h 1318"/>
                <a:gd name="T76" fmla="*/ 1002 w 1710"/>
                <a:gd name="T77" fmla="*/ 195 h 1318"/>
                <a:gd name="T78" fmla="*/ 1068 w 1710"/>
                <a:gd name="T79" fmla="*/ 151 h 1318"/>
                <a:gd name="T80" fmla="*/ 1128 w 1710"/>
                <a:gd name="T81" fmla="*/ 151 h 1318"/>
                <a:gd name="T82" fmla="*/ 1157 w 1710"/>
                <a:gd name="T83" fmla="*/ 110 h 1318"/>
                <a:gd name="T84" fmla="*/ 1249 w 1710"/>
                <a:gd name="T85" fmla="*/ 106 h 1318"/>
                <a:gd name="T86" fmla="*/ 1307 w 1710"/>
                <a:gd name="T87" fmla="*/ 149 h 1318"/>
                <a:gd name="T88" fmla="*/ 1383 w 1710"/>
                <a:gd name="T89" fmla="*/ 129 h 1318"/>
                <a:gd name="T90" fmla="*/ 1453 w 1710"/>
                <a:gd name="T91" fmla="*/ 56 h 1318"/>
                <a:gd name="T92" fmla="*/ 1555 w 1710"/>
                <a:gd name="T93" fmla="*/ 7 h 1318"/>
                <a:gd name="T94" fmla="*/ 1519 w 1710"/>
                <a:gd name="T95" fmla="*/ 53 h 1318"/>
                <a:gd name="T96" fmla="*/ 1505 w 1710"/>
                <a:gd name="T97" fmla="*/ 115 h 1318"/>
                <a:gd name="T98" fmla="*/ 1545 w 1710"/>
                <a:gd name="T99" fmla="*/ 135 h 1318"/>
                <a:gd name="T100" fmla="*/ 1558 w 1710"/>
                <a:gd name="T101" fmla="*/ 178 h 1318"/>
                <a:gd name="T102" fmla="*/ 1572 w 1710"/>
                <a:gd name="T103" fmla="*/ 222 h 1318"/>
                <a:gd name="T104" fmla="*/ 1588 w 1710"/>
                <a:gd name="T105" fmla="*/ 279 h 1318"/>
                <a:gd name="T106" fmla="*/ 1621 w 1710"/>
                <a:gd name="T107" fmla="*/ 294 h 1318"/>
                <a:gd name="T108" fmla="*/ 1655 w 1710"/>
                <a:gd name="T109" fmla="*/ 307 h 1318"/>
                <a:gd name="T110" fmla="*/ 1693 w 1710"/>
                <a:gd name="T111" fmla="*/ 328 h 1318"/>
                <a:gd name="T112" fmla="*/ 1710 w 1710"/>
                <a:gd name="T113" fmla="*/ 367 h 1318"/>
                <a:gd name="T114" fmla="*/ 1701 w 1710"/>
                <a:gd name="T115" fmla="*/ 404 h 1318"/>
                <a:gd name="T116" fmla="*/ 1683 w 1710"/>
                <a:gd name="T117" fmla="*/ 428 h 1318"/>
                <a:gd name="T118" fmla="*/ 1644 w 1710"/>
                <a:gd name="T119" fmla="*/ 436 h 1318"/>
                <a:gd name="T120" fmla="*/ 1599 w 1710"/>
                <a:gd name="T121" fmla="*/ 466 h 1318"/>
                <a:gd name="T122" fmla="*/ 1558 w 1710"/>
                <a:gd name="T123" fmla="*/ 540 h 1318"/>
                <a:gd name="T124" fmla="*/ 1525 w 1710"/>
                <a:gd name="T125" fmla="*/ 566 h 1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10" h="1318">
                  <a:moveTo>
                    <a:pt x="1524" y="574"/>
                  </a:moveTo>
                  <a:lnTo>
                    <a:pt x="1518" y="576"/>
                  </a:lnTo>
                  <a:lnTo>
                    <a:pt x="1514" y="577"/>
                  </a:lnTo>
                  <a:lnTo>
                    <a:pt x="1511" y="580"/>
                  </a:lnTo>
                  <a:lnTo>
                    <a:pt x="1509" y="583"/>
                  </a:lnTo>
                  <a:lnTo>
                    <a:pt x="1508" y="586"/>
                  </a:lnTo>
                  <a:lnTo>
                    <a:pt x="1505" y="587"/>
                  </a:lnTo>
                  <a:lnTo>
                    <a:pt x="1504" y="587"/>
                  </a:lnTo>
                  <a:lnTo>
                    <a:pt x="1501" y="590"/>
                  </a:lnTo>
                  <a:lnTo>
                    <a:pt x="1498" y="590"/>
                  </a:lnTo>
                  <a:lnTo>
                    <a:pt x="1495" y="589"/>
                  </a:lnTo>
                  <a:lnTo>
                    <a:pt x="1493" y="589"/>
                  </a:lnTo>
                  <a:lnTo>
                    <a:pt x="1489" y="592"/>
                  </a:lnTo>
                  <a:lnTo>
                    <a:pt x="1489" y="594"/>
                  </a:lnTo>
                  <a:lnTo>
                    <a:pt x="1486" y="596"/>
                  </a:lnTo>
                  <a:lnTo>
                    <a:pt x="1482" y="597"/>
                  </a:lnTo>
                  <a:lnTo>
                    <a:pt x="1479" y="600"/>
                  </a:lnTo>
                  <a:lnTo>
                    <a:pt x="1478" y="603"/>
                  </a:lnTo>
                  <a:lnTo>
                    <a:pt x="1478" y="606"/>
                  </a:lnTo>
                  <a:lnTo>
                    <a:pt x="1481" y="609"/>
                  </a:lnTo>
                  <a:lnTo>
                    <a:pt x="1481" y="610"/>
                  </a:lnTo>
                  <a:lnTo>
                    <a:pt x="1479" y="615"/>
                  </a:lnTo>
                  <a:lnTo>
                    <a:pt x="1476" y="615"/>
                  </a:lnTo>
                  <a:lnTo>
                    <a:pt x="1473" y="615"/>
                  </a:lnTo>
                  <a:lnTo>
                    <a:pt x="1471" y="616"/>
                  </a:lnTo>
                  <a:lnTo>
                    <a:pt x="1469" y="619"/>
                  </a:lnTo>
                  <a:lnTo>
                    <a:pt x="1465" y="620"/>
                  </a:lnTo>
                  <a:lnTo>
                    <a:pt x="1472" y="632"/>
                  </a:lnTo>
                  <a:lnTo>
                    <a:pt x="1475" y="645"/>
                  </a:lnTo>
                  <a:lnTo>
                    <a:pt x="1479" y="652"/>
                  </a:lnTo>
                  <a:lnTo>
                    <a:pt x="1483" y="659"/>
                  </a:lnTo>
                  <a:lnTo>
                    <a:pt x="1486" y="666"/>
                  </a:lnTo>
                  <a:lnTo>
                    <a:pt x="1491" y="678"/>
                  </a:lnTo>
                  <a:lnTo>
                    <a:pt x="1493" y="682"/>
                  </a:lnTo>
                  <a:lnTo>
                    <a:pt x="1496" y="682"/>
                  </a:lnTo>
                  <a:lnTo>
                    <a:pt x="1498" y="679"/>
                  </a:lnTo>
                  <a:lnTo>
                    <a:pt x="1502" y="678"/>
                  </a:lnTo>
                  <a:lnTo>
                    <a:pt x="1509" y="679"/>
                  </a:lnTo>
                  <a:lnTo>
                    <a:pt x="1515" y="680"/>
                  </a:lnTo>
                  <a:lnTo>
                    <a:pt x="1518" y="682"/>
                  </a:lnTo>
                  <a:lnTo>
                    <a:pt x="1518" y="688"/>
                  </a:lnTo>
                  <a:lnTo>
                    <a:pt x="1518" y="690"/>
                  </a:lnTo>
                  <a:lnTo>
                    <a:pt x="1521" y="693"/>
                  </a:lnTo>
                  <a:lnTo>
                    <a:pt x="1525" y="693"/>
                  </a:lnTo>
                  <a:lnTo>
                    <a:pt x="1531" y="695"/>
                  </a:lnTo>
                  <a:lnTo>
                    <a:pt x="1532" y="696"/>
                  </a:lnTo>
                  <a:lnTo>
                    <a:pt x="1531" y="700"/>
                  </a:lnTo>
                  <a:lnTo>
                    <a:pt x="1531" y="705"/>
                  </a:lnTo>
                  <a:lnTo>
                    <a:pt x="1532" y="709"/>
                  </a:lnTo>
                  <a:lnTo>
                    <a:pt x="1531" y="712"/>
                  </a:lnTo>
                  <a:lnTo>
                    <a:pt x="1528" y="715"/>
                  </a:lnTo>
                  <a:lnTo>
                    <a:pt x="1525" y="718"/>
                  </a:lnTo>
                  <a:lnTo>
                    <a:pt x="1524" y="723"/>
                  </a:lnTo>
                  <a:lnTo>
                    <a:pt x="1526" y="731"/>
                  </a:lnTo>
                  <a:lnTo>
                    <a:pt x="1531" y="741"/>
                  </a:lnTo>
                  <a:lnTo>
                    <a:pt x="1529" y="751"/>
                  </a:lnTo>
                  <a:lnTo>
                    <a:pt x="1524" y="765"/>
                  </a:lnTo>
                  <a:lnTo>
                    <a:pt x="1516" y="772"/>
                  </a:lnTo>
                  <a:lnTo>
                    <a:pt x="1502" y="781"/>
                  </a:lnTo>
                  <a:lnTo>
                    <a:pt x="1486" y="791"/>
                  </a:lnTo>
                  <a:lnTo>
                    <a:pt x="1479" y="796"/>
                  </a:lnTo>
                  <a:lnTo>
                    <a:pt x="1473" y="804"/>
                  </a:lnTo>
                  <a:lnTo>
                    <a:pt x="1468" y="812"/>
                  </a:lnTo>
                  <a:lnTo>
                    <a:pt x="1465" y="812"/>
                  </a:lnTo>
                  <a:lnTo>
                    <a:pt x="1462" y="811"/>
                  </a:lnTo>
                  <a:lnTo>
                    <a:pt x="1456" y="808"/>
                  </a:lnTo>
                  <a:lnTo>
                    <a:pt x="1451" y="808"/>
                  </a:lnTo>
                  <a:lnTo>
                    <a:pt x="1438" y="818"/>
                  </a:lnTo>
                  <a:lnTo>
                    <a:pt x="1429" y="821"/>
                  </a:lnTo>
                  <a:lnTo>
                    <a:pt x="1425" y="825"/>
                  </a:lnTo>
                  <a:lnTo>
                    <a:pt x="1420" y="832"/>
                  </a:lnTo>
                  <a:lnTo>
                    <a:pt x="1413" y="838"/>
                  </a:lnTo>
                  <a:lnTo>
                    <a:pt x="1409" y="841"/>
                  </a:lnTo>
                  <a:lnTo>
                    <a:pt x="1405" y="841"/>
                  </a:lnTo>
                  <a:lnTo>
                    <a:pt x="1393" y="841"/>
                  </a:lnTo>
                  <a:lnTo>
                    <a:pt x="1387" y="841"/>
                  </a:lnTo>
                  <a:lnTo>
                    <a:pt x="1383" y="842"/>
                  </a:lnTo>
                  <a:lnTo>
                    <a:pt x="1379" y="845"/>
                  </a:lnTo>
                  <a:lnTo>
                    <a:pt x="1377" y="851"/>
                  </a:lnTo>
                  <a:lnTo>
                    <a:pt x="1379" y="855"/>
                  </a:lnTo>
                  <a:lnTo>
                    <a:pt x="1377" y="862"/>
                  </a:lnTo>
                  <a:lnTo>
                    <a:pt x="1376" y="867"/>
                  </a:lnTo>
                  <a:lnTo>
                    <a:pt x="1369" y="871"/>
                  </a:lnTo>
                  <a:lnTo>
                    <a:pt x="1362" y="874"/>
                  </a:lnTo>
                  <a:lnTo>
                    <a:pt x="1356" y="874"/>
                  </a:lnTo>
                  <a:lnTo>
                    <a:pt x="1352" y="874"/>
                  </a:lnTo>
                  <a:lnTo>
                    <a:pt x="1349" y="872"/>
                  </a:lnTo>
                  <a:lnTo>
                    <a:pt x="1346" y="871"/>
                  </a:lnTo>
                  <a:lnTo>
                    <a:pt x="1342" y="869"/>
                  </a:lnTo>
                  <a:lnTo>
                    <a:pt x="1337" y="874"/>
                  </a:lnTo>
                  <a:lnTo>
                    <a:pt x="1332" y="881"/>
                  </a:lnTo>
                  <a:lnTo>
                    <a:pt x="1322" y="898"/>
                  </a:lnTo>
                  <a:lnTo>
                    <a:pt x="1316" y="907"/>
                  </a:lnTo>
                  <a:lnTo>
                    <a:pt x="1316" y="908"/>
                  </a:lnTo>
                  <a:lnTo>
                    <a:pt x="1316" y="914"/>
                  </a:lnTo>
                  <a:lnTo>
                    <a:pt x="1314" y="918"/>
                  </a:lnTo>
                  <a:lnTo>
                    <a:pt x="1310" y="925"/>
                  </a:lnTo>
                  <a:lnTo>
                    <a:pt x="1302" y="931"/>
                  </a:lnTo>
                  <a:lnTo>
                    <a:pt x="1290" y="941"/>
                  </a:lnTo>
                  <a:lnTo>
                    <a:pt x="1273" y="953"/>
                  </a:lnTo>
                  <a:lnTo>
                    <a:pt x="1263" y="960"/>
                  </a:lnTo>
                  <a:lnTo>
                    <a:pt x="1254" y="964"/>
                  </a:lnTo>
                  <a:lnTo>
                    <a:pt x="1250" y="968"/>
                  </a:lnTo>
                  <a:lnTo>
                    <a:pt x="1244" y="975"/>
                  </a:lnTo>
                  <a:lnTo>
                    <a:pt x="1233" y="985"/>
                  </a:lnTo>
                  <a:lnTo>
                    <a:pt x="1231" y="990"/>
                  </a:lnTo>
                  <a:lnTo>
                    <a:pt x="1231" y="993"/>
                  </a:lnTo>
                  <a:lnTo>
                    <a:pt x="1231" y="998"/>
                  </a:lnTo>
                  <a:lnTo>
                    <a:pt x="1231" y="1004"/>
                  </a:lnTo>
                  <a:lnTo>
                    <a:pt x="1227" y="1007"/>
                  </a:lnTo>
                  <a:lnTo>
                    <a:pt x="1221" y="1010"/>
                  </a:lnTo>
                  <a:lnTo>
                    <a:pt x="1220" y="1011"/>
                  </a:lnTo>
                  <a:lnTo>
                    <a:pt x="1223" y="1013"/>
                  </a:lnTo>
                  <a:lnTo>
                    <a:pt x="1223" y="1017"/>
                  </a:lnTo>
                  <a:lnTo>
                    <a:pt x="1217" y="1018"/>
                  </a:lnTo>
                  <a:lnTo>
                    <a:pt x="1201" y="1018"/>
                  </a:lnTo>
                  <a:lnTo>
                    <a:pt x="1196" y="1018"/>
                  </a:lnTo>
                  <a:lnTo>
                    <a:pt x="1193" y="1018"/>
                  </a:lnTo>
                  <a:lnTo>
                    <a:pt x="1191" y="1016"/>
                  </a:lnTo>
                  <a:lnTo>
                    <a:pt x="1190" y="1010"/>
                  </a:lnTo>
                  <a:lnTo>
                    <a:pt x="1187" y="1008"/>
                  </a:lnTo>
                  <a:lnTo>
                    <a:pt x="1177" y="1007"/>
                  </a:lnTo>
                  <a:lnTo>
                    <a:pt x="1158" y="1007"/>
                  </a:lnTo>
                  <a:lnTo>
                    <a:pt x="1155" y="1007"/>
                  </a:lnTo>
                  <a:lnTo>
                    <a:pt x="1127" y="1026"/>
                  </a:lnTo>
                  <a:lnTo>
                    <a:pt x="1088" y="1051"/>
                  </a:lnTo>
                  <a:lnTo>
                    <a:pt x="1078" y="1057"/>
                  </a:lnTo>
                  <a:lnTo>
                    <a:pt x="1072" y="1057"/>
                  </a:lnTo>
                  <a:lnTo>
                    <a:pt x="1068" y="1053"/>
                  </a:lnTo>
                  <a:lnTo>
                    <a:pt x="1064" y="1050"/>
                  </a:lnTo>
                  <a:lnTo>
                    <a:pt x="1057" y="1046"/>
                  </a:lnTo>
                  <a:lnTo>
                    <a:pt x="1048" y="1047"/>
                  </a:lnTo>
                  <a:lnTo>
                    <a:pt x="1039" y="1049"/>
                  </a:lnTo>
                  <a:lnTo>
                    <a:pt x="1029" y="1044"/>
                  </a:lnTo>
                  <a:lnTo>
                    <a:pt x="1024" y="1044"/>
                  </a:lnTo>
                  <a:lnTo>
                    <a:pt x="1021" y="1046"/>
                  </a:lnTo>
                  <a:lnTo>
                    <a:pt x="1021" y="1050"/>
                  </a:lnTo>
                  <a:lnTo>
                    <a:pt x="1019" y="1056"/>
                  </a:lnTo>
                  <a:lnTo>
                    <a:pt x="1015" y="1064"/>
                  </a:lnTo>
                  <a:lnTo>
                    <a:pt x="995" y="1084"/>
                  </a:lnTo>
                  <a:lnTo>
                    <a:pt x="998" y="1090"/>
                  </a:lnTo>
                  <a:lnTo>
                    <a:pt x="1017" y="1101"/>
                  </a:lnTo>
                  <a:lnTo>
                    <a:pt x="1017" y="1113"/>
                  </a:lnTo>
                  <a:lnTo>
                    <a:pt x="1014" y="1117"/>
                  </a:lnTo>
                  <a:lnTo>
                    <a:pt x="1005" y="1117"/>
                  </a:lnTo>
                  <a:lnTo>
                    <a:pt x="999" y="1116"/>
                  </a:lnTo>
                  <a:lnTo>
                    <a:pt x="997" y="1117"/>
                  </a:lnTo>
                  <a:lnTo>
                    <a:pt x="995" y="1120"/>
                  </a:lnTo>
                  <a:lnTo>
                    <a:pt x="994" y="1132"/>
                  </a:lnTo>
                  <a:lnTo>
                    <a:pt x="992" y="1159"/>
                  </a:lnTo>
                  <a:lnTo>
                    <a:pt x="972" y="1179"/>
                  </a:lnTo>
                  <a:lnTo>
                    <a:pt x="976" y="1185"/>
                  </a:lnTo>
                  <a:lnTo>
                    <a:pt x="995" y="1186"/>
                  </a:lnTo>
                  <a:lnTo>
                    <a:pt x="1011" y="1193"/>
                  </a:lnTo>
                  <a:lnTo>
                    <a:pt x="1031" y="1203"/>
                  </a:lnTo>
                  <a:lnTo>
                    <a:pt x="1039" y="1205"/>
                  </a:lnTo>
                  <a:lnTo>
                    <a:pt x="1042" y="1205"/>
                  </a:lnTo>
                  <a:lnTo>
                    <a:pt x="1044" y="1209"/>
                  </a:lnTo>
                  <a:lnTo>
                    <a:pt x="1044" y="1213"/>
                  </a:lnTo>
                  <a:lnTo>
                    <a:pt x="1042" y="1215"/>
                  </a:lnTo>
                  <a:lnTo>
                    <a:pt x="1038" y="1216"/>
                  </a:lnTo>
                  <a:lnTo>
                    <a:pt x="1021" y="1218"/>
                  </a:lnTo>
                  <a:lnTo>
                    <a:pt x="1008" y="1220"/>
                  </a:lnTo>
                  <a:lnTo>
                    <a:pt x="995" y="1226"/>
                  </a:lnTo>
                  <a:lnTo>
                    <a:pt x="989" y="1232"/>
                  </a:lnTo>
                  <a:lnTo>
                    <a:pt x="982" y="1248"/>
                  </a:lnTo>
                  <a:lnTo>
                    <a:pt x="972" y="1246"/>
                  </a:lnTo>
                  <a:lnTo>
                    <a:pt x="971" y="1258"/>
                  </a:lnTo>
                  <a:lnTo>
                    <a:pt x="956" y="1269"/>
                  </a:lnTo>
                  <a:lnTo>
                    <a:pt x="952" y="1278"/>
                  </a:lnTo>
                  <a:lnTo>
                    <a:pt x="956" y="1308"/>
                  </a:lnTo>
                  <a:lnTo>
                    <a:pt x="954" y="1305"/>
                  </a:lnTo>
                  <a:lnTo>
                    <a:pt x="936" y="1305"/>
                  </a:lnTo>
                  <a:lnTo>
                    <a:pt x="936" y="1305"/>
                  </a:lnTo>
                  <a:lnTo>
                    <a:pt x="906" y="1306"/>
                  </a:lnTo>
                  <a:lnTo>
                    <a:pt x="906" y="1306"/>
                  </a:lnTo>
                  <a:lnTo>
                    <a:pt x="902" y="1305"/>
                  </a:lnTo>
                  <a:lnTo>
                    <a:pt x="898" y="1301"/>
                  </a:lnTo>
                  <a:lnTo>
                    <a:pt x="889" y="1295"/>
                  </a:lnTo>
                  <a:lnTo>
                    <a:pt x="889" y="1295"/>
                  </a:lnTo>
                  <a:lnTo>
                    <a:pt x="880" y="1286"/>
                  </a:lnTo>
                  <a:lnTo>
                    <a:pt x="876" y="1281"/>
                  </a:lnTo>
                  <a:lnTo>
                    <a:pt x="875" y="1276"/>
                  </a:lnTo>
                  <a:lnTo>
                    <a:pt x="860" y="1272"/>
                  </a:lnTo>
                  <a:lnTo>
                    <a:pt x="860" y="1272"/>
                  </a:lnTo>
                  <a:lnTo>
                    <a:pt x="842" y="1262"/>
                  </a:lnTo>
                  <a:lnTo>
                    <a:pt x="838" y="1259"/>
                  </a:lnTo>
                  <a:lnTo>
                    <a:pt x="833" y="1259"/>
                  </a:lnTo>
                  <a:lnTo>
                    <a:pt x="828" y="1259"/>
                  </a:lnTo>
                  <a:lnTo>
                    <a:pt x="823" y="1259"/>
                  </a:lnTo>
                  <a:lnTo>
                    <a:pt x="823" y="1259"/>
                  </a:lnTo>
                  <a:lnTo>
                    <a:pt x="809" y="1263"/>
                  </a:lnTo>
                  <a:lnTo>
                    <a:pt x="793" y="1263"/>
                  </a:lnTo>
                  <a:lnTo>
                    <a:pt x="777" y="1260"/>
                  </a:lnTo>
                  <a:lnTo>
                    <a:pt x="770" y="1258"/>
                  </a:lnTo>
                  <a:lnTo>
                    <a:pt x="764" y="1255"/>
                  </a:lnTo>
                  <a:lnTo>
                    <a:pt x="764" y="1255"/>
                  </a:lnTo>
                  <a:lnTo>
                    <a:pt x="733" y="1250"/>
                  </a:lnTo>
                  <a:lnTo>
                    <a:pt x="701" y="1249"/>
                  </a:lnTo>
                  <a:lnTo>
                    <a:pt x="701" y="1249"/>
                  </a:lnTo>
                  <a:lnTo>
                    <a:pt x="693" y="1250"/>
                  </a:lnTo>
                  <a:lnTo>
                    <a:pt x="686" y="1253"/>
                  </a:lnTo>
                  <a:lnTo>
                    <a:pt x="670" y="1262"/>
                  </a:lnTo>
                  <a:lnTo>
                    <a:pt x="670" y="1262"/>
                  </a:lnTo>
                  <a:lnTo>
                    <a:pt x="663" y="1263"/>
                  </a:lnTo>
                  <a:lnTo>
                    <a:pt x="657" y="1265"/>
                  </a:lnTo>
                  <a:lnTo>
                    <a:pt x="651" y="1268"/>
                  </a:lnTo>
                  <a:lnTo>
                    <a:pt x="646" y="1273"/>
                  </a:lnTo>
                  <a:lnTo>
                    <a:pt x="646" y="1273"/>
                  </a:lnTo>
                  <a:lnTo>
                    <a:pt x="634" y="1275"/>
                  </a:lnTo>
                  <a:lnTo>
                    <a:pt x="623" y="1278"/>
                  </a:lnTo>
                  <a:lnTo>
                    <a:pt x="600" y="1286"/>
                  </a:lnTo>
                  <a:lnTo>
                    <a:pt x="594" y="1295"/>
                  </a:lnTo>
                  <a:lnTo>
                    <a:pt x="574" y="1309"/>
                  </a:lnTo>
                  <a:lnTo>
                    <a:pt x="574" y="1309"/>
                  </a:lnTo>
                  <a:lnTo>
                    <a:pt x="567" y="1312"/>
                  </a:lnTo>
                  <a:lnTo>
                    <a:pt x="560" y="1313"/>
                  </a:lnTo>
                  <a:lnTo>
                    <a:pt x="554" y="1315"/>
                  </a:lnTo>
                  <a:lnTo>
                    <a:pt x="547" y="1318"/>
                  </a:lnTo>
                  <a:lnTo>
                    <a:pt x="547" y="1318"/>
                  </a:lnTo>
                  <a:lnTo>
                    <a:pt x="537" y="1316"/>
                  </a:lnTo>
                  <a:lnTo>
                    <a:pt x="528" y="1313"/>
                  </a:lnTo>
                  <a:lnTo>
                    <a:pt x="510" y="1306"/>
                  </a:lnTo>
                  <a:lnTo>
                    <a:pt x="510" y="1306"/>
                  </a:lnTo>
                  <a:lnTo>
                    <a:pt x="497" y="1306"/>
                  </a:lnTo>
                  <a:lnTo>
                    <a:pt x="490" y="1306"/>
                  </a:lnTo>
                  <a:lnTo>
                    <a:pt x="484" y="1306"/>
                  </a:lnTo>
                  <a:lnTo>
                    <a:pt x="484" y="1306"/>
                  </a:lnTo>
                  <a:lnTo>
                    <a:pt x="481" y="1299"/>
                  </a:lnTo>
                  <a:lnTo>
                    <a:pt x="478" y="1293"/>
                  </a:lnTo>
                  <a:lnTo>
                    <a:pt x="475" y="1289"/>
                  </a:lnTo>
                  <a:lnTo>
                    <a:pt x="472" y="1288"/>
                  </a:lnTo>
                  <a:lnTo>
                    <a:pt x="468" y="1286"/>
                  </a:lnTo>
                  <a:lnTo>
                    <a:pt x="449" y="1291"/>
                  </a:lnTo>
                  <a:lnTo>
                    <a:pt x="449" y="1291"/>
                  </a:lnTo>
                  <a:lnTo>
                    <a:pt x="431" y="1285"/>
                  </a:lnTo>
                  <a:lnTo>
                    <a:pt x="422" y="1281"/>
                  </a:lnTo>
                  <a:lnTo>
                    <a:pt x="415" y="1276"/>
                  </a:lnTo>
                  <a:lnTo>
                    <a:pt x="415" y="1276"/>
                  </a:lnTo>
                  <a:lnTo>
                    <a:pt x="412" y="1262"/>
                  </a:lnTo>
                  <a:lnTo>
                    <a:pt x="408" y="1248"/>
                  </a:lnTo>
                  <a:lnTo>
                    <a:pt x="408" y="1248"/>
                  </a:lnTo>
                  <a:lnTo>
                    <a:pt x="399" y="1233"/>
                  </a:lnTo>
                  <a:lnTo>
                    <a:pt x="392" y="1219"/>
                  </a:lnTo>
                  <a:lnTo>
                    <a:pt x="386" y="1203"/>
                  </a:lnTo>
                  <a:lnTo>
                    <a:pt x="381" y="1186"/>
                  </a:lnTo>
                  <a:lnTo>
                    <a:pt x="381" y="1186"/>
                  </a:lnTo>
                  <a:lnTo>
                    <a:pt x="376" y="1179"/>
                  </a:lnTo>
                  <a:lnTo>
                    <a:pt x="373" y="1173"/>
                  </a:lnTo>
                  <a:lnTo>
                    <a:pt x="368" y="1169"/>
                  </a:lnTo>
                  <a:lnTo>
                    <a:pt x="362" y="1163"/>
                  </a:lnTo>
                  <a:lnTo>
                    <a:pt x="362" y="1163"/>
                  </a:lnTo>
                  <a:lnTo>
                    <a:pt x="362" y="1153"/>
                  </a:lnTo>
                  <a:lnTo>
                    <a:pt x="361" y="1144"/>
                  </a:lnTo>
                  <a:lnTo>
                    <a:pt x="359" y="1134"/>
                  </a:lnTo>
                  <a:lnTo>
                    <a:pt x="358" y="1126"/>
                  </a:lnTo>
                  <a:lnTo>
                    <a:pt x="358" y="1126"/>
                  </a:lnTo>
                  <a:lnTo>
                    <a:pt x="343" y="1119"/>
                  </a:lnTo>
                  <a:lnTo>
                    <a:pt x="328" y="1112"/>
                  </a:lnTo>
                  <a:lnTo>
                    <a:pt x="312" y="1107"/>
                  </a:lnTo>
                  <a:lnTo>
                    <a:pt x="296" y="1104"/>
                  </a:lnTo>
                  <a:lnTo>
                    <a:pt x="296" y="1104"/>
                  </a:lnTo>
                  <a:lnTo>
                    <a:pt x="288" y="1107"/>
                  </a:lnTo>
                  <a:lnTo>
                    <a:pt x="279" y="1106"/>
                  </a:lnTo>
                  <a:lnTo>
                    <a:pt x="272" y="1103"/>
                  </a:lnTo>
                  <a:lnTo>
                    <a:pt x="265" y="1097"/>
                  </a:lnTo>
                  <a:lnTo>
                    <a:pt x="265" y="1097"/>
                  </a:lnTo>
                  <a:lnTo>
                    <a:pt x="230" y="1079"/>
                  </a:lnTo>
                  <a:lnTo>
                    <a:pt x="212" y="1070"/>
                  </a:lnTo>
                  <a:lnTo>
                    <a:pt x="194" y="1063"/>
                  </a:lnTo>
                  <a:lnTo>
                    <a:pt x="194" y="1063"/>
                  </a:lnTo>
                  <a:lnTo>
                    <a:pt x="164" y="1061"/>
                  </a:lnTo>
                  <a:lnTo>
                    <a:pt x="134" y="1060"/>
                  </a:lnTo>
                  <a:lnTo>
                    <a:pt x="124" y="1047"/>
                  </a:lnTo>
                  <a:lnTo>
                    <a:pt x="126" y="1031"/>
                  </a:lnTo>
                  <a:lnTo>
                    <a:pt x="126" y="1031"/>
                  </a:lnTo>
                  <a:lnTo>
                    <a:pt x="117" y="1030"/>
                  </a:lnTo>
                  <a:lnTo>
                    <a:pt x="110" y="1030"/>
                  </a:lnTo>
                  <a:lnTo>
                    <a:pt x="107" y="1033"/>
                  </a:lnTo>
                  <a:lnTo>
                    <a:pt x="104" y="1034"/>
                  </a:lnTo>
                  <a:lnTo>
                    <a:pt x="103" y="1036"/>
                  </a:lnTo>
                  <a:lnTo>
                    <a:pt x="100" y="1036"/>
                  </a:lnTo>
                  <a:lnTo>
                    <a:pt x="94" y="1031"/>
                  </a:lnTo>
                  <a:lnTo>
                    <a:pt x="87" y="1024"/>
                  </a:lnTo>
                  <a:lnTo>
                    <a:pt x="87" y="1024"/>
                  </a:lnTo>
                  <a:lnTo>
                    <a:pt x="76" y="1026"/>
                  </a:lnTo>
                  <a:lnTo>
                    <a:pt x="70" y="1026"/>
                  </a:lnTo>
                  <a:lnTo>
                    <a:pt x="66" y="1026"/>
                  </a:lnTo>
                  <a:lnTo>
                    <a:pt x="28" y="1007"/>
                  </a:lnTo>
                  <a:lnTo>
                    <a:pt x="25" y="996"/>
                  </a:lnTo>
                  <a:lnTo>
                    <a:pt x="23" y="988"/>
                  </a:lnTo>
                  <a:lnTo>
                    <a:pt x="20" y="984"/>
                  </a:lnTo>
                  <a:lnTo>
                    <a:pt x="17" y="981"/>
                  </a:lnTo>
                  <a:lnTo>
                    <a:pt x="11" y="977"/>
                  </a:lnTo>
                  <a:lnTo>
                    <a:pt x="8" y="975"/>
                  </a:lnTo>
                  <a:lnTo>
                    <a:pt x="5" y="975"/>
                  </a:lnTo>
                  <a:lnTo>
                    <a:pt x="4" y="977"/>
                  </a:lnTo>
                  <a:lnTo>
                    <a:pt x="1" y="978"/>
                  </a:lnTo>
                  <a:lnTo>
                    <a:pt x="1" y="978"/>
                  </a:lnTo>
                  <a:lnTo>
                    <a:pt x="0" y="977"/>
                  </a:lnTo>
                  <a:lnTo>
                    <a:pt x="0" y="975"/>
                  </a:lnTo>
                  <a:lnTo>
                    <a:pt x="0" y="973"/>
                  </a:lnTo>
                  <a:lnTo>
                    <a:pt x="3" y="965"/>
                  </a:lnTo>
                  <a:lnTo>
                    <a:pt x="3" y="951"/>
                  </a:lnTo>
                  <a:lnTo>
                    <a:pt x="4" y="944"/>
                  </a:lnTo>
                  <a:lnTo>
                    <a:pt x="10" y="938"/>
                  </a:lnTo>
                  <a:lnTo>
                    <a:pt x="14" y="931"/>
                  </a:lnTo>
                  <a:lnTo>
                    <a:pt x="18" y="922"/>
                  </a:lnTo>
                  <a:lnTo>
                    <a:pt x="27" y="914"/>
                  </a:lnTo>
                  <a:lnTo>
                    <a:pt x="28" y="910"/>
                  </a:lnTo>
                  <a:lnTo>
                    <a:pt x="30" y="904"/>
                  </a:lnTo>
                  <a:lnTo>
                    <a:pt x="30" y="898"/>
                  </a:lnTo>
                  <a:lnTo>
                    <a:pt x="30" y="895"/>
                  </a:lnTo>
                  <a:lnTo>
                    <a:pt x="23" y="895"/>
                  </a:lnTo>
                  <a:lnTo>
                    <a:pt x="23" y="888"/>
                  </a:lnTo>
                  <a:lnTo>
                    <a:pt x="23" y="878"/>
                  </a:lnTo>
                  <a:lnTo>
                    <a:pt x="33" y="874"/>
                  </a:lnTo>
                  <a:lnTo>
                    <a:pt x="37" y="872"/>
                  </a:lnTo>
                  <a:lnTo>
                    <a:pt x="43" y="875"/>
                  </a:lnTo>
                  <a:lnTo>
                    <a:pt x="47" y="882"/>
                  </a:lnTo>
                  <a:lnTo>
                    <a:pt x="53" y="885"/>
                  </a:lnTo>
                  <a:lnTo>
                    <a:pt x="56" y="885"/>
                  </a:lnTo>
                  <a:lnTo>
                    <a:pt x="56" y="885"/>
                  </a:lnTo>
                  <a:lnTo>
                    <a:pt x="63" y="869"/>
                  </a:lnTo>
                  <a:lnTo>
                    <a:pt x="67" y="861"/>
                  </a:lnTo>
                  <a:lnTo>
                    <a:pt x="68" y="857"/>
                  </a:lnTo>
                  <a:lnTo>
                    <a:pt x="71" y="851"/>
                  </a:lnTo>
                  <a:lnTo>
                    <a:pt x="71" y="845"/>
                  </a:lnTo>
                  <a:lnTo>
                    <a:pt x="71" y="842"/>
                  </a:lnTo>
                  <a:lnTo>
                    <a:pt x="73" y="838"/>
                  </a:lnTo>
                  <a:lnTo>
                    <a:pt x="74" y="837"/>
                  </a:lnTo>
                  <a:lnTo>
                    <a:pt x="81" y="837"/>
                  </a:lnTo>
                  <a:lnTo>
                    <a:pt x="103" y="832"/>
                  </a:lnTo>
                  <a:lnTo>
                    <a:pt x="120" y="824"/>
                  </a:lnTo>
                  <a:lnTo>
                    <a:pt x="120" y="812"/>
                  </a:lnTo>
                  <a:lnTo>
                    <a:pt x="120" y="811"/>
                  </a:lnTo>
                  <a:lnTo>
                    <a:pt x="124" y="806"/>
                  </a:lnTo>
                  <a:lnTo>
                    <a:pt x="134" y="804"/>
                  </a:lnTo>
                  <a:lnTo>
                    <a:pt x="143" y="808"/>
                  </a:lnTo>
                  <a:lnTo>
                    <a:pt x="150" y="801"/>
                  </a:lnTo>
                  <a:lnTo>
                    <a:pt x="153" y="798"/>
                  </a:lnTo>
                  <a:lnTo>
                    <a:pt x="157" y="795"/>
                  </a:lnTo>
                  <a:lnTo>
                    <a:pt x="160" y="795"/>
                  </a:lnTo>
                  <a:lnTo>
                    <a:pt x="162" y="798"/>
                  </a:lnTo>
                  <a:lnTo>
                    <a:pt x="170" y="816"/>
                  </a:lnTo>
                  <a:lnTo>
                    <a:pt x="174" y="835"/>
                  </a:lnTo>
                  <a:lnTo>
                    <a:pt x="193" y="861"/>
                  </a:lnTo>
                  <a:lnTo>
                    <a:pt x="212" y="882"/>
                  </a:lnTo>
                  <a:lnTo>
                    <a:pt x="220" y="892"/>
                  </a:lnTo>
                  <a:lnTo>
                    <a:pt x="227" y="897"/>
                  </a:lnTo>
                  <a:lnTo>
                    <a:pt x="240" y="898"/>
                  </a:lnTo>
                  <a:lnTo>
                    <a:pt x="247" y="904"/>
                  </a:lnTo>
                  <a:lnTo>
                    <a:pt x="256" y="911"/>
                  </a:lnTo>
                  <a:lnTo>
                    <a:pt x="272" y="922"/>
                  </a:lnTo>
                  <a:lnTo>
                    <a:pt x="292" y="941"/>
                  </a:lnTo>
                  <a:lnTo>
                    <a:pt x="300" y="948"/>
                  </a:lnTo>
                  <a:lnTo>
                    <a:pt x="308" y="958"/>
                  </a:lnTo>
                  <a:lnTo>
                    <a:pt x="316" y="965"/>
                  </a:lnTo>
                  <a:lnTo>
                    <a:pt x="323" y="971"/>
                  </a:lnTo>
                  <a:lnTo>
                    <a:pt x="328" y="975"/>
                  </a:lnTo>
                  <a:lnTo>
                    <a:pt x="332" y="985"/>
                  </a:lnTo>
                  <a:lnTo>
                    <a:pt x="341" y="988"/>
                  </a:lnTo>
                  <a:lnTo>
                    <a:pt x="346" y="984"/>
                  </a:lnTo>
                  <a:lnTo>
                    <a:pt x="346" y="980"/>
                  </a:lnTo>
                  <a:lnTo>
                    <a:pt x="349" y="977"/>
                  </a:lnTo>
                  <a:lnTo>
                    <a:pt x="358" y="978"/>
                  </a:lnTo>
                  <a:lnTo>
                    <a:pt x="369" y="983"/>
                  </a:lnTo>
                  <a:lnTo>
                    <a:pt x="376" y="983"/>
                  </a:lnTo>
                  <a:lnTo>
                    <a:pt x="382" y="981"/>
                  </a:lnTo>
                  <a:lnTo>
                    <a:pt x="386" y="984"/>
                  </a:lnTo>
                  <a:lnTo>
                    <a:pt x="391" y="983"/>
                  </a:lnTo>
                  <a:lnTo>
                    <a:pt x="394" y="984"/>
                  </a:lnTo>
                  <a:lnTo>
                    <a:pt x="395" y="988"/>
                  </a:lnTo>
                  <a:lnTo>
                    <a:pt x="395" y="996"/>
                  </a:lnTo>
                  <a:lnTo>
                    <a:pt x="399" y="1004"/>
                  </a:lnTo>
                  <a:lnTo>
                    <a:pt x="411" y="1014"/>
                  </a:lnTo>
                  <a:lnTo>
                    <a:pt x="422" y="1026"/>
                  </a:lnTo>
                  <a:lnTo>
                    <a:pt x="435" y="1034"/>
                  </a:lnTo>
                  <a:lnTo>
                    <a:pt x="451" y="1040"/>
                  </a:lnTo>
                  <a:lnTo>
                    <a:pt x="462" y="1047"/>
                  </a:lnTo>
                  <a:lnTo>
                    <a:pt x="461" y="1057"/>
                  </a:lnTo>
                  <a:lnTo>
                    <a:pt x="459" y="1063"/>
                  </a:lnTo>
                  <a:lnTo>
                    <a:pt x="459" y="1067"/>
                  </a:lnTo>
                  <a:lnTo>
                    <a:pt x="465" y="1074"/>
                  </a:lnTo>
                  <a:lnTo>
                    <a:pt x="467" y="1083"/>
                  </a:lnTo>
                  <a:lnTo>
                    <a:pt x="468" y="1091"/>
                  </a:lnTo>
                  <a:lnTo>
                    <a:pt x="469" y="1099"/>
                  </a:lnTo>
                  <a:lnTo>
                    <a:pt x="475" y="1103"/>
                  </a:lnTo>
                  <a:lnTo>
                    <a:pt x="481" y="1104"/>
                  </a:lnTo>
                  <a:lnTo>
                    <a:pt x="488" y="1103"/>
                  </a:lnTo>
                  <a:lnTo>
                    <a:pt x="498" y="1100"/>
                  </a:lnTo>
                  <a:lnTo>
                    <a:pt x="504" y="1101"/>
                  </a:lnTo>
                  <a:lnTo>
                    <a:pt x="511" y="1101"/>
                  </a:lnTo>
                  <a:lnTo>
                    <a:pt x="521" y="1106"/>
                  </a:lnTo>
                  <a:lnTo>
                    <a:pt x="527" y="1110"/>
                  </a:lnTo>
                  <a:lnTo>
                    <a:pt x="525" y="1116"/>
                  </a:lnTo>
                  <a:lnTo>
                    <a:pt x="525" y="1133"/>
                  </a:lnTo>
                  <a:lnTo>
                    <a:pt x="527" y="1146"/>
                  </a:lnTo>
                  <a:lnTo>
                    <a:pt x="528" y="1152"/>
                  </a:lnTo>
                  <a:lnTo>
                    <a:pt x="535" y="1152"/>
                  </a:lnTo>
                  <a:lnTo>
                    <a:pt x="542" y="1147"/>
                  </a:lnTo>
                  <a:lnTo>
                    <a:pt x="563" y="1132"/>
                  </a:lnTo>
                  <a:lnTo>
                    <a:pt x="571" y="1129"/>
                  </a:lnTo>
                  <a:lnTo>
                    <a:pt x="590" y="1123"/>
                  </a:lnTo>
                  <a:lnTo>
                    <a:pt x="601" y="1124"/>
                  </a:lnTo>
                  <a:lnTo>
                    <a:pt x="610" y="1122"/>
                  </a:lnTo>
                  <a:lnTo>
                    <a:pt x="620" y="1090"/>
                  </a:lnTo>
                  <a:lnTo>
                    <a:pt x="616" y="1061"/>
                  </a:lnTo>
                  <a:lnTo>
                    <a:pt x="616" y="1061"/>
                  </a:lnTo>
                  <a:lnTo>
                    <a:pt x="641" y="1051"/>
                  </a:lnTo>
                  <a:lnTo>
                    <a:pt x="667" y="1040"/>
                  </a:lnTo>
                  <a:lnTo>
                    <a:pt x="667" y="1040"/>
                  </a:lnTo>
                  <a:lnTo>
                    <a:pt x="680" y="1033"/>
                  </a:lnTo>
                  <a:lnTo>
                    <a:pt x="693" y="1024"/>
                  </a:lnTo>
                  <a:lnTo>
                    <a:pt x="704" y="1013"/>
                  </a:lnTo>
                  <a:lnTo>
                    <a:pt x="714" y="1001"/>
                  </a:lnTo>
                  <a:lnTo>
                    <a:pt x="724" y="988"/>
                  </a:lnTo>
                  <a:lnTo>
                    <a:pt x="733" y="975"/>
                  </a:lnTo>
                  <a:lnTo>
                    <a:pt x="740" y="961"/>
                  </a:lnTo>
                  <a:lnTo>
                    <a:pt x="747" y="947"/>
                  </a:lnTo>
                  <a:lnTo>
                    <a:pt x="747" y="947"/>
                  </a:lnTo>
                  <a:lnTo>
                    <a:pt x="752" y="934"/>
                  </a:lnTo>
                  <a:lnTo>
                    <a:pt x="756" y="928"/>
                  </a:lnTo>
                  <a:lnTo>
                    <a:pt x="759" y="922"/>
                  </a:lnTo>
                  <a:lnTo>
                    <a:pt x="759" y="922"/>
                  </a:lnTo>
                  <a:lnTo>
                    <a:pt x="773" y="910"/>
                  </a:lnTo>
                  <a:lnTo>
                    <a:pt x="786" y="900"/>
                  </a:lnTo>
                  <a:lnTo>
                    <a:pt x="819" y="880"/>
                  </a:lnTo>
                  <a:lnTo>
                    <a:pt x="819" y="880"/>
                  </a:lnTo>
                  <a:lnTo>
                    <a:pt x="860" y="844"/>
                  </a:lnTo>
                  <a:lnTo>
                    <a:pt x="860" y="844"/>
                  </a:lnTo>
                  <a:lnTo>
                    <a:pt x="878" y="827"/>
                  </a:lnTo>
                  <a:lnTo>
                    <a:pt x="893" y="806"/>
                  </a:lnTo>
                  <a:lnTo>
                    <a:pt x="908" y="786"/>
                  </a:lnTo>
                  <a:lnTo>
                    <a:pt x="919" y="763"/>
                  </a:lnTo>
                  <a:lnTo>
                    <a:pt x="919" y="763"/>
                  </a:lnTo>
                  <a:lnTo>
                    <a:pt x="923" y="723"/>
                  </a:lnTo>
                  <a:lnTo>
                    <a:pt x="923" y="723"/>
                  </a:lnTo>
                  <a:lnTo>
                    <a:pt x="932" y="708"/>
                  </a:lnTo>
                  <a:lnTo>
                    <a:pt x="941" y="692"/>
                  </a:lnTo>
                  <a:lnTo>
                    <a:pt x="961" y="662"/>
                  </a:lnTo>
                  <a:lnTo>
                    <a:pt x="968" y="649"/>
                  </a:lnTo>
                  <a:lnTo>
                    <a:pt x="988" y="564"/>
                  </a:lnTo>
                  <a:lnTo>
                    <a:pt x="966" y="559"/>
                  </a:lnTo>
                  <a:lnTo>
                    <a:pt x="958" y="559"/>
                  </a:lnTo>
                  <a:lnTo>
                    <a:pt x="951" y="557"/>
                  </a:lnTo>
                  <a:lnTo>
                    <a:pt x="946" y="557"/>
                  </a:lnTo>
                  <a:lnTo>
                    <a:pt x="946" y="557"/>
                  </a:lnTo>
                  <a:lnTo>
                    <a:pt x="946" y="556"/>
                  </a:lnTo>
                  <a:lnTo>
                    <a:pt x="949" y="550"/>
                  </a:lnTo>
                  <a:lnTo>
                    <a:pt x="952" y="546"/>
                  </a:lnTo>
                  <a:lnTo>
                    <a:pt x="954" y="539"/>
                  </a:lnTo>
                  <a:lnTo>
                    <a:pt x="956" y="534"/>
                  </a:lnTo>
                  <a:lnTo>
                    <a:pt x="958" y="529"/>
                  </a:lnTo>
                  <a:lnTo>
                    <a:pt x="956" y="513"/>
                  </a:lnTo>
                  <a:lnTo>
                    <a:pt x="952" y="487"/>
                  </a:lnTo>
                  <a:lnTo>
                    <a:pt x="944" y="443"/>
                  </a:lnTo>
                  <a:lnTo>
                    <a:pt x="938" y="428"/>
                  </a:lnTo>
                  <a:lnTo>
                    <a:pt x="939" y="420"/>
                  </a:lnTo>
                  <a:lnTo>
                    <a:pt x="939" y="414"/>
                  </a:lnTo>
                  <a:lnTo>
                    <a:pt x="939" y="413"/>
                  </a:lnTo>
                  <a:lnTo>
                    <a:pt x="935" y="411"/>
                  </a:lnTo>
                  <a:lnTo>
                    <a:pt x="933" y="411"/>
                  </a:lnTo>
                  <a:lnTo>
                    <a:pt x="931" y="410"/>
                  </a:lnTo>
                  <a:lnTo>
                    <a:pt x="931" y="407"/>
                  </a:lnTo>
                  <a:lnTo>
                    <a:pt x="939" y="398"/>
                  </a:lnTo>
                  <a:lnTo>
                    <a:pt x="939" y="395"/>
                  </a:lnTo>
                  <a:lnTo>
                    <a:pt x="939" y="388"/>
                  </a:lnTo>
                  <a:lnTo>
                    <a:pt x="938" y="383"/>
                  </a:lnTo>
                  <a:lnTo>
                    <a:pt x="938" y="377"/>
                  </a:lnTo>
                  <a:lnTo>
                    <a:pt x="941" y="371"/>
                  </a:lnTo>
                  <a:lnTo>
                    <a:pt x="942" y="367"/>
                  </a:lnTo>
                  <a:lnTo>
                    <a:pt x="939" y="360"/>
                  </a:lnTo>
                  <a:lnTo>
                    <a:pt x="935" y="355"/>
                  </a:lnTo>
                  <a:lnTo>
                    <a:pt x="948" y="337"/>
                  </a:lnTo>
                  <a:lnTo>
                    <a:pt x="954" y="334"/>
                  </a:lnTo>
                  <a:lnTo>
                    <a:pt x="965" y="331"/>
                  </a:lnTo>
                  <a:lnTo>
                    <a:pt x="974" y="327"/>
                  </a:lnTo>
                  <a:lnTo>
                    <a:pt x="974" y="324"/>
                  </a:lnTo>
                  <a:lnTo>
                    <a:pt x="974" y="318"/>
                  </a:lnTo>
                  <a:lnTo>
                    <a:pt x="974" y="315"/>
                  </a:lnTo>
                  <a:lnTo>
                    <a:pt x="966" y="315"/>
                  </a:lnTo>
                  <a:lnTo>
                    <a:pt x="961" y="315"/>
                  </a:lnTo>
                  <a:lnTo>
                    <a:pt x="956" y="315"/>
                  </a:lnTo>
                  <a:lnTo>
                    <a:pt x="951" y="311"/>
                  </a:lnTo>
                  <a:lnTo>
                    <a:pt x="949" y="307"/>
                  </a:lnTo>
                  <a:lnTo>
                    <a:pt x="942" y="302"/>
                  </a:lnTo>
                  <a:lnTo>
                    <a:pt x="945" y="295"/>
                  </a:lnTo>
                  <a:lnTo>
                    <a:pt x="931" y="281"/>
                  </a:lnTo>
                  <a:lnTo>
                    <a:pt x="923" y="281"/>
                  </a:lnTo>
                  <a:lnTo>
                    <a:pt x="921" y="282"/>
                  </a:lnTo>
                  <a:lnTo>
                    <a:pt x="913" y="279"/>
                  </a:lnTo>
                  <a:lnTo>
                    <a:pt x="908" y="268"/>
                  </a:lnTo>
                  <a:lnTo>
                    <a:pt x="912" y="262"/>
                  </a:lnTo>
                  <a:lnTo>
                    <a:pt x="918" y="239"/>
                  </a:lnTo>
                  <a:lnTo>
                    <a:pt x="912" y="231"/>
                  </a:lnTo>
                  <a:lnTo>
                    <a:pt x="918" y="226"/>
                  </a:lnTo>
                  <a:lnTo>
                    <a:pt x="922" y="228"/>
                  </a:lnTo>
                  <a:lnTo>
                    <a:pt x="928" y="224"/>
                  </a:lnTo>
                  <a:lnTo>
                    <a:pt x="936" y="219"/>
                  </a:lnTo>
                  <a:lnTo>
                    <a:pt x="946" y="218"/>
                  </a:lnTo>
                  <a:lnTo>
                    <a:pt x="951" y="208"/>
                  </a:lnTo>
                  <a:lnTo>
                    <a:pt x="968" y="202"/>
                  </a:lnTo>
                  <a:lnTo>
                    <a:pt x="974" y="193"/>
                  </a:lnTo>
                  <a:lnTo>
                    <a:pt x="979" y="192"/>
                  </a:lnTo>
                  <a:lnTo>
                    <a:pt x="991" y="195"/>
                  </a:lnTo>
                  <a:lnTo>
                    <a:pt x="1002" y="195"/>
                  </a:lnTo>
                  <a:lnTo>
                    <a:pt x="1008" y="191"/>
                  </a:lnTo>
                  <a:lnTo>
                    <a:pt x="1019" y="175"/>
                  </a:lnTo>
                  <a:lnTo>
                    <a:pt x="1019" y="169"/>
                  </a:lnTo>
                  <a:lnTo>
                    <a:pt x="1012" y="165"/>
                  </a:lnTo>
                  <a:lnTo>
                    <a:pt x="1015" y="156"/>
                  </a:lnTo>
                  <a:lnTo>
                    <a:pt x="1024" y="143"/>
                  </a:lnTo>
                  <a:lnTo>
                    <a:pt x="1028" y="146"/>
                  </a:lnTo>
                  <a:lnTo>
                    <a:pt x="1038" y="151"/>
                  </a:lnTo>
                  <a:lnTo>
                    <a:pt x="1047" y="148"/>
                  </a:lnTo>
                  <a:lnTo>
                    <a:pt x="1052" y="148"/>
                  </a:lnTo>
                  <a:lnTo>
                    <a:pt x="1058" y="152"/>
                  </a:lnTo>
                  <a:lnTo>
                    <a:pt x="1065" y="151"/>
                  </a:lnTo>
                  <a:lnTo>
                    <a:pt x="1068" y="151"/>
                  </a:lnTo>
                  <a:lnTo>
                    <a:pt x="1068" y="155"/>
                  </a:lnTo>
                  <a:lnTo>
                    <a:pt x="1068" y="158"/>
                  </a:lnTo>
                  <a:lnTo>
                    <a:pt x="1074" y="162"/>
                  </a:lnTo>
                  <a:lnTo>
                    <a:pt x="1080" y="159"/>
                  </a:lnTo>
                  <a:lnTo>
                    <a:pt x="1085" y="153"/>
                  </a:lnTo>
                  <a:lnTo>
                    <a:pt x="1091" y="153"/>
                  </a:lnTo>
                  <a:lnTo>
                    <a:pt x="1092" y="155"/>
                  </a:lnTo>
                  <a:lnTo>
                    <a:pt x="1092" y="156"/>
                  </a:lnTo>
                  <a:lnTo>
                    <a:pt x="1095" y="156"/>
                  </a:lnTo>
                  <a:lnTo>
                    <a:pt x="1104" y="153"/>
                  </a:lnTo>
                  <a:lnTo>
                    <a:pt x="1113" y="153"/>
                  </a:lnTo>
                  <a:lnTo>
                    <a:pt x="1121" y="155"/>
                  </a:lnTo>
                  <a:lnTo>
                    <a:pt x="1128" y="151"/>
                  </a:lnTo>
                  <a:lnTo>
                    <a:pt x="1137" y="145"/>
                  </a:lnTo>
                  <a:lnTo>
                    <a:pt x="1141" y="139"/>
                  </a:lnTo>
                  <a:lnTo>
                    <a:pt x="1138" y="133"/>
                  </a:lnTo>
                  <a:lnTo>
                    <a:pt x="1138" y="130"/>
                  </a:lnTo>
                  <a:lnTo>
                    <a:pt x="1140" y="128"/>
                  </a:lnTo>
                  <a:lnTo>
                    <a:pt x="1141" y="119"/>
                  </a:lnTo>
                  <a:lnTo>
                    <a:pt x="1143" y="113"/>
                  </a:lnTo>
                  <a:lnTo>
                    <a:pt x="1144" y="109"/>
                  </a:lnTo>
                  <a:lnTo>
                    <a:pt x="1151" y="102"/>
                  </a:lnTo>
                  <a:lnTo>
                    <a:pt x="1157" y="99"/>
                  </a:lnTo>
                  <a:lnTo>
                    <a:pt x="1157" y="99"/>
                  </a:lnTo>
                  <a:lnTo>
                    <a:pt x="1157" y="105"/>
                  </a:lnTo>
                  <a:lnTo>
                    <a:pt x="1157" y="110"/>
                  </a:lnTo>
                  <a:lnTo>
                    <a:pt x="1158" y="113"/>
                  </a:lnTo>
                  <a:lnTo>
                    <a:pt x="1178" y="128"/>
                  </a:lnTo>
                  <a:lnTo>
                    <a:pt x="1183" y="126"/>
                  </a:lnTo>
                  <a:lnTo>
                    <a:pt x="1191" y="120"/>
                  </a:lnTo>
                  <a:lnTo>
                    <a:pt x="1197" y="119"/>
                  </a:lnTo>
                  <a:lnTo>
                    <a:pt x="1201" y="120"/>
                  </a:lnTo>
                  <a:lnTo>
                    <a:pt x="1211" y="125"/>
                  </a:lnTo>
                  <a:lnTo>
                    <a:pt x="1217" y="128"/>
                  </a:lnTo>
                  <a:lnTo>
                    <a:pt x="1234" y="129"/>
                  </a:lnTo>
                  <a:lnTo>
                    <a:pt x="1241" y="118"/>
                  </a:lnTo>
                  <a:lnTo>
                    <a:pt x="1244" y="110"/>
                  </a:lnTo>
                  <a:lnTo>
                    <a:pt x="1247" y="106"/>
                  </a:lnTo>
                  <a:lnTo>
                    <a:pt x="1249" y="106"/>
                  </a:lnTo>
                  <a:lnTo>
                    <a:pt x="1254" y="108"/>
                  </a:lnTo>
                  <a:lnTo>
                    <a:pt x="1256" y="109"/>
                  </a:lnTo>
                  <a:lnTo>
                    <a:pt x="1256" y="112"/>
                  </a:lnTo>
                  <a:lnTo>
                    <a:pt x="1254" y="115"/>
                  </a:lnTo>
                  <a:lnTo>
                    <a:pt x="1253" y="120"/>
                  </a:lnTo>
                  <a:lnTo>
                    <a:pt x="1254" y="125"/>
                  </a:lnTo>
                  <a:lnTo>
                    <a:pt x="1259" y="133"/>
                  </a:lnTo>
                  <a:lnTo>
                    <a:pt x="1266" y="140"/>
                  </a:lnTo>
                  <a:lnTo>
                    <a:pt x="1271" y="143"/>
                  </a:lnTo>
                  <a:lnTo>
                    <a:pt x="1280" y="145"/>
                  </a:lnTo>
                  <a:lnTo>
                    <a:pt x="1287" y="146"/>
                  </a:lnTo>
                  <a:lnTo>
                    <a:pt x="1293" y="149"/>
                  </a:lnTo>
                  <a:lnTo>
                    <a:pt x="1307" y="149"/>
                  </a:lnTo>
                  <a:lnTo>
                    <a:pt x="1314" y="149"/>
                  </a:lnTo>
                  <a:lnTo>
                    <a:pt x="1319" y="146"/>
                  </a:lnTo>
                  <a:lnTo>
                    <a:pt x="1327" y="140"/>
                  </a:lnTo>
                  <a:lnTo>
                    <a:pt x="1332" y="138"/>
                  </a:lnTo>
                  <a:lnTo>
                    <a:pt x="1337" y="136"/>
                  </a:lnTo>
                  <a:lnTo>
                    <a:pt x="1349" y="140"/>
                  </a:lnTo>
                  <a:lnTo>
                    <a:pt x="1359" y="146"/>
                  </a:lnTo>
                  <a:lnTo>
                    <a:pt x="1366" y="155"/>
                  </a:lnTo>
                  <a:lnTo>
                    <a:pt x="1369" y="156"/>
                  </a:lnTo>
                  <a:lnTo>
                    <a:pt x="1373" y="155"/>
                  </a:lnTo>
                  <a:lnTo>
                    <a:pt x="1376" y="151"/>
                  </a:lnTo>
                  <a:lnTo>
                    <a:pt x="1379" y="139"/>
                  </a:lnTo>
                  <a:lnTo>
                    <a:pt x="1383" y="129"/>
                  </a:lnTo>
                  <a:lnTo>
                    <a:pt x="1389" y="125"/>
                  </a:lnTo>
                  <a:lnTo>
                    <a:pt x="1395" y="122"/>
                  </a:lnTo>
                  <a:lnTo>
                    <a:pt x="1406" y="120"/>
                  </a:lnTo>
                  <a:lnTo>
                    <a:pt x="1420" y="118"/>
                  </a:lnTo>
                  <a:lnTo>
                    <a:pt x="1426" y="116"/>
                  </a:lnTo>
                  <a:lnTo>
                    <a:pt x="1433" y="112"/>
                  </a:lnTo>
                  <a:lnTo>
                    <a:pt x="1440" y="108"/>
                  </a:lnTo>
                  <a:lnTo>
                    <a:pt x="1443" y="102"/>
                  </a:lnTo>
                  <a:lnTo>
                    <a:pt x="1446" y="92"/>
                  </a:lnTo>
                  <a:lnTo>
                    <a:pt x="1453" y="73"/>
                  </a:lnTo>
                  <a:lnTo>
                    <a:pt x="1456" y="67"/>
                  </a:lnTo>
                  <a:lnTo>
                    <a:pt x="1456" y="62"/>
                  </a:lnTo>
                  <a:lnTo>
                    <a:pt x="1453" y="56"/>
                  </a:lnTo>
                  <a:lnTo>
                    <a:pt x="1453" y="49"/>
                  </a:lnTo>
                  <a:lnTo>
                    <a:pt x="1459" y="40"/>
                  </a:lnTo>
                  <a:lnTo>
                    <a:pt x="1465" y="36"/>
                  </a:lnTo>
                  <a:lnTo>
                    <a:pt x="1475" y="36"/>
                  </a:lnTo>
                  <a:lnTo>
                    <a:pt x="1486" y="37"/>
                  </a:lnTo>
                  <a:lnTo>
                    <a:pt x="1496" y="33"/>
                  </a:lnTo>
                  <a:lnTo>
                    <a:pt x="1502" y="22"/>
                  </a:lnTo>
                  <a:lnTo>
                    <a:pt x="1512" y="10"/>
                  </a:lnTo>
                  <a:lnTo>
                    <a:pt x="1516" y="3"/>
                  </a:lnTo>
                  <a:lnTo>
                    <a:pt x="1525" y="0"/>
                  </a:lnTo>
                  <a:lnTo>
                    <a:pt x="1536" y="0"/>
                  </a:lnTo>
                  <a:lnTo>
                    <a:pt x="1545" y="2"/>
                  </a:lnTo>
                  <a:lnTo>
                    <a:pt x="1555" y="7"/>
                  </a:lnTo>
                  <a:lnTo>
                    <a:pt x="1559" y="12"/>
                  </a:lnTo>
                  <a:lnTo>
                    <a:pt x="1561" y="13"/>
                  </a:lnTo>
                  <a:lnTo>
                    <a:pt x="1559" y="17"/>
                  </a:lnTo>
                  <a:lnTo>
                    <a:pt x="1555" y="19"/>
                  </a:lnTo>
                  <a:lnTo>
                    <a:pt x="1549" y="22"/>
                  </a:lnTo>
                  <a:lnTo>
                    <a:pt x="1548" y="24"/>
                  </a:lnTo>
                  <a:lnTo>
                    <a:pt x="1545" y="30"/>
                  </a:lnTo>
                  <a:lnTo>
                    <a:pt x="1542" y="32"/>
                  </a:lnTo>
                  <a:lnTo>
                    <a:pt x="1539" y="36"/>
                  </a:lnTo>
                  <a:lnTo>
                    <a:pt x="1532" y="37"/>
                  </a:lnTo>
                  <a:lnTo>
                    <a:pt x="1525" y="43"/>
                  </a:lnTo>
                  <a:lnTo>
                    <a:pt x="1521" y="47"/>
                  </a:lnTo>
                  <a:lnTo>
                    <a:pt x="1519" y="53"/>
                  </a:lnTo>
                  <a:lnTo>
                    <a:pt x="1516" y="59"/>
                  </a:lnTo>
                  <a:lnTo>
                    <a:pt x="1514" y="62"/>
                  </a:lnTo>
                  <a:lnTo>
                    <a:pt x="1511" y="65"/>
                  </a:lnTo>
                  <a:lnTo>
                    <a:pt x="1509" y="69"/>
                  </a:lnTo>
                  <a:lnTo>
                    <a:pt x="1509" y="73"/>
                  </a:lnTo>
                  <a:lnTo>
                    <a:pt x="1511" y="79"/>
                  </a:lnTo>
                  <a:lnTo>
                    <a:pt x="1514" y="87"/>
                  </a:lnTo>
                  <a:lnTo>
                    <a:pt x="1514" y="93"/>
                  </a:lnTo>
                  <a:lnTo>
                    <a:pt x="1511" y="98"/>
                  </a:lnTo>
                  <a:lnTo>
                    <a:pt x="1505" y="103"/>
                  </a:lnTo>
                  <a:lnTo>
                    <a:pt x="1502" y="106"/>
                  </a:lnTo>
                  <a:lnTo>
                    <a:pt x="1502" y="110"/>
                  </a:lnTo>
                  <a:lnTo>
                    <a:pt x="1505" y="115"/>
                  </a:lnTo>
                  <a:lnTo>
                    <a:pt x="1509" y="116"/>
                  </a:lnTo>
                  <a:lnTo>
                    <a:pt x="1514" y="116"/>
                  </a:lnTo>
                  <a:lnTo>
                    <a:pt x="1518" y="113"/>
                  </a:lnTo>
                  <a:lnTo>
                    <a:pt x="1522" y="112"/>
                  </a:lnTo>
                  <a:lnTo>
                    <a:pt x="1526" y="112"/>
                  </a:lnTo>
                  <a:lnTo>
                    <a:pt x="1529" y="112"/>
                  </a:lnTo>
                  <a:lnTo>
                    <a:pt x="1531" y="116"/>
                  </a:lnTo>
                  <a:lnTo>
                    <a:pt x="1532" y="120"/>
                  </a:lnTo>
                  <a:lnTo>
                    <a:pt x="1535" y="125"/>
                  </a:lnTo>
                  <a:lnTo>
                    <a:pt x="1539" y="128"/>
                  </a:lnTo>
                  <a:lnTo>
                    <a:pt x="1544" y="129"/>
                  </a:lnTo>
                  <a:lnTo>
                    <a:pt x="1545" y="132"/>
                  </a:lnTo>
                  <a:lnTo>
                    <a:pt x="1545" y="135"/>
                  </a:lnTo>
                  <a:lnTo>
                    <a:pt x="1545" y="136"/>
                  </a:lnTo>
                  <a:lnTo>
                    <a:pt x="1544" y="139"/>
                  </a:lnTo>
                  <a:lnTo>
                    <a:pt x="1542" y="138"/>
                  </a:lnTo>
                  <a:lnTo>
                    <a:pt x="1539" y="136"/>
                  </a:lnTo>
                  <a:lnTo>
                    <a:pt x="1536" y="136"/>
                  </a:lnTo>
                  <a:lnTo>
                    <a:pt x="1535" y="139"/>
                  </a:lnTo>
                  <a:lnTo>
                    <a:pt x="1535" y="143"/>
                  </a:lnTo>
                  <a:lnTo>
                    <a:pt x="1538" y="149"/>
                  </a:lnTo>
                  <a:lnTo>
                    <a:pt x="1544" y="162"/>
                  </a:lnTo>
                  <a:lnTo>
                    <a:pt x="1548" y="169"/>
                  </a:lnTo>
                  <a:lnTo>
                    <a:pt x="1552" y="173"/>
                  </a:lnTo>
                  <a:lnTo>
                    <a:pt x="1556" y="176"/>
                  </a:lnTo>
                  <a:lnTo>
                    <a:pt x="1558" y="178"/>
                  </a:lnTo>
                  <a:lnTo>
                    <a:pt x="1556" y="181"/>
                  </a:lnTo>
                  <a:lnTo>
                    <a:pt x="1555" y="183"/>
                  </a:lnTo>
                  <a:lnTo>
                    <a:pt x="1555" y="186"/>
                  </a:lnTo>
                  <a:lnTo>
                    <a:pt x="1556" y="189"/>
                  </a:lnTo>
                  <a:lnTo>
                    <a:pt x="1556" y="192"/>
                  </a:lnTo>
                  <a:lnTo>
                    <a:pt x="1558" y="196"/>
                  </a:lnTo>
                  <a:lnTo>
                    <a:pt x="1561" y="201"/>
                  </a:lnTo>
                  <a:lnTo>
                    <a:pt x="1565" y="205"/>
                  </a:lnTo>
                  <a:lnTo>
                    <a:pt x="1568" y="206"/>
                  </a:lnTo>
                  <a:lnTo>
                    <a:pt x="1571" y="209"/>
                  </a:lnTo>
                  <a:lnTo>
                    <a:pt x="1572" y="212"/>
                  </a:lnTo>
                  <a:lnTo>
                    <a:pt x="1572" y="216"/>
                  </a:lnTo>
                  <a:lnTo>
                    <a:pt x="1572" y="222"/>
                  </a:lnTo>
                  <a:lnTo>
                    <a:pt x="1571" y="228"/>
                  </a:lnTo>
                  <a:lnTo>
                    <a:pt x="1572" y="232"/>
                  </a:lnTo>
                  <a:lnTo>
                    <a:pt x="1577" y="241"/>
                  </a:lnTo>
                  <a:lnTo>
                    <a:pt x="1578" y="246"/>
                  </a:lnTo>
                  <a:lnTo>
                    <a:pt x="1579" y="251"/>
                  </a:lnTo>
                  <a:lnTo>
                    <a:pt x="1584" y="254"/>
                  </a:lnTo>
                  <a:lnTo>
                    <a:pt x="1585" y="256"/>
                  </a:lnTo>
                  <a:lnTo>
                    <a:pt x="1585" y="261"/>
                  </a:lnTo>
                  <a:lnTo>
                    <a:pt x="1587" y="265"/>
                  </a:lnTo>
                  <a:lnTo>
                    <a:pt x="1588" y="268"/>
                  </a:lnTo>
                  <a:lnTo>
                    <a:pt x="1587" y="272"/>
                  </a:lnTo>
                  <a:lnTo>
                    <a:pt x="1587" y="275"/>
                  </a:lnTo>
                  <a:lnTo>
                    <a:pt x="1588" y="279"/>
                  </a:lnTo>
                  <a:lnTo>
                    <a:pt x="1591" y="281"/>
                  </a:lnTo>
                  <a:lnTo>
                    <a:pt x="1595" y="284"/>
                  </a:lnTo>
                  <a:lnTo>
                    <a:pt x="1597" y="288"/>
                  </a:lnTo>
                  <a:lnTo>
                    <a:pt x="1595" y="291"/>
                  </a:lnTo>
                  <a:lnTo>
                    <a:pt x="1595" y="295"/>
                  </a:lnTo>
                  <a:lnTo>
                    <a:pt x="1597" y="298"/>
                  </a:lnTo>
                  <a:lnTo>
                    <a:pt x="1599" y="298"/>
                  </a:lnTo>
                  <a:lnTo>
                    <a:pt x="1604" y="297"/>
                  </a:lnTo>
                  <a:lnTo>
                    <a:pt x="1609" y="294"/>
                  </a:lnTo>
                  <a:lnTo>
                    <a:pt x="1612" y="294"/>
                  </a:lnTo>
                  <a:lnTo>
                    <a:pt x="1615" y="295"/>
                  </a:lnTo>
                  <a:lnTo>
                    <a:pt x="1618" y="295"/>
                  </a:lnTo>
                  <a:lnTo>
                    <a:pt x="1621" y="294"/>
                  </a:lnTo>
                  <a:lnTo>
                    <a:pt x="1622" y="292"/>
                  </a:lnTo>
                  <a:lnTo>
                    <a:pt x="1627" y="291"/>
                  </a:lnTo>
                  <a:lnTo>
                    <a:pt x="1630" y="291"/>
                  </a:lnTo>
                  <a:lnTo>
                    <a:pt x="1634" y="289"/>
                  </a:lnTo>
                  <a:lnTo>
                    <a:pt x="1638" y="288"/>
                  </a:lnTo>
                  <a:lnTo>
                    <a:pt x="1641" y="289"/>
                  </a:lnTo>
                  <a:lnTo>
                    <a:pt x="1644" y="292"/>
                  </a:lnTo>
                  <a:lnTo>
                    <a:pt x="1645" y="292"/>
                  </a:lnTo>
                  <a:lnTo>
                    <a:pt x="1648" y="292"/>
                  </a:lnTo>
                  <a:lnTo>
                    <a:pt x="1650" y="294"/>
                  </a:lnTo>
                  <a:lnTo>
                    <a:pt x="1650" y="299"/>
                  </a:lnTo>
                  <a:lnTo>
                    <a:pt x="1651" y="302"/>
                  </a:lnTo>
                  <a:lnTo>
                    <a:pt x="1655" y="307"/>
                  </a:lnTo>
                  <a:lnTo>
                    <a:pt x="1660" y="312"/>
                  </a:lnTo>
                  <a:lnTo>
                    <a:pt x="1664" y="315"/>
                  </a:lnTo>
                  <a:lnTo>
                    <a:pt x="1668" y="315"/>
                  </a:lnTo>
                  <a:lnTo>
                    <a:pt x="1671" y="318"/>
                  </a:lnTo>
                  <a:lnTo>
                    <a:pt x="1674" y="318"/>
                  </a:lnTo>
                  <a:lnTo>
                    <a:pt x="1675" y="318"/>
                  </a:lnTo>
                  <a:lnTo>
                    <a:pt x="1678" y="317"/>
                  </a:lnTo>
                  <a:lnTo>
                    <a:pt x="1680" y="317"/>
                  </a:lnTo>
                  <a:lnTo>
                    <a:pt x="1683" y="317"/>
                  </a:lnTo>
                  <a:lnTo>
                    <a:pt x="1684" y="320"/>
                  </a:lnTo>
                  <a:lnTo>
                    <a:pt x="1687" y="324"/>
                  </a:lnTo>
                  <a:lnTo>
                    <a:pt x="1690" y="327"/>
                  </a:lnTo>
                  <a:lnTo>
                    <a:pt x="1693" y="328"/>
                  </a:lnTo>
                  <a:lnTo>
                    <a:pt x="1693" y="331"/>
                  </a:lnTo>
                  <a:lnTo>
                    <a:pt x="1694" y="337"/>
                  </a:lnTo>
                  <a:lnTo>
                    <a:pt x="1695" y="338"/>
                  </a:lnTo>
                  <a:lnTo>
                    <a:pt x="1700" y="341"/>
                  </a:lnTo>
                  <a:lnTo>
                    <a:pt x="1701" y="342"/>
                  </a:lnTo>
                  <a:lnTo>
                    <a:pt x="1701" y="345"/>
                  </a:lnTo>
                  <a:lnTo>
                    <a:pt x="1701" y="350"/>
                  </a:lnTo>
                  <a:lnTo>
                    <a:pt x="1704" y="351"/>
                  </a:lnTo>
                  <a:lnTo>
                    <a:pt x="1705" y="354"/>
                  </a:lnTo>
                  <a:lnTo>
                    <a:pt x="1707" y="357"/>
                  </a:lnTo>
                  <a:lnTo>
                    <a:pt x="1707" y="360"/>
                  </a:lnTo>
                  <a:lnTo>
                    <a:pt x="1710" y="362"/>
                  </a:lnTo>
                  <a:lnTo>
                    <a:pt x="1710" y="367"/>
                  </a:lnTo>
                  <a:lnTo>
                    <a:pt x="1708" y="370"/>
                  </a:lnTo>
                  <a:lnTo>
                    <a:pt x="1707" y="371"/>
                  </a:lnTo>
                  <a:lnTo>
                    <a:pt x="1707" y="373"/>
                  </a:lnTo>
                  <a:lnTo>
                    <a:pt x="1708" y="378"/>
                  </a:lnTo>
                  <a:lnTo>
                    <a:pt x="1708" y="383"/>
                  </a:lnTo>
                  <a:lnTo>
                    <a:pt x="1705" y="384"/>
                  </a:lnTo>
                  <a:lnTo>
                    <a:pt x="1704" y="387"/>
                  </a:lnTo>
                  <a:lnTo>
                    <a:pt x="1703" y="390"/>
                  </a:lnTo>
                  <a:lnTo>
                    <a:pt x="1703" y="393"/>
                  </a:lnTo>
                  <a:lnTo>
                    <a:pt x="1704" y="395"/>
                  </a:lnTo>
                  <a:lnTo>
                    <a:pt x="1704" y="398"/>
                  </a:lnTo>
                  <a:lnTo>
                    <a:pt x="1703" y="401"/>
                  </a:lnTo>
                  <a:lnTo>
                    <a:pt x="1701" y="404"/>
                  </a:lnTo>
                  <a:lnTo>
                    <a:pt x="1701" y="405"/>
                  </a:lnTo>
                  <a:lnTo>
                    <a:pt x="1703" y="408"/>
                  </a:lnTo>
                  <a:lnTo>
                    <a:pt x="1701" y="411"/>
                  </a:lnTo>
                  <a:lnTo>
                    <a:pt x="1700" y="414"/>
                  </a:lnTo>
                  <a:lnTo>
                    <a:pt x="1694" y="415"/>
                  </a:lnTo>
                  <a:lnTo>
                    <a:pt x="1691" y="418"/>
                  </a:lnTo>
                  <a:lnTo>
                    <a:pt x="1688" y="418"/>
                  </a:lnTo>
                  <a:lnTo>
                    <a:pt x="1687" y="418"/>
                  </a:lnTo>
                  <a:lnTo>
                    <a:pt x="1685" y="418"/>
                  </a:lnTo>
                  <a:lnTo>
                    <a:pt x="1685" y="423"/>
                  </a:lnTo>
                  <a:lnTo>
                    <a:pt x="1687" y="427"/>
                  </a:lnTo>
                  <a:lnTo>
                    <a:pt x="1685" y="430"/>
                  </a:lnTo>
                  <a:lnTo>
                    <a:pt x="1683" y="428"/>
                  </a:lnTo>
                  <a:lnTo>
                    <a:pt x="1678" y="425"/>
                  </a:lnTo>
                  <a:lnTo>
                    <a:pt x="1675" y="424"/>
                  </a:lnTo>
                  <a:lnTo>
                    <a:pt x="1674" y="424"/>
                  </a:lnTo>
                  <a:lnTo>
                    <a:pt x="1670" y="425"/>
                  </a:lnTo>
                  <a:lnTo>
                    <a:pt x="1665" y="428"/>
                  </a:lnTo>
                  <a:lnTo>
                    <a:pt x="1661" y="430"/>
                  </a:lnTo>
                  <a:lnTo>
                    <a:pt x="1660" y="430"/>
                  </a:lnTo>
                  <a:lnTo>
                    <a:pt x="1657" y="428"/>
                  </a:lnTo>
                  <a:lnTo>
                    <a:pt x="1654" y="428"/>
                  </a:lnTo>
                  <a:lnTo>
                    <a:pt x="1652" y="428"/>
                  </a:lnTo>
                  <a:lnTo>
                    <a:pt x="1650" y="433"/>
                  </a:lnTo>
                  <a:lnTo>
                    <a:pt x="1647" y="436"/>
                  </a:lnTo>
                  <a:lnTo>
                    <a:pt x="1644" y="436"/>
                  </a:lnTo>
                  <a:lnTo>
                    <a:pt x="1641" y="436"/>
                  </a:lnTo>
                  <a:lnTo>
                    <a:pt x="1638" y="440"/>
                  </a:lnTo>
                  <a:lnTo>
                    <a:pt x="1635" y="440"/>
                  </a:lnTo>
                  <a:lnTo>
                    <a:pt x="1631" y="440"/>
                  </a:lnTo>
                  <a:lnTo>
                    <a:pt x="1627" y="444"/>
                  </a:lnTo>
                  <a:lnTo>
                    <a:pt x="1624" y="447"/>
                  </a:lnTo>
                  <a:lnTo>
                    <a:pt x="1617" y="450"/>
                  </a:lnTo>
                  <a:lnTo>
                    <a:pt x="1611" y="451"/>
                  </a:lnTo>
                  <a:lnTo>
                    <a:pt x="1608" y="454"/>
                  </a:lnTo>
                  <a:lnTo>
                    <a:pt x="1604" y="458"/>
                  </a:lnTo>
                  <a:lnTo>
                    <a:pt x="1602" y="461"/>
                  </a:lnTo>
                  <a:lnTo>
                    <a:pt x="1601" y="464"/>
                  </a:lnTo>
                  <a:lnTo>
                    <a:pt x="1599" y="466"/>
                  </a:lnTo>
                  <a:lnTo>
                    <a:pt x="1598" y="470"/>
                  </a:lnTo>
                  <a:lnTo>
                    <a:pt x="1597" y="476"/>
                  </a:lnTo>
                  <a:lnTo>
                    <a:pt x="1594" y="480"/>
                  </a:lnTo>
                  <a:lnTo>
                    <a:pt x="1587" y="489"/>
                  </a:lnTo>
                  <a:lnTo>
                    <a:pt x="1579" y="497"/>
                  </a:lnTo>
                  <a:lnTo>
                    <a:pt x="1575" y="506"/>
                  </a:lnTo>
                  <a:lnTo>
                    <a:pt x="1571" y="513"/>
                  </a:lnTo>
                  <a:lnTo>
                    <a:pt x="1568" y="517"/>
                  </a:lnTo>
                  <a:lnTo>
                    <a:pt x="1567" y="520"/>
                  </a:lnTo>
                  <a:lnTo>
                    <a:pt x="1565" y="523"/>
                  </a:lnTo>
                  <a:lnTo>
                    <a:pt x="1564" y="530"/>
                  </a:lnTo>
                  <a:lnTo>
                    <a:pt x="1561" y="536"/>
                  </a:lnTo>
                  <a:lnTo>
                    <a:pt x="1558" y="540"/>
                  </a:lnTo>
                  <a:lnTo>
                    <a:pt x="1552" y="543"/>
                  </a:lnTo>
                  <a:lnTo>
                    <a:pt x="1551" y="546"/>
                  </a:lnTo>
                  <a:lnTo>
                    <a:pt x="1548" y="547"/>
                  </a:lnTo>
                  <a:lnTo>
                    <a:pt x="1546" y="547"/>
                  </a:lnTo>
                  <a:lnTo>
                    <a:pt x="1544" y="547"/>
                  </a:lnTo>
                  <a:lnTo>
                    <a:pt x="1539" y="549"/>
                  </a:lnTo>
                  <a:lnTo>
                    <a:pt x="1536" y="553"/>
                  </a:lnTo>
                  <a:lnTo>
                    <a:pt x="1534" y="554"/>
                  </a:lnTo>
                  <a:lnTo>
                    <a:pt x="1531" y="556"/>
                  </a:lnTo>
                  <a:lnTo>
                    <a:pt x="1529" y="559"/>
                  </a:lnTo>
                  <a:lnTo>
                    <a:pt x="1529" y="560"/>
                  </a:lnTo>
                  <a:lnTo>
                    <a:pt x="1528" y="564"/>
                  </a:lnTo>
                  <a:lnTo>
                    <a:pt x="1525" y="566"/>
                  </a:lnTo>
                  <a:lnTo>
                    <a:pt x="1525" y="569"/>
                  </a:lnTo>
                  <a:lnTo>
                    <a:pt x="1525" y="573"/>
                  </a:lnTo>
                  <a:lnTo>
                    <a:pt x="1524" y="57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01" name="Freeform 249"/>
            <p:cNvSpPr>
              <a:spLocks noEditPoints="1"/>
            </p:cNvSpPr>
            <p:nvPr/>
          </p:nvSpPr>
          <p:spPr bwMode="auto">
            <a:xfrm>
              <a:off x="6099640" y="4626998"/>
              <a:ext cx="792521" cy="1078167"/>
            </a:xfrm>
            <a:custGeom>
              <a:avLst/>
              <a:gdLst>
                <a:gd name="T0" fmla="*/ 566 w 1298"/>
                <a:gd name="T1" fmla="*/ 913 h 1632"/>
                <a:gd name="T2" fmla="*/ 572 w 1298"/>
                <a:gd name="T3" fmla="*/ 990 h 1632"/>
                <a:gd name="T4" fmla="*/ 458 w 1298"/>
                <a:gd name="T5" fmla="*/ 1066 h 1632"/>
                <a:gd name="T6" fmla="*/ 390 w 1298"/>
                <a:gd name="T7" fmla="*/ 1094 h 1632"/>
                <a:gd name="T8" fmla="*/ 281 w 1298"/>
                <a:gd name="T9" fmla="*/ 1210 h 1632"/>
                <a:gd name="T10" fmla="*/ 235 w 1298"/>
                <a:gd name="T11" fmla="*/ 1233 h 1632"/>
                <a:gd name="T12" fmla="*/ 69 w 1298"/>
                <a:gd name="T13" fmla="*/ 1275 h 1632"/>
                <a:gd name="T14" fmla="*/ 45 w 1298"/>
                <a:gd name="T15" fmla="*/ 1411 h 1632"/>
                <a:gd name="T16" fmla="*/ 4 w 1298"/>
                <a:gd name="T17" fmla="*/ 1494 h 1632"/>
                <a:gd name="T18" fmla="*/ 79 w 1298"/>
                <a:gd name="T19" fmla="*/ 1600 h 1632"/>
                <a:gd name="T20" fmla="*/ 264 w 1298"/>
                <a:gd name="T21" fmla="*/ 1630 h 1632"/>
                <a:gd name="T22" fmla="*/ 361 w 1298"/>
                <a:gd name="T23" fmla="*/ 1604 h 1632"/>
                <a:gd name="T24" fmla="*/ 490 w 1298"/>
                <a:gd name="T25" fmla="*/ 1543 h 1632"/>
                <a:gd name="T26" fmla="*/ 599 w 1298"/>
                <a:gd name="T27" fmla="*/ 1441 h 1632"/>
                <a:gd name="T28" fmla="*/ 756 w 1298"/>
                <a:gd name="T29" fmla="*/ 1379 h 1632"/>
                <a:gd name="T30" fmla="*/ 910 w 1298"/>
                <a:gd name="T31" fmla="*/ 1367 h 1632"/>
                <a:gd name="T32" fmla="*/ 1070 w 1298"/>
                <a:gd name="T33" fmla="*/ 1400 h 1632"/>
                <a:gd name="T34" fmla="*/ 1137 w 1298"/>
                <a:gd name="T35" fmla="*/ 1302 h 1632"/>
                <a:gd name="T36" fmla="*/ 1199 w 1298"/>
                <a:gd name="T37" fmla="*/ 1245 h 1632"/>
                <a:gd name="T38" fmla="*/ 1170 w 1298"/>
                <a:gd name="T39" fmla="*/ 1206 h 1632"/>
                <a:gd name="T40" fmla="*/ 1186 w 1298"/>
                <a:gd name="T41" fmla="*/ 1107 h 1632"/>
                <a:gd name="T42" fmla="*/ 1195 w 1298"/>
                <a:gd name="T43" fmla="*/ 1030 h 1632"/>
                <a:gd name="T44" fmla="*/ 1230 w 1298"/>
                <a:gd name="T45" fmla="*/ 941 h 1632"/>
                <a:gd name="T46" fmla="*/ 1216 w 1298"/>
                <a:gd name="T47" fmla="*/ 837 h 1632"/>
                <a:gd name="T48" fmla="*/ 1164 w 1298"/>
                <a:gd name="T49" fmla="*/ 777 h 1632"/>
                <a:gd name="T50" fmla="*/ 1220 w 1298"/>
                <a:gd name="T51" fmla="*/ 708 h 1632"/>
                <a:gd name="T52" fmla="*/ 1260 w 1298"/>
                <a:gd name="T53" fmla="*/ 679 h 1632"/>
                <a:gd name="T54" fmla="*/ 1289 w 1298"/>
                <a:gd name="T55" fmla="*/ 640 h 1632"/>
                <a:gd name="T56" fmla="*/ 1207 w 1298"/>
                <a:gd name="T57" fmla="*/ 526 h 1632"/>
                <a:gd name="T58" fmla="*/ 1210 w 1298"/>
                <a:gd name="T59" fmla="*/ 473 h 1632"/>
                <a:gd name="T60" fmla="*/ 1186 w 1298"/>
                <a:gd name="T61" fmla="*/ 404 h 1632"/>
                <a:gd name="T62" fmla="*/ 1166 w 1298"/>
                <a:gd name="T63" fmla="*/ 340 h 1632"/>
                <a:gd name="T64" fmla="*/ 1111 w 1298"/>
                <a:gd name="T65" fmla="*/ 344 h 1632"/>
                <a:gd name="T66" fmla="*/ 1046 w 1298"/>
                <a:gd name="T67" fmla="*/ 304 h 1632"/>
                <a:gd name="T68" fmla="*/ 1000 w 1298"/>
                <a:gd name="T69" fmla="*/ 330 h 1632"/>
                <a:gd name="T70" fmla="*/ 994 w 1298"/>
                <a:gd name="T71" fmla="*/ 261 h 1632"/>
                <a:gd name="T72" fmla="*/ 932 w 1298"/>
                <a:gd name="T73" fmla="*/ 228 h 1632"/>
                <a:gd name="T74" fmla="*/ 891 w 1298"/>
                <a:gd name="T75" fmla="*/ 176 h 1632"/>
                <a:gd name="T76" fmla="*/ 857 w 1298"/>
                <a:gd name="T77" fmla="*/ 88 h 1632"/>
                <a:gd name="T78" fmla="*/ 819 w 1298"/>
                <a:gd name="T79" fmla="*/ 73 h 1632"/>
                <a:gd name="T80" fmla="*/ 778 w 1298"/>
                <a:gd name="T81" fmla="*/ 20 h 1632"/>
                <a:gd name="T82" fmla="*/ 742 w 1298"/>
                <a:gd name="T83" fmla="*/ 22 h 1632"/>
                <a:gd name="T84" fmla="*/ 662 w 1298"/>
                <a:gd name="T85" fmla="*/ 13 h 1632"/>
                <a:gd name="T86" fmla="*/ 665 w 1298"/>
                <a:gd name="T87" fmla="*/ 89 h 1632"/>
                <a:gd name="T88" fmla="*/ 688 w 1298"/>
                <a:gd name="T89" fmla="*/ 175 h 1632"/>
                <a:gd name="T90" fmla="*/ 726 w 1298"/>
                <a:gd name="T91" fmla="*/ 179 h 1632"/>
                <a:gd name="T92" fmla="*/ 722 w 1298"/>
                <a:gd name="T93" fmla="*/ 255 h 1632"/>
                <a:gd name="T94" fmla="*/ 652 w 1298"/>
                <a:gd name="T95" fmla="*/ 284 h 1632"/>
                <a:gd name="T96" fmla="*/ 567 w 1298"/>
                <a:gd name="T97" fmla="*/ 272 h 1632"/>
                <a:gd name="T98" fmla="*/ 554 w 1298"/>
                <a:gd name="T99" fmla="*/ 340 h 1632"/>
                <a:gd name="T100" fmla="*/ 584 w 1298"/>
                <a:gd name="T101" fmla="*/ 360 h 1632"/>
                <a:gd name="T102" fmla="*/ 606 w 1298"/>
                <a:gd name="T103" fmla="*/ 424 h 1632"/>
                <a:gd name="T104" fmla="*/ 632 w 1298"/>
                <a:gd name="T105" fmla="*/ 492 h 1632"/>
                <a:gd name="T106" fmla="*/ 666 w 1298"/>
                <a:gd name="T107" fmla="*/ 517 h 1632"/>
                <a:gd name="T108" fmla="*/ 713 w 1298"/>
                <a:gd name="T109" fmla="*/ 539 h 1632"/>
                <a:gd name="T110" fmla="*/ 746 w 1298"/>
                <a:gd name="T111" fmla="*/ 569 h 1632"/>
                <a:gd name="T112" fmla="*/ 748 w 1298"/>
                <a:gd name="T113" fmla="*/ 616 h 1632"/>
                <a:gd name="T114" fmla="*/ 731 w 1298"/>
                <a:gd name="T115" fmla="*/ 652 h 1632"/>
                <a:gd name="T116" fmla="*/ 683 w 1298"/>
                <a:gd name="T117" fmla="*/ 662 h 1632"/>
                <a:gd name="T118" fmla="*/ 625 w 1298"/>
                <a:gd name="T119" fmla="*/ 721 h 1632"/>
                <a:gd name="T120" fmla="*/ 579 w 1298"/>
                <a:gd name="T121" fmla="*/ 778 h 1632"/>
                <a:gd name="T122" fmla="*/ 526 w 1298"/>
                <a:gd name="T123" fmla="*/ 832 h 1632"/>
                <a:gd name="T124" fmla="*/ 556 w 1298"/>
                <a:gd name="T125" fmla="*/ 804 h 1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8" h="1632">
                  <a:moveTo>
                    <a:pt x="569" y="798"/>
                  </a:moveTo>
                  <a:lnTo>
                    <a:pt x="513" y="845"/>
                  </a:lnTo>
                  <a:lnTo>
                    <a:pt x="521" y="857"/>
                  </a:lnTo>
                  <a:lnTo>
                    <a:pt x="523" y="870"/>
                  </a:lnTo>
                  <a:lnTo>
                    <a:pt x="527" y="877"/>
                  </a:lnTo>
                  <a:lnTo>
                    <a:pt x="531" y="884"/>
                  </a:lnTo>
                  <a:lnTo>
                    <a:pt x="534" y="891"/>
                  </a:lnTo>
                  <a:lnTo>
                    <a:pt x="539" y="903"/>
                  </a:lnTo>
                  <a:lnTo>
                    <a:pt x="541" y="907"/>
                  </a:lnTo>
                  <a:lnTo>
                    <a:pt x="544" y="907"/>
                  </a:lnTo>
                  <a:lnTo>
                    <a:pt x="547" y="904"/>
                  </a:lnTo>
                  <a:lnTo>
                    <a:pt x="550" y="903"/>
                  </a:lnTo>
                  <a:lnTo>
                    <a:pt x="557" y="904"/>
                  </a:lnTo>
                  <a:lnTo>
                    <a:pt x="563" y="905"/>
                  </a:lnTo>
                  <a:lnTo>
                    <a:pt x="566" y="907"/>
                  </a:lnTo>
                  <a:lnTo>
                    <a:pt x="566" y="913"/>
                  </a:lnTo>
                  <a:lnTo>
                    <a:pt x="566" y="915"/>
                  </a:lnTo>
                  <a:lnTo>
                    <a:pt x="570" y="918"/>
                  </a:lnTo>
                  <a:lnTo>
                    <a:pt x="573" y="918"/>
                  </a:lnTo>
                  <a:lnTo>
                    <a:pt x="579" y="920"/>
                  </a:lnTo>
                  <a:lnTo>
                    <a:pt x="580" y="921"/>
                  </a:lnTo>
                  <a:lnTo>
                    <a:pt x="580" y="925"/>
                  </a:lnTo>
                  <a:lnTo>
                    <a:pt x="579" y="930"/>
                  </a:lnTo>
                  <a:lnTo>
                    <a:pt x="580" y="934"/>
                  </a:lnTo>
                  <a:lnTo>
                    <a:pt x="579" y="937"/>
                  </a:lnTo>
                  <a:lnTo>
                    <a:pt x="576" y="940"/>
                  </a:lnTo>
                  <a:lnTo>
                    <a:pt x="573" y="943"/>
                  </a:lnTo>
                  <a:lnTo>
                    <a:pt x="573" y="948"/>
                  </a:lnTo>
                  <a:lnTo>
                    <a:pt x="574" y="956"/>
                  </a:lnTo>
                  <a:lnTo>
                    <a:pt x="579" y="966"/>
                  </a:lnTo>
                  <a:lnTo>
                    <a:pt x="577" y="976"/>
                  </a:lnTo>
                  <a:lnTo>
                    <a:pt x="572" y="990"/>
                  </a:lnTo>
                  <a:lnTo>
                    <a:pt x="566" y="997"/>
                  </a:lnTo>
                  <a:lnTo>
                    <a:pt x="552" y="1006"/>
                  </a:lnTo>
                  <a:lnTo>
                    <a:pt x="534" y="1016"/>
                  </a:lnTo>
                  <a:lnTo>
                    <a:pt x="527" y="1021"/>
                  </a:lnTo>
                  <a:lnTo>
                    <a:pt x="521" y="1029"/>
                  </a:lnTo>
                  <a:lnTo>
                    <a:pt x="516" y="1037"/>
                  </a:lnTo>
                  <a:lnTo>
                    <a:pt x="513" y="1037"/>
                  </a:lnTo>
                  <a:lnTo>
                    <a:pt x="510" y="1036"/>
                  </a:lnTo>
                  <a:lnTo>
                    <a:pt x="504" y="1033"/>
                  </a:lnTo>
                  <a:lnTo>
                    <a:pt x="499" y="1033"/>
                  </a:lnTo>
                  <a:lnTo>
                    <a:pt x="486" y="1043"/>
                  </a:lnTo>
                  <a:lnTo>
                    <a:pt x="478" y="1046"/>
                  </a:lnTo>
                  <a:lnTo>
                    <a:pt x="473" y="1050"/>
                  </a:lnTo>
                  <a:lnTo>
                    <a:pt x="468" y="1057"/>
                  </a:lnTo>
                  <a:lnTo>
                    <a:pt x="463" y="1063"/>
                  </a:lnTo>
                  <a:lnTo>
                    <a:pt x="458" y="1066"/>
                  </a:lnTo>
                  <a:lnTo>
                    <a:pt x="453" y="1066"/>
                  </a:lnTo>
                  <a:lnTo>
                    <a:pt x="441" y="1066"/>
                  </a:lnTo>
                  <a:lnTo>
                    <a:pt x="435" y="1066"/>
                  </a:lnTo>
                  <a:lnTo>
                    <a:pt x="431" y="1067"/>
                  </a:lnTo>
                  <a:lnTo>
                    <a:pt x="427" y="1070"/>
                  </a:lnTo>
                  <a:lnTo>
                    <a:pt x="425" y="1076"/>
                  </a:lnTo>
                  <a:lnTo>
                    <a:pt x="427" y="1080"/>
                  </a:lnTo>
                  <a:lnTo>
                    <a:pt x="425" y="1087"/>
                  </a:lnTo>
                  <a:lnTo>
                    <a:pt x="424" y="1092"/>
                  </a:lnTo>
                  <a:lnTo>
                    <a:pt x="417" y="1096"/>
                  </a:lnTo>
                  <a:lnTo>
                    <a:pt x="410" y="1099"/>
                  </a:lnTo>
                  <a:lnTo>
                    <a:pt x="404" y="1099"/>
                  </a:lnTo>
                  <a:lnTo>
                    <a:pt x="400" y="1099"/>
                  </a:lnTo>
                  <a:lnTo>
                    <a:pt x="397" y="1097"/>
                  </a:lnTo>
                  <a:lnTo>
                    <a:pt x="395" y="1096"/>
                  </a:lnTo>
                  <a:lnTo>
                    <a:pt x="390" y="1094"/>
                  </a:lnTo>
                  <a:lnTo>
                    <a:pt x="385" y="1099"/>
                  </a:lnTo>
                  <a:lnTo>
                    <a:pt x="380" y="1106"/>
                  </a:lnTo>
                  <a:lnTo>
                    <a:pt x="370" y="1123"/>
                  </a:lnTo>
                  <a:lnTo>
                    <a:pt x="364" y="1132"/>
                  </a:lnTo>
                  <a:lnTo>
                    <a:pt x="364" y="1133"/>
                  </a:lnTo>
                  <a:lnTo>
                    <a:pt x="364" y="1139"/>
                  </a:lnTo>
                  <a:lnTo>
                    <a:pt x="362" y="1143"/>
                  </a:lnTo>
                  <a:lnTo>
                    <a:pt x="360" y="1150"/>
                  </a:lnTo>
                  <a:lnTo>
                    <a:pt x="350" y="1156"/>
                  </a:lnTo>
                  <a:lnTo>
                    <a:pt x="340" y="1166"/>
                  </a:lnTo>
                  <a:lnTo>
                    <a:pt x="321" y="1178"/>
                  </a:lnTo>
                  <a:lnTo>
                    <a:pt x="311" y="1185"/>
                  </a:lnTo>
                  <a:lnTo>
                    <a:pt x="302" y="1189"/>
                  </a:lnTo>
                  <a:lnTo>
                    <a:pt x="298" y="1193"/>
                  </a:lnTo>
                  <a:lnTo>
                    <a:pt x="292" y="1200"/>
                  </a:lnTo>
                  <a:lnTo>
                    <a:pt x="281" y="1210"/>
                  </a:lnTo>
                  <a:lnTo>
                    <a:pt x="279" y="1215"/>
                  </a:lnTo>
                  <a:lnTo>
                    <a:pt x="279" y="1218"/>
                  </a:lnTo>
                  <a:lnTo>
                    <a:pt x="281" y="1223"/>
                  </a:lnTo>
                  <a:lnTo>
                    <a:pt x="279" y="1229"/>
                  </a:lnTo>
                  <a:lnTo>
                    <a:pt x="275" y="1232"/>
                  </a:lnTo>
                  <a:lnTo>
                    <a:pt x="269" y="1235"/>
                  </a:lnTo>
                  <a:lnTo>
                    <a:pt x="268" y="1236"/>
                  </a:lnTo>
                  <a:lnTo>
                    <a:pt x="271" y="1238"/>
                  </a:lnTo>
                  <a:lnTo>
                    <a:pt x="271" y="1242"/>
                  </a:lnTo>
                  <a:lnTo>
                    <a:pt x="265" y="1243"/>
                  </a:lnTo>
                  <a:lnTo>
                    <a:pt x="249" y="1243"/>
                  </a:lnTo>
                  <a:lnTo>
                    <a:pt x="244" y="1243"/>
                  </a:lnTo>
                  <a:lnTo>
                    <a:pt x="241" y="1243"/>
                  </a:lnTo>
                  <a:lnTo>
                    <a:pt x="239" y="1241"/>
                  </a:lnTo>
                  <a:lnTo>
                    <a:pt x="239" y="1235"/>
                  </a:lnTo>
                  <a:lnTo>
                    <a:pt x="235" y="1233"/>
                  </a:lnTo>
                  <a:lnTo>
                    <a:pt x="225" y="1232"/>
                  </a:lnTo>
                  <a:lnTo>
                    <a:pt x="206" y="1232"/>
                  </a:lnTo>
                  <a:lnTo>
                    <a:pt x="203" y="1232"/>
                  </a:lnTo>
                  <a:lnTo>
                    <a:pt x="175" y="1251"/>
                  </a:lnTo>
                  <a:lnTo>
                    <a:pt x="138" y="1276"/>
                  </a:lnTo>
                  <a:lnTo>
                    <a:pt x="126" y="1282"/>
                  </a:lnTo>
                  <a:lnTo>
                    <a:pt x="120" y="1282"/>
                  </a:lnTo>
                  <a:lnTo>
                    <a:pt x="116" y="1278"/>
                  </a:lnTo>
                  <a:lnTo>
                    <a:pt x="113" y="1275"/>
                  </a:lnTo>
                  <a:lnTo>
                    <a:pt x="105" y="1271"/>
                  </a:lnTo>
                  <a:lnTo>
                    <a:pt x="96" y="1272"/>
                  </a:lnTo>
                  <a:lnTo>
                    <a:pt x="87" y="1274"/>
                  </a:lnTo>
                  <a:lnTo>
                    <a:pt x="77" y="1269"/>
                  </a:lnTo>
                  <a:lnTo>
                    <a:pt x="72" y="1269"/>
                  </a:lnTo>
                  <a:lnTo>
                    <a:pt x="69" y="1271"/>
                  </a:lnTo>
                  <a:lnTo>
                    <a:pt x="69" y="1275"/>
                  </a:lnTo>
                  <a:lnTo>
                    <a:pt x="67" y="1281"/>
                  </a:lnTo>
                  <a:lnTo>
                    <a:pt x="65" y="1289"/>
                  </a:lnTo>
                  <a:lnTo>
                    <a:pt x="43" y="1309"/>
                  </a:lnTo>
                  <a:lnTo>
                    <a:pt x="46" y="1315"/>
                  </a:lnTo>
                  <a:lnTo>
                    <a:pt x="65" y="1326"/>
                  </a:lnTo>
                  <a:lnTo>
                    <a:pt x="65" y="1338"/>
                  </a:lnTo>
                  <a:lnTo>
                    <a:pt x="62" y="1342"/>
                  </a:lnTo>
                  <a:lnTo>
                    <a:pt x="53" y="1342"/>
                  </a:lnTo>
                  <a:lnTo>
                    <a:pt x="47" y="1341"/>
                  </a:lnTo>
                  <a:lnTo>
                    <a:pt x="46" y="1342"/>
                  </a:lnTo>
                  <a:lnTo>
                    <a:pt x="43" y="1345"/>
                  </a:lnTo>
                  <a:lnTo>
                    <a:pt x="43" y="1357"/>
                  </a:lnTo>
                  <a:lnTo>
                    <a:pt x="40" y="1384"/>
                  </a:lnTo>
                  <a:lnTo>
                    <a:pt x="20" y="1404"/>
                  </a:lnTo>
                  <a:lnTo>
                    <a:pt x="24" y="1410"/>
                  </a:lnTo>
                  <a:lnTo>
                    <a:pt x="45" y="1411"/>
                  </a:lnTo>
                  <a:lnTo>
                    <a:pt x="59" y="1418"/>
                  </a:lnTo>
                  <a:lnTo>
                    <a:pt x="79" y="1428"/>
                  </a:lnTo>
                  <a:lnTo>
                    <a:pt x="87" y="1430"/>
                  </a:lnTo>
                  <a:lnTo>
                    <a:pt x="90" y="1430"/>
                  </a:lnTo>
                  <a:lnTo>
                    <a:pt x="92" y="1434"/>
                  </a:lnTo>
                  <a:lnTo>
                    <a:pt x="92" y="1438"/>
                  </a:lnTo>
                  <a:lnTo>
                    <a:pt x="90" y="1440"/>
                  </a:lnTo>
                  <a:lnTo>
                    <a:pt x="86" y="1441"/>
                  </a:lnTo>
                  <a:lnTo>
                    <a:pt x="70" y="1443"/>
                  </a:lnTo>
                  <a:lnTo>
                    <a:pt x="56" y="1445"/>
                  </a:lnTo>
                  <a:lnTo>
                    <a:pt x="43" y="1451"/>
                  </a:lnTo>
                  <a:lnTo>
                    <a:pt x="39" y="1457"/>
                  </a:lnTo>
                  <a:lnTo>
                    <a:pt x="30" y="1473"/>
                  </a:lnTo>
                  <a:lnTo>
                    <a:pt x="22" y="1471"/>
                  </a:lnTo>
                  <a:lnTo>
                    <a:pt x="19" y="1483"/>
                  </a:lnTo>
                  <a:lnTo>
                    <a:pt x="4" y="1494"/>
                  </a:lnTo>
                  <a:lnTo>
                    <a:pt x="0" y="1503"/>
                  </a:lnTo>
                  <a:lnTo>
                    <a:pt x="4" y="1533"/>
                  </a:lnTo>
                  <a:lnTo>
                    <a:pt x="26" y="1533"/>
                  </a:lnTo>
                  <a:lnTo>
                    <a:pt x="29" y="1540"/>
                  </a:lnTo>
                  <a:lnTo>
                    <a:pt x="30" y="1547"/>
                  </a:lnTo>
                  <a:lnTo>
                    <a:pt x="32" y="1556"/>
                  </a:lnTo>
                  <a:lnTo>
                    <a:pt x="33" y="1563"/>
                  </a:lnTo>
                  <a:lnTo>
                    <a:pt x="32" y="1570"/>
                  </a:lnTo>
                  <a:lnTo>
                    <a:pt x="32" y="1574"/>
                  </a:lnTo>
                  <a:lnTo>
                    <a:pt x="33" y="1577"/>
                  </a:lnTo>
                  <a:lnTo>
                    <a:pt x="36" y="1580"/>
                  </a:lnTo>
                  <a:lnTo>
                    <a:pt x="40" y="1581"/>
                  </a:lnTo>
                  <a:lnTo>
                    <a:pt x="52" y="1589"/>
                  </a:lnTo>
                  <a:lnTo>
                    <a:pt x="63" y="1593"/>
                  </a:lnTo>
                  <a:lnTo>
                    <a:pt x="73" y="1596"/>
                  </a:lnTo>
                  <a:lnTo>
                    <a:pt x="79" y="1600"/>
                  </a:lnTo>
                  <a:lnTo>
                    <a:pt x="85" y="1609"/>
                  </a:lnTo>
                  <a:lnTo>
                    <a:pt x="96" y="1617"/>
                  </a:lnTo>
                  <a:lnTo>
                    <a:pt x="106" y="1619"/>
                  </a:lnTo>
                  <a:lnTo>
                    <a:pt x="109" y="1620"/>
                  </a:lnTo>
                  <a:lnTo>
                    <a:pt x="113" y="1620"/>
                  </a:lnTo>
                  <a:lnTo>
                    <a:pt x="128" y="1616"/>
                  </a:lnTo>
                  <a:lnTo>
                    <a:pt x="146" y="1612"/>
                  </a:lnTo>
                  <a:lnTo>
                    <a:pt x="163" y="1612"/>
                  </a:lnTo>
                  <a:lnTo>
                    <a:pt x="173" y="1612"/>
                  </a:lnTo>
                  <a:lnTo>
                    <a:pt x="201" y="1629"/>
                  </a:lnTo>
                  <a:lnTo>
                    <a:pt x="206" y="1629"/>
                  </a:lnTo>
                  <a:lnTo>
                    <a:pt x="218" y="1627"/>
                  </a:lnTo>
                  <a:lnTo>
                    <a:pt x="231" y="1626"/>
                  </a:lnTo>
                  <a:lnTo>
                    <a:pt x="241" y="1630"/>
                  </a:lnTo>
                  <a:lnTo>
                    <a:pt x="255" y="1630"/>
                  </a:lnTo>
                  <a:lnTo>
                    <a:pt x="264" y="1630"/>
                  </a:lnTo>
                  <a:lnTo>
                    <a:pt x="274" y="1632"/>
                  </a:lnTo>
                  <a:lnTo>
                    <a:pt x="284" y="1630"/>
                  </a:lnTo>
                  <a:lnTo>
                    <a:pt x="289" y="1626"/>
                  </a:lnTo>
                  <a:lnTo>
                    <a:pt x="291" y="1619"/>
                  </a:lnTo>
                  <a:lnTo>
                    <a:pt x="291" y="1619"/>
                  </a:lnTo>
                  <a:lnTo>
                    <a:pt x="294" y="1616"/>
                  </a:lnTo>
                  <a:lnTo>
                    <a:pt x="297" y="1614"/>
                  </a:lnTo>
                  <a:lnTo>
                    <a:pt x="301" y="1617"/>
                  </a:lnTo>
                  <a:lnTo>
                    <a:pt x="309" y="1620"/>
                  </a:lnTo>
                  <a:lnTo>
                    <a:pt x="317" y="1620"/>
                  </a:lnTo>
                  <a:lnTo>
                    <a:pt x="324" y="1617"/>
                  </a:lnTo>
                  <a:lnTo>
                    <a:pt x="334" y="1614"/>
                  </a:lnTo>
                  <a:lnTo>
                    <a:pt x="344" y="1613"/>
                  </a:lnTo>
                  <a:lnTo>
                    <a:pt x="351" y="1609"/>
                  </a:lnTo>
                  <a:lnTo>
                    <a:pt x="355" y="1606"/>
                  </a:lnTo>
                  <a:lnTo>
                    <a:pt x="361" y="1604"/>
                  </a:lnTo>
                  <a:lnTo>
                    <a:pt x="368" y="1601"/>
                  </a:lnTo>
                  <a:lnTo>
                    <a:pt x="374" y="1597"/>
                  </a:lnTo>
                  <a:lnTo>
                    <a:pt x="390" y="1583"/>
                  </a:lnTo>
                  <a:lnTo>
                    <a:pt x="397" y="1579"/>
                  </a:lnTo>
                  <a:lnTo>
                    <a:pt x="404" y="1579"/>
                  </a:lnTo>
                  <a:lnTo>
                    <a:pt x="413" y="1579"/>
                  </a:lnTo>
                  <a:lnTo>
                    <a:pt x="420" y="1576"/>
                  </a:lnTo>
                  <a:lnTo>
                    <a:pt x="427" y="1571"/>
                  </a:lnTo>
                  <a:lnTo>
                    <a:pt x="431" y="1567"/>
                  </a:lnTo>
                  <a:lnTo>
                    <a:pt x="431" y="1567"/>
                  </a:lnTo>
                  <a:lnTo>
                    <a:pt x="438" y="1566"/>
                  </a:lnTo>
                  <a:lnTo>
                    <a:pt x="453" y="1563"/>
                  </a:lnTo>
                  <a:lnTo>
                    <a:pt x="464" y="1560"/>
                  </a:lnTo>
                  <a:lnTo>
                    <a:pt x="474" y="1554"/>
                  </a:lnTo>
                  <a:lnTo>
                    <a:pt x="483" y="1547"/>
                  </a:lnTo>
                  <a:lnTo>
                    <a:pt x="490" y="1543"/>
                  </a:lnTo>
                  <a:lnTo>
                    <a:pt x="509" y="1528"/>
                  </a:lnTo>
                  <a:lnTo>
                    <a:pt x="514" y="1524"/>
                  </a:lnTo>
                  <a:lnTo>
                    <a:pt x="520" y="1521"/>
                  </a:lnTo>
                  <a:lnTo>
                    <a:pt x="520" y="1521"/>
                  </a:lnTo>
                  <a:lnTo>
                    <a:pt x="524" y="1521"/>
                  </a:lnTo>
                  <a:lnTo>
                    <a:pt x="537" y="1518"/>
                  </a:lnTo>
                  <a:lnTo>
                    <a:pt x="546" y="1511"/>
                  </a:lnTo>
                  <a:lnTo>
                    <a:pt x="559" y="1498"/>
                  </a:lnTo>
                  <a:lnTo>
                    <a:pt x="566" y="1487"/>
                  </a:lnTo>
                  <a:lnTo>
                    <a:pt x="572" y="1480"/>
                  </a:lnTo>
                  <a:lnTo>
                    <a:pt x="574" y="1475"/>
                  </a:lnTo>
                  <a:lnTo>
                    <a:pt x="577" y="1465"/>
                  </a:lnTo>
                  <a:lnTo>
                    <a:pt x="580" y="1463"/>
                  </a:lnTo>
                  <a:lnTo>
                    <a:pt x="583" y="1458"/>
                  </a:lnTo>
                  <a:lnTo>
                    <a:pt x="592" y="1447"/>
                  </a:lnTo>
                  <a:lnTo>
                    <a:pt x="599" y="1441"/>
                  </a:lnTo>
                  <a:lnTo>
                    <a:pt x="606" y="1437"/>
                  </a:lnTo>
                  <a:lnTo>
                    <a:pt x="613" y="1431"/>
                  </a:lnTo>
                  <a:lnTo>
                    <a:pt x="620" y="1421"/>
                  </a:lnTo>
                  <a:lnTo>
                    <a:pt x="626" y="1415"/>
                  </a:lnTo>
                  <a:lnTo>
                    <a:pt x="640" y="1402"/>
                  </a:lnTo>
                  <a:lnTo>
                    <a:pt x="655" y="1388"/>
                  </a:lnTo>
                  <a:lnTo>
                    <a:pt x="666" y="1375"/>
                  </a:lnTo>
                  <a:lnTo>
                    <a:pt x="675" y="1372"/>
                  </a:lnTo>
                  <a:lnTo>
                    <a:pt x="685" y="1372"/>
                  </a:lnTo>
                  <a:lnTo>
                    <a:pt x="698" y="1374"/>
                  </a:lnTo>
                  <a:lnTo>
                    <a:pt x="706" y="1371"/>
                  </a:lnTo>
                  <a:lnTo>
                    <a:pt x="716" y="1368"/>
                  </a:lnTo>
                  <a:lnTo>
                    <a:pt x="725" y="1368"/>
                  </a:lnTo>
                  <a:lnTo>
                    <a:pt x="738" y="1369"/>
                  </a:lnTo>
                  <a:lnTo>
                    <a:pt x="749" y="1374"/>
                  </a:lnTo>
                  <a:lnTo>
                    <a:pt x="756" y="1379"/>
                  </a:lnTo>
                  <a:lnTo>
                    <a:pt x="769" y="1388"/>
                  </a:lnTo>
                  <a:lnTo>
                    <a:pt x="779" y="1391"/>
                  </a:lnTo>
                  <a:lnTo>
                    <a:pt x="796" y="1395"/>
                  </a:lnTo>
                  <a:lnTo>
                    <a:pt x="804" y="1397"/>
                  </a:lnTo>
                  <a:lnTo>
                    <a:pt x="822" y="1400"/>
                  </a:lnTo>
                  <a:lnTo>
                    <a:pt x="832" y="1401"/>
                  </a:lnTo>
                  <a:lnTo>
                    <a:pt x="839" y="1402"/>
                  </a:lnTo>
                  <a:lnTo>
                    <a:pt x="842" y="1402"/>
                  </a:lnTo>
                  <a:lnTo>
                    <a:pt x="847" y="1400"/>
                  </a:lnTo>
                  <a:lnTo>
                    <a:pt x="849" y="1392"/>
                  </a:lnTo>
                  <a:lnTo>
                    <a:pt x="858" y="1381"/>
                  </a:lnTo>
                  <a:lnTo>
                    <a:pt x="868" y="1368"/>
                  </a:lnTo>
                  <a:lnTo>
                    <a:pt x="874" y="1364"/>
                  </a:lnTo>
                  <a:lnTo>
                    <a:pt x="884" y="1362"/>
                  </a:lnTo>
                  <a:lnTo>
                    <a:pt x="892" y="1364"/>
                  </a:lnTo>
                  <a:lnTo>
                    <a:pt x="910" y="1367"/>
                  </a:lnTo>
                  <a:lnTo>
                    <a:pt x="925" y="1367"/>
                  </a:lnTo>
                  <a:lnTo>
                    <a:pt x="937" y="1367"/>
                  </a:lnTo>
                  <a:lnTo>
                    <a:pt x="938" y="1369"/>
                  </a:lnTo>
                  <a:lnTo>
                    <a:pt x="941" y="1378"/>
                  </a:lnTo>
                  <a:lnTo>
                    <a:pt x="948" y="1382"/>
                  </a:lnTo>
                  <a:lnTo>
                    <a:pt x="961" y="1388"/>
                  </a:lnTo>
                  <a:lnTo>
                    <a:pt x="994" y="1395"/>
                  </a:lnTo>
                  <a:lnTo>
                    <a:pt x="1004" y="1394"/>
                  </a:lnTo>
                  <a:lnTo>
                    <a:pt x="1013" y="1391"/>
                  </a:lnTo>
                  <a:lnTo>
                    <a:pt x="1014" y="1391"/>
                  </a:lnTo>
                  <a:lnTo>
                    <a:pt x="1023" y="1390"/>
                  </a:lnTo>
                  <a:lnTo>
                    <a:pt x="1037" y="1390"/>
                  </a:lnTo>
                  <a:lnTo>
                    <a:pt x="1054" y="1395"/>
                  </a:lnTo>
                  <a:lnTo>
                    <a:pt x="1060" y="1398"/>
                  </a:lnTo>
                  <a:lnTo>
                    <a:pt x="1067" y="1400"/>
                  </a:lnTo>
                  <a:lnTo>
                    <a:pt x="1070" y="1400"/>
                  </a:lnTo>
                  <a:lnTo>
                    <a:pt x="1074" y="1397"/>
                  </a:lnTo>
                  <a:lnTo>
                    <a:pt x="1106" y="1348"/>
                  </a:lnTo>
                  <a:lnTo>
                    <a:pt x="1106" y="1348"/>
                  </a:lnTo>
                  <a:lnTo>
                    <a:pt x="1109" y="1344"/>
                  </a:lnTo>
                  <a:lnTo>
                    <a:pt x="1111" y="1341"/>
                  </a:lnTo>
                  <a:lnTo>
                    <a:pt x="1117" y="1337"/>
                  </a:lnTo>
                  <a:lnTo>
                    <a:pt x="1120" y="1335"/>
                  </a:lnTo>
                  <a:lnTo>
                    <a:pt x="1122" y="1334"/>
                  </a:lnTo>
                  <a:lnTo>
                    <a:pt x="1123" y="1331"/>
                  </a:lnTo>
                  <a:lnTo>
                    <a:pt x="1124" y="1326"/>
                  </a:lnTo>
                  <a:lnTo>
                    <a:pt x="1124" y="1326"/>
                  </a:lnTo>
                  <a:lnTo>
                    <a:pt x="1124" y="1319"/>
                  </a:lnTo>
                  <a:lnTo>
                    <a:pt x="1126" y="1315"/>
                  </a:lnTo>
                  <a:lnTo>
                    <a:pt x="1129" y="1311"/>
                  </a:lnTo>
                  <a:lnTo>
                    <a:pt x="1132" y="1308"/>
                  </a:lnTo>
                  <a:lnTo>
                    <a:pt x="1137" y="1302"/>
                  </a:lnTo>
                  <a:lnTo>
                    <a:pt x="1146" y="1295"/>
                  </a:lnTo>
                  <a:lnTo>
                    <a:pt x="1146" y="1295"/>
                  </a:lnTo>
                  <a:lnTo>
                    <a:pt x="1149" y="1294"/>
                  </a:lnTo>
                  <a:lnTo>
                    <a:pt x="1153" y="1291"/>
                  </a:lnTo>
                  <a:lnTo>
                    <a:pt x="1164" y="1289"/>
                  </a:lnTo>
                  <a:lnTo>
                    <a:pt x="1169" y="1288"/>
                  </a:lnTo>
                  <a:lnTo>
                    <a:pt x="1175" y="1286"/>
                  </a:lnTo>
                  <a:lnTo>
                    <a:pt x="1177" y="1284"/>
                  </a:lnTo>
                  <a:lnTo>
                    <a:pt x="1179" y="1279"/>
                  </a:lnTo>
                  <a:lnTo>
                    <a:pt x="1183" y="1269"/>
                  </a:lnTo>
                  <a:lnTo>
                    <a:pt x="1185" y="1265"/>
                  </a:lnTo>
                  <a:lnTo>
                    <a:pt x="1187" y="1263"/>
                  </a:lnTo>
                  <a:lnTo>
                    <a:pt x="1192" y="1259"/>
                  </a:lnTo>
                  <a:lnTo>
                    <a:pt x="1192" y="1259"/>
                  </a:lnTo>
                  <a:lnTo>
                    <a:pt x="1196" y="1252"/>
                  </a:lnTo>
                  <a:lnTo>
                    <a:pt x="1199" y="1245"/>
                  </a:lnTo>
                  <a:lnTo>
                    <a:pt x="1200" y="1238"/>
                  </a:lnTo>
                  <a:lnTo>
                    <a:pt x="1200" y="1232"/>
                  </a:lnTo>
                  <a:lnTo>
                    <a:pt x="1200" y="1226"/>
                  </a:lnTo>
                  <a:lnTo>
                    <a:pt x="1197" y="1222"/>
                  </a:lnTo>
                  <a:lnTo>
                    <a:pt x="1195" y="1218"/>
                  </a:lnTo>
                  <a:lnTo>
                    <a:pt x="1192" y="1215"/>
                  </a:lnTo>
                  <a:lnTo>
                    <a:pt x="1192" y="1215"/>
                  </a:lnTo>
                  <a:lnTo>
                    <a:pt x="1189" y="1215"/>
                  </a:lnTo>
                  <a:lnTo>
                    <a:pt x="1186" y="1215"/>
                  </a:lnTo>
                  <a:lnTo>
                    <a:pt x="1182" y="1215"/>
                  </a:lnTo>
                  <a:lnTo>
                    <a:pt x="1176" y="1216"/>
                  </a:lnTo>
                  <a:lnTo>
                    <a:pt x="1173" y="1215"/>
                  </a:lnTo>
                  <a:lnTo>
                    <a:pt x="1172" y="1213"/>
                  </a:lnTo>
                  <a:lnTo>
                    <a:pt x="1172" y="1213"/>
                  </a:lnTo>
                  <a:lnTo>
                    <a:pt x="1170" y="1210"/>
                  </a:lnTo>
                  <a:lnTo>
                    <a:pt x="1170" y="1206"/>
                  </a:lnTo>
                  <a:lnTo>
                    <a:pt x="1173" y="1193"/>
                  </a:lnTo>
                  <a:lnTo>
                    <a:pt x="1173" y="1193"/>
                  </a:lnTo>
                  <a:lnTo>
                    <a:pt x="1173" y="1183"/>
                  </a:lnTo>
                  <a:lnTo>
                    <a:pt x="1172" y="1173"/>
                  </a:lnTo>
                  <a:lnTo>
                    <a:pt x="1173" y="1169"/>
                  </a:lnTo>
                  <a:lnTo>
                    <a:pt x="1175" y="1166"/>
                  </a:lnTo>
                  <a:lnTo>
                    <a:pt x="1179" y="1160"/>
                  </a:lnTo>
                  <a:lnTo>
                    <a:pt x="1180" y="1157"/>
                  </a:lnTo>
                  <a:lnTo>
                    <a:pt x="1182" y="1155"/>
                  </a:lnTo>
                  <a:lnTo>
                    <a:pt x="1179" y="1149"/>
                  </a:lnTo>
                  <a:lnTo>
                    <a:pt x="1179" y="1145"/>
                  </a:lnTo>
                  <a:lnTo>
                    <a:pt x="1179" y="1137"/>
                  </a:lnTo>
                  <a:lnTo>
                    <a:pt x="1177" y="1130"/>
                  </a:lnTo>
                  <a:lnTo>
                    <a:pt x="1179" y="1123"/>
                  </a:lnTo>
                  <a:lnTo>
                    <a:pt x="1182" y="1116"/>
                  </a:lnTo>
                  <a:lnTo>
                    <a:pt x="1186" y="1107"/>
                  </a:lnTo>
                  <a:lnTo>
                    <a:pt x="1189" y="1100"/>
                  </a:lnTo>
                  <a:lnTo>
                    <a:pt x="1190" y="1090"/>
                  </a:lnTo>
                  <a:lnTo>
                    <a:pt x="1190" y="1083"/>
                  </a:lnTo>
                  <a:lnTo>
                    <a:pt x="1187" y="1079"/>
                  </a:lnTo>
                  <a:lnTo>
                    <a:pt x="1186" y="1074"/>
                  </a:lnTo>
                  <a:lnTo>
                    <a:pt x="1189" y="1070"/>
                  </a:lnTo>
                  <a:lnTo>
                    <a:pt x="1189" y="1066"/>
                  </a:lnTo>
                  <a:lnTo>
                    <a:pt x="1187" y="1062"/>
                  </a:lnTo>
                  <a:lnTo>
                    <a:pt x="1189" y="1059"/>
                  </a:lnTo>
                  <a:lnTo>
                    <a:pt x="1192" y="1052"/>
                  </a:lnTo>
                  <a:lnTo>
                    <a:pt x="1192" y="1049"/>
                  </a:lnTo>
                  <a:lnTo>
                    <a:pt x="1192" y="1046"/>
                  </a:lnTo>
                  <a:lnTo>
                    <a:pt x="1192" y="1043"/>
                  </a:lnTo>
                  <a:lnTo>
                    <a:pt x="1192" y="1039"/>
                  </a:lnTo>
                  <a:lnTo>
                    <a:pt x="1193" y="1034"/>
                  </a:lnTo>
                  <a:lnTo>
                    <a:pt x="1195" y="1030"/>
                  </a:lnTo>
                  <a:lnTo>
                    <a:pt x="1193" y="1026"/>
                  </a:lnTo>
                  <a:lnTo>
                    <a:pt x="1196" y="1020"/>
                  </a:lnTo>
                  <a:lnTo>
                    <a:pt x="1195" y="1014"/>
                  </a:lnTo>
                  <a:lnTo>
                    <a:pt x="1195" y="1007"/>
                  </a:lnTo>
                  <a:lnTo>
                    <a:pt x="1195" y="1000"/>
                  </a:lnTo>
                  <a:lnTo>
                    <a:pt x="1196" y="991"/>
                  </a:lnTo>
                  <a:lnTo>
                    <a:pt x="1199" y="986"/>
                  </a:lnTo>
                  <a:lnTo>
                    <a:pt x="1203" y="983"/>
                  </a:lnTo>
                  <a:lnTo>
                    <a:pt x="1207" y="974"/>
                  </a:lnTo>
                  <a:lnTo>
                    <a:pt x="1210" y="971"/>
                  </a:lnTo>
                  <a:lnTo>
                    <a:pt x="1215" y="967"/>
                  </a:lnTo>
                  <a:lnTo>
                    <a:pt x="1217" y="963"/>
                  </a:lnTo>
                  <a:lnTo>
                    <a:pt x="1219" y="958"/>
                  </a:lnTo>
                  <a:lnTo>
                    <a:pt x="1222" y="953"/>
                  </a:lnTo>
                  <a:lnTo>
                    <a:pt x="1227" y="947"/>
                  </a:lnTo>
                  <a:lnTo>
                    <a:pt x="1230" y="941"/>
                  </a:lnTo>
                  <a:lnTo>
                    <a:pt x="1236" y="936"/>
                  </a:lnTo>
                  <a:lnTo>
                    <a:pt x="1236" y="936"/>
                  </a:lnTo>
                  <a:lnTo>
                    <a:pt x="1240" y="927"/>
                  </a:lnTo>
                  <a:lnTo>
                    <a:pt x="1243" y="918"/>
                  </a:lnTo>
                  <a:lnTo>
                    <a:pt x="1245" y="910"/>
                  </a:lnTo>
                  <a:lnTo>
                    <a:pt x="1243" y="903"/>
                  </a:lnTo>
                  <a:lnTo>
                    <a:pt x="1242" y="895"/>
                  </a:lnTo>
                  <a:lnTo>
                    <a:pt x="1238" y="888"/>
                  </a:lnTo>
                  <a:lnTo>
                    <a:pt x="1230" y="874"/>
                  </a:lnTo>
                  <a:lnTo>
                    <a:pt x="1230" y="874"/>
                  </a:lnTo>
                  <a:lnTo>
                    <a:pt x="1223" y="865"/>
                  </a:lnTo>
                  <a:lnTo>
                    <a:pt x="1220" y="860"/>
                  </a:lnTo>
                  <a:lnTo>
                    <a:pt x="1220" y="855"/>
                  </a:lnTo>
                  <a:lnTo>
                    <a:pt x="1220" y="855"/>
                  </a:lnTo>
                  <a:lnTo>
                    <a:pt x="1219" y="845"/>
                  </a:lnTo>
                  <a:lnTo>
                    <a:pt x="1216" y="837"/>
                  </a:lnTo>
                  <a:lnTo>
                    <a:pt x="1213" y="832"/>
                  </a:lnTo>
                  <a:lnTo>
                    <a:pt x="1205" y="832"/>
                  </a:lnTo>
                  <a:lnTo>
                    <a:pt x="1196" y="828"/>
                  </a:lnTo>
                  <a:lnTo>
                    <a:pt x="1192" y="825"/>
                  </a:lnTo>
                  <a:lnTo>
                    <a:pt x="1180" y="831"/>
                  </a:lnTo>
                  <a:lnTo>
                    <a:pt x="1172" y="832"/>
                  </a:lnTo>
                  <a:lnTo>
                    <a:pt x="1164" y="841"/>
                  </a:lnTo>
                  <a:lnTo>
                    <a:pt x="1153" y="844"/>
                  </a:lnTo>
                  <a:lnTo>
                    <a:pt x="1147" y="837"/>
                  </a:lnTo>
                  <a:lnTo>
                    <a:pt x="1147" y="831"/>
                  </a:lnTo>
                  <a:lnTo>
                    <a:pt x="1146" y="817"/>
                  </a:lnTo>
                  <a:lnTo>
                    <a:pt x="1150" y="808"/>
                  </a:lnTo>
                  <a:lnTo>
                    <a:pt x="1154" y="802"/>
                  </a:lnTo>
                  <a:lnTo>
                    <a:pt x="1156" y="797"/>
                  </a:lnTo>
                  <a:lnTo>
                    <a:pt x="1160" y="785"/>
                  </a:lnTo>
                  <a:lnTo>
                    <a:pt x="1164" y="777"/>
                  </a:lnTo>
                  <a:lnTo>
                    <a:pt x="1167" y="768"/>
                  </a:lnTo>
                  <a:lnTo>
                    <a:pt x="1170" y="762"/>
                  </a:lnTo>
                  <a:lnTo>
                    <a:pt x="1175" y="755"/>
                  </a:lnTo>
                  <a:lnTo>
                    <a:pt x="1177" y="746"/>
                  </a:lnTo>
                  <a:lnTo>
                    <a:pt x="1180" y="739"/>
                  </a:lnTo>
                  <a:lnTo>
                    <a:pt x="1185" y="732"/>
                  </a:lnTo>
                  <a:lnTo>
                    <a:pt x="1186" y="728"/>
                  </a:lnTo>
                  <a:lnTo>
                    <a:pt x="1187" y="722"/>
                  </a:lnTo>
                  <a:lnTo>
                    <a:pt x="1187" y="722"/>
                  </a:lnTo>
                  <a:lnTo>
                    <a:pt x="1195" y="718"/>
                  </a:lnTo>
                  <a:lnTo>
                    <a:pt x="1199" y="715"/>
                  </a:lnTo>
                  <a:lnTo>
                    <a:pt x="1205" y="712"/>
                  </a:lnTo>
                  <a:lnTo>
                    <a:pt x="1210" y="711"/>
                  </a:lnTo>
                  <a:lnTo>
                    <a:pt x="1210" y="711"/>
                  </a:lnTo>
                  <a:lnTo>
                    <a:pt x="1217" y="711"/>
                  </a:lnTo>
                  <a:lnTo>
                    <a:pt x="1220" y="708"/>
                  </a:lnTo>
                  <a:lnTo>
                    <a:pt x="1223" y="705"/>
                  </a:lnTo>
                  <a:lnTo>
                    <a:pt x="1223" y="705"/>
                  </a:lnTo>
                  <a:lnTo>
                    <a:pt x="1227" y="702"/>
                  </a:lnTo>
                  <a:lnTo>
                    <a:pt x="1232" y="699"/>
                  </a:lnTo>
                  <a:lnTo>
                    <a:pt x="1232" y="699"/>
                  </a:lnTo>
                  <a:lnTo>
                    <a:pt x="1233" y="698"/>
                  </a:lnTo>
                  <a:lnTo>
                    <a:pt x="1232" y="698"/>
                  </a:lnTo>
                  <a:lnTo>
                    <a:pt x="1235" y="696"/>
                  </a:lnTo>
                  <a:lnTo>
                    <a:pt x="1235" y="696"/>
                  </a:lnTo>
                  <a:lnTo>
                    <a:pt x="1238" y="695"/>
                  </a:lnTo>
                  <a:lnTo>
                    <a:pt x="1238" y="695"/>
                  </a:lnTo>
                  <a:lnTo>
                    <a:pt x="1249" y="689"/>
                  </a:lnTo>
                  <a:lnTo>
                    <a:pt x="1249" y="689"/>
                  </a:lnTo>
                  <a:lnTo>
                    <a:pt x="1255" y="685"/>
                  </a:lnTo>
                  <a:lnTo>
                    <a:pt x="1259" y="682"/>
                  </a:lnTo>
                  <a:lnTo>
                    <a:pt x="1260" y="679"/>
                  </a:lnTo>
                  <a:lnTo>
                    <a:pt x="1260" y="679"/>
                  </a:lnTo>
                  <a:lnTo>
                    <a:pt x="1263" y="678"/>
                  </a:lnTo>
                  <a:lnTo>
                    <a:pt x="1265" y="676"/>
                  </a:lnTo>
                  <a:lnTo>
                    <a:pt x="1268" y="673"/>
                  </a:lnTo>
                  <a:lnTo>
                    <a:pt x="1269" y="671"/>
                  </a:lnTo>
                  <a:lnTo>
                    <a:pt x="1269" y="671"/>
                  </a:lnTo>
                  <a:lnTo>
                    <a:pt x="1270" y="668"/>
                  </a:lnTo>
                  <a:lnTo>
                    <a:pt x="1273" y="666"/>
                  </a:lnTo>
                  <a:lnTo>
                    <a:pt x="1282" y="665"/>
                  </a:lnTo>
                  <a:lnTo>
                    <a:pt x="1286" y="665"/>
                  </a:lnTo>
                  <a:lnTo>
                    <a:pt x="1291" y="665"/>
                  </a:lnTo>
                  <a:lnTo>
                    <a:pt x="1293" y="662"/>
                  </a:lnTo>
                  <a:lnTo>
                    <a:pt x="1295" y="658"/>
                  </a:lnTo>
                  <a:lnTo>
                    <a:pt x="1298" y="655"/>
                  </a:lnTo>
                  <a:lnTo>
                    <a:pt x="1291" y="649"/>
                  </a:lnTo>
                  <a:lnTo>
                    <a:pt x="1289" y="640"/>
                  </a:lnTo>
                  <a:lnTo>
                    <a:pt x="1282" y="630"/>
                  </a:lnTo>
                  <a:lnTo>
                    <a:pt x="1273" y="616"/>
                  </a:lnTo>
                  <a:lnTo>
                    <a:pt x="1263" y="603"/>
                  </a:lnTo>
                  <a:lnTo>
                    <a:pt x="1259" y="595"/>
                  </a:lnTo>
                  <a:lnTo>
                    <a:pt x="1246" y="583"/>
                  </a:lnTo>
                  <a:lnTo>
                    <a:pt x="1240" y="585"/>
                  </a:lnTo>
                  <a:lnTo>
                    <a:pt x="1239" y="586"/>
                  </a:lnTo>
                  <a:lnTo>
                    <a:pt x="1240" y="590"/>
                  </a:lnTo>
                  <a:lnTo>
                    <a:pt x="1240" y="592"/>
                  </a:lnTo>
                  <a:lnTo>
                    <a:pt x="1233" y="589"/>
                  </a:lnTo>
                  <a:lnTo>
                    <a:pt x="1223" y="577"/>
                  </a:lnTo>
                  <a:lnTo>
                    <a:pt x="1219" y="563"/>
                  </a:lnTo>
                  <a:lnTo>
                    <a:pt x="1225" y="555"/>
                  </a:lnTo>
                  <a:lnTo>
                    <a:pt x="1220" y="543"/>
                  </a:lnTo>
                  <a:lnTo>
                    <a:pt x="1210" y="532"/>
                  </a:lnTo>
                  <a:lnTo>
                    <a:pt x="1207" y="526"/>
                  </a:lnTo>
                  <a:lnTo>
                    <a:pt x="1207" y="519"/>
                  </a:lnTo>
                  <a:lnTo>
                    <a:pt x="1210" y="507"/>
                  </a:lnTo>
                  <a:lnTo>
                    <a:pt x="1215" y="504"/>
                  </a:lnTo>
                  <a:lnTo>
                    <a:pt x="1217" y="506"/>
                  </a:lnTo>
                  <a:lnTo>
                    <a:pt x="1223" y="510"/>
                  </a:lnTo>
                  <a:lnTo>
                    <a:pt x="1223" y="513"/>
                  </a:lnTo>
                  <a:lnTo>
                    <a:pt x="1226" y="513"/>
                  </a:lnTo>
                  <a:lnTo>
                    <a:pt x="1235" y="512"/>
                  </a:lnTo>
                  <a:lnTo>
                    <a:pt x="1245" y="504"/>
                  </a:lnTo>
                  <a:lnTo>
                    <a:pt x="1248" y="497"/>
                  </a:lnTo>
                  <a:lnTo>
                    <a:pt x="1240" y="493"/>
                  </a:lnTo>
                  <a:lnTo>
                    <a:pt x="1227" y="487"/>
                  </a:lnTo>
                  <a:lnTo>
                    <a:pt x="1222" y="483"/>
                  </a:lnTo>
                  <a:lnTo>
                    <a:pt x="1219" y="480"/>
                  </a:lnTo>
                  <a:lnTo>
                    <a:pt x="1216" y="474"/>
                  </a:lnTo>
                  <a:lnTo>
                    <a:pt x="1210" y="473"/>
                  </a:lnTo>
                  <a:lnTo>
                    <a:pt x="1209" y="461"/>
                  </a:lnTo>
                  <a:lnTo>
                    <a:pt x="1207" y="453"/>
                  </a:lnTo>
                  <a:lnTo>
                    <a:pt x="1202" y="449"/>
                  </a:lnTo>
                  <a:lnTo>
                    <a:pt x="1196" y="457"/>
                  </a:lnTo>
                  <a:lnTo>
                    <a:pt x="1190" y="464"/>
                  </a:lnTo>
                  <a:lnTo>
                    <a:pt x="1186" y="467"/>
                  </a:lnTo>
                  <a:lnTo>
                    <a:pt x="1185" y="463"/>
                  </a:lnTo>
                  <a:lnTo>
                    <a:pt x="1182" y="451"/>
                  </a:lnTo>
                  <a:lnTo>
                    <a:pt x="1182" y="444"/>
                  </a:lnTo>
                  <a:lnTo>
                    <a:pt x="1185" y="437"/>
                  </a:lnTo>
                  <a:lnTo>
                    <a:pt x="1190" y="429"/>
                  </a:lnTo>
                  <a:lnTo>
                    <a:pt x="1195" y="418"/>
                  </a:lnTo>
                  <a:lnTo>
                    <a:pt x="1193" y="410"/>
                  </a:lnTo>
                  <a:lnTo>
                    <a:pt x="1189" y="407"/>
                  </a:lnTo>
                  <a:lnTo>
                    <a:pt x="1187" y="406"/>
                  </a:lnTo>
                  <a:lnTo>
                    <a:pt x="1186" y="404"/>
                  </a:lnTo>
                  <a:lnTo>
                    <a:pt x="1187" y="401"/>
                  </a:lnTo>
                  <a:lnTo>
                    <a:pt x="1196" y="394"/>
                  </a:lnTo>
                  <a:lnTo>
                    <a:pt x="1197" y="391"/>
                  </a:lnTo>
                  <a:lnTo>
                    <a:pt x="1195" y="386"/>
                  </a:lnTo>
                  <a:lnTo>
                    <a:pt x="1192" y="387"/>
                  </a:lnTo>
                  <a:lnTo>
                    <a:pt x="1189" y="390"/>
                  </a:lnTo>
                  <a:lnTo>
                    <a:pt x="1186" y="387"/>
                  </a:lnTo>
                  <a:lnTo>
                    <a:pt x="1182" y="383"/>
                  </a:lnTo>
                  <a:lnTo>
                    <a:pt x="1182" y="376"/>
                  </a:lnTo>
                  <a:lnTo>
                    <a:pt x="1183" y="368"/>
                  </a:lnTo>
                  <a:lnTo>
                    <a:pt x="1180" y="365"/>
                  </a:lnTo>
                  <a:lnTo>
                    <a:pt x="1177" y="360"/>
                  </a:lnTo>
                  <a:lnTo>
                    <a:pt x="1180" y="354"/>
                  </a:lnTo>
                  <a:lnTo>
                    <a:pt x="1179" y="348"/>
                  </a:lnTo>
                  <a:lnTo>
                    <a:pt x="1170" y="343"/>
                  </a:lnTo>
                  <a:lnTo>
                    <a:pt x="1166" y="340"/>
                  </a:lnTo>
                  <a:lnTo>
                    <a:pt x="1160" y="330"/>
                  </a:lnTo>
                  <a:lnTo>
                    <a:pt x="1157" y="328"/>
                  </a:lnTo>
                  <a:lnTo>
                    <a:pt x="1152" y="330"/>
                  </a:lnTo>
                  <a:lnTo>
                    <a:pt x="1146" y="333"/>
                  </a:lnTo>
                  <a:lnTo>
                    <a:pt x="1142" y="340"/>
                  </a:lnTo>
                  <a:lnTo>
                    <a:pt x="1142" y="348"/>
                  </a:lnTo>
                  <a:lnTo>
                    <a:pt x="1139" y="354"/>
                  </a:lnTo>
                  <a:lnTo>
                    <a:pt x="1132" y="357"/>
                  </a:lnTo>
                  <a:lnTo>
                    <a:pt x="1129" y="357"/>
                  </a:lnTo>
                  <a:lnTo>
                    <a:pt x="1127" y="358"/>
                  </a:lnTo>
                  <a:lnTo>
                    <a:pt x="1127" y="363"/>
                  </a:lnTo>
                  <a:lnTo>
                    <a:pt x="1126" y="365"/>
                  </a:lnTo>
                  <a:lnTo>
                    <a:pt x="1122" y="365"/>
                  </a:lnTo>
                  <a:lnTo>
                    <a:pt x="1117" y="363"/>
                  </a:lnTo>
                  <a:lnTo>
                    <a:pt x="1113" y="357"/>
                  </a:lnTo>
                  <a:lnTo>
                    <a:pt x="1111" y="344"/>
                  </a:lnTo>
                  <a:lnTo>
                    <a:pt x="1107" y="337"/>
                  </a:lnTo>
                  <a:lnTo>
                    <a:pt x="1101" y="315"/>
                  </a:lnTo>
                  <a:lnTo>
                    <a:pt x="1094" y="310"/>
                  </a:lnTo>
                  <a:lnTo>
                    <a:pt x="1091" y="300"/>
                  </a:lnTo>
                  <a:lnTo>
                    <a:pt x="1087" y="291"/>
                  </a:lnTo>
                  <a:lnTo>
                    <a:pt x="1083" y="284"/>
                  </a:lnTo>
                  <a:lnTo>
                    <a:pt x="1077" y="281"/>
                  </a:lnTo>
                  <a:lnTo>
                    <a:pt x="1071" y="281"/>
                  </a:lnTo>
                  <a:lnTo>
                    <a:pt x="1067" y="287"/>
                  </a:lnTo>
                  <a:lnTo>
                    <a:pt x="1063" y="290"/>
                  </a:lnTo>
                  <a:lnTo>
                    <a:pt x="1056" y="291"/>
                  </a:lnTo>
                  <a:lnTo>
                    <a:pt x="1053" y="292"/>
                  </a:lnTo>
                  <a:lnTo>
                    <a:pt x="1050" y="294"/>
                  </a:lnTo>
                  <a:lnTo>
                    <a:pt x="1050" y="294"/>
                  </a:lnTo>
                  <a:lnTo>
                    <a:pt x="1047" y="298"/>
                  </a:lnTo>
                  <a:lnTo>
                    <a:pt x="1046" y="304"/>
                  </a:lnTo>
                  <a:lnTo>
                    <a:pt x="1043" y="308"/>
                  </a:lnTo>
                  <a:lnTo>
                    <a:pt x="1038" y="310"/>
                  </a:lnTo>
                  <a:lnTo>
                    <a:pt x="1033" y="312"/>
                  </a:lnTo>
                  <a:lnTo>
                    <a:pt x="1030" y="312"/>
                  </a:lnTo>
                  <a:lnTo>
                    <a:pt x="1030" y="314"/>
                  </a:lnTo>
                  <a:lnTo>
                    <a:pt x="1028" y="314"/>
                  </a:lnTo>
                  <a:lnTo>
                    <a:pt x="1027" y="317"/>
                  </a:lnTo>
                  <a:lnTo>
                    <a:pt x="1027" y="320"/>
                  </a:lnTo>
                  <a:lnTo>
                    <a:pt x="1027" y="324"/>
                  </a:lnTo>
                  <a:lnTo>
                    <a:pt x="1024" y="327"/>
                  </a:lnTo>
                  <a:lnTo>
                    <a:pt x="1020" y="328"/>
                  </a:lnTo>
                  <a:lnTo>
                    <a:pt x="1014" y="330"/>
                  </a:lnTo>
                  <a:lnTo>
                    <a:pt x="1011" y="323"/>
                  </a:lnTo>
                  <a:lnTo>
                    <a:pt x="1007" y="321"/>
                  </a:lnTo>
                  <a:lnTo>
                    <a:pt x="1004" y="323"/>
                  </a:lnTo>
                  <a:lnTo>
                    <a:pt x="1000" y="330"/>
                  </a:lnTo>
                  <a:lnTo>
                    <a:pt x="997" y="328"/>
                  </a:lnTo>
                  <a:lnTo>
                    <a:pt x="993" y="328"/>
                  </a:lnTo>
                  <a:lnTo>
                    <a:pt x="988" y="325"/>
                  </a:lnTo>
                  <a:lnTo>
                    <a:pt x="988" y="320"/>
                  </a:lnTo>
                  <a:lnTo>
                    <a:pt x="985" y="312"/>
                  </a:lnTo>
                  <a:lnTo>
                    <a:pt x="977" y="304"/>
                  </a:lnTo>
                  <a:lnTo>
                    <a:pt x="975" y="300"/>
                  </a:lnTo>
                  <a:lnTo>
                    <a:pt x="975" y="294"/>
                  </a:lnTo>
                  <a:lnTo>
                    <a:pt x="977" y="288"/>
                  </a:lnTo>
                  <a:lnTo>
                    <a:pt x="981" y="282"/>
                  </a:lnTo>
                  <a:lnTo>
                    <a:pt x="991" y="278"/>
                  </a:lnTo>
                  <a:lnTo>
                    <a:pt x="997" y="277"/>
                  </a:lnTo>
                  <a:lnTo>
                    <a:pt x="1004" y="270"/>
                  </a:lnTo>
                  <a:lnTo>
                    <a:pt x="1004" y="268"/>
                  </a:lnTo>
                  <a:lnTo>
                    <a:pt x="1004" y="264"/>
                  </a:lnTo>
                  <a:lnTo>
                    <a:pt x="994" y="261"/>
                  </a:lnTo>
                  <a:lnTo>
                    <a:pt x="990" y="258"/>
                  </a:lnTo>
                  <a:lnTo>
                    <a:pt x="990" y="254"/>
                  </a:lnTo>
                  <a:lnTo>
                    <a:pt x="985" y="254"/>
                  </a:lnTo>
                  <a:lnTo>
                    <a:pt x="980" y="254"/>
                  </a:lnTo>
                  <a:lnTo>
                    <a:pt x="977" y="252"/>
                  </a:lnTo>
                  <a:lnTo>
                    <a:pt x="977" y="249"/>
                  </a:lnTo>
                  <a:lnTo>
                    <a:pt x="974" y="242"/>
                  </a:lnTo>
                  <a:lnTo>
                    <a:pt x="968" y="241"/>
                  </a:lnTo>
                  <a:lnTo>
                    <a:pt x="964" y="239"/>
                  </a:lnTo>
                  <a:lnTo>
                    <a:pt x="958" y="239"/>
                  </a:lnTo>
                  <a:lnTo>
                    <a:pt x="953" y="241"/>
                  </a:lnTo>
                  <a:lnTo>
                    <a:pt x="947" y="241"/>
                  </a:lnTo>
                  <a:lnTo>
                    <a:pt x="940" y="239"/>
                  </a:lnTo>
                  <a:lnTo>
                    <a:pt x="934" y="237"/>
                  </a:lnTo>
                  <a:lnTo>
                    <a:pt x="934" y="232"/>
                  </a:lnTo>
                  <a:lnTo>
                    <a:pt x="932" y="228"/>
                  </a:lnTo>
                  <a:lnTo>
                    <a:pt x="930" y="218"/>
                  </a:lnTo>
                  <a:lnTo>
                    <a:pt x="928" y="218"/>
                  </a:lnTo>
                  <a:lnTo>
                    <a:pt x="921" y="212"/>
                  </a:lnTo>
                  <a:lnTo>
                    <a:pt x="912" y="208"/>
                  </a:lnTo>
                  <a:lnTo>
                    <a:pt x="917" y="205"/>
                  </a:lnTo>
                  <a:lnTo>
                    <a:pt x="918" y="195"/>
                  </a:lnTo>
                  <a:lnTo>
                    <a:pt x="921" y="191"/>
                  </a:lnTo>
                  <a:lnTo>
                    <a:pt x="921" y="191"/>
                  </a:lnTo>
                  <a:lnTo>
                    <a:pt x="917" y="188"/>
                  </a:lnTo>
                  <a:lnTo>
                    <a:pt x="910" y="182"/>
                  </a:lnTo>
                  <a:lnTo>
                    <a:pt x="910" y="182"/>
                  </a:lnTo>
                  <a:lnTo>
                    <a:pt x="902" y="181"/>
                  </a:lnTo>
                  <a:lnTo>
                    <a:pt x="895" y="179"/>
                  </a:lnTo>
                  <a:lnTo>
                    <a:pt x="895" y="179"/>
                  </a:lnTo>
                  <a:lnTo>
                    <a:pt x="892" y="179"/>
                  </a:lnTo>
                  <a:lnTo>
                    <a:pt x="891" y="176"/>
                  </a:lnTo>
                  <a:lnTo>
                    <a:pt x="889" y="175"/>
                  </a:lnTo>
                  <a:lnTo>
                    <a:pt x="887" y="168"/>
                  </a:lnTo>
                  <a:lnTo>
                    <a:pt x="887" y="164"/>
                  </a:lnTo>
                  <a:lnTo>
                    <a:pt x="887" y="155"/>
                  </a:lnTo>
                  <a:lnTo>
                    <a:pt x="888" y="148"/>
                  </a:lnTo>
                  <a:lnTo>
                    <a:pt x="885" y="143"/>
                  </a:lnTo>
                  <a:lnTo>
                    <a:pt x="879" y="135"/>
                  </a:lnTo>
                  <a:lnTo>
                    <a:pt x="871" y="125"/>
                  </a:lnTo>
                  <a:lnTo>
                    <a:pt x="867" y="123"/>
                  </a:lnTo>
                  <a:lnTo>
                    <a:pt x="864" y="123"/>
                  </a:lnTo>
                  <a:lnTo>
                    <a:pt x="859" y="122"/>
                  </a:lnTo>
                  <a:lnTo>
                    <a:pt x="855" y="112"/>
                  </a:lnTo>
                  <a:lnTo>
                    <a:pt x="855" y="105"/>
                  </a:lnTo>
                  <a:lnTo>
                    <a:pt x="857" y="99"/>
                  </a:lnTo>
                  <a:lnTo>
                    <a:pt x="858" y="93"/>
                  </a:lnTo>
                  <a:lnTo>
                    <a:pt x="857" y="88"/>
                  </a:lnTo>
                  <a:lnTo>
                    <a:pt x="854" y="85"/>
                  </a:lnTo>
                  <a:lnTo>
                    <a:pt x="844" y="85"/>
                  </a:lnTo>
                  <a:lnTo>
                    <a:pt x="839" y="85"/>
                  </a:lnTo>
                  <a:lnTo>
                    <a:pt x="837" y="89"/>
                  </a:lnTo>
                  <a:lnTo>
                    <a:pt x="837" y="92"/>
                  </a:lnTo>
                  <a:lnTo>
                    <a:pt x="838" y="101"/>
                  </a:lnTo>
                  <a:lnTo>
                    <a:pt x="841" y="106"/>
                  </a:lnTo>
                  <a:lnTo>
                    <a:pt x="839" y="112"/>
                  </a:lnTo>
                  <a:lnTo>
                    <a:pt x="838" y="113"/>
                  </a:lnTo>
                  <a:lnTo>
                    <a:pt x="837" y="113"/>
                  </a:lnTo>
                  <a:lnTo>
                    <a:pt x="834" y="109"/>
                  </a:lnTo>
                  <a:lnTo>
                    <a:pt x="826" y="98"/>
                  </a:lnTo>
                  <a:lnTo>
                    <a:pt x="824" y="89"/>
                  </a:lnTo>
                  <a:lnTo>
                    <a:pt x="822" y="79"/>
                  </a:lnTo>
                  <a:lnTo>
                    <a:pt x="822" y="75"/>
                  </a:lnTo>
                  <a:lnTo>
                    <a:pt x="819" y="73"/>
                  </a:lnTo>
                  <a:lnTo>
                    <a:pt x="815" y="72"/>
                  </a:lnTo>
                  <a:lnTo>
                    <a:pt x="812" y="70"/>
                  </a:lnTo>
                  <a:lnTo>
                    <a:pt x="811" y="68"/>
                  </a:lnTo>
                  <a:lnTo>
                    <a:pt x="809" y="56"/>
                  </a:lnTo>
                  <a:lnTo>
                    <a:pt x="806" y="42"/>
                  </a:lnTo>
                  <a:lnTo>
                    <a:pt x="808" y="35"/>
                  </a:lnTo>
                  <a:lnTo>
                    <a:pt x="809" y="29"/>
                  </a:lnTo>
                  <a:lnTo>
                    <a:pt x="809" y="29"/>
                  </a:lnTo>
                  <a:lnTo>
                    <a:pt x="802" y="22"/>
                  </a:lnTo>
                  <a:lnTo>
                    <a:pt x="802" y="22"/>
                  </a:lnTo>
                  <a:lnTo>
                    <a:pt x="799" y="20"/>
                  </a:lnTo>
                  <a:lnTo>
                    <a:pt x="795" y="22"/>
                  </a:lnTo>
                  <a:lnTo>
                    <a:pt x="795" y="22"/>
                  </a:lnTo>
                  <a:lnTo>
                    <a:pt x="792" y="22"/>
                  </a:lnTo>
                  <a:lnTo>
                    <a:pt x="786" y="22"/>
                  </a:lnTo>
                  <a:lnTo>
                    <a:pt x="778" y="20"/>
                  </a:lnTo>
                  <a:lnTo>
                    <a:pt x="778" y="20"/>
                  </a:lnTo>
                  <a:lnTo>
                    <a:pt x="773" y="20"/>
                  </a:lnTo>
                  <a:lnTo>
                    <a:pt x="771" y="22"/>
                  </a:lnTo>
                  <a:lnTo>
                    <a:pt x="769" y="23"/>
                  </a:lnTo>
                  <a:lnTo>
                    <a:pt x="769" y="23"/>
                  </a:lnTo>
                  <a:lnTo>
                    <a:pt x="766" y="25"/>
                  </a:lnTo>
                  <a:lnTo>
                    <a:pt x="765" y="26"/>
                  </a:lnTo>
                  <a:lnTo>
                    <a:pt x="763" y="26"/>
                  </a:lnTo>
                  <a:lnTo>
                    <a:pt x="761" y="23"/>
                  </a:lnTo>
                  <a:lnTo>
                    <a:pt x="761" y="23"/>
                  </a:lnTo>
                  <a:lnTo>
                    <a:pt x="759" y="22"/>
                  </a:lnTo>
                  <a:lnTo>
                    <a:pt x="756" y="22"/>
                  </a:lnTo>
                  <a:lnTo>
                    <a:pt x="753" y="23"/>
                  </a:lnTo>
                  <a:lnTo>
                    <a:pt x="753" y="23"/>
                  </a:lnTo>
                  <a:lnTo>
                    <a:pt x="746" y="23"/>
                  </a:lnTo>
                  <a:lnTo>
                    <a:pt x="742" y="22"/>
                  </a:lnTo>
                  <a:lnTo>
                    <a:pt x="741" y="20"/>
                  </a:lnTo>
                  <a:lnTo>
                    <a:pt x="741" y="20"/>
                  </a:lnTo>
                  <a:lnTo>
                    <a:pt x="738" y="17"/>
                  </a:lnTo>
                  <a:lnTo>
                    <a:pt x="735" y="16"/>
                  </a:lnTo>
                  <a:lnTo>
                    <a:pt x="728" y="15"/>
                  </a:lnTo>
                  <a:lnTo>
                    <a:pt x="723" y="0"/>
                  </a:lnTo>
                  <a:lnTo>
                    <a:pt x="705" y="0"/>
                  </a:lnTo>
                  <a:lnTo>
                    <a:pt x="702" y="0"/>
                  </a:lnTo>
                  <a:lnTo>
                    <a:pt x="698" y="0"/>
                  </a:lnTo>
                  <a:lnTo>
                    <a:pt x="693" y="0"/>
                  </a:lnTo>
                  <a:lnTo>
                    <a:pt x="689" y="0"/>
                  </a:lnTo>
                  <a:lnTo>
                    <a:pt x="679" y="2"/>
                  </a:lnTo>
                  <a:lnTo>
                    <a:pt x="672" y="5"/>
                  </a:lnTo>
                  <a:lnTo>
                    <a:pt x="665" y="6"/>
                  </a:lnTo>
                  <a:lnTo>
                    <a:pt x="663" y="9"/>
                  </a:lnTo>
                  <a:lnTo>
                    <a:pt x="662" y="13"/>
                  </a:lnTo>
                  <a:lnTo>
                    <a:pt x="656" y="22"/>
                  </a:lnTo>
                  <a:lnTo>
                    <a:pt x="656" y="25"/>
                  </a:lnTo>
                  <a:lnTo>
                    <a:pt x="657" y="27"/>
                  </a:lnTo>
                  <a:lnTo>
                    <a:pt x="668" y="35"/>
                  </a:lnTo>
                  <a:lnTo>
                    <a:pt x="673" y="42"/>
                  </a:lnTo>
                  <a:lnTo>
                    <a:pt x="673" y="48"/>
                  </a:lnTo>
                  <a:lnTo>
                    <a:pt x="673" y="52"/>
                  </a:lnTo>
                  <a:lnTo>
                    <a:pt x="672" y="55"/>
                  </a:lnTo>
                  <a:lnTo>
                    <a:pt x="666" y="55"/>
                  </a:lnTo>
                  <a:lnTo>
                    <a:pt x="663" y="56"/>
                  </a:lnTo>
                  <a:lnTo>
                    <a:pt x="662" y="58"/>
                  </a:lnTo>
                  <a:lnTo>
                    <a:pt x="660" y="66"/>
                  </a:lnTo>
                  <a:lnTo>
                    <a:pt x="663" y="72"/>
                  </a:lnTo>
                  <a:lnTo>
                    <a:pt x="668" y="79"/>
                  </a:lnTo>
                  <a:lnTo>
                    <a:pt x="668" y="83"/>
                  </a:lnTo>
                  <a:lnTo>
                    <a:pt x="665" y="89"/>
                  </a:lnTo>
                  <a:lnTo>
                    <a:pt x="656" y="101"/>
                  </a:lnTo>
                  <a:lnTo>
                    <a:pt x="655" y="105"/>
                  </a:lnTo>
                  <a:lnTo>
                    <a:pt x="655" y="111"/>
                  </a:lnTo>
                  <a:lnTo>
                    <a:pt x="659" y="116"/>
                  </a:lnTo>
                  <a:lnTo>
                    <a:pt x="660" y="122"/>
                  </a:lnTo>
                  <a:lnTo>
                    <a:pt x="660" y="128"/>
                  </a:lnTo>
                  <a:lnTo>
                    <a:pt x="663" y="132"/>
                  </a:lnTo>
                  <a:lnTo>
                    <a:pt x="672" y="136"/>
                  </a:lnTo>
                  <a:lnTo>
                    <a:pt x="675" y="142"/>
                  </a:lnTo>
                  <a:lnTo>
                    <a:pt x="673" y="148"/>
                  </a:lnTo>
                  <a:lnTo>
                    <a:pt x="672" y="155"/>
                  </a:lnTo>
                  <a:lnTo>
                    <a:pt x="672" y="158"/>
                  </a:lnTo>
                  <a:lnTo>
                    <a:pt x="676" y="164"/>
                  </a:lnTo>
                  <a:lnTo>
                    <a:pt x="679" y="174"/>
                  </a:lnTo>
                  <a:lnTo>
                    <a:pt x="682" y="175"/>
                  </a:lnTo>
                  <a:lnTo>
                    <a:pt x="688" y="175"/>
                  </a:lnTo>
                  <a:lnTo>
                    <a:pt x="690" y="175"/>
                  </a:lnTo>
                  <a:lnTo>
                    <a:pt x="692" y="176"/>
                  </a:lnTo>
                  <a:lnTo>
                    <a:pt x="693" y="179"/>
                  </a:lnTo>
                  <a:lnTo>
                    <a:pt x="690" y="186"/>
                  </a:lnTo>
                  <a:lnTo>
                    <a:pt x="690" y="189"/>
                  </a:lnTo>
                  <a:lnTo>
                    <a:pt x="693" y="191"/>
                  </a:lnTo>
                  <a:lnTo>
                    <a:pt x="698" y="189"/>
                  </a:lnTo>
                  <a:lnTo>
                    <a:pt x="703" y="186"/>
                  </a:lnTo>
                  <a:lnTo>
                    <a:pt x="705" y="185"/>
                  </a:lnTo>
                  <a:lnTo>
                    <a:pt x="705" y="178"/>
                  </a:lnTo>
                  <a:lnTo>
                    <a:pt x="706" y="175"/>
                  </a:lnTo>
                  <a:lnTo>
                    <a:pt x="708" y="176"/>
                  </a:lnTo>
                  <a:lnTo>
                    <a:pt x="710" y="178"/>
                  </a:lnTo>
                  <a:lnTo>
                    <a:pt x="713" y="178"/>
                  </a:lnTo>
                  <a:lnTo>
                    <a:pt x="720" y="178"/>
                  </a:lnTo>
                  <a:lnTo>
                    <a:pt x="726" y="179"/>
                  </a:lnTo>
                  <a:lnTo>
                    <a:pt x="728" y="182"/>
                  </a:lnTo>
                  <a:lnTo>
                    <a:pt x="726" y="186"/>
                  </a:lnTo>
                  <a:lnTo>
                    <a:pt x="725" y="192"/>
                  </a:lnTo>
                  <a:lnTo>
                    <a:pt x="720" y="201"/>
                  </a:lnTo>
                  <a:lnTo>
                    <a:pt x="719" y="204"/>
                  </a:lnTo>
                  <a:lnTo>
                    <a:pt x="720" y="208"/>
                  </a:lnTo>
                  <a:lnTo>
                    <a:pt x="726" y="215"/>
                  </a:lnTo>
                  <a:lnTo>
                    <a:pt x="729" y="218"/>
                  </a:lnTo>
                  <a:lnTo>
                    <a:pt x="729" y="222"/>
                  </a:lnTo>
                  <a:lnTo>
                    <a:pt x="728" y="227"/>
                  </a:lnTo>
                  <a:lnTo>
                    <a:pt x="722" y="232"/>
                  </a:lnTo>
                  <a:lnTo>
                    <a:pt x="719" y="239"/>
                  </a:lnTo>
                  <a:lnTo>
                    <a:pt x="720" y="244"/>
                  </a:lnTo>
                  <a:lnTo>
                    <a:pt x="723" y="248"/>
                  </a:lnTo>
                  <a:lnTo>
                    <a:pt x="723" y="252"/>
                  </a:lnTo>
                  <a:lnTo>
                    <a:pt x="722" y="255"/>
                  </a:lnTo>
                  <a:lnTo>
                    <a:pt x="715" y="257"/>
                  </a:lnTo>
                  <a:lnTo>
                    <a:pt x="709" y="254"/>
                  </a:lnTo>
                  <a:lnTo>
                    <a:pt x="708" y="251"/>
                  </a:lnTo>
                  <a:lnTo>
                    <a:pt x="705" y="244"/>
                  </a:lnTo>
                  <a:lnTo>
                    <a:pt x="703" y="242"/>
                  </a:lnTo>
                  <a:lnTo>
                    <a:pt x="699" y="242"/>
                  </a:lnTo>
                  <a:lnTo>
                    <a:pt x="698" y="244"/>
                  </a:lnTo>
                  <a:lnTo>
                    <a:pt x="695" y="260"/>
                  </a:lnTo>
                  <a:lnTo>
                    <a:pt x="693" y="267"/>
                  </a:lnTo>
                  <a:lnTo>
                    <a:pt x="690" y="268"/>
                  </a:lnTo>
                  <a:lnTo>
                    <a:pt x="682" y="268"/>
                  </a:lnTo>
                  <a:lnTo>
                    <a:pt x="679" y="270"/>
                  </a:lnTo>
                  <a:lnTo>
                    <a:pt x="669" y="284"/>
                  </a:lnTo>
                  <a:lnTo>
                    <a:pt x="662" y="287"/>
                  </a:lnTo>
                  <a:lnTo>
                    <a:pt x="656" y="287"/>
                  </a:lnTo>
                  <a:lnTo>
                    <a:pt x="652" y="284"/>
                  </a:lnTo>
                  <a:lnTo>
                    <a:pt x="649" y="284"/>
                  </a:lnTo>
                  <a:lnTo>
                    <a:pt x="643" y="284"/>
                  </a:lnTo>
                  <a:lnTo>
                    <a:pt x="637" y="284"/>
                  </a:lnTo>
                  <a:lnTo>
                    <a:pt x="629" y="281"/>
                  </a:lnTo>
                  <a:lnTo>
                    <a:pt x="623" y="280"/>
                  </a:lnTo>
                  <a:lnTo>
                    <a:pt x="619" y="280"/>
                  </a:lnTo>
                  <a:lnTo>
                    <a:pt x="610" y="285"/>
                  </a:lnTo>
                  <a:lnTo>
                    <a:pt x="607" y="288"/>
                  </a:lnTo>
                  <a:lnTo>
                    <a:pt x="607" y="291"/>
                  </a:lnTo>
                  <a:lnTo>
                    <a:pt x="603" y="291"/>
                  </a:lnTo>
                  <a:lnTo>
                    <a:pt x="602" y="290"/>
                  </a:lnTo>
                  <a:lnTo>
                    <a:pt x="599" y="287"/>
                  </a:lnTo>
                  <a:lnTo>
                    <a:pt x="596" y="285"/>
                  </a:lnTo>
                  <a:lnTo>
                    <a:pt x="583" y="282"/>
                  </a:lnTo>
                  <a:lnTo>
                    <a:pt x="572" y="277"/>
                  </a:lnTo>
                  <a:lnTo>
                    <a:pt x="567" y="272"/>
                  </a:lnTo>
                  <a:lnTo>
                    <a:pt x="566" y="271"/>
                  </a:lnTo>
                  <a:lnTo>
                    <a:pt x="564" y="277"/>
                  </a:lnTo>
                  <a:lnTo>
                    <a:pt x="562" y="282"/>
                  </a:lnTo>
                  <a:lnTo>
                    <a:pt x="559" y="285"/>
                  </a:lnTo>
                  <a:lnTo>
                    <a:pt x="556" y="288"/>
                  </a:lnTo>
                  <a:lnTo>
                    <a:pt x="554" y="292"/>
                  </a:lnTo>
                  <a:lnTo>
                    <a:pt x="554" y="297"/>
                  </a:lnTo>
                  <a:lnTo>
                    <a:pt x="556" y="302"/>
                  </a:lnTo>
                  <a:lnTo>
                    <a:pt x="559" y="311"/>
                  </a:lnTo>
                  <a:lnTo>
                    <a:pt x="559" y="317"/>
                  </a:lnTo>
                  <a:lnTo>
                    <a:pt x="556" y="321"/>
                  </a:lnTo>
                  <a:lnTo>
                    <a:pt x="550" y="327"/>
                  </a:lnTo>
                  <a:lnTo>
                    <a:pt x="547" y="330"/>
                  </a:lnTo>
                  <a:lnTo>
                    <a:pt x="547" y="334"/>
                  </a:lnTo>
                  <a:lnTo>
                    <a:pt x="550" y="338"/>
                  </a:lnTo>
                  <a:lnTo>
                    <a:pt x="554" y="340"/>
                  </a:lnTo>
                  <a:lnTo>
                    <a:pt x="559" y="340"/>
                  </a:lnTo>
                  <a:lnTo>
                    <a:pt x="563" y="337"/>
                  </a:lnTo>
                  <a:lnTo>
                    <a:pt x="567" y="335"/>
                  </a:lnTo>
                  <a:lnTo>
                    <a:pt x="572" y="335"/>
                  </a:lnTo>
                  <a:lnTo>
                    <a:pt x="574" y="335"/>
                  </a:lnTo>
                  <a:lnTo>
                    <a:pt x="576" y="340"/>
                  </a:lnTo>
                  <a:lnTo>
                    <a:pt x="577" y="344"/>
                  </a:lnTo>
                  <a:lnTo>
                    <a:pt x="579" y="348"/>
                  </a:lnTo>
                  <a:lnTo>
                    <a:pt x="584" y="351"/>
                  </a:lnTo>
                  <a:lnTo>
                    <a:pt x="589" y="353"/>
                  </a:lnTo>
                  <a:lnTo>
                    <a:pt x="590" y="355"/>
                  </a:lnTo>
                  <a:lnTo>
                    <a:pt x="590" y="358"/>
                  </a:lnTo>
                  <a:lnTo>
                    <a:pt x="590" y="360"/>
                  </a:lnTo>
                  <a:lnTo>
                    <a:pt x="589" y="363"/>
                  </a:lnTo>
                  <a:lnTo>
                    <a:pt x="587" y="361"/>
                  </a:lnTo>
                  <a:lnTo>
                    <a:pt x="584" y="360"/>
                  </a:lnTo>
                  <a:lnTo>
                    <a:pt x="582" y="360"/>
                  </a:lnTo>
                  <a:lnTo>
                    <a:pt x="579" y="363"/>
                  </a:lnTo>
                  <a:lnTo>
                    <a:pt x="580" y="367"/>
                  </a:lnTo>
                  <a:lnTo>
                    <a:pt x="583" y="373"/>
                  </a:lnTo>
                  <a:lnTo>
                    <a:pt x="589" y="386"/>
                  </a:lnTo>
                  <a:lnTo>
                    <a:pt x="593" y="393"/>
                  </a:lnTo>
                  <a:lnTo>
                    <a:pt x="597" y="397"/>
                  </a:lnTo>
                  <a:lnTo>
                    <a:pt x="602" y="400"/>
                  </a:lnTo>
                  <a:lnTo>
                    <a:pt x="603" y="401"/>
                  </a:lnTo>
                  <a:lnTo>
                    <a:pt x="602" y="404"/>
                  </a:lnTo>
                  <a:lnTo>
                    <a:pt x="600" y="407"/>
                  </a:lnTo>
                  <a:lnTo>
                    <a:pt x="599" y="410"/>
                  </a:lnTo>
                  <a:lnTo>
                    <a:pt x="602" y="413"/>
                  </a:lnTo>
                  <a:lnTo>
                    <a:pt x="602" y="416"/>
                  </a:lnTo>
                  <a:lnTo>
                    <a:pt x="603" y="420"/>
                  </a:lnTo>
                  <a:lnTo>
                    <a:pt x="606" y="424"/>
                  </a:lnTo>
                  <a:lnTo>
                    <a:pt x="609" y="427"/>
                  </a:lnTo>
                  <a:lnTo>
                    <a:pt x="613" y="430"/>
                  </a:lnTo>
                  <a:lnTo>
                    <a:pt x="616" y="433"/>
                  </a:lnTo>
                  <a:lnTo>
                    <a:pt x="617" y="436"/>
                  </a:lnTo>
                  <a:lnTo>
                    <a:pt x="617" y="440"/>
                  </a:lnTo>
                  <a:lnTo>
                    <a:pt x="617" y="446"/>
                  </a:lnTo>
                  <a:lnTo>
                    <a:pt x="616" y="451"/>
                  </a:lnTo>
                  <a:lnTo>
                    <a:pt x="617" y="456"/>
                  </a:lnTo>
                  <a:lnTo>
                    <a:pt x="622" y="464"/>
                  </a:lnTo>
                  <a:lnTo>
                    <a:pt x="623" y="470"/>
                  </a:lnTo>
                  <a:lnTo>
                    <a:pt x="625" y="474"/>
                  </a:lnTo>
                  <a:lnTo>
                    <a:pt x="629" y="477"/>
                  </a:lnTo>
                  <a:lnTo>
                    <a:pt x="630" y="480"/>
                  </a:lnTo>
                  <a:lnTo>
                    <a:pt x="630" y="484"/>
                  </a:lnTo>
                  <a:lnTo>
                    <a:pt x="632" y="489"/>
                  </a:lnTo>
                  <a:lnTo>
                    <a:pt x="632" y="492"/>
                  </a:lnTo>
                  <a:lnTo>
                    <a:pt x="632" y="496"/>
                  </a:lnTo>
                  <a:lnTo>
                    <a:pt x="632" y="499"/>
                  </a:lnTo>
                  <a:lnTo>
                    <a:pt x="633" y="503"/>
                  </a:lnTo>
                  <a:lnTo>
                    <a:pt x="636" y="504"/>
                  </a:lnTo>
                  <a:lnTo>
                    <a:pt x="640" y="507"/>
                  </a:lnTo>
                  <a:lnTo>
                    <a:pt x="642" y="510"/>
                  </a:lnTo>
                  <a:lnTo>
                    <a:pt x="640" y="514"/>
                  </a:lnTo>
                  <a:lnTo>
                    <a:pt x="640" y="519"/>
                  </a:lnTo>
                  <a:lnTo>
                    <a:pt x="642" y="522"/>
                  </a:lnTo>
                  <a:lnTo>
                    <a:pt x="645" y="522"/>
                  </a:lnTo>
                  <a:lnTo>
                    <a:pt x="649" y="520"/>
                  </a:lnTo>
                  <a:lnTo>
                    <a:pt x="655" y="517"/>
                  </a:lnTo>
                  <a:lnTo>
                    <a:pt x="657" y="517"/>
                  </a:lnTo>
                  <a:lnTo>
                    <a:pt x="660" y="519"/>
                  </a:lnTo>
                  <a:lnTo>
                    <a:pt x="663" y="519"/>
                  </a:lnTo>
                  <a:lnTo>
                    <a:pt x="666" y="517"/>
                  </a:lnTo>
                  <a:lnTo>
                    <a:pt x="668" y="516"/>
                  </a:lnTo>
                  <a:lnTo>
                    <a:pt x="672" y="514"/>
                  </a:lnTo>
                  <a:lnTo>
                    <a:pt x="675" y="514"/>
                  </a:lnTo>
                  <a:lnTo>
                    <a:pt x="679" y="513"/>
                  </a:lnTo>
                  <a:lnTo>
                    <a:pt x="683" y="512"/>
                  </a:lnTo>
                  <a:lnTo>
                    <a:pt x="686" y="513"/>
                  </a:lnTo>
                  <a:lnTo>
                    <a:pt x="689" y="516"/>
                  </a:lnTo>
                  <a:lnTo>
                    <a:pt x="690" y="516"/>
                  </a:lnTo>
                  <a:lnTo>
                    <a:pt x="693" y="516"/>
                  </a:lnTo>
                  <a:lnTo>
                    <a:pt x="695" y="517"/>
                  </a:lnTo>
                  <a:lnTo>
                    <a:pt x="695" y="523"/>
                  </a:lnTo>
                  <a:lnTo>
                    <a:pt x="696" y="526"/>
                  </a:lnTo>
                  <a:lnTo>
                    <a:pt x="700" y="530"/>
                  </a:lnTo>
                  <a:lnTo>
                    <a:pt x="705" y="536"/>
                  </a:lnTo>
                  <a:lnTo>
                    <a:pt x="709" y="537"/>
                  </a:lnTo>
                  <a:lnTo>
                    <a:pt x="713" y="539"/>
                  </a:lnTo>
                  <a:lnTo>
                    <a:pt x="716" y="540"/>
                  </a:lnTo>
                  <a:lnTo>
                    <a:pt x="719" y="542"/>
                  </a:lnTo>
                  <a:lnTo>
                    <a:pt x="720" y="542"/>
                  </a:lnTo>
                  <a:lnTo>
                    <a:pt x="723" y="540"/>
                  </a:lnTo>
                  <a:lnTo>
                    <a:pt x="725" y="540"/>
                  </a:lnTo>
                  <a:lnTo>
                    <a:pt x="726" y="540"/>
                  </a:lnTo>
                  <a:lnTo>
                    <a:pt x="729" y="543"/>
                  </a:lnTo>
                  <a:lnTo>
                    <a:pt x="732" y="547"/>
                  </a:lnTo>
                  <a:lnTo>
                    <a:pt x="735" y="550"/>
                  </a:lnTo>
                  <a:lnTo>
                    <a:pt x="738" y="552"/>
                  </a:lnTo>
                  <a:lnTo>
                    <a:pt x="738" y="555"/>
                  </a:lnTo>
                  <a:lnTo>
                    <a:pt x="739" y="560"/>
                  </a:lnTo>
                  <a:lnTo>
                    <a:pt x="741" y="562"/>
                  </a:lnTo>
                  <a:lnTo>
                    <a:pt x="745" y="565"/>
                  </a:lnTo>
                  <a:lnTo>
                    <a:pt x="746" y="566"/>
                  </a:lnTo>
                  <a:lnTo>
                    <a:pt x="746" y="569"/>
                  </a:lnTo>
                  <a:lnTo>
                    <a:pt x="746" y="573"/>
                  </a:lnTo>
                  <a:lnTo>
                    <a:pt x="748" y="575"/>
                  </a:lnTo>
                  <a:lnTo>
                    <a:pt x="751" y="577"/>
                  </a:lnTo>
                  <a:lnTo>
                    <a:pt x="752" y="580"/>
                  </a:lnTo>
                  <a:lnTo>
                    <a:pt x="752" y="583"/>
                  </a:lnTo>
                  <a:lnTo>
                    <a:pt x="755" y="586"/>
                  </a:lnTo>
                  <a:lnTo>
                    <a:pt x="755" y="590"/>
                  </a:lnTo>
                  <a:lnTo>
                    <a:pt x="753" y="592"/>
                  </a:lnTo>
                  <a:lnTo>
                    <a:pt x="752" y="595"/>
                  </a:lnTo>
                  <a:lnTo>
                    <a:pt x="752" y="596"/>
                  </a:lnTo>
                  <a:lnTo>
                    <a:pt x="752" y="602"/>
                  </a:lnTo>
                  <a:lnTo>
                    <a:pt x="753" y="606"/>
                  </a:lnTo>
                  <a:lnTo>
                    <a:pt x="751" y="608"/>
                  </a:lnTo>
                  <a:lnTo>
                    <a:pt x="749" y="610"/>
                  </a:lnTo>
                  <a:lnTo>
                    <a:pt x="748" y="613"/>
                  </a:lnTo>
                  <a:lnTo>
                    <a:pt x="748" y="616"/>
                  </a:lnTo>
                  <a:lnTo>
                    <a:pt x="749" y="619"/>
                  </a:lnTo>
                  <a:lnTo>
                    <a:pt x="749" y="622"/>
                  </a:lnTo>
                  <a:lnTo>
                    <a:pt x="748" y="625"/>
                  </a:lnTo>
                  <a:lnTo>
                    <a:pt x="746" y="628"/>
                  </a:lnTo>
                  <a:lnTo>
                    <a:pt x="746" y="629"/>
                  </a:lnTo>
                  <a:lnTo>
                    <a:pt x="748" y="630"/>
                  </a:lnTo>
                  <a:lnTo>
                    <a:pt x="746" y="635"/>
                  </a:lnTo>
                  <a:lnTo>
                    <a:pt x="745" y="636"/>
                  </a:lnTo>
                  <a:lnTo>
                    <a:pt x="739" y="639"/>
                  </a:lnTo>
                  <a:lnTo>
                    <a:pt x="736" y="642"/>
                  </a:lnTo>
                  <a:lnTo>
                    <a:pt x="733" y="642"/>
                  </a:lnTo>
                  <a:lnTo>
                    <a:pt x="732" y="642"/>
                  </a:lnTo>
                  <a:lnTo>
                    <a:pt x="731" y="642"/>
                  </a:lnTo>
                  <a:lnTo>
                    <a:pt x="731" y="646"/>
                  </a:lnTo>
                  <a:lnTo>
                    <a:pt x="732" y="650"/>
                  </a:lnTo>
                  <a:lnTo>
                    <a:pt x="731" y="652"/>
                  </a:lnTo>
                  <a:lnTo>
                    <a:pt x="728" y="652"/>
                  </a:lnTo>
                  <a:lnTo>
                    <a:pt x="723" y="649"/>
                  </a:lnTo>
                  <a:lnTo>
                    <a:pt x="720" y="648"/>
                  </a:lnTo>
                  <a:lnTo>
                    <a:pt x="719" y="648"/>
                  </a:lnTo>
                  <a:lnTo>
                    <a:pt x="715" y="649"/>
                  </a:lnTo>
                  <a:lnTo>
                    <a:pt x="710" y="652"/>
                  </a:lnTo>
                  <a:lnTo>
                    <a:pt x="706" y="653"/>
                  </a:lnTo>
                  <a:lnTo>
                    <a:pt x="705" y="652"/>
                  </a:lnTo>
                  <a:lnTo>
                    <a:pt x="702" y="652"/>
                  </a:lnTo>
                  <a:lnTo>
                    <a:pt x="699" y="652"/>
                  </a:lnTo>
                  <a:lnTo>
                    <a:pt x="698" y="652"/>
                  </a:lnTo>
                  <a:lnTo>
                    <a:pt x="695" y="656"/>
                  </a:lnTo>
                  <a:lnTo>
                    <a:pt x="692" y="659"/>
                  </a:lnTo>
                  <a:lnTo>
                    <a:pt x="689" y="659"/>
                  </a:lnTo>
                  <a:lnTo>
                    <a:pt x="686" y="659"/>
                  </a:lnTo>
                  <a:lnTo>
                    <a:pt x="683" y="662"/>
                  </a:lnTo>
                  <a:lnTo>
                    <a:pt x="680" y="663"/>
                  </a:lnTo>
                  <a:lnTo>
                    <a:pt x="676" y="663"/>
                  </a:lnTo>
                  <a:lnTo>
                    <a:pt x="672" y="668"/>
                  </a:lnTo>
                  <a:lnTo>
                    <a:pt x="669" y="671"/>
                  </a:lnTo>
                  <a:lnTo>
                    <a:pt x="662" y="673"/>
                  </a:lnTo>
                  <a:lnTo>
                    <a:pt x="656" y="675"/>
                  </a:lnTo>
                  <a:lnTo>
                    <a:pt x="653" y="678"/>
                  </a:lnTo>
                  <a:lnTo>
                    <a:pt x="649" y="682"/>
                  </a:lnTo>
                  <a:lnTo>
                    <a:pt x="647" y="685"/>
                  </a:lnTo>
                  <a:lnTo>
                    <a:pt x="645" y="688"/>
                  </a:lnTo>
                  <a:lnTo>
                    <a:pt x="645" y="689"/>
                  </a:lnTo>
                  <a:lnTo>
                    <a:pt x="642" y="693"/>
                  </a:lnTo>
                  <a:lnTo>
                    <a:pt x="642" y="699"/>
                  </a:lnTo>
                  <a:lnTo>
                    <a:pt x="639" y="703"/>
                  </a:lnTo>
                  <a:lnTo>
                    <a:pt x="632" y="712"/>
                  </a:lnTo>
                  <a:lnTo>
                    <a:pt x="625" y="721"/>
                  </a:lnTo>
                  <a:lnTo>
                    <a:pt x="620" y="729"/>
                  </a:lnTo>
                  <a:lnTo>
                    <a:pt x="616" y="736"/>
                  </a:lnTo>
                  <a:lnTo>
                    <a:pt x="613" y="741"/>
                  </a:lnTo>
                  <a:lnTo>
                    <a:pt x="612" y="744"/>
                  </a:lnTo>
                  <a:lnTo>
                    <a:pt x="610" y="746"/>
                  </a:lnTo>
                  <a:lnTo>
                    <a:pt x="607" y="754"/>
                  </a:lnTo>
                  <a:lnTo>
                    <a:pt x="606" y="759"/>
                  </a:lnTo>
                  <a:lnTo>
                    <a:pt x="603" y="764"/>
                  </a:lnTo>
                  <a:lnTo>
                    <a:pt x="597" y="767"/>
                  </a:lnTo>
                  <a:lnTo>
                    <a:pt x="596" y="769"/>
                  </a:lnTo>
                  <a:lnTo>
                    <a:pt x="593" y="771"/>
                  </a:lnTo>
                  <a:lnTo>
                    <a:pt x="592" y="771"/>
                  </a:lnTo>
                  <a:lnTo>
                    <a:pt x="589" y="771"/>
                  </a:lnTo>
                  <a:lnTo>
                    <a:pt x="584" y="772"/>
                  </a:lnTo>
                  <a:lnTo>
                    <a:pt x="582" y="777"/>
                  </a:lnTo>
                  <a:lnTo>
                    <a:pt x="579" y="778"/>
                  </a:lnTo>
                  <a:lnTo>
                    <a:pt x="574" y="779"/>
                  </a:lnTo>
                  <a:lnTo>
                    <a:pt x="574" y="781"/>
                  </a:lnTo>
                  <a:lnTo>
                    <a:pt x="574" y="784"/>
                  </a:lnTo>
                  <a:lnTo>
                    <a:pt x="573" y="788"/>
                  </a:lnTo>
                  <a:lnTo>
                    <a:pt x="570" y="789"/>
                  </a:lnTo>
                  <a:lnTo>
                    <a:pt x="570" y="792"/>
                  </a:lnTo>
                  <a:lnTo>
                    <a:pt x="570" y="797"/>
                  </a:lnTo>
                  <a:lnTo>
                    <a:pt x="569" y="798"/>
                  </a:lnTo>
                  <a:close/>
                  <a:moveTo>
                    <a:pt x="569" y="798"/>
                  </a:moveTo>
                  <a:lnTo>
                    <a:pt x="514" y="842"/>
                  </a:lnTo>
                  <a:lnTo>
                    <a:pt x="516" y="840"/>
                  </a:lnTo>
                  <a:lnTo>
                    <a:pt x="519" y="838"/>
                  </a:lnTo>
                  <a:lnTo>
                    <a:pt x="521" y="838"/>
                  </a:lnTo>
                  <a:lnTo>
                    <a:pt x="524" y="838"/>
                  </a:lnTo>
                  <a:lnTo>
                    <a:pt x="526" y="834"/>
                  </a:lnTo>
                  <a:lnTo>
                    <a:pt x="526" y="832"/>
                  </a:lnTo>
                  <a:lnTo>
                    <a:pt x="523" y="830"/>
                  </a:lnTo>
                  <a:lnTo>
                    <a:pt x="523" y="827"/>
                  </a:lnTo>
                  <a:lnTo>
                    <a:pt x="524" y="824"/>
                  </a:lnTo>
                  <a:lnTo>
                    <a:pt x="527" y="821"/>
                  </a:lnTo>
                  <a:lnTo>
                    <a:pt x="531" y="819"/>
                  </a:lnTo>
                  <a:lnTo>
                    <a:pt x="533" y="818"/>
                  </a:lnTo>
                  <a:lnTo>
                    <a:pt x="534" y="815"/>
                  </a:lnTo>
                  <a:lnTo>
                    <a:pt x="539" y="812"/>
                  </a:lnTo>
                  <a:lnTo>
                    <a:pt x="540" y="812"/>
                  </a:lnTo>
                  <a:lnTo>
                    <a:pt x="543" y="814"/>
                  </a:lnTo>
                  <a:lnTo>
                    <a:pt x="546" y="814"/>
                  </a:lnTo>
                  <a:lnTo>
                    <a:pt x="549" y="811"/>
                  </a:lnTo>
                  <a:lnTo>
                    <a:pt x="550" y="811"/>
                  </a:lnTo>
                  <a:lnTo>
                    <a:pt x="553" y="809"/>
                  </a:lnTo>
                  <a:lnTo>
                    <a:pt x="554" y="807"/>
                  </a:lnTo>
                  <a:lnTo>
                    <a:pt x="556" y="804"/>
                  </a:lnTo>
                  <a:lnTo>
                    <a:pt x="559" y="801"/>
                  </a:lnTo>
                  <a:lnTo>
                    <a:pt x="563" y="799"/>
                  </a:lnTo>
                  <a:lnTo>
                    <a:pt x="569" y="79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02" name="Freeform 250"/>
            <p:cNvSpPr>
              <a:spLocks/>
            </p:cNvSpPr>
            <p:nvPr/>
          </p:nvSpPr>
          <p:spPr bwMode="auto">
            <a:xfrm>
              <a:off x="6656481" y="4574082"/>
              <a:ext cx="959818" cy="728920"/>
            </a:xfrm>
            <a:custGeom>
              <a:avLst/>
              <a:gdLst>
                <a:gd name="T0" fmla="*/ 1275 w 1572"/>
                <a:gd name="T1" fmla="*/ 1071 h 1101"/>
                <a:gd name="T2" fmla="*/ 1351 w 1572"/>
                <a:gd name="T3" fmla="*/ 1064 h 1101"/>
                <a:gd name="T4" fmla="*/ 1447 w 1572"/>
                <a:gd name="T5" fmla="*/ 1094 h 1101"/>
                <a:gd name="T6" fmla="*/ 1509 w 1572"/>
                <a:gd name="T7" fmla="*/ 1034 h 1101"/>
                <a:gd name="T8" fmla="*/ 1490 w 1572"/>
                <a:gd name="T9" fmla="*/ 919 h 1101"/>
                <a:gd name="T10" fmla="*/ 1460 w 1572"/>
                <a:gd name="T11" fmla="*/ 847 h 1101"/>
                <a:gd name="T12" fmla="*/ 1390 w 1572"/>
                <a:gd name="T13" fmla="*/ 809 h 1101"/>
                <a:gd name="T14" fmla="*/ 1352 w 1572"/>
                <a:gd name="T15" fmla="*/ 751 h 1101"/>
                <a:gd name="T16" fmla="*/ 1355 w 1572"/>
                <a:gd name="T17" fmla="*/ 624 h 1101"/>
                <a:gd name="T18" fmla="*/ 1447 w 1572"/>
                <a:gd name="T19" fmla="*/ 489 h 1101"/>
                <a:gd name="T20" fmla="*/ 1444 w 1572"/>
                <a:gd name="T21" fmla="*/ 418 h 1101"/>
                <a:gd name="T22" fmla="*/ 1547 w 1572"/>
                <a:gd name="T23" fmla="*/ 378 h 1101"/>
                <a:gd name="T24" fmla="*/ 1529 w 1572"/>
                <a:gd name="T25" fmla="*/ 280 h 1101"/>
                <a:gd name="T26" fmla="*/ 1491 w 1572"/>
                <a:gd name="T27" fmla="*/ 209 h 1101"/>
                <a:gd name="T28" fmla="*/ 1437 w 1572"/>
                <a:gd name="T29" fmla="*/ 259 h 1101"/>
                <a:gd name="T30" fmla="*/ 1355 w 1572"/>
                <a:gd name="T31" fmla="*/ 327 h 1101"/>
                <a:gd name="T32" fmla="*/ 1268 w 1572"/>
                <a:gd name="T33" fmla="*/ 390 h 1101"/>
                <a:gd name="T34" fmla="*/ 1156 w 1572"/>
                <a:gd name="T35" fmla="*/ 335 h 1101"/>
                <a:gd name="T36" fmla="*/ 1096 w 1572"/>
                <a:gd name="T37" fmla="*/ 277 h 1101"/>
                <a:gd name="T38" fmla="*/ 1143 w 1572"/>
                <a:gd name="T39" fmla="*/ 143 h 1101"/>
                <a:gd name="T40" fmla="*/ 1195 w 1572"/>
                <a:gd name="T41" fmla="*/ 28 h 1101"/>
                <a:gd name="T42" fmla="*/ 1113 w 1572"/>
                <a:gd name="T43" fmla="*/ 5 h 1101"/>
                <a:gd name="T44" fmla="*/ 1053 w 1572"/>
                <a:gd name="T45" fmla="*/ 52 h 1101"/>
                <a:gd name="T46" fmla="*/ 934 w 1572"/>
                <a:gd name="T47" fmla="*/ 100 h 1101"/>
                <a:gd name="T48" fmla="*/ 867 w 1572"/>
                <a:gd name="T49" fmla="*/ 158 h 1101"/>
                <a:gd name="T50" fmla="*/ 805 w 1572"/>
                <a:gd name="T51" fmla="*/ 180 h 1101"/>
                <a:gd name="T52" fmla="*/ 738 w 1572"/>
                <a:gd name="T53" fmla="*/ 191 h 1101"/>
                <a:gd name="T54" fmla="*/ 708 w 1572"/>
                <a:gd name="T55" fmla="*/ 214 h 1101"/>
                <a:gd name="T56" fmla="*/ 638 w 1572"/>
                <a:gd name="T57" fmla="*/ 263 h 1101"/>
                <a:gd name="T58" fmla="*/ 569 w 1572"/>
                <a:gd name="T59" fmla="*/ 253 h 1101"/>
                <a:gd name="T60" fmla="*/ 484 w 1572"/>
                <a:gd name="T61" fmla="*/ 276 h 1101"/>
                <a:gd name="T62" fmla="*/ 399 w 1572"/>
                <a:gd name="T63" fmla="*/ 244 h 1101"/>
                <a:gd name="T64" fmla="*/ 278 w 1572"/>
                <a:gd name="T65" fmla="*/ 240 h 1101"/>
                <a:gd name="T66" fmla="*/ 179 w 1572"/>
                <a:gd name="T67" fmla="*/ 237 h 1101"/>
                <a:gd name="T68" fmla="*/ 112 w 1572"/>
                <a:gd name="T69" fmla="*/ 216 h 1101"/>
                <a:gd name="T70" fmla="*/ 51 w 1572"/>
                <a:gd name="T71" fmla="*/ 226 h 1101"/>
                <a:gd name="T72" fmla="*/ 5 w 1572"/>
                <a:gd name="T73" fmla="*/ 283 h 1101"/>
                <a:gd name="T74" fmla="*/ 65 w 1572"/>
                <a:gd name="T75" fmla="*/ 330 h 1101"/>
                <a:gd name="T76" fmla="*/ 73 w 1572"/>
                <a:gd name="T77" fmla="*/ 390 h 1101"/>
                <a:gd name="T78" fmla="*/ 118 w 1572"/>
                <a:gd name="T79" fmla="*/ 392 h 1101"/>
                <a:gd name="T80" fmla="*/ 175 w 1572"/>
                <a:gd name="T81" fmla="*/ 369 h 1101"/>
                <a:gd name="T82" fmla="*/ 230 w 1572"/>
                <a:gd name="T83" fmla="*/ 418 h 1101"/>
                <a:gd name="T84" fmla="*/ 280 w 1572"/>
                <a:gd name="T85" fmla="*/ 465 h 1101"/>
                <a:gd name="T86" fmla="*/ 278 w 1572"/>
                <a:gd name="T87" fmla="*/ 542 h 1101"/>
                <a:gd name="T88" fmla="*/ 311 w 1572"/>
                <a:gd name="T89" fmla="*/ 588 h 1101"/>
                <a:gd name="T90" fmla="*/ 334 w 1572"/>
                <a:gd name="T91" fmla="*/ 664 h 1101"/>
                <a:gd name="T92" fmla="*/ 447 w 1572"/>
                <a:gd name="T93" fmla="*/ 708 h 1101"/>
                <a:gd name="T94" fmla="*/ 510 w 1572"/>
                <a:gd name="T95" fmla="*/ 664 h 1101"/>
                <a:gd name="T96" fmla="*/ 579 w 1572"/>
                <a:gd name="T97" fmla="*/ 671 h 1101"/>
                <a:gd name="T98" fmla="*/ 655 w 1572"/>
                <a:gd name="T99" fmla="*/ 687 h 1101"/>
                <a:gd name="T100" fmla="*/ 731 w 1572"/>
                <a:gd name="T101" fmla="*/ 676 h 1101"/>
                <a:gd name="T102" fmla="*/ 762 w 1572"/>
                <a:gd name="T103" fmla="*/ 696 h 1101"/>
                <a:gd name="T104" fmla="*/ 784 w 1572"/>
                <a:gd name="T105" fmla="*/ 714 h 1101"/>
                <a:gd name="T106" fmla="*/ 837 w 1572"/>
                <a:gd name="T107" fmla="*/ 753 h 1101"/>
                <a:gd name="T108" fmla="*/ 871 w 1572"/>
                <a:gd name="T109" fmla="*/ 789 h 1101"/>
                <a:gd name="T110" fmla="*/ 930 w 1572"/>
                <a:gd name="T111" fmla="*/ 852 h 1101"/>
                <a:gd name="T112" fmla="*/ 956 w 1572"/>
                <a:gd name="T113" fmla="*/ 892 h 1101"/>
                <a:gd name="T114" fmla="*/ 984 w 1572"/>
                <a:gd name="T115" fmla="*/ 922 h 1101"/>
                <a:gd name="T116" fmla="*/ 1049 w 1572"/>
                <a:gd name="T117" fmla="*/ 981 h 1101"/>
                <a:gd name="T118" fmla="*/ 1099 w 1572"/>
                <a:gd name="T119" fmla="*/ 1052 h 1101"/>
                <a:gd name="T120" fmla="*/ 1189 w 1572"/>
                <a:gd name="T121" fmla="*/ 1097 h 1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72" h="1101">
                  <a:moveTo>
                    <a:pt x="1213" y="1077"/>
                  </a:moveTo>
                  <a:lnTo>
                    <a:pt x="1215" y="1074"/>
                  </a:lnTo>
                  <a:lnTo>
                    <a:pt x="1221" y="1072"/>
                  </a:lnTo>
                  <a:lnTo>
                    <a:pt x="1231" y="1071"/>
                  </a:lnTo>
                  <a:lnTo>
                    <a:pt x="1241" y="1068"/>
                  </a:lnTo>
                  <a:lnTo>
                    <a:pt x="1244" y="1064"/>
                  </a:lnTo>
                  <a:lnTo>
                    <a:pt x="1246" y="1059"/>
                  </a:lnTo>
                  <a:lnTo>
                    <a:pt x="1251" y="1058"/>
                  </a:lnTo>
                  <a:lnTo>
                    <a:pt x="1254" y="1059"/>
                  </a:lnTo>
                  <a:lnTo>
                    <a:pt x="1254" y="1062"/>
                  </a:lnTo>
                  <a:lnTo>
                    <a:pt x="1252" y="1072"/>
                  </a:lnTo>
                  <a:lnTo>
                    <a:pt x="1252" y="1075"/>
                  </a:lnTo>
                  <a:lnTo>
                    <a:pt x="1255" y="1077"/>
                  </a:lnTo>
                  <a:lnTo>
                    <a:pt x="1261" y="1072"/>
                  </a:lnTo>
                  <a:lnTo>
                    <a:pt x="1266" y="1069"/>
                  </a:lnTo>
                  <a:lnTo>
                    <a:pt x="1275" y="1071"/>
                  </a:lnTo>
                  <a:lnTo>
                    <a:pt x="1282" y="1072"/>
                  </a:lnTo>
                  <a:lnTo>
                    <a:pt x="1292" y="1077"/>
                  </a:lnTo>
                  <a:lnTo>
                    <a:pt x="1299" y="1078"/>
                  </a:lnTo>
                  <a:lnTo>
                    <a:pt x="1305" y="1071"/>
                  </a:lnTo>
                  <a:lnTo>
                    <a:pt x="1308" y="1066"/>
                  </a:lnTo>
                  <a:lnTo>
                    <a:pt x="1312" y="1066"/>
                  </a:lnTo>
                  <a:lnTo>
                    <a:pt x="1317" y="1066"/>
                  </a:lnTo>
                  <a:lnTo>
                    <a:pt x="1321" y="1066"/>
                  </a:lnTo>
                  <a:lnTo>
                    <a:pt x="1324" y="1062"/>
                  </a:lnTo>
                  <a:lnTo>
                    <a:pt x="1325" y="1055"/>
                  </a:lnTo>
                  <a:lnTo>
                    <a:pt x="1327" y="1052"/>
                  </a:lnTo>
                  <a:lnTo>
                    <a:pt x="1329" y="1051"/>
                  </a:lnTo>
                  <a:lnTo>
                    <a:pt x="1335" y="1054"/>
                  </a:lnTo>
                  <a:lnTo>
                    <a:pt x="1342" y="1061"/>
                  </a:lnTo>
                  <a:lnTo>
                    <a:pt x="1347" y="1064"/>
                  </a:lnTo>
                  <a:lnTo>
                    <a:pt x="1351" y="1064"/>
                  </a:lnTo>
                  <a:lnTo>
                    <a:pt x="1358" y="1061"/>
                  </a:lnTo>
                  <a:lnTo>
                    <a:pt x="1362" y="1061"/>
                  </a:lnTo>
                  <a:lnTo>
                    <a:pt x="1370" y="1064"/>
                  </a:lnTo>
                  <a:lnTo>
                    <a:pt x="1374" y="1069"/>
                  </a:lnTo>
                  <a:lnTo>
                    <a:pt x="1381" y="1072"/>
                  </a:lnTo>
                  <a:lnTo>
                    <a:pt x="1385" y="1077"/>
                  </a:lnTo>
                  <a:lnTo>
                    <a:pt x="1394" y="1081"/>
                  </a:lnTo>
                  <a:lnTo>
                    <a:pt x="1400" y="1082"/>
                  </a:lnTo>
                  <a:lnTo>
                    <a:pt x="1407" y="1082"/>
                  </a:lnTo>
                  <a:lnTo>
                    <a:pt x="1413" y="1088"/>
                  </a:lnTo>
                  <a:lnTo>
                    <a:pt x="1420" y="1092"/>
                  </a:lnTo>
                  <a:lnTo>
                    <a:pt x="1427" y="1092"/>
                  </a:lnTo>
                  <a:lnTo>
                    <a:pt x="1433" y="1092"/>
                  </a:lnTo>
                  <a:lnTo>
                    <a:pt x="1437" y="1094"/>
                  </a:lnTo>
                  <a:lnTo>
                    <a:pt x="1441" y="1095"/>
                  </a:lnTo>
                  <a:lnTo>
                    <a:pt x="1447" y="1094"/>
                  </a:lnTo>
                  <a:lnTo>
                    <a:pt x="1456" y="1089"/>
                  </a:lnTo>
                  <a:lnTo>
                    <a:pt x="1458" y="1082"/>
                  </a:lnTo>
                  <a:lnTo>
                    <a:pt x="1463" y="1081"/>
                  </a:lnTo>
                  <a:lnTo>
                    <a:pt x="1468" y="1082"/>
                  </a:lnTo>
                  <a:lnTo>
                    <a:pt x="1473" y="1079"/>
                  </a:lnTo>
                  <a:lnTo>
                    <a:pt x="1473" y="1079"/>
                  </a:lnTo>
                  <a:lnTo>
                    <a:pt x="1478" y="1078"/>
                  </a:lnTo>
                  <a:lnTo>
                    <a:pt x="1481" y="1074"/>
                  </a:lnTo>
                  <a:lnTo>
                    <a:pt x="1486" y="1069"/>
                  </a:lnTo>
                  <a:lnTo>
                    <a:pt x="1488" y="1065"/>
                  </a:lnTo>
                  <a:lnTo>
                    <a:pt x="1493" y="1054"/>
                  </a:lnTo>
                  <a:lnTo>
                    <a:pt x="1498" y="1044"/>
                  </a:lnTo>
                  <a:lnTo>
                    <a:pt x="1498" y="1044"/>
                  </a:lnTo>
                  <a:lnTo>
                    <a:pt x="1504" y="1038"/>
                  </a:lnTo>
                  <a:lnTo>
                    <a:pt x="1507" y="1035"/>
                  </a:lnTo>
                  <a:lnTo>
                    <a:pt x="1509" y="1034"/>
                  </a:lnTo>
                  <a:lnTo>
                    <a:pt x="1509" y="1034"/>
                  </a:lnTo>
                  <a:lnTo>
                    <a:pt x="1509" y="1022"/>
                  </a:lnTo>
                  <a:lnTo>
                    <a:pt x="1509" y="1012"/>
                  </a:lnTo>
                  <a:lnTo>
                    <a:pt x="1514" y="986"/>
                  </a:lnTo>
                  <a:lnTo>
                    <a:pt x="1521" y="981"/>
                  </a:lnTo>
                  <a:lnTo>
                    <a:pt x="1521" y="978"/>
                  </a:lnTo>
                  <a:lnTo>
                    <a:pt x="1523" y="965"/>
                  </a:lnTo>
                  <a:lnTo>
                    <a:pt x="1523" y="958"/>
                  </a:lnTo>
                  <a:lnTo>
                    <a:pt x="1520" y="955"/>
                  </a:lnTo>
                  <a:lnTo>
                    <a:pt x="1511" y="948"/>
                  </a:lnTo>
                  <a:lnTo>
                    <a:pt x="1510" y="945"/>
                  </a:lnTo>
                  <a:lnTo>
                    <a:pt x="1509" y="930"/>
                  </a:lnTo>
                  <a:lnTo>
                    <a:pt x="1506" y="926"/>
                  </a:lnTo>
                  <a:lnTo>
                    <a:pt x="1498" y="923"/>
                  </a:lnTo>
                  <a:lnTo>
                    <a:pt x="1491" y="923"/>
                  </a:lnTo>
                  <a:lnTo>
                    <a:pt x="1490" y="919"/>
                  </a:lnTo>
                  <a:lnTo>
                    <a:pt x="1491" y="915"/>
                  </a:lnTo>
                  <a:lnTo>
                    <a:pt x="1498" y="906"/>
                  </a:lnTo>
                  <a:lnTo>
                    <a:pt x="1498" y="903"/>
                  </a:lnTo>
                  <a:lnTo>
                    <a:pt x="1493" y="899"/>
                  </a:lnTo>
                  <a:lnTo>
                    <a:pt x="1487" y="886"/>
                  </a:lnTo>
                  <a:lnTo>
                    <a:pt x="1481" y="883"/>
                  </a:lnTo>
                  <a:lnTo>
                    <a:pt x="1476" y="875"/>
                  </a:lnTo>
                  <a:lnTo>
                    <a:pt x="1471" y="867"/>
                  </a:lnTo>
                  <a:lnTo>
                    <a:pt x="1468" y="865"/>
                  </a:lnTo>
                  <a:lnTo>
                    <a:pt x="1464" y="866"/>
                  </a:lnTo>
                  <a:lnTo>
                    <a:pt x="1458" y="865"/>
                  </a:lnTo>
                  <a:lnTo>
                    <a:pt x="1457" y="863"/>
                  </a:lnTo>
                  <a:lnTo>
                    <a:pt x="1460" y="859"/>
                  </a:lnTo>
                  <a:lnTo>
                    <a:pt x="1461" y="853"/>
                  </a:lnTo>
                  <a:lnTo>
                    <a:pt x="1464" y="849"/>
                  </a:lnTo>
                  <a:lnTo>
                    <a:pt x="1460" y="847"/>
                  </a:lnTo>
                  <a:lnTo>
                    <a:pt x="1456" y="843"/>
                  </a:lnTo>
                  <a:lnTo>
                    <a:pt x="1448" y="837"/>
                  </a:lnTo>
                  <a:lnTo>
                    <a:pt x="1441" y="836"/>
                  </a:lnTo>
                  <a:lnTo>
                    <a:pt x="1437" y="830"/>
                  </a:lnTo>
                  <a:lnTo>
                    <a:pt x="1431" y="826"/>
                  </a:lnTo>
                  <a:lnTo>
                    <a:pt x="1428" y="827"/>
                  </a:lnTo>
                  <a:lnTo>
                    <a:pt x="1427" y="833"/>
                  </a:lnTo>
                  <a:lnTo>
                    <a:pt x="1421" y="836"/>
                  </a:lnTo>
                  <a:lnTo>
                    <a:pt x="1414" y="832"/>
                  </a:lnTo>
                  <a:lnTo>
                    <a:pt x="1411" y="833"/>
                  </a:lnTo>
                  <a:lnTo>
                    <a:pt x="1403" y="842"/>
                  </a:lnTo>
                  <a:lnTo>
                    <a:pt x="1398" y="839"/>
                  </a:lnTo>
                  <a:lnTo>
                    <a:pt x="1388" y="837"/>
                  </a:lnTo>
                  <a:lnTo>
                    <a:pt x="1387" y="833"/>
                  </a:lnTo>
                  <a:lnTo>
                    <a:pt x="1394" y="816"/>
                  </a:lnTo>
                  <a:lnTo>
                    <a:pt x="1390" y="809"/>
                  </a:lnTo>
                  <a:lnTo>
                    <a:pt x="1385" y="804"/>
                  </a:lnTo>
                  <a:lnTo>
                    <a:pt x="1378" y="802"/>
                  </a:lnTo>
                  <a:lnTo>
                    <a:pt x="1372" y="802"/>
                  </a:lnTo>
                  <a:lnTo>
                    <a:pt x="1362" y="807"/>
                  </a:lnTo>
                  <a:lnTo>
                    <a:pt x="1361" y="814"/>
                  </a:lnTo>
                  <a:lnTo>
                    <a:pt x="1358" y="817"/>
                  </a:lnTo>
                  <a:lnTo>
                    <a:pt x="1354" y="816"/>
                  </a:lnTo>
                  <a:lnTo>
                    <a:pt x="1348" y="806"/>
                  </a:lnTo>
                  <a:lnTo>
                    <a:pt x="1347" y="787"/>
                  </a:lnTo>
                  <a:lnTo>
                    <a:pt x="1351" y="776"/>
                  </a:lnTo>
                  <a:lnTo>
                    <a:pt x="1351" y="771"/>
                  </a:lnTo>
                  <a:lnTo>
                    <a:pt x="1347" y="767"/>
                  </a:lnTo>
                  <a:lnTo>
                    <a:pt x="1340" y="766"/>
                  </a:lnTo>
                  <a:lnTo>
                    <a:pt x="1338" y="759"/>
                  </a:lnTo>
                  <a:lnTo>
                    <a:pt x="1344" y="754"/>
                  </a:lnTo>
                  <a:lnTo>
                    <a:pt x="1352" y="751"/>
                  </a:lnTo>
                  <a:lnTo>
                    <a:pt x="1348" y="740"/>
                  </a:lnTo>
                  <a:lnTo>
                    <a:pt x="1347" y="724"/>
                  </a:lnTo>
                  <a:lnTo>
                    <a:pt x="1348" y="711"/>
                  </a:lnTo>
                  <a:lnTo>
                    <a:pt x="1357" y="706"/>
                  </a:lnTo>
                  <a:lnTo>
                    <a:pt x="1362" y="697"/>
                  </a:lnTo>
                  <a:lnTo>
                    <a:pt x="1357" y="688"/>
                  </a:lnTo>
                  <a:lnTo>
                    <a:pt x="1357" y="680"/>
                  </a:lnTo>
                  <a:lnTo>
                    <a:pt x="1367" y="678"/>
                  </a:lnTo>
                  <a:lnTo>
                    <a:pt x="1372" y="673"/>
                  </a:lnTo>
                  <a:lnTo>
                    <a:pt x="1372" y="667"/>
                  </a:lnTo>
                  <a:lnTo>
                    <a:pt x="1364" y="657"/>
                  </a:lnTo>
                  <a:lnTo>
                    <a:pt x="1361" y="650"/>
                  </a:lnTo>
                  <a:lnTo>
                    <a:pt x="1357" y="644"/>
                  </a:lnTo>
                  <a:lnTo>
                    <a:pt x="1355" y="637"/>
                  </a:lnTo>
                  <a:lnTo>
                    <a:pt x="1351" y="628"/>
                  </a:lnTo>
                  <a:lnTo>
                    <a:pt x="1355" y="624"/>
                  </a:lnTo>
                  <a:lnTo>
                    <a:pt x="1362" y="624"/>
                  </a:lnTo>
                  <a:lnTo>
                    <a:pt x="1365" y="621"/>
                  </a:lnTo>
                  <a:lnTo>
                    <a:pt x="1378" y="607"/>
                  </a:lnTo>
                  <a:lnTo>
                    <a:pt x="1393" y="588"/>
                  </a:lnTo>
                  <a:lnTo>
                    <a:pt x="1398" y="584"/>
                  </a:lnTo>
                  <a:lnTo>
                    <a:pt x="1404" y="574"/>
                  </a:lnTo>
                  <a:lnTo>
                    <a:pt x="1411" y="574"/>
                  </a:lnTo>
                  <a:lnTo>
                    <a:pt x="1415" y="572"/>
                  </a:lnTo>
                  <a:lnTo>
                    <a:pt x="1420" y="567"/>
                  </a:lnTo>
                  <a:lnTo>
                    <a:pt x="1421" y="559"/>
                  </a:lnTo>
                  <a:lnTo>
                    <a:pt x="1423" y="557"/>
                  </a:lnTo>
                  <a:lnTo>
                    <a:pt x="1424" y="511"/>
                  </a:lnTo>
                  <a:lnTo>
                    <a:pt x="1431" y="501"/>
                  </a:lnTo>
                  <a:lnTo>
                    <a:pt x="1434" y="494"/>
                  </a:lnTo>
                  <a:lnTo>
                    <a:pt x="1438" y="491"/>
                  </a:lnTo>
                  <a:lnTo>
                    <a:pt x="1447" y="489"/>
                  </a:lnTo>
                  <a:lnTo>
                    <a:pt x="1450" y="486"/>
                  </a:lnTo>
                  <a:lnTo>
                    <a:pt x="1456" y="481"/>
                  </a:lnTo>
                  <a:lnTo>
                    <a:pt x="1461" y="478"/>
                  </a:lnTo>
                  <a:lnTo>
                    <a:pt x="1473" y="472"/>
                  </a:lnTo>
                  <a:lnTo>
                    <a:pt x="1474" y="468"/>
                  </a:lnTo>
                  <a:lnTo>
                    <a:pt x="1474" y="462"/>
                  </a:lnTo>
                  <a:lnTo>
                    <a:pt x="1476" y="459"/>
                  </a:lnTo>
                  <a:lnTo>
                    <a:pt x="1480" y="455"/>
                  </a:lnTo>
                  <a:lnTo>
                    <a:pt x="1480" y="451"/>
                  </a:lnTo>
                  <a:lnTo>
                    <a:pt x="1473" y="448"/>
                  </a:lnTo>
                  <a:lnTo>
                    <a:pt x="1460" y="441"/>
                  </a:lnTo>
                  <a:lnTo>
                    <a:pt x="1454" y="436"/>
                  </a:lnTo>
                  <a:lnTo>
                    <a:pt x="1450" y="435"/>
                  </a:lnTo>
                  <a:lnTo>
                    <a:pt x="1444" y="428"/>
                  </a:lnTo>
                  <a:lnTo>
                    <a:pt x="1444" y="423"/>
                  </a:lnTo>
                  <a:lnTo>
                    <a:pt x="1444" y="418"/>
                  </a:lnTo>
                  <a:lnTo>
                    <a:pt x="1440" y="413"/>
                  </a:lnTo>
                  <a:lnTo>
                    <a:pt x="1438" y="408"/>
                  </a:lnTo>
                  <a:lnTo>
                    <a:pt x="1435" y="399"/>
                  </a:lnTo>
                  <a:lnTo>
                    <a:pt x="1435" y="393"/>
                  </a:lnTo>
                  <a:lnTo>
                    <a:pt x="1453" y="392"/>
                  </a:lnTo>
                  <a:lnTo>
                    <a:pt x="1467" y="393"/>
                  </a:lnTo>
                  <a:lnTo>
                    <a:pt x="1474" y="389"/>
                  </a:lnTo>
                  <a:lnTo>
                    <a:pt x="1484" y="392"/>
                  </a:lnTo>
                  <a:lnTo>
                    <a:pt x="1490" y="390"/>
                  </a:lnTo>
                  <a:lnTo>
                    <a:pt x="1500" y="386"/>
                  </a:lnTo>
                  <a:lnTo>
                    <a:pt x="1506" y="385"/>
                  </a:lnTo>
                  <a:lnTo>
                    <a:pt x="1517" y="383"/>
                  </a:lnTo>
                  <a:lnTo>
                    <a:pt x="1523" y="380"/>
                  </a:lnTo>
                  <a:lnTo>
                    <a:pt x="1531" y="380"/>
                  </a:lnTo>
                  <a:lnTo>
                    <a:pt x="1543" y="380"/>
                  </a:lnTo>
                  <a:lnTo>
                    <a:pt x="1547" y="378"/>
                  </a:lnTo>
                  <a:lnTo>
                    <a:pt x="1553" y="372"/>
                  </a:lnTo>
                  <a:lnTo>
                    <a:pt x="1566" y="376"/>
                  </a:lnTo>
                  <a:lnTo>
                    <a:pt x="1572" y="370"/>
                  </a:lnTo>
                  <a:lnTo>
                    <a:pt x="1572" y="365"/>
                  </a:lnTo>
                  <a:lnTo>
                    <a:pt x="1569" y="363"/>
                  </a:lnTo>
                  <a:lnTo>
                    <a:pt x="1562" y="360"/>
                  </a:lnTo>
                  <a:lnTo>
                    <a:pt x="1560" y="356"/>
                  </a:lnTo>
                  <a:lnTo>
                    <a:pt x="1560" y="348"/>
                  </a:lnTo>
                  <a:lnTo>
                    <a:pt x="1563" y="335"/>
                  </a:lnTo>
                  <a:lnTo>
                    <a:pt x="1563" y="326"/>
                  </a:lnTo>
                  <a:lnTo>
                    <a:pt x="1557" y="322"/>
                  </a:lnTo>
                  <a:lnTo>
                    <a:pt x="1554" y="323"/>
                  </a:lnTo>
                  <a:lnTo>
                    <a:pt x="1544" y="323"/>
                  </a:lnTo>
                  <a:lnTo>
                    <a:pt x="1536" y="315"/>
                  </a:lnTo>
                  <a:lnTo>
                    <a:pt x="1530" y="295"/>
                  </a:lnTo>
                  <a:lnTo>
                    <a:pt x="1529" y="280"/>
                  </a:lnTo>
                  <a:lnTo>
                    <a:pt x="1530" y="276"/>
                  </a:lnTo>
                  <a:lnTo>
                    <a:pt x="1536" y="272"/>
                  </a:lnTo>
                  <a:lnTo>
                    <a:pt x="1537" y="264"/>
                  </a:lnTo>
                  <a:lnTo>
                    <a:pt x="1530" y="254"/>
                  </a:lnTo>
                  <a:lnTo>
                    <a:pt x="1530" y="243"/>
                  </a:lnTo>
                  <a:lnTo>
                    <a:pt x="1527" y="237"/>
                  </a:lnTo>
                  <a:lnTo>
                    <a:pt x="1523" y="230"/>
                  </a:lnTo>
                  <a:lnTo>
                    <a:pt x="1513" y="229"/>
                  </a:lnTo>
                  <a:lnTo>
                    <a:pt x="1510" y="226"/>
                  </a:lnTo>
                  <a:lnTo>
                    <a:pt x="1510" y="221"/>
                  </a:lnTo>
                  <a:lnTo>
                    <a:pt x="1514" y="221"/>
                  </a:lnTo>
                  <a:lnTo>
                    <a:pt x="1517" y="217"/>
                  </a:lnTo>
                  <a:lnTo>
                    <a:pt x="1516" y="214"/>
                  </a:lnTo>
                  <a:lnTo>
                    <a:pt x="1510" y="209"/>
                  </a:lnTo>
                  <a:lnTo>
                    <a:pt x="1496" y="209"/>
                  </a:lnTo>
                  <a:lnTo>
                    <a:pt x="1491" y="209"/>
                  </a:lnTo>
                  <a:lnTo>
                    <a:pt x="1483" y="206"/>
                  </a:lnTo>
                  <a:lnTo>
                    <a:pt x="1474" y="203"/>
                  </a:lnTo>
                  <a:lnTo>
                    <a:pt x="1470" y="203"/>
                  </a:lnTo>
                  <a:lnTo>
                    <a:pt x="1466" y="206"/>
                  </a:lnTo>
                  <a:lnTo>
                    <a:pt x="1466" y="209"/>
                  </a:lnTo>
                  <a:lnTo>
                    <a:pt x="1467" y="216"/>
                  </a:lnTo>
                  <a:lnTo>
                    <a:pt x="1464" y="219"/>
                  </a:lnTo>
                  <a:lnTo>
                    <a:pt x="1461" y="221"/>
                  </a:lnTo>
                  <a:lnTo>
                    <a:pt x="1454" y="223"/>
                  </a:lnTo>
                  <a:lnTo>
                    <a:pt x="1450" y="229"/>
                  </a:lnTo>
                  <a:lnTo>
                    <a:pt x="1445" y="234"/>
                  </a:lnTo>
                  <a:lnTo>
                    <a:pt x="1447" y="244"/>
                  </a:lnTo>
                  <a:lnTo>
                    <a:pt x="1448" y="252"/>
                  </a:lnTo>
                  <a:lnTo>
                    <a:pt x="1444" y="256"/>
                  </a:lnTo>
                  <a:lnTo>
                    <a:pt x="1441" y="257"/>
                  </a:lnTo>
                  <a:lnTo>
                    <a:pt x="1437" y="259"/>
                  </a:lnTo>
                  <a:lnTo>
                    <a:pt x="1431" y="260"/>
                  </a:lnTo>
                  <a:lnTo>
                    <a:pt x="1423" y="262"/>
                  </a:lnTo>
                  <a:lnTo>
                    <a:pt x="1414" y="262"/>
                  </a:lnTo>
                  <a:lnTo>
                    <a:pt x="1407" y="260"/>
                  </a:lnTo>
                  <a:lnTo>
                    <a:pt x="1397" y="260"/>
                  </a:lnTo>
                  <a:lnTo>
                    <a:pt x="1391" y="263"/>
                  </a:lnTo>
                  <a:lnTo>
                    <a:pt x="1388" y="267"/>
                  </a:lnTo>
                  <a:lnTo>
                    <a:pt x="1387" y="272"/>
                  </a:lnTo>
                  <a:lnTo>
                    <a:pt x="1378" y="279"/>
                  </a:lnTo>
                  <a:lnTo>
                    <a:pt x="1377" y="286"/>
                  </a:lnTo>
                  <a:lnTo>
                    <a:pt x="1370" y="296"/>
                  </a:lnTo>
                  <a:lnTo>
                    <a:pt x="1371" y="302"/>
                  </a:lnTo>
                  <a:lnTo>
                    <a:pt x="1372" y="315"/>
                  </a:lnTo>
                  <a:lnTo>
                    <a:pt x="1371" y="316"/>
                  </a:lnTo>
                  <a:lnTo>
                    <a:pt x="1365" y="320"/>
                  </a:lnTo>
                  <a:lnTo>
                    <a:pt x="1355" y="327"/>
                  </a:lnTo>
                  <a:lnTo>
                    <a:pt x="1354" y="332"/>
                  </a:lnTo>
                  <a:lnTo>
                    <a:pt x="1351" y="339"/>
                  </a:lnTo>
                  <a:lnTo>
                    <a:pt x="1344" y="342"/>
                  </a:lnTo>
                  <a:lnTo>
                    <a:pt x="1338" y="345"/>
                  </a:lnTo>
                  <a:lnTo>
                    <a:pt x="1335" y="353"/>
                  </a:lnTo>
                  <a:lnTo>
                    <a:pt x="1329" y="359"/>
                  </a:lnTo>
                  <a:lnTo>
                    <a:pt x="1314" y="362"/>
                  </a:lnTo>
                  <a:lnTo>
                    <a:pt x="1308" y="368"/>
                  </a:lnTo>
                  <a:lnTo>
                    <a:pt x="1298" y="373"/>
                  </a:lnTo>
                  <a:lnTo>
                    <a:pt x="1289" y="375"/>
                  </a:lnTo>
                  <a:lnTo>
                    <a:pt x="1289" y="378"/>
                  </a:lnTo>
                  <a:lnTo>
                    <a:pt x="1291" y="386"/>
                  </a:lnTo>
                  <a:lnTo>
                    <a:pt x="1291" y="395"/>
                  </a:lnTo>
                  <a:lnTo>
                    <a:pt x="1278" y="401"/>
                  </a:lnTo>
                  <a:lnTo>
                    <a:pt x="1275" y="399"/>
                  </a:lnTo>
                  <a:lnTo>
                    <a:pt x="1268" y="390"/>
                  </a:lnTo>
                  <a:lnTo>
                    <a:pt x="1262" y="392"/>
                  </a:lnTo>
                  <a:lnTo>
                    <a:pt x="1259" y="395"/>
                  </a:lnTo>
                  <a:lnTo>
                    <a:pt x="1254" y="398"/>
                  </a:lnTo>
                  <a:lnTo>
                    <a:pt x="1248" y="401"/>
                  </a:lnTo>
                  <a:lnTo>
                    <a:pt x="1245" y="405"/>
                  </a:lnTo>
                  <a:lnTo>
                    <a:pt x="1239" y="411"/>
                  </a:lnTo>
                  <a:lnTo>
                    <a:pt x="1235" y="411"/>
                  </a:lnTo>
                  <a:lnTo>
                    <a:pt x="1232" y="405"/>
                  </a:lnTo>
                  <a:lnTo>
                    <a:pt x="1234" y="399"/>
                  </a:lnTo>
                  <a:lnTo>
                    <a:pt x="1234" y="390"/>
                  </a:lnTo>
                  <a:lnTo>
                    <a:pt x="1225" y="382"/>
                  </a:lnTo>
                  <a:lnTo>
                    <a:pt x="1206" y="353"/>
                  </a:lnTo>
                  <a:lnTo>
                    <a:pt x="1201" y="345"/>
                  </a:lnTo>
                  <a:lnTo>
                    <a:pt x="1191" y="335"/>
                  </a:lnTo>
                  <a:lnTo>
                    <a:pt x="1186" y="335"/>
                  </a:lnTo>
                  <a:lnTo>
                    <a:pt x="1156" y="335"/>
                  </a:lnTo>
                  <a:lnTo>
                    <a:pt x="1150" y="338"/>
                  </a:lnTo>
                  <a:lnTo>
                    <a:pt x="1142" y="346"/>
                  </a:lnTo>
                  <a:lnTo>
                    <a:pt x="1139" y="346"/>
                  </a:lnTo>
                  <a:lnTo>
                    <a:pt x="1126" y="346"/>
                  </a:lnTo>
                  <a:lnTo>
                    <a:pt x="1110" y="348"/>
                  </a:lnTo>
                  <a:lnTo>
                    <a:pt x="1105" y="348"/>
                  </a:lnTo>
                  <a:lnTo>
                    <a:pt x="1099" y="353"/>
                  </a:lnTo>
                  <a:lnTo>
                    <a:pt x="1095" y="355"/>
                  </a:lnTo>
                  <a:lnTo>
                    <a:pt x="1090" y="353"/>
                  </a:lnTo>
                  <a:lnTo>
                    <a:pt x="1090" y="342"/>
                  </a:lnTo>
                  <a:lnTo>
                    <a:pt x="1086" y="332"/>
                  </a:lnTo>
                  <a:lnTo>
                    <a:pt x="1082" y="323"/>
                  </a:lnTo>
                  <a:lnTo>
                    <a:pt x="1083" y="305"/>
                  </a:lnTo>
                  <a:lnTo>
                    <a:pt x="1087" y="296"/>
                  </a:lnTo>
                  <a:lnTo>
                    <a:pt x="1089" y="280"/>
                  </a:lnTo>
                  <a:lnTo>
                    <a:pt x="1096" y="277"/>
                  </a:lnTo>
                  <a:lnTo>
                    <a:pt x="1099" y="274"/>
                  </a:lnTo>
                  <a:lnTo>
                    <a:pt x="1102" y="267"/>
                  </a:lnTo>
                  <a:lnTo>
                    <a:pt x="1105" y="266"/>
                  </a:lnTo>
                  <a:lnTo>
                    <a:pt x="1109" y="267"/>
                  </a:lnTo>
                  <a:lnTo>
                    <a:pt x="1119" y="262"/>
                  </a:lnTo>
                  <a:lnTo>
                    <a:pt x="1119" y="256"/>
                  </a:lnTo>
                  <a:lnTo>
                    <a:pt x="1113" y="227"/>
                  </a:lnTo>
                  <a:lnTo>
                    <a:pt x="1112" y="221"/>
                  </a:lnTo>
                  <a:lnTo>
                    <a:pt x="1107" y="210"/>
                  </a:lnTo>
                  <a:lnTo>
                    <a:pt x="1112" y="204"/>
                  </a:lnTo>
                  <a:lnTo>
                    <a:pt x="1115" y="191"/>
                  </a:lnTo>
                  <a:lnTo>
                    <a:pt x="1120" y="186"/>
                  </a:lnTo>
                  <a:lnTo>
                    <a:pt x="1126" y="177"/>
                  </a:lnTo>
                  <a:lnTo>
                    <a:pt x="1135" y="173"/>
                  </a:lnTo>
                  <a:lnTo>
                    <a:pt x="1138" y="166"/>
                  </a:lnTo>
                  <a:lnTo>
                    <a:pt x="1143" y="143"/>
                  </a:lnTo>
                  <a:lnTo>
                    <a:pt x="1150" y="127"/>
                  </a:lnTo>
                  <a:lnTo>
                    <a:pt x="1146" y="121"/>
                  </a:lnTo>
                  <a:lnTo>
                    <a:pt x="1146" y="113"/>
                  </a:lnTo>
                  <a:lnTo>
                    <a:pt x="1148" y="108"/>
                  </a:lnTo>
                  <a:lnTo>
                    <a:pt x="1175" y="94"/>
                  </a:lnTo>
                  <a:lnTo>
                    <a:pt x="1158" y="75"/>
                  </a:lnTo>
                  <a:lnTo>
                    <a:pt x="1173" y="70"/>
                  </a:lnTo>
                  <a:lnTo>
                    <a:pt x="1178" y="65"/>
                  </a:lnTo>
                  <a:lnTo>
                    <a:pt x="1179" y="60"/>
                  </a:lnTo>
                  <a:lnTo>
                    <a:pt x="1179" y="52"/>
                  </a:lnTo>
                  <a:lnTo>
                    <a:pt x="1178" y="48"/>
                  </a:lnTo>
                  <a:lnTo>
                    <a:pt x="1175" y="45"/>
                  </a:lnTo>
                  <a:lnTo>
                    <a:pt x="1175" y="42"/>
                  </a:lnTo>
                  <a:lnTo>
                    <a:pt x="1178" y="40"/>
                  </a:lnTo>
                  <a:lnTo>
                    <a:pt x="1191" y="32"/>
                  </a:lnTo>
                  <a:lnTo>
                    <a:pt x="1195" y="28"/>
                  </a:lnTo>
                  <a:lnTo>
                    <a:pt x="1195" y="24"/>
                  </a:lnTo>
                  <a:lnTo>
                    <a:pt x="1189" y="22"/>
                  </a:lnTo>
                  <a:lnTo>
                    <a:pt x="1183" y="22"/>
                  </a:lnTo>
                  <a:lnTo>
                    <a:pt x="1181" y="24"/>
                  </a:lnTo>
                  <a:lnTo>
                    <a:pt x="1175" y="25"/>
                  </a:lnTo>
                  <a:lnTo>
                    <a:pt x="1168" y="25"/>
                  </a:lnTo>
                  <a:lnTo>
                    <a:pt x="1159" y="24"/>
                  </a:lnTo>
                  <a:lnTo>
                    <a:pt x="1153" y="17"/>
                  </a:lnTo>
                  <a:lnTo>
                    <a:pt x="1152" y="11"/>
                  </a:lnTo>
                  <a:lnTo>
                    <a:pt x="1149" y="7"/>
                  </a:lnTo>
                  <a:lnTo>
                    <a:pt x="1145" y="1"/>
                  </a:lnTo>
                  <a:lnTo>
                    <a:pt x="1142" y="0"/>
                  </a:lnTo>
                  <a:lnTo>
                    <a:pt x="1136" y="0"/>
                  </a:lnTo>
                  <a:lnTo>
                    <a:pt x="1128" y="0"/>
                  </a:lnTo>
                  <a:lnTo>
                    <a:pt x="1118" y="2"/>
                  </a:lnTo>
                  <a:lnTo>
                    <a:pt x="1113" y="5"/>
                  </a:lnTo>
                  <a:lnTo>
                    <a:pt x="1109" y="11"/>
                  </a:lnTo>
                  <a:lnTo>
                    <a:pt x="1103" y="17"/>
                  </a:lnTo>
                  <a:lnTo>
                    <a:pt x="1096" y="22"/>
                  </a:lnTo>
                  <a:lnTo>
                    <a:pt x="1090" y="30"/>
                  </a:lnTo>
                  <a:lnTo>
                    <a:pt x="1087" y="37"/>
                  </a:lnTo>
                  <a:lnTo>
                    <a:pt x="1085" y="40"/>
                  </a:lnTo>
                  <a:lnTo>
                    <a:pt x="1079" y="42"/>
                  </a:lnTo>
                  <a:lnTo>
                    <a:pt x="1076" y="44"/>
                  </a:lnTo>
                  <a:lnTo>
                    <a:pt x="1073" y="41"/>
                  </a:lnTo>
                  <a:lnTo>
                    <a:pt x="1069" y="37"/>
                  </a:lnTo>
                  <a:lnTo>
                    <a:pt x="1065" y="37"/>
                  </a:lnTo>
                  <a:lnTo>
                    <a:pt x="1059" y="38"/>
                  </a:lnTo>
                  <a:lnTo>
                    <a:pt x="1056" y="42"/>
                  </a:lnTo>
                  <a:lnTo>
                    <a:pt x="1057" y="48"/>
                  </a:lnTo>
                  <a:lnTo>
                    <a:pt x="1056" y="51"/>
                  </a:lnTo>
                  <a:lnTo>
                    <a:pt x="1053" y="52"/>
                  </a:lnTo>
                  <a:lnTo>
                    <a:pt x="1046" y="55"/>
                  </a:lnTo>
                  <a:lnTo>
                    <a:pt x="1040" y="61"/>
                  </a:lnTo>
                  <a:lnTo>
                    <a:pt x="1032" y="71"/>
                  </a:lnTo>
                  <a:lnTo>
                    <a:pt x="1029" y="74"/>
                  </a:lnTo>
                  <a:lnTo>
                    <a:pt x="1022" y="74"/>
                  </a:lnTo>
                  <a:lnTo>
                    <a:pt x="1003" y="71"/>
                  </a:lnTo>
                  <a:lnTo>
                    <a:pt x="994" y="71"/>
                  </a:lnTo>
                  <a:lnTo>
                    <a:pt x="983" y="74"/>
                  </a:lnTo>
                  <a:lnTo>
                    <a:pt x="976" y="77"/>
                  </a:lnTo>
                  <a:lnTo>
                    <a:pt x="969" y="80"/>
                  </a:lnTo>
                  <a:lnTo>
                    <a:pt x="959" y="88"/>
                  </a:lnTo>
                  <a:lnTo>
                    <a:pt x="954" y="93"/>
                  </a:lnTo>
                  <a:lnTo>
                    <a:pt x="947" y="94"/>
                  </a:lnTo>
                  <a:lnTo>
                    <a:pt x="940" y="98"/>
                  </a:lnTo>
                  <a:lnTo>
                    <a:pt x="937" y="100"/>
                  </a:lnTo>
                  <a:lnTo>
                    <a:pt x="934" y="100"/>
                  </a:lnTo>
                  <a:lnTo>
                    <a:pt x="931" y="103"/>
                  </a:lnTo>
                  <a:lnTo>
                    <a:pt x="930" y="107"/>
                  </a:lnTo>
                  <a:lnTo>
                    <a:pt x="927" y="107"/>
                  </a:lnTo>
                  <a:lnTo>
                    <a:pt x="924" y="104"/>
                  </a:lnTo>
                  <a:lnTo>
                    <a:pt x="921" y="103"/>
                  </a:lnTo>
                  <a:lnTo>
                    <a:pt x="918" y="104"/>
                  </a:lnTo>
                  <a:lnTo>
                    <a:pt x="916" y="105"/>
                  </a:lnTo>
                  <a:lnTo>
                    <a:pt x="913" y="108"/>
                  </a:lnTo>
                  <a:lnTo>
                    <a:pt x="906" y="108"/>
                  </a:lnTo>
                  <a:lnTo>
                    <a:pt x="900" y="110"/>
                  </a:lnTo>
                  <a:lnTo>
                    <a:pt x="896" y="114"/>
                  </a:lnTo>
                  <a:lnTo>
                    <a:pt x="891" y="120"/>
                  </a:lnTo>
                  <a:lnTo>
                    <a:pt x="871" y="134"/>
                  </a:lnTo>
                  <a:lnTo>
                    <a:pt x="857" y="146"/>
                  </a:lnTo>
                  <a:lnTo>
                    <a:pt x="864" y="154"/>
                  </a:lnTo>
                  <a:lnTo>
                    <a:pt x="867" y="158"/>
                  </a:lnTo>
                  <a:lnTo>
                    <a:pt x="867" y="166"/>
                  </a:lnTo>
                  <a:lnTo>
                    <a:pt x="865" y="171"/>
                  </a:lnTo>
                  <a:lnTo>
                    <a:pt x="863" y="179"/>
                  </a:lnTo>
                  <a:lnTo>
                    <a:pt x="858" y="181"/>
                  </a:lnTo>
                  <a:lnTo>
                    <a:pt x="848" y="184"/>
                  </a:lnTo>
                  <a:lnTo>
                    <a:pt x="843" y="184"/>
                  </a:lnTo>
                  <a:lnTo>
                    <a:pt x="841" y="183"/>
                  </a:lnTo>
                  <a:lnTo>
                    <a:pt x="838" y="181"/>
                  </a:lnTo>
                  <a:lnTo>
                    <a:pt x="834" y="180"/>
                  </a:lnTo>
                  <a:lnTo>
                    <a:pt x="828" y="179"/>
                  </a:lnTo>
                  <a:lnTo>
                    <a:pt x="825" y="177"/>
                  </a:lnTo>
                  <a:lnTo>
                    <a:pt x="821" y="179"/>
                  </a:lnTo>
                  <a:lnTo>
                    <a:pt x="818" y="181"/>
                  </a:lnTo>
                  <a:lnTo>
                    <a:pt x="814" y="184"/>
                  </a:lnTo>
                  <a:lnTo>
                    <a:pt x="810" y="184"/>
                  </a:lnTo>
                  <a:lnTo>
                    <a:pt x="805" y="180"/>
                  </a:lnTo>
                  <a:lnTo>
                    <a:pt x="801" y="179"/>
                  </a:lnTo>
                  <a:lnTo>
                    <a:pt x="794" y="177"/>
                  </a:lnTo>
                  <a:lnTo>
                    <a:pt x="784" y="176"/>
                  </a:lnTo>
                  <a:lnTo>
                    <a:pt x="780" y="177"/>
                  </a:lnTo>
                  <a:lnTo>
                    <a:pt x="775" y="181"/>
                  </a:lnTo>
                  <a:lnTo>
                    <a:pt x="771" y="187"/>
                  </a:lnTo>
                  <a:lnTo>
                    <a:pt x="764" y="190"/>
                  </a:lnTo>
                  <a:lnTo>
                    <a:pt x="757" y="194"/>
                  </a:lnTo>
                  <a:lnTo>
                    <a:pt x="751" y="196"/>
                  </a:lnTo>
                  <a:lnTo>
                    <a:pt x="747" y="196"/>
                  </a:lnTo>
                  <a:lnTo>
                    <a:pt x="747" y="193"/>
                  </a:lnTo>
                  <a:lnTo>
                    <a:pt x="745" y="190"/>
                  </a:lnTo>
                  <a:lnTo>
                    <a:pt x="744" y="189"/>
                  </a:lnTo>
                  <a:lnTo>
                    <a:pt x="741" y="187"/>
                  </a:lnTo>
                  <a:lnTo>
                    <a:pt x="739" y="189"/>
                  </a:lnTo>
                  <a:lnTo>
                    <a:pt x="738" y="191"/>
                  </a:lnTo>
                  <a:lnTo>
                    <a:pt x="735" y="199"/>
                  </a:lnTo>
                  <a:lnTo>
                    <a:pt x="732" y="201"/>
                  </a:lnTo>
                  <a:lnTo>
                    <a:pt x="728" y="203"/>
                  </a:lnTo>
                  <a:lnTo>
                    <a:pt x="727" y="206"/>
                  </a:lnTo>
                  <a:lnTo>
                    <a:pt x="728" y="207"/>
                  </a:lnTo>
                  <a:lnTo>
                    <a:pt x="732" y="210"/>
                  </a:lnTo>
                  <a:lnTo>
                    <a:pt x="734" y="214"/>
                  </a:lnTo>
                  <a:lnTo>
                    <a:pt x="734" y="217"/>
                  </a:lnTo>
                  <a:lnTo>
                    <a:pt x="731" y="220"/>
                  </a:lnTo>
                  <a:lnTo>
                    <a:pt x="725" y="226"/>
                  </a:lnTo>
                  <a:lnTo>
                    <a:pt x="719" y="226"/>
                  </a:lnTo>
                  <a:lnTo>
                    <a:pt x="717" y="226"/>
                  </a:lnTo>
                  <a:lnTo>
                    <a:pt x="714" y="224"/>
                  </a:lnTo>
                  <a:lnTo>
                    <a:pt x="712" y="219"/>
                  </a:lnTo>
                  <a:lnTo>
                    <a:pt x="711" y="214"/>
                  </a:lnTo>
                  <a:lnTo>
                    <a:pt x="708" y="214"/>
                  </a:lnTo>
                  <a:lnTo>
                    <a:pt x="701" y="214"/>
                  </a:lnTo>
                  <a:lnTo>
                    <a:pt x="689" y="217"/>
                  </a:lnTo>
                  <a:lnTo>
                    <a:pt x="685" y="221"/>
                  </a:lnTo>
                  <a:lnTo>
                    <a:pt x="681" y="227"/>
                  </a:lnTo>
                  <a:lnTo>
                    <a:pt x="672" y="239"/>
                  </a:lnTo>
                  <a:lnTo>
                    <a:pt x="666" y="246"/>
                  </a:lnTo>
                  <a:lnTo>
                    <a:pt x="662" y="246"/>
                  </a:lnTo>
                  <a:lnTo>
                    <a:pt x="659" y="244"/>
                  </a:lnTo>
                  <a:lnTo>
                    <a:pt x="659" y="237"/>
                  </a:lnTo>
                  <a:lnTo>
                    <a:pt x="658" y="234"/>
                  </a:lnTo>
                  <a:lnTo>
                    <a:pt x="655" y="234"/>
                  </a:lnTo>
                  <a:lnTo>
                    <a:pt x="651" y="236"/>
                  </a:lnTo>
                  <a:lnTo>
                    <a:pt x="645" y="242"/>
                  </a:lnTo>
                  <a:lnTo>
                    <a:pt x="642" y="252"/>
                  </a:lnTo>
                  <a:lnTo>
                    <a:pt x="641" y="260"/>
                  </a:lnTo>
                  <a:lnTo>
                    <a:pt x="638" y="263"/>
                  </a:lnTo>
                  <a:lnTo>
                    <a:pt x="633" y="266"/>
                  </a:lnTo>
                  <a:lnTo>
                    <a:pt x="629" y="264"/>
                  </a:lnTo>
                  <a:lnTo>
                    <a:pt x="625" y="264"/>
                  </a:lnTo>
                  <a:lnTo>
                    <a:pt x="621" y="266"/>
                  </a:lnTo>
                  <a:lnTo>
                    <a:pt x="615" y="269"/>
                  </a:lnTo>
                  <a:lnTo>
                    <a:pt x="609" y="272"/>
                  </a:lnTo>
                  <a:lnTo>
                    <a:pt x="602" y="272"/>
                  </a:lnTo>
                  <a:lnTo>
                    <a:pt x="601" y="269"/>
                  </a:lnTo>
                  <a:lnTo>
                    <a:pt x="603" y="267"/>
                  </a:lnTo>
                  <a:lnTo>
                    <a:pt x="605" y="264"/>
                  </a:lnTo>
                  <a:lnTo>
                    <a:pt x="606" y="262"/>
                  </a:lnTo>
                  <a:lnTo>
                    <a:pt x="603" y="260"/>
                  </a:lnTo>
                  <a:lnTo>
                    <a:pt x="598" y="254"/>
                  </a:lnTo>
                  <a:lnTo>
                    <a:pt x="588" y="252"/>
                  </a:lnTo>
                  <a:lnTo>
                    <a:pt x="578" y="250"/>
                  </a:lnTo>
                  <a:lnTo>
                    <a:pt x="569" y="253"/>
                  </a:lnTo>
                  <a:lnTo>
                    <a:pt x="562" y="257"/>
                  </a:lnTo>
                  <a:lnTo>
                    <a:pt x="560" y="262"/>
                  </a:lnTo>
                  <a:lnTo>
                    <a:pt x="559" y="267"/>
                  </a:lnTo>
                  <a:lnTo>
                    <a:pt x="552" y="267"/>
                  </a:lnTo>
                  <a:lnTo>
                    <a:pt x="545" y="264"/>
                  </a:lnTo>
                  <a:lnTo>
                    <a:pt x="536" y="260"/>
                  </a:lnTo>
                  <a:lnTo>
                    <a:pt x="532" y="257"/>
                  </a:lnTo>
                  <a:lnTo>
                    <a:pt x="525" y="257"/>
                  </a:lnTo>
                  <a:lnTo>
                    <a:pt x="519" y="259"/>
                  </a:lnTo>
                  <a:lnTo>
                    <a:pt x="516" y="263"/>
                  </a:lnTo>
                  <a:lnTo>
                    <a:pt x="509" y="272"/>
                  </a:lnTo>
                  <a:lnTo>
                    <a:pt x="505" y="274"/>
                  </a:lnTo>
                  <a:lnTo>
                    <a:pt x="499" y="276"/>
                  </a:lnTo>
                  <a:lnTo>
                    <a:pt x="495" y="277"/>
                  </a:lnTo>
                  <a:lnTo>
                    <a:pt x="489" y="276"/>
                  </a:lnTo>
                  <a:lnTo>
                    <a:pt x="484" y="276"/>
                  </a:lnTo>
                  <a:lnTo>
                    <a:pt x="480" y="276"/>
                  </a:lnTo>
                  <a:lnTo>
                    <a:pt x="473" y="276"/>
                  </a:lnTo>
                  <a:lnTo>
                    <a:pt x="467" y="274"/>
                  </a:lnTo>
                  <a:lnTo>
                    <a:pt x="464" y="277"/>
                  </a:lnTo>
                  <a:lnTo>
                    <a:pt x="462" y="283"/>
                  </a:lnTo>
                  <a:lnTo>
                    <a:pt x="459" y="285"/>
                  </a:lnTo>
                  <a:lnTo>
                    <a:pt x="453" y="282"/>
                  </a:lnTo>
                  <a:lnTo>
                    <a:pt x="447" y="273"/>
                  </a:lnTo>
                  <a:lnTo>
                    <a:pt x="437" y="263"/>
                  </a:lnTo>
                  <a:lnTo>
                    <a:pt x="429" y="256"/>
                  </a:lnTo>
                  <a:lnTo>
                    <a:pt x="423" y="254"/>
                  </a:lnTo>
                  <a:lnTo>
                    <a:pt x="417" y="253"/>
                  </a:lnTo>
                  <a:lnTo>
                    <a:pt x="413" y="250"/>
                  </a:lnTo>
                  <a:lnTo>
                    <a:pt x="407" y="246"/>
                  </a:lnTo>
                  <a:lnTo>
                    <a:pt x="404" y="246"/>
                  </a:lnTo>
                  <a:lnTo>
                    <a:pt x="399" y="244"/>
                  </a:lnTo>
                  <a:lnTo>
                    <a:pt x="391" y="243"/>
                  </a:lnTo>
                  <a:lnTo>
                    <a:pt x="387" y="239"/>
                  </a:lnTo>
                  <a:lnTo>
                    <a:pt x="381" y="229"/>
                  </a:lnTo>
                  <a:lnTo>
                    <a:pt x="379" y="223"/>
                  </a:lnTo>
                  <a:lnTo>
                    <a:pt x="374" y="223"/>
                  </a:lnTo>
                  <a:lnTo>
                    <a:pt x="370" y="224"/>
                  </a:lnTo>
                  <a:lnTo>
                    <a:pt x="354" y="232"/>
                  </a:lnTo>
                  <a:lnTo>
                    <a:pt x="333" y="236"/>
                  </a:lnTo>
                  <a:lnTo>
                    <a:pt x="323" y="237"/>
                  </a:lnTo>
                  <a:lnTo>
                    <a:pt x="298" y="237"/>
                  </a:lnTo>
                  <a:lnTo>
                    <a:pt x="291" y="234"/>
                  </a:lnTo>
                  <a:lnTo>
                    <a:pt x="287" y="230"/>
                  </a:lnTo>
                  <a:lnTo>
                    <a:pt x="281" y="230"/>
                  </a:lnTo>
                  <a:lnTo>
                    <a:pt x="277" y="230"/>
                  </a:lnTo>
                  <a:lnTo>
                    <a:pt x="274" y="236"/>
                  </a:lnTo>
                  <a:lnTo>
                    <a:pt x="278" y="240"/>
                  </a:lnTo>
                  <a:lnTo>
                    <a:pt x="277" y="243"/>
                  </a:lnTo>
                  <a:lnTo>
                    <a:pt x="275" y="246"/>
                  </a:lnTo>
                  <a:lnTo>
                    <a:pt x="261" y="249"/>
                  </a:lnTo>
                  <a:lnTo>
                    <a:pt x="255" y="247"/>
                  </a:lnTo>
                  <a:lnTo>
                    <a:pt x="252" y="243"/>
                  </a:lnTo>
                  <a:lnTo>
                    <a:pt x="250" y="240"/>
                  </a:lnTo>
                  <a:lnTo>
                    <a:pt x="241" y="237"/>
                  </a:lnTo>
                  <a:lnTo>
                    <a:pt x="238" y="237"/>
                  </a:lnTo>
                  <a:lnTo>
                    <a:pt x="231" y="237"/>
                  </a:lnTo>
                  <a:lnTo>
                    <a:pt x="227" y="236"/>
                  </a:lnTo>
                  <a:lnTo>
                    <a:pt x="214" y="229"/>
                  </a:lnTo>
                  <a:lnTo>
                    <a:pt x="207" y="227"/>
                  </a:lnTo>
                  <a:lnTo>
                    <a:pt x="202" y="229"/>
                  </a:lnTo>
                  <a:lnTo>
                    <a:pt x="197" y="234"/>
                  </a:lnTo>
                  <a:lnTo>
                    <a:pt x="188" y="236"/>
                  </a:lnTo>
                  <a:lnTo>
                    <a:pt x="179" y="237"/>
                  </a:lnTo>
                  <a:lnTo>
                    <a:pt x="175" y="242"/>
                  </a:lnTo>
                  <a:lnTo>
                    <a:pt x="172" y="246"/>
                  </a:lnTo>
                  <a:lnTo>
                    <a:pt x="172" y="247"/>
                  </a:lnTo>
                  <a:lnTo>
                    <a:pt x="171" y="247"/>
                  </a:lnTo>
                  <a:lnTo>
                    <a:pt x="168" y="249"/>
                  </a:lnTo>
                  <a:lnTo>
                    <a:pt x="167" y="244"/>
                  </a:lnTo>
                  <a:lnTo>
                    <a:pt x="165" y="237"/>
                  </a:lnTo>
                  <a:lnTo>
                    <a:pt x="161" y="232"/>
                  </a:lnTo>
                  <a:lnTo>
                    <a:pt x="157" y="227"/>
                  </a:lnTo>
                  <a:lnTo>
                    <a:pt x="152" y="224"/>
                  </a:lnTo>
                  <a:lnTo>
                    <a:pt x="149" y="220"/>
                  </a:lnTo>
                  <a:lnTo>
                    <a:pt x="145" y="213"/>
                  </a:lnTo>
                  <a:lnTo>
                    <a:pt x="141" y="211"/>
                  </a:lnTo>
                  <a:lnTo>
                    <a:pt x="134" y="210"/>
                  </a:lnTo>
                  <a:lnTo>
                    <a:pt x="124" y="211"/>
                  </a:lnTo>
                  <a:lnTo>
                    <a:pt x="112" y="216"/>
                  </a:lnTo>
                  <a:lnTo>
                    <a:pt x="108" y="219"/>
                  </a:lnTo>
                  <a:lnTo>
                    <a:pt x="99" y="211"/>
                  </a:lnTo>
                  <a:lnTo>
                    <a:pt x="99" y="211"/>
                  </a:lnTo>
                  <a:lnTo>
                    <a:pt x="85" y="216"/>
                  </a:lnTo>
                  <a:lnTo>
                    <a:pt x="76" y="219"/>
                  </a:lnTo>
                  <a:lnTo>
                    <a:pt x="73" y="221"/>
                  </a:lnTo>
                  <a:lnTo>
                    <a:pt x="72" y="223"/>
                  </a:lnTo>
                  <a:lnTo>
                    <a:pt x="72" y="223"/>
                  </a:lnTo>
                  <a:lnTo>
                    <a:pt x="71" y="227"/>
                  </a:lnTo>
                  <a:lnTo>
                    <a:pt x="68" y="229"/>
                  </a:lnTo>
                  <a:lnTo>
                    <a:pt x="63" y="229"/>
                  </a:lnTo>
                  <a:lnTo>
                    <a:pt x="59" y="227"/>
                  </a:lnTo>
                  <a:lnTo>
                    <a:pt x="59" y="227"/>
                  </a:lnTo>
                  <a:lnTo>
                    <a:pt x="53" y="226"/>
                  </a:lnTo>
                  <a:lnTo>
                    <a:pt x="51" y="226"/>
                  </a:lnTo>
                  <a:lnTo>
                    <a:pt x="51" y="226"/>
                  </a:lnTo>
                  <a:lnTo>
                    <a:pt x="46" y="230"/>
                  </a:lnTo>
                  <a:lnTo>
                    <a:pt x="41" y="234"/>
                  </a:lnTo>
                  <a:lnTo>
                    <a:pt x="41" y="234"/>
                  </a:lnTo>
                  <a:lnTo>
                    <a:pt x="30" y="244"/>
                  </a:lnTo>
                  <a:lnTo>
                    <a:pt x="30" y="244"/>
                  </a:lnTo>
                  <a:lnTo>
                    <a:pt x="29" y="247"/>
                  </a:lnTo>
                  <a:lnTo>
                    <a:pt x="28" y="252"/>
                  </a:lnTo>
                  <a:lnTo>
                    <a:pt x="28" y="252"/>
                  </a:lnTo>
                  <a:lnTo>
                    <a:pt x="25" y="263"/>
                  </a:lnTo>
                  <a:lnTo>
                    <a:pt x="25" y="263"/>
                  </a:lnTo>
                  <a:lnTo>
                    <a:pt x="23" y="267"/>
                  </a:lnTo>
                  <a:lnTo>
                    <a:pt x="19" y="269"/>
                  </a:lnTo>
                  <a:lnTo>
                    <a:pt x="9" y="269"/>
                  </a:lnTo>
                  <a:lnTo>
                    <a:pt x="9" y="269"/>
                  </a:lnTo>
                  <a:lnTo>
                    <a:pt x="6" y="273"/>
                  </a:lnTo>
                  <a:lnTo>
                    <a:pt x="5" y="283"/>
                  </a:lnTo>
                  <a:lnTo>
                    <a:pt x="0" y="286"/>
                  </a:lnTo>
                  <a:lnTo>
                    <a:pt x="9" y="290"/>
                  </a:lnTo>
                  <a:lnTo>
                    <a:pt x="16" y="296"/>
                  </a:lnTo>
                  <a:lnTo>
                    <a:pt x="18" y="296"/>
                  </a:lnTo>
                  <a:lnTo>
                    <a:pt x="20" y="306"/>
                  </a:lnTo>
                  <a:lnTo>
                    <a:pt x="22" y="310"/>
                  </a:lnTo>
                  <a:lnTo>
                    <a:pt x="22" y="315"/>
                  </a:lnTo>
                  <a:lnTo>
                    <a:pt x="28" y="317"/>
                  </a:lnTo>
                  <a:lnTo>
                    <a:pt x="35" y="319"/>
                  </a:lnTo>
                  <a:lnTo>
                    <a:pt x="41" y="319"/>
                  </a:lnTo>
                  <a:lnTo>
                    <a:pt x="46" y="317"/>
                  </a:lnTo>
                  <a:lnTo>
                    <a:pt x="52" y="317"/>
                  </a:lnTo>
                  <a:lnTo>
                    <a:pt x="56" y="319"/>
                  </a:lnTo>
                  <a:lnTo>
                    <a:pt x="62" y="320"/>
                  </a:lnTo>
                  <a:lnTo>
                    <a:pt x="65" y="327"/>
                  </a:lnTo>
                  <a:lnTo>
                    <a:pt x="65" y="330"/>
                  </a:lnTo>
                  <a:lnTo>
                    <a:pt x="68" y="332"/>
                  </a:lnTo>
                  <a:lnTo>
                    <a:pt x="73" y="332"/>
                  </a:lnTo>
                  <a:lnTo>
                    <a:pt x="78" y="332"/>
                  </a:lnTo>
                  <a:lnTo>
                    <a:pt x="78" y="336"/>
                  </a:lnTo>
                  <a:lnTo>
                    <a:pt x="82" y="339"/>
                  </a:lnTo>
                  <a:lnTo>
                    <a:pt x="92" y="342"/>
                  </a:lnTo>
                  <a:lnTo>
                    <a:pt x="92" y="346"/>
                  </a:lnTo>
                  <a:lnTo>
                    <a:pt x="92" y="348"/>
                  </a:lnTo>
                  <a:lnTo>
                    <a:pt x="85" y="355"/>
                  </a:lnTo>
                  <a:lnTo>
                    <a:pt x="79" y="356"/>
                  </a:lnTo>
                  <a:lnTo>
                    <a:pt x="69" y="360"/>
                  </a:lnTo>
                  <a:lnTo>
                    <a:pt x="65" y="366"/>
                  </a:lnTo>
                  <a:lnTo>
                    <a:pt x="63" y="372"/>
                  </a:lnTo>
                  <a:lnTo>
                    <a:pt x="63" y="378"/>
                  </a:lnTo>
                  <a:lnTo>
                    <a:pt x="65" y="382"/>
                  </a:lnTo>
                  <a:lnTo>
                    <a:pt x="73" y="390"/>
                  </a:lnTo>
                  <a:lnTo>
                    <a:pt x="76" y="398"/>
                  </a:lnTo>
                  <a:lnTo>
                    <a:pt x="76" y="403"/>
                  </a:lnTo>
                  <a:lnTo>
                    <a:pt x="81" y="406"/>
                  </a:lnTo>
                  <a:lnTo>
                    <a:pt x="85" y="406"/>
                  </a:lnTo>
                  <a:lnTo>
                    <a:pt x="88" y="408"/>
                  </a:lnTo>
                  <a:lnTo>
                    <a:pt x="92" y="401"/>
                  </a:lnTo>
                  <a:lnTo>
                    <a:pt x="95" y="399"/>
                  </a:lnTo>
                  <a:lnTo>
                    <a:pt x="99" y="401"/>
                  </a:lnTo>
                  <a:lnTo>
                    <a:pt x="102" y="408"/>
                  </a:lnTo>
                  <a:lnTo>
                    <a:pt x="108" y="406"/>
                  </a:lnTo>
                  <a:lnTo>
                    <a:pt x="112" y="405"/>
                  </a:lnTo>
                  <a:lnTo>
                    <a:pt x="115" y="402"/>
                  </a:lnTo>
                  <a:lnTo>
                    <a:pt x="115" y="398"/>
                  </a:lnTo>
                  <a:lnTo>
                    <a:pt x="115" y="395"/>
                  </a:lnTo>
                  <a:lnTo>
                    <a:pt x="116" y="392"/>
                  </a:lnTo>
                  <a:lnTo>
                    <a:pt x="118" y="392"/>
                  </a:lnTo>
                  <a:lnTo>
                    <a:pt x="118" y="390"/>
                  </a:lnTo>
                  <a:lnTo>
                    <a:pt x="121" y="390"/>
                  </a:lnTo>
                  <a:lnTo>
                    <a:pt x="126" y="388"/>
                  </a:lnTo>
                  <a:lnTo>
                    <a:pt x="131" y="386"/>
                  </a:lnTo>
                  <a:lnTo>
                    <a:pt x="134" y="382"/>
                  </a:lnTo>
                  <a:lnTo>
                    <a:pt x="135" y="376"/>
                  </a:lnTo>
                  <a:lnTo>
                    <a:pt x="138" y="372"/>
                  </a:lnTo>
                  <a:lnTo>
                    <a:pt x="138" y="372"/>
                  </a:lnTo>
                  <a:lnTo>
                    <a:pt x="141" y="370"/>
                  </a:lnTo>
                  <a:lnTo>
                    <a:pt x="144" y="369"/>
                  </a:lnTo>
                  <a:lnTo>
                    <a:pt x="151" y="368"/>
                  </a:lnTo>
                  <a:lnTo>
                    <a:pt x="155" y="365"/>
                  </a:lnTo>
                  <a:lnTo>
                    <a:pt x="159" y="359"/>
                  </a:lnTo>
                  <a:lnTo>
                    <a:pt x="165" y="359"/>
                  </a:lnTo>
                  <a:lnTo>
                    <a:pt x="171" y="362"/>
                  </a:lnTo>
                  <a:lnTo>
                    <a:pt x="175" y="369"/>
                  </a:lnTo>
                  <a:lnTo>
                    <a:pt x="179" y="378"/>
                  </a:lnTo>
                  <a:lnTo>
                    <a:pt x="182" y="388"/>
                  </a:lnTo>
                  <a:lnTo>
                    <a:pt x="189" y="393"/>
                  </a:lnTo>
                  <a:lnTo>
                    <a:pt x="195" y="415"/>
                  </a:lnTo>
                  <a:lnTo>
                    <a:pt x="199" y="422"/>
                  </a:lnTo>
                  <a:lnTo>
                    <a:pt x="201" y="435"/>
                  </a:lnTo>
                  <a:lnTo>
                    <a:pt x="205" y="441"/>
                  </a:lnTo>
                  <a:lnTo>
                    <a:pt x="210" y="443"/>
                  </a:lnTo>
                  <a:lnTo>
                    <a:pt x="214" y="443"/>
                  </a:lnTo>
                  <a:lnTo>
                    <a:pt x="215" y="441"/>
                  </a:lnTo>
                  <a:lnTo>
                    <a:pt x="215" y="436"/>
                  </a:lnTo>
                  <a:lnTo>
                    <a:pt x="217" y="435"/>
                  </a:lnTo>
                  <a:lnTo>
                    <a:pt x="220" y="435"/>
                  </a:lnTo>
                  <a:lnTo>
                    <a:pt x="227" y="432"/>
                  </a:lnTo>
                  <a:lnTo>
                    <a:pt x="230" y="426"/>
                  </a:lnTo>
                  <a:lnTo>
                    <a:pt x="230" y="418"/>
                  </a:lnTo>
                  <a:lnTo>
                    <a:pt x="234" y="411"/>
                  </a:lnTo>
                  <a:lnTo>
                    <a:pt x="240" y="408"/>
                  </a:lnTo>
                  <a:lnTo>
                    <a:pt x="245" y="406"/>
                  </a:lnTo>
                  <a:lnTo>
                    <a:pt x="248" y="408"/>
                  </a:lnTo>
                  <a:lnTo>
                    <a:pt x="254" y="418"/>
                  </a:lnTo>
                  <a:lnTo>
                    <a:pt x="258" y="421"/>
                  </a:lnTo>
                  <a:lnTo>
                    <a:pt x="267" y="426"/>
                  </a:lnTo>
                  <a:lnTo>
                    <a:pt x="268" y="432"/>
                  </a:lnTo>
                  <a:lnTo>
                    <a:pt x="265" y="438"/>
                  </a:lnTo>
                  <a:lnTo>
                    <a:pt x="268" y="443"/>
                  </a:lnTo>
                  <a:lnTo>
                    <a:pt x="271" y="446"/>
                  </a:lnTo>
                  <a:lnTo>
                    <a:pt x="270" y="454"/>
                  </a:lnTo>
                  <a:lnTo>
                    <a:pt x="270" y="461"/>
                  </a:lnTo>
                  <a:lnTo>
                    <a:pt x="274" y="465"/>
                  </a:lnTo>
                  <a:lnTo>
                    <a:pt x="277" y="468"/>
                  </a:lnTo>
                  <a:lnTo>
                    <a:pt x="280" y="465"/>
                  </a:lnTo>
                  <a:lnTo>
                    <a:pt x="283" y="464"/>
                  </a:lnTo>
                  <a:lnTo>
                    <a:pt x="285" y="469"/>
                  </a:lnTo>
                  <a:lnTo>
                    <a:pt x="284" y="472"/>
                  </a:lnTo>
                  <a:lnTo>
                    <a:pt x="275" y="479"/>
                  </a:lnTo>
                  <a:lnTo>
                    <a:pt x="274" y="482"/>
                  </a:lnTo>
                  <a:lnTo>
                    <a:pt x="275" y="484"/>
                  </a:lnTo>
                  <a:lnTo>
                    <a:pt x="277" y="485"/>
                  </a:lnTo>
                  <a:lnTo>
                    <a:pt x="281" y="488"/>
                  </a:lnTo>
                  <a:lnTo>
                    <a:pt x="283" y="496"/>
                  </a:lnTo>
                  <a:lnTo>
                    <a:pt x="278" y="507"/>
                  </a:lnTo>
                  <a:lnTo>
                    <a:pt x="273" y="515"/>
                  </a:lnTo>
                  <a:lnTo>
                    <a:pt x="270" y="522"/>
                  </a:lnTo>
                  <a:lnTo>
                    <a:pt x="270" y="529"/>
                  </a:lnTo>
                  <a:lnTo>
                    <a:pt x="273" y="541"/>
                  </a:lnTo>
                  <a:lnTo>
                    <a:pt x="274" y="545"/>
                  </a:lnTo>
                  <a:lnTo>
                    <a:pt x="278" y="542"/>
                  </a:lnTo>
                  <a:lnTo>
                    <a:pt x="284" y="535"/>
                  </a:lnTo>
                  <a:lnTo>
                    <a:pt x="290" y="527"/>
                  </a:lnTo>
                  <a:lnTo>
                    <a:pt x="295" y="531"/>
                  </a:lnTo>
                  <a:lnTo>
                    <a:pt x="297" y="539"/>
                  </a:lnTo>
                  <a:lnTo>
                    <a:pt x="298" y="551"/>
                  </a:lnTo>
                  <a:lnTo>
                    <a:pt x="304" y="552"/>
                  </a:lnTo>
                  <a:lnTo>
                    <a:pt x="307" y="558"/>
                  </a:lnTo>
                  <a:lnTo>
                    <a:pt x="310" y="561"/>
                  </a:lnTo>
                  <a:lnTo>
                    <a:pt x="315" y="565"/>
                  </a:lnTo>
                  <a:lnTo>
                    <a:pt x="328" y="571"/>
                  </a:lnTo>
                  <a:lnTo>
                    <a:pt x="336" y="575"/>
                  </a:lnTo>
                  <a:lnTo>
                    <a:pt x="333" y="582"/>
                  </a:lnTo>
                  <a:lnTo>
                    <a:pt x="323" y="590"/>
                  </a:lnTo>
                  <a:lnTo>
                    <a:pt x="314" y="591"/>
                  </a:lnTo>
                  <a:lnTo>
                    <a:pt x="311" y="591"/>
                  </a:lnTo>
                  <a:lnTo>
                    <a:pt x="311" y="588"/>
                  </a:lnTo>
                  <a:lnTo>
                    <a:pt x="305" y="584"/>
                  </a:lnTo>
                  <a:lnTo>
                    <a:pt x="303" y="582"/>
                  </a:lnTo>
                  <a:lnTo>
                    <a:pt x="298" y="585"/>
                  </a:lnTo>
                  <a:lnTo>
                    <a:pt x="295" y="597"/>
                  </a:lnTo>
                  <a:lnTo>
                    <a:pt x="295" y="605"/>
                  </a:lnTo>
                  <a:lnTo>
                    <a:pt x="298" y="611"/>
                  </a:lnTo>
                  <a:lnTo>
                    <a:pt x="308" y="623"/>
                  </a:lnTo>
                  <a:lnTo>
                    <a:pt x="313" y="634"/>
                  </a:lnTo>
                  <a:lnTo>
                    <a:pt x="307" y="643"/>
                  </a:lnTo>
                  <a:lnTo>
                    <a:pt x="311" y="657"/>
                  </a:lnTo>
                  <a:lnTo>
                    <a:pt x="321" y="668"/>
                  </a:lnTo>
                  <a:lnTo>
                    <a:pt x="328" y="671"/>
                  </a:lnTo>
                  <a:lnTo>
                    <a:pt x="328" y="670"/>
                  </a:lnTo>
                  <a:lnTo>
                    <a:pt x="327" y="665"/>
                  </a:lnTo>
                  <a:lnTo>
                    <a:pt x="328" y="664"/>
                  </a:lnTo>
                  <a:lnTo>
                    <a:pt x="334" y="664"/>
                  </a:lnTo>
                  <a:lnTo>
                    <a:pt x="347" y="674"/>
                  </a:lnTo>
                  <a:lnTo>
                    <a:pt x="351" y="683"/>
                  </a:lnTo>
                  <a:lnTo>
                    <a:pt x="361" y="696"/>
                  </a:lnTo>
                  <a:lnTo>
                    <a:pt x="370" y="711"/>
                  </a:lnTo>
                  <a:lnTo>
                    <a:pt x="377" y="720"/>
                  </a:lnTo>
                  <a:lnTo>
                    <a:pt x="379" y="728"/>
                  </a:lnTo>
                  <a:lnTo>
                    <a:pt x="386" y="734"/>
                  </a:lnTo>
                  <a:lnTo>
                    <a:pt x="389" y="728"/>
                  </a:lnTo>
                  <a:lnTo>
                    <a:pt x="396" y="723"/>
                  </a:lnTo>
                  <a:lnTo>
                    <a:pt x="401" y="721"/>
                  </a:lnTo>
                  <a:lnTo>
                    <a:pt x="407" y="720"/>
                  </a:lnTo>
                  <a:lnTo>
                    <a:pt x="414" y="721"/>
                  </a:lnTo>
                  <a:lnTo>
                    <a:pt x="421" y="717"/>
                  </a:lnTo>
                  <a:lnTo>
                    <a:pt x="427" y="714"/>
                  </a:lnTo>
                  <a:lnTo>
                    <a:pt x="437" y="714"/>
                  </a:lnTo>
                  <a:lnTo>
                    <a:pt x="447" y="708"/>
                  </a:lnTo>
                  <a:lnTo>
                    <a:pt x="453" y="704"/>
                  </a:lnTo>
                  <a:lnTo>
                    <a:pt x="460" y="697"/>
                  </a:lnTo>
                  <a:lnTo>
                    <a:pt x="472" y="691"/>
                  </a:lnTo>
                  <a:lnTo>
                    <a:pt x="477" y="683"/>
                  </a:lnTo>
                  <a:lnTo>
                    <a:pt x="482" y="680"/>
                  </a:lnTo>
                  <a:lnTo>
                    <a:pt x="487" y="677"/>
                  </a:lnTo>
                  <a:lnTo>
                    <a:pt x="495" y="677"/>
                  </a:lnTo>
                  <a:lnTo>
                    <a:pt x="502" y="680"/>
                  </a:lnTo>
                  <a:lnTo>
                    <a:pt x="505" y="681"/>
                  </a:lnTo>
                  <a:lnTo>
                    <a:pt x="506" y="681"/>
                  </a:lnTo>
                  <a:lnTo>
                    <a:pt x="505" y="677"/>
                  </a:lnTo>
                  <a:lnTo>
                    <a:pt x="503" y="671"/>
                  </a:lnTo>
                  <a:lnTo>
                    <a:pt x="503" y="668"/>
                  </a:lnTo>
                  <a:lnTo>
                    <a:pt x="505" y="665"/>
                  </a:lnTo>
                  <a:lnTo>
                    <a:pt x="507" y="664"/>
                  </a:lnTo>
                  <a:lnTo>
                    <a:pt x="510" y="664"/>
                  </a:lnTo>
                  <a:lnTo>
                    <a:pt x="510" y="673"/>
                  </a:lnTo>
                  <a:lnTo>
                    <a:pt x="512" y="674"/>
                  </a:lnTo>
                  <a:lnTo>
                    <a:pt x="513" y="674"/>
                  </a:lnTo>
                  <a:lnTo>
                    <a:pt x="516" y="673"/>
                  </a:lnTo>
                  <a:lnTo>
                    <a:pt x="519" y="668"/>
                  </a:lnTo>
                  <a:lnTo>
                    <a:pt x="523" y="667"/>
                  </a:lnTo>
                  <a:lnTo>
                    <a:pt x="533" y="667"/>
                  </a:lnTo>
                  <a:lnTo>
                    <a:pt x="546" y="667"/>
                  </a:lnTo>
                  <a:lnTo>
                    <a:pt x="553" y="667"/>
                  </a:lnTo>
                  <a:lnTo>
                    <a:pt x="559" y="671"/>
                  </a:lnTo>
                  <a:lnTo>
                    <a:pt x="565" y="676"/>
                  </a:lnTo>
                  <a:lnTo>
                    <a:pt x="568" y="677"/>
                  </a:lnTo>
                  <a:lnTo>
                    <a:pt x="570" y="677"/>
                  </a:lnTo>
                  <a:lnTo>
                    <a:pt x="572" y="676"/>
                  </a:lnTo>
                  <a:lnTo>
                    <a:pt x="576" y="673"/>
                  </a:lnTo>
                  <a:lnTo>
                    <a:pt x="579" y="671"/>
                  </a:lnTo>
                  <a:lnTo>
                    <a:pt x="585" y="673"/>
                  </a:lnTo>
                  <a:lnTo>
                    <a:pt x="589" y="674"/>
                  </a:lnTo>
                  <a:lnTo>
                    <a:pt x="598" y="681"/>
                  </a:lnTo>
                  <a:lnTo>
                    <a:pt x="603" y="684"/>
                  </a:lnTo>
                  <a:lnTo>
                    <a:pt x="612" y="686"/>
                  </a:lnTo>
                  <a:lnTo>
                    <a:pt x="619" y="684"/>
                  </a:lnTo>
                  <a:lnTo>
                    <a:pt x="628" y="680"/>
                  </a:lnTo>
                  <a:lnTo>
                    <a:pt x="631" y="680"/>
                  </a:lnTo>
                  <a:lnTo>
                    <a:pt x="633" y="681"/>
                  </a:lnTo>
                  <a:lnTo>
                    <a:pt x="638" y="686"/>
                  </a:lnTo>
                  <a:lnTo>
                    <a:pt x="642" y="688"/>
                  </a:lnTo>
                  <a:lnTo>
                    <a:pt x="646" y="688"/>
                  </a:lnTo>
                  <a:lnTo>
                    <a:pt x="651" y="690"/>
                  </a:lnTo>
                  <a:lnTo>
                    <a:pt x="652" y="690"/>
                  </a:lnTo>
                  <a:lnTo>
                    <a:pt x="655" y="690"/>
                  </a:lnTo>
                  <a:lnTo>
                    <a:pt x="655" y="687"/>
                  </a:lnTo>
                  <a:lnTo>
                    <a:pt x="653" y="681"/>
                  </a:lnTo>
                  <a:lnTo>
                    <a:pt x="653" y="677"/>
                  </a:lnTo>
                  <a:lnTo>
                    <a:pt x="655" y="674"/>
                  </a:lnTo>
                  <a:lnTo>
                    <a:pt x="659" y="670"/>
                  </a:lnTo>
                  <a:lnTo>
                    <a:pt x="666" y="667"/>
                  </a:lnTo>
                  <a:lnTo>
                    <a:pt x="674" y="668"/>
                  </a:lnTo>
                  <a:lnTo>
                    <a:pt x="684" y="668"/>
                  </a:lnTo>
                  <a:lnTo>
                    <a:pt x="698" y="668"/>
                  </a:lnTo>
                  <a:lnTo>
                    <a:pt x="705" y="670"/>
                  </a:lnTo>
                  <a:lnTo>
                    <a:pt x="712" y="674"/>
                  </a:lnTo>
                  <a:lnTo>
                    <a:pt x="715" y="674"/>
                  </a:lnTo>
                  <a:lnTo>
                    <a:pt x="721" y="670"/>
                  </a:lnTo>
                  <a:lnTo>
                    <a:pt x="725" y="667"/>
                  </a:lnTo>
                  <a:lnTo>
                    <a:pt x="728" y="667"/>
                  </a:lnTo>
                  <a:lnTo>
                    <a:pt x="731" y="668"/>
                  </a:lnTo>
                  <a:lnTo>
                    <a:pt x="731" y="676"/>
                  </a:lnTo>
                  <a:lnTo>
                    <a:pt x="735" y="677"/>
                  </a:lnTo>
                  <a:lnTo>
                    <a:pt x="738" y="678"/>
                  </a:lnTo>
                  <a:lnTo>
                    <a:pt x="741" y="680"/>
                  </a:lnTo>
                  <a:lnTo>
                    <a:pt x="741" y="683"/>
                  </a:lnTo>
                  <a:lnTo>
                    <a:pt x="741" y="686"/>
                  </a:lnTo>
                  <a:lnTo>
                    <a:pt x="739" y="691"/>
                  </a:lnTo>
                  <a:lnTo>
                    <a:pt x="739" y="696"/>
                  </a:lnTo>
                  <a:lnTo>
                    <a:pt x="741" y="698"/>
                  </a:lnTo>
                  <a:lnTo>
                    <a:pt x="744" y="696"/>
                  </a:lnTo>
                  <a:lnTo>
                    <a:pt x="749" y="688"/>
                  </a:lnTo>
                  <a:lnTo>
                    <a:pt x="754" y="684"/>
                  </a:lnTo>
                  <a:lnTo>
                    <a:pt x="755" y="684"/>
                  </a:lnTo>
                  <a:lnTo>
                    <a:pt x="758" y="686"/>
                  </a:lnTo>
                  <a:lnTo>
                    <a:pt x="759" y="688"/>
                  </a:lnTo>
                  <a:lnTo>
                    <a:pt x="759" y="693"/>
                  </a:lnTo>
                  <a:lnTo>
                    <a:pt x="762" y="696"/>
                  </a:lnTo>
                  <a:lnTo>
                    <a:pt x="767" y="697"/>
                  </a:lnTo>
                  <a:lnTo>
                    <a:pt x="770" y="698"/>
                  </a:lnTo>
                  <a:lnTo>
                    <a:pt x="772" y="701"/>
                  </a:lnTo>
                  <a:lnTo>
                    <a:pt x="775" y="701"/>
                  </a:lnTo>
                  <a:lnTo>
                    <a:pt x="778" y="698"/>
                  </a:lnTo>
                  <a:lnTo>
                    <a:pt x="784" y="693"/>
                  </a:lnTo>
                  <a:lnTo>
                    <a:pt x="787" y="690"/>
                  </a:lnTo>
                  <a:lnTo>
                    <a:pt x="788" y="690"/>
                  </a:lnTo>
                  <a:lnTo>
                    <a:pt x="790" y="693"/>
                  </a:lnTo>
                  <a:lnTo>
                    <a:pt x="788" y="696"/>
                  </a:lnTo>
                  <a:lnTo>
                    <a:pt x="787" y="701"/>
                  </a:lnTo>
                  <a:lnTo>
                    <a:pt x="787" y="704"/>
                  </a:lnTo>
                  <a:lnTo>
                    <a:pt x="790" y="707"/>
                  </a:lnTo>
                  <a:lnTo>
                    <a:pt x="791" y="710"/>
                  </a:lnTo>
                  <a:lnTo>
                    <a:pt x="790" y="711"/>
                  </a:lnTo>
                  <a:lnTo>
                    <a:pt x="784" y="714"/>
                  </a:lnTo>
                  <a:lnTo>
                    <a:pt x="782" y="717"/>
                  </a:lnTo>
                  <a:lnTo>
                    <a:pt x="784" y="720"/>
                  </a:lnTo>
                  <a:lnTo>
                    <a:pt x="787" y="723"/>
                  </a:lnTo>
                  <a:lnTo>
                    <a:pt x="792" y="723"/>
                  </a:lnTo>
                  <a:lnTo>
                    <a:pt x="801" y="721"/>
                  </a:lnTo>
                  <a:lnTo>
                    <a:pt x="805" y="721"/>
                  </a:lnTo>
                  <a:lnTo>
                    <a:pt x="810" y="724"/>
                  </a:lnTo>
                  <a:lnTo>
                    <a:pt x="814" y="728"/>
                  </a:lnTo>
                  <a:lnTo>
                    <a:pt x="815" y="731"/>
                  </a:lnTo>
                  <a:lnTo>
                    <a:pt x="817" y="734"/>
                  </a:lnTo>
                  <a:lnTo>
                    <a:pt x="822" y="734"/>
                  </a:lnTo>
                  <a:lnTo>
                    <a:pt x="828" y="737"/>
                  </a:lnTo>
                  <a:lnTo>
                    <a:pt x="834" y="740"/>
                  </a:lnTo>
                  <a:lnTo>
                    <a:pt x="835" y="743"/>
                  </a:lnTo>
                  <a:lnTo>
                    <a:pt x="835" y="749"/>
                  </a:lnTo>
                  <a:lnTo>
                    <a:pt x="837" y="753"/>
                  </a:lnTo>
                  <a:lnTo>
                    <a:pt x="840" y="753"/>
                  </a:lnTo>
                  <a:lnTo>
                    <a:pt x="844" y="751"/>
                  </a:lnTo>
                  <a:lnTo>
                    <a:pt x="847" y="753"/>
                  </a:lnTo>
                  <a:lnTo>
                    <a:pt x="848" y="754"/>
                  </a:lnTo>
                  <a:lnTo>
                    <a:pt x="847" y="757"/>
                  </a:lnTo>
                  <a:lnTo>
                    <a:pt x="841" y="763"/>
                  </a:lnTo>
                  <a:lnTo>
                    <a:pt x="840" y="766"/>
                  </a:lnTo>
                  <a:lnTo>
                    <a:pt x="840" y="769"/>
                  </a:lnTo>
                  <a:lnTo>
                    <a:pt x="844" y="771"/>
                  </a:lnTo>
                  <a:lnTo>
                    <a:pt x="848" y="771"/>
                  </a:lnTo>
                  <a:lnTo>
                    <a:pt x="857" y="770"/>
                  </a:lnTo>
                  <a:lnTo>
                    <a:pt x="861" y="770"/>
                  </a:lnTo>
                  <a:lnTo>
                    <a:pt x="867" y="771"/>
                  </a:lnTo>
                  <a:lnTo>
                    <a:pt x="871" y="774"/>
                  </a:lnTo>
                  <a:lnTo>
                    <a:pt x="873" y="780"/>
                  </a:lnTo>
                  <a:lnTo>
                    <a:pt x="871" y="789"/>
                  </a:lnTo>
                  <a:lnTo>
                    <a:pt x="870" y="792"/>
                  </a:lnTo>
                  <a:lnTo>
                    <a:pt x="867" y="793"/>
                  </a:lnTo>
                  <a:lnTo>
                    <a:pt x="867" y="797"/>
                  </a:lnTo>
                  <a:lnTo>
                    <a:pt x="871" y="802"/>
                  </a:lnTo>
                  <a:lnTo>
                    <a:pt x="880" y="807"/>
                  </a:lnTo>
                  <a:lnTo>
                    <a:pt x="891" y="814"/>
                  </a:lnTo>
                  <a:lnTo>
                    <a:pt x="898" y="817"/>
                  </a:lnTo>
                  <a:lnTo>
                    <a:pt x="907" y="829"/>
                  </a:lnTo>
                  <a:lnTo>
                    <a:pt x="914" y="830"/>
                  </a:lnTo>
                  <a:lnTo>
                    <a:pt x="917" y="833"/>
                  </a:lnTo>
                  <a:lnTo>
                    <a:pt x="920" y="837"/>
                  </a:lnTo>
                  <a:lnTo>
                    <a:pt x="921" y="840"/>
                  </a:lnTo>
                  <a:lnTo>
                    <a:pt x="921" y="847"/>
                  </a:lnTo>
                  <a:lnTo>
                    <a:pt x="921" y="850"/>
                  </a:lnTo>
                  <a:lnTo>
                    <a:pt x="924" y="852"/>
                  </a:lnTo>
                  <a:lnTo>
                    <a:pt x="930" y="852"/>
                  </a:lnTo>
                  <a:lnTo>
                    <a:pt x="936" y="855"/>
                  </a:lnTo>
                  <a:lnTo>
                    <a:pt x="936" y="857"/>
                  </a:lnTo>
                  <a:lnTo>
                    <a:pt x="937" y="863"/>
                  </a:lnTo>
                  <a:lnTo>
                    <a:pt x="939" y="867"/>
                  </a:lnTo>
                  <a:lnTo>
                    <a:pt x="941" y="870"/>
                  </a:lnTo>
                  <a:lnTo>
                    <a:pt x="944" y="870"/>
                  </a:lnTo>
                  <a:lnTo>
                    <a:pt x="951" y="870"/>
                  </a:lnTo>
                  <a:lnTo>
                    <a:pt x="956" y="870"/>
                  </a:lnTo>
                  <a:lnTo>
                    <a:pt x="957" y="873"/>
                  </a:lnTo>
                  <a:lnTo>
                    <a:pt x="957" y="876"/>
                  </a:lnTo>
                  <a:lnTo>
                    <a:pt x="954" y="877"/>
                  </a:lnTo>
                  <a:lnTo>
                    <a:pt x="949" y="879"/>
                  </a:lnTo>
                  <a:lnTo>
                    <a:pt x="947" y="882"/>
                  </a:lnTo>
                  <a:lnTo>
                    <a:pt x="947" y="885"/>
                  </a:lnTo>
                  <a:lnTo>
                    <a:pt x="949" y="887"/>
                  </a:lnTo>
                  <a:lnTo>
                    <a:pt x="956" y="892"/>
                  </a:lnTo>
                  <a:lnTo>
                    <a:pt x="959" y="892"/>
                  </a:lnTo>
                  <a:lnTo>
                    <a:pt x="960" y="890"/>
                  </a:lnTo>
                  <a:lnTo>
                    <a:pt x="960" y="887"/>
                  </a:lnTo>
                  <a:lnTo>
                    <a:pt x="960" y="885"/>
                  </a:lnTo>
                  <a:lnTo>
                    <a:pt x="961" y="882"/>
                  </a:lnTo>
                  <a:lnTo>
                    <a:pt x="963" y="880"/>
                  </a:lnTo>
                  <a:lnTo>
                    <a:pt x="967" y="880"/>
                  </a:lnTo>
                  <a:lnTo>
                    <a:pt x="969" y="880"/>
                  </a:lnTo>
                  <a:lnTo>
                    <a:pt x="970" y="885"/>
                  </a:lnTo>
                  <a:lnTo>
                    <a:pt x="969" y="893"/>
                  </a:lnTo>
                  <a:lnTo>
                    <a:pt x="969" y="899"/>
                  </a:lnTo>
                  <a:lnTo>
                    <a:pt x="973" y="905"/>
                  </a:lnTo>
                  <a:lnTo>
                    <a:pt x="976" y="909"/>
                  </a:lnTo>
                  <a:lnTo>
                    <a:pt x="979" y="918"/>
                  </a:lnTo>
                  <a:lnTo>
                    <a:pt x="980" y="919"/>
                  </a:lnTo>
                  <a:lnTo>
                    <a:pt x="984" y="922"/>
                  </a:lnTo>
                  <a:lnTo>
                    <a:pt x="989" y="925"/>
                  </a:lnTo>
                  <a:lnTo>
                    <a:pt x="993" y="930"/>
                  </a:lnTo>
                  <a:lnTo>
                    <a:pt x="997" y="932"/>
                  </a:lnTo>
                  <a:lnTo>
                    <a:pt x="1006" y="935"/>
                  </a:lnTo>
                  <a:lnTo>
                    <a:pt x="1012" y="939"/>
                  </a:lnTo>
                  <a:lnTo>
                    <a:pt x="1014" y="942"/>
                  </a:lnTo>
                  <a:lnTo>
                    <a:pt x="1022" y="948"/>
                  </a:lnTo>
                  <a:lnTo>
                    <a:pt x="1027" y="952"/>
                  </a:lnTo>
                  <a:lnTo>
                    <a:pt x="1032" y="955"/>
                  </a:lnTo>
                  <a:lnTo>
                    <a:pt x="1034" y="959"/>
                  </a:lnTo>
                  <a:lnTo>
                    <a:pt x="1036" y="962"/>
                  </a:lnTo>
                  <a:lnTo>
                    <a:pt x="1037" y="965"/>
                  </a:lnTo>
                  <a:lnTo>
                    <a:pt x="1043" y="968"/>
                  </a:lnTo>
                  <a:lnTo>
                    <a:pt x="1046" y="971"/>
                  </a:lnTo>
                  <a:lnTo>
                    <a:pt x="1049" y="975"/>
                  </a:lnTo>
                  <a:lnTo>
                    <a:pt x="1049" y="981"/>
                  </a:lnTo>
                  <a:lnTo>
                    <a:pt x="1047" y="988"/>
                  </a:lnTo>
                  <a:lnTo>
                    <a:pt x="1049" y="992"/>
                  </a:lnTo>
                  <a:lnTo>
                    <a:pt x="1055" y="996"/>
                  </a:lnTo>
                  <a:lnTo>
                    <a:pt x="1059" y="998"/>
                  </a:lnTo>
                  <a:lnTo>
                    <a:pt x="1063" y="1006"/>
                  </a:lnTo>
                  <a:lnTo>
                    <a:pt x="1066" y="1012"/>
                  </a:lnTo>
                  <a:lnTo>
                    <a:pt x="1072" y="1015"/>
                  </a:lnTo>
                  <a:lnTo>
                    <a:pt x="1082" y="1015"/>
                  </a:lnTo>
                  <a:lnTo>
                    <a:pt x="1087" y="1014"/>
                  </a:lnTo>
                  <a:lnTo>
                    <a:pt x="1095" y="1016"/>
                  </a:lnTo>
                  <a:lnTo>
                    <a:pt x="1099" y="1019"/>
                  </a:lnTo>
                  <a:lnTo>
                    <a:pt x="1100" y="1022"/>
                  </a:lnTo>
                  <a:lnTo>
                    <a:pt x="1100" y="1029"/>
                  </a:lnTo>
                  <a:lnTo>
                    <a:pt x="1096" y="1039"/>
                  </a:lnTo>
                  <a:lnTo>
                    <a:pt x="1096" y="1046"/>
                  </a:lnTo>
                  <a:lnTo>
                    <a:pt x="1099" y="1052"/>
                  </a:lnTo>
                  <a:lnTo>
                    <a:pt x="1106" y="1059"/>
                  </a:lnTo>
                  <a:lnTo>
                    <a:pt x="1109" y="1065"/>
                  </a:lnTo>
                  <a:lnTo>
                    <a:pt x="1110" y="1075"/>
                  </a:lnTo>
                  <a:lnTo>
                    <a:pt x="1115" y="1079"/>
                  </a:lnTo>
                  <a:lnTo>
                    <a:pt x="1120" y="1081"/>
                  </a:lnTo>
                  <a:lnTo>
                    <a:pt x="1128" y="1079"/>
                  </a:lnTo>
                  <a:lnTo>
                    <a:pt x="1133" y="1081"/>
                  </a:lnTo>
                  <a:lnTo>
                    <a:pt x="1136" y="1087"/>
                  </a:lnTo>
                  <a:lnTo>
                    <a:pt x="1140" y="1094"/>
                  </a:lnTo>
                  <a:lnTo>
                    <a:pt x="1148" y="1097"/>
                  </a:lnTo>
                  <a:lnTo>
                    <a:pt x="1156" y="1101"/>
                  </a:lnTo>
                  <a:lnTo>
                    <a:pt x="1162" y="1101"/>
                  </a:lnTo>
                  <a:lnTo>
                    <a:pt x="1166" y="1097"/>
                  </a:lnTo>
                  <a:lnTo>
                    <a:pt x="1172" y="1094"/>
                  </a:lnTo>
                  <a:lnTo>
                    <a:pt x="1182" y="1095"/>
                  </a:lnTo>
                  <a:lnTo>
                    <a:pt x="1189" y="1097"/>
                  </a:lnTo>
                  <a:lnTo>
                    <a:pt x="1195" y="1091"/>
                  </a:lnTo>
                  <a:lnTo>
                    <a:pt x="1199" y="1087"/>
                  </a:lnTo>
                  <a:lnTo>
                    <a:pt x="1205" y="1085"/>
                  </a:lnTo>
                  <a:lnTo>
                    <a:pt x="1209" y="1084"/>
                  </a:lnTo>
                  <a:lnTo>
                    <a:pt x="1213" y="107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03" name="Freeform 251"/>
            <p:cNvSpPr>
              <a:spLocks/>
            </p:cNvSpPr>
            <p:nvPr/>
          </p:nvSpPr>
          <p:spPr bwMode="auto">
            <a:xfrm>
              <a:off x="4231293" y="3104335"/>
              <a:ext cx="7327" cy="37041"/>
            </a:xfrm>
            <a:custGeom>
              <a:avLst/>
              <a:gdLst>
                <a:gd name="T0" fmla="*/ 8 w 12"/>
                <a:gd name="T1" fmla="*/ 43 h 56"/>
                <a:gd name="T2" fmla="*/ 8 w 12"/>
                <a:gd name="T3" fmla="*/ 41 h 56"/>
                <a:gd name="T4" fmla="*/ 10 w 12"/>
                <a:gd name="T5" fmla="*/ 41 h 56"/>
                <a:gd name="T6" fmla="*/ 12 w 12"/>
                <a:gd name="T7" fmla="*/ 40 h 56"/>
                <a:gd name="T8" fmla="*/ 12 w 12"/>
                <a:gd name="T9" fmla="*/ 37 h 56"/>
                <a:gd name="T10" fmla="*/ 12 w 12"/>
                <a:gd name="T11" fmla="*/ 34 h 56"/>
                <a:gd name="T12" fmla="*/ 10 w 12"/>
                <a:gd name="T13" fmla="*/ 26 h 56"/>
                <a:gd name="T14" fmla="*/ 10 w 12"/>
                <a:gd name="T15" fmla="*/ 18 h 56"/>
                <a:gd name="T16" fmla="*/ 7 w 12"/>
                <a:gd name="T17" fmla="*/ 10 h 56"/>
                <a:gd name="T18" fmla="*/ 4 w 12"/>
                <a:gd name="T19" fmla="*/ 3 h 56"/>
                <a:gd name="T20" fmla="*/ 2 w 12"/>
                <a:gd name="T21" fmla="*/ 0 h 56"/>
                <a:gd name="T22" fmla="*/ 1 w 12"/>
                <a:gd name="T23" fmla="*/ 0 h 56"/>
                <a:gd name="T24" fmla="*/ 0 w 12"/>
                <a:gd name="T25" fmla="*/ 3 h 56"/>
                <a:gd name="T26" fmla="*/ 0 w 12"/>
                <a:gd name="T27" fmla="*/ 5 h 56"/>
                <a:gd name="T28" fmla="*/ 0 w 12"/>
                <a:gd name="T29" fmla="*/ 11 h 56"/>
                <a:gd name="T30" fmla="*/ 2 w 12"/>
                <a:gd name="T31" fmla="*/ 17 h 56"/>
                <a:gd name="T32" fmla="*/ 2 w 12"/>
                <a:gd name="T33" fmla="*/ 27 h 56"/>
                <a:gd name="T34" fmla="*/ 2 w 12"/>
                <a:gd name="T35" fmla="*/ 36 h 56"/>
                <a:gd name="T36" fmla="*/ 0 w 12"/>
                <a:gd name="T37" fmla="*/ 50 h 56"/>
                <a:gd name="T38" fmla="*/ 0 w 12"/>
                <a:gd name="T39" fmla="*/ 54 h 56"/>
                <a:gd name="T40" fmla="*/ 2 w 12"/>
                <a:gd name="T41" fmla="*/ 56 h 56"/>
                <a:gd name="T42" fmla="*/ 4 w 12"/>
                <a:gd name="T43" fmla="*/ 56 h 56"/>
                <a:gd name="T44" fmla="*/ 5 w 12"/>
                <a:gd name="T45" fmla="*/ 56 h 56"/>
                <a:gd name="T46" fmla="*/ 10 w 12"/>
                <a:gd name="T47" fmla="*/ 51 h 56"/>
                <a:gd name="T48" fmla="*/ 12 w 12"/>
                <a:gd name="T49" fmla="*/ 47 h 56"/>
                <a:gd name="T50" fmla="*/ 12 w 12"/>
                <a:gd name="T51" fmla="*/ 47 h 56"/>
                <a:gd name="T52" fmla="*/ 12 w 12"/>
                <a:gd name="T53" fmla="*/ 44 h 56"/>
                <a:gd name="T54" fmla="*/ 11 w 12"/>
                <a:gd name="T55" fmla="*/ 43 h 56"/>
                <a:gd name="T56" fmla="*/ 8 w 12"/>
                <a:gd name="T57" fmla="*/ 4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" h="56">
                  <a:moveTo>
                    <a:pt x="8" y="43"/>
                  </a:moveTo>
                  <a:lnTo>
                    <a:pt x="8" y="41"/>
                  </a:lnTo>
                  <a:lnTo>
                    <a:pt x="10" y="41"/>
                  </a:lnTo>
                  <a:lnTo>
                    <a:pt x="12" y="40"/>
                  </a:lnTo>
                  <a:lnTo>
                    <a:pt x="12" y="37"/>
                  </a:lnTo>
                  <a:lnTo>
                    <a:pt x="12" y="34"/>
                  </a:lnTo>
                  <a:lnTo>
                    <a:pt x="10" y="26"/>
                  </a:lnTo>
                  <a:lnTo>
                    <a:pt x="10" y="18"/>
                  </a:lnTo>
                  <a:lnTo>
                    <a:pt x="7" y="10"/>
                  </a:lnTo>
                  <a:lnTo>
                    <a:pt x="4" y="3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11"/>
                  </a:lnTo>
                  <a:lnTo>
                    <a:pt x="2" y="17"/>
                  </a:lnTo>
                  <a:lnTo>
                    <a:pt x="2" y="27"/>
                  </a:lnTo>
                  <a:lnTo>
                    <a:pt x="2" y="36"/>
                  </a:lnTo>
                  <a:lnTo>
                    <a:pt x="0" y="50"/>
                  </a:lnTo>
                  <a:lnTo>
                    <a:pt x="0" y="54"/>
                  </a:lnTo>
                  <a:lnTo>
                    <a:pt x="2" y="56"/>
                  </a:lnTo>
                  <a:lnTo>
                    <a:pt x="4" y="56"/>
                  </a:lnTo>
                  <a:lnTo>
                    <a:pt x="5" y="56"/>
                  </a:lnTo>
                  <a:lnTo>
                    <a:pt x="10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4"/>
                  </a:lnTo>
                  <a:lnTo>
                    <a:pt x="11" y="43"/>
                  </a:lnTo>
                  <a:lnTo>
                    <a:pt x="8" y="43"/>
                  </a:lnTo>
                  <a:close/>
                </a:path>
              </a:pathLst>
            </a:custGeom>
            <a:solidFill>
              <a:srgbClr val="ECEC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04" name="Freeform 252"/>
            <p:cNvSpPr>
              <a:spLocks/>
            </p:cNvSpPr>
            <p:nvPr/>
          </p:nvSpPr>
          <p:spPr bwMode="auto">
            <a:xfrm>
              <a:off x="4236178" y="3122856"/>
              <a:ext cx="2442" cy="9260"/>
            </a:xfrm>
            <a:custGeom>
              <a:avLst/>
              <a:gdLst>
                <a:gd name="T0" fmla="*/ 0 w 4"/>
                <a:gd name="T1" fmla="*/ 15 h 15"/>
                <a:gd name="T2" fmla="*/ 0 w 4"/>
                <a:gd name="T3" fmla="*/ 13 h 15"/>
                <a:gd name="T4" fmla="*/ 2 w 4"/>
                <a:gd name="T5" fmla="*/ 13 h 15"/>
                <a:gd name="T6" fmla="*/ 4 w 4"/>
                <a:gd name="T7" fmla="*/ 12 h 15"/>
                <a:gd name="T8" fmla="*/ 4 w 4"/>
                <a:gd name="T9" fmla="*/ 9 h 15"/>
                <a:gd name="T10" fmla="*/ 4 w 4"/>
                <a:gd name="T11" fmla="*/ 6 h 15"/>
                <a:gd name="T12" fmla="*/ 3 w 4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5">
                  <a:moveTo>
                    <a:pt x="0" y="15"/>
                  </a:moveTo>
                  <a:lnTo>
                    <a:pt x="0" y="13"/>
                  </a:lnTo>
                  <a:lnTo>
                    <a:pt x="2" y="13"/>
                  </a:lnTo>
                  <a:lnTo>
                    <a:pt x="4" y="12"/>
                  </a:lnTo>
                  <a:lnTo>
                    <a:pt x="4" y="9"/>
                  </a:lnTo>
                  <a:lnTo>
                    <a:pt x="4" y="6"/>
                  </a:lnTo>
                  <a:lnTo>
                    <a:pt x="3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05" name="Freeform 253"/>
            <p:cNvSpPr>
              <a:spLocks/>
            </p:cNvSpPr>
            <p:nvPr/>
          </p:nvSpPr>
          <p:spPr bwMode="auto">
            <a:xfrm>
              <a:off x="4232514" y="3105658"/>
              <a:ext cx="3663" cy="9260"/>
            </a:xfrm>
            <a:custGeom>
              <a:avLst/>
              <a:gdLst>
                <a:gd name="T0" fmla="*/ 6 w 6"/>
                <a:gd name="T1" fmla="*/ 16 h 16"/>
                <a:gd name="T2" fmla="*/ 5 w 6"/>
                <a:gd name="T3" fmla="*/ 9 h 16"/>
                <a:gd name="T4" fmla="*/ 2 w 6"/>
                <a:gd name="T5" fmla="*/ 2 h 16"/>
                <a:gd name="T6" fmla="*/ 0 w 6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6">
                  <a:moveTo>
                    <a:pt x="6" y="16"/>
                  </a:moveTo>
                  <a:lnTo>
                    <a:pt x="5" y="9"/>
                  </a:ln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06" name="Freeform 254"/>
            <p:cNvSpPr>
              <a:spLocks/>
            </p:cNvSpPr>
            <p:nvPr/>
          </p:nvSpPr>
          <p:spPr bwMode="auto">
            <a:xfrm>
              <a:off x="4231293" y="3110950"/>
              <a:ext cx="1221" cy="10583"/>
            </a:xfrm>
            <a:custGeom>
              <a:avLst/>
              <a:gdLst>
                <a:gd name="T0" fmla="*/ 0 w 2"/>
                <a:gd name="T1" fmla="*/ 0 h 16"/>
                <a:gd name="T2" fmla="*/ 0 w 2"/>
                <a:gd name="T3" fmla="*/ 1 h 16"/>
                <a:gd name="T4" fmla="*/ 2 w 2"/>
                <a:gd name="T5" fmla="*/ 7 h 16"/>
                <a:gd name="T6" fmla="*/ 2 w 2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6">
                  <a:moveTo>
                    <a:pt x="0" y="0"/>
                  </a:moveTo>
                  <a:lnTo>
                    <a:pt x="0" y="1"/>
                  </a:lnTo>
                  <a:lnTo>
                    <a:pt x="2" y="7"/>
                  </a:lnTo>
                  <a:lnTo>
                    <a:pt x="2" y="16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07" name="Freeform 255"/>
            <p:cNvSpPr>
              <a:spLocks/>
            </p:cNvSpPr>
            <p:nvPr/>
          </p:nvSpPr>
          <p:spPr bwMode="auto">
            <a:xfrm>
              <a:off x="4231293" y="3128148"/>
              <a:ext cx="1221" cy="11906"/>
            </a:xfrm>
            <a:custGeom>
              <a:avLst/>
              <a:gdLst>
                <a:gd name="T0" fmla="*/ 2 w 2"/>
                <a:gd name="T1" fmla="*/ 0 h 17"/>
                <a:gd name="T2" fmla="*/ 0 w 2"/>
                <a:gd name="T3" fmla="*/ 13 h 17"/>
                <a:gd name="T4" fmla="*/ 0 w 2"/>
                <a:gd name="T5" fmla="*/ 17 h 17"/>
                <a:gd name="T6" fmla="*/ 1 w 2"/>
                <a:gd name="T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7">
                  <a:moveTo>
                    <a:pt x="2" y="0"/>
                  </a:moveTo>
                  <a:lnTo>
                    <a:pt x="0" y="13"/>
                  </a:lnTo>
                  <a:lnTo>
                    <a:pt x="0" y="17"/>
                  </a:lnTo>
                  <a:lnTo>
                    <a:pt x="1" y="17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08" name="Freeform 256"/>
            <p:cNvSpPr>
              <a:spLocks/>
            </p:cNvSpPr>
            <p:nvPr/>
          </p:nvSpPr>
          <p:spPr bwMode="auto">
            <a:xfrm>
              <a:off x="4236178" y="3132116"/>
              <a:ext cx="2442" cy="6615"/>
            </a:xfrm>
            <a:custGeom>
              <a:avLst/>
              <a:gdLst>
                <a:gd name="T0" fmla="*/ 2 w 4"/>
                <a:gd name="T1" fmla="*/ 8 h 8"/>
                <a:gd name="T2" fmla="*/ 2 w 4"/>
                <a:gd name="T3" fmla="*/ 8 h 8"/>
                <a:gd name="T4" fmla="*/ 4 w 4"/>
                <a:gd name="T5" fmla="*/ 4 h 8"/>
                <a:gd name="T6" fmla="*/ 4 w 4"/>
                <a:gd name="T7" fmla="*/ 4 h 8"/>
                <a:gd name="T8" fmla="*/ 4 w 4"/>
                <a:gd name="T9" fmla="*/ 1 h 8"/>
                <a:gd name="T10" fmla="*/ 3 w 4"/>
                <a:gd name="T11" fmla="*/ 0 h 8"/>
                <a:gd name="T12" fmla="*/ 0 w 4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8">
                  <a:moveTo>
                    <a:pt x="2" y="8"/>
                  </a:moveTo>
                  <a:lnTo>
                    <a:pt x="2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09" name="Freeform 257"/>
            <p:cNvSpPr>
              <a:spLocks/>
            </p:cNvSpPr>
            <p:nvPr/>
          </p:nvSpPr>
          <p:spPr bwMode="auto">
            <a:xfrm>
              <a:off x="4239841" y="3138731"/>
              <a:ext cx="2442" cy="6615"/>
            </a:xfrm>
            <a:custGeom>
              <a:avLst/>
              <a:gdLst>
                <a:gd name="T0" fmla="*/ 3 w 4"/>
                <a:gd name="T1" fmla="*/ 0 h 10"/>
                <a:gd name="T2" fmla="*/ 3 w 4"/>
                <a:gd name="T3" fmla="*/ 2 h 10"/>
                <a:gd name="T4" fmla="*/ 1 w 4"/>
                <a:gd name="T5" fmla="*/ 5 h 10"/>
                <a:gd name="T6" fmla="*/ 0 w 4"/>
                <a:gd name="T7" fmla="*/ 7 h 10"/>
                <a:gd name="T8" fmla="*/ 0 w 4"/>
                <a:gd name="T9" fmla="*/ 10 h 10"/>
                <a:gd name="T10" fmla="*/ 1 w 4"/>
                <a:gd name="T11" fmla="*/ 10 h 10"/>
                <a:gd name="T12" fmla="*/ 3 w 4"/>
                <a:gd name="T13" fmla="*/ 9 h 10"/>
                <a:gd name="T14" fmla="*/ 4 w 4"/>
                <a:gd name="T15" fmla="*/ 7 h 10"/>
                <a:gd name="T16" fmla="*/ 4 w 4"/>
                <a:gd name="T17" fmla="*/ 5 h 10"/>
                <a:gd name="T18" fmla="*/ 4 w 4"/>
                <a:gd name="T19" fmla="*/ 3 h 10"/>
                <a:gd name="T20" fmla="*/ 4 w 4"/>
                <a:gd name="T21" fmla="*/ 2 h 10"/>
                <a:gd name="T22" fmla="*/ 3 w 4"/>
                <a:gd name="T2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10">
                  <a:moveTo>
                    <a:pt x="3" y="0"/>
                  </a:moveTo>
                  <a:lnTo>
                    <a:pt x="3" y="2"/>
                  </a:lnTo>
                  <a:lnTo>
                    <a:pt x="1" y="5"/>
                  </a:lnTo>
                  <a:lnTo>
                    <a:pt x="0" y="7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3" y="9"/>
                  </a:lnTo>
                  <a:lnTo>
                    <a:pt x="4" y="7"/>
                  </a:lnTo>
                  <a:lnTo>
                    <a:pt x="4" y="5"/>
                  </a:lnTo>
                  <a:lnTo>
                    <a:pt x="4" y="3"/>
                  </a:lnTo>
                  <a:lnTo>
                    <a:pt x="4" y="2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ECEC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10" name="Freeform 258"/>
            <p:cNvSpPr>
              <a:spLocks/>
            </p:cNvSpPr>
            <p:nvPr/>
          </p:nvSpPr>
          <p:spPr bwMode="auto">
            <a:xfrm>
              <a:off x="4239841" y="3138731"/>
              <a:ext cx="2442" cy="6615"/>
            </a:xfrm>
            <a:custGeom>
              <a:avLst/>
              <a:gdLst>
                <a:gd name="T0" fmla="*/ 3 w 4"/>
                <a:gd name="T1" fmla="*/ 0 h 10"/>
                <a:gd name="T2" fmla="*/ 3 w 4"/>
                <a:gd name="T3" fmla="*/ 2 h 10"/>
                <a:gd name="T4" fmla="*/ 1 w 4"/>
                <a:gd name="T5" fmla="*/ 5 h 10"/>
                <a:gd name="T6" fmla="*/ 0 w 4"/>
                <a:gd name="T7" fmla="*/ 7 h 10"/>
                <a:gd name="T8" fmla="*/ 0 w 4"/>
                <a:gd name="T9" fmla="*/ 10 h 10"/>
                <a:gd name="T10" fmla="*/ 1 w 4"/>
                <a:gd name="T11" fmla="*/ 10 h 10"/>
                <a:gd name="T12" fmla="*/ 3 w 4"/>
                <a:gd name="T13" fmla="*/ 9 h 10"/>
                <a:gd name="T14" fmla="*/ 4 w 4"/>
                <a:gd name="T15" fmla="*/ 7 h 10"/>
                <a:gd name="T16" fmla="*/ 4 w 4"/>
                <a:gd name="T17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10">
                  <a:moveTo>
                    <a:pt x="3" y="0"/>
                  </a:moveTo>
                  <a:lnTo>
                    <a:pt x="3" y="2"/>
                  </a:lnTo>
                  <a:lnTo>
                    <a:pt x="1" y="5"/>
                  </a:lnTo>
                  <a:lnTo>
                    <a:pt x="0" y="7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3" y="9"/>
                  </a:lnTo>
                  <a:lnTo>
                    <a:pt x="4" y="7"/>
                  </a:lnTo>
                  <a:lnTo>
                    <a:pt x="4" y="6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11" name="Freeform 259"/>
            <p:cNvSpPr>
              <a:spLocks/>
            </p:cNvSpPr>
            <p:nvPr/>
          </p:nvSpPr>
          <p:spPr bwMode="auto">
            <a:xfrm>
              <a:off x="4231293" y="3144022"/>
              <a:ext cx="4885" cy="7937"/>
            </a:xfrm>
            <a:custGeom>
              <a:avLst/>
              <a:gdLst>
                <a:gd name="T0" fmla="*/ 1 w 7"/>
                <a:gd name="T1" fmla="*/ 0 h 13"/>
                <a:gd name="T2" fmla="*/ 0 w 7"/>
                <a:gd name="T3" fmla="*/ 1 h 13"/>
                <a:gd name="T4" fmla="*/ 0 w 7"/>
                <a:gd name="T5" fmla="*/ 6 h 13"/>
                <a:gd name="T6" fmla="*/ 0 w 7"/>
                <a:gd name="T7" fmla="*/ 6 h 13"/>
                <a:gd name="T8" fmla="*/ 1 w 7"/>
                <a:gd name="T9" fmla="*/ 8 h 13"/>
                <a:gd name="T10" fmla="*/ 1 w 7"/>
                <a:gd name="T11" fmla="*/ 11 h 13"/>
                <a:gd name="T12" fmla="*/ 4 w 7"/>
                <a:gd name="T13" fmla="*/ 13 h 13"/>
                <a:gd name="T14" fmla="*/ 6 w 7"/>
                <a:gd name="T15" fmla="*/ 13 h 13"/>
                <a:gd name="T16" fmla="*/ 6 w 7"/>
                <a:gd name="T17" fmla="*/ 10 h 13"/>
                <a:gd name="T18" fmla="*/ 7 w 7"/>
                <a:gd name="T19" fmla="*/ 8 h 13"/>
                <a:gd name="T20" fmla="*/ 7 w 7"/>
                <a:gd name="T21" fmla="*/ 4 h 13"/>
                <a:gd name="T22" fmla="*/ 7 w 7"/>
                <a:gd name="T23" fmla="*/ 0 h 13"/>
                <a:gd name="T24" fmla="*/ 6 w 7"/>
                <a:gd name="T25" fmla="*/ 0 h 13"/>
                <a:gd name="T26" fmla="*/ 1 w 7"/>
                <a:gd name="T2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" h="13">
                  <a:moveTo>
                    <a:pt x="1" y="0"/>
                  </a:moveTo>
                  <a:lnTo>
                    <a:pt x="0" y="1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10"/>
                  </a:lnTo>
                  <a:lnTo>
                    <a:pt x="7" y="8"/>
                  </a:lnTo>
                  <a:lnTo>
                    <a:pt x="7" y="4"/>
                  </a:lnTo>
                  <a:lnTo>
                    <a:pt x="7" y="0"/>
                  </a:lnTo>
                  <a:lnTo>
                    <a:pt x="6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CEC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12" name="Freeform 260"/>
            <p:cNvSpPr>
              <a:spLocks/>
            </p:cNvSpPr>
            <p:nvPr/>
          </p:nvSpPr>
          <p:spPr bwMode="auto">
            <a:xfrm>
              <a:off x="4231293" y="3144022"/>
              <a:ext cx="3663" cy="7937"/>
            </a:xfrm>
            <a:custGeom>
              <a:avLst/>
              <a:gdLst>
                <a:gd name="T0" fmla="*/ 1 w 6"/>
                <a:gd name="T1" fmla="*/ 0 h 13"/>
                <a:gd name="T2" fmla="*/ 0 w 6"/>
                <a:gd name="T3" fmla="*/ 1 h 13"/>
                <a:gd name="T4" fmla="*/ 0 w 6"/>
                <a:gd name="T5" fmla="*/ 6 h 13"/>
                <a:gd name="T6" fmla="*/ 0 w 6"/>
                <a:gd name="T7" fmla="*/ 6 h 13"/>
                <a:gd name="T8" fmla="*/ 1 w 6"/>
                <a:gd name="T9" fmla="*/ 8 h 13"/>
                <a:gd name="T10" fmla="*/ 1 w 6"/>
                <a:gd name="T11" fmla="*/ 11 h 13"/>
                <a:gd name="T12" fmla="*/ 4 w 6"/>
                <a:gd name="T13" fmla="*/ 13 h 13"/>
                <a:gd name="T14" fmla="*/ 6 w 6"/>
                <a:gd name="T15" fmla="*/ 13 h 13"/>
                <a:gd name="T16" fmla="*/ 6 w 6"/>
                <a:gd name="T17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3">
                  <a:moveTo>
                    <a:pt x="1" y="0"/>
                  </a:moveTo>
                  <a:lnTo>
                    <a:pt x="0" y="1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11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13" name="Freeform 261"/>
            <p:cNvSpPr>
              <a:spLocks/>
            </p:cNvSpPr>
            <p:nvPr/>
          </p:nvSpPr>
          <p:spPr bwMode="auto">
            <a:xfrm>
              <a:off x="4232514" y="3144022"/>
              <a:ext cx="3663" cy="0"/>
            </a:xfrm>
            <a:custGeom>
              <a:avLst/>
              <a:gdLst>
                <a:gd name="T0" fmla="*/ 6 w 6"/>
                <a:gd name="T1" fmla="*/ 5 w 6"/>
                <a:gd name="T2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5" y="0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14" name="Freeform 262"/>
            <p:cNvSpPr>
              <a:spLocks/>
            </p:cNvSpPr>
            <p:nvPr/>
          </p:nvSpPr>
          <p:spPr bwMode="auto">
            <a:xfrm>
              <a:off x="4231293" y="3087138"/>
              <a:ext cx="3663" cy="5292"/>
            </a:xfrm>
            <a:custGeom>
              <a:avLst/>
              <a:gdLst>
                <a:gd name="T0" fmla="*/ 2 w 7"/>
                <a:gd name="T1" fmla="*/ 7 h 7"/>
                <a:gd name="T2" fmla="*/ 5 w 7"/>
                <a:gd name="T3" fmla="*/ 7 h 7"/>
                <a:gd name="T4" fmla="*/ 7 w 7"/>
                <a:gd name="T5" fmla="*/ 6 h 7"/>
                <a:gd name="T6" fmla="*/ 7 w 7"/>
                <a:gd name="T7" fmla="*/ 4 h 7"/>
                <a:gd name="T8" fmla="*/ 4 w 7"/>
                <a:gd name="T9" fmla="*/ 3 h 7"/>
                <a:gd name="T10" fmla="*/ 4 w 7"/>
                <a:gd name="T11" fmla="*/ 1 h 7"/>
                <a:gd name="T12" fmla="*/ 2 w 7"/>
                <a:gd name="T13" fmla="*/ 1 h 7"/>
                <a:gd name="T14" fmla="*/ 1 w 7"/>
                <a:gd name="T15" fmla="*/ 0 h 7"/>
                <a:gd name="T16" fmla="*/ 0 w 7"/>
                <a:gd name="T17" fmla="*/ 1 h 7"/>
                <a:gd name="T18" fmla="*/ 0 w 7"/>
                <a:gd name="T19" fmla="*/ 6 h 7"/>
                <a:gd name="T20" fmla="*/ 0 w 7"/>
                <a:gd name="T21" fmla="*/ 7 h 7"/>
                <a:gd name="T22" fmla="*/ 2 w 7"/>
                <a:gd name="T2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2" y="7"/>
                  </a:moveTo>
                  <a:lnTo>
                    <a:pt x="5" y="7"/>
                  </a:lnTo>
                  <a:lnTo>
                    <a:pt x="7" y="6"/>
                  </a:lnTo>
                  <a:lnTo>
                    <a:pt x="7" y="4"/>
                  </a:lnTo>
                  <a:lnTo>
                    <a:pt x="4" y="3"/>
                  </a:lnTo>
                  <a:lnTo>
                    <a:pt x="4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6"/>
                  </a:lnTo>
                  <a:lnTo>
                    <a:pt x="0" y="7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ECEC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15" name="Freeform 263"/>
            <p:cNvSpPr>
              <a:spLocks/>
            </p:cNvSpPr>
            <p:nvPr/>
          </p:nvSpPr>
          <p:spPr bwMode="auto">
            <a:xfrm>
              <a:off x="4231293" y="3087138"/>
              <a:ext cx="3663" cy="5292"/>
            </a:xfrm>
            <a:custGeom>
              <a:avLst/>
              <a:gdLst>
                <a:gd name="T0" fmla="*/ 2 w 7"/>
                <a:gd name="T1" fmla="*/ 7 h 7"/>
                <a:gd name="T2" fmla="*/ 5 w 7"/>
                <a:gd name="T3" fmla="*/ 7 h 7"/>
                <a:gd name="T4" fmla="*/ 7 w 7"/>
                <a:gd name="T5" fmla="*/ 6 h 7"/>
                <a:gd name="T6" fmla="*/ 7 w 7"/>
                <a:gd name="T7" fmla="*/ 4 h 7"/>
                <a:gd name="T8" fmla="*/ 4 w 7"/>
                <a:gd name="T9" fmla="*/ 3 h 7"/>
                <a:gd name="T10" fmla="*/ 4 w 7"/>
                <a:gd name="T11" fmla="*/ 1 h 7"/>
                <a:gd name="T12" fmla="*/ 2 w 7"/>
                <a:gd name="T13" fmla="*/ 1 h 7"/>
                <a:gd name="T14" fmla="*/ 1 w 7"/>
                <a:gd name="T15" fmla="*/ 0 h 7"/>
                <a:gd name="T16" fmla="*/ 0 w 7"/>
                <a:gd name="T17" fmla="*/ 1 h 7"/>
                <a:gd name="T18" fmla="*/ 0 w 7"/>
                <a:gd name="T1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7">
                  <a:moveTo>
                    <a:pt x="2" y="7"/>
                  </a:moveTo>
                  <a:lnTo>
                    <a:pt x="5" y="7"/>
                  </a:lnTo>
                  <a:lnTo>
                    <a:pt x="7" y="6"/>
                  </a:lnTo>
                  <a:lnTo>
                    <a:pt x="7" y="4"/>
                  </a:lnTo>
                  <a:lnTo>
                    <a:pt x="4" y="3"/>
                  </a:lnTo>
                  <a:lnTo>
                    <a:pt x="4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4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16" name="Freeform 264"/>
            <p:cNvSpPr>
              <a:spLocks/>
            </p:cNvSpPr>
            <p:nvPr/>
          </p:nvSpPr>
          <p:spPr bwMode="auto">
            <a:xfrm>
              <a:off x="4149476" y="3125502"/>
              <a:ext cx="24423" cy="11906"/>
            </a:xfrm>
            <a:custGeom>
              <a:avLst/>
              <a:gdLst>
                <a:gd name="T0" fmla="*/ 36 w 40"/>
                <a:gd name="T1" fmla="*/ 15 h 19"/>
                <a:gd name="T2" fmla="*/ 32 w 40"/>
                <a:gd name="T3" fmla="*/ 13 h 19"/>
                <a:gd name="T4" fmla="*/ 25 w 40"/>
                <a:gd name="T5" fmla="*/ 7 h 19"/>
                <a:gd name="T6" fmla="*/ 22 w 40"/>
                <a:gd name="T7" fmla="*/ 5 h 19"/>
                <a:gd name="T8" fmla="*/ 19 w 40"/>
                <a:gd name="T9" fmla="*/ 3 h 19"/>
                <a:gd name="T10" fmla="*/ 15 w 40"/>
                <a:gd name="T11" fmla="*/ 2 h 19"/>
                <a:gd name="T12" fmla="*/ 9 w 40"/>
                <a:gd name="T13" fmla="*/ 2 h 19"/>
                <a:gd name="T14" fmla="*/ 5 w 40"/>
                <a:gd name="T15" fmla="*/ 0 h 19"/>
                <a:gd name="T16" fmla="*/ 2 w 40"/>
                <a:gd name="T17" fmla="*/ 0 h 19"/>
                <a:gd name="T18" fmla="*/ 0 w 40"/>
                <a:gd name="T19" fmla="*/ 0 h 19"/>
                <a:gd name="T20" fmla="*/ 0 w 40"/>
                <a:gd name="T21" fmla="*/ 3 h 19"/>
                <a:gd name="T22" fmla="*/ 2 w 40"/>
                <a:gd name="T23" fmla="*/ 5 h 19"/>
                <a:gd name="T24" fmla="*/ 5 w 40"/>
                <a:gd name="T25" fmla="*/ 6 h 19"/>
                <a:gd name="T26" fmla="*/ 7 w 40"/>
                <a:gd name="T27" fmla="*/ 7 h 19"/>
                <a:gd name="T28" fmla="*/ 13 w 40"/>
                <a:gd name="T29" fmla="*/ 7 h 19"/>
                <a:gd name="T30" fmla="*/ 16 w 40"/>
                <a:gd name="T31" fmla="*/ 7 h 19"/>
                <a:gd name="T32" fmla="*/ 20 w 40"/>
                <a:gd name="T33" fmla="*/ 9 h 19"/>
                <a:gd name="T34" fmla="*/ 22 w 40"/>
                <a:gd name="T35" fmla="*/ 10 h 19"/>
                <a:gd name="T36" fmla="*/ 26 w 40"/>
                <a:gd name="T37" fmla="*/ 13 h 19"/>
                <a:gd name="T38" fmla="*/ 29 w 40"/>
                <a:gd name="T39" fmla="*/ 16 h 19"/>
                <a:gd name="T40" fmla="*/ 33 w 40"/>
                <a:gd name="T41" fmla="*/ 17 h 19"/>
                <a:gd name="T42" fmla="*/ 36 w 40"/>
                <a:gd name="T43" fmla="*/ 19 h 19"/>
                <a:gd name="T44" fmla="*/ 39 w 40"/>
                <a:gd name="T45" fmla="*/ 19 h 19"/>
                <a:gd name="T46" fmla="*/ 40 w 40"/>
                <a:gd name="T47" fmla="*/ 17 h 19"/>
                <a:gd name="T48" fmla="*/ 40 w 40"/>
                <a:gd name="T49" fmla="*/ 17 h 19"/>
                <a:gd name="T50" fmla="*/ 40 w 40"/>
                <a:gd name="T51" fmla="*/ 15 h 19"/>
                <a:gd name="T52" fmla="*/ 36 w 40"/>
                <a:gd name="T53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19">
                  <a:moveTo>
                    <a:pt x="36" y="15"/>
                  </a:moveTo>
                  <a:lnTo>
                    <a:pt x="32" y="13"/>
                  </a:lnTo>
                  <a:lnTo>
                    <a:pt x="25" y="7"/>
                  </a:lnTo>
                  <a:lnTo>
                    <a:pt x="22" y="5"/>
                  </a:lnTo>
                  <a:lnTo>
                    <a:pt x="19" y="3"/>
                  </a:lnTo>
                  <a:lnTo>
                    <a:pt x="15" y="2"/>
                  </a:lnTo>
                  <a:lnTo>
                    <a:pt x="9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5"/>
                  </a:lnTo>
                  <a:lnTo>
                    <a:pt x="5" y="6"/>
                  </a:lnTo>
                  <a:lnTo>
                    <a:pt x="7" y="7"/>
                  </a:lnTo>
                  <a:lnTo>
                    <a:pt x="13" y="7"/>
                  </a:lnTo>
                  <a:lnTo>
                    <a:pt x="16" y="7"/>
                  </a:lnTo>
                  <a:lnTo>
                    <a:pt x="20" y="9"/>
                  </a:lnTo>
                  <a:lnTo>
                    <a:pt x="22" y="10"/>
                  </a:lnTo>
                  <a:lnTo>
                    <a:pt x="26" y="13"/>
                  </a:lnTo>
                  <a:lnTo>
                    <a:pt x="29" y="16"/>
                  </a:lnTo>
                  <a:lnTo>
                    <a:pt x="33" y="17"/>
                  </a:lnTo>
                  <a:lnTo>
                    <a:pt x="36" y="19"/>
                  </a:lnTo>
                  <a:lnTo>
                    <a:pt x="39" y="19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5"/>
                  </a:lnTo>
                  <a:lnTo>
                    <a:pt x="36" y="15"/>
                  </a:lnTo>
                  <a:close/>
                </a:path>
              </a:pathLst>
            </a:custGeom>
            <a:solidFill>
              <a:srgbClr val="ECEC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17" name="Freeform 265"/>
            <p:cNvSpPr>
              <a:spLocks/>
            </p:cNvSpPr>
            <p:nvPr/>
          </p:nvSpPr>
          <p:spPr bwMode="auto">
            <a:xfrm>
              <a:off x="4162909" y="3128148"/>
              <a:ext cx="8548" cy="6615"/>
            </a:xfrm>
            <a:custGeom>
              <a:avLst/>
              <a:gdLst>
                <a:gd name="T0" fmla="*/ 14 w 14"/>
                <a:gd name="T1" fmla="*/ 9 h 9"/>
                <a:gd name="T2" fmla="*/ 10 w 14"/>
                <a:gd name="T3" fmla="*/ 7 h 9"/>
                <a:gd name="T4" fmla="*/ 3 w 14"/>
                <a:gd name="T5" fmla="*/ 1 h 9"/>
                <a:gd name="T6" fmla="*/ 0 w 14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9">
                  <a:moveTo>
                    <a:pt x="14" y="9"/>
                  </a:moveTo>
                  <a:lnTo>
                    <a:pt x="10" y="7"/>
                  </a:lnTo>
                  <a:lnTo>
                    <a:pt x="3" y="1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18" name="Freeform 266"/>
            <p:cNvSpPr>
              <a:spLocks/>
            </p:cNvSpPr>
            <p:nvPr/>
          </p:nvSpPr>
          <p:spPr bwMode="auto">
            <a:xfrm>
              <a:off x="4149476" y="3125502"/>
              <a:ext cx="6106" cy="2646"/>
            </a:xfrm>
            <a:custGeom>
              <a:avLst/>
              <a:gdLst>
                <a:gd name="T0" fmla="*/ 10 w 10"/>
                <a:gd name="T1" fmla="*/ 2 h 5"/>
                <a:gd name="T2" fmla="*/ 9 w 10"/>
                <a:gd name="T3" fmla="*/ 2 h 5"/>
                <a:gd name="T4" fmla="*/ 5 w 10"/>
                <a:gd name="T5" fmla="*/ 0 h 5"/>
                <a:gd name="T6" fmla="*/ 2 w 10"/>
                <a:gd name="T7" fmla="*/ 0 h 5"/>
                <a:gd name="T8" fmla="*/ 0 w 10"/>
                <a:gd name="T9" fmla="*/ 0 h 5"/>
                <a:gd name="T10" fmla="*/ 0 w 10"/>
                <a:gd name="T11" fmla="*/ 3 h 5"/>
                <a:gd name="T12" fmla="*/ 2 w 10"/>
                <a:gd name="T13" fmla="*/ 5 h 5"/>
                <a:gd name="T14" fmla="*/ 2 w 10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5">
                  <a:moveTo>
                    <a:pt x="10" y="2"/>
                  </a:moveTo>
                  <a:lnTo>
                    <a:pt x="9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5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19" name="Freeform 267"/>
            <p:cNvSpPr>
              <a:spLocks/>
            </p:cNvSpPr>
            <p:nvPr/>
          </p:nvSpPr>
          <p:spPr bwMode="auto">
            <a:xfrm>
              <a:off x="4158024" y="3129470"/>
              <a:ext cx="8548" cy="5292"/>
            </a:xfrm>
            <a:custGeom>
              <a:avLst/>
              <a:gdLst>
                <a:gd name="T0" fmla="*/ 0 w 15"/>
                <a:gd name="T1" fmla="*/ 0 h 8"/>
                <a:gd name="T2" fmla="*/ 3 w 15"/>
                <a:gd name="T3" fmla="*/ 0 h 8"/>
                <a:gd name="T4" fmla="*/ 7 w 15"/>
                <a:gd name="T5" fmla="*/ 2 h 8"/>
                <a:gd name="T6" fmla="*/ 9 w 15"/>
                <a:gd name="T7" fmla="*/ 3 h 8"/>
                <a:gd name="T8" fmla="*/ 13 w 15"/>
                <a:gd name="T9" fmla="*/ 6 h 8"/>
                <a:gd name="T10" fmla="*/ 15 w 15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8">
                  <a:moveTo>
                    <a:pt x="0" y="0"/>
                  </a:moveTo>
                  <a:lnTo>
                    <a:pt x="3" y="0"/>
                  </a:lnTo>
                  <a:lnTo>
                    <a:pt x="7" y="2"/>
                  </a:lnTo>
                  <a:lnTo>
                    <a:pt x="9" y="3"/>
                  </a:lnTo>
                  <a:lnTo>
                    <a:pt x="13" y="6"/>
                  </a:lnTo>
                  <a:lnTo>
                    <a:pt x="15" y="8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20" name="Freeform 268"/>
            <p:cNvSpPr>
              <a:spLocks/>
            </p:cNvSpPr>
            <p:nvPr/>
          </p:nvSpPr>
          <p:spPr bwMode="auto">
            <a:xfrm>
              <a:off x="4171457" y="3134762"/>
              <a:ext cx="2442" cy="2646"/>
            </a:xfrm>
            <a:custGeom>
              <a:avLst/>
              <a:gdLst>
                <a:gd name="T0" fmla="*/ 3 w 4"/>
                <a:gd name="T1" fmla="*/ 4 h 4"/>
                <a:gd name="T2" fmla="*/ 3 w 4"/>
                <a:gd name="T3" fmla="*/ 4 h 4"/>
                <a:gd name="T4" fmla="*/ 4 w 4"/>
                <a:gd name="T5" fmla="*/ 2 h 4"/>
                <a:gd name="T6" fmla="*/ 4 w 4"/>
                <a:gd name="T7" fmla="*/ 2 h 4"/>
                <a:gd name="T8" fmla="*/ 4 w 4"/>
                <a:gd name="T9" fmla="*/ 0 h 4"/>
                <a:gd name="T10" fmla="*/ 0 w 4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3" y="4"/>
                  </a:moveTo>
                  <a:lnTo>
                    <a:pt x="3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21" name="Freeform 269"/>
            <p:cNvSpPr>
              <a:spLocks/>
            </p:cNvSpPr>
            <p:nvPr/>
          </p:nvSpPr>
          <p:spPr bwMode="auto">
            <a:xfrm>
              <a:off x="4137265" y="3112273"/>
              <a:ext cx="4885" cy="2646"/>
            </a:xfrm>
            <a:custGeom>
              <a:avLst/>
              <a:gdLst>
                <a:gd name="T0" fmla="*/ 5 w 9"/>
                <a:gd name="T1" fmla="*/ 2 h 6"/>
                <a:gd name="T2" fmla="*/ 2 w 9"/>
                <a:gd name="T3" fmla="*/ 0 h 6"/>
                <a:gd name="T4" fmla="*/ 0 w 9"/>
                <a:gd name="T5" fmla="*/ 0 h 6"/>
                <a:gd name="T6" fmla="*/ 0 w 9"/>
                <a:gd name="T7" fmla="*/ 2 h 6"/>
                <a:gd name="T8" fmla="*/ 0 w 9"/>
                <a:gd name="T9" fmla="*/ 3 h 6"/>
                <a:gd name="T10" fmla="*/ 2 w 9"/>
                <a:gd name="T11" fmla="*/ 4 h 6"/>
                <a:gd name="T12" fmla="*/ 3 w 9"/>
                <a:gd name="T13" fmla="*/ 6 h 6"/>
                <a:gd name="T14" fmla="*/ 6 w 9"/>
                <a:gd name="T15" fmla="*/ 6 h 6"/>
                <a:gd name="T16" fmla="*/ 7 w 9"/>
                <a:gd name="T17" fmla="*/ 6 h 6"/>
                <a:gd name="T18" fmla="*/ 9 w 9"/>
                <a:gd name="T19" fmla="*/ 4 h 6"/>
                <a:gd name="T20" fmla="*/ 6 w 9"/>
                <a:gd name="T21" fmla="*/ 3 h 6"/>
                <a:gd name="T22" fmla="*/ 5 w 9"/>
                <a:gd name="T2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6">
                  <a:moveTo>
                    <a:pt x="5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2" y="4"/>
                  </a:lnTo>
                  <a:lnTo>
                    <a:pt x="3" y="6"/>
                  </a:lnTo>
                  <a:lnTo>
                    <a:pt x="6" y="6"/>
                  </a:lnTo>
                  <a:lnTo>
                    <a:pt x="7" y="6"/>
                  </a:lnTo>
                  <a:lnTo>
                    <a:pt x="9" y="4"/>
                  </a:lnTo>
                  <a:lnTo>
                    <a:pt x="6" y="3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ECEC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22" name="Freeform 270"/>
            <p:cNvSpPr>
              <a:spLocks/>
            </p:cNvSpPr>
            <p:nvPr/>
          </p:nvSpPr>
          <p:spPr bwMode="auto">
            <a:xfrm>
              <a:off x="4137265" y="3112273"/>
              <a:ext cx="4885" cy="2646"/>
            </a:xfrm>
            <a:custGeom>
              <a:avLst/>
              <a:gdLst>
                <a:gd name="T0" fmla="*/ 5 w 9"/>
                <a:gd name="T1" fmla="*/ 2 h 6"/>
                <a:gd name="T2" fmla="*/ 2 w 9"/>
                <a:gd name="T3" fmla="*/ 0 h 6"/>
                <a:gd name="T4" fmla="*/ 0 w 9"/>
                <a:gd name="T5" fmla="*/ 0 h 6"/>
                <a:gd name="T6" fmla="*/ 0 w 9"/>
                <a:gd name="T7" fmla="*/ 2 h 6"/>
                <a:gd name="T8" fmla="*/ 0 w 9"/>
                <a:gd name="T9" fmla="*/ 3 h 6"/>
                <a:gd name="T10" fmla="*/ 2 w 9"/>
                <a:gd name="T11" fmla="*/ 4 h 6"/>
                <a:gd name="T12" fmla="*/ 3 w 9"/>
                <a:gd name="T13" fmla="*/ 6 h 6"/>
                <a:gd name="T14" fmla="*/ 6 w 9"/>
                <a:gd name="T15" fmla="*/ 6 h 6"/>
                <a:gd name="T16" fmla="*/ 7 w 9"/>
                <a:gd name="T17" fmla="*/ 6 h 6"/>
                <a:gd name="T18" fmla="*/ 9 w 9"/>
                <a:gd name="T19" fmla="*/ 4 h 6"/>
                <a:gd name="T20" fmla="*/ 9 w 9"/>
                <a:gd name="T2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6">
                  <a:moveTo>
                    <a:pt x="5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2" y="4"/>
                  </a:lnTo>
                  <a:lnTo>
                    <a:pt x="3" y="6"/>
                  </a:lnTo>
                  <a:lnTo>
                    <a:pt x="6" y="6"/>
                  </a:lnTo>
                  <a:lnTo>
                    <a:pt x="7" y="6"/>
                  </a:lnTo>
                  <a:lnTo>
                    <a:pt x="9" y="4"/>
                  </a:lnTo>
                  <a:lnTo>
                    <a:pt x="9" y="4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23" name="Freeform 271"/>
            <p:cNvSpPr>
              <a:spLocks/>
            </p:cNvSpPr>
            <p:nvPr/>
          </p:nvSpPr>
          <p:spPr bwMode="auto">
            <a:xfrm>
              <a:off x="4136044" y="3103012"/>
              <a:ext cx="3663" cy="2646"/>
            </a:xfrm>
            <a:custGeom>
              <a:avLst/>
              <a:gdLst>
                <a:gd name="T0" fmla="*/ 3 w 4"/>
                <a:gd name="T1" fmla="*/ 3 h 3"/>
                <a:gd name="T2" fmla="*/ 3 w 4"/>
                <a:gd name="T3" fmla="*/ 3 h 3"/>
                <a:gd name="T4" fmla="*/ 4 w 4"/>
                <a:gd name="T5" fmla="*/ 3 h 3"/>
                <a:gd name="T6" fmla="*/ 4 w 4"/>
                <a:gd name="T7" fmla="*/ 2 h 3"/>
                <a:gd name="T8" fmla="*/ 3 w 4"/>
                <a:gd name="T9" fmla="*/ 0 h 3"/>
                <a:gd name="T10" fmla="*/ 3 w 4"/>
                <a:gd name="T11" fmla="*/ 0 h 3"/>
                <a:gd name="T12" fmla="*/ 1 w 4"/>
                <a:gd name="T13" fmla="*/ 0 h 3"/>
                <a:gd name="T14" fmla="*/ 0 w 4"/>
                <a:gd name="T15" fmla="*/ 2 h 3"/>
                <a:gd name="T16" fmla="*/ 0 w 4"/>
                <a:gd name="T17" fmla="*/ 2 h 3"/>
                <a:gd name="T18" fmla="*/ 1 w 4"/>
                <a:gd name="T19" fmla="*/ 3 h 3"/>
                <a:gd name="T20" fmla="*/ 3 w 4"/>
                <a:gd name="T2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3">
                  <a:moveTo>
                    <a:pt x="3" y="3"/>
                  </a:moveTo>
                  <a:lnTo>
                    <a:pt x="3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ECEC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24" name="Freeform 272"/>
            <p:cNvSpPr>
              <a:spLocks/>
            </p:cNvSpPr>
            <p:nvPr/>
          </p:nvSpPr>
          <p:spPr bwMode="auto">
            <a:xfrm>
              <a:off x="4136044" y="3103012"/>
              <a:ext cx="3663" cy="2646"/>
            </a:xfrm>
            <a:custGeom>
              <a:avLst/>
              <a:gdLst>
                <a:gd name="T0" fmla="*/ 3 w 4"/>
                <a:gd name="T1" fmla="*/ 3 h 3"/>
                <a:gd name="T2" fmla="*/ 3 w 4"/>
                <a:gd name="T3" fmla="*/ 3 h 3"/>
                <a:gd name="T4" fmla="*/ 4 w 4"/>
                <a:gd name="T5" fmla="*/ 3 h 3"/>
                <a:gd name="T6" fmla="*/ 4 w 4"/>
                <a:gd name="T7" fmla="*/ 2 h 3"/>
                <a:gd name="T8" fmla="*/ 3 w 4"/>
                <a:gd name="T9" fmla="*/ 0 h 3"/>
                <a:gd name="T10" fmla="*/ 3 w 4"/>
                <a:gd name="T11" fmla="*/ 0 h 3"/>
                <a:gd name="T12" fmla="*/ 1 w 4"/>
                <a:gd name="T13" fmla="*/ 0 h 3"/>
                <a:gd name="T14" fmla="*/ 0 w 4"/>
                <a:gd name="T15" fmla="*/ 2 h 3"/>
                <a:gd name="T16" fmla="*/ 0 w 4"/>
                <a:gd name="T17" fmla="*/ 2 h 3"/>
                <a:gd name="T18" fmla="*/ 1 w 4"/>
                <a:gd name="T19" fmla="*/ 3 h 3"/>
                <a:gd name="T20" fmla="*/ 3 w 4"/>
                <a:gd name="T2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3">
                  <a:moveTo>
                    <a:pt x="3" y="3"/>
                  </a:moveTo>
                  <a:lnTo>
                    <a:pt x="3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3" y="3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25" name="Freeform 273"/>
            <p:cNvSpPr>
              <a:spLocks/>
            </p:cNvSpPr>
            <p:nvPr/>
          </p:nvSpPr>
          <p:spPr bwMode="auto">
            <a:xfrm>
              <a:off x="4107958" y="3060679"/>
              <a:ext cx="8548" cy="11906"/>
            </a:xfrm>
            <a:custGeom>
              <a:avLst/>
              <a:gdLst>
                <a:gd name="T0" fmla="*/ 12 w 14"/>
                <a:gd name="T1" fmla="*/ 11 h 18"/>
                <a:gd name="T2" fmla="*/ 11 w 14"/>
                <a:gd name="T3" fmla="*/ 7 h 18"/>
                <a:gd name="T4" fmla="*/ 10 w 14"/>
                <a:gd name="T5" fmla="*/ 4 h 18"/>
                <a:gd name="T6" fmla="*/ 8 w 14"/>
                <a:gd name="T7" fmla="*/ 1 h 18"/>
                <a:gd name="T8" fmla="*/ 5 w 14"/>
                <a:gd name="T9" fmla="*/ 1 h 18"/>
                <a:gd name="T10" fmla="*/ 1 w 14"/>
                <a:gd name="T11" fmla="*/ 0 h 18"/>
                <a:gd name="T12" fmla="*/ 0 w 14"/>
                <a:gd name="T13" fmla="*/ 0 h 18"/>
                <a:gd name="T14" fmla="*/ 0 w 14"/>
                <a:gd name="T15" fmla="*/ 1 h 18"/>
                <a:gd name="T16" fmla="*/ 1 w 14"/>
                <a:gd name="T17" fmla="*/ 3 h 18"/>
                <a:gd name="T18" fmla="*/ 5 w 14"/>
                <a:gd name="T19" fmla="*/ 3 h 18"/>
                <a:gd name="T20" fmla="*/ 7 w 14"/>
                <a:gd name="T21" fmla="*/ 4 h 18"/>
                <a:gd name="T22" fmla="*/ 8 w 14"/>
                <a:gd name="T23" fmla="*/ 7 h 18"/>
                <a:gd name="T24" fmla="*/ 8 w 14"/>
                <a:gd name="T25" fmla="*/ 11 h 18"/>
                <a:gd name="T26" fmla="*/ 10 w 14"/>
                <a:gd name="T27" fmla="*/ 14 h 18"/>
                <a:gd name="T28" fmla="*/ 10 w 14"/>
                <a:gd name="T29" fmla="*/ 16 h 18"/>
                <a:gd name="T30" fmla="*/ 11 w 14"/>
                <a:gd name="T31" fmla="*/ 18 h 18"/>
                <a:gd name="T32" fmla="*/ 12 w 14"/>
                <a:gd name="T33" fmla="*/ 18 h 18"/>
                <a:gd name="T34" fmla="*/ 14 w 14"/>
                <a:gd name="T35" fmla="*/ 17 h 18"/>
                <a:gd name="T36" fmla="*/ 12 w 14"/>
                <a:gd name="T37" fmla="*/ 14 h 18"/>
                <a:gd name="T38" fmla="*/ 12 w 14"/>
                <a:gd name="T39" fmla="*/ 1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18">
                  <a:moveTo>
                    <a:pt x="12" y="11"/>
                  </a:moveTo>
                  <a:lnTo>
                    <a:pt x="11" y="7"/>
                  </a:lnTo>
                  <a:lnTo>
                    <a:pt x="10" y="4"/>
                  </a:lnTo>
                  <a:lnTo>
                    <a:pt x="8" y="1"/>
                  </a:lnTo>
                  <a:lnTo>
                    <a:pt x="5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3"/>
                  </a:lnTo>
                  <a:lnTo>
                    <a:pt x="5" y="3"/>
                  </a:lnTo>
                  <a:lnTo>
                    <a:pt x="7" y="4"/>
                  </a:lnTo>
                  <a:lnTo>
                    <a:pt x="8" y="7"/>
                  </a:lnTo>
                  <a:lnTo>
                    <a:pt x="8" y="11"/>
                  </a:lnTo>
                  <a:lnTo>
                    <a:pt x="10" y="14"/>
                  </a:lnTo>
                  <a:lnTo>
                    <a:pt x="10" y="16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4" y="17"/>
                  </a:lnTo>
                  <a:lnTo>
                    <a:pt x="12" y="14"/>
                  </a:lnTo>
                  <a:lnTo>
                    <a:pt x="12" y="11"/>
                  </a:lnTo>
                  <a:close/>
                </a:path>
              </a:pathLst>
            </a:custGeom>
            <a:solidFill>
              <a:srgbClr val="ECEC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26" name="Freeform 274"/>
            <p:cNvSpPr>
              <a:spLocks/>
            </p:cNvSpPr>
            <p:nvPr/>
          </p:nvSpPr>
          <p:spPr bwMode="auto">
            <a:xfrm>
              <a:off x="4107958" y="3060679"/>
              <a:ext cx="7327" cy="7937"/>
            </a:xfrm>
            <a:custGeom>
              <a:avLst/>
              <a:gdLst>
                <a:gd name="T0" fmla="*/ 11 w 11"/>
                <a:gd name="T1" fmla="*/ 11 h 11"/>
                <a:gd name="T2" fmla="*/ 10 w 11"/>
                <a:gd name="T3" fmla="*/ 7 h 11"/>
                <a:gd name="T4" fmla="*/ 9 w 11"/>
                <a:gd name="T5" fmla="*/ 4 h 11"/>
                <a:gd name="T6" fmla="*/ 7 w 11"/>
                <a:gd name="T7" fmla="*/ 1 h 11"/>
                <a:gd name="T8" fmla="*/ 4 w 11"/>
                <a:gd name="T9" fmla="*/ 1 h 11"/>
                <a:gd name="T10" fmla="*/ 0 w 11"/>
                <a:gd name="T11" fmla="*/ 0 h 11"/>
                <a:gd name="T12" fmla="*/ 0 w 11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1">
                  <a:moveTo>
                    <a:pt x="11" y="11"/>
                  </a:moveTo>
                  <a:lnTo>
                    <a:pt x="10" y="7"/>
                  </a:lnTo>
                  <a:lnTo>
                    <a:pt x="9" y="4"/>
                  </a:lnTo>
                  <a:lnTo>
                    <a:pt x="7" y="1"/>
                  </a:lnTo>
                  <a:lnTo>
                    <a:pt x="4" y="1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27" name="Freeform 275"/>
            <p:cNvSpPr>
              <a:spLocks/>
            </p:cNvSpPr>
            <p:nvPr/>
          </p:nvSpPr>
          <p:spPr bwMode="auto">
            <a:xfrm>
              <a:off x="4111621" y="3063325"/>
              <a:ext cx="3663" cy="9260"/>
            </a:xfrm>
            <a:custGeom>
              <a:avLst/>
              <a:gdLst>
                <a:gd name="T0" fmla="*/ 0 w 7"/>
                <a:gd name="T1" fmla="*/ 0 h 14"/>
                <a:gd name="T2" fmla="*/ 2 w 7"/>
                <a:gd name="T3" fmla="*/ 0 h 14"/>
                <a:gd name="T4" fmla="*/ 3 w 7"/>
                <a:gd name="T5" fmla="*/ 3 h 14"/>
                <a:gd name="T6" fmla="*/ 3 w 7"/>
                <a:gd name="T7" fmla="*/ 7 h 14"/>
                <a:gd name="T8" fmla="*/ 5 w 7"/>
                <a:gd name="T9" fmla="*/ 10 h 14"/>
                <a:gd name="T10" fmla="*/ 5 w 7"/>
                <a:gd name="T11" fmla="*/ 12 h 14"/>
                <a:gd name="T12" fmla="*/ 6 w 7"/>
                <a:gd name="T13" fmla="*/ 14 h 14"/>
                <a:gd name="T14" fmla="*/ 7 w 7"/>
                <a:gd name="T15" fmla="*/ 14 h 14"/>
                <a:gd name="T16" fmla="*/ 7 w 7"/>
                <a:gd name="T1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14">
                  <a:moveTo>
                    <a:pt x="0" y="0"/>
                  </a:moveTo>
                  <a:lnTo>
                    <a:pt x="2" y="0"/>
                  </a:lnTo>
                  <a:lnTo>
                    <a:pt x="3" y="3"/>
                  </a:lnTo>
                  <a:lnTo>
                    <a:pt x="3" y="7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6" y="14"/>
                  </a:lnTo>
                  <a:lnTo>
                    <a:pt x="7" y="14"/>
                  </a:lnTo>
                  <a:lnTo>
                    <a:pt x="7" y="14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28" name="Freeform 276"/>
            <p:cNvSpPr>
              <a:spLocks/>
            </p:cNvSpPr>
            <p:nvPr/>
          </p:nvSpPr>
          <p:spPr bwMode="auto">
            <a:xfrm>
              <a:off x="4071323" y="3042159"/>
              <a:ext cx="3663" cy="9260"/>
            </a:xfrm>
            <a:custGeom>
              <a:avLst/>
              <a:gdLst>
                <a:gd name="T0" fmla="*/ 6 w 8"/>
                <a:gd name="T1" fmla="*/ 2 h 13"/>
                <a:gd name="T2" fmla="*/ 5 w 8"/>
                <a:gd name="T3" fmla="*/ 1 h 13"/>
                <a:gd name="T4" fmla="*/ 2 w 8"/>
                <a:gd name="T5" fmla="*/ 0 h 13"/>
                <a:gd name="T6" fmla="*/ 2 w 8"/>
                <a:gd name="T7" fmla="*/ 2 h 13"/>
                <a:gd name="T8" fmla="*/ 0 w 8"/>
                <a:gd name="T9" fmla="*/ 5 h 13"/>
                <a:gd name="T10" fmla="*/ 0 w 8"/>
                <a:gd name="T11" fmla="*/ 7 h 13"/>
                <a:gd name="T12" fmla="*/ 2 w 8"/>
                <a:gd name="T13" fmla="*/ 8 h 13"/>
                <a:gd name="T14" fmla="*/ 3 w 8"/>
                <a:gd name="T15" fmla="*/ 10 h 13"/>
                <a:gd name="T16" fmla="*/ 5 w 8"/>
                <a:gd name="T17" fmla="*/ 11 h 13"/>
                <a:gd name="T18" fmla="*/ 6 w 8"/>
                <a:gd name="T19" fmla="*/ 13 h 13"/>
                <a:gd name="T20" fmla="*/ 8 w 8"/>
                <a:gd name="T21" fmla="*/ 11 h 13"/>
                <a:gd name="T22" fmla="*/ 8 w 8"/>
                <a:gd name="T23" fmla="*/ 10 h 13"/>
                <a:gd name="T24" fmla="*/ 8 w 8"/>
                <a:gd name="T25" fmla="*/ 7 h 13"/>
                <a:gd name="T26" fmla="*/ 6 w 8"/>
                <a:gd name="T2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3">
                  <a:moveTo>
                    <a:pt x="6" y="2"/>
                  </a:moveTo>
                  <a:lnTo>
                    <a:pt x="5" y="1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8"/>
                  </a:lnTo>
                  <a:lnTo>
                    <a:pt x="3" y="10"/>
                  </a:lnTo>
                  <a:lnTo>
                    <a:pt x="5" y="11"/>
                  </a:lnTo>
                  <a:lnTo>
                    <a:pt x="6" y="13"/>
                  </a:lnTo>
                  <a:lnTo>
                    <a:pt x="8" y="11"/>
                  </a:lnTo>
                  <a:lnTo>
                    <a:pt x="8" y="10"/>
                  </a:lnTo>
                  <a:lnTo>
                    <a:pt x="8" y="7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ECEC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29" name="Freeform 277"/>
            <p:cNvSpPr>
              <a:spLocks/>
            </p:cNvSpPr>
            <p:nvPr/>
          </p:nvSpPr>
          <p:spPr bwMode="auto">
            <a:xfrm>
              <a:off x="4071323" y="3042159"/>
              <a:ext cx="3663" cy="7937"/>
            </a:xfrm>
            <a:custGeom>
              <a:avLst/>
              <a:gdLst>
                <a:gd name="T0" fmla="*/ 6 w 6"/>
                <a:gd name="T1" fmla="*/ 2 h 11"/>
                <a:gd name="T2" fmla="*/ 5 w 6"/>
                <a:gd name="T3" fmla="*/ 1 h 11"/>
                <a:gd name="T4" fmla="*/ 2 w 6"/>
                <a:gd name="T5" fmla="*/ 0 h 11"/>
                <a:gd name="T6" fmla="*/ 2 w 6"/>
                <a:gd name="T7" fmla="*/ 2 h 11"/>
                <a:gd name="T8" fmla="*/ 0 w 6"/>
                <a:gd name="T9" fmla="*/ 5 h 11"/>
                <a:gd name="T10" fmla="*/ 0 w 6"/>
                <a:gd name="T11" fmla="*/ 7 h 11"/>
                <a:gd name="T12" fmla="*/ 2 w 6"/>
                <a:gd name="T13" fmla="*/ 8 h 11"/>
                <a:gd name="T14" fmla="*/ 3 w 6"/>
                <a:gd name="T15" fmla="*/ 10 h 11"/>
                <a:gd name="T16" fmla="*/ 3 w 6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1">
                  <a:moveTo>
                    <a:pt x="6" y="2"/>
                  </a:moveTo>
                  <a:lnTo>
                    <a:pt x="5" y="1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8"/>
                  </a:lnTo>
                  <a:lnTo>
                    <a:pt x="3" y="10"/>
                  </a:lnTo>
                  <a:lnTo>
                    <a:pt x="3" y="11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30" name="Line 278"/>
            <p:cNvSpPr>
              <a:spLocks noChangeShapeType="1"/>
            </p:cNvSpPr>
            <p:nvPr/>
          </p:nvSpPr>
          <p:spPr bwMode="auto">
            <a:xfrm flipV="1">
              <a:off x="4074987" y="3044805"/>
              <a:ext cx="0" cy="1323"/>
            </a:xfrm>
            <a:prstGeom prst="line">
              <a:avLst/>
            </a:pr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31" name="Freeform 279"/>
            <p:cNvSpPr>
              <a:spLocks/>
            </p:cNvSpPr>
            <p:nvPr/>
          </p:nvSpPr>
          <p:spPr bwMode="auto">
            <a:xfrm>
              <a:off x="4028583" y="3073909"/>
              <a:ext cx="6106" cy="7937"/>
            </a:xfrm>
            <a:custGeom>
              <a:avLst/>
              <a:gdLst>
                <a:gd name="T0" fmla="*/ 7 w 10"/>
                <a:gd name="T1" fmla="*/ 0 h 11"/>
                <a:gd name="T2" fmla="*/ 4 w 10"/>
                <a:gd name="T3" fmla="*/ 0 h 11"/>
                <a:gd name="T4" fmla="*/ 1 w 10"/>
                <a:gd name="T5" fmla="*/ 1 h 11"/>
                <a:gd name="T6" fmla="*/ 0 w 10"/>
                <a:gd name="T7" fmla="*/ 3 h 11"/>
                <a:gd name="T8" fmla="*/ 0 w 10"/>
                <a:gd name="T9" fmla="*/ 6 h 11"/>
                <a:gd name="T10" fmla="*/ 0 w 10"/>
                <a:gd name="T11" fmla="*/ 7 h 11"/>
                <a:gd name="T12" fmla="*/ 0 w 10"/>
                <a:gd name="T13" fmla="*/ 8 h 11"/>
                <a:gd name="T14" fmla="*/ 0 w 10"/>
                <a:gd name="T15" fmla="*/ 10 h 11"/>
                <a:gd name="T16" fmla="*/ 3 w 10"/>
                <a:gd name="T17" fmla="*/ 11 h 11"/>
                <a:gd name="T18" fmla="*/ 5 w 10"/>
                <a:gd name="T19" fmla="*/ 10 h 11"/>
                <a:gd name="T20" fmla="*/ 8 w 10"/>
                <a:gd name="T21" fmla="*/ 8 h 11"/>
                <a:gd name="T22" fmla="*/ 10 w 10"/>
                <a:gd name="T23" fmla="*/ 6 h 11"/>
                <a:gd name="T24" fmla="*/ 10 w 10"/>
                <a:gd name="T25" fmla="*/ 3 h 11"/>
                <a:gd name="T26" fmla="*/ 10 w 10"/>
                <a:gd name="T27" fmla="*/ 0 h 11"/>
                <a:gd name="T28" fmla="*/ 7 w 10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" h="11">
                  <a:moveTo>
                    <a:pt x="7" y="0"/>
                  </a:moveTo>
                  <a:lnTo>
                    <a:pt x="4" y="0"/>
                  </a:lnTo>
                  <a:lnTo>
                    <a:pt x="1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10"/>
                  </a:lnTo>
                  <a:lnTo>
                    <a:pt x="3" y="11"/>
                  </a:lnTo>
                  <a:lnTo>
                    <a:pt x="5" y="10"/>
                  </a:lnTo>
                  <a:lnTo>
                    <a:pt x="8" y="8"/>
                  </a:lnTo>
                  <a:lnTo>
                    <a:pt x="10" y="6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ECEC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32" name="Freeform 280"/>
            <p:cNvSpPr>
              <a:spLocks/>
            </p:cNvSpPr>
            <p:nvPr/>
          </p:nvSpPr>
          <p:spPr bwMode="auto">
            <a:xfrm>
              <a:off x="4028583" y="3073909"/>
              <a:ext cx="4885" cy="6615"/>
            </a:xfrm>
            <a:custGeom>
              <a:avLst/>
              <a:gdLst>
                <a:gd name="T0" fmla="*/ 7 w 7"/>
                <a:gd name="T1" fmla="*/ 0 h 10"/>
                <a:gd name="T2" fmla="*/ 4 w 7"/>
                <a:gd name="T3" fmla="*/ 0 h 10"/>
                <a:gd name="T4" fmla="*/ 1 w 7"/>
                <a:gd name="T5" fmla="*/ 1 h 10"/>
                <a:gd name="T6" fmla="*/ 0 w 7"/>
                <a:gd name="T7" fmla="*/ 3 h 10"/>
                <a:gd name="T8" fmla="*/ 0 w 7"/>
                <a:gd name="T9" fmla="*/ 6 h 10"/>
                <a:gd name="T10" fmla="*/ 0 w 7"/>
                <a:gd name="T11" fmla="*/ 7 h 10"/>
                <a:gd name="T12" fmla="*/ 0 w 7"/>
                <a:gd name="T13" fmla="*/ 8 h 10"/>
                <a:gd name="T14" fmla="*/ 0 w 7"/>
                <a:gd name="T15" fmla="*/ 10 h 10"/>
                <a:gd name="T16" fmla="*/ 3 w 7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10">
                  <a:moveTo>
                    <a:pt x="7" y="0"/>
                  </a:moveTo>
                  <a:lnTo>
                    <a:pt x="4" y="0"/>
                  </a:lnTo>
                  <a:lnTo>
                    <a:pt x="1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10"/>
                  </a:lnTo>
                  <a:lnTo>
                    <a:pt x="3" y="1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33" name="Freeform 281"/>
            <p:cNvSpPr>
              <a:spLocks/>
            </p:cNvSpPr>
            <p:nvPr/>
          </p:nvSpPr>
          <p:spPr bwMode="auto">
            <a:xfrm>
              <a:off x="4033468" y="3073909"/>
              <a:ext cx="1221" cy="2646"/>
            </a:xfrm>
            <a:custGeom>
              <a:avLst/>
              <a:gdLst>
                <a:gd name="T0" fmla="*/ 3 w 3"/>
                <a:gd name="T1" fmla="*/ 4 h 4"/>
                <a:gd name="T2" fmla="*/ 3 w 3"/>
                <a:gd name="T3" fmla="*/ 3 h 4"/>
                <a:gd name="T4" fmla="*/ 3 w 3"/>
                <a:gd name="T5" fmla="*/ 0 h 4"/>
                <a:gd name="T6" fmla="*/ 0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34" name="Freeform 282"/>
            <p:cNvSpPr>
              <a:spLocks/>
            </p:cNvSpPr>
            <p:nvPr/>
          </p:nvSpPr>
          <p:spPr bwMode="auto">
            <a:xfrm>
              <a:off x="4089640" y="3042159"/>
              <a:ext cx="3663" cy="2646"/>
            </a:xfrm>
            <a:custGeom>
              <a:avLst/>
              <a:gdLst>
                <a:gd name="T0" fmla="*/ 4 w 6"/>
                <a:gd name="T1" fmla="*/ 2 h 6"/>
                <a:gd name="T2" fmla="*/ 4 w 6"/>
                <a:gd name="T3" fmla="*/ 0 h 6"/>
                <a:gd name="T4" fmla="*/ 3 w 6"/>
                <a:gd name="T5" fmla="*/ 0 h 6"/>
                <a:gd name="T6" fmla="*/ 1 w 6"/>
                <a:gd name="T7" fmla="*/ 0 h 6"/>
                <a:gd name="T8" fmla="*/ 1 w 6"/>
                <a:gd name="T9" fmla="*/ 2 h 6"/>
                <a:gd name="T10" fmla="*/ 1 w 6"/>
                <a:gd name="T11" fmla="*/ 2 h 6"/>
                <a:gd name="T12" fmla="*/ 0 w 6"/>
                <a:gd name="T13" fmla="*/ 3 h 6"/>
                <a:gd name="T14" fmla="*/ 0 w 6"/>
                <a:gd name="T15" fmla="*/ 4 h 6"/>
                <a:gd name="T16" fmla="*/ 1 w 6"/>
                <a:gd name="T17" fmla="*/ 4 h 6"/>
                <a:gd name="T18" fmla="*/ 3 w 6"/>
                <a:gd name="T19" fmla="*/ 6 h 6"/>
                <a:gd name="T20" fmla="*/ 4 w 6"/>
                <a:gd name="T21" fmla="*/ 4 h 6"/>
                <a:gd name="T22" fmla="*/ 6 w 6"/>
                <a:gd name="T23" fmla="*/ 3 h 6"/>
                <a:gd name="T24" fmla="*/ 6 w 6"/>
                <a:gd name="T25" fmla="*/ 3 h 6"/>
                <a:gd name="T26" fmla="*/ 4 w 6"/>
                <a:gd name="T2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6">
                  <a:moveTo>
                    <a:pt x="4" y="2"/>
                  </a:moveTo>
                  <a:lnTo>
                    <a:pt x="4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4"/>
                  </a:lnTo>
                  <a:lnTo>
                    <a:pt x="1" y="4"/>
                  </a:lnTo>
                  <a:lnTo>
                    <a:pt x="3" y="6"/>
                  </a:lnTo>
                  <a:lnTo>
                    <a:pt x="4" y="4"/>
                  </a:lnTo>
                  <a:lnTo>
                    <a:pt x="6" y="3"/>
                  </a:lnTo>
                  <a:lnTo>
                    <a:pt x="6" y="3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ECEC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35" name="Freeform 283"/>
            <p:cNvSpPr>
              <a:spLocks/>
            </p:cNvSpPr>
            <p:nvPr/>
          </p:nvSpPr>
          <p:spPr bwMode="auto">
            <a:xfrm>
              <a:off x="4089640" y="3042159"/>
              <a:ext cx="3663" cy="2646"/>
            </a:xfrm>
            <a:custGeom>
              <a:avLst/>
              <a:gdLst>
                <a:gd name="T0" fmla="*/ 4 w 6"/>
                <a:gd name="T1" fmla="*/ 2 h 6"/>
                <a:gd name="T2" fmla="*/ 4 w 6"/>
                <a:gd name="T3" fmla="*/ 0 h 6"/>
                <a:gd name="T4" fmla="*/ 3 w 6"/>
                <a:gd name="T5" fmla="*/ 0 h 6"/>
                <a:gd name="T6" fmla="*/ 1 w 6"/>
                <a:gd name="T7" fmla="*/ 0 h 6"/>
                <a:gd name="T8" fmla="*/ 1 w 6"/>
                <a:gd name="T9" fmla="*/ 2 h 6"/>
                <a:gd name="T10" fmla="*/ 1 w 6"/>
                <a:gd name="T11" fmla="*/ 2 h 6"/>
                <a:gd name="T12" fmla="*/ 0 w 6"/>
                <a:gd name="T13" fmla="*/ 3 h 6"/>
                <a:gd name="T14" fmla="*/ 0 w 6"/>
                <a:gd name="T15" fmla="*/ 4 h 6"/>
                <a:gd name="T16" fmla="*/ 1 w 6"/>
                <a:gd name="T17" fmla="*/ 4 h 6"/>
                <a:gd name="T18" fmla="*/ 3 w 6"/>
                <a:gd name="T19" fmla="*/ 6 h 6"/>
                <a:gd name="T20" fmla="*/ 4 w 6"/>
                <a:gd name="T21" fmla="*/ 4 h 6"/>
                <a:gd name="T22" fmla="*/ 6 w 6"/>
                <a:gd name="T23" fmla="*/ 3 h 6"/>
                <a:gd name="T24" fmla="*/ 6 w 6"/>
                <a:gd name="T25" fmla="*/ 3 h 6"/>
                <a:gd name="T26" fmla="*/ 4 w 6"/>
                <a:gd name="T2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6">
                  <a:moveTo>
                    <a:pt x="4" y="2"/>
                  </a:moveTo>
                  <a:lnTo>
                    <a:pt x="4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4"/>
                  </a:lnTo>
                  <a:lnTo>
                    <a:pt x="1" y="4"/>
                  </a:lnTo>
                  <a:lnTo>
                    <a:pt x="3" y="6"/>
                  </a:lnTo>
                  <a:lnTo>
                    <a:pt x="4" y="4"/>
                  </a:lnTo>
                  <a:lnTo>
                    <a:pt x="6" y="3"/>
                  </a:lnTo>
                  <a:lnTo>
                    <a:pt x="6" y="3"/>
                  </a:lnTo>
                  <a:lnTo>
                    <a:pt x="4" y="2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36" name="Freeform 284"/>
            <p:cNvSpPr>
              <a:spLocks/>
            </p:cNvSpPr>
            <p:nvPr/>
          </p:nvSpPr>
          <p:spPr bwMode="auto">
            <a:xfrm>
              <a:off x="3947988" y="2989243"/>
              <a:ext cx="25644" cy="13229"/>
            </a:xfrm>
            <a:custGeom>
              <a:avLst/>
              <a:gdLst>
                <a:gd name="T0" fmla="*/ 38 w 42"/>
                <a:gd name="T1" fmla="*/ 12 h 20"/>
                <a:gd name="T2" fmla="*/ 32 w 42"/>
                <a:gd name="T3" fmla="*/ 8 h 20"/>
                <a:gd name="T4" fmla="*/ 29 w 42"/>
                <a:gd name="T5" fmla="*/ 5 h 20"/>
                <a:gd name="T6" fmla="*/ 25 w 42"/>
                <a:gd name="T7" fmla="*/ 3 h 20"/>
                <a:gd name="T8" fmla="*/ 22 w 42"/>
                <a:gd name="T9" fmla="*/ 2 h 20"/>
                <a:gd name="T10" fmla="*/ 19 w 42"/>
                <a:gd name="T11" fmla="*/ 2 h 20"/>
                <a:gd name="T12" fmla="*/ 12 w 42"/>
                <a:gd name="T13" fmla="*/ 0 h 20"/>
                <a:gd name="T14" fmla="*/ 8 w 42"/>
                <a:gd name="T15" fmla="*/ 0 h 20"/>
                <a:gd name="T16" fmla="*/ 3 w 42"/>
                <a:gd name="T17" fmla="*/ 2 h 20"/>
                <a:gd name="T18" fmla="*/ 0 w 42"/>
                <a:gd name="T19" fmla="*/ 2 h 20"/>
                <a:gd name="T20" fmla="*/ 0 w 42"/>
                <a:gd name="T21" fmla="*/ 5 h 20"/>
                <a:gd name="T22" fmla="*/ 5 w 42"/>
                <a:gd name="T23" fmla="*/ 6 h 20"/>
                <a:gd name="T24" fmla="*/ 9 w 42"/>
                <a:gd name="T25" fmla="*/ 8 h 20"/>
                <a:gd name="T26" fmla="*/ 12 w 42"/>
                <a:gd name="T27" fmla="*/ 8 h 20"/>
                <a:gd name="T28" fmla="*/ 15 w 42"/>
                <a:gd name="T29" fmla="*/ 8 h 20"/>
                <a:gd name="T30" fmla="*/ 16 w 42"/>
                <a:gd name="T31" fmla="*/ 9 h 20"/>
                <a:gd name="T32" fmla="*/ 19 w 42"/>
                <a:gd name="T33" fmla="*/ 12 h 20"/>
                <a:gd name="T34" fmla="*/ 23 w 42"/>
                <a:gd name="T35" fmla="*/ 12 h 20"/>
                <a:gd name="T36" fmla="*/ 25 w 42"/>
                <a:gd name="T37" fmla="*/ 15 h 20"/>
                <a:gd name="T38" fmla="*/ 29 w 42"/>
                <a:gd name="T39" fmla="*/ 16 h 20"/>
                <a:gd name="T40" fmla="*/ 33 w 42"/>
                <a:gd name="T41" fmla="*/ 18 h 20"/>
                <a:gd name="T42" fmla="*/ 35 w 42"/>
                <a:gd name="T43" fmla="*/ 19 h 20"/>
                <a:gd name="T44" fmla="*/ 38 w 42"/>
                <a:gd name="T45" fmla="*/ 20 h 20"/>
                <a:gd name="T46" fmla="*/ 41 w 42"/>
                <a:gd name="T47" fmla="*/ 20 h 20"/>
                <a:gd name="T48" fmla="*/ 42 w 42"/>
                <a:gd name="T49" fmla="*/ 18 h 20"/>
                <a:gd name="T50" fmla="*/ 41 w 42"/>
                <a:gd name="T51" fmla="*/ 15 h 20"/>
                <a:gd name="T52" fmla="*/ 38 w 42"/>
                <a:gd name="T53" fmla="*/ 1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2" h="20">
                  <a:moveTo>
                    <a:pt x="38" y="12"/>
                  </a:moveTo>
                  <a:lnTo>
                    <a:pt x="32" y="8"/>
                  </a:lnTo>
                  <a:lnTo>
                    <a:pt x="29" y="5"/>
                  </a:lnTo>
                  <a:lnTo>
                    <a:pt x="25" y="3"/>
                  </a:lnTo>
                  <a:lnTo>
                    <a:pt x="22" y="2"/>
                  </a:lnTo>
                  <a:lnTo>
                    <a:pt x="19" y="2"/>
                  </a:lnTo>
                  <a:lnTo>
                    <a:pt x="12" y="0"/>
                  </a:lnTo>
                  <a:lnTo>
                    <a:pt x="8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5" y="6"/>
                  </a:lnTo>
                  <a:lnTo>
                    <a:pt x="9" y="8"/>
                  </a:lnTo>
                  <a:lnTo>
                    <a:pt x="12" y="8"/>
                  </a:lnTo>
                  <a:lnTo>
                    <a:pt x="15" y="8"/>
                  </a:lnTo>
                  <a:lnTo>
                    <a:pt x="16" y="9"/>
                  </a:lnTo>
                  <a:lnTo>
                    <a:pt x="19" y="12"/>
                  </a:lnTo>
                  <a:lnTo>
                    <a:pt x="23" y="12"/>
                  </a:lnTo>
                  <a:lnTo>
                    <a:pt x="25" y="15"/>
                  </a:lnTo>
                  <a:lnTo>
                    <a:pt x="29" y="16"/>
                  </a:lnTo>
                  <a:lnTo>
                    <a:pt x="33" y="18"/>
                  </a:lnTo>
                  <a:lnTo>
                    <a:pt x="35" y="19"/>
                  </a:lnTo>
                  <a:lnTo>
                    <a:pt x="38" y="20"/>
                  </a:lnTo>
                  <a:lnTo>
                    <a:pt x="41" y="20"/>
                  </a:lnTo>
                  <a:lnTo>
                    <a:pt x="42" y="18"/>
                  </a:lnTo>
                  <a:lnTo>
                    <a:pt x="41" y="15"/>
                  </a:lnTo>
                  <a:lnTo>
                    <a:pt x="38" y="12"/>
                  </a:lnTo>
                  <a:close/>
                </a:path>
              </a:pathLst>
            </a:custGeom>
            <a:solidFill>
              <a:srgbClr val="ECEC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37" name="Freeform 285"/>
            <p:cNvSpPr>
              <a:spLocks/>
            </p:cNvSpPr>
            <p:nvPr/>
          </p:nvSpPr>
          <p:spPr bwMode="auto">
            <a:xfrm>
              <a:off x="3961421" y="2990566"/>
              <a:ext cx="8548" cy="6615"/>
            </a:xfrm>
            <a:custGeom>
              <a:avLst/>
              <a:gdLst>
                <a:gd name="T0" fmla="*/ 15 w 15"/>
                <a:gd name="T1" fmla="*/ 10 h 10"/>
                <a:gd name="T2" fmla="*/ 9 w 15"/>
                <a:gd name="T3" fmla="*/ 6 h 10"/>
                <a:gd name="T4" fmla="*/ 6 w 15"/>
                <a:gd name="T5" fmla="*/ 3 h 10"/>
                <a:gd name="T6" fmla="*/ 2 w 15"/>
                <a:gd name="T7" fmla="*/ 1 h 10"/>
                <a:gd name="T8" fmla="*/ 0 w 15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0">
                  <a:moveTo>
                    <a:pt x="15" y="10"/>
                  </a:moveTo>
                  <a:lnTo>
                    <a:pt x="9" y="6"/>
                  </a:lnTo>
                  <a:lnTo>
                    <a:pt x="6" y="3"/>
                  </a:ln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38" name="Freeform 286"/>
            <p:cNvSpPr>
              <a:spLocks/>
            </p:cNvSpPr>
            <p:nvPr/>
          </p:nvSpPr>
          <p:spPr bwMode="auto">
            <a:xfrm>
              <a:off x="3947988" y="2989243"/>
              <a:ext cx="6106" cy="3969"/>
            </a:xfrm>
            <a:custGeom>
              <a:avLst/>
              <a:gdLst>
                <a:gd name="T0" fmla="*/ 12 w 12"/>
                <a:gd name="T1" fmla="*/ 0 h 6"/>
                <a:gd name="T2" fmla="*/ 8 w 12"/>
                <a:gd name="T3" fmla="*/ 0 h 6"/>
                <a:gd name="T4" fmla="*/ 3 w 12"/>
                <a:gd name="T5" fmla="*/ 2 h 6"/>
                <a:gd name="T6" fmla="*/ 0 w 12"/>
                <a:gd name="T7" fmla="*/ 2 h 6"/>
                <a:gd name="T8" fmla="*/ 0 w 12"/>
                <a:gd name="T9" fmla="*/ 5 h 6"/>
                <a:gd name="T10" fmla="*/ 3 w 12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8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3" y="6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39" name="Freeform 287"/>
            <p:cNvSpPr>
              <a:spLocks/>
            </p:cNvSpPr>
            <p:nvPr/>
          </p:nvSpPr>
          <p:spPr bwMode="auto">
            <a:xfrm>
              <a:off x="3956536" y="2994534"/>
              <a:ext cx="8548" cy="6615"/>
            </a:xfrm>
            <a:custGeom>
              <a:avLst/>
              <a:gdLst>
                <a:gd name="T0" fmla="*/ 0 w 14"/>
                <a:gd name="T1" fmla="*/ 0 h 10"/>
                <a:gd name="T2" fmla="*/ 1 w 14"/>
                <a:gd name="T3" fmla="*/ 1 h 10"/>
                <a:gd name="T4" fmla="*/ 4 w 14"/>
                <a:gd name="T5" fmla="*/ 4 h 10"/>
                <a:gd name="T6" fmla="*/ 8 w 14"/>
                <a:gd name="T7" fmla="*/ 4 h 10"/>
                <a:gd name="T8" fmla="*/ 10 w 14"/>
                <a:gd name="T9" fmla="*/ 7 h 10"/>
                <a:gd name="T10" fmla="*/ 14 w 14"/>
                <a:gd name="T11" fmla="*/ 8 h 10"/>
                <a:gd name="T12" fmla="*/ 14 w 14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0">
                  <a:moveTo>
                    <a:pt x="0" y="0"/>
                  </a:moveTo>
                  <a:lnTo>
                    <a:pt x="1" y="1"/>
                  </a:lnTo>
                  <a:lnTo>
                    <a:pt x="4" y="4"/>
                  </a:lnTo>
                  <a:lnTo>
                    <a:pt x="8" y="4"/>
                  </a:lnTo>
                  <a:lnTo>
                    <a:pt x="10" y="7"/>
                  </a:lnTo>
                  <a:lnTo>
                    <a:pt x="14" y="8"/>
                  </a:lnTo>
                  <a:lnTo>
                    <a:pt x="14" y="1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40" name="Freeform 288"/>
            <p:cNvSpPr>
              <a:spLocks/>
            </p:cNvSpPr>
            <p:nvPr/>
          </p:nvSpPr>
          <p:spPr bwMode="auto">
            <a:xfrm>
              <a:off x="3969969" y="2997180"/>
              <a:ext cx="3663" cy="5292"/>
            </a:xfrm>
            <a:custGeom>
              <a:avLst/>
              <a:gdLst>
                <a:gd name="T0" fmla="*/ 3 w 4"/>
                <a:gd name="T1" fmla="*/ 8 h 8"/>
                <a:gd name="T2" fmla="*/ 3 w 4"/>
                <a:gd name="T3" fmla="*/ 8 h 8"/>
                <a:gd name="T4" fmla="*/ 4 w 4"/>
                <a:gd name="T5" fmla="*/ 6 h 8"/>
                <a:gd name="T6" fmla="*/ 3 w 4"/>
                <a:gd name="T7" fmla="*/ 3 h 8"/>
                <a:gd name="T8" fmla="*/ 0 w 4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3" y="8"/>
                  </a:moveTo>
                  <a:lnTo>
                    <a:pt x="3" y="8"/>
                  </a:lnTo>
                  <a:lnTo>
                    <a:pt x="4" y="6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41" name="Freeform 289"/>
            <p:cNvSpPr>
              <a:spLocks/>
            </p:cNvSpPr>
            <p:nvPr/>
          </p:nvSpPr>
          <p:spPr bwMode="auto">
            <a:xfrm>
              <a:off x="3630491" y="2756411"/>
              <a:ext cx="782752" cy="620442"/>
            </a:xfrm>
            <a:custGeom>
              <a:avLst/>
              <a:gdLst>
                <a:gd name="T0" fmla="*/ 1031 w 1283"/>
                <a:gd name="T1" fmla="*/ 918 h 938"/>
                <a:gd name="T2" fmla="*/ 1114 w 1283"/>
                <a:gd name="T3" fmla="*/ 891 h 938"/>
                <a:gd name="T4" fmla="*/ 1253 w 1283"/>
                <a:gd name="T5" fmla="*/ 871 h 938"/>
                <a:gd name="T6" fmla="*/ 1279 w 1283"/>
                <a:gd name="T7" fmla="*/ 736 h 938"/>
                <a:gd name="T8" fmla="*/ 1267 w 1283"/>
                <a:gd name="T9" fmla="*/ 732 h 938"/>
                <a:gd name="T10" fmla="*/ 1269 w 1283"/>
                <a:gd name="T11" fmla="*/ 686 h 938"/>
                <a:gd name="T12" fmla="*/ 1165 w 1283"/>
                <a:gd name="T13" fmla="*/ 572 h 938"/>
                <a:gd name="T14" fmla="*/ 1120 w 1283"/>
                <a:gd name="T15" fmla="*/ 530 h 938"/>
                <a:gd name="T16" fmla="*/ 1084 w 1283"/>
                <a:gd name="T17" fmla="*/ 539 h 938"/>
                <a:gd name="T18" fmla="*/ 1055 w 1283"/>
                <a:gd name="T19" fmla="*/ 625 h 938"/>
                <a:gd name="T20" fmla="*/ 1044 w 1283"/>
                <a:gd name="T21" fmla="*/ 665 h 938"/>
                <a:gd name="T22" fmla="*/ 963 w 1283"/>
                <a:gd name="T23" fmla="*/ 668 h 938"/>
                <a:gd name="T24" fmla="*/ 935 w 1283"/>
                <a:gd name="T25" fmla="*/ 700 h 938"/>
                <a:gd name="T26" fmla="*/ 928 w 1283"/>
                <a:gd name="T27" fmla="*/ 643 h 938"/>
                <a:gd name="T28" fmla="*/ 959 w 1283"/>
                <a:gd name="T29" fmla="*/ 615 h 938"/>
                <a:gd name="T30" fmla="*/ 949 w 1283"/>
                <a:gd name="T31" fmla="*/ 582 h 938"/>
                <a:gd name="T32" fmla="*/ 867 w 1283"/>
                <a:gd name="T33" fmla="*/ 573 h 938"/>
                <a:gd name="T34" fmla="*/ 812 w 1283"/>
                <a:gd name="T35" fmla="*/ 552 h 938"/>
                <a:gd name="T36" fmla="*/ 784 w 1283"/>
                <a:gd name="T37" fmla="*/ 523 h 938"/>
                <a:gd name="T38" fmla="*/ 719 w 1283"/>
                <a:gd name="T39" fmla="*/ 517 h 938"/>
                <a:gd name="T40" fmla="*/ 681 w 1283"/>
                <a:gd name="T41" fmla="*/ 546 h 938"/>
                <a:gd name="T42" fmla="*/ 663 w 1283"/>
                <a:gd name="T43" fmla="*/ 511 h 938"/>
                <a:gd name="T44" fmla="*/ 600 w 1283"/>
                <a:gd name="T45" fmla="*/ 527 h 938"/>
                <a:gd name="T46" fmla="*/ 666 w 1283"/>
                <a:gd name="T47" fmla="*/ 510 h 938"/>
                <a:gd name="T48" fmla="*/ 640 w 1283"/>
                <a:gd name="T49" fmla="*/ 500 h 938"/>
                <a:gd name="T50" fmla="*/ 604 w 1283"/>
                <a:gd name="T51" fmla="*/ 481 h 938"/>
                <a:gd name="T52" fmla="*/ 601 w 1283"/>
                <a:gd name="T53" fmla="*/ 474 h 938"/>
                <a:gd name="T54" fmla="*/ 646 w 1283"/>
                <a:gd name="T55" fmla="*/ 470 h 938"/>
                <a:gd name="T56" fmla="*/ 676 w 1283"/>
                <a:gd name="T57" fmla="*/ 448 h 938"/>
                <a:gd name="T58" fmla="*/ 716 w 1283"/>
                <a:gd name="T59" fmla="*/ 423 h 938"/>
                <a:gd name="T60" fmla="*/ 721 w 1283"/>
                <a:gd name="T61" fmla="*/ 413 h 938"/>
                <a:gd name="T62" fmla="*/ 684 w 1283"/>
                <a:gd name="T63" fmla="*/ 391 h 938"/>
                <a:gd name="T64" fmla="*/ 623 w 1283"/>
                <a:gd name="T65" fmla="*/ 393 h 938"/>
                <a:gd name="T66" fmla="*/ 617 w 1283"/>
                <a:gd name="T67" fmla="*/ 415 h 938"/>
                <a:gd name="T68" fmla="*/ 578 w 1283"/>
                <a:gd name="T69" fmla="*/ 411 h 938"/>
                <a:gd name="T70" fmla="*/ 600 w 1283"/>
                <a:gd name="T71" fmla="*/ 390 h 938"/>
                <a:gd name="T72" fmla="*/ 552 w 1283"/>
                <a:gd name="T73" fmla="*/ 375 h 938"/>
                <a:gd name="T74" fmla="*/ 489 w 1283"/>
                <a:gd name="T75" fmla="*/ 361 h 938"/>
                <a:gd name="T76" fmla="*/ 428 w 1283"/>
                <a:gd name="T77" fmla="*/ 357 h 938"/>
                <a:gd name="T78" fmla="*/ 363 w 1283"/>
                <a:gd name="T79" fmla="*/ 322 h 938"/>
                <a:gd name="T80" fmla="*/ 320 w 1283"/>
                <a:gd name="T81" fmla="*/ 334 h 938"/>
                <a:gd name="T82" fmla="*/ 260 w 1283"/>
                <a:gd name="T83" fmla="*/ 352 h 938"/>
                <a:gd name="T84" fmla="*/ 204 w 1283"/>
                <a:gd name="T85" fmla="*/ 385 h 938"/>
                <a:gd name="T86" fmla="*/ 156 w 1283"/>
                <a:gd name="T87" fmla="*/ 354 h 938"/>
                <a:gd name="T88" fmla="*/ 130 w 1283"/>
                <a:gd name="T89" fmla="*/ 324 h 938"/>
                <a:gd name="T90" fmla="*/ 143 w 1283"/>
                <a:gd name="T91" fmla="*/ 246 h 938"/>
                <a:gd name="T92" fmla="*/ 197 w 1283"/>
                <a:gd name="T93" fmla="*/ 203 h 938"/>
                <a:gd name="T94" fmla="*/ 262 w 1283"/>
                <a:gd name="T95" fmla="*/ 232 h 938"/>
                <a:gd name="T96" fmla="*/ 306 w 1283"/>
                <a:gd name="T97" fmla="*/ 195 h 938"/>
                <a:gd name="T98" fmla="*/ 312 w 1283"/>
                <a:gd name="T99" fmla="*/ 116 h 938"/>
                <a:gd name="T100" fmla="*/ 236 w 1283"/>
                <a:gd name="T101" fmla="*/ 3 h 938"/>
                <a:gd name="T102" fmla="*/ 189 w 1283"/>
                <a:gd name="T103" fmla="*/ 110 h 938"/>
                <a:gd name="T104" fmla="*/ 160 w 1283"/>
                <a:gd name="T105" fmla="*/ 129 h 938"/>
                <a:gd name="T106" fmla="*/ 87 w 1283"/>
                <a:gd name="T107" fmla="*/ 165 h 938"/>
                <a:gd name="T108" fmla="*/ 77 w 1283"/>
                <a:gd name="T109" fmla="*/ 219 h 938"/>
                <a:gd name="T110" fmla="*/ 51 w 1283"/>
                <a:gd name="T111" fmla="*/ 248 h 938"/>
                <a:gd name="T112" fmla="*/ 7 w 1283"/>
                <a:gd name="T113" fmla="*/ 288 h 938"/>
                <a:gd name="T114" fmla="*/ 24 w 1283"/>
                <a:gd name="T115" fmla="*/ 384 h 938"/>
                <a:gd name="T116" fmla="*/ 51 w 1283"/>
                <a:gd name="T117" fmla="*/ 441 h 938"/>
                <a:gd name="T118" fmla="*/ 91 w 1283"/>
                <a:gd name="T119" fmla="*/ 521 h 9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83" h="938">
                  <a:moveTo>
                    <a:pt x="383" y="577"/>
                  </a:moveTo>
                  <a:lnTo>
                    <a:pt x="441" y="564"/>
                  </a:lnTo>
                  <a:lnTo>
                    <a:pt x="454" y="584"/>
                  </a:lnTo>
                  <a:lnTo>
                    <a:pt x="488" y="622"/>
                  </a:lnTo>
                  <a:lnTo>
                    <a:pt x="515" y="652"/>
                  </a:lnTo>
                  <a:lnTo>
                    <a:pt x="540" y="673"/>
                  </a:lnTo>
                  <a:lnTo>
                    <a:pt x="591" y="713"/>
                  </a:lnTo>
                  <a:lnTo>
                    <a:pt x="676" y="778"/>
                  </a:lnTo>
                  <a:lnTo>
                    <a:pt x="786" y="859"/>
                  </a:lnTo>
                  <a:lnTo>
                    <a:pt x="822" y="884"/>
                  </a:lnTo>
                  <a:lnTo>
                    <a:pt x="816" y="891"/>
                  </a:lnTo>
                  <a:lnTo>
                    <a:pt x="833" y="892"/>
                  </a:lnTo>
                  <a:lnTo>
                    <a:pt x="899" y="938"/>
                  </a:lnTo>
                  <a:lnTo>
                    <a:pt x="932" y="935"/>
                  </a:lnTo>
                  <a:lnTo>
                    <a:pt x="1011" y="935"/>
                  </a:lnTo>
                  <a:lnTo>
                    <a:pt x="1031" y="918"/>
                  </a:lnTo>
                  <a:lnTo>
                    <a:pt x="1032" y="915"/>
                  </a:lnTo>
                  <a:lnTo>
                    <a:pt x="1041" y="907"/>
                  </a:lnTo>
                  <a:lnTo>
                    <a:pt x="1049" y="904"/>
                  </a:lnTo>
                  <a:lnTo>
                    <a:pt x="1055" y="901"/>
                  </a:lnTo>
                  <a:lnTo>
                    <a:pt x="1059" y="901"/>
                  </a:lnTo>
                  <a:lnTo>
                    <a:pt x="1064" y="901"/>
                  </a:lnTo>
                  <a:lnTo>
                    <a:pt x="1065" y="901"/>
                  </a:lnTo>
                  <a:lnTo>
                    <a:pt x="1069" y="898"/>
                  </a:lnTo>
                  <a:lnTo>
                    <a:pt x="1074" y="898"/>
                  </a:lnTo>
                  <a:lnTo>
                    <a:pt x="1077" y="901"/>
                  </a:lnTo>
                  <a:lnTo>
                    <a:pt x="1077" y="905"/>
                  </a:lnTo>
                  <a:lnTo>
                    <a:pt x="1077" y="910"/>
                  </a:lnTo>
                  <a:lnTo>
                    <a:pt x="1091" y="911"/>
                  </a:lnTo>
                  <a:lnTo>
                    <a:pt x="1094" y="905"/>
                  </a:lnTo>
                  <a:lnTo>
                    <a:pt x="1114" y="894"/>
                  </a:lnTo>
                  <a:lnTo>
                    <a:pt x="1114" y="891"/>
                  </a:lnTo>
                  <a:lnTo>
                    <a:pt x="1115" y="885"/>
                  </a:lnTo>
                  <a:lnTo>
                    <a:pt x="1120" y="881"/>
                  </a:lnTo>
                  <a:lnTo>
                    <a:pt x="1127" y="879"/>
                  </a:lnTo>
                  <a:lnTo>
                    <a:pt x="1130" y="878"/>
                  </a:lnTo>
                  <a:lnTo>
                    <a:pt x="1188" y="855"/>
                  </a:lnTo>
                  <a:lnTo>
                    <a:pt x="1198" y="857"/>
                  </a:lnTo>
                  <a:lnTo>
                    <a:pt x="1203" y="858"/>
                  </a:lnTo>
                  <a:lnTo>
                    <a:pt x="1207" y="862"/>
                  </a:lnTo>
                  <a:lnTo>
                    <a:pt x="1211" y="864"/>
                  </a:lnTo>
                  <a:lnTo>
                    <a:pt x="1216" y="864"/>
                  </a:lnTo>
                  <a:lnTo>
                    <a:pt x="1218" y="865"/>
                  </a:lnTo>
                  <a:lnTo>
                    <a:pt x="1224" y="868"/>
                  </a:lnTo>
                  <a:lnTo>
                    <a:pt x="1246" y="878"/>
                  </a:lnTo>
                  <a:lnTo>
                    <a:pt x="1246" y="878"/>
                  </a:lnTo>
                  <a:lnTo>
                    <a:pt x="1248" y="874"/>
                  </a:lnTo>
                  <a:lnTo>
                    <a:pt x="1253" y="871"/>
                  </a:lnTo>
                  <a:lnTo>
                    <a:pt x="1261" y="867"/>
                  </a:lnTo>
                  <a:lnTo>
                    <a:pt x="1266" y="865"/>
                  </a:lnTo>
                  <a:lnTo>
                    <a:pt x="1270" y="861"/>
                  </a:lnTo>
                  <a:lnTo>
                    <a:pt x="1271" y="857"/>
                  </a:lnTo>
                  <a:lnTo>
                    <a:pt x="1273" y="851"/>
                  </a:lnTo>
                  <a:lnTo>
                    <a:pt x="1273" y="851"/>
                  </a:lnTo>
                  <a:lnTo>
                    <a:pt x="1271" y="845"/>
                  </a:lnTo>
                  <a:lnTo>
                    <a:pt x="1269" y="839"/>
                  </a:lnTo>
                  <a:lnTo>
                    <a:pt x="1277" y="825"/>
                  </a:lnTo>
                  <a:lnTo>
                    <a:pt x="1273" y="809"/>
                  </a:lnTo>
                  <a:lnTo>
                    <a:pt x="1248" y="773"/>
                  </a:lnTo>
                  <a:lnTo>
                    <a:pt x="1254" y="771"/>
                  </a:lnTo>
                  <a:lnTo>
                    <a:pt x="1267" y="769"/>
                  </a:lnTo>
                  <a:lnTo>
                    <a:pt x="1274" y="761"/>
                  </a:lnTo>
                  <a:lnTo>
                    <a:pt x="1281" y="738"/>
                  </a:lnTo>
                  <a:lnTo>
                    <a:pt x="1279" y="736"/>
                  </a:lnTo>
                  <a:lnTo>
                    <a:pt x="1276" y="736"/>
                  </a:lnTo>
                  <a:lnTo>
                    <a:pt x="1276" y="739"/>
                  </a:lnTo>
                  <a:lnTo>
                    <a:pt x="1274" y="743"/>
                  </a:lnTo>
                  <a:lnTo>
                    <a:pt x="1271" y="746"/>
                  </a:lnTo>
                  <a:lnTo>
                    <a:pt x="1269" y="749"/>
                  </a:lnTo>
                  <a:lnTo>
                    <a:pt x="1264" y="749"/>
                  </a:lnTo>
                  <a:lnTo>
                    <a:pt x="1263" y="748"/>
                  </a:lnTo>
                  <a:lnTo>
                    <a:pt x="1263" y="748"/>
                  </a:lnTo>
                  <a:lnTo>
                    <a:pt x="1261" y="745"/>
                  </a:lnTo>
                  <a:lnTo>
                    <a:pt x="1263" y="743"/>
                  </a:lnTo>
                  <a:lnTo>
                    <a:pt x="1264" y="741"/>
                  </a:lnTo>
                  <a:lnTo>
                    <a:pt x="1266" y="739"/>
                  </a:lnTo>
                  <a:lnTo>
                    <a:pt x="1269" y="736"/>
                  </a:lnTo>
                  <a:lnTo>
                    <a:pt x="1269" y="735"/>
                  </a:lnTo>
                  <a:lnTo>
                    <a:pt x="1267" y="732"/>
                  </a:lnTo>
                  <a:lnTo>
                    <a:pt x="1267" y="732"/>
                  </a:lnTo>
                  <a:lnTo>
                    <a:pt x="1270" y="732"/>
                  </a:lnTo>
                  <a:lnTo>
                    <a:pt x="1271" y="733"/>
                  </a:lnTo>
                  <a:lnTo>
                    <a:pt x="1273" y="733"/>
                  </a:lnTo>
                  <a:lnTo>
                    <a:pt x="1274" y="732"/>
                  </a:lnTo>
                  <a:lnTo>
                    <a:pt x="1274" y="731"/>
                  </a:lnTo>
                  <a:lnTo>
                    <a:pt x="1276" y="729"/>
                  </a:lnTo>
                  <a:lnTo>
                    <a:pt x="1279" y="731"/>
                  </a:lnTo>
                  <a:lnTo>
                    <a:pt x="1280" y="733"/>
                  </a:lnTo>
                  <a:lnTo>
                    <a:pt x="1281" y="735"/>
                  </a:lnTo>
                  <a:lnTo>
                    <a:pt x="1283" y="733"/>
                  </a:lnTo>
                  <a:lnTo>
                    <a:pt x="1281" y="728"/>
                  </a:lnTo>
                  <a:lnTo>
                    <a:pt x="1280" y="725"/>
                  </a:lnTo>
                  <a:lnTo>
                    <a:pt x="1279" y="719"/>
                  </a:lnTo>
                  <a:lnTo>
                    <a:pt x="1277" y="709"/>
                  </a:lnTo>
                  <a:lnTo>
                    <a:pt x="1274" y="698"/>
                  </a:lnTo>
                  <a:lnTo>
                    <a:pt x="1269" y="686"/>
                  </a:lnTo>
                  <a:lnTo>
                    <a:pt x="1264" y="676"/>
                  </a:lnTo>
                  <a:lnTo>
                    <a:pt x="1258" y="669"/>
                  </a:lnTo>
                  <a:lnTo>
                    <a:pt x="1247" y="650"/>
                  </a:lnTo>
                  <a:lnTo>
                    <a:pt x="1241" y="643"/>
                  </a:lnTo>
                  <a:lnTo>
                    <a:pt x="1237" y="636"/>
                  </a:lnTo>
                  <a:lnTo>
                    <a:pt x="1231" y="629"/>
                  </a:lnTo>
                  <a:lnTo>
                    <a:pt x="1221" y="619"/>
                  </a:lnTo>
                  <a:lnTo>
                    <a:pt x="1220" y="617"/>
                  </a:lnTo>
                  <a:lnTo>
                    <a:pt x="1216" y="613"/>
                  </a:lnTo>
                  <a:lnTo>
                    <a:pt x="1208" y="604"/>
                  </a:lnTo>
                  <a:lnTo>
                    <a:pt x="1195" y="596"/>
                  </a:lnTo>
                  <a:lnTo>
                    <a:pt x="1187" y="587"/>
                  </a:lnTo>
                  <a:lnTo>
                    <a:pt x="1183" y="584"/>
                  </a:lnTo>
                  <a:lnTo>
                    <a:pt x="1174" y="580"/>
                  </a:lnTo>
                  <a:lnTo>
                    <a:pt x="1171" y="576"/>
                  </a:lnTo>
                  <a:lnTo>
                    <a:pt x="1165" y="572"/>
                  </a:lnTo>
                  <a:lnTo>
                    <a:pt x="1161" y="570"/>
                  </a:lnTo>
                  <a:lnTo>
                    <a:pt x="1155" y="567"/>
                  </a:lnTo>
                  <a:lnTo>
                    <a:pt x="1153" y="563"/>
                  </a:lnTo>
                  <a:lnTo>
                    <a:pt x="1153" y="556"/>
                  </a:lnTo>
                  <a:lnTo>
                    <a:pt x="1151" y="550"/>
                  </a:lnTo>
                  <a:lnTo>
                    <a:pt x="1148" y="546"/>
                  </a:lnTo>
                  <a:lnTo>
                    <a:pt x="1144" y="541"/>
                  </a:lnTo>
                  <a:lnTo>
                    <a:pt x="1145" y="539"/>
                  </a:lnTo>
                  <a:lnTo>
                    <a:pt x="1144" y="537"/>
                  </a:lnTo>
                  <a:lnTo>
                    <a:pt x="1141" y="539"/>
                  </a:lnTo>
                  <a:lnTo>
                    <a:pt x="1140" y="537"/>
                  </a:lnTo>
                  <a:lnTo>
                    <a:pt x="1138" y="536"/>
                  </a:lnTo>
                  <a:lnTo>
                    <a:pt x="1134" y="531"/>
                  </a:lnTo>
                  <a:lnTo>
                    <a:pt x="1127" y="529"/>
                  </a:lnTo>
                  <a:lnTo>
                    <a:pt x="1122" y="527"/>
                  </a:lnTo>
                  <a:lnTo>
                    <a:pt x="1120" y="530"/>
                  </a:lnTo>
                  <a:lnTo>
                    <a:pt x="1118" y="534"/>
                  </a:lnTo>
                  <a:lnTo>
                    <a:pt x="1117" y="540"/>
                  </a:lnTo>
                  <a:lnTo>
                    <a:pt x="1117" y="541"/>
                  </a:lnTo>
                  <a:lnTo>
                    <a:pt x="1114" y="543"/>
                  </a:lnTo>
                  <a:lnTo>
                    <a:pt x="1112" y="541"/>
                  </a:lnTo>
                  <a:lnTo>
                    <a:pt x="1110" y="541"/>
                  </a:lnTo>
                  <a:lnTo>
                    <a:pt x="1108" y="543"/>
                  </a:lnTo>
                  <a:lnTo>
                    <a:pt x="1108" y="546"/>
                  </a:lnTo>
                  <a:lnTo>
                    <a:pt x="1108" y="547"/>
                  </a:lnTo>
                  <a:lnTo>
                    <a:pt x="1107" y="549"/>
                  </a:lnTo>
                  <a:lnTo>
                    <a:pt x="1105" y="547"/>
                  </a:lnTo>
                  <a:lnTo>
                    <a:pt x="1102" y="546"/>
                  </a:lnTo>
                  <a:lnTo>
                    <a:pt x="1098" y="543"/>
                  </a:lnTo>
                  <a:lnTo>
                    <a:pt x="1092" y="539"/>
                  </a:lnTo>
                  <a:lnTo>
                    <a:pt x="1089" y="539"/>
                  </a:lnTo>
                  <a:lnTo>
                    <a:pt x="1084" y="539"/>
                  </a:lnTo>
                  <a:lnTo>
                    <a:pt x="1078" y="540"/>
                  </a:lnTo>
                  <a:lnTo>
                    <a:pt x="1075" y="543"/>
                  </a:lnTo>
                  <a:lnTo>
                    <a:pt x="1072" y="549"/>
                  </a:lnTo>
                  <a:lnTo>
                    <a:pt x="1072" y="552"/>
                  </a:lnTo>
                  <a:lnTo>
                    <a:pt x="1069" y="556"/>
                  </a:lnTo>
                  <a:lnTo>
                    <a:pt x="1069" y="562"/>
                  </a:lnTo>
                  <a:lnTo>
                    <a:pt x="1069" y="572"/>
                  </a:lnTo>
                  <a:lnTo>
                    <a:pt x="1069" y="579"/>
                  </a:lnTo>
                  <a:lnTo>
                    <a:pt x="1068" y="587"/>
                  </a:lnTo>
                  <a:lnTo>
                    <a:pt x="1067" y="596"/>
                  </a:lnTo>
                  <a:lnTo>
                    <a:pt x="1065" y="604"/>
                  </a:lnTo>
                  <a:lnTo>
                    <a:pt x="1064" y="609"/>
                  </a:lnTo>
                  <a:lnTo>
                    <a:pt x="1059" y="613"/>
                  </a:lnTo>
                  <a:lnTo>
                    <a:pt x="1057" y="617"/>
                  </a:lnTo>
                  <a:lnTo>
                    <a:pt x="1055" y="620"/>
                  </a:lnTo>
                  <a:lnTo>
                    <a:pt x="1055" y="625"/>
                  </a:lnTo>
                  <a:lnTo>
                    <a:pt x="1057" y="629"/>
                  </a:lnTo>
                  <a:lnTo>
                    <a:pt x="1058" y="630"/>
                  </a:lnTo>
                  <a:lnTo>
                    <a:pt x="1059" y="629"/>
                  </a:lnTo>
                  <a:lnTo>
                    <a:pt x="1061" y="625"/>
                  </a:lnTo>
                  <a:lnTo>
                    <a:pt x="1062" y="620"/>
                  </a:lnTo>
                  <a:lnTo>
                    <a:pt x="1064" y="619"/>
                  </a:lnTo>
                  <a:lnTo>
                    <a:pt x="1065" y="619"/>
                  </a:lnTo>
                  <a:lnTo>
                    <a:pt x="1067" y="622"/>
                  </a:lnTo>
                  <a:lnTo>
                    <a:pt x="1067" y="629"/>
                  </a:lnTo>
                  <a:lnTo>
                    <a:pt x="1064" y="639"/>
                  </a:lnTo>
                  <a:lnTo>
                    <a:pt x="1062" y="645"/>
                  </a:lnTo>
                  <a:lnTo>
                    <a:pt x="1059" y="650"/>
                  </a:lnTo>
                  <a:lnTo>
                    <a:pt x="1055" y="656"/>
                  </a:lnTo>
                  <a:lnTo>
                    <a:pt x="1051" y="660"/>
                  </a:lnTo>
                  <a:lnTo>
                    <a:pt x="1047" y="662"/>
                  </a:lnTo>
                  <a:lnTo>
                    <a:pt x="1044" y="665"/>
                  </a:lnTo>
                  <a:lnTo>
                    <a:pt x="1036" y="666"/>
                  </a:lnTo>
                  <a:lnTo>
                    <a:pt x="1028" y="670"/>
                  </a:lnTo>
                  <a:lnTo>
                    <a:pt x="1021" y="672"/>
                  </a:lnTo>
                  <a:lnTo>
                    <a:pt x="1012" y="673"/>
                  </a:lnTo>
                  <a:lnTo>
                    <a:pt x="1004" y="673"/>
                  </a:lnTo>
                  <a:lnTo>
                    <a:pt x="996" y="670"/>
                  </a:lnTo>
                  <a:lnTo>
                    <a:pt x="992" y="668"/>
                  </a:lnTo>
                  <a:lnTo>
                    <a:pt x="986" y="662"/>
                  </a:lnTo>
                  <a:lnTo>
                    <a:pt x="985" y="660"/>
                  </a:lnTo>
                  <a:lnTo>
                    <a:pt x="982" y="659"/>
                  </a:lnTo>
                  <a:lnTo>
                    <a:pt x="979" y="656"/>
                  </a:lnTo>
                  <a:lnTo>
                    <a:pt x="973" y="656"/>
                  </a:lnTo>
                  <a:lnTo>
                    <a:pt x="968" y="659"/>
                  </a:lnTo>
                  <a:lnTo>
                    <a:pt x="965" y="660"/>
                  </a:lnTo>
                  <a:lnTo>
                    <a:pt x="963" y="665"/>
                  </a:lnTo>
                  <a:lnTo>
                    <a:pt x="963" y="668"/>
                  </a:lnTo>
                  <a:lnTo>
                    <a:pt x="961" y="666"/>
                  </a:lnTo>
                  <a:lnTo>
                    <a:pt x="959" y="668"/>
                  </a:lnTo>
                  <a:lnTo>
                    <a:pt x="959" y="669"/>
                  </a:lnTo>
                  <a:lnTo>
                    <a:pt x="961" y="672"/>
                  </a:lnTo>
                  <a:lnTo>
                    <a:pt x="963" y="676"/>
                  </a:lnTo>
                  <a:lnTo>
                    <a:pt x="962" y="682"/>
                  </a:lnTo>
                  <a:lnTo>
                    <a:pt x="962" y="688"/>
                  </a:lnTo>
                  <a:lnTo>
                    <a:pt x="958" y="693"/>
                  </a:lnTo>
                  <a:lnTo>
                    <a:pt x="953" y="696"/>
                  </a:lnTo>
                  <a:lnTo>
                    <a:pt x="951" y="698"/>
                  </a:lnTo>
                  <a:lnTo>
                    <a:pt x="946" y="699"/>
                  </a:lnTo>
                  <a:lnTo>
                    <a:pt x="945" y="700"/>
                  </a:lnTo>
                  <a:lnTo>
                    <a:pt x="941" y="699"/>
                  </a:lnTo>
                  <a:lnTo>
                    <a:pt x="939" y="699"/>
                  </a:lnTo>
                  <a:lnTo>
                    <a:pt x="938" y="700"/>
                  </a:lnTo>
                  <a:lnTo>
                    <a:pt x="935" y="700"/>
                  </a:lnTo>
                  <a:lnTo>
                    <a:pt x="932" y="700"/>
                  </a:lnTo>
                  <a:lnTo>
                    <a:pt x="931" y="696"/>
                  </a:lnTo>
                  <a:lnTo>
                    <a:pt x="929" y="692"/>
                  </a:lnTo>
                  <a:lnTo>
                    <a:pt x="926" y="690"/>
                  </a:lnTo>
                  <a:lnTo>
                    <a:pt x="926" y="688"/>
                  </a:lnTo>
                  <a:lnTo>
                    <a:pt x="923" y="683"/>
                  </a:lnTo>
                  <a:lnTo>
                    <a:pt x="919" y="678"/>
                  </a:lnTo>
                  <a:lnTo>
                    <a:pt x="915" y="672"/>
                  </a:lnTo>
                  <a:lnTo>
                    <a:pt x="913" y="669"/>
                  </a:lnTo>
                  <a:lnTo>
                    <a:pt x="913" y="665"/>
                  </a:lnTo>
                  <a:lnTo>
                    <a:pt x="918" y="662"/>
                  </a:lnTo>
                  <a:lnTo>
                    <a:pt x="923" y="656"/>
                  </a:lnTo>
                  <a:lnTo>
                    <a:pt x="925" y="653"/>
                  </a:lnTo>
                  <a:lnTo>
                    <a:pt x="926" y="650"/>
                  </a:lnTo>
                  <a:lnTo>
                    <a:pt x="926" y="647"/>
                  </a:lnTo>
                  <a:lnTo>
                    <a:pt x="928" y="643"/>
                  </a:lnTo>
                  <a:lnTo>
                    <a:pt x="932" y="640"/>
                  </a:lnTo>
                  <a:lnTo>
                    <a:pt x="936" y="637"/>
                  </a:lnTo>
                  <a:lnTo>
                    <a:pt x="938" y="636"/>
                  </a:lnTo>
                  <a:lnTo>
                    <a:pt x="941" y="635"/>
                  </a:lnTo>
                  <a:lnTo>
                    <a:pt x="943" y="635"/>
                  </a:lnTo>
                  <a:lnTo>
                    <a:pt x="945" y="637"/>
                  </a:lnTo>
                  <a:lnTo>
                    <a:pt x="946" y="640"/>
                  </a:lnTo>
                  <a:lnTo>
                    <a:pt x="949" y="642"/>
                  </a:lnTo>
                  <a:lnTo>
                    <a:pt x="953" y="643"/>
                  </a:lnTo>
                  <a:lnTo>
                    <a:pt x="956" y="642"/>
                  </a:lnTo>
                  <a:lnTo>
                    <a:pt x="958" y="640"/>
                  </a:lnTo>
                  <a:lnTo>
                    <a:pt x="961" y="636"/>
                  </a:lnTo>
                  <a:lnTo>
                    <a:pt x="961" y="632"/>
                  </a:lnTo>
                  <a:lnTo>
                    <a:pt x="961" y="627"/>
                  </a:lnTo>
                  <a:lnTo>
                    <a:pt x="961" y="622"/>
                  </a:lnTo>
                  <a:lnTo>
                    <a:pt x="959" y="615"/>
                  </a:lnTo>
                  <a:lnTo>
                    <a:pt x="958" y="606"/>
                  </a:lnTo>
                  <a:lnTo>
                    <a:pt x="955" y="599"/>
                  </a:lnTo>
                  <a:lnTo>
                    <a:pt x="949" y="596"/>
                  </a:lnTo>
                  <a:lnTo>
                    <a:pt x="949" y="593"/>
                  </a:lnTo>
                  <a:lnTo>
                    <a:pt x="951" y="592"/>
                  </a:lnTo>
                  <a:lnTo>
                    <a:pt x="953" y="592"/>
                  </a:lnTo>
                  <a:lnTo>
                    <a:pt x="962" y="594"/>
                  </a:lnTo>
                  <a:lnTo>
                    <a:pt x="965" y="594"/>
                  </a:lnTo>
                  <a:lnTo>
                    <a:pt x="969" y="599"/>
                  </a:lnTo>
                  <a:lnTo>
                    <a:pt x="972" y="599"/>
                  </a:lnTo>
                  <a:lnTo>
                    <a:pt x="973" y="599"/>
                  </a:lnTo>
                  <a:lnTo>
                    <a:pt x="975" y="597"/>
                  </a:lnTo>
                  <a:lnTo>
                    <a:pt x="973" y="594"/>
                  </a:lnTo>
                  <a:lnTo>
                    <a:pt x="969" y="592"/>
                  </a:lnTo>
                  <a:lnTo>
                    <a:pt x="961" y="586"/>
                  </a:lnTo>
                  <a:lnTo>
                    <a:pt x="949" y="582"/>
                  </a:lnTo>
                  <a:lnTo>
                    <a:pt x="941" y="579"/>
                  </a:lnTo>
                  <a:lnTo>
                    <a:pt x="932" y="577"/>
                  </a:lnTo>
                  <a:lnTo>
                    <a:pt x="919" y="576"/>
                  </a:lnTo>
                  <a:lnTo>
                    <a:pt x="915" y="576"/>
                  </a:lnTo>
                  <a:lnTo>
                    <a:pt x="912" y="574"/>
                  </a:lnTo>
                  <a:lnTo>
                    <a:pt x="905" y="574"/>
                  </a:lnTo>
                  <a:lnTo>
                    <a:pt x="898" y="573"/>
                  </a:lnTo>
                  <a:lnTo>
                    <a:pt x="896" y="572"/>
                  </a:lnTo>
                  <a:lnTo>
                    <a:pt x="893" y="576"/>
                  </a:lnTo>
                  <a:lnTo>
                    <a:pt x="892" y="580"/>
                  </a:lnTo>
                  <a:lnTo>
                    <a:pt x="888" y="582"/>
                  </a:lnTo>
                  <a:lnTo>
                    <a:pt x="885" y="580"/>
                  </a:lnTo>
                  <a:lnTo>
                    <a:pt x="880" y="577"/>
                  </a:lnTo>
                  <a:lnTo>
                    <a:pt x="875" y="573"/>
                  </a:lnTo>
                  <a:lnTo>
                    <a:pt x="872" y="573"/>
                  </a:lnTo>
                  <a:lnTo>
                    <a:pt x="867" y="573"/>
                  </a:lnTo>
                  <a:lnTo>
                    <a:pt x="865" y="576"/>
                  </a:lnTo>
                  <a:lnTo>
                    <a:pt x="860" y="577"/>
                  </a:lnTo>
                  <a:lnTo>
                    <a:pt x="856" y="577"/>
                  </a:lnTo>
                  <a:lnTo>
                    <a:pt x="855" y="580"/>
                  </a:lnTo>
                  <a:lnTo>
                    <a:pt x="853" y="583"/>
                  </a:lnTo>
                  <a:lnTo>
                    <a:pt x="852" y="586"/>
                  </a:lnTo>
                  <a:lnTo>
                    <a:pt x="845" y="587"/>
                  </a:lnTo>
                  <a:lnTo>
                    <a:pt x="837" y="587"/>
                  </a:lnTo>
                  <a:lnTo>
                    <a:pt x="830" y="583"/>
                  </a:lnTo>
                  <a:lnTo>
                    <a:pt x="822" y="577"/>
                  </a:lnTo>
                  <a:lnTo>
                    <a:pt x="819" y="572"/>
                  </a:lnTo>
                  <a:lnTo>
                    <a:pt x="819" y="563"/>
                  </a:lnTo>
                  <a:lnTo>
                    <a:pt x="817" y="556"/>
                  </a:lnTo>
                  <a:lnTo>
                    <a:pt x="816" y="553"/>
                  </a:lnTo>
                  <a:lnTo>
                    <a:pt x="815" y="552"/>
                  </a:lnTo>
                  <a:lnTo>
                    <a:pt x="812" y="552"/>
                  </a:lnTo>
                  <a:lnTo>
                    <a:pt x="810" y="553"/>
                  </a:lnTo>
                  <a:lnTo>
                    <a:pt x="809" y="554"/>
                  </a:lnTo>
                  <a:lnTo>
                    <a:pt x="804" y="556"/>
                  </a:lnTo>
                  <a:lnTo>
                    <a:pt x="803" y="554"/>
                  </a:lnTo>
                  <a:lnTo>
                    <a:pt x="803" y="553"/>
                  </a:lnTo>
                  <a:lnTo>
                    <a:pt x="804" y="553"/>
                  </a:lnTo>
                  <a:lnTo>
                    <a:pt x="807" y="553"/>
                  </a:lnTo>
                  <a:lnTo>
                    <a:pt x="807" y="550"/>
                  </a:lnTo>
                  <a:lnTo>
                    <a:pt x="809" y="549"/>
                  </a:lnTo>
                  <a:lnTo>
                    <a:pt x="806" y="547"/>
                  </a:lnTo>
                  <a:lnTo>
                    <a:pt x="800" y="547"/>
                  </a:lnTo>
                  <a:lnTo>
                    <a:pt x="796" y="544"/>
                  </a:lnTo>
                  <a:lnTo>
                    <a:pt x="793" y="539"/>
                  </a:lnTo>
                  <a:lnTo>
                    <a:pt x="790" y="533"/>
                  </a:lnTo>
                  <a:lnTo>
                    <a:pt x="787" y="526"/>
                  </a:lnTo>
                  <a:lnTo>
                    <a:pt x="784" y="523"/>
                  </a:lnTo>
                  <a:lnTo>
                    <a:pt x="783" y="521"/>
                  </a:lnTo>
                  <a:lnTo>
                    <a:pt x="779" y="523"/>
                  </a:lnTo>
                  <a:lnTo>
                    <a:pt x="773" y="524"/>
                  </a:lnTo>
                  <a:lnTo>
                    <a:pt x="766" y="524"/>
                  </a:lnTo>
                  <a:lnTo>
                    <a:pt x="759" y="521"/>
                  </a:lnTo>
                  <a:lnTo>
                    <a:pt x="756" y="520"/>
                  </a:lnTo>
                  <a:lnTo>
                    <a:pt x="754" y="517"/>
                  </a:lnTo>
                  <a:lnTo>
                    <a:pt x="751" y="513"/>
                  </a:lnTo>
                  <a:lnTo>
                    <a:pt x="750" y="513"/>
                  </a:lnTo>
                  <a:lnTo>
                    <a:pt x="746" y="513"/>
                  </a:lnTo>
                  <a:lnTo>
                    <a:pt x="739" y="514"/>
                  </a:lnTo>
                  <a:lnTo>
                    <a:pt x="731" y="514"/>
                  </a:lnTo>
                  <a:lnTo>
                    <a:pt x="727" y="513"/>
                  </a:lnTo>
                  <a:lnTo>
                    <a:pt x="723" y="514"/>
                  </a:lnTo>
                  <a:lnTo>
                    <a:pt x="721" y="517"/>
                  </a:lnTo>
                  <a:lnTo>
                    <a:pt x="719" y="517"/>
                  </a:lnTo>
                  <a:lnTo>
                    <a:pt x="717" y="516"/>
                  </a:lnTo>
                  <a:lnTo>
                    <a:pt x="714" y="516"/>
                  </a:lnTo>
                  <a:lnTo>
                    <a:pt x="711" y="519"/>
                  </a:lnTo>
                  <a:lnTo>
                    <a:pt x="706" y="521"/>
                  </a:lnTo>
                  <a:lnTo>
                    <a:pt x="700" y="521"/>
                  </a:lnTo>
                  <a:lnTo>
                    <a:pt x="697" y="523"/>
                  </a:lnTo>
                  <a:lnTo>
                    <a:pt x="697" y="524"/>
                  </a:lnTo>
                  <a:lnTo>
                    <a:pt x="698" y="526"/>
                  </a:lnTo>
                  <a:lnTo>
                    <a:pt x="698" y="529"/>
                  </a:lnTo>
                  <a:lnTo>
                    <a:pt x="698" y="530"/>
                  </a:lnTo>
                  <a:lnTo>
                    <a:pt x="697" y="531"/>
                  </a:lnTo>
                  <a:lnTo>
                    <a:pt x="693" y="536"/>
                  </a:lnTo>
                  <a:lnTo>
                    <a:pt x="688" y="540"/>
                  </a:lnTo>
                  <a:lnTo>
                    <a:pt x="684" y="544"/>
                  </a:lnTo>
                  <a:lnTo>
                    <a:pt x="683" y="546"/>
                  </a:lnTo>
                  <a:lnTo>
                    <a:pt x="681" y="546"/>
                  </a:lnTo>
                  <a:lnTo>
                    <a:pt x="681" y="544"/>
                  </a:lnTo>
                  <a:lnTo>
                    <a:pt x="680" y="541"/>
                  </a:lnTo>
                  <a:lnTo>
                    <a:pt x="678" y="539"/>
                  </a:lnTo>
                  <a:lnTo>
                    <a:pt x="676" y="536"/>
                  </a:lnTo>
                  <a:lnTo>
                    <a:pt x="676" y="531"/>
                  </a:lnTo>
                  <a:lnTo>
                    <a:pt x="676" y="527"/>
                  </a:lnTo>
                  <a:lnTo>
                    <a:pt x="676" y="524"/>
                  </a:lnTo>
                  <a:lnTo>
                    <a:pt x="678" y="521"/>
                  </a:lnTo>
                  <a:lnTo>
                    <a:pt x="680" y="517"/>
                  </a:lnTo>
                  <a:lnTo>
                    <a:pt x="680" y="514"/>
                  </a:lnTo>
                  <a:lnTo>
                    <a:pt x="680" y="513"/>
                  </a:lnTo>
                  <a:lnTo>
                    <a:pt x="676" y="513"/>
                  </a:lnTo>
                  <a:lnTo>
                    <a:pt x="671" y="513"/>
                  </a:lnTo>
                  <a:lnTo>
                    <a:pt x="668" y="514"/>
                  </a:lnTo>
                  <a:lnTo>
                    <a:pt x="666" y="513"/>
                  </a:lnTo>
                  <a:lnTo>
                    <a:pt x="663" y="511"/>
                  </a:lnTo>
                  <a:lnTo>
                    <a:pt x="661" y="511"/>
                  </a:lnTo>
                  <a:lnTo>
                    <a:pt x="660" y="511"/>
                  </a:lnTo>
                  <a:lnTo>
                    <a:pt x="656" y="517"/>
                  </a:lnTo>
                  <a:lnTo>
                    <a:pt x="651" y="519"/>
                  </a:lnTo>
                  <a:lnTo>
                    <a:pt x="644" y="523"/>
                  </a:lnTo>
                  <a:lnTo>
                    <a:pt x="637" y="526"/>
                  </a:lnTo>
                  <a:lnTo>
                    <a:pt x="631" y="530"/>
                  </a:lnTo>
                  <a:lnTo>
                    <a:pt x="628" y="530"/>
                  </a:lnTo>
                  <a:lnTo>
                    <a:pt x="623" y="530"/>
                  </a:lnTo>
                  <a:lnTo>
                    <a:pt x="618" y="530"/>
                  </a:lnTo>
                  <a:lnTo>
                    <a:pt x="613" y="530"/>
                  </a:lnTo>
                  <a:lnTo>
                    <a:pt x="605" y="533"/>
                  </a:lnTo>
                  <a:lnTo>
                    <a:pt x="601" y="534"/>
                  </a:lnTo>
                  <a:lnTo>
                    <a:pt x="600" y="533"/>
                  </a:lnTo>
                  <a:lnTo>
                    <a:pt x="598" y="530"/>
                  </a:lnTo>
                  <a:lnTo>
                    <a:pt x="600" y="527"/>
                  </a:lnTo>
                  <a:lnTo>
                    <a:pt x="603" y="527"/>
                  </a:lnTo>
                  <a:lnTo>
                    <a:pt x="607" y="527"/>
                  </a:lnTo>
                  <a:lnTo>
                    <a:pt x="611" y="526"/>
                  </a:lnTo>
                  <a:lnTo>
                    <a:pt x="614" y="526"/>
                  </a:lnTo>
                  <a:lnTo>
                    <a:pt x="617" y="524"/>
                  </a:lnTo>
                  <a:lnTo>
                    <a:pt x="623" y="526"/>
                  </a:lnTo>
                  <a:lnTo>
                    <a:pt x="627" y="526"/>
                  </a:lnTo>
                  <a:lnTo>
                    <a:pt x="633" y="524"/>
                  </a:lnTo>
                  <a:lnTo>
                    <a:pt x="640" y="521"/>
                  </a:lnTo>
                  <a:lnTo>
                    <a:pt x="644" y="519"/>
                  </a:lnTo>
                  <a:lnTo>
                    <a:pt x="651" y="514"/>
                  </a:lnTo>
                  <a:lnTo>
                    <a:pt x="657" y="511"/>
                  </a:lnTo>
                  <a:lnTo>
                    <a:pt x="658" y="509"/>
                  </a:lnTo>
                  <a:lnTo>
                    <a:pt x="658" y="507"/>
                  </a:lnTo>
                  <a:lnTo>
                    <a:pt x="661" y="507"/>
                  </a:lnTo>
                  <a:lnTo>
                    <a:pt x="666" y="510"/>
                  </a:lnTo>
                  <a:lnTo>
                    <a:pt x="671" y="510"/>
                  </a:lnTo>
                  <a:lnTo>
                    <a:pt x="673" y="509"/>
                  </a:lnTo>
                  <a:lnTo>
                    <a:pt x="674" y="507"/>
                  </a:lnTo>
                  <a:lnTo>
                    <a:pt x="676" y="504"/>
                  </a:lnTo>
                  <a:lnTo>
                    <a:pt x="674" y="503"/>
                  </a:lnTo>
                  <a:lnTo>
                    <a:pt x="671" y="501"/>
                  </a:lnTo>
                  <a:lnTo>
                    <a:pt x="667" y="500"/>
                  </a:lnTo>
                  <a:lnTo>
                    <a:pt x="666" y="500"/>
                  </a:lnTo>
                  <a:lnTo>
                    <a:pt x="663" y="499"/>
                  </a:lnTo>
                  <a:lnTo>
                    <a:pt x="658" y="500"/>
                  </a:lnTo>
                  <a:lnTo>
                    <a:pt x="656" y="501"/>
                  </a:lnTo>
                  <a:lnTo>
                    <a:pt x="654" y="501"/>
                  </a:lnTo>
                  <a:lnTo>
                    <a:pt x="651" y="503"/>
                  </a:lnTo>
                  <a:lnTo>
                    <a:pt x="646" y="503"/>
                  </a:lnTo>
                  <a:lnTo>
                    <a:pt x="640" y="501"/>
                  </a:lnTo>
                  <a:lnTo>
                    <a:pt x="640" y="500"/>
                  </a:lnTo>
                  <a:lnTo>
                    <a:pt x="641" y="497"/>
                  </a:lnTo>
                  <a:lnTo>
                    <a:pt x="643" y="496"/>
                  </a:lnTo>
                  <a:lnTo>
                    <a:pt x="640" y="491"/>
                  </a:lnTo>
                  <a:lnTo>
                    <a:pt x="637" y="488"/>
                  </a:lnTo>
                  <a:lnTo>
                    <a:pt x="633" y="483"/>
                  </a:lnTo>
                  <a:lnTo>
                    <a:pt x="630" y="480"/>
                  </a:lnTo>
                  <a:lnTo>
                    <a:pt x="625" y="478"/>
                  </a:lnTo>
                  <a:lnTo>
                    <a:pt x="624" y="478"/>
                  </a:lnTo>
                  <a:lnTo>
                    <a:pt x="621" y="477"/>
                  </a:lnTo>
                  <a:lnTo>
                    <a:pt x="620" y="476"/>
                  </a:lnTo>
                  <a:lnTo>
                    <a:pt x="618" y="473"/>
                  </a:lnTo>
                  <a:lnTo>
                    <a:pt x="617" y="473"/>
                  </a:lnTo>
                  <a:lnTo>
                    <a:pt x="613" y="474"/>
                  </a:lnTo>
                  <a:lnTo>
                    <a:pt x="610" y="477"/>
                  </a:lnTo>
                  <a:lnTo>
                    <a:pt x="607" y="480"/>
                  </a:lnTo>
                  <a:lnTo>
                    <a:pt x="604" y="481"/>
                  </a:lnTo>
                  <a:lnTo>
                    <a:pt x="600" y="483"/>
                  </a:lnTo>
                  <a:lnTo>
                    <a:pt x="593" y="483"/>
                  </a:lnTo>
                  <a:lnTo>
                    <a:pt x="590" y="483"/>
                  </a:lnTo>
                  <a:lnTo>
                    <a:pt x="587" y="486"/>
                  </a:lnTo>
                  <a:lnTo>
                    <a:pt x="584" y="488"/>
                  </a:lnTo>
                  <a:lnTo>
                    <a:pt x="581" y="488"/>
                  </a:lnTo>
                  <a:lnTo>
                    <a:pt x="581" y="487"/>
                  </a:lnTo>
                  <a:lnTo>
                    <a:pt x="581" y="486"/>
                  </a:lnTo>
                  <a:lnTo>
                    <a:pt x="582" y="484"/>
                  </a:lnTo>
                  <a:lnTo>
                    <a:pt x="588" y="481"/>
                  </a:lnTo>
                  <a:lnTo>
                    <a:pt x="597" y="478"/>
                  </a:lnTo>
                  <a:lnTo>
                    <a:pt x="600" y="477"/>
                  </a:lnTo>
                  <a:lnTo>
                    <a:pt x="603" y="477"/>
                  </a:lnTo>
                  <a:lnTo>
                    <a:pt x="604" y="476"/>
                  </a:lnTo>
                  <a:lnTo>
                    <a:pt x="603" y="476"/>
                  </a:lnTo>
                  <a:lnTo>
                    <a:pt x="601" y="474"/>
                  </a:lnTo>
                  <a:lnTo>
                    <a:pt x="601" y="473"/>
                  </a:lnTo>
                  <a:lnTo>
                    <a:pt x="607" y="473"/>
                  </a:lnTo>
                  <a:lnTo>
                    <a:pt x="611" y="473"/>
                  </a:lnTo>
                  <a:lnTo>
                    <a:pt x="614" y="468"/>
                  </a:lnTo>
                  <a:lnTo>
                    <a:pt x="620" y="464"/>
                  </a:lnTo>
                  <a:lnTo>
                    <a:pt x="627" y="461"/>
                  </a:lnTo>
                  <a:lnTo>
                    <a:pt x="631" y="463"/>
                  </a:lnTo>
                  <a:lnTo>
                    <a:pt x="637" y="463"/>
                  </a:lnTo>
                  <a:lnTo>
                    <a:pt x="640" y="466"/>
                  </a:lnTo>
                  <a:lnTo>
                    <a:pt x="643" y="468"/>
                  </a:lnTo>
                  <a:lnTo>
                    <a:pt x="641" y="470"/>
                  </a:lnTo>
                  <a:lnTo>
                    <a:pt x="641" y="474"/>
                  </a:lnTo>
                  <a:lnTo>
                    <a:pt x="640" y="477"/>
                  </a:lnTo>
                  <a:lnTo>
                    <a:pt x="643" y="477"/>
                  </a:lnTo>
                  <a:lnTo>
                    <a:pt x="644" y="474"/>
                  </a:lnTo>
                  <a:lnTo>
                    <a:pt x="646" y="470"/>
                  </a:lnTo>
                  <a:lnTo>
                    <a:pt x="650" y="468"/>
                  </a:lnTo>
                  <a:lnTo>
                    <a:pt x="651" y="468"/>
                  </a:lnTo>
                  <a:lnTo>
                    <a:pt x="653" y="470"/>
                  </a:lnTo>
                  <a:lnTo>
                    <a:pt x="650" y="476"/>
                  </a:lnTo>
                  <a:lnTo>
                    <a:pt x="651" y="478"/>
                  </a:lnTo>
                  <a:lnTo>
                    <a:pt x="653" y="478"/>
                  </a:lnTo>
                  <a:lnTo>
                    <a:pt x="656" y="477"/>
                  </a:lnTo>
                  <a:lnTo>
                    <a:pt x="660" y="477"/>
                  </a:lnTo>
                  <a:lnTo>
                    <a:pt x="663" y="477"/>
                  </a:lnTo>
                  <a:lnTo>
                    <a:pt x="668" y="473"/>
                  </a:lnTo>
                  <a:lnTo>
                    <a:pt x="673" y="467"/>
                  </a:lnTo>
                  <a:lnTo>
                    <a:pt x="676" y="463"/>
                  </a:lnTo>
                  <a:lnTo>
                    <a:pt x="676" y="458"/>
                  </a:lnTo>
                  <a:lnTo>
                    <a:pt x="677" y="454"/>
                  </a:lnTo>
                  <a:lnTo>
                    <a:pt x="676" y="450"/>
                  </a:lnTo>
                  <a:lnTo>
                    <a:pt x="676" y="448"/>
                  </a:lnTo>
                  <a:lnTo>
                    <a:pt x="676" y="446"/>
                  </a:lnTo>
                  <a:lnTo>
                    <a:pt x="676" y="441"/>
                  </a:lnTo>
                  <a:lnTo>
                    <a:pt x="677" y="440"/>
                  </a:lnTo>
                  <a:lnTo>
                    <a:pt x="681" y="438"/>
                  </a:lnTo>
                  <a:lnTo>
                    <a:pt x="686" y="437"/>
                  </a:lnTo>
                  <a:lnTo>
                    <a:pt x="690" y="434"/>
                  </a:lnTo>
                  <a:lnTo>
                    <a:pt x="691" y="434"/>
                  </a:lnTo>
                  <a:lnTo>
                    <a:pt x="696" y="430"/>
                  </a:lnTo>
                  <a:lnTo>
                    <a:pt x="698" y="427"/>
                  </a:lnTo>
                  <a:lnTo>
                    <a:pt x="703" y="424"/>
                  </a:lnTo>
                  <a:lnTo>
                    <a:pt x="704" y="425"/>
                  </a:lnTo>
                  <a:lnTo>
                    <a:pt x="706" y="427"/>
                  </a:lnTo>
                  <a:lnTo>
                    <a:pt x="707" y="428"/>
                  </a:lnTo>
                  <a:lnTo>
                    <a:pt x="711" y="425"/>
                  </a:lnTo>
                  <a:lnTo>
                    <a:pt x="716" y="425"/>
                  </a:lnTo>
                  <a:lnTo>
                    <a:pt x="716" y="423"/>
                  </a:lnTo>
                  <a:lnTo>
                    <a:pt x="714" y="421"/>
                  </a:lnTo>
                  <a:lnTo>
                    <a:pt x="711" y="417"/>
                  </a:lnTo>
                  <a:lnTo>
                    <a:pt x="707" y="410"/>
                  </a:lnTo>
                  <a:lnTo>
                    <a:pt x="704" y="407"/>
                  </a:lnTo>
                  <a:lnTo>
                    <a:pt x="703" y="407"/>
                  </a:lnTo>
                  <a:lnTo>
                    <a:pt x="701" y="411"/>
                  </a:lnTo>
                  <a:lnTo>
                    <a:pt x="700" y="415"/>
                  </a:lnTo>
                  <a:lnTo>
                    <a:pt x="698" y="415"/>
                  </a:lnTo>
                  <a:lnTo>
                    <a:pt x="698" y="414"/>
                  </a:lnTo>
                  <a:lnTo>
                    <a:pt x="700" y="408"/>
                  </a:lnTo>
                  <a:lnTo>
                    <a:pt x="700" y="404"/>
                  </a:lnTo>
                  <a:lnTo>
                    <a:pt x="703" y="403"/>
                  </a:lnTo>
                  <a:lnTo>
                    <a:pt x="707" y="403"/>
                  </a:lnTo>
                  <a:lnTo>
                    <a:pt x="711" y="407"/>
                  </a:lnTo>
                  <a:lnTo>
                    <a:pt x="717" y="410"/>
                  </a:lnTo>
                  <a:lnTo>
                    <a:pt x="721" y="413"/>
                  </a:lnTo>
                  <a:lnTo>
                    <a:pt x="729" y="415"/>
                  </a:lnTo>
                  <a:lnTo>
                    <a:pt x="736" y="423"/>
                  </a:lnTo>
                  <a:lnTo>
                    <a:pt x="741" y="424"/>
                  </a:lnTo>
                  <a:lnTo>
                    <a:pt x="746" y="424"/>
                  </a:lnTo>
                  <a:lnTo>
                    <a:pt x="749" y="424"/>
                  </a:lnTo>
                  <a:lnTo>
                    <a:pt x="750" y="425"/>
                  </a:lnTo>
                  <a:lnTo>
                    <a:pt x="751" y="427"/>
                  </a:lnTo>
                  <a:lnTo>
                    <a:pt x="753" y="425"/>
                  </a:lnTo>
                  <a:lnTo>
                    <a:pt x="751" y="423"/>
                  </a:lnTo>
                  <a:lnTo>
                    <a:pt x="749" y="420"/>
                  </a:lnTo>
                  <a:lnTo>
                    <a:pt x="737" y="411"/>
                  </a:lnTo>
                  <a:lnTo>
                    <a:pt x="729" y="404"/>
                  </a:lnTo>
                  <a:lnTo>
                    <a:pt x="717" y="398"/>
                  </a:lnTo>
                  <a:lnTo>
                    <a:pt x="709" y="397"/>
                  </a:lnTo>
                  <a:lnTo>
                    <a:pt x="698" y="394"/>
                  </a:lnTo>
                  <a:lnTo>
                    <a:pt x="684" y="391"/>
                  </a:lnTo>
                  <a:lnTo>
                    <a:pt x="673" y="391"/>
                  </a:lnTo>
                  <a:lnTo>
                    <a:pt x="664" y="390"/>
                  </a:lnTo>
                  <a:lnTo>
                    <a:pt x="651" y="388"/>
                  </a:lnTo>
                  <a:lnTo>
                    <a:pt x="641" y="388"/>
                  </a:lnTo>
                  <a:lnTo>
                    <a:pt x="628" y="388"/>
                  </a:lnTo>
                  <a:lnTo>
                    <a:pt x="620" y="385"/>
                  </a:lnTo>
                  <a:lnTo>
                    <a:pt x="613" y="385"/>
                  </a:lnTo>
                  <a:lnTo>
                    <a:pt x="610" y="387"/>
                  </a:lnTo>
                  <a:lnTo>
                    <a:pt x="608" y="387"/>
                  </a:lnTo>
                  <a:lnTo>
                    <a:pt x="610" y="390"/>
                  </a:lnTo>
                  <a:lnTo>
                    <a:pt x="611" y="393"/>
                  </a:lnTo>
                  <a:lnTo>
                    <a:pt x="613" y="394"/>
                  </a:lnTo>
                  <a:lnTo>
                    <a:pt x="615" y="394"/>
                  </a:lnTo>
                  <a:lnTo>
                    <a:pt x="617" y="393"/>
                  </a:lnTo>
                  <a:lnTo>
                    <a:pt x="620" y="393"/>
                  </a:lnTo>
                  <a:lnTo>
                    <a:pt x="623" y="393"/>
                  </a:lnTo>
                  <a:lnTo>
                    <a:pt x="627" y="394"/>
                  </a:lnTo>
                  <a:lnTo>
                    <a:pt x="628" y="395"/>
                  </a:lnTo>
                  <a:lnTo>
                    <a:pt x="630" y="398"/>
                  </a:lnTo>
                  <a:lnTo>
                    <a:pt x="628" y="398"/>
                  </a:lnTo>
                  <a:lnTo>
                    <a:pt x="627" y="400"/>
                  </a:lnTo>
                  <a:lnTo>
                    <a:pt x="624" y="398"/>
                  </a:lnTo>
                  <a:lnTo>
                    <a:pt x="621" y="395"/>
                  </a:lnTo>
                  <a:lnTo>
                    <a:pt x="620" y="395"/>
                  </a:lnTo>
                  <a:lnTo>
                    <a:pt x="617" y="395"/>
                  </a:lnTo>
                  <a:lnTo>
                    <a:pt x="615" y="398"/>
                  </a:lnTo>
                  <a:lnTo>
                    <a:pt x="614" y="400"/>
                  </a:lnTo>
                  <a:lnTo>
                    <a:pt x="615" y="403"/>
                  </a:lnTo>
                  <a:lnTo>
                    <a:pt x="617" y="405"/>
                  </a:lnTo>
                  <a:lnTo>
                    <a:pt x="615" y="408"/>
                  </a:lnTo>
                  <a:lnTo>
                    <a:pt x="615" y="411"/>
                  </a:lnTo>
                  <a:lnTo>
                    <a:pt x="617" y="415"/>
                  </a:lnTo>
                  <a:lnTo>
                    <a:pt x="618" y="417"/>
                  </a:lnTo>
                  <a:lnTo>
                    <a:pt x="617" y="421"/>
                  </a:lnTo>
                  <a:lnTo>
                    <a:pt x="614" y="424"/>
                  </a:lnTo>
                  <a:lnTo>
                    <a:pt x="608" y="425"/>
                  </a:lnTo>
                  <a:lnTo>
                    <a:pt x="604" y="424"/>
                  </a:lnTo>
                  <a:lnTo>
                    <a:pt x="600" y="424"/>
                  </a:lnTo>
                  <a:lnTo>
                    <a:pt x="598" y="425"/>
                  </a:lnTo>
                  <a:lnTo>
                    <a:pt x="593" y="427"/>
                  </a:lnTo>
                  <a:lnTo>
                    <a:pt x="590" y="425"/>
                  </a:lnTo>
                  <a:lnTo>
                    <a:pt x="584" y="425"/>
                  </a:lnTo>
                  <a:lnTo>
                    <a:pt x="581" y="425"/>
                  </a:lnTo>
                  <a:lnTo>
                    <a:pt x="578" y="424"/>
                  </a:lnTo>
                  <a:lnTo>
                    <a:pt x="577" y="423"/>
                  </a:lnTo>
                  <a:lnTo>
                    <a:pt x="577" y="418"/>
                  </a:lnTo>
                  <a:lnTo>
                    <a:pt x="577" y="414"/>
                  </a:lnTo>
                  <a:lnTo>
                    <a:pt x="578" y="411"/>
                  </a:lnTo>
                  <a:lnTo>
                    <a:pt x="582" y="411"/>
                  </a:lnTo>
                  <a:lnTo>
                    <a:pt x="587" y="411"/>
                  </a:lnTo>
                  <a:lnTo>
                    <a:pt x="591" y="411"/>
                  </a:lnTo>
                  <a:lnTo>
                    <a:pt x="594" y="408"/>
                  </a:lnTo>
                  <a:lnTo>
                    <a:pt x="595" y="403"/>
                  </a:lnTo>
                  <a:lnTo>
                    <a:pt x="594" y="398"/>
                  </a:lnTo>
                  <a:lnTo>
                    <a:pt x="594" y="394"/>
                  </a:lnTo>
                  <a:lnTo>
                    <a:pt x="591" y="394"/>
                  </a:lnTo>
                  <a:lnTo>
                    <a:pt x="588" y="394"/>
                  </a:lnTo>
                  <a:lnTo>
                    <a:pt x="587" y="394"/>
                  </a:lnTo>
                  <a:lnTo>
                    <a:pt x="585" y="393"/>
                  </a:lnTo>
                  <a:lnTo>
                    <a:pt x="587" y="393"/>
                  </a:lnTo>
                  <a:lnTo>
                    <a:pt x="590" y="391"/>
                  </a:lnTo>
                  <a:lnTo>
                    <a:pt x="593" y="391"/>
                  </a:lnTo>
                  <a:lnTo>
                    <a:pt x="595" y="391"/>
                  </a:lnTo>
                  <a:lnTo>
                    <a:pt x="600" y="390"/>
                  </a:lnTo>
                  <a:lnTo>
                    <a:pt x="603" y="390"/>
                  </a:lnTo>
                  <a:lnTo>
                    <a:pt x="604" y="388"/>
                  </a:lnTo>
                  <a:lnTo>
                    <a:pt x="604" y="387"/>
                  </a:lnTo>
                  <a:lnTo>
                    <a:pt x="601" y="384"/>
                  </a:lnTo>
                  <a:lnTo>
                    <a:pt x="593" y="383"/>
                  </a:lnTo>
                  <a:lnTo>
                    <a:pt x="584" y="383"/>
                  </a:lnTo>
                  <a:lnTo>
                    <a:pt x="577" y="380"/>
                  </a:lnTo>
                  <a:lnTo>
                    <a:pt x="571" y="378"/>
                  </a:lnTo>
                  <a:lnTo>
                    <a:pt x="565" y="374"/>
                  </a:lnTo>
                  <a:lnTo>
                    <a:pt x="561" y="374"/>
                  </a:lnTo>
                  <a:lnTo>
                    <a:pt x="560" y="375"/>
                  </a:lnTo>
                  <a:lnTo>
                    <a:pt x="560" y="378"/>
                  </a:lnTo>
                  <a:lnTo>
                    <a:pt x="560" y="381"/>
                  </a:lnTo>
                  <a:lnTo>
                    <a:pt x="557" y="381"/>
                  </a:lnTo>
                  <a:lnTo>
                    <a:pt x="554" y="380"/>
                  </a:lnTo>
                  <a:lnTo>
                    <a:pt x="552" y="375"/>
                  </a:lnTo>
                  <a:lnTo>
                    <a:pt x="548" y="374"/>
                  </a:lnTo>
                  <a:lnTo>
                    <a:pt x="541" y="374"/>
                  </a:lnTo>
                  <a:lnTo>
                    <a:pt x="534" y="372"/>
                  </a:lnTo>
                  <a:lnTo>
                    <a:pt x="528" y="371"/>
                  </a:lnTo>
                  <a:lnTo>
                    <a:pt x="525" y="368"/>
                  </a:lnTo>
                  <a:lnTo>
                    <a:pt x="521" y="367"/>
                  </a:lnTo>
                  <a:lnTo>
                    <a:pt x="518" y="365"/>
                  </a:lnTo>
                  <a:lnTo>
                    <a:pt x="515" y="364"/>
                  </a:lnTo>
                  <a:lnTo>
                    <a:pt x="515" y="362"/>
                  </a:lnTo>
                  <a:lnTo>
                    <a:pt x="515" y="361"/>
                  </a:lnTo>
                  <a:lnTo>
                    <a:pt x="517" y="358"/>
                  </a:lnTo>
                  <a:lnTo>
                    <a:pt x="517" y="357"/>
                  </a:lnTo>
                  <a:lnTo>
                    <a:pt x="514" y="357"/>
                  </a:lnTo>
                  <a:lnTo>
                    <a:pt x="508" y="358"/>
                  </a:lnTo>
                  <a:lnTo>
                    <a:pt x="494" y="360"/>
                  </a:lnTo>
                  <a:lnTo>
                    <a:pt x="489" y="361"/>
                  </a:lnTo>
                  <a:lnTo>
                    <a:pt x="487" y="361"/>
                  </a:lnTo>
                  <a:lnTo>
                    <a:pt x="488" y="360"/>
                  </a:lnTo>
                  <a:lnTo>
                    <a:pt x="487" y="358"/>
                  </a:lnTo>
                  <a:lnTo>
                    <a:pt x="487" y="358"/>
                  </a:lnTo>
                  <a:lnTo>
                    <a:pt x="482" y="358"/>
                  </a:lnTo>
                  <a:lnTo>
                    <a:pt x="479" y="358"/>
                  </a:lnTo>
                  <a:lnTo>
                    <a:pt x="471" y="360"/>
                  </a:lnTo>
                  <a:lnTo>
                    <a:pt x="464" y="360"/>
                  </a:lnTo>
                  <a:lnTo>
                    <a:pt x="456" y="360"/>
                  </a:lnTo>
                  <a:lnTo>
                    <a:pt x="452" y="358"/>
                  </a:lnTo>
                  <a:lnTo>
                    <a:pt x="449" y="358"/>
                  </a:lnTo>
                  <a:lnTo>
                    <a:pt x="448" y="360"/>
                  </a:lnTo>
                  <a:lnTo>
                    <a:pt x="446" y="358"/>
                  </a:lnTo>
                  <a:lnTo>
                    <a:pt x="445" y="358"/>
                  </a:lnTo>
                  <a:lnTo>
                    <a:pt x="439" y="358"/>
                  </a:lnTo>
                  <a:lnTo>
                    <a:pt x="428" y="357"/>
                  </a:lnTo>
                  <a:lnTo>
                    <a:pt x="406" y="355"/>
                  </a:lnTo>
                  <a:lnTo>
                    <a:pt x="402" y="355"/>
                  </a:lnTo>
                  <a:lnTo>
                    <a:pt x="396" y="354"/>
                  </a:lnTo>
                  <a:lnTo>
                    <a:pt x="389" y="352"/>
                  </a:lnTo>
                  <a:lnTo>
                    <a:pt x="385" y="351"/>
                  </a:lnTo>
                  <a:lnTo>
                    <a:pt x="378" y="347"/>
                  </a:lnTo>
                  <a:lnTo>
                    <a:pt x="373" y="342"/>
                  </a:lnTo>
                  <a:lnTo>
                    <a:pt x="371" y="340"/>
                  </a:lnTo>
                  <a:lnTo>
                    <a:pt x="369" y="335"/>
                  </a:lnTo>
                  <a:lnTo>
                    <a:pt x="368" y="330"/>
                  </a:lnTo>
                  <a:lnTo>
                    <a:pt x="368" y="324"/>
                  </a:lnTo>
                  <a:lnTo>
                    <a:pt x="369" y="317"/>
                  </a:lnTo>
                  <a:lnTo>
                    <a:pt x="368" y="315"/>
                  </a:lnTo>
                  <a:lnTo>
                    <a:pt x="365" y="314"/>
                  </a:lnTo>
                  <a:lnTo>
                    <a:pt x="363" y="317"/>
                  </a:lnTo>
                  <a:lnTo>
                    <a:pt x="363" y="322"/>
                  </a:lnTo>
                  <a:lnTo>
                    <a:pt x="363" y="327"/>
                  </a:lnTo>
                  <a:lnTo>
                    <a:pt x="365" y="330"/>
                  </a:lnTo>
                  <a:lnTo>
                    <a:pt x="365" y="334"/>
                  </a:lnTo>
                  <a:lnTo>
                    <a:pt x="363" y="338"/>
                  </a:lnTo>
                  <a:lnTo>
                    <a:pt x="359" y="342"/>
                  </a:lnTo>
                  <a:lnTo>
                    <a:pt x="353" y="345"/>
                  </a:lnTo>
                  <a:lnTo>
                    <a:pt x="349" y="348"/>
                  </a:lnTo>
                  <a:lnTo>
                    <a:pt x="345" y="348"/>
                  </a:lnTo>
                  <a:lnTo>
                    <a:pt x="343" y="347"/>
                  </a:lnTo>
                  <a:lnTo>
                    <a:pt x="336" y="347"/>
                  </a:lnTo>
                  <a:lnTo>
                    <a:pt x="332" y="345"/>
                  </a:lnTo>
                  <a:lnTo>
                    <a:pt x="330" y="344"/>
                  </a:lnTo>
                  <a:lnTo>
                    <a:pt x="328" y="341"/>
                  </a:lnTo>
                  <a:lnTo>
                    <a:pt x="326" y="337"/>
                  </a:lnTo>
                  <a:lnTo>
                    <a:pt x="325" y="335"/>
                  </a:lnTo>
                  <a:lnTo>
                    <a:pt x="320" y="334"/>
                  </a:lnTo>
                  <a:lnTo>
                    <a:pt x="318" y="334"/>
                  </a:lnTo>
                  <a:lnTo>
                    <a:pt x="313" y="332"/>
                  </a:lnTo>
                  <a:lnTo>
                    <a:pt x="310" y="331"/>
                  </a:lnTo>
                  <a:lnTo>
                    <a:pt x="309" y="327"/>
                  </a:lnTo>
                  <a:lnTo>
                    <a:pt x="308" y="324"/>
                  </a:lnTo>
                  <a:lnTo>
                    <a:pt x="303" y="322"/>
                  </a:lnTo>
                  <a:lnTo>
                    <a:pt x="299" y="322"/>
                  </a:lnTo>
                  <a:lnTo>
                    <a:pt x="295" y="324"/>
                  </a:lnTo>
                  <a:lnTo>
                    <a:pt x="292" y="328"/>
                  </a:lnTo>
                  <a:lnTo>
                    <a:pt x="290" y="334"/>
                  </a:lnTo>
                  <a:lnTo>
                    <a:pt x="289" y="341"/>
                  </a:lnTo>
                  <a:lnTo>
                    <a:pt x="285" y="344"/>
                  </a:lnTo>
                  <a:lnTo>
                    <a:pt x="279" y="345"/>
                  </a:lnTo>
                  <a:lnTo>
                    <a:pt x="272" y="348"/>
                  </a:lnTo>
                  <a:lnTo>
                    <a:pt x="263" y="348"/>
                  </a:lnTo>
                  <a:lnTo>
                    <a:pt x="260" y="352"/>
                  </a:lnTo>
                  <a:lnTo>
                    <a:pt x="257" y="357"/>
                  </a:lnTo>
                  <a:lnTo>
                    <a:pt x="256" y="360"/>
                  </a:lnTo>
                  <a:lnTo>
                    <a:pt x="253" y="361"/>
                  </a:lnTo>
                  <a:lnTo>
                    <a:pt x="249" y="360"/>
                  </a:lnTo>
                  <a:lnTo>
                    <a:pt x="246" y="361"/>
                  </a:lnTo>
                  <a:lnTo>
                    <a:pt x="244" y="362"/>
                  </a:lnTo>
                  <a:lnTo>
                    <a:pt x="243" y="365"/>
                  </a:lnTo>
                  <a:lnTo>
                    <a:pt x="242" y="371"/>
                  </a:lnTo>
                  <a:lnTo>
                    <a:pt x="239" y="374"/>
                  </a:lnTo>
                  <a:lnTo>
                    <a:pt x="234" y="377"/>
                  </a:lnTo>
                  <a:lnTo>
                    <a:pt x="229" y="381"/>
                  </a:lnTo>
                  <a:lnTo>
                    <a:pt x="223" y="385"/>
                  </a:lnTo>
                  <a:lnTo>
                    <a:pt x="214" y="387"/>
                  </a:lnTo>
                  <a:lnTo>
                    <a:pt x="210" y="387"/>
                  </a:lnTo>
                  <a:lnTo>
                    <a:pt x="206" y="387"/>
                  </a:lnTo>
                  <a:lnTo>
                    <a:pt x="204" y="385"/>
                  </a:lnTo>
                  <a:lnTo>
                    <a:pt x="202" y="381"/>
                  </a:lnTo>
                  <a:lnTo>
                    <a:pt x="197" y="377"/>
                  </a:lnTo>
                  <a:lnTo>
                    <a:pt x="193" y="375"/>
                  </a:lnTo>
                  <a:lnTo>
                    <a:pt x="183" y="371"/>
                  </a:lnTo>
                  <a:lnTo>
                    <a:pt x="177" y="368"/>
                  </a:lnTo>
                  <a:lnTo>
                    <a:pt x="174" y="365"/>
                  </a:lnTo>
                  <a:lnTo>
                    <a:pt x="171" y="365"/>
                  </a:lnTo>
                  <a:lnTo>
                    <a:pt x="167" y="370"/>
                  </a:lnTo>
                  <a:lnTo>
                    <a:pt x="166" y="368"/>
                  </a:lnTo>
                  <a:lnTo>
                    <a:pt x="166" y="365"/>
                  </a:lnTo>
                  <a:lnTo>
                    <a:pt x="166" y="361"/>
                  </a:lnTo>
                  <a:lnTo>
                    <a:pt x="166" y="358"/>
                  </a:lnTo>
                  <a:lnTo>
                    <a:pt x="164" y="357"/>
                  </a:lnTo>
                  <a:lnTo>
                    <a:pt x="163" y="355"/>
                  </a:lnTo>
                  <a:lnTo>
                    <a:pt x="159" y="355"/>
                  </a:lnTo>
                  <a:lnTo>
                    <a:pt x="156" y="354"/>
                  </a:lnTo>
                  <a:lnTo>
                    <a:pt x="154" y="351"/>
                  </a:lnTo>
                  <a:lnTo>
                    <a:pt x="153" y="350"/>
                  </a:lnTo>
                  <a:lnTo>
                    <a:pt x="151" y="351"/>
                  </a:lnTo>
                  <a:lnTo>
                    <a:pt x="149" y="350"/>
                  </a:lnTo>
                  <a:lnTo>
                    <a:pt x="149" y="348"/>
                  </a:lnTo>
                  <a:lnTo>
                    <a:pt x="151" y="347"/>
                  </a:lnTo>
                  <a:lnTo>
                    <a:pt x="153" y="347"/>
                  </a:lnTo>
                  <a:lnTo>
                    <a:pt x="154" y="348"/>
                  </a:lnTo>
                  <a:lnTo>
                    <a:pt x="156" y="344"/>
                  </a:lnTo>
                  <a:lnTo>
                    <a:pt x="153" y="341"/>
                  </a:lnTo>
                  <a:lnTo>
                    <a:pt x="150" y="338"/>
                  </a:lnTo>
                  <a:lnTo>
                    <a:pt x="143" y="337"/>
                  </a:lnTo>
                  <a:lnTo>
                    <a:pt x="139" y="334"/>
                  </a:lnTo>
                  <a:lnTo>
                    <a:pt x="136" y="331"/>
                  </a:lnTo>
                  <a:lnTo>
                    <a:pt x="130" y="327"/>
                  </a:lnTo>
                  <a:lnTo>
                    <a:pt x="130" y="324"/>
                  </a:lnTo>
                  <a:lnTo>
                    <a:pt x="128" y="315"/>
                  </a:lnTo>
                  <a:lnTo>
                    <a:pt x="128" y="309"/>
                  </a:lnTo>
                  <a:lnTo>
                    <a:pt x="128" y="301"/>
                  </a:lnTo>
                  <a:lnTo>
                    <a:pt x="131" y="295"/>
                  </a:lnTo>
                  <a:lnTo>
                    <a:pt x="134" y="291"/>
                  </a:lnTo>
                  <a:lnTo>
                    <a:pt x="139" y="285"/>
                  </a:lnTo>
                  <a:lnTo>
                    <a:pt x="140" y="279"/>
                  </a:lnTo>
                  <a:lnTo>
                    <a:pt x="141" y="277"/>
                  </a:lnTo>
                  <a:lnTo>
                    <a:pt x="146" y="272"/>
                  </a:lnTo>
                  <a:lnTo>
                    <a:pt x="149" y="268"/>
                  </a:lnTo>
                  <a:lnTo>
                    <a:pt x="150" y="264"/>
                  </a:lnTo>
                  <a:lnTo>
                    <a:pt x="149" y="258"/>
                  </a:lnTo>
                  <a:lnTo>
                    <a:pt x="147" y="255"/>
                  </a:lnTo>
                  <a:lnTo>
                    <a:pt x="147" y="252"/>
                  </a:lnTo>
                  <a:lnTo>
                    <a:pt x="146" y="248"/>
                  </a:lnTo>
                  <a:lnTo>
                    <a:pt x="143" y="246"/>
                  </a:lnTo>
                  <a:lnTo>
                    <a:pt x="141" y="238"/>
                  </a:lnTo>
                  <a:lnTo>
                    <a:pt x="141" y="231"/>
                  </a:lnTo>
                  <a:lnTo>
                    <a:pt x="141" y="225"/>
                  </a:lnTo>
                  <a:lnTo>
                    <a:pt x="143" y="215"/>
                  </a:lnTo>
                  <a:lnTo>
                    <a:pt x="147" y="209"/>
                  </a:lnTo>
                  <a:lnTo>
                    <a:pt x="157" y="206"/>
                  </a:lnTo>
                  <a:lnTo>
                    <a:pt x="166" y="203"/>
                  </a:lnTo>
                  <a:lnTo>
                    <a:pt x="170" y="203"/>
                  </a:lnTo>
                  <a:lnTo>
                    <a:pt x="173" y="203"/>
                  </a:lnTo>
                  <a:lnTo>
                    <a:pt x="179" y="203"/>
                  </a:lnTo>
                  <a:lnTo>
                    <a:pt x="184" y="205"/>
                  </a:lnTo>
                  <a:lnTo>
                    <a:pt x="190" y="205"/>
                  </a:lnTo>
                  <a:lnTo>
                    <a:pt x="193" y="205"/>
                  </a:lnTo>
                  <a:lnTo>
                    <a:pt x="194" y="206"/>
                  </a:lnTo>
                  <a:lnTo>
                    <a:pt x="196" y="206"/>
                  </a:lnTo>
                  <a:lnTo>
                    <a:pt x="197" y="203"/>
                  </a:lnTo>
                  <a:lnTo>
                    <a:pt x="197" y="201"/>
                  </a:lnTo>
                  <a:lnTo>
                    <a:pt x="200" y="199"/>
                  </a:lnTo>
                  <a:lnTo>
                    <a:pt x="204" y="199"/>
                  </a:lnTo>
                  <a:lnTo>
                    <a:pt x="209" y="201"/>
                  </a:lnTo>
                  <a:lnTo>
                    <a:pt x="210" y="201"/>
                  </a:lnTo>
                  <a:lnTo>
                    <a:pt x="214" y="202"/>
                  </a:lnTo>
                  <a:lnTo>
                    <a:pt x="219" y="205"/>
                  </a:lnTo>
                  <a:lnTo>
                    <a:pt x="223" y="209"/>
                  </a:lnTo>
                  <a:lnTo>
                    <a:pt x="230" y="215"/>
                  </a:lnTo>
                  <a:lnTo>
                    <a:pt x="236" y="216"/>
                  </a:lnTo>
                  <a:lnTo>
                    <a:pt x="240" y="218"/>
                  </a:lnTo>
                  <a:lnTo>
                    <a:pt x="244" y="222"/>
                  </a:lnTo>
                  <a:lnTo>
                    <a:pt x="250" y="228"/>
                  </a:lnTo>
                  <a:lnTo>
                    <a:pt x="256" y="229"/>
                  </a:lnTo>
                  <a:lnTo>
                    <a:pt x="259" y="231"/>
                  </a:lnTo>
                  <a:lnTo>
                    <a:pt x="262" y="232"/>
                  </a:lnTo>
                  <a:lnTo>
                    <a:pt x="265" y="238"/>
                  </a:lnTo>
                  <a:lnTo>
                    <a:pt x="269" y="244"/>
                  </a:lnTo>
                  <a:lnTo>
                    <a:pt x="272" y="245"/>
                  </a:lnTo>
                  <a:lnTo>
                    <a:pt x="275" y="245"/>
                  </a:lnTo>
                  <a:lnTo>
                    <a:pt x="277" y="244"/>
                  </a:lnTo>
                  <a:lnTo>
                    <a:pt x="279" y="242"/>
                  </a:lnTo>
                  <a:lnTo>
                    <a:pt x="282" y="239"/>
                  </a:lnTo>
                  <a:lnTo>
                    <a:pt x="283" y="234"/>
                  </a:lnTo>
                  <a:lnTo>
                    <a:pt x="286" y="226"/>
                  </a:lnTo>
                  <a:lnTo>
                    <a:pt x="289" y="219"/>
                  </a:lnTo>
                  <a:lnTo>
                    <a:pt x="295" y="214"/>
                  </a:lnTo>
                  <a:lnTo>
                    <a:pt x="297" y="209"/>
                  </a:lnTo>
                  <a:lnTo>
                    <a:pt x="300" y="208"/>
                  </a:lnTo>
                  <a:lnTo>
                    <a:pt x="303" y="205"/>
                  </a:lnTo>
                  <a:lnTo>
                    <a:pt x="305" y="201"/>
                  </a:lnTo>
                  <a:lnTo>
                    <a:pt x="306" y="195"/>
                  </a:lnTo>
                  <a:lnTo>
                    <a:pt x="306" y="189"/>
                  </a:lnTo>
                  <a:lnTo>
                    <a:pt x="303" y="182"/>
                  </a:lnTo>
                  <a:lnTo>
                    <a:pt x="305" y="176"/>
                  </a:lnTo>
                  <a:lnTo>
                    <a:pt x="306" y="169"/>
                  </a:lnTo>
                  <a:lnTo>
                    <a:pt x="308" y="165"/>
                  </a:lnTo>
                  <a:lnTo>
                    <a:pt x="308" y="162"/>
                  </a:lnTo>
                  <a:lnTo>
                    <a:pt x="309" y="159"/>
                  </a:lnTo>
                  <a:lnTo>
                    <a:pt x="310" y="156"/>
                  </a:lnTo>
                  <a:lnTo>
                    <a:pt x="310" y="152"/>
                  </a:lnTo>
                  <a:lnTo>
                    <a:pt x="312" y="146"/>
                  </a:lnTo>
                  <a:lnTo>
                    <a:pt x="313" y="143"/>
                  </a:lnTo>
                  <a:lnTo>
                    <a:pt x="318" y="143"/>
                  </a:lnTo>
                  <a:lnTo>
                    <a:pt x="318" y="142"/>
                  </a:lnTo>
                  <a:lnTo>
                    <a:pt x="319" y="139"/>
                  </a:lnTo>
                  <a:lnTo>
                    <a:pt x="315" y="129"/>
                  </a:lnTo>
                  <a:lnTo>
                    <a:pt x="312" y="116"/>
                  </a:lnTo>
                  <a:lnTo>
                    <a:pt x="306" y="105"/>
                  </a:lnTo>
                  <a:lnTo>
                    <a:pt x="293" y="87"/>
                  </a:lnTo>
                  <a:lnTo>
                    <a:pt x="280" y="75"/>
                  </a:lnTo>
                  <a:lnTo>
                    <a:pt x="273" y="69"/>
                  </a:lnTo>
                  <a:lnTo>
                    <a:pt x="262" y="57"/>
                  </a:lnTo>
                  <a:lnTo>
                    <a:pt x="255" y="53"/>
                  </a:lnTo>
                  <a:lnTo>
                    <a:pt x="253" y="49"/>
                  </a:lnTo>
                  <a:lnTo>
                    <a:pt x="252" y="42"/>
                  </a:lnTo>
                  <a:lnTo>
                    <a:pt x="250" y="34"/>
                  </a:lnTo>
                  <a:lnTo>
                    <a:pt x="252" y="29"/>
                  </a:lnTo>
                  <a:lnTo>
                    <a:pt x="250" y="24"/>
                  </a:lnTo>
                  <a:lnTo>
                    <a:pt x="249" y="14"/>
                  </a:lnTo>
                  <a:lnTo>
                    <a:pt x="246" y="4"/>
                  </a:lnTo>
                  <a:lnTo>
                    <a:pt x="242" y="0"/>
                  </a:lnTo>
                  <a:lnTo>
                    <a:pt x="239" y="0"/>
                  </a:lnTo>
                  <a:lnTo>
                    <a:pt x="236" y="3"/>
                  </a:lnTo>
                  <a:lnTo>
                    <a:pt x="233" y="12"/>
                  </a:lnTo>
                  <a:lnTo>
                    <a:pt x="233" y="23"/>
                  </a:lnTo>
                  <a:lnTo>
                    <a:pt x="233" y="42"/>
                  </a:lnTo>
                  <a:lnTo>
                    <a:pt x="233" y="67"/>
                  </a:lnTo>
                  <a:lnTo>
                    <a:pt x="232" y="79"/>
                  </a:lnTo>
                  <a:lnTo>
                    <a:pt x="230" y="85"/>
                  </a:lnTo>
                  <a:lnTo>
                    <a:pt x="224" y="90"/>
                  </a:lnTo>
                  <a:lnTo>
                    <a:pt x="210" y="99"/>
                  </a:lnTo>
                  <a:lnTo>
                    <a:pt x="209" y="100"/>
                  </a:lnTo>
                  <a:lnTo>
                    <a:pt x="204" y="100"/>
                  </a:lnTo>
                  <a:lnTo>
                    <a:pt x="200" y="102"/>
                  </a:lnTo>
                  <a:lnTo>
                    <a:pt x="197" y="103"/>
                  </a:lnTo>
                  <a:lnTo>
                    <a:pt x="196" y="105"/>
                  </a:lnTo>
                  <a:lnTo>
                    <a:pt x="196" y="109"/>
                  </a:lnTo>
                  <a:lnTo>
                    <a:pt x="194" y="109"/>
                  </a:lnTo>
                  <a:lnTo>
                    <a:pt x="189" y="110"/>
                  </a:lnTo>
                  <a:lnTo>
                    <a:pt x="187" y="110"/>
                  </a:lnTo>
                  <a:lnTo>
                    <a:pt x="183" y="113"/>
                  </a:lnTo>
                  <a:lnTo>
                    <a:pt x="180" y="115"/>
                  </a:lnTo>
                  <a:lnTo>
                    <a:pt x="177" y="116"/>
                  </a:lnTo>
                  <a:lnTo>
                    <a:pt x="176" y="119"/>
                  </a:lnTo>
                  <a:lnTo>
                    <a:pt x="179" y="120"/>
                  </a:lnTo>
                  <a:lnTo>
                    <a:pt x="181" y="120"/>
                  </a:lnTo>
                  <a:lnTo>
                    <a:pt x="183" y="123"/>
                  </a:lnTo>
                  <a:lnTo>
                    <a:pt x="181" y="125"/>
                  </a:lnTo>
                  <a:lnTo>
                    <a:pt x="177" y="125"/>
                  </a:lnTo>
                  <a:lnTo>
                    <a:pt x="174" y="123"/>
                  </a:lnTo>
                  <a:lnTo>
                    <a:pt x="173" y="122"/>
                  </a:lnTo>
                  <a:lnTo>
                    <a:pt x="169" y="120"/>
                  </a:lnTo>
                  <a:lnTo>
                    <a:pt x="167" y="122"/>
                  </a:lnTo>
                  <a:lnTo>
                    <a:pt x="163" y="126"/>
                  </a:lnTo>
                  <a:lnTo>
                    <a:pt x="160" y="129"/>
                  </a:lnTo>
                  <a:lnTo>
                    <a:pt x="157" y="132"/>
                  </a:lnTo>
                  <a:lnTo>
                    <a:pt x="153" y="135"/>
                  </a:lnTo>
                  <a:lnTo>
                    <a:pt x="151" y="136"/>
                  </a:lnTo>
                  <a:lnTo>
                    <a:pt x="147" y="138"/>
                  </a:lnTo>
                  <a:lnTo>
                    <a:pt x="146" y="139"/>
                  </a:lnTo>
                  <a:lnTo>
                    <a:pt x="147" y="140"/>
                  </a:lnTo>
                  <a:lnTo>
                    <a:pt x="149" y="143"/>
                  </a:lnTo>
                  <a:lnTo>
                    <a:pt x="137" y="145"/>
                  </a:lnTo>
                  <a:lnTo>
                    <a:pt x="134" y="146"/>
                  </a:lnTo>
                  <a:lnTo>
                    <a:pt x="130" y="148"/>
                  </a:lnTo>
                  <a:lnTo>
                    <a:pt x="124" y="150"/>
                  </a:lnTo>
                  <a:lnTo>
                    <a:pt x="116" y="153"/>
                  </a:lnTo>
                  <a:lnTo>
                    <a:pt x="111" y="155"/>
                  </a:lnTo>
                  <a:lnTo>
                    <a:pt x="110" y="155"/>
                  </a:lnTo>
                  <a:lnTo>
                    <a:pt x="100" y="159"/>
                  </a:lnTo>
                  <a:lnTo>
                    <a:pt x="87" y="165"/>
                  </a:lnTo>
                  <a:lnTo>
                    <a:pt x="78" y="169"/>
                  </a:lnTo>
                  <a:lnTo>
                    <a:pt x="75" y="171"/>
                  </a:lnTo>
                  <a:lnTo>
                    <a:pt x="74" y="173"/>
                  </a:lnTo>
                  <a:lnTo>
                    <a:pt x="73" y="183"/>
                  </a:lnTo>
                  <a:lnTo>
                    <a:pt x="74" y="186"/>
                  </a:lnTo>
                  <a:lnTo>
                    <a:pt x="78" y="189"/>
                  </a:lnTo>
                  <a:lnTo>
                    <a:pt x="80" y="192"/>
                  </a:lnTo>
                  <a:lnTo>
                    <a:pt x="80" y="198"/>
                  </a:lnTo>
                  <a:lnTo>
                    <a:pt x="78" y="202"/>
                  </a:lnTo>
                  <a:lnTo>
                    <a:pt x="78" y="211"/>
                  </a:lnTo>
                  <a:lnTo>
                    <a:pt x="80" y="212"/>
                  </a:lnTo>
                  <a:lnTo>
                    <a:pt x="81" y="214"/>
                  </a:lnTo>
                  <a:lnTo>
                    <a:pt x="83" y="215"/>
                  </a:lnTo>
                  <a:lnTo>
                    <a:pt x="81" y="216"/>
                  </a:lnTo>
                  <a:lnTo>
                    <a:pt x="77" y="216"/>
                  </a:lnTo>
                  <a:lnTo>
                    <a:pt x="77" y="219"/>
                  </a:lnTo>
                  <a:lnTo>
                    <a:pt x="75" y="224"/>
                  </a:lnTo>
                  <a:lnTo>
                    <a:pt x="74" y="226"/>
                  </a:lnTo>
                  <a:lnTo>
                    <a:pt x="73" y="232"/>
                  </a:lnTo>
                  <a:lnTo>
                    <a:pt x="71" y="234"/>
                  </a:lnTo>
                  <a:lnTo>
                    <a:pt x="70" y="235"/>
                  </a:lnTo>
                  <a:lnTo>
                    <a:pt x="70" y="238"/>
                  </a:lnTo>
                  <a:lnTo>
                    <a:pt x="71" y="239"/>
                  </a:lnTo>
                  <a:lnTo>
                    <a:pt x="70" y="242"/>
                  </a:lnTo>
                  <a:lnTo>
                    <a:pt x="68" y="241"/>
                  </a:lnTo>
                  <a:lnTo>
                    <a:pt x="67" y="241"/>
                  </a:lnTo>
                  <a:lnTo>
                    <a:pt x="64" y="242"/>
                  </a:lnTo>
                  <a:lnTo>
                    <a:pt x="63" y="244"/>
                  </a:lnTo>
                  <a:lnTo>
                    <a:pt x="61" y="246"/>
                  </a:lnTo>
                  <a:lnTo>
                    <a:pt x="60" y="248"/>
                  </a:lnTo>
                  <a:lnTo>
                    <a:pt x="57" y="249"/>
                  </a:lnTo>
                  <a:lnTo>
                    <a:pt x="51" y="248"/>
                  </a:lnTo>
                  <a:lnTo>
                    <a:pt x="48" y="249"/>
                  </a:lnTo>
                  <a:lnTo>
                    <a:pt x="45" y="251"/>
                  </a:lnTo>
                  <a:lnTo>
                    <a:pt x="43" y="254"/>
                  </a:lnTo>
                  <a:lnTo>
                    <a:pt x="41" y="256"/>
                  </a:lnTo>
                  <a:lnTo>
                    <a:pt x="41" y="259"/>
                  </a:lnTo>
                  <a:lnTo>
                    <a:pt x="40" y="265"/>
                  </a:lnTo>
                  <a:lnTo>
                    <a:pt x="40" y="268"/>
                  </a:lnTo>
                  <a:lnTo>
                    <a:pt x="40" y="271"/>
                  </a:lnTo>
                  <a:lnTo>
                    <a:pt x="37" y="268"/>
                  </a:lnTo>
                  <a:lnTo>
                    <a:pt x="31" y="268"/>
                  </a:lnTo>
                  <a:lnTo>
                    <a:pt x="24" y="272"/>
                  </a:lnTo>
                  <a:lnTo>
                    <a:pt x="21" y="275"/>
                  </a:lnTo>
                  <a:lnTo>
                    <a:pt x="15" y="278"/>
                  </a:lnTo>
                  <a:lnTo>
                    <a:pt x="14" y="279"/>
                  </a:lnTo>
                  <a:lnTo>
                    <a:pt x="4" y="281"/>
                  </a:lnTo>
                  <a:lnTo>
                    <a:pt x="7" y="288"/>
                  </a:lnTo>
                  <a:lnTo>
                    <a:pt x="5" y="292"/>
                  </a:lnTo>
                  <a:lnTo>
                    <a:pt x="4" y="297"/>
                  </a:lnTo>
                  <a:lnTo>
                    <a:pt x="2" y="302"/>
                  </a:lnTo>
                  <a:lnTo>
                    <a:pt x="0" y="311"/>
                  </a:lnTo>
                  <a:lnTo>
                    <a:pt x="2" y="318"/>
                  </a:lnTo>
                  <a:lnTo>
                    <a:pt x="5" y="324"/>
                  </a:lnTo>
                  <a:lnTo>
                    <a:pt x="7" y="328"/>
                  </a:lnTo>
                  <a:lnTo>
                    <a:pt x="11" y="338"/>
                  </a:lnTo>
                  <a:lnTo>
                    <a:pt x="12" y="344"/>
                  </a:lnTo>
                  <a:lnTo>
                    <a:pt x="14" y="350"/>
                  </a:lnTo>
                  <a:lnTo>
                    <a:pt x="15" y="352"/>
                  </a:lnTo>
                  <a:lnTo>
                    <a:pt x="18" y="364"/>
                  </a:lnTo>
                  <a:lnTo>
                    <a:pt x="20" y="370"/>
                  </a:lnTo>
                  <a:lnTo>
                    <a:pt x="20" y="374"/>
                  </a:lnTo>
                  <a:lnTo>
                    <a:pt x="23" y="380"/>
                  </a:lnTo>
                  <a:lnTo>
                    <a:pt x="24" y="384"/>
                  </a:lnTo>
                  <a:lnTo>
                    <a:pt x="24" y="391"/>
                  </a:lnTo>
                  <a:lnTo>
                    <a:pt x="25" y="395"/>
                  </a:lnTo>
                  <a:lnTo>
                    <a:pt x="25" y="395"/>
                  </a:lnTo>
                  <a:lnTo>
                    <a:pt x="27" y="398"/>
                  </a:lnTo>
                  <a:lnTo>
                    <a:pt x="28" y="401"/>
                  </a:lnTo>
                  <a:lnTo>
                    <a:pt x="33" y="401"/>
                  </a:lnTo>
                  <a:lnTo>
                    <a:pt x="35" y="404"/>
                  </a:lnTo>
                  <a:lnTo>
                    <a:pt x="38" y="407"/>
                  </a:lnTo>
                  <a:lnTo>
                    <a:pt x="40" y="414"/>
                  </a:lnTo>
                  <a:lnTo>
                    <a:pt x="41" y="417"/>
                  </a:lnTo>
                  <a:lnTo>
                    <a:pt x="44" y="421"/>
                  </a:lnTo>
                  <a:lnTo>
                    <a:pt x="45" y="425"/>
                  </a:lnTo>
                  <a:lnTo>
                    <a:pt x="48" y="431"/>
                  </a:lnTo>
                  <a:lnTo>
                    <a:pt x="50" y="433"/>
                  </a:lnTo>
                  <a:lnTo>
                    <a:pt x="51" y="438"/>
                  </a:lnTo>
                  <a:lnTo>
                    <a:pt x="51" y="441"/>
                  </a:lnTo>
                  <a:lnTo>
                    <a:pt x="53" y="448"/>
                  </a:lnTo>
                  <a:lnTo>
                    <a:pt x="54" y="451"/>
                  </a:lnTo>
                  <a:lnTo>
                    <a:pt x="54" y="457"/>
                  </a:lnTo>
                  <a:lnTo>
                    <a:pt x="55" y="464"/>
                  </a:lnTo>
                  <a:lnTo>
                    <a:pt x="54" y="477"/>
                  </a:lnTo>
                  <a:lnTo>
                    <a:pt x="54" y="478"/>
                  </a:lnTo>
                  <a:lnTo>
                    <a:pt x="55" y="487"/>
                  </a:lnTo>
                  <a:lnTo>
                    <a:pt x="58" y="490"/>
                  </a:lnTo>
                  <a:lnTo>
                    <a:pt x="63" y="493"/>
                  </a:lnTo>
                  <a:lnTo>
                    <a:pt x="70" y="497"/>
                  </a:lnTo>
                  <a:lnTo>
                    <a:pt x="74" y="501"/>
                  </a:lnTo>
                  <a:lnTo>
                    <a:pt x="78" y="506"/>
                  </a:lnTo>
                  <a:lnTo>
                    <a:pt x="83" y="510"/>
                  </a:lnTo>
                  <a:lnTo>
                    <a:pt x="84" y="514"/>
                  </a:lnTo>
                  <a:lnTo>
                    <a:pt x="88" y="519"/>
                  </a:lnTo>
                  <a:lnTo>
                    <a:pt x="91" y="521"/>
                  </a:lnTo>
                  <a:lnTo>
                    <a:pt x="96" y="520"/>
                  </a:lnTo>
                  <a:lnTo>
                    <a:pt x="98" y="507"/>
                  </a:lnTo>
                  <a:lnTo>
                    <a:pt x="123" y="504"/>
                  </a:lnTo>
                  <a:lnTo>
                    <a:pt x="128" y="506"/>
                  </a:lnTo>
                  <a:lnTo>
                    <a:pt x="140" y="497"/>
                  </a:lnTo>
                  <a:lnTo>
                    <a:pt x="164" y="526"/>
                  </a:lnTo>
                  <a:lnTo>
                    <a:pt x="164" y="569"/>
                  </a:lnTo>
                  <a:lnTo>
                    <a:pt x="184" y="549"/>
                  </a:lnTo>
                  <a:lnTo>
                    <a:pt x="383" y="57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42" name="Freeform 290"/>
            <p:cNvSpPr>
              <a:spLocks/>
            </p:cNvSpPr>
            <p:nvPr/>
          </p:nvSpPr>
          <p:spPr bwMode="auto">
            <a:xfrm>
              <a:off x="4123832" y="3093752"/>
              <a:ext cx="3663" cy="3969"/>
            </a:xfrm>
            <a:custGeom>
              <a:avLst/>
              <a:gdLst>
                <a:gd name="T0" fmla="*/ 3 w 4"/>
                <a:gd name="T1" fmla="*/ 0 h 6"/>
                <a:gd name="T2" fmla="*/ 1 w 4"/>
                <a:gd name="T3" fmla="*/ 0 h 6"/>
                <a:gd name="T4" fmla="*/ 1 w 4"/>
                <a:gd name="T5" fmla="*/ 0 h 6"/>
                <a:gd name="T6" fmla="*/ 0 w 4"/>
                <a:gd name="T7" fmla="*/ 1 h 6"/>
                <a:gd name="T8" fmla="*/ 0 w 4"/>
                <a:gd name="T9" fmla="*/ 3 h 6"/>
                <a:gd name="T10" fmla="*/ 1 w 4"/>
                <a:gd name="T11" fmla="*/ 4 h 6"/>
                <a:gd name="T12" fmla="*/ 1 w 4"/>
                <a:gd name="T13" fmla="*/ 6 h 6"/>
                <a:gd name="T14" fmla="*/ 4 w 4"/>
                <a:gd name="T15" fmla="*/ 6 h 6"/>
                <a:gd name="T16" fmla="*/ 4 w 4"/>
                <a:gd name="T17" fmla="*/ 4 h 6"/>
                <a:gd name="T18" fmla="*/ 4 w 4"/>
                <a:gd name="T19" fmla="*/ 1 h 6"/>
                <a:gd name="T20" fmla="*/ 3 w 4"/>
                <a:gd name="T2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6">
                  <a:moveTo>
                    <a:pt x="3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1" y="4"/>
                  </a:lnTo>
                  <a:lnTo>
                    <a:pt x="1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ECEC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43" name="Freeform 291"/>
            <p:cNvSpPr>
              <a:spLocks/>
            </p:cNvSpPr>
            <p:nvPr/>
          </p:nvSpPr>
          <p:spPr bwMode="auto">
            <a:xfrm>
              <a:off x="4123832" y="3093752"/>
              <a:ext cx="3663" cy="3969"/>
            </a:xfrm>
            <a:custGeom>
              <a:avLst/>
              <a:gdLst>
                <a:gd name="T0" fmla="*/ 3 w 4"/>
                <a:gd name="T1" fmla="*/ 0 h 6"/>
                <a:gd name="T2" fmla="*/ 1 w 4"/>
                <a:gd name="T3" fmla="*/ 0 h 6"/>
                <a:gd name="T4" fmla="*/ 1 w 4"/>
                <a:gd name="T5" fmla="*/ 0 h 6"/>
                <a:gd name="T6" fmla="*/ 0 w 4"/>
                <a:gd name="T7" fmla="*/ 1 h 6"/>
                <a:gd name="T8" fmla="*/ 0 w 4"/>
                <a:gd name="T9" fmla="*/ 3 h 6"/>
                <a:gd name="T10" fmla="*/ 1 w 4"/>
                <a:gd name="T11" fmla="*/ 4 h 6"/>
                <a:gd name="T12" fmla="*/ 1 w 4"/>
                <a:gd name="T13" fmla="*/ 6 h 6"/>
                <a:gd name="T14" fmla="*/ 4 w 4"/>
                <a:gd name="T15" fmla="*/ 6 h 6"/>
                <a:gd name="T16" fmla="*/ 4 w 4"/>
                <a:gd name="T17" fmla="*/ 4 h 6"/>
                <a:gd name="T18" fmla="*/ 4 w 4"/>
                <a:gd name="T19" fmla="*/ 1 h 6"/>
                <a:gd name="T20" fmla="*/ 3 w 4"/>
                <a:gd name="T2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6">
                  <a:moveTo>
                    <a:pt x="3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1" y="4"/>
                  </a:lnTo>
                  <a:lnTo>
                    <a:pt x="1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1"/>
                  </a:lnTo>
                  <a:lnTo>
                    <a:pt x="3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44" name="Freeform 292"/>
            <p:cNvSpPr>
              <a:spLocks/>
            </p:cNvSpPr>
            <p:nvPr/>
          </p:nvSpPr>
          <p:spPr bwMode="auto">
            <a:xfrm>
              <a:off x="4096967" y="3050096"/>
              <a:ext cx="4885" cy="5292"/>
            </a:xfrm>
            <a:custGeom>
              <a:avLst/>
              <a:gdLst>
                <a:gd name="T0" fmla="*/ 5 w 8"/>
                <a:gd name="T1" fmla="*/ 0 h 7"/>
                <a:gd name="T2" fmla="*/ 3 w 8"/>
                <a:gd name="T3" fmla="*/ 0 h 7"/>
                <a:gd name="T4" fmla="*/ 2 w 8"/>
                <a:gd name="T5" fmla="*/ 3 h 7"/>
                <a:gd name="T6" fmla="*/ 0 w 8"/>
                <a:gd name="T7" fmla="*/ 4 h 7"/>
                <a:gd name="T8" fmla="*/ 0 w 8"/>
                <a:gd name="T9" fmla="*/ 7 h 7"/>
                <a:gd name="T10" fmla="*/ 2 w 8"/>
                <a:gd name="T11" fmla="*/ 7 h 7"/>
                <a:gd name="T12" fmla="*/ 5 w 8"/>
                <a:gd name="T13" fmla="*/ 6 h 7"/>
                <a:gd name="T14" fmla="*/ 6 w 8"/>
                <a:gd name="T15" fmla="*/ 6 h 7"/>
                <a:gd name="T16" fmla="*/ 8 w 8"/>
                <a:gd name="T17" fmla="*/ 4 h 7"/>
                <a:gd name="T18" fmla="*/ 8 w 8"/>
                <a:gd name="T19" fmla="*/ 3 h 7"/>
                <a:gd name="T20" fmla="*/ 6 w 8"/>
                <a:gd name="T21" fmla="*/ 3 h 7"/>
                <a:gd name="T22" fmla="*/ 5 w 8"/>
                <a:gd name="T2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7">
                  <a:moveTo>
                    <a:pt x="5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0" y="4"/>
                  </a:lnTo>
                  <a:lnTo>
                    <a:pt x="0" y="7"/>
                  </a:lnTo>
                  <a:lnTo>
                    <a:pt x="2" y="7"/>
                  </a:lnTo>
                  <a:lnTo>
                    <a:pt x="5" y="6"/>
                  </a:lnTo>
                  <a:lnTo>
                    <a:pt x="6" y="6"/>
                  </a:lnTo>
                  <a:lnTo>
                    <a:pt x="8" y="4"/>
                  </a:lnTo>
                  <a:lnTo>
                    <a:pt x="8" y="3"/>
                  </a:lnTo>
                  <a:lnTo>
                    <a:pt x="6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CEC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45" name="Freeform 293"/>
            <p:cNvSpPr>
              <a:spLocks/>
            </p:cNvSpPr>
            <p:nvPr/>
          </p:nvSpPr>
          <p:spPr bwMode="auto">
            <a:xfrm>
              <a:off x="4096967" y="3050096"/>
              <a:ext cx="4885" cy="5292"/>
            </a:xfrm>
            <a:custGeom>
              <a:avLst/>
              <a:gdLst>
                <a:gd name="T0" fmla="*/ 5 w 8"/>
                <a:gd name="T1" fmla="*/ 0 h 7"/>
                <a:gd name="T2" fmla="*/ 3 w 8"/>
                <a:gd name="T3" fmla="*/ 0 h 7"/>
                <a:gd name="T4" fmla="*/ 2 w 8"/>
                <a:gd name="T5" fmla="*/ 3 h 7"/>
                <a:gd name="T6" fmla="*/ 0 w 8"/>
                <a:gd name="T7" fmla="*/ 4 h 7"/>
                <a:gd name="T8" fmla="*/ 0 w 8"/>
                <a:gd name="T9" fmla="*/ 7 h 7"/>
                <a:gd name="T10" fmla="*/ 2 w 8"/>
                <a:gd name="T11" fmla="*/ 7 h 7"/>
                <a:gd name="T12" fmla="*/ 5 w 8"/>
                <a:gd name="T13" fmla="*/ 6 h 7"/>
                <a:gd name="T14" fmla="*/ 6 w 8"/>
                <a:gd name="T15" fmla="*/ 6 h 7"/>
                <a:gd name="T16" fmla="*/ 8 w 8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7">
                  <a:moveTo>
                    <a:pt x="5" y="0"/>
                  </a:moveTo>
                  <a:lnTo>
                    <a:pt x="3" y="0"/>
                  </a:lnTo>
                  <a:lnTo>
                    <a:pt x="2" y="3"/>
                  </a:lnTo>
                  <a:lnTo>
                    <a:pt x="0" y="4"/>
                  </a:lnTo>
                  <a:lnTo>
                    <a:pt x="0" y="7"/>
                  </a:lnTo>
                  <a:lnTo>
                    <a:pt x="2" y="7"/>
                  </a:lnTo>
                  <a:lnTo>
                    <a:pt x="5" y="6"/>
                  </a:lnTo>
                  <a:lnTo>
                    <a:pt x="6" y="6"/>
                  </a:lnTo>
                  <a:lnTo>
                    <a:pt x="8" y="4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46" name="Freeform 294"/>
            <p:cNvSpPr>
              <a:spLocks/>
            </p:cNvSpPr>
            <p:nvPr/>
          </p:nvSpPr>
          <p:spPr bwMode="auto">
            <a:xfrm>
              <a:off x="4132380" y="3105658"/>
              <a:ext cx="2442" cy="1323"/>
            </a:xfrm>
            <a:custGeom>
              <a:avLst/>
              <a:gdLst>
                <a:gd name="T0" fmla="*/ 1 w 4"/>
                <a:gd name="T1" fmla="*/ 0 h 3"/>
                <a:gd name="T2" fmla="*/ 0 w 4"/>
                <a:gd name="T3" fmla="*/ 0 h 3"/>
                <a:gd name="T4" fmla="*/ 0 w 4"/>
                <a:gd name="T5" fmla="*/ 2 h 3"/>
                <a:gd name="T6" fmla="*/ 1 w 4"/>
                <a:gd name="T7" fmla="*/ 3 h 3"/>
                <a:gd name="T8" fmla="*/ 3 w 4"/>
                <a:gd name="T9" fmla="*/ 3 h 3"/>
                <a:gd name="T10" fmla="*/ 4 w 4"/>
                <a:gd name="T11" fmla="*/ 2 h 3"/>
                <a:gd name="T12" fmla="*/ 4 w 4"/>
                <a:gd name="T13" fmla="*/ 2 h 3"/>
                <a:gd name="T14" fmla="*/ 3 w 4"/>
                <a:gd name="T15" fmla="*/ 0 h 3"/>
                <a:gd name="T16" fmla="*/ 1 w 4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3">
                  <a:moveTo>
                    <a:pt x="1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" y="3"/>
                  </a:lnTo>
                  <a:lnTo>
                    <a:pt x="3" y="3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CEC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47" name="Freeform 295"/>
            <p:cNvSpPr>
              <a:spLocks/>
            </p:cNvSpPr>
            <p:nvPr/>
          </p:nvSpPr>
          <p:spPr bwMode="auto">
            <a:xfrm>
              <a:off x="4132380" y="3105658"/>
              <a:ext cx="2442" cy="1323"/>
            </a:xfrm>
            <a:custGeom>
              <a:avLst/>
              <a:gdLst>
                <a:gd name="T0" fmla="*/ 1 w 4"/>
                <a:gd name="T1" fmla="*/ 0 h 3"/>
                <a:gd name="T2" fmla="*/ 0 w 4"/>
                <a:gd name="T3" fmla="*/ 0 h 3"/>
                <a:gd name="T4" fmla="*/ 0 w 4"/>
                <a:gd name="T5" fmla="*/ 2 h 3"/>
                <a:gd name="T6" fmla="*/ 1 w 4"/>
                <a:gd name="T7" fmla="*/ 3 h 3"/>
                <a:gd name="T8" fmla="*/ 3 w 4"/>
                <a:gd name="T9" fmla="*/ 3 h 3"/>
                <a:gd name="T10" fmla="*/ 4 w 4"/>
                <a:gd name="T11" fmla="*/ 2 h 3"/>
                <a:gd name="T12" fmla="*/ 4 w 4"/>
                <a:gd name="T13" fmla="*/ 2 h 3"/>
                <a:gd name="T14" fmla="*/ 3 w 4"/>
                <a:gd name="T15" fmla="*/ 0 h 3"/>
                <a:gd name="T16" fmla="*/ 1 w 4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3">
                  <a:moveTo>
                    <a:pt x="1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" y="3"/>
                  </a:lnTo>
                  <a:lnTo>
                    <a:pt x="3" y="3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1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48" name="Freeform 296"/>
            <p:cNvSpPr>
              <a:spLocks/>
            </p:cNvSpPr>
            <p:nvPr/>
          </p:nvSpPr>
          <p:spPr bwMode="auto">
            <a:xfrm>
              <a:off x="4133602" y="3099044"/>
              <a:ext cx="1221" cy="2646"/>
            </a:xfrm>
            <a:custGeom>
              <a:avLst/>
              <a:gdLst>
                <a:gd name="T0" fmla="*/ 3 w 3"/>
                <a:gd name="T1" fmla="*/ 2 h 4"/>
                <a:gd name="T2" fmla="*/ 2 w 3"/>
                <a:gd name="T3" fmla="*/ 0 h 4"/>
                <a:gd name="T4" fmla="*/ 2 w 3"/>
                <a:gd name="T5" fmla="*/ 2 h 4"/>
                <a:gd name="T6" fmla="*/ 0 w 3"/>
                <a:gd name="T7" fmla="*/ 3 h 4"/>
                <a:gd name="T8" fmla="*/ 0 w 3"/>
                <a:gd name="T9" fmla="*/ 4 h 4"/>
                <a:gd name="T10" fmla="*/ 0 w 3"/>
                <a:gd name="T11" fmla="*/ 4 h 4"/>
                <a:gd name="T12" fmla="*/ 2 w 3"/>
                <a:gd name="T13" fmla="*/ 4 h 4"/>
                <a:gd name="T14" fmla="*/ 3 w 3"/>
                <a:gd name="T15" fmla="*/ 4 h 4"/>
                <a:gd name="T16" fmla="*/ 3 w 3"/>
                <a:gd name="T17" fmla="*/ 3 h 4"/>
                <a:gd name="T18" fmla="*/ 3 w 3"/>
                <a:gd name="T1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ECEC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49" name="Freeform 297"/>
            <p:cNvSpPr>
              <a:spLocks/>
            </p:cNvSpPr>
            <p:nvPr/>
          </p:nvSpPr>
          <p:spPr bwMode="auto">
            <a:xfrm>
              <a:off x="4133602" y="3099044"/>
              <a:ext cx="1221" cy="2646"/>
            </a:xfrm>
            <a:custGeom>
              <a:avLst/>
              <a:gdLst>
                <a:gd name="T0" fmla="*/ 3 w 3"/>
                <a:gd name="T1" fmla="*/ 2 h 4"/>
                <a:gd name="T2" fmla="*/ 2 w 3"/>
                <a:gd name="T3" fmla="*/ 0 h 4"/>
                <a:gd name="T4" fmla="*/ 2 w 3"/>
                <a:gd name="T5" fmla="*/ 2 h 4"/>
                <a:gd name="T6" fmla="*/ 0 w 3"/>
                <a:gd name="T7" fmla="*/ 3 h 4"/>
                <a:gd name="T8" fmla="*/ 0 w 3"/>
                <a:gd name="T9" fmla="*/ 4 h 4"/>
                <a:gd name="T10" fmla="*/ 0 w 3"/>
                <a:gd name="T11" fmla="*/ 4 h 4"/>
                <a:gd name="T12" fmla="*/ 2 w 3"/>
                <a:gd name="T13" fmla="*/ 4 h 4"/>
                <a:gd name="T14" fmla="*/ 3 w 3"/>
                <a:gd name="T15" fmla="*/ 4 h 4"/>
                <a:gd name="T16" fmla="*/ 3 w 3"/>
                <a:gd name="T17" fmla="*/ 3 h 4"/>
                <a:gd name="T18" fmla="*/ 3 w 3"/>
                <a:gd name="T1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2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50" name="Freeform 298"/>
            <p:cNvSpPr>
              <a:spLocks/>
            </p:cNvSpPr>
            <p:nvPr/>
          </p:nvSpPr>
          <p:spPr bwMode="auto">
            <a:xfrm>
              <a:off x="4878498" y="1989127"/>
              <a:ext cx="1221" cy="132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0 w 1"/>
                <a:gd name="T7" fmla="*/ 0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51" name="Freeform 299"/>
            <p:cNvSpPr>
              <a:spLocks/>
            </p:cNvSpPr>
            <p:nvPr/>
          </p:nvSpPr>
          <p:spPr bwMode="auto">
            <a:xfrm>
              <a:off x="4795461" y="2030137"/>
              <a:ext cx="28086" cy="29104"/>
            </a:xfrm>
            <a:custGeom>
              <a:avLst/>
              <a:gdLst>
                <a:gd name="T0" fmla="*/ 42 w 46"/>
                <a:gd name="T1" fmla="*/ 15 h 44"/>
                <a:gd name="T2" fmla="*/ 42 w 46"/>
                <a:gd name="T3" fmla="*/ 14 h 44"/>
                <a:gd name="T4" fmla="*/ 45 w 46"/>
                <a:gd name="T5" fmla="*/ 11 h 44"/>
                <a:gd name="T6" fmla="*/ 46 w 46"/>
                <a:gd name="T7" fmla="*/ 10 h 44"/>
                <a:gd name="T8" fmla="*/ 46 w 46"/>
                <a:gd name="T9" fmla="*/ 8 h 44"/>
                <a:gd name="T10" fmla="*/ 40 w 46"/>
                <a:gd name="T11" fmla="*/ 1 h 44"/>
                <a:gd name="T12" fmla="*/ 38 w 46"/>
                <a:gd name="T13" fmla="*/ 1 h 44"/>
                <a:gd name="T14" fmla="*/ 35 w 46"/>
                <a:gd name="T15" fmla="*/ 0 h 44"/>
                <a:gd name="T16" fmla="*/ 33 w 46"/>
                <a:gd name="T17" fmla="*/ 0 h 44"/>
                <a:gd name="T18" fmla="*/ 32 w 46"/>
                <a:gd name="T19" fmla="*/ 2 h 44"/>
                <a:gd name="T20" fmla="*/ 32 w 46"/>
                <a:gd name="T21" fmla="*/ 4 h 44"/>
                <a:gd name="T22" fmla="*/ 32 w 46"/>
                <a:gd name="T23" fmla="*/ 7 h 44"/>
                <a:gd name="T24" fmla="*/ 29 w 46"/>
                <a:gd name="T25" fmla="*/ 7 h 44"/>
                <a:gd name="T26" fmla="*/ 26 w 46"/>
                <a:gd name="T27" fmla="*/ 8 h 44"/>
                <a:gd name="T28" fmla="*/ 25 w 46"/>
                <a:gd name="T29" fmla="*/ 8 h 44"/>
                <a:gd name="T30" fmla="*/ 23 w 46"/>
                <a:gd name="T31" fmla="*/ 8 h 44"/>
                <a:gd name="T32" fmla="*/ 22 w 46"/>
                <a:gd name="T33" fmla="*/ 8 h 44"/>
                <a:gd name="T34" fmla="*/ 20 w 46"/>
                <a:gd name="T35" fmla="*/ 7 h 44"/>
                <a:gd name="T36" fmla="*/ 17 w 46"/>
                <a:gd name="T37" fmla="*/ 7 h 44"/>
                <a:gd name="T38" fmla="*/ 17 w 46"/>
                <a:gd name="T39" fmla="*/ 8 h 44"/>
                <a:gd name="T40" fmla="*/ 15 w 46"/>
                <a:gd name="T41" fmla="*/ 8 h 44"/>
                <a:gd name="T42" fmla="*/ 10 w 46"/>
                <a:gd name="T43" fmla="*/ 4 h 44"/>
                <a:gd name="T44" fmla="*/ 6 w 46"/>
                <a:gd name="T45" fmla="*/ 1 h 44"/>
                <a:gd name="T46" fmla="*/ 5 w 46"/>
                <a:gd name="T47" fmla="*/ 2 h 44"/>
                <a:gd name="T48" fmla="*/ 3 w 46"/>
                <a:gd name="T49" fmla="*/ 5 h 44"/>
                <a:gd name="T50" fmla="*/ 0 w 46"/>
                <a:gd name="T51" fmla="*/ 12 h 44"/>
                <a:gd name="T52" fmla="*/ 0 w 46"/>
                <a:gd name="T53" fmla="*/ 17 h 44"/>
                <a:gd name="T54" fmla="*/ 2 w 46"/>
                <a:gd name="T55" fmla="*/ 18 h 44"/>
                <a:gd name="T56" fmla="*/ 3 w 46"/>
                <a:gd name="T57" fmla="*/ 20 h 44"/>
                <a:gd name="T58" fmla="*/ 5 w 46"/>
                <a:gd name="T59" fmla="*/ 23 h 44"/>
                <a:gd name="T60" fmla="*/ 5 w 46"/>
                <a:gd name="T61" fmla="*/ 27 h 44"/>
                <a:gd name="T62" fmla="*/ 10 w 46"/>
                <a:gd name="T63" fmla="*/ 33 h 44"/>
                <a:gd name="T64" fmla="*/ 15 w 46"/>
                <a:gd name="T65" fmla="*/ 35 h 44"/>
                <a:gd name="T66" fmla="*/ 17 w 46"/>
                <a:gd name="T67" fmla="*/ 37 h 44"/>
                <a:gd name="T68" fmla="*/ 19 w 46"/>
                <a:gd name="T69" fmla="*/ 40 h 44"/>
                <a:gd name="T70" fmla="*/ 17 w 46"/>
                <a:gd name="T71" fmla="*/ 41 h 44"/>
                <a:gd name="T72" fmla="*/ 17 w 46"/>
                <a:gd name="T73" fmla="*/ 43 h 44"/>
                <a:gd name="T74" fmla="*/ 19 w 46"/>
                <a:gd name="T75" fmla="*/ 44 h 44"/>
                <a:gd name="T76" fmla="*/ 23 w 46"/>
                <a:gd name="T77" fmla="*/ 44 h 44"/>
                <a:gd name="T78" fmla="*/ 25 w 46"/>
                <a:gd name="T79" fmla="*/ 43 h 44"/>
                <a:gd name="T80" fmla="*/ 29 w 46"/>
                <a:gd name="T81" fmla="*/ 37 h 44"/>
                <a:gd name="T82" fmla="*/ 32 w 46"/>
                <a:gd name="T83" fmla="*/ 37 h 44"/>
                <a:gd name="T84" fmla="*/ 35 w 46"/>
                <a:gd name="T85" fmla="*/ 35 h 44"/>
                <a:gd name="T86" fmla="*/ 35 w 46"/>
                <a:gd name="T87" fmla="*/ 37 h 44"/>
                <a:gd name="T88" fmla="*/ 35 w 46"/>
                <a:gd name="T89" fmla="*/ 38 h 44"/>
                <a:gd name="T90" fmla="*/ 32 w 46"/>
                <a:gd name="T91" fmla="*/ 41 h 44"/>
                <a:gd name="T92" fmla="*/ 32 w 46"/>
                <a:gd name="T93" fmla="*/ 43 h 44"/>
                <a:gd name="T94" fmla="*/ 33 w 46"/>
                <a:gd name="T95" fmla="*/ 43 h 44"/>
                <a:gd name="T96" fmla="*/ 36 w 46"/>
                <a:gd name="T97" fmla="*/ 41 h 44"/>
                <a:gd name="T98" fmla="*/ 39 w 46"/>
                <a:gd name="T99" fmla="*/ 40 h 44"/>
                <a:gd name="T100" fmla="*/ 42 w 46"/>
                <a:gd name="T101" fmla="*/ 38 h 44"/>
                <a:gd name="T102" fmla="*/ 42 w 46"/>
                <a:gd name="T103" fmla="*/ 35 h 44"/>
                <a:gd name="T104" fmla="*/ 43 w 46"/>
                <a:gd name="T105" fmla="*/ 31 h 44"/>
                <a:gd name="T106" fmla="*/ 43 w 46"/>
                <a:gd name="T107" fmla="*/ 28 h 44"/>
                <a:gd name="T108" fmla="*/ 43 w 46"/>
                <a:gd name="T109" fmla="*/ 27 h 44"/>
                <a:gd name="T110" fmla="*/ 43 w 46"/>
                <a:gd name="T111" fmla="*/ 25 h 44"/>
                <a:gd name="T112" fmla="*/ 42 w 46"/>
                <a:gd name="T113" fmla="*/ 23 h 44"/>
                <a:gd name="T114" fmla="*/ 42 w 46"/>
                <a:gd name="T115" fmla="*/ 20 h 44"/>
                <a:gd name="T116" fmla="*/ 40 w 46"/>
                <a:gd name="T117" fmla="*/ 18 h 44"/>
                <a:gd name="T118" fmla="*/ 42 w 46"/>
                <a:gd name="T119" fmla="*/ 15 h 44"/>
                <a:gd name="T120" fmla="*/ 42 w 46"/>
                <a:gd name="T121" fmla="*/ 1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6" h="44">
                  <a:moveTo>
                    <a:pt x="42" y="15"/>
                  </a:moveTo>
                  <a:lnTo>
                    <a:pt x="42" y="14"/>
                  </a:lnTo>
                  <a:lnTo>
                    <a:pt x="45" y="11"/>
                  </a:lnTo>
                  <a:lnTo>
                    <a:pt x="46" y="10"/>
                  </a:lnTo>
                  <a:lnTo>
                    <a:pt x="46" y="8"/>
                  </a:lnTo>
                  <a:lnTo>
                    <a:pt x="40" y="1"/>
                  </a:lnTo>
                  <a:lnTo>
                    <a:pt x="38" y="1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2" y="7"/>
                  </a:lnTo>
                  <a:lnTo>
                    <a:pt x="29" y="7"/>
                  </a:lnTo>
                  <a:lnTo>
                    <a:pt x="26" y="8"/>
                  </a:lnTo>
                  <a:lnTo>
                    <a:pt x="25" y="8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0" y="7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5" y="8"/>
                  </a:lnTo>
                  <a:lnTo>
                    <a:pt x="10" y="4"/>
                  </a:lnTo>
                  <a:lnTo>
                    <a:pt x="6" y="1"/>
                  </a:lnTo>
                  <a:lnTo>
                    <a:pt x="5" y="2"/>
                  </a:lnTo>
                  <a:lnTo>
                    <a:pt x="3" y="5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2" y="18"/>
                  </a:lnTo>
                  <a:lnTo>
                    <a:pt x="3" y="20"/>
                  </a:lnTo>
                  <a:lnTo>
                    <a:pt x="5" y="23"/>
                  </a:lnTo>
                  <a:lnTo>
                    <a:pt x="5" y="27"/>
                  </a:lnTo>
                  <a:lnTo>
                    <a:pt x="10" y="33"/>
                  </a:lnTo>
                  <a:lnTo>
                    <a:pt x="15" y="35"/>
                  </a:lnTo>
                  <a:lnTo>
                    <a:pt x="17" y="37"/>
                  </a:lnTo>
                  <a:lnTo>
                    <a:pt x="19" y="40"/>
                  </a:lnTo>
                  <a:lnTo>
                    <a:pt x="17" y="41"/>
                  </a:lnTo>
                  <a:lnTo>
                    <a:pt x="17" y="43"/>
                  </a:lnTo>
                  <a:lnTo>
                    <a:pt x="19" y="44"/>
                  </a:lnTo>
                  <a:lnTo>
                    <a:pt x="23" y="44"/>
                  </a:lnTo>
                  <a:lnTo>
                    <a:pt x="25" y="43"/>
                  </a:lnTo>
                  <a:lnTo>
                    <a:pt x="29" y="37"/>
                  </a:lnTo>
                  <a:lnTo>
                    <a:pt x="32" y="37"/>
                  </a:lnTo>
                  <a:lnTo>
                    <a:pt x="35" y="35"/>
                  </a:lnTo>
                  <a:lnTo>
                    <a:pt x="35" y="37"/>
                  </a:lnTo>
                  <a:lnTo>
                    <a:pt x="35" y="38"/>
                  </a:lnTo>
                  <a:lnTo>
                    <a:pt x="32" y="41"/>
                  </a:lnTo>
                  <a:lnTo>
                    <a:pt x="32" y="43"/>
                  </a:lnTo>
                  <a:lnTo>
                    <a:pt x="33" y="43"/>
                  </a:lnTo>
                  <a:lnTo>
                    <a:pt x="36" y="41"/>
                  </a:lnTo>
                  <a:lnTo>
                    <a:pt x="39" y="40"/>
                  </a:lnTo>
                  <a:lnTo>
                    <a:pt x="42" y="38"/>
                  </a:lnTo>
                  <a:lnTo>
                    <a:pt x="42" y="35"/>
                  </a:lnTo>
                  <a:lnTo>
                    <a:pt x="43" y="31"/>
                  </a:lnTo>
                  <a:lnTo>
                    <a:pt x="43" y="28"/>
                  </a:lnTo>
                  <a:lnTo>
                    <a:pt x="43" y="27"/>
                  </a:lnTo>
                  <a:lnTo>
                    <a:pt x="43" y="25"/>
                  </a:lnTo>
                  <a:lnTo>
                    <a:pt x="42" y="23"/>
                  </a:lnTo>
                  <a:lnTo>
                    <a:pt x="42" y="20"/>
                  </a:lnTo>
                  <a:lnTo>
                    <a:pt x="40" y="18"/>
                  </a:lnTo>
                  <a:lnTo>
                    <a:pt x="42" y="15"/>
                  </a:lnTo>
                  <a:lnTo>
                    <a:pt x="42" y="1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52" name="Freeform 300"/>
            <p:cNvSpPr>
              <a:spLocks/>
            </p:cNvSpPr>
            <p:nvPr/>
          </p:nvSpPr>
          <p:spPr bwMode="auto">
            <a:xfrm>
              <a:off x="4746615" y="2027491"/>
              <a:ext cx="24423" cy="25135"/>
            </a:xfrm>
            <a:custGeom>
              <a:avLst/>
              <a:gdLst>
                <a:gd name="T0" fmla="*/ 39 w 40"/>
                <a:gd name="T1" fmla="*/ 14 h 37"/>
                <a:gd name="T2" fmla="*/ 39 w 40"/>
                <a:gd name="T3" fmla="*/ 11 h 37"/>
                <a:gd name="T4" fmla="*/ 40 w 40"/>
                <a:gd name="T5" fmla="*/ 4 h 37"/>
                <a:gd name="T6" fmla="*/ 40 w 40"/>
                <a:gd name="T7" fmla="*/ 3 h 37"/>
                <a:gd name="T8" fmla="*/ 39 w 40"/>
                <a:gd name="T9" fmla="*/ 3 h 37"/>
                <a:gd name="T10" fmla="*/ 36 w 40"/>
                <a:gd name="T11" fmla="*/ 4 h 37"/>
                <a:gd name="T12" fmla="*/ 34 w 40"/>
                <a:gd name="T13" fmla="*/ 4 h 37"/>
                <a:gd name="T14" fmla="*/ 30 w 40"/>
                <a:gd name="T15" fmla="*/ 3 h 37"/>
                <a:gd name="T16" fmla="*/ 26 w 40"/>
                <a:gd name="T17" fmla="*/ 3 h 37"/>
                <a:gd name="T18" fmla="*/ 22 w 40"/>
                <a:gd name="T19" fmla="*/ 3 h 37"/>
                <a:gd name="T20" fmla="*/ 19 w 40"/>
                <a:gd name="T21" fmla="*/ 4 h 37"/>
                <a:gd name="T22" fmla="*/ 16 w 40"/>
                <a:gd name="T23" fmla="*/ 7 h 37"/>
                <a:gd name="T24" fmla="*/ 14 w 40"/>
                <a:gd name="T25" fmla="*/ 8 h 37"/>
                <a:gd name="T26" fmla="*/ 10 w 40"/>
                <a:gd name="T27" fmla="*/ 7 h 37"/>
                <a:gd name="T28" fmla="*/ 10 w 40"/>
                <a:gd name="T29" fmla="*/ 7 h 37"/>
                <a:gd name="T30" fmla="*/ 10 w 40"/>
                <a:gd name="T31" fmla="*/ 4 h 37"/>
                <a:gd name="T32" fmla="*/ 12 w 40"/>
                <a:gd name="T33" fmla="*/ 3 h 37"/>
                <a:gd name="T34" fmla="*/ 9 w 40"/>
                <a:gd name="T35" fmla="*/ 3 h 37"/>
                <a:gd name="T36" fmla="*/ 6 w 40"/>
                <a:gd name="T37" fmla="*/ 1 h 37"/>
                <a:gd name="T38" fmla="*/ 4 w 40"/>
                <a:gd name="T39" fmla="*/ 0 h 37"/>
                <a:gd name="T40" fmla="*/ 3 w 40"/>
                <a:gd name="T41" fmla="*/ 0 h 37"/>
                <a:gd name="T42" fmla="*/ 2 w 40"/>
                <a:gd name="T43" fmla="*/ 1 h 37"/>
                <a:gd name="T44" fmla="*/ 2 w 40"/>
                <a:gd name="T45" fmla="*/ 3 h 37"/>
                <a:gd name="T46" fmla="*/ 0 w 40"/>
                <a:gd name="T47" fmla="*/ 5 h 37"/>
                <a:gd name="T48" fmla="*/ 2 w 40"/>
                <a:gd name="T49" fmla="*/ 7 h 37"/>
                <a:gd name="T50" fmla="*/ 4 w 40"/>
                <a:gd name="T51" fmla="*/ 7 h 37"/>
                <a:gd name="T52" fmla="*/ 6 w 40"/>
                <a:gd name="T53" fmla="*/ 7 h 37"/>
                <a:gd name="T54" fmla="*/ 6 w 40"/>
                <a:gd name="T55" fmla="*/ 10 h 37"/>
                <a:gd name="T56" fmla="*/ 6 w 40"/>
                <a:gd name="T57" fmla="*/ 13 h 37"/>
                <a:gd name="T58" fmla="*/ 9 w 40"/>
                <a:gd name="T59" fmla="*/ 17 h 37"/>
                <a:gd name="T60" fmla="*/ 17 w 40"/>
                <a:gd name="T61" fmla="*/ 27 h 37"/>
                <a:gd name="T62" fmla="*/ 22 w 40"/>
                <a:gd name="T63" fmla="*/ 34 h 37"/>
                <a:gd name="T64" fmla="*/ 26 w 40"/>
                <a:gd name="T65" fmla="*/ 36 h 37"/>
                <a:gd name="T66" fmla="*/ 27 w 40"/>
                <a:gd name="T67" fmla="*/ 37 h 37"/>
                <a:gd name="T68" fmla="*/ 29 w 40"/>
                <a:gd name="T69" fmla="*/ 37 h 37"/>
                <a:gd name="T70" fmla="*/ 30 w 40"/>
                <a:gd name="T71" fmla="*/ 34 h 37"/>
                <a:gd name="T72" fmla="*/ 29 w 40"/>
                <a:gd name="T73" fmla="*/ 33 h 37"/>
                <a:gd name="T74" fmla="*/ 30 w 40"/>
                <a:gd name="T75" fmla="*/ 31 h 37"/>
                <a:gd name="T76" fmla="*/ 32 w 40"/>
                <a:gd name="T77" fmla="*/ 28 h 37"/>
                <a:gd name="T78" fmla="*/ 33 w 40"/>
                <a:gd name="T79" fmla="*/ 27 h 37"/>
                <a:gd name="T80" fmla="*/ 33 w 40"/>
                <a:gd name="T81" fmla="*/ 24 h 37"/>
                <a:gd name="T82" fmla="*/ 32 w 40"/>
                <a:gd name="T83" fmla="*/ 21 h 37"/>
                <a:gd name="T84" fmla="*/ 34 w 40"/>
                <a:gd name="T85" fmla="*/ 20 h 37"/>
                <a:gd name="T86" fmla="*/ 36 w 40"/>
                <a:gd name="T87" fmla="*/ 20 h 37"/>
                <a:gd name="T88" fmla="*/ 37 w 40"/>
                <a:gd name="T89" fmla="*/ 18 h 37"/>
                <a:gd name="T90" fmla="*/ 39 w 40"/>
                <a:gd name="T91" fmla="*/ 14 h 37"/>
                <a:gd name="T92" fmla="*/ 39 w 40"/>
                <a:gd name="T93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" h="37">
                  <a:moveTo>
                    <a:pt x="39" y="14"/>
                  </a:moveTo>
                  <a:lnTo>
                    <a:pt x="39" y="11"/>
                  </a:lnTo>
                  <a:lnTo>
                    <a:pt x="40" y="4"/>
                  </a:lnTo>
                  <a:lnTo>
                    <a:pt x="40" y="3"/>
                  </a:lnTo>
                  <a:lnTo>
                    <a:pt x="39" y="3"/>
                  </a:lnTo>
                  <a:lnTo>
                    <a:pt x="36" y="4"/>
                  </a:lnTo>
                  <a:lnTo>
                    <a:pt x="34" y="4"/>
                  </a:lnTo>
                  <a:lnTo>
                    <a:pt x="30" y="3"/>
                  </a:lnTo>
                  <a:lnTo>
                    <a:pt x="26" y="3"/>
                  </a:lnTo>
                  <a:lnTo>
                    <a:pt x="22" y="3"/>
                  </a:lnTo>
                  <a:lnTo>
                    <a:pt x="19" y="4"/>
                  </a:lnTo>
                  <a:lnTo>
                    <a:pt x="16" y="7"/>
                  </a:lnTo>
                  <a:lnTo>
                    <a:pt x="14" y="8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4"/>
                  </a:lnTo>
                  <a:lnTo>
                    <a:pt x="12" y="3"/>
                  </a:lnTo>
                  <a:lnTo>
                    <a:pt x="9" y="3"/>
                  </a:lnTo>
                  <a:lnTo>
                    <a:pt x="6" y="1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2" y="3"/>
                  </a:lnTo>
                  <a:lnTo>
                    <a:pt x="0" y="5"/>
                  </a:lnTo>
                  <a:lnTo>
                    <a:pt x="2" y="7"/>
                  </a:lnTo>
                  <a:lnTo>
                    <a:pt x="4" y="7"/>
                  </a:lnTo>
                  <a:lnTo>
                    <a:pt x="6" y="7"/>
                  </a:lnTo>
                  <a:lnTo>
                    <a:pt x="6" y="10"/>
                  </a:lnTo>
                  <a:lnTo>
                    <a:pt x="6" y="13"/>
                  </a:lnTo>
                  <a:lnTo>
                    <a:pt x="9" y="17"/>
                  </a:lnTo>
                  <a:lnTo>
                    <a:pt x="17" y="27"/>
                  </a:lnTo>
                  <a:lnTo>
                    <a:pt x="22" y="34"/>
                  </a:lnTo>
                  <a:lnTo>
                    <a:pt x="26" y="36"/>
                  </a:lnTo>
                  <a:lnTo>
                    <a:pt x="27" y="37"/>
                  </a:lnTo>
                  <a:lnTo>
                    <a:pt x="29" y="37"/>
                  </a:lnTo>
                  <a:lnTo>
                    <a:pt x="30" y="34"/>
                  </a:lnTo>
                  <a:lnTo>
                    <a:pt x="29" y="33"/>
                  </a:lnTo>
                  <a:lnTo>
                    <a:pt x="30" y="31"/>
                  </a:lnTo>
                  <a:lnTo>
                    <a:pt x="32" y="28"/>
                  </a:lnTo>
                  <a:lnTo>
                    <a:pt x="33" y="27"/>
                  </a:lnTo>
                  <a:lnTo>
                    <a:pt x="33" y="24"/>
                  </a:lnTo>
                  <a:lnTo>
                    <a:pt x="32" y="21"/>
                  </a:lnTo>
                  <a:lnTo>
                    <a:pt x="34" y="20"/>
                  </a:lnTo>
                  <a:lnTo>
                    <a:pt x="36" y="20"/>
                  </a:lnTo>
                  <a:lnTo>
                    <a:pt x="37" y="18"/>
                  </a:lnTo>
                  <a:lnTo>
                    <a:pt x="39" y="14"/>
                  </a:lnTo>
                  <a:lnTo>
                    <a:pt x="39" y="1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56" name="Freeform 304"/>
            <p:cNvSpPr>
              <a:spLocks/>
            </p:cNvSpPr>
            <p:nvPr/>
          </p:nvSpPr>
          <p:spPr bwMode="auto">
            <a:xfrm>
              <a:off x="4750278" y="2003679"/>
              <a:ext cx="18317" cy="18521"/>
            </a:xfrm>
            <a:custGeom>
              <a:avLst/>
              <a:gdLst>
                <a:gd name="T0" fmla="*/ 29 w 30"/>
                <a:gd name="T1" fmla="*/ 4 h 28"/>
                <a:gd name="T2" fmla="*/ 26 w 30"/>
                <a:gd name="T3" fmla="*/ 2 h 28"/>
                <a:gd name="T4" fmla="*/ 25 w 30"/>
                <a:gd name="T5" fmla="*/ 1 h 28"/>
                <a:gd name="T6" fmla="*/ 22 w 30"/>
                <a:gd name="T7" fmla="*/ 1 h 28"/>
                <a:gd name="T8" fmla="*/ 20 w 30"/>
                <a:gd name="T9" fmla="*/ 1 h 28"/>
                <a:gd name="T10" fmla="*/ 16 w 30"/>
                <a:gd name="T11" fmla="*/ 1 h 28"/>
                <a:gd name="T12" fmla="*/ 13 w 30"/>
                <a:gd name="T13" fmla="*/ 0 h 28"/>
                <a:gd name="T14" fmla="*/ 10 w 30"/>
                <a:gd name="T15" fmla="*/ 0 h 28"/>
                <a:gd name="T16" fmla="*/ 7 w 30"/>
                <a:gd name="T17" fmla="*/ 0 h 28"/>
                <a:gd name="T18" fmla="*/ 6 w 30"/>
                <a:gd name="T19" fmla="*/ 1 h 28"/>
                <a:gd name="T20" fmla="*/ 5 w 30"/>
                <a:gd name="T21" fmla="*/ 4 h 28"/>
                <a:gd name="T22" fmla="*/ 5 w 30"/>
                <a:gd name="T23" fmla="*/ 7 h 28"/>
                <a:gd name="T24" fmla="*/ 5 w 30"/>
                <a:gd name="T25" fmla="*/ 10 h 28"/>
                <a:gd name="T26" fmla="*/ 3 w 30"/>
                <a:gd name="T27" fmla="*/ 12 h 28"/>
                <a:gd name="T28" fmla="*/ 5 w 30"/>
                <a:gd name="T29" fmla="*/ 14 h 28"/>
                <a:gd name="T30" fmla="*/ 5 w 30"/>
                <a:gd name="T31" fmla="*/ 15 h 28"/>
                <a:gd name="T32" fmla="*/ 3 w 30"/>
                <a:gd name="T33" fmla="*/ 17 h 28"/>
                <a:gd name="T34" fmla="*/ 2 w 30"/>
                <a:gd name="T35" fmla="*/ 20 h 28"/>
                <a:gd name="T36" fmla="*/ 0 w 30"/>
                <a:gd name="T37" fmla="*/ 22 h 28"/>
                <a:gd name="T38" fmla="*/ 2 w 30"/>
                <a:gd name="T39" fmla="*/ 25 h 28"/>
                <a:gd name="T40" fmla="*/ 3 w 30"/>
                <a:gd name="T41" fmla="*/ 28 h 28"/>
                <a:gd name="T42" fmla="*/ 6 w 30"/>
                <a:gd name="T43" fmla="*/ 28 h 28"/>
                <a:gd name="T44" fmla="*/ 7 w 30"/>
                <a:gd name="T45" fmla="*/ 27 h 28"/>
                <a:gd name="T46" fmla="*/ 10 w 30"/>
                <a:gd name="T47" fmla="*/ 24 h 28"/>
                <a:gd name="T48" fmla="*/ 12 w 30"/>
                <a:gd name="T49" fmla="*/ 21 h 28"/>
                <a:gd name="T50" fmla="*/ 15 w 30"/>
                <a:gd name="T51" fmla="*/ 18 h 28"/>
                <a:gd name="T52" fmla="*/ 17 w 30"/>
                <a:gd name="T53" fmla="*/ 20 h 28"/>
                <a:gd name="T54" fmla="*/ 19 w 30"/>
                <a:gd name="T55" fmla="*/ 21 h 28"/>
                <a:gd name="T56" fmla="*/ 22 w 30"/>
                <a:gd name="T57" fmla="*/ 21 h 28"/>
                <a:gd name="T58" fmla="*/ 23 w 30"/>
                <a:gd name="T59" fmla="*/ 18 h 28"/>
                <a:gd name="T60" fmla="*/ 26 w 30"/>
                <a:gd name="T61" fmla="*/ 18 h 28"/>
                <a:gd name="T62" fmla="*/ 29 w 30"/>
                <a:gd name="T63" fmla="*/ 18 h 28"/>
                <a:gd name="T64" fmla="*/ 30 w 30"/>
                <a:gd name="T65" fmla="*/ 17 h 28"/>
                <a:gd name="T66" fmla="*/ 30 w 30"/>
                <a:gd name="T67" fmla="*/ 15 h 28"/>
                <a:gd name="T68" fmla="*/ 30 w 30"/>
                <a:gd name="T69" fmla="*/ 14 h 28"/>
                <a:gd name="T70" fmla="*/ 30 w 30"/>
                <a:gd name="T71" fmla="*/ 12 h 28"/>
                <a:gd name="T72" fmla="*/ 29 w 30"/>
                <a:gd name="T73" fmla="*/ 11 h 28"/>
                <a:gd name="T74" fmla="*/ 30 w 30"/>
                <a:gd name="T75" fmla="*/ 10 h 28"/>
                <a:gd name="T76" fmla="*/ 30 w 30"/>
                <a:gd name="T77" fmla="*/ 8 h 28"/>
                <a:gd name="T78" fmla="*/ 29 w 30"/>
                <a:gd name="T79" fmla="*/ 4 h 28"/>
                <a:gd name="T80" fmla="*/ 29 w 30"/>
                <a:gd name="T81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0" h="28">
                  <a:moveTo>
                    <a:pt x="29" y="4"/>
                  </a:moveTo>
                  <a:lnTo>
                    <a:pt x="26" y="2"/>
                  </a:lnTo>
                  <a:lnTo>
                    <a:pt x="25" y="1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6" y="1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6" y="1"/>
                  </a:lnTo>
                  <a:lnTo>
                    <a:pt x="5" y="4"/>
                  </a:lnTo>
                  <a:lnTo>
                    <a:pt x="5" y="7"/>
                  </a:lnTo>
                  <a:lnTo>
                    <a:pt x="5" y="10"/>
                  </a:lnTo>
                  <a:lnTo>
                    <a:pt x="3" y="12"/>
                  </a:lnTo>
                  <a:lnTo>
                    <a:pt x="5" y="14"/>
                  </a:lnTo>
                  <a:lnTo>
                    <a:pt x="5" y="15"/>
                  </a:lnTo>
                  <a:lnTo>
                    <a:pt x="3" y="17"/>
                  </a:lnTo>
                  <a:lnTo>
                    <a:pt x="2" y="20"/>
                  </a:lnTo>
                  <a:lnTo>
                    <a:pt x="0" y="22"/>
                  </a:lnTo>
                  <a:lnTo>
                    <a:pt x="2" y="25"/>
                  </a:lnTo>
                  <a:lnTo>
                    <a:pt x="3" y="28"/>
                  </a:lnTo>
                  <a:lnTo>
                    <a:pt x="6" y="28"/>
                  </a:lnTo>
                  <a:lnTo>
                    <a:pt x="7" y="27"/>
                  </a:lnTo>
                  <a:lnTo>
                    <a:pt x="10" y="24"/>
                  </a:lnTo>
                  <a:lnTo>
                    <a:pt x="12" y="21"/>
                  </a:lnTo>
                  <a:lnTo>
                    <a:pt x="15" y="18"/>
                  </a:lnTo>
                  <a:lnTo>
                    <a:pt x="17" y="20"/>
                  </a:lnTo>
                  <a:lnTo>
                    <a:pt x="19" y="21"/>
                  </a:lnTo>
                  <a:lnTo>
                    <a:pt x="22" y="21"/>
                  </a:lnTo>
                  <a:lnTo>
                    <a:pt x="23" y="18"/>
                  </a:lnTo>
                  <a:lnTo>
                    <a:pt x="26" y="18"/>
                  </a:lnTo>
                  <a:lnTo>
                    <a:pt x="29" y="18"/>
                  </a:lnTo>
                  <a:lnTo>
                    <a:pt x="30" y="17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30" y="12"/>
                  </a:lnTo>
                  <a:lnTo>
                    <a:pt x="29" y="11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29" y="4"/>
                  </a:lnTo>
                  <a:lnTo>
                    <a:pt x="29" y="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57" name="Freeform 305"/>
            <p:cNvSpPr>
              <a:spLocks/>
            </p:cNvSpPr>
            <p:nvPr/>
          </p:nvSpPr>
          <p:spPr bwMode="auto">
            <a:xfrm>
              <a:off x="4742952" y="2010294"/>
              <a:ext cx="4885" cy="6615"/>
            </a:xfrm>
            <a:custGeom>
              <a:avLst/>
              <a:gdLst>
                <a:gd name="T0" fmla="*/ 9 w 9"/>
                <a:gd name="T1" fmla="*/ 1 h 9"/>
                <a:gd name="T2" fmla="*/ 8 w 9"/>
                <a:gd name="T3" fmla="*/ 0 h 9"/>
                <a:gd name="T4" fmla="*/ 6 w 9"/>
                <a:gd name="T5" fmla="*/ 0 h 9"/>
                <a:gd name="T6" fmla="*/ 6 w 9"/>
                <a:gd name="T7" fmla="*/ 0 h 9"/>
                <a:gd name="T8" fmla="*/ 5 w 9"/>
                <a:gd name="T9" fmla="*/ 0 h 9"/>
                <a:gd name="T10" fmla="*/ 3 w 9"/>
                <a:gd name="T11" fmla="*/ 0 h 9"/>
                <a:gd name="T12" fmla="*/ 2 w 9"/>
                <a:gd name="T13" fmla="*/ 0 h 9"/>
                <a:gd name="T14" fmla="*/ 2 w 9"/>
                <a:gd name="T15" fmla="*/ 0 h 9"/>
                <a:gd name="T16" fmla="*/ 0 w 9"/>
                <a:gd name="T17" fmla="*/ 1 h 9"/>
                <a:gd name="T18" fmla="*/ 0 w 9"/>
                <a:gd name="T19" fmla="*/ 4 h 9"/>
                <a:gd name="T20" fmla="*/ 0 w 9"/>
                <a:gd name="T21" fmla="*/ 6 h 9"/>
                <a:gd name="T22" fmla="*/ 2 w 9"/>
                <a:gd name="T23" fmla="*/ 7 h 9"/>
                <a:gd name="T24" fmla="*/ 3 w 9"/>
                <a:gd name="T25" fmla="*/ 9 h 9"/>
                <a:gd name="T26" fmla="*/ 5 w 9"/>
                <a:gd name="T27" fmla="*/ 9 h 9"/>
                <a:gd name="T28" fmla="*/ 8 w 9"/>
                <a:gd name="T29" fmla="*/ 7 h 9"/>
                <a:gd name="T30" fmla="*/ 8 w 9"/>
                <a:gd name="T31" fmla="*/ 7 h 9"/>
                <a:gd name="T32" fmla="*/ 9 w 9"/>
                <a:gd name="T33" fmla="*/ 6 h 9"/>
                <a:gd name="T34" fmla="*/ 9 w 9"/>
                <a:gd name="T35" fmla="*/ 4 h 9"/>
                <a:gd name="T36" fmla="*/ 9 w 9"/>
                <a:gd name="T37" fmla="*/ 1 h 9"/>
                <a:gd name="T38" fmla="*/ 9 w 9"/>
                <a:gd name="T3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" h="9">
                  <a:moveTo>
                    <a:pt x="9" y="1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7"/>
                  </a:lnTo>
                  <a:lnTo>
                    <a:pt x="3" y="9"/>
                  </a:lnTo>
                  <a:lnTo>
                    <a:pt x="5" y="9"/>
                  </a:lnTo>
                  <a:lnTo>
                    <a:pt x="8" y="7"/>
                  </a:lnTo>
                  <a:lnTo>
                    <a:pt x="8" y="7"/>
                  </a:lnTo>
                  <a:lnTo>
                    <a:pt x="9" y="6"/>
                  </a:lnTo>
                  <a:lnTo>
                    <a:pt x="9" y="4"/>
                  </a:lnTo>
                  <a:lnTo>
                    <a:pt x="9" y="1"/>
                  </a:lnTo>
                  <a:lnTo>
                    <a:pt x="9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58" name="Freeform 306"/>
            <p:cNvSpPr>
              <a:spLocks/>
            </p:cNvSpPr>
            <p:nvPr/>
          </p:nvSpPr>
          <p:spPr bwMode="auto">
            <a:xfrm>
              <a:off x="4736846" y="2008971"/>
              <a:ext cx="3663" cy="7937"/>
            </a:xfrm>
            <a:custGeom>
              <a:avLst/>
              <a:gdLst>
                <a:gd name="T0" fmla="*/ 6 w 6"/>
                <a:gd name="T1" fmla="*/ 4 h 12"/>
                <a:gd name="T2" fmla="*/ 6 w 6"/>
                <a:gd name="T3" fmla="*/ 2 h 12"/>
                <a:gd name="T4" fmla="*/ 5 w 6"/>
                <a:gd name="T5" fmla="*/ 0 h 12"/>
                <a:gd name="T6" fmla="*/ 3 w 6"/>
                <a:gd name="T7" fmla="*/ 0 h 12"/>
                <a:gd name="T8" fmla="*/ 3 w 6"/>
                <a:gd name="T9" fmla="*/ 2 h 12"/>
                <a:gd name="T10" fmla="*/ 2 w 6"/>
                <a:gd name="T11" fmla="*/ 3 h 12"/>
                <a:gd name="T12" fmla="*/ 2 w 6"/>
                <a:gd name="T13" fmla="*/ 6 h 12"/>
                <a:gd name="T14" fmla="*/ 0 w 6"/>
                <a:gd name="T15" fmla="*/ 7 h 12"/>
                <a:gd name="T16" fmla="*/ 2 w 6"/>
                <a:gd name="T17" fmla="*/ 9 h 12"/>
                <a:gd name="T18" fmla="*/ 2 w 6"/>
                <a:gd name="T19" fmla="*/ 12 h 12"/>
                <a:gd name="T20" fmla="*/ 3 w 6"/>
                <a:gd name="T21" fmla="*/ 12 h 12"/>
                <a:gd name="T22" fmla="*/ 5 w 6"/>
                <a:gd name="T23" fmla="*/ 12 h 12"/>
                <a:gd name="T24" fmla="*/ 5 w 6"/>
                <a:gd name="T25" fmla="*/ 9 h 12"/>
                <a:gd name="T26" fmla="*/ 5 w 6"/>
                <a:gd name="T27" fmla="*/ 7 h 12"/>
                <a:gd name="T28" fmla="*/ 6 w 6"/>
                <a:gd name="T29" fmla="*/ 4 h 12"/>
                <a:gd name="T30" fmla="*/ 6 w 6"/>
                <a:gd name="T3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12">
                  <a:moveTo>
                    <a:pt x="6" y="4"/>
                  </a:move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2" y="6"/>
                  </a:lnTo>
                  <a:lnTo>
                    <a:pt x="0" y="7"/>
                  </a:lnTo>
                  <a:lnTo>
                    <a:pt x="2" y="9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9"/>
                  </a:lnTo>
                  <a:lnTo>
                    <a:pt x="5" y="7"/>
                  </a:lnTo>
                  <a:lnTo>
                    <a:pt x="6" y="4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59" name="Freeform 307"/>
            <p:cNvSpPr>
              <a:spLocks/>
            </p:cNvSpPr>
            <p:nvPr/>
          </p:nvSpPr>
          <p:spPr bwMode="auto">
            <a:xfrm>
              <a:off x="4830874" y="2007648"/>
              <a:ext cx="10990" cy="19844"/>
            </a:xfrm>
            <a:custGeom>
              <a:avLst/>
              <a:gdLst>
                <a:gd name="T0" fmla="*/ 14 w 17"/>
                <a:gd name="T1" fmla="*/ 11 h 28"/>
                <a:gd name="T2" fmla="*/ 16 w 17"/>
                <a:gd name="T3" fmla="*/ 8 h 28"/>
                <a:gd name="T4" fmla="*/ 16 w 17"/>
                <a:gd name="T5" fmla="*/ 5 h 28"/>
                <a:gd name="T6" fmla="*/ 16 w 17"/>
                <a:gd name="T7" fmla="*/ 3 h 28"/>
                <a:gd name="T8" fmla="*/ 17 w 17"/>
                <a:gd name="T9" fmla="*/ 1 h 28"/>
                <a:gd name="T10" fmla="*/ 16 w 17"/>
                <a:gd name="T11" fmla="*/ 0 h 28"/>
                <a:gd name="T12" fmla="*/ 13 w 17"/>
                <a:gd name="T13" fmla="*/ 1 h 28"/>
                <a:gd name="T14" fmla="*/ 11 w 17"/>
                <a:gd name="T15" fmla="*/ 3 h 28"/>
                <a:gd name="T16" fmla="*/ 10 w 17"/>
                <a:gd name="T17" fmla="*/ 4 h 28"/>
                <a:gd name="T18" fmla="*/ 9 w 17"/>
                <a:gd name="T19" fmla="*/ 4 h 28"/>
                <a:gd name="T20" fmla="*/ 9 w 17"/>
                <a:gd name="T21" fmla="*/ 5 h 28"/>
                <a:gd name="T22" fmla="*/ 7 w 17"/>
                <a:gd name="T23" fmla="*/ 10 h 28"/>
                <a:gd name="T24" fmla="*/ 9 w 17"/>
                <a:gd name="T25" fmla="*/ 13 h 28"/>
                <a:gd name="T26" fmla="*/ 7 w 17"/>
                <a:gd name="T27" fmla="*/ 14 h 28"/>
                <a:gd name="T28" fmla="*/ 4 w 17"/>
                <a:gd name="T29" fmla="*/ 15 h 28"/>
                <a:gd name="T30" fmla="*/ 3 w 17"/>
                <a:gd name="T31" fmla="*/ 18 h 28"/>
                <a:gd name="T32" fmla="*/ 1 w 17"/>
                <a:gd name="T33" fmla="*/ 20 h 28"/>
                <a:gd name="T34" fmla="*/ 0 w 17"/>
                <a:gd name="T35" fmla="*/ 24 h 28"/>
                <a:gd name="T36" fmla="*/ 0 w 17"/>
                <a:gd name="T37" fmla="*/ 27 h 28"/>
                <a:gd name="T38" fmla="*/ 0 w 17"/>
                <a:gd name="T39" fmla="*/ 28 h 28"/>
                <a:gd name="T40" fmla="*/ 3 w 17"/>
                <a:gd name="T41" fmla="*/ 28 h 28"/>
                <a:gd name="T42" fmla="*/ 3 w 17"/>
                <a:gd name="T43" fmla="*/ 27 h 28"/>
                <a:gd name="T44" fmla="*/ 6 w 17"/>
                <a:gd name="T45" fmla="*/ 27 h 28"/>
                <a:gd name="T46" fmla="*/ 7 w 17"/>
                <a:gd name="T47" fmla="*/ 24 h 28"/>
                <a:gd name="T48" fmla="*/ 9 w 17"/>
                <a:gd name="T49" fmla="*/ 23 h 28"/>
                <a:gd name="T50" fmla="*/ 9 w 17"/>
                <a:gd name="T51" fmla="*/ 18 h 28"/>
                <a:gd name="T52" fmla="*/ 10 w 17"/>
                <a:gd name="T53" fmla="*/ 17 h 28"/>
                <a:gd name="T54" fmla="*/ 11 w 17"/>
                <a:gd name="T55" fmla="*/ 15 h 28"/>
                <a:gd name="T56" fmla="*/ 13 w 17"/>
                <a:gd name="T57" fmla="*/ 14 h 28"/>
                <a:gd name="T58" fmla="*/ 14 w 17"/>
                <a:gd name="T59" fmla="*/ 14 h 28"/>
                <a:gd name="T60" fmla="*/ 14 w 17"/>
                <a:gd name="T61" fmla="*/ 11 h 28"/>
                <a:gd name="T62" fmla="*/ 14 w 17"/>
                <a:gd name="T63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" h="28">
                  <a:moveTo>
                    <a:pt x="14" y="11"/>
                  </a:moveTo>
                  <a:lnTo>
                    <a:pt x="16" y="8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7" y="1"/>
                  </a:lnTo>
                  <a:lnTo>
                    <a:pt x="16" y="0"/>
                  </a:lnTo>
                  <a:lnTo>
                    <a:pt x="13" y="1"/>
                  </a:lnTo>
                  <a:lnTo>
                    <a:pt x="11" y="3"/>
                  </a:lnTo>
                  <a:lnTo>
                    <a:pt x="10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7" y="10"/>
                  </a:lnTo>
                  <a:lnTo>
                    <a:pt x="9" y="13"/>
                  </a:lnTo>
                  <a:lnTo>
                    <a:pt x="7" y="14"/>
                  </a:lnTo>
                  <a:lnTo>
                    <a:pt x="4" y="15"/>
                  </a:lnTo>
                  <a:lnTo>
                    <a:pt x="3" y="18"/>
                  </a:lnTo>
                  <a:lnTo>
                    <a:pt x="1" y="20"/>
                  </a:lnTo>
                  <a:lnTo>
                    <a:pt x="0" y="24"/>
                  </a:lnTo>
                  <a:lnTo>
                    <a:pt x="0" y="27"/>
                  </a:lnTo>
                  <a:lnTo>
                    <a:pt x="0" y="28"/>
                  </a:lnTo>
                  <a:lnTo>
                    <a:pt x="3" y="28"/>
                  </a:lnTo>
                  <a:lnTo>
                    <a:pt x="3" y="27"/>
                  </a:lnTo>
                  <a:lnTo>
                    <a:pt x="6" y="27"/>
                  </a:lnTo>
                  <a:lnTo>
                    <a:pt x="7" y="24"/>
                  </a:lnTo>
                  <a:lnTo>
                    <a:pt x="9" y="23"/>
                  </a:lnTo>
                  <a:lnTo>
                    <a:pt x="9" y="18"/>
                  </a:lnTo>
                  <a:lnTo>
                    <a:pt x="10" y="17"/>
                  </a:lnTo>
                  <a:lnTo>
                    <a:pt x="11" y="15"/>
                  </a:lnTo>
                  <a:lnTo>
                    <a:pt x="13" y="14"/>
                  </a:lnTo>
                  <a:lnTo>
                    <a:pt x="14" y="14"/>
                  </a:lnTo>
                  <a:lnTo>
                    <a:pt x="14" y="11"/>
                  </a:lnTo>
                  <a:lnTo>
                    <a:pt x="14" y="1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60" name="Freeform 308"/>
            <p:cNvSpPr>
              <a:spLocks/>
            </p:cNvSpPr>
            <p:nvPr/>
          </p:nvSpPr>
          <p:spPr bwMode="auto">
            <a:xfrm>
              <a:off x="4835758" y="2020877"/>
              <a:ext cx="14654" cy="23812"/>
            </a:xfrm>
            <a:custGeom>
              <a:avLst/>
              <a:gdLst>
                <a:gd name="T0" fmla="*/ 10 w 24"/>
                <a:gd name="T1" fmla="*/ 8 h 34"/>
                <a:gd name="T2" fmla="*/ 10 w 24"/>
                <a:gd name="T3" fmla="*/ 4 h 34"/>
                <a:gd name="T4" fmla="*/ 13 w 24"/>
                <a:gd name="T5" fmla="*/ 3 h 34"/>
                <a:gd name="T6" fmla="*/ 14 w 24"/>
                <a:gd name="T7" fmla="*/ 1 h 34"/>
                <a:gd name="T8" fmla="*/ 17 w 24"/>
                <a:gd name="T9" fmla="*/ 0 h 34"/>
                <a:gd name="T10" fmla="*/ 19 w 24"/>
                <a:gd name="T11" fmla="*/ 0 h 34"/>
                <a:gd name="T12" fmla="*/ 22 w 24"/>
                <a:gd name="T13" fmla="*/ 1 h 34"/>
                <a:gd name="T14" fmla="*/ 24 w 24"/>
                <a:gd name="T15" fmla="*/ 4 h 34"/>
                <a:gd name="T16" fmla="*/ 23 w 24"/>
                <a:gd name="T17" fmla="*/ 7 h 34"/>
                <a:gd name="T18" fmla="*/ 23 w 24"/>
                <a:gd name="T19" fmla="*/ 8 h 34"/>
                <a:gd name="T20" fmla="*/ 22 w 24"/>
                <a:gd name="T21" fmla="*/ 10 h 34"/>
                <a:gd name="T22" fmla="*/ 19 w 24"/>
                <a:gd name="T23" fmla="*/ 11 h 34"/>
                <a:gd name="T24" fmla="*/ 17 w 24"/>
                <a:gd name="T25" fmla="*/ 13 h 34"/>
                <a:gd name="T26" fmla="*/ 17 w 24"/>
                <a:gd name="T27" fmla="*/ 14 h 34"/>
                <a:gd name="T28" fmla="*/ 19 w 24"/>
                <a:gd name="T29" fmla="*/ 15 h 34"/>
                <a:gd name="T30" fmla="*/ 20 w 24"/>
                <a:gd name="T31" fmla="*/ 17 h 34"/>
                <a:gd name="T32" fmla="*/ 20 w 24"/>
                <a:gd name="T33" fmla="*/ 18 h 34"/>
                <a:gd name="T34" fmla="*/ 20 w 24"/>
                <a:gd name="T35" fmla="*/ 21 h 34"/>
                <a:gd name="T36" fmla="*/ 17 w 24"/>
                <a:gd name="T37" fmla="*/ 23 h 34"/>
                <a:gd name="T38" fmla="*/ 16 w 24"/>
                <a:gd name="T39" fmla="*/ 24 h 34"/>
                <a:gd name="T40" fmla="*/ 17 w 24"/>
                <a:gd name="T41" fmla="*/ 25 h 34"/>
                <a:gd name="T42" fmla="*/ 19 w 24"/>
                <a:gd name="T43" fmla="*/ 25 h 34"/>
                <a:gd name="T44" fmla="*/ 19 w 24"/>
                <a:gd name="T45" fmla="*/ 27 h 34"/>
                <a:gd name="T46" fmla="*/ 17 w 24"/>
                <a:gd name="T47" fmla="*/ 28 h 34"/>
                <a:gd name="T48" fmla="*/ 16 w 24"/>
                <a:gd name="T49" fmla="*/ 30 h 34"/>
                <a:gd name="T50" fmla="*/ 12 w 24"/>
                <a:gd name="T51" fmla="*/ 31 h 34"/>
                <a:gd name="T52" fmla="*/ 9 w 24"/>
                <a:gd name="T53" fmla="*/ 33 h 34"/>
                <a:gd name="T54" fmla="*/ 7 w 24"/>
                <a:gd name="T55" fmla="*/ 34 h 34"/>
                <a:gd name="T56" fmla="*/ 4 w 24"/>
                <a:gd name="T57" fmla="*/ 33 h 34"/>
                <a:gd name="T58" fmla="*/ 3 w 24"/>
                <a:gd name="T59" fmla="*/ 31 h 34"/>
                <a:gd name="T60" fmla="*/ 3 w 24"/>
                <a:gd name="T61" fmla="*/ 28 h 34"/>
                <a:gd name="T62" fmla="*/ 4 w 24"/>
                <a:gd name="T63" fmla="*/ 25 h 34"/>
                <a:gd name="T64" fmla="*/ 3 w 24"/>
                <a:gd name="T65" fmla="*/ 24 h 34"/>
                <a:gd name="T66" fmla="*/ 2 w 24"/>
                <a:gd name="T67" fmla="*/ 23 h 34"/>
                <a:gd name="T68" fmla="*/ 0 w 24"/>
                <a:gd name="T69" fmla="*/ 21 h 34"/>
                <a:gd name="T70" fmla="*/ 0 w 24"/>
                <a:gd name="T71" fmla="*/ 18 h 34"/>
                <a:gd name="T72" fmla="*/ 0 w 24"/>
                <a:gd name="T73" fmla="*/ 18 h 34"/>
                <a:gd name="T74" fmla="*/ 2 w 24"/>
                <a:gd name="T75" fmla="*/ 17 h 34"/>
                <a:gd name="T76" fmla="*/ 4 w 24"/>
                <a:gd name="T77" fmla="*/ 15 h 34"/>
                <a:gd name="T78" fmla="*/ 7 w 24"/>
                <a:gd name="T79" fmla="*/ 14 h 34"/>
                <a:gd name="T80" fmla="*/ 9 w 24"/>
                <a:gd name="T81" fmla="*/ 11 h 34"/>
                <a:gd name="T82" fmla="*/ 10 w 24"/>
                <a:gd name="T83" fmla="*/ 8 h 34"/>
                <a:gd name="T84" fmla="*/ 10 w 24"/>
                <a:gd name="T85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" h="34">
                  <a:moveTo>
                    <a:pt x="10" y="8"/>
                  </a:moveTo>
                  <a:lnTo>
                    <a:pt x="10" y="4"/>
                  </a:lnTo>
                  <a:lnTo>
                    <a:pt x="13" y="3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19" y="0"/>
                  </a:lnTo>
                  <a:lnTo>
                    <a:pt x="22" y="1"/>
                  </a:lnTo>
                  <a:lnTo>
                    <a:pt x="24" y="4"/>
                  </a:lnTo>
                  <a:lnTo>
                    <a:pt x="23" y="7"/>
                  </a:lnTo>
                  <a:lnTo>
                    <a:pt x="23" y="8"/>
                  </a:lnTo>
                  <a:lnTo>
                    <a:pt x="22" y="10"/>
                  </a:lnTo>
                  <a:lnTo>
                    <a:pt x="19" y="11"/>
                  </a:lnTo>
                  <a:lnTo>
                    <a:pt x="17" y="13"/>
                  </a:lnTo>
                  <a:lnTo>
                    <a:pt x="17" y="14"/>
                  </a:lnTo>
                  <a:lnTo>
                    <a:pt x="19" y="15"/>
                  </a:lnTo>
                  <a:lnTo>
                    <a:pt x="20" y="17"/>
                  </a:lnTo>
                  <a:lnTo>
                    <a:pt x="20" y="18"/>
                  </a:lnTo>
                  <a:lnTo>
                    <a:pt x="20" y="21"/>
                  </a:lnTo>
                  <a:lnTo>
                    <a:pt x="17" y="23"/>
                  </a:lnTo>
                  <a:lnTo>
                    <a:pt x="16" y="24"/>
                  </a:lnTo>
                  <a:lnTo>
                    <a:pt x="17" y="25"/>
                  </a:lnTo>
                  <a:lnTo>
                    <a:pt x="19" y="25"/>
                  </a:lnTo>
                  <a:lnTo>
                    <a:pt x="19" y="27"/>
                  </a:lnTo>
                  <a:lnTo>
                    <a:pt x="17" y="28"/>
                  </a:lnTo>
                  <a:lnTo>
                    <a:pt x="16" y="30"/>
                  </a:lnTo>
                  <a:lnTo>
                    <a:pt x="12" y="31"/>
                  </a:lnTo>
                  <a:lnTo>
                    <a:pt x="9" y="33"/>
                  </a:lnTo>
                  <a:lnTo>
                    <a:pt x="7" y="34"/>
                  </a:lnTo>
                  <a:lnTo>
                    <a:pt x="4" y="33"/>
                  </a:lnTo>
                  <a:lnTo>
                    <a:pt x="3" y="31"/>
                  </a:lnTo>
                  <a:lnTo>
                    <a:pt x="3" y="28"/>
                  </a:lnTo>
                  <a:lnTo>
                    <a:pt x="4" y="25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0" y="21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17"/>
                  </a:lnTo>
                  <a:lnTo>
                    <a:pt x="4" y="15"/>
                  </a:lnTo>
                  <a:lnTo>
                    <a:pt x="7" y="14"/>
                  </a:lnTo>
                  <a:lnTo>
                    <a:pt x="9" y="11"/>
                  </a:lnTo>
                  <a:lnTo>
                    <a:pt x="10" y="8"/>
                  </a:lnTo>
                  <a:lnTo>
                    <a:pt x="10" y="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61" name="Freeform 309"/>
            <p:cNvSpPr>
              <a:spLocks/>
            </p:cNvSpPr>
            <p:nvPr/>
          </p:nvSpPr>
          <p:spPr bwMode="auto">
            <a:xfrm>
              <a:off x="4838201" y="2042043"/>
              <a:ext cx="9769" cy="9260"/>
            </a:xfrm>
            <a:custGeom>
              <a:avLst/>
              <a:gdLst>
                <a:gd name="T0" fmla="*/ 18 w 18"/>
                <a:gd name="T1" fmla="*/ 5 h 13"/>
                <a:gd name="T2" fmla="*/ 16 w 18"/>
                <a:gd name="T3" fmla="*/ 3 h 13"/>
                <a:gd name="T4" fmla="*/ 15 w 18"/>
                <a:gd name="T5" fmla="*/ 2 h 13"/>
                <a:gd name="T6" fmla="*/ 12 w 18"/>
                <a:gd name="T7" fmla="*/ 0 h 13"/>
                <a:gd name="T8" fmla="*/ 8 w 18"/>
                <a:gd name="T9" fmla="*/ 3 h 13"/>
                <a:gd name="T10" fmla="*/ 5 w 18"/>
                <a:gd name="T11" fmla="*/ 5 h 13"/>
                <a:gd name="T12" fmla="*/ 2 w 18"/>
                <a:gd name="T13" fmla="*/ 6 h 13"/>
                <a:gd name="T14" fmla="*/ 0 w 18"/>
                <a:gd name="T15" fmla="*/ 7 h 13"/>
                <a:gd name="T16" fmla="*/ 0 w 18"/>
                <a:gd name="T17" fmla="*/ 9 h 13"/>
                <a:gd name="T18" fmla="*/ 2 w 18"/>
                <a:gd name="T19" fmla="*/ 12 h 13"/>
                <a:gd name="T20" fmla="*/ 6 w 18"/>
                <a:gd name="T21" fmla="*/ 12 h 13"/>
                <a:gd name="T22" fmla="*/ 12 w 18"/>
                <a:gd name="T23" fmla="*/ 13 h 13"/>
                <a:gd name="T24" fmla="*/ 15 w 18"/>
                <a:gd name="T25" fmla="*/ 12 h 13"/>
                <a:gd name="T26" fmla="*/ 16 w 18"/>
                <a:gd name="T27" fmla="*/ 12 h 13"/>
                <a:gd name="T28" fmla="*/ 18 w 18"/>
                <a:gd name="T29" fmla="*/ 10 h 13"/>
                <a:gd name="T30" fmla="*/ 18 w 18"/>
                <a:gd name="T31" fmla="*/ 7 h 13"/>
                <a:gd name="T32" fmla="*/ 18 w 18"/>
                <a:gd name="T33" fmla="*/ 6 h 13"/>
                <a:gd name="T34" fmla="*/ 18 w 18"/>
                <a:gd name="T35" fmla="*/ 5 h 13"/>
                <a:gd name="T36" fmla="*/ 18 w 18"/>
                <a:gd name="T37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13">
                  <a:moveTo>
                    <a:pt x="18" y="5"/>
                  </a:moveTo>
                  <a:lnTo>
                    <a:pt x="16" y="3"/>
                  </a:lnTo>
                  <a:lnTo>
                    <a:pt x="15" y="2"/>
                  </a:lnTo>
                  <a:lnTo>
                    <a:pt x="12" y="0"/>
                  </a:lnTo>
                  <a:lnTo>
                    <a:pt x="8" y="3"/>
                  </a:lnTo>
                  <a:lnTo>
                    <a:pt x="5" y="5"/>
                  </a:lnTo>
                  <a:lnTo>
                    <a:pt x="2" y="6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2"/>
                  </a:lnTo>
                  <a:lnTo>
                    <a:pt x="6" y="12"/>
                  </a:lnTo>
                  <a:lnTo>
                    <a:pt x="12" y="13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8" y="10"/>
                  </a:lnTo>
                  <a:lnTo>
                    <a:pt x="18" y="7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8" y="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62" name="Freeform 310"/>
            <p:cNvSpPr>
              <a:spLocks/>
            </p:cNvSpPr>
            <p:nvPr/>
          </p:nvSpPr>
          <p:spPr bwMode="auto">
            <a:xfrm>
              <a:off x="4849191" y="2038074"/>
              <a:ext cx="7327" cy="9260"/>
            </a:xfrm>
            <a:custGeom>
              <a:avLst/>
              <a:gdLst>
                <a:gd name="T0" fmla="*/ 12 w 12"/>
                <a:gd name="T1" fmla="*/ 9 h 16"/>
                <a:gd name="T2" fmla="*/ 12 w 12"/>
                <a:gd name="T3" fmla="*/ 6 h 16"/>
                <a:gd name="T4" fmla="*/ 9 w 12"/>
                <a:gd name="T5" fmla="*/ 1 h 16"/>
                <a:gd name="T6" fmla="*/ 4 w 12"/>
                <a:gd name="T7" fmla="*/ 0 h 16"/>
                <a:gd name="T8" fmla="*/ 1 w 12"/>
                <a:gd name="T9" fmla="*/ 1 h 16"/>
                <a:gd name="T10" fmla="*/ 0 w 12"/>
                <a:gd name="T11" fmla="*/ 4 h 16"/>
                <a:gd name="T12" fmla="*/ 0 w 12"/>
                <a:gd name="T13" fmla="*/ 6 h 16"/>
                <a:gd name="T14" fmla="*/ 0 w 12"/>
                <a:gd name="T15" fmla="*/ 13 h 16"/>
                <a:gd name="T16" fmla="*/ 1 w 12"/>
                <a:gd name="T17" fmla="*/ 14 h 16"/>
                <a:gd name="T18" fmla="*/ 3 w 12"/>
                <a:gd name="T19" fmla="*/ 16 h 16"/>
                <a:gd name="T20" fmla="*/ 4 w 12"/>
                <a:gd name="T21" fmla="*/ 16 h 16"/>
                <a:gd name="T22" fmla="*/ 7 w 12"/>
                <a:gd name="T23" fmla="*/ 16 h 16"/>
                <a:gd name="T24" fmla="*/ 9 w 12"/>
                <a:gd name="T25" fmla="*/ 14 h 16"/>
                <a:gd name="T26" fmla="*/ 10 w 12"/>
                <a:gd name="T27" fmla="*/ 13 h 16"/>
                <a:gd name="T28" fmla="*/ 10 w 12"/>
                <a:gd name="T29" fmla="*/ 10 h 16"/>
                <a:gd name="T30" fmla="*/ 12 w 12"/>
                <a:gd name="T31" fmla="*/ 9 h 16"/>
                <a:gd name="T32" fmla="*/ 12 w 12"/>
                <a:gd name="T33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6">
                  <a:moveTo>
                    <a:pt x="12" y="9"/>
                  </a:moveTo>
                  <a:lnTo>
                    <a:pt x="12" y="6"/>
                  </a:lnTo>
                  <a:lnTo>
                    <a:pt x="9" y="1"/>
                  </a:lnTo>
                  <a:lnTo>
                    <a:pt x="4" y="0"/>
                  </a:lnTo>
                  <a:lnTo>
                    <a:pt x="1" y="1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3"/>
                  </a:lnTo>
                  <a:lnTo>
                    <a:pt x="1" y="14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7" y="16"/>
                  </a:lnTo>
                  <a:lnTo>
                    <a:pt x="9" y="14"/>
                  </a:lnTo>
                  <a:lnTo>
                    <a:pt x="10" y="13"/>
                  </a:lnTo>
                  <a:lnTo>
                    <a:pt x="10" y="10"/>
                  </a:lnTo>
                  <a:lnTo>
                    <a:pt x="12" y="9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63" name="Freeform 311"/>
            <p:cNvSpPr>
              <a:spLocks/>
            </p:cNvSpPr>
            <p:nvPr/>
          </p:nvSpPr>
          <p:spPr bwMode="auto">
            <a:xfrm>
              <a:off x="4846749" y="2051304"/>
              <a:ext cx="7327" cy="9260"/>
            </a:xfrm>
            <a:custGeom>
              <a:avLst/>
              <a:gdLst>
                <a:gd name="T0" fmla="*/ 11 w 11"/>
                <a:gd name="T1" fmla="*/ 5 h 12"/>
                <a:gd name="T2" fmla="*/ 11 w 11"/>
                <a:gd name="T3" fmla="*/ 4 h 12"/>
                <a:gd name="T4" fmla="*/ 11 w 11"/>
                <a:gd name="T5" fmla="*/ 1 h 12"/>
                <a:gd name="T6" fmla="*/ 10 w 11"/>
                <a:gd name="T7" fmla="*/ 1 h 12"/>
                <a:gd name="T8" fmla="*/ 7 w 11"/>
                <a:gd name="T9" fmla="*/ 1 h 12"/>
                <a:gd name="T10" fmla="*/ 4 w 11"/>
                <a:gd name="T11" fmla="*/ 0 h 12"/>
                <a:gd name="T12" fmla="*/ 1 w 11"/>
                <a:gd name="T13" fmla="*/ 0 h 12"/>
                <a:gd name="T14" fmla="*/ 1 w 11"/>
                <a:gd name="T15" fmla="*/ 2 h 12"/>
                <a:gd name="T16" fmla="*/ 1 w 11"/>
                <a:gd name="T17" fmla="*/ 4 h 12"/>
                <a:gd name="T18" fmla="*/ 1 w 11"/>
                <a:gd name="T19" fmla="*/ 7 h 12"/>
                <a:gd name="T20" fmla="*/ 0 w 11"/>
                <a:gd name="T21" fmla="*/ 10 h 12"/>
                <a:gd name="T22" fmla="*/ 1 w 11"/>
                <a:gd name="T23" fmla="*/ 11 h 12"/>
                <a:gd name="T24" fmla="*/ 3 w 11"/>
                <a:gd name="T25" fmla="*/ 12 h 12"/>
                <a:gd name="T26" fmla="*/ 5 w 11"/>
                <a:gd name="T27" fmla="*/ 12 h 12"/>
                <a:gd name="T28" fmla="*/ 7 w 11"/>
                <a:gd name="T29" fmla="*/ 10 h 12"/>
                <a:gd name="T30" fmla="*/ 8 w 11"/>
                <a:gd name="T31" fmla="*/ 8 h 12"/>
                <a:gd name="T32" fmla="*/ 8 w 11"/>
                <a:gd name="T33" fmla="*/ 7 h 12"/>
                <a:gd name="T34" fmla="*/ 11 w 11"/>
                <a:gd name="T35" fmla="*/ 5 h 12"/>
                <a:gd name="T36" fmla="*/ 11 w 11"/>
                <a:gd name="T37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" h="12">
                  <a:moveTo>
                    <a:pt x="11" y="5"/>
                  </a:moveTo>
                  <a:lnTo>
                    <a:pt x="11" y="4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7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1" y="4"/>
                  </a:lnTo>
                  <a:lnTo>
                    <a:pt x="1" y="7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7" y="10"/>
                  </a:lnTo>
                  <a:lnTo>
                    <a:pt x="8" y="8"/>
                  </a:lnTo>
                  <a:lnTo>
                    <a:pt x="8" y="7"/>
                  </a:lnTo>
                  <a:lnTo>
                    <a:pt x="11" y="5"/>
                  </a:lnTo>
                  <a:lnTo>
                    <a:pt x="11" y="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64" name="Freeform 312"/>
            <p:cNvSpPr>
              <a:spLocks/>
            </p:cNvSpPr>
            <p:nvPr/>
          </p:nvSpPr>
          <p:spPr bwMode="auto">
            <a:xfrm>
              <a:off x="4838201" y="2051304"/>
              <a:ext cx="6106" cy="3969"/>
            </a:xfrm>
            <a:custGeom>
              <a:avLst/>
              <a:gdLst>
                <a:gd name="T0" fmla="*/ 9 w 12"/>
                <a:gd name="T1" fmla="*/ 5 h 5"/>
                <a:gd name="T2" fmla="*/ 10 w 12"/>
                <a:gd name="T3" fmla="*/ 4 h 5"/>
                <a:gd name="T4" fmla="*/ 12 w 12"/>
                <a:gd name="T5" fmla="*/ 1 h 5"/>
                <a:gd name="T6" fmla="*/ 10 w 12"/>
                <a:gd name="T7" fmla="*/ 1 h 5"/>
                <a:gd name="T8" fmla="*/ 8 w 12"/>
                <a:gd name="T9" fmla="*/ 0 h 5"/>
                <a:gd name="T10" fmla="*/ 5 w 12"/>
                <a:gd name="T11" fmla="*/ 0 h 5"/>
                <a:gd name="T12" fmla="*/ 2 w 12"/>
                <a:gd name="T13" fmla="*/ 0 h 5"/>
                <a:gd name="T14" fmla="*/ 0 w 12"/>
                <a:gd name="T15" fmla="*/ 2 h 5"/>
                <a:gd name="T16" fmla="*/ 2 w 12"/>
                <a:gd name="T17" fmla="*/ 4 h 5"/>
                <a:gd name="T18" fmla="*/ 3 w 12"/>
                <a:gd name="T19" fmla="*/ 5 h 5"/>
                <a:gd name="T20" fmla="*/ 6 w 12"/>
                <a:gd name="T21" fmla="*/ 5 h 5"/>
                <a:gd name="T22" fmla="*/ 9 w 12"/>
                <a:gd name="T23" fmla="*/ 5 h 5"/>
                <a:gd name="T24" fmla="*/ 9 w 12"/>
                <a:gd name="T2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5">
                  <a:moveTo>
                    <a:pt x="9" y="5"/>
                  </a:moveTo>
                  <a:lnTo>
                    <a:pt x="10" y="4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8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4"/>
                  </a:lnTo>
                  <a:lnTo>
                    <a:pt x="3" y="5"/>
                  </a:lnTo>
                  <a:lnTo>
                    <a:pt x="6" y="5"/>
                  </a:lnTo>
                  <a:lnTo>
                    <a:pt x="9" y="5"/>
                  </a:lnTo>
                  <a:lnTo>
                    <a:pt x="9" y="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65" name="Freeform 313"/>
            <p:cNvSpPr>
              <a:spLocks/>
            </p:cNvSpPr>
            <p:nvPr/>
          </p:nvSpPr>
          <p:spPr bwMode="auto">
            <a:xfrm>
              <a:off x="4819883" y="2051304"/>
              <a:ext cx="10990" cy="13229"/>
            </a:xfrm>
            <a:custGeom>
              <a:avLst/>
              <a:gdLst>
                <a:gd name="T0" fmla="*/ 15 w 19"/>
                <a:gd name="T1" fmla="*/ 14 h 20"/>
                <a:gd name="T2" fmla="*/ 15 w 19"/>
                <a:gd name="T3" fmla="*/ 17 h 20"/>
                <a:gd name="T4" fmla="*/ 13 w 19"/>
                <a:gd name="T5" fmla="*/ 20 h 20"/>
                <a:gd name="T6" fmla="*/ 10 w 19"/>
                <a:gd name="T7" fmla="*/ 20 h 20"/>
                <a:gd name="T8" fmla="*/ 8 w 19"/>
                <a:gd name="T9" fmla="*/ 20 h 20"/>
                <a:gd name="T10" fmla="*/ 5 w 19"/>
                <a:gd name="T11" fmla="*/ 20 h 20"/>
                <a:gd name="T12" fmla="*/ 3 w 19"/>
                <a:gd name="T13" fmla="*/ 20 h 20"/>
                <a:gd name="T14" fmla="*/ 2 w 19"/>
                <a:gd name="T15" fmla="*/ 20 h 20"/>
                <a:gd name="T16" fmla="*/ 0 w 19"/>
                <a:gd name="T17" fmla="*/ 17 h 20"/>
                <a:gd name="T18" fmla="*/ 2 w 19"/>
                <a:gd name="T19" fmla="*/ 14 h 20"/>
                <a:gd name="T20" fmla="*/ 6 w 19"/>
                <a:gd name="T21" fmla="*/ 12 h 20"/>
                <a:gd name="T22" fmla="*/ 8 w 19"/>
                <a:gd name="T23" fmla="*/ 10 h 20"/>
                <a:gd name="T24" fmla="*/ 8 w 19"/>
                <a:gd name="T25" fmla="*/ 7 h 20"/>
                <a:gd name="T26" fmla="*/ 9 w 19"/>
                <a:gd name="T27" fmla="*/ 4 h 20"/>
                <a:gd name="T28" fmla="*/ 10 w 19"/>
                <a:gd name="T29" fmla="*/ 1 h 20"/>
                <a:gd name="T30" fmla="*/ 15 w 19"/>
                <a:gd name="T31" fmla="*/ 0 h 20"/>
                <a:gd name="T32" fmla="*/ 16 w 19"/>
                <a:gd name="T33" fmla="*/ 1 h 20"/>
                <a:gd name="T34" fmla="*/ 18 w 19"/>
                <a:gd name="T35" fmla="*/ 2 h 20"/>
                <a:gd name="T36" fmla="*/ 18 w 19"/>
                <a:gd name="T37" fmla="*/ 4 h 20"/>
                <a:gd name="T38" fmla="*/ 19 w 19"/>
                <a:gd name="T39" fmla="*/ 5 h 20"/>
                <a:gd name="T40" fmla="*/ 19 w 19"/>
                <a:gd name="T41" fmla="*/ 7 h 20"/>
                <a:gd name="T42" fmla="*/ 19 w 19"/>
                <a:gd name="T43" fmla="*/ 8 h 20"/>
                <a:gd name="T44" fmla="*/ 15 w 19"/>
                <a:gd name="T45" fmla="*/ 14 h 20"/>
                <a:gd name="T46" fmla="*/ 15 w 19"/>
                <a:gd name="T4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" h="20">
                  <a:moveTo>
                    <a:pt x="15" y="14"/>
                  </a:moveTo>
                  <a:lnTo>
                    <a:pt x="15" y="17"/>
                  </a:lnTo>
                  <a:lnTo>
                    <a:pt x="13" y="20"/>
                  </a:lnTo>
                  <a:lnTo>
                    <a:pt x="10" y="20"/>
                  </a:lnTo>
                  <a:lnTo>
                    <a:pt x="8" y="20"/>
                  </a:lnTo>
                  <a:lnTo>
                    <a:pt x="5" y="20"/>
                  </a:lnTo>
                  <a:lnTo>
                    <a:pt x="3" y="20"/>
                  </a:lnTo>
                  <a:lnTo>
                    <a:pt x="2" y="20"/>
                  </a:lnTo>
                  <a:lnTo>
                    <a:pt x="0" y="17"/>
                  </a:lnTo>
                  <a:lnTo>
                    <a:pt x="2" y="14"/>
                  </a:lnTo>
                  <a:lnTo>
                    <a:pt x="6" y="12"/>
                  </a:lnTo>
                  <a:lnTo>
                    <a:pt x="8" y="10"/>
                  </a:lnTo>
                  <a:lnTo>
                    <a:pt x="8" y="7"/>
                  </a:lnTo>
                  <a:lnTo>
                    <a:pt x="9" y="4"/>
                  </a:lnTo>
                  <a:lnTo>
                    <a:pt x="10" y="1"/>
                  </a:lnTo>
                  <a:lnTo>
                    <a:pt x="15" y="0"/>
                  </a:lnTo>
                  <a:lnTo>
                    <a:pt x="16" y="1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19" y="5"/>
                  </a:lnTo>
                  <a:lnTo>
                    <a:pt x="19" y="7"/>
                  </a:lnTo>
                  <a:lnTo>
                    <a:pt x="19" y="8"/>
                  </a:lnTo>
                  <a:lnTo>
                    <a:pt x="15" y="14"/>
                  </a:lnTo>
                  <a:lnTo>
                    <a:pt x="15" y="1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66" name="Freeform 314"/>
            <p:cNvSpPr>
              <a:spLocks/>
            </p:cNvSpPr>
            <p:nvPr/>
          </p:nvSpPr>
          <p:spPr bwMode="auto">
            <a:xfrm>
              <a:off x="4835758" y="2064533"/>
              <a:ext cx="13433" cy="9260"/>
            </a:xfrm>
            <a:custGeom>
              <a:avLst/>
              <a:gdLst>
                <a:gd name="T0" fmla="*/ 20 w 23"/>
                <a:gd name="T1" fmla="*/ 12 h 16"/>
                <a:gd name="T2" fmla="*/ 23 w 23"/>
                <a:gd name="T3" fmla="*/ 9 h 16"/>
                <a:gd name="T4" fmla="*/ 23 w 23"/>
                <a:gd name="T5" fmla="*/ 7 h 16"/>
                <a:gd name="T6" fmla="*/ 22 w 23"/>
                <a:gd name="T7" fmla="*/ 2 h 16"/>
                <a:gd name="T8" fmla="*/ 19 w 23"/>
                <a:gd name="T9" fmla="*/ 0 h 16"/>
                <a:gd name="T10" fmla="*/ 14 w 23"/>
                <a:gd name="T11" fmla="*/ 0 h 16"/>
                <a:gd name="T12" fmla="*/ 12 w 23"/>
                <a:gd name="T13" fmla="*/ 2 h 16"/>
                <a:gd name="T14" fmla="*/ 10 w 23"/>
                <a:gd name="T15" fmla="*/ 3 h 16"/>
                <a:gd name="T16" fmla="*/ 9 w 23"/>
                <a:gd name="T17" fmla="*/ 6 h 16"/>
                <a:gd name="T18" fmla="*/ 7 w 23"/>
                <a:gd name="T19" fmla="*/ 7 h 16"/>
                <a:gd name="T20" fmla="*/ 4 w 23"/>
                <a:gd name="T21" fmla="*/ 3 h 16"/>
                <a:gd name="T22" fmla="*/ 3 w 23"/>
                <a:gd name="T23" fmla="*/ 3 h 16"/>
                <a:gd name="T24" fmla="*/ 0 w 23"/>
                <a:gd name="T25" fmla="*/ 4 h 16"/>
                <a:gd name="T26" fmla="*/ 0 w 23"/>
                <a:gd name="T27" fmla="*/ 6 h 16"/>
                <a:gd name="T28" fmla="*/ 2 w 23"/>
                <a:gd name="T29" fmla="*/ 12 h 16"/>
                <a:gd name="T30" fmla="*/ 3 w 23"/>
                <a:gd name="T31" fmla="*/ 14 h 16"/>
                <a:gd name="T32" fmla="*/ 7 w 23"/>
                <a:gd name="T33" fmla="*/ 16 h 16"/>
                <a:gd name="T34" fmla="*/ 10 w 23"/>
                <a:gd name="T35" fmla="*/ 16 h 16"/>
                <a:gd name="T36" fmla="*/ 13 w 23"/>
                <a:gd name="T37" fmla="*/ 14 h 16"/>
                <a:gd name="T38" fmla="*/ 16 w 23"/>
                <a:gd name="T39" fmla="*/ 14 h 16"/>
                <a:gd name="T40" fmla="*/ 17 w 23"/>
                <a:gd name="T41" fmla="*/ 13 h 16"/>
                <a:gd name="T42" fmla="*/ 20 w 23"/>
                <a:gd name="T43" fmla="*/ 12 h 16"/>
                <a:gd name="T44" fmla="*/ 20 w 23"/>
                <a:gd name="T45" fmla="*/ 12 h 16"/>
                <a:gd name="T46" fmla="*/ 20 w 23"/>
                <a:gd name="T4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" h="16">
                  <a:moveTo>
                    <a:pt x="20" y="12"/>
                  </a:moveTo>
                  <a:lnTo>
                    <a:pt x="23" y="9"/>
                  </a:lnTo>
                  <a:lnTo>
                    <a:pt x="23" y="7"/>
                  </a:lnTo>
                  <a:lnTo>
                    <a:pt x="22" y="2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10" y="3"/>
                  </a:lnTo>
                  <a:lnTo>
                    <a:pt x="9" y="6"/>
                  </a:lnTo>
                  <a:lnTo>
                    <a:pt x="7" y="7"/>
                  </a:lnTo>
                  <a:lnTo>
                    <a:pt x="4" y="3"/>
                  </a:lnTo>
                  <a:lnTo>
                    <a:pt x="3" y="3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12"/>
                  </a:lnTo>
                  <a:lnTo>
                    <a:pt x="3" y="14"/>
                  </a:lnTo>
                  <a:lnTo>
                    <a:pt x="7" y="16"/>
                  </a:lnTo>
                  <a:lnTo>
                    <a:pt x="10" y="16"/>
                  </a:lnTo>
                  <a:lnTo>
                    <a:pt x="13" y="14"/>
                  </a:lnTo>
                  <a:lnTo>
                    <a:pt x="16" y="14"/>
                  </a:lnTo>
                  <a:lnTo>
                    <a:pt x="17" y="13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67" name="Freeform 315"/>
            <p:cNvSpPr>
              <a:spLocks/>
            </p:cNvSpPr>
            <p:nvPr/>
          </p:nvSpPr>
          <p:spPr bwMode="auto">
            <a:xfrm>
              <a:off x="4856518" y="2061887"/>
              <a:ext cx="8548" cy="11906"/>
            </a:xfrm>
            <a:custGeom>
              <a:avLst/>
              <a:gdLst>
                <a:gd name="T0" fmla="*/ 1 w 13"/>
                <a:gd name="T1" fmla="*/ 9 h 17"/>
                <a:gd name="T2" fmla="*/ 6 w 13"/>
                <a:gd name="T3" fmla="*/ 16 h 17"/>
                <a:gd name="T4" fmla="*/ 7 w 13"/>
                <a:gd name="T5" fmla="*/ 17 h 17"/>
                <a:gd name="T6" fmla="*/ 9 w 13"/>
                <a:gd name="T7" fmla="*/ 17 h 17"/>
                <a:gd name="T8" fmla="*/ 11 w 13"/>
                <a:gd name="T9" fmla="*/ 16 h 17"/>
                <a:gd name="T10" fmla="*/ 13 w 13"/>
                <a:gd name="T11" fmla="*/ 13 h 17"/>
                <a:gd name="T12" fmla="*/ 13 w 13"/>
                <a:gd name="T13" fmla="*/ 10 h 17"/>
                <a:gd name="T14" fmla="*/ 13 w 13"/>
                <a:gd name="T15" fmla="*/ 9 h 17"/>
                <a:gd name="T16" fmla="*/ 10 w 13"/>
                <a:gd name="T17" fmla="*/ 7 h 17"/>
                <a:gd name="T18" fmla="*/ 10 w 13"/>
                <a:gd name="T19" fmla="*/ 6 h 17"/>
                <a:gd name="T20" fmla="*/ 10 w 13"/>
                <a:gd name="T21" fmla="*/ 2 h 17"/>
                <a:gd name="T22" fmla="*/ 9 w 13"/>
                <a:gd name="T23" fmla="*/ 0 h 17"/>
                <a:gd name="T24" fmla="*/ 4 w 13"/>
                <a:gd name="T25" fmla="*/ 0 h 17"/>
                <a:gd name="T26" fmla="*/ 0 w 13"/>
                <a:gd name="T27" fmla="*/ 0 h 17"/>
                <a:gd name="T28" fmla="*/ 0 w 13"/>
                <a:gd name="T29" fmla="*/ 2 h 17"/>
                <a:gd name="T30" fmla="*/ 0 w 13"/>
                <a:gd name="T31" fmla="*/ 5 h 17"/>
                <a:gd name="T32" fmla="*/ 0 w 13"/>
                <a:gd name="T33" fmla="*/ 6 h 17"/>
                <a:gd name="T34" fmla="*/ 1 w 13"/>
                <a:gd name="T35" fmla="*/ 9 h 17"/>
                <a:gd name="T36" fmla="*/ 1 w 13"/>
                <a:gd name="T37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" h="17">
                  <a:moveTo>
                    <a:pt x="1" y="9"/>
                  </a:moveTo>
                  <a:lnTo>
                    <a:pt x="6" y="16"/>
                  </a:lnTo>
                  <a:lnTo>
                    <a:pt x="7" y="17"/>
                  </a:lnTo>
                  <a:lnTo>
                    <a:pt x="9" y="17"/>
                  </a:lnTo>
                  <a:lnTo>
                    <a:pt x="11" y="16"/>
                  </a:lnTo>
                  <a:lnTo>
                    <a:pt x="13" y="13"/>
                  </a:lnTo>
                  <a:lnTo>
                    <a:pt x="13" y="10"/>
                  </a:lnTo>
                  <a:lnTo>
                    <a:pt x="13" y="9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10" y="2"/>
                  </a:lnTo>
                  <a:lnTo>
                    <a:pt x="9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6"/>
                  </a:lnTo>
                  <a:lnTo>
                    <a:pt x="1" y="9"/>
                  </a:lnTo>
                  <a:lnTo>
                    <a:pt x="1" y="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68" name="Freeform 316"/>
            <p:cNvSpPr>
              <a:spLocks/>
            </p:cNvSpPr>
            <p:nvPr/>
          </p:nvSpPr>
          <p:spPr bwMode="auto">
            <a:xfrm>
              <a:off x="4836979" y="2073793"/>
              <a:ext cx="34192" cy="37041"/>
            </a:xfrm>
            <a:custGeom>
              <a:avLst/>
              <a:gdLst>
                <a:gd name="T0" fmla="*/ 21 w 56"/>
                <a:gd name="T1" fmla="*/ 11 h 56"/>
                <a:gd name="T2" fmla="*/ 21 w 56"/>
                <a:gd name="T3" fmla="*/ 10 h 56"/>
                <a:gd name="T4" fmla="*/ 23 w 56"/>
                <a:gd name="T5" fmla="*/ 7 h 56"/>
                <a:gd name="T6" fmla="*/ 24 w 56"/>
                <a:gd name="T7" fmla="*/ 6 h 56"/>
                <a:gd name="T8" fmla="*/ 26 w 56"/>
                <a:gd name="T9" fmla="*/ 4 h 56"/>
                <a:gd name="T10" fmla="*/ 26 w 56"/>
                <a:gd name="T11" fmla="*/ 1 h 56"/>
                <a:gd name="T12" fmla="*/ 27 w 56"/>
                <a:gd name="T13" fmla="*/ 0 h 56"/>
                <a:gd name="T14" fmla="*/ 27 w 56"/>
                <a:gd name="T15" fmla="*/ 0 h 56"/>
                <a:gd name="T16" fmla="*/ 30 w 56"/>
                <a:gd name="T17" fmla="*/ 0 h 56"/>
                <a:gd name="T18" fmla="*/ 33 w 56"/>
                <a:gd name="T19" fmla="*/ 0 h 56"/>
                <a:gd name="T20" fmla="*/ 36 w 56"/>
                <a:gd name="T21" fmla="*/ 0 h 56"/>
                <a:gd name="T22" fmla="*/ 37 w 56"/>
                <a:gd name="T23" fmla="*/ 1 h 56"/>
                <a:gd name="T24" fmla="*/ 40 w 56"/>
                <a:gd name="T25" fmla="*/ 3 h 56"/>
                <a:gd name="T26" fmla="*/ 43 w 56"/>
                <a:gd name="T27" fmla="*/ 6 h 56"/>
                <a:gd name="T28" fmla="*/ 43 w 56"/>
                <a:gd name="T29" fmla="*/ 9 h 56"/>
                <a:gd name="T30" fmla="*/ 44 w 56"/>
                <a:gd name="T31" fmla="*/ 10 h 56"/>
                <a:gd name="T32" fmla="*/ 46 w 56"/>
                <a:gd name="T33" fmla="*/ 10 h 56"/>
                <a:gd name="T34" fmla="*/ 47 w 56"/>
                <a:gd name="T35" fmla="*/ 9 h 56"/>
                <a:gd name="T36" fmla="*/ 50 w 56"/>
                <a:gd name="T37" fmla="*/ 7 h 56"/>
                <a:gd name="T38" fmla="*/ 53 w 56"/>
                <a:gd name="T39" fmla="*/ 7 h 56"/>
                <a:gd name="T40" fmla="*/ 56 w 56"/>
                <a:gd name="T41" fmla="*/ 9 h 56"/>
                <a:gd name="T42" fmla="*/ 56 w 56"/>
                <a:gd name="T43" fmla="*/ 10 h 56"/>
                <a:gd name="T44" fmla="*/ 54 w 56"/>
                <a:gd name="T45" fmla="*/ 14 h 56"/>
                <a:gd name="T46" fmla="*/ 56 w 56"/>
                <a:gd name="T47" fmla="*/ 17 h 56"/>
                <a:gd name="T48" fmla="*/ 56 w 56"/>
                <a:gd name="T49" fmla="*/ 20 h 56"/>
                <a:gd name="T50" fmla="*/ 54 w 56"/>
                <a:gd name="T51" fmla="*/ 23 h 56"/>
                <a:gd name="T52" fmla="*/ 49 w 56"/>
                <a:gd name="T53" fmla="*/ 29 h 56"/>
                <a:gd name="T54" fmla="*/ 46 w 56"/>
                <a:gd name="T55" fmla="*/ 33 h 56"/>
                <a:gd name="T56" fmla="*/ 46 w 56"/>
                <a:gd name="T57" fmla="*/ 37 h 56"/>
                <a:gd name="T58" fmla="*/ 44 w 56"/>
                <a:gd name="T59" fmla="*/ 39 h 56"/>
                <a:gd name="T60" fmla="*/ 40 w 56"/>
                <a:gd name="T61" fmla="*/ 39 h 56"/>
                <a:gd name="T62" fmla="*/ 39 w 56"/>
                <a:gd name="T63" fmla="*/ 39 h 56"/>
                <a:gd name="T64" fmla="*/ 36 w 56"/>
                <a:gd name="T65" fmla="*/ 43 h 56"/>
                <a:gd name="T66" fmla="*/ 33 w 56"/>
                <a:gd name="T67" fmla="*/ 46 h 56"/>
                <a:gd name="T68" fmla="*/ 32 w 56"/>
                <a:gd name="T69" fmla="*/ 49 h 56"/>
                <a:gd name="T70" fmla="*/ 33 w 56"/>
                <a:gd name="T71" fmla="*/ 50 h 56"/>
                <a:gd name="T72" fmla="*/ 32 w 56"/>
                <a:gd name="T73" fmla="*/ 53 h 56"/>
                <a:gd name="T74" fmla="*/ 32 w 56"/>
                <a:gd name="T75" fmla="*/ 54 h 56"/>
                <a:gd name="T76" fmla="*/ 30 w 56"/>
                <a:gd name="T77" fmla="*/ 56 h 56"/>
                <a:gd name="T78" fmla="*/ 26 w 56"/>
                <a:gd name="T79" fmla="*/ 56 h 56"/>
                <a:gd name="T80" fmla="*/ 24 w 56"/>
                <a:gd name="T81" fmla="*/ 53 h 56"/>
                <a:gd name="T82" fmla="*/ 21 w 56"/>
                <a:gd name="T83" fmla="*/ 50 h 56"/>
                <a:gd name="T84" fmla="*/ 17 w 56"/>
                <a:gd name="T85" fmla="*/ 50 h 56"/>
                <a:gd name="T86" fmla="*/ 16 w 56"/>
                <a:gd name="T87" fmla="*/ 49 h 56"/>
                <a:gd name="T88" fmla="*/ 14 w 56"/>
                <a:gd name="T89" fmla="*/ 46 h 56"/>
                <a:gd name="T90" fmla="*/ 11 w 56"/>
                <a:gd name="T91" fmla="*/ 44 h 56"/>
                <a:gd name="T92" fmla="*/ 9 w 56"/>
                <a:gd name="T93" fmla="*/ 41 h 56"/>
                <a:gd name="T94" fmla="*/ 4 w 56"/>
                <a:gd name="T95" fmla="*/ 41 h 56"/>
                <a:gd name="T96" fmla="*/ 1 w 56"/>
                <a:gd name="T97" fmla="*/ 34 h 56"/>
                <a:gd name="T98" fmla="*/ 0 w 56"/>
                <a:gd name="T99" fmla="*/ 31 h 56"/>
                <a:gd name="T100" fmla="*/ 0 w 56"/>
                <a:gd name="T101" fmla="*/ 29 h 56"/>
                <a:gd name="T102" fmla="*/ 1 w 56"/>
                <a:gd name="T103" fmla="*/ 29 h 56"/>
                <a:gd name="T104" fmla="*/ 3 w 56"/>
                <a:gd name="T105" fmla="*/ 27 h 56"/>
                <a:gd name="T106" fmla="*/ 10 w 56"/>
                <a:gd name="T107" fmla="*/ 24 h 56"/>
                <a:gd name="T108" fmla="*/ 17 w 56"/>
                <a:gd name="T109" fmla="*/ 21 h 56"/>
                <a:gd name="T110" fmla="*/ 19 w 56"/>
                <a:gd name="T111" fmla="*/ 19 h 56"/>
                <a:gd name="T112" fmla="*/ 20 w 56"/>
                <a:gd name="T113" fmla="*/ 17 h 56"/>
                <a:gd name="T114" fmla="*/ 21 w 56"/>
                <a:gd name="T115" fmla="*/ 11 h 56"/>
                <a:gd name="T116" fmla="*/ 21 w 56"/>
                <a:gd name="T117" fmla="*/ 1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" h="56">
                  <a:moveTo>
                    <a:pt x="21" y="11"/>
                  </a:moveTo>
                  <a:lnTo>
                    <a:pt x="21" y="10"/>
                  </a:lnTo>
                  <a:lnTo>
                    <a:pt x="23" y="7"/>
                  </a:lnTo>
                  <a:lnTo>
                    <a:pt x="24" y="6"/>
                  </a:lnTo>
                  <a:lnTo>
                    <a:pt x="26" y="4"/>
                  </a:lnTo>
                  <a:lnTo>
                    <a:pt x="26" y="1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30" y="0"/>
                  </a:lnTo>
                  <a:lnTo>
                    <a:pt x="33" y="0"/>
                  </a:lnTo>
                  <a:lnTo>
                    <a:pt x="36" y="0"/>
                  </a:lnTo>
                  <a:lnTo>
                    <a:pt x="37" y="1"/>
                  </a:lnTo>
                  <a:lnTo>
                    <a:pt x="40" y="3"/>
                  </a:lnTo>
                  <a:lnTo>
                    <a:pt x="43" y="6"/>
                  </a:lnTo>
                  <a:lnTo>
                    <a:pt x="43" y="9"/>
                  </a:lnTo>
                  <a:lnTo>
                    <a:pt x="44" y="10"/>
                  </a:lnTo>
                  <a:lnTo>
                    <a:pt x="46" y="10"/>
                  </a:lnTo>
                  <a:lnTo>
                    <a:pt x="47" y="9"/>
                  </a:lnTo>
                  <a:lnTo>
                    <a:pt x="50" y="7"/>
                  </a:lnTo>
                  <a:lnTo>
                    <a:pt x="53" y="7"/>
                  </a:lnTo>
                  <a:lnTo>
                    <a:pt x="56" y="9"/>
                  </a:lnTo>
                  <a:lnTo>
                    <a:pt x="56" y="10"/>
                  </a:lnTo>
                  <a:lnTo>
                    <a:pt x="54" y="14"/>
                  </a:lnTo>
                  <a:lnTo>
                    <a:pt x="56" y="17"/>
                  </a:lnTo>
                  <a:lnTo>
                    <a:pt x="56" y="20"/>
                  </a:lnTo>
                  <a:lnTo>
                    <a:pt x="54" y="23"/>
                  </a:lnTo>
                  <a:lnTo>
                    <a:pt x="49" y="29"/>
                  </a:lnTo>
                  <a:lnTo>
                    <a:pt x="46" y="33"/>
                  </a:lnTo>
                  <a:lnTo>
                    <a:pt x="46" y="37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39" y="39"/>
                  </a:lnTo>
                  <a:lnTo>
                    <a:pt x="36" y="43"/>
                  </a:lnTo>
                  <a:lnTo>
                    <a:pt x="33" y="46"/>
                  </a:lnTo>
                  <a:lnTo>
                    <a:pt x="32" y="49"/>
                  </a:lnTo>
                  <a:lnTo>
                    <a:pt x="33" y="50"/>
                  </a:lnTo>
                  <a:lnTo>
                    <a:pt x="32" y="53"/>
                  </a:lnTo>
                  <a:lnTo>
                    <a:pt x="32" y="54"/>
                  </a:lnTo>
                  <a:lnTo>
                    <a:pt x="30" y="56"/>
                  </a:lnTo>
                  <a:lnTo>
                    <a:pt x="26" y="56"/>
                  </a:lnTo>
                  <a:lnTo>
                    <a:pt x="24" y="53"/>
                  </a:lnTo>
                  <a:lnTo>
                    <a:pt x="21" y="50"/>
                  </a:lnTo>
                  <a:lnTo>
                    <a:pt x="17" y="50"/>
                  </a:lnTo>
                  <a:lnTo>
                    <a:pt x="16" y="49"/>
                  </a:lnTo>
                  <a:lnTo>
                    <a:pt x="14" y="46"/>
                  </a:lnTo>
                  <a:lnTo>
                    <a:pt x="11" y="44"/>
                  </a:lnTo>
                  <a:lnTo>
                    <a:pt x="9" y="41"/>
                  </a:lnTo>
                  <a:lnTo>
                    <a:pt x="4" y="41"/>
                  </a:lnTo>
                  <a:lnTo>
                    <a:pt x="1" y="34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1" y="29"/>
                  </a:lnTo>
                  <a:lnTo>
                    <a:pt x="3" y="27"/>
                  </a:lnTo>
                  <a:lnTo>
                    <a:pt x="10" y="24"/>
                  </a:lnTo>
                  <a:lnTo>
                    <a:pt x="17" y="21"/>
                  </a:lnTo>
                  <a:lnTo>
                    <a:pt x="19" y="19"/>
                  </a:lnTo>
                  <a:lnTo>
                    <a:pt x="20" y="17"/>
                  </a:lnTo>
                  <a:lnTo>
                    <a:pt x="21" y="11"/>
                  </a:lnTo>
                  <a:lnTo>
                    <a:pt x="21" y="1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69" name="Freeform 317"/>
            <p:cNvSpPr>
              <a:spLocks/>
            </p:cNvSpPr>
            <p:nvPr/>
          </p:nvSpPr>
          <p:spPr bwMode="auto">
            <a:xfrm>
              <a:off x="4862623" y="2072470"/>
              <a:ext cx="42740" cy="48947"/>
            </a:xfrm>
            <a:custGeom>
              <a:avLst/>
              <a:gdLst>
                <a:gd name="T0" fmla="*/ 16 w 69"/>
                <a:gd name="T1" fmla="*/ 29 h 73"/>
                <a:gd name="T2" fmla="*/ 17 w 69"/>
                <a:gd name="T3" fmla="*/ 23 h 73"/>
                <a:gd name="T4" fmla="*/ 20 w 69"/>
                <a:gd name="T5" fmla="*/ 22 h 73"/>
                <a:gd name="T6" fmla="*/ 21 w 69"/>
                <a:gd name="T7" fmla="*/ 16 h 73"/>
                <a:gd name="T8" fmla="*/ 23 w 69"/>
                <a:gd name="T9" fmla="*/ 13 h 73"/>
                <a:gd name="T10" fmla="*/ 24 w 69"/>
                <a:gd name="T11" fmla="*/ 9 h 73"/>
                <a:gd name="T12" fmla="*/ 23 w 69"/>
                <a:gd name="T13" fmla="*/ 1 h 73"/>
                <a:gd name="T14" fmla="*/ 26 w 69"/>
                <a:gd name="T15" fmla="*/ 0 h 73"/>
                <a:gd name="T16" fmla="*/ 31 w 69"/>
                <a:gd name="T17" fmla="*/ 3 h 73"/>
                <a:gd name="T18" fmla="*/ 36 w 69"/>
                <a:gd name="T19" fmla="*/ 4 h 73"/>
                <a:gd name="T20" fmla="*/ 42 w 69"/>
                <a:gd name="T21" fmla="*/ 10 h 73"/>
                <a:gd name="T22" fmla="*/ 49 w 69"/>
                <a:gd name="T23" fmla="*/ 12 h 73"/>
                <a:gd name="T24" fmla="*/ 60 w 69"/>
                <a:gd name="T25" fmla="*/ 26 h 73"/>
                <a:gd name="T26" fmla="*/ 69 w 69"/>
                <a:gd name="T27" fmla="*/ 39 h 73"/>
                <a:gd name="T28" fmla="*/ 67 w 69"/>
                <a:gd name="T29" fmla="*/ 46 h 73"/>
                <a:gd name="T30" fmla="*/ 67 w 69"/>
                <a:gd name="T31" fmla="*/ 54 h 73"/>
                <a:gd name="T32" fmla="*/ 66 w 69"/>
                <a:gd name="T33" fmla="*/ 59 h 73"/>
                <a:gd name="T34" fmla="*/ 62 w 69"/>
                <a:gd name="T35" fmla="*/ 56 h 73"/>
                <a:gd name="T36" fmla="*/ 54 w 69"/>
                <a:gd name="T37" fmla="*/ 54 h 73"/>
                <a:gd name="T38" fmla="*/ 53 w 69"/>
                <a:gd name="T39" fmla="*/ 49 h 73"/>
                <a:gd name="T40" fmla="*/ 49 w 69"/>
                <a:gd name="T41" fmla="*/ 50 h 73"/>
                <a:gd name="T42" fmla="*/ 46 w 69"/>
                <a:gd name="T43" fmla="*/ 50 h 73"/>
                <a:gd name="T44" fmla="*/ 43 w 69"/>
                <a:gd name="T45" fmla="*/ 47 h 73"/>
                <a:gd name="T46" fmla="*/ 37 w 69"/>
                <a:gd name="T47" fmla="*/ 50 h 73"/>
                <a:gd name="T48" fmla="*/ 30 w 69"/>
                <a:gd name="T49" fmla="*/ 49 h 73"/>
                <a:gd name="T50" fmla="*/ 27 w 69"/>
                <a:gd name="T51" fmla="*/ 53 h 73"/>
                <a:gd name="T52" fmla="*/ 31 w 69"/>
                <a:gd name="T53" fmla="*/ 59 h 73"/>
                <a:gd name="T54" fmla="*/ 33 w 69"/>
                <a:gd name="T55" fmla="*/ 60 h 73"/>
                <a:gd name="T56" fmla="*/ 31 w 69"/>
                <a:gd name="T57" fmla="*/ 65 h 73"/>
                <a:gd name="T58" fmla="*/ 29 w 69"/>
                <a:gd name="T59" fmla="*/ 67 h 73"/>
                <a:gd name="T60" fmla="*/ 27 w 69"/>
                <a:gd name="T61" fmla="*/ 73 h 73"/>
                <a:gd name="T62" fmla="*/ 24 w 69"/>
                <a:gd name="T63" fmla="*/ 70 h 73"/>
                <a:gd name="T64" fmla="*/ 21 w 69"/>
                <a:gd name="T65" fmla="*/ 65 h 73"/>
                <a:gd name="T66" fmla="*/ 17 w 69"/>
                <a:gd name="T67" fmla="*/ 62 h 73"/>
                <a:gd name="T68" fmla="*/ 14 w 69"/>
                <a:gd name="T69" fmla="*/ 65 h 73"/>
                <a:gd name="T70" fmla="*/ 13 w 69"/>
                <a:gd name="T71" fmla="*/ 72 h 73"/>
                <a:gd name="T72" fmla="*/ 10 w 69"/>
                <a:gd name="T73" fmla="*/ 73 h 73"/>
                <a:gd name="T74" fmla="*/ 4 w 69"/>
                <a:gd name="T75" fmla="*/ 63 h 73"/>
                <a:gd name="T76" fmla="*/ 0 w 69"/>
                <a:gd name="T77" fmla="*/ 50 h 73"/>
                <a:gd name="T78" fmla="*/ 3 w 69"/>
                <a:gd name="T79" fmla="*/ 43 h 73"/>
                <a:gd name="T80" fmla="*/ 13 w 69"/>
                <a:gd name="T81" fmla="*/ 3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9" h="73">
                  <a:moveTo>
                    <a:pt x="13" y="32"/>
                  </a:moveTo>
                  <a:lnTo>
                    <a:pt x="16" y="29"/>
                  </a:lnTo>
                  <a:lnTo>
                    <a:pt x="16" y="26"/>
                  </a:lnTo>
                  <a:lnTo>
                    <a:pt x="17" y="23"/>
                  </a:lnTo>
                  <a:lnTo>
                    <a:pt x="19" y="23"/>
                  </a:lnTo>
                  <a:lnTo>
                    <a:pt x="20" y="22"/>
                  </a:lnTo>
                  <a:lnTo>
                    <a:pt x="21" y="19"/>
                  </a:lnTo>
                  <a:lnTo>
                    <a:pt x="21" y="16"/>
                  </a:lnTo>
                  <a:lnTo>
                    <a:pt x="21" y="14"/>
                  </a:lnTo>
                  <a:lnTo>
                    <a:pt x="23" y="13"/>
                  </a:lnTo>
                  <a:lnTo>
                    <a:pt x="24" y="12"/>
                  </a:lnTo>
                  <a:lnTo>
                    <a:pt x="24" y="9"/>
                  </a:lnTo>
                  <a:lnTo>
                    <a:pt x="24" y="4"/>
                  </a:lnTo>
                  <a:lnTo>
                    <a:pt x="23" y="1"/>
                  </a:lnTo>
                  <a:lnTo>
                    <a:pt x="24" y="0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31" y="3"/>
                  </a:lnTo>
                  <a:lnTo>
                    <a:pt x="34" y="4"/>
                  </a:lnTo>
                  <a:lnTo>
                    <a:pt x="36" y="4"/>
                  </a:lnTo>
                  <a:lnTo>
                    <a:pt x="37" y="9"/>
                  </a:lnTo>
                  <a:lnTo>
                    <a:pt x="42" y="10"/>
                  </a:lnTo>
                  <a:lnTo>
                    <a:pt x="46" y="12"/>
                  </a:lnTo>
                  <a:lnTo>
                    <a:pt x="49" y="12"/>
                  </a:lnTo>
                  <a:lnTo>
                    <a:pt x="53" y="14"/>
                  </a:lnTo>
                  <a:lnTo>
                    <a:pt x="60" y="26"/>
                  </a:lnTo>
                  <a:lnTo>
                    <a:pt x="67" y="34"/>
                  </a:lnTo>
                  <a:lnTo>
                    <a:pt x="69" y="39"/>
                  </a:lnTo>
                  <a:lnTo>
                    <a:pt x="67" y="42"/>
                  </a:lnTo>
                  <a:lnTo>
                    <a:pt x="67" y="46"/>
                  </a:lnTo>
                  <a:lnTo>
                    <a:pt x="67" y="49"/>
                  </a:lnTo>
                  <a:lnTo>
                    <a:pt x="67" y="54"/>
                  </a:lnTo>
                  <a:lnTo>
                    <a:pt x="67" y="57"/>
                  </a:lnTo>
                  <a:lnTo>
                    <a:pt x="66" y="59"/>
                  </a:lnTo>
                  <a:lnTo>
                    <a:pt x="63" y="59"/>
                  </a:lnTo>
                  <a:lnTo>
                    <a:pt x="62" y="56"/>
                  </a:lnTo>
                  <a:lnTo>
                    <a:pt x="57" y="54"/>
                  </a:lnTo>
                  <a:lnTo>
                    <a:pt x="54" y="54"/>
                  </a:lnTo>
                  <a:lnTo>
                    <a:pt x="54" y="52"/>
                  </a:lnTo>
                  <a:lnTo>
                    <a:pt x="53" y="49"/>
                  </a:lnTo>
                  <a:lnTo>
                    <a:pt x="50" y="49"/>
                  </a:lnTo>
                  <a:lnTo>
                    <a:pt x="49" y="50"/>
                  </a:lnTo>
                  <a:lnTo>
                    <a:pt x="49" y="52"/>
                  </a:lnTo>
                  <a:lnTo>
                    <a:pt x="46" y="50"/>
                  </a:lnTo>
                  <a:lnTo>
                    <a:pt x="44" y="49"/>
                  </a:lnTo>
                  <a:lnTo>
                    <a:pt x="43" y="47"/>
                  </a:lnTo>
                  <a:lnTo>
                    <a:pt x="40" y="49"/>
                  </a:lnTo>
                  <a:lnTo>
                    <a:pt x="37" y="50"/>
                  </a:lnTo>
                  <a:lnTo>
                    <a:pt x="34" y="49"/>
                  </a:lnTo>
                  <a:lnTo>
                    <a:pt x="30" y="49"/>
                  </a:lnTo>
                  <a:lnTo>
                    <a:pt x="29" y="52"/>
                  </a:lnTo>
                  <a:lnTo>
                    <a:pt x="27" y="53"/>
                  </a:lnTo>
                  <a:lnTo>
                    <a:pt x="29" y="56"/>
                  </a:lnTo>
                  <a:lnTo>
                    <a:pt x="31" y="59"/>
                  </a:lnTo>
                  <a:lnTo>
                    <a:pt x="33" y="59"/>
                  </a:lnTo>
                  <a:lnTo>
                    <a:pt x="33" y="60"/>
                  </a:lnTo>
                  <a:lnTo>
                    <a:pt x="33" y="63"/>
                  </a:lnTo>
                  <a:lnTo>
                    <a:pt x="31" y="65"/>
                  </a:lnTo>
                  <a:lnTo>
                    <a:pt x="30" y="65"/>
                  </a:lnTo>
                  <a:lnTo>
                    <a:pt x="29" y="67"/>
                  </a:lnTo>
                  <a:lnTo>
                    <a:pt x="29" y="70"/>
                  </a:lnTo>
                  <a:lnTo>
                    <a:pt x="27" y="73"/>
                  </a:lnTo>
                  <a:lnTo>
                    <a:pt x="26" y="72"/>
                  </a:lnTo>
                  <a:lnTo>
                    <a:pt x="24" y="70"/>
                  </a:lnTo>
                  <a:lnTo>
                    <a:pt x="23" y="67"/>
                  </a:lnTo>
                  <a:lnTo>
                    <a:pt x="21" y="65"/>
                  </a:lnTo>
                  <a:lnTo>
                    <a:pt x="19" y="62"/>
                  </a:lnTo>
                  <a:lnTo>
                    <a:pt x="17" y="62"/>
                  </a:lnTo>
                  <a:lnTo>
                    <a:pt x="16" y="62"/>
                  </a:lnTo>
                  <a:lnTo>
                    <a:pt x="14" y="65"/>
                  </a:lnTo>
                  <a:lnTo>
                    <a:pt x="13" y="69"/>
                  </a:lnTo>
                  <a:lnTo>
                    <a:pt x="13" y="72"/>
                  </a:lnTo>
                  <a:lnTo>
                    <a:pt x="11" y="73"/>
                  </a:lnTo>
                  <a:lnTo>
                    <a:pt x="10" y="73"/>
                  </a:lnTo>
                  <a:lnTo>
                    <a:pt x="9" y="69"/>
                  </a:lnTo>
                  <a:lnTo>
                    <a:pt x="4" y="63"/>
                  </a:lnTo>
                  <a:lnTo>
                    <a:pt x="1" y="56"/>
                  </a:lnTo>
                  <a:lnTo>
                    <a:pt x="0" y="50"/>
                  </a:lnTo>
                  <a:lnTo>
                    <a:pt x="1" y="47"/>
                  </a:lnTo>
                  <a:lnTo>
                    <a:pt x="3" y="43"/>
                  </a:lnTo>
                  <a:lnTo>
                    <a:pt x="7" y="39"/>
                  </a:lnTo>
                  <a:lnTo>
                    <a:pt x="13" y="32"/>
                  </a:lnTo>
                  <a:lnTo>
                    <a:pt x="13" y="3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70" name="Freeform 318"/>
            <p:cNvSpPr>
              <a:spLocks/>
            </p:cNvSpPr>
            <p:nvPr/>
          </p:nvSpPr>
          <p:spPr bwMode="auto">
            <a:xfrm>
              <a:off x="4874835" y="2133324"/>
              <a:ext cx="19538" cy="21166"/>
            </a:xfrm>
            <a:custGeom>
              <a:avLst/>
              <a:gdLst>
                <a:gd name="T0" fmla="*/ 31 w 33"/>
                <a:gd name="T1" fmla="*/ 17 h 31"/>
                <a:gd name="T2" fmla="*/ 33 w 33"/>
                <a:gd name="T3" fmla="*/ 13 h 31"/>
                <a:gd name="T4" fmla="*/ 30 w 33"/>
                <a:gd name="T5" fmla="*/ 4 h 31"/>
                <a:gd name="T6" fmla="*/ 25 w 33"/>
                <a:gd name="T7" fmla="*/ 1 h 31"/>
                <a:gd name="T8" fmla="*/ 17 w 33"/>
                <a:gd name="T9" fmla="*/ 0 h 31"/>
                <a:gd name="T10" fmla="*/ 4 w 33"/>
                <a:gd name="T11" fmla="*/ 1 h 31"/>
                <a:gd name="T12" fmla="*/ 1 w 33"/>
                <a:gd name="T13" fmla="*/ 3 h 31"/>
                <a:gd name="T14" fmla="*/ 0 w 33"/>
                <a:gd name="T15" fmla="*/ 4 h 31"/>
                <a:gd name="T16" fmla="*/ 1 w 33"/>
                <a:gd name="T17" fmla="*/ 10 h 31"/>
                <a:gd name="T18" fmla="*/ 5 w 33"/>
                <a:gd name="T19" fmla="*/ 17 h 31"/>
                <a:gd name="T20" fmla="*/ 5 w 33"/>
                <a:gd name="T21" fmla="*/ 18 h 31"/>
                <a:gd name="T22" fmla="*/ 5 w 33"/>
                <a:gd name="T23" fmla="*/ 21 h 31"/>
                <a:gd name="T24" fmla="*/ 4 w 33"/>
                <a:gd name="T25" fmla="*/ 23 h 31"/>
                <a:gd name="T26" fmla="*/ 4 w 33"/>
                <a:gd name="T27" fmla="*/ 24 h 31"/>
                <a:gd name="T28" fmla="*/ 4 w 33"/>
                <a:gd name="T29" fmla="*/ 27 h 31"/>
                <a:gd name="T30" fmla="*/ 4 w 33"/>
                <a:gd name="T31" fmla="*/ 30 h 31"/>
                <a:gd name="T32" fmla="*/ 5 w 33"/>
                <a:gd name="T33" fmla="*/ 31 h 31"/>
                <a:gd name="T34" fmla="*/ 8 w 33"/>
                <a:gd name="T35" fmla="*/ 30 h 31"/>
                <a:gd name="T36" fmla="*/ 10 w 33"/>
                <a:gd name="T37" fmla="*/ 28 h 31"/>
                <a:gd name="T38" fmla="*/ 14 w 33"/>
                <a:gd name="T39" fmla="*/ 28 h 31"/>
                <a:gd name="T40" fmla="*/ 17 w 33"/>
                <a:gd name="T41" fmla="*/ 28 h 31"/>
                <a:gd name="T42" fmla="*/ 20 w 33"/>
                <a:gd name="T43" fmla="*/ 27 h 31"/>
                <a:gd name="T44" fmla="*/ 23 w 33"/>
                <a:gd name="T45" fmla="*/ 25 h 31"/>
                <a:gd name="T46" fmla="*/ 25 w 33"/>
                <a:gd name="T47" fmla="*/ 25 h 31"/>
                <a:gd name="T48" fmla="*/ 27 w 33"/>
                <a:gd name="T49" fmla="*/ 25 h 31"/>
                <a:gd name="T50" fmla="*/ 30 w 33"/>
                <a:gd name="T51" fmla="*/ 24 h 31"/>
                <a:gd name="T52" fmla="*/ 31 w 33"/>
                <a:gd name="T53" fmla="*/ 21 h 31"/>
                <a:gd name="T54" fmla="*/ 31 w 33"/>
                <a:gd name="T55" fmla="*/ 17 h 31"/>
                <a:gd name="T56" fmla="*/ 31 w 33"/>
                <a:gd name="T5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" h="31">
                  <a:moveTo>
                    <a:pt x="31" y="17"/>
                  </a:moveTo>
                  <a:lnTo>
                    <a:pt x="33" y="13"/>
                  </a:lnTo>
                  <a:lnTo>
                    <a:pt x="30" y="4"/>
                  </a:lnTo>
                  <a:lnTo>
                    <a:pt x="25" y="1"/>
                  </a:lnTo>
                  <a:lnTo>
                    <a:pt x="17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4"/>
                  </a:lnTo>
                  <a:lnTo>
                    <a:pt x="1" y="10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21"/>
                  </a:lnTo>
                  <a:lnTo>
                    <a:pt x="4" y="23"/>
                  </a:lnTo>
                  <a:lnTo>
                    <a:pt x="4" y="24"/>
                  </a:lnTo>
                  <a:lnTo>
                    <a:pt x="4" y="27"/>
                  </a:lnTo>
                  <a:lnTo>
                    <a:pt x="4" y="30"/>
                  </a:lnTo>
                  <a:lnTo>
                    <a:pt x="5" y="31"/>
                  </a:lnTo>
                  <a:lnTo>
                    <a:pt x="8" y="30"/>
                  </a:lnTo>
                  <a:lnTo>
                    <a:pt x="10" y="28"/>
                  </a:lnTo>
                  <a:lnTo>
                    <a:pt x="14" y="28"/>
                  </a:lnTo>
                  <a:lnTo>
                    <a:pt x="17" y="28"/>
                  </a:lnTo>
                  <a:lnTo>
                    <a:pt x="20" y="27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7" y="25"/>
                  </a:lnTo>
                  <a:lnTo>
                    <a:pt x="30" y="24"/>
                  </a:lnTo>
                  <a:lnTo>
                    <a:pt x="31" y="21"/>
                  </a:lnTo>
                  <a:lnTo>
                    <a:pt x="31" y="17"/>
                  </a:lnTo>
                  <a:lnTo>
                    <a:pt x="31" y="1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71" name="Freeform 319"/>
            <p:cNvSpPr>
              <a:spLocks/>
            </p:cNvSpPr>
            <p:nvPr/>
          </p:nvSpPr>
          <p:spPr bwMode="auto">
            <a:xfrm>
              <a:off x="4862623" y="2134647"/>
              <a:ext cx="9769" cy="14552"/>
            </a:xfrm>
            <a:custGeom>
              <a:avLst/>
              <a:gdLst>
                <a:gd name="T0" fmla="*/ 12 w 17"/>
                <a:gd name="T1" fmla="*/ 8 h 21"/>
                <a:gd name="T2" fmla="*/ 14 w 17"/>
                <a:gd name="T3" fmla="*/ 7 h 21"/>
                <a:gd name="T4" fmla="*/ 17 w 17"/>
                <a:gd name="T5" fmla="*/ 5 h 21"/>
                <a:gd name="T6" fmla="*/ 17 w 17"/>
                <a:gd name="T7" fmla="*/ 2 h 21"/>
                <a:gd name="T8" fmla="*/ 15 w 17"/>
                <a:gd name="T9" fmla="*/ 2 h 21"/>
                <a:gd name="T10" fmla="*/ 14 w 17"/>
                <a:gd name="T11" fmla="*/ 1 h 21"/>
                <a:gd name="T12" fmla="*/ 8 w 17"/>
                <a:gd name="T13" fmla="*/ 1 h 21"/>
                <a:gd name="T14" fmla="*/ 2 w 17"/>
                <a:gd name="T15" fmla="*/ 0 h 21"/>
                <a:gd name="T16" fmla="*/ 1 w 17"/>
                <a:gd name="T17" fmla="*/ 0 h 21"/>
                <a:gd name="T18" fmla="*/ 1 w 17"/>
                <a:gd name="T19" fmla="*/ 1 h 21"/>
                <a:gd name="T20" fmla="*/ 0 w 17"/>
                <a:gd name="T21" fmla="*/ 2 h 21"/>
                <a:gd name="T22" fmla="*/ 2 w 17"/>
                <a:gd name="T23" fmla="*/ 2 h 21"/>
                <a:gd name="T24" fmla="*/ 7 w 17"/>
                <a:gd name="T25" fmla="*/ 5 h 21"/>
                <a:gd name="T26" fmla="*/ 7 w 17"/>
                <a:gd name="T27" fmla="*/ 8 h 21"/>
                <a:gd name="T28" fmla="*/ 7 w 17"/>
                <a:gd name="T29" fmla="*/ 15 h 21"/>
                <a:gd name="T30" fmla="*/ 7 w 17"/>
                <a:gd name="T31" fmla="*/ 18 h 21"/>
                <a:gd name="T32" fmla="*/ 8 w 17"/>
                <a:gd name="T33" fmla="*/ 20 h 21"/>
                <a:gd name="T34" fmla="*/ 11 w 17"/>
                <a:gd name="T35" fmla="*/ 21 h 21"/>
                <a:gd name="T36" fmla="*/ 12 w 17"/>
                <a:gd name="T37" fmla="*/ 21 h 21"/>
                <a:gd name="T38" fmla="*/ 12 w 17"/>
                <a:gd name="T39" fmla="*/ 18 h 21"/>
                <a:gd name="T40" fmla="*/ 12 w 17"/>
                <a:gd name="T41" fmla="*/ 18 h 21"/>
                <a:gd name="T42" fmla="*/ 12 w 17"/>
                <a:gd name="T43" fmla="*/ 14 h 21"/>
                <a:gd name="T44" fmla="*/ 12 w 17"/>
                <a:gd name="T45" fmla="*/ 12 h 21"/>
                <a:gd name="T46" fmla="*/ 11 w 17"/>
                <a:gd name="T47" fmla="*/ 11 h 21"/>
                <a:gd name="T48" fmla="*/ 11 w 17"/>
                <a:gd name="T49" fmla="*/ 10 h 21"/>
                <a:gd name="T50" fmla="*/ 12 w 17"/>
                <a:gd name="T51" fmla="*/ 8 h 21"/>
                <a:gd name="T52" fmla="*/ 12 w 17"/>
                <a:gd name="T5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" h="21">
                  <a:moveTo>
                    <a:pt x="12" y="8"/>
                  </a:moveTo>
                  <a:lnTo>
                    <a:pt x="14" y="7"/>
                  </a:lnTo>
                  <a:lnTo>
                    <a:pt x="17" y="5"/>
                  </a:lnTo>
                  <a:lnTo>
                    <a:pt x="17" y="2"/>
                  </a:lnTo>
                  <a:lnTo>
                    <a:pt x="15" y="2"/>
                  </a:lnTo>
                  <a:lnTo>
                    <a:pt x="14" y="1"/>
                  </a:lnTo>
                  <a:lnTo>
                    <a:pt x="8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2"/>
                  </a:lnTo>
                  <a:lnTo>
                    <a:pt x="2" y="2"/>
                  </a:lnTo>
                  <a:lnTo>
                    <a:pt x="7" y="5"/>
                  </a:lnTo>
                  <a:lnTo>
                    <a:pt x="7" y="8"/>
                  </a:lnTo>
                  <a:lnTo>
                    <a:pt x="7" y="15"/>
                  </a:lnTo>
                  <a:lnTo>
                    <a:pt x="7" y="18"/>
                  </a:lnTo>
                  <a:lnTo>
                    <a:pt x="8" y="20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2" y="8"/>
                  </a:lnTo>
                  <a:lnTo>
                    <a:pt x="12" y="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73" name="Freeform 321"/>
            <p:cNvSpPr>
              <a:spLocks/>
            </p:cNvSpPr>
            <p:nvPr/>
          </p:nvSpPr>
          <p:spPr bwMode="auto">
            <a:xfrm>
              <a:off x="4912690" y="2068501"/>
              <a:ext cx="63499" cy="59531"/>
            </a:xfrm>
            <a:custGeom>
              <a:avLst/>
              <a:gdLst>
                <a:gd name="T0" fmla="*/ 103 w 105"/>
                <a:gd name="T1" fmla="*/ 43 h 89"/>
                <a:gd name="T2" fmla="*/ 105 w 105"/>
                <a:gd name="T3" fmla="*/ 28 h 89"/>
                <a:gd name="T4" fmla="*/ 99 w 105"/>
                <a:gd name="T5" fmla="*/ 22 h 89"/>
                <a:gd name="T6" fmla="*/ 95 w 105"/>
                <a:gd name="T7" fmla="*/ 22 h 89"/>
                <a:gd name="T8" fmla="*/ 86 w 105"/>
                <a:gd name="T9" fmla="*/ 23 h 89"/>
                <a:gd name="T10" fmla="*/ 80 w 105"/>
                <a:gd name="T11" fmla="*/ 20 h 89"/>
                <a:gd name="T12" fmla="*/ 78 w 105"/>
                <a:gd name="T13" fmla="*/ 22 h 89"/>
                <a:gd name="T14" fmla="*/ 75 w 105"/>
                <a:gd name="T15" fmla="*/ 20 h 89"/>
                <a:gd name="T16" fmla="*/ 66 w 105"/>
                <a:gd name="T17" fmla="*/ 18 h 89"/>
                <a:gd name="T18" fmla="*/ 57 w 105"/>
                <a:gd name="T19" fmla="*/ 12 h 89"/>
                <a:gd name="T20" fmla="*/ 59 w 105"/>
                <a:gd name="T21" fmla="*/ 7 h 89"/>
                <a:gd name="T22" fmla="*/ 59 w 105"/>
                <a:gd name="T23" fmla="*/ 3 h 89"/>
                <a:gd name="T24" fmla="*/ 52 w 105"/>
                <a:gd name="T25" fmla="*/ 0 h 89"/>
                <a:gd name="T26" fmla="*/ 49 w 105"/>
                <a:gd name="T27" fmla="*/ 2 h 89"/>
                <a:gd name="T28" fmla="*/ 47 w 105"/>
                <a:gd name="T29" fmla="*/ 5 h 89"/>
                <a:gd name="T30" fmla="*/ 46 w 105"/>
                <a:gd name="T31" fmla="*/ 2 h 89"/>
                <a:gd name="T32" fmla="*/ 40 w 105"/>
                <a:gd name="T33" fmla="*/ 0 h 89"/>
                <a:gd name="T34" fmla="*/ 39 w 105"/>
                <a:gd name="T35" fmla="*/ 5 h 89"/>
                <a:gd name="T36" fmla="*/ 33 w 105"/>
                <a:gd name="T37" fmla="*/ 9 h 89"/>
                <a:gd name="T38" fmla="*/ 23 w 105"/>
                <a:gd name="T39" fmla="*/ 15 h 89"/>
                <a:gd name="T40" fmla="*/ 13 w 105"/>
                <a:gd name="T41" fmla="*/ 25 h 89"/>
                <a:gd name="T42" fmla="*/ 4 w 105"/>
                <a:gd name="T43" fmla="*/ 40 h 89"/>
                <a:gd name="T44" fmla="*/ 0 w 105"/>
                <a:gd name="T45" fmla="*/ 58 h 89"/>
                <a:gd name="T46" fmla="*/ 3 w 105"/>
                <a:gd name="T47" fmla="*/ 63 h 89"/>
                <a:gd name="T48" fmla="*/ 12 w 105"/>
                <a:gd name="T49" fmla="*/ 65 h 89"/>
                <a:gd name="T50" fmla="*/ 17 w 105"/>
                <a:gd name="T51" fmla="*/ 65 h 89"/>
                <a:gd name="T52" fmla="*/ 22 w 105"/>
                <a:gd name="T53" fmla="*/ 60 h 89"/>
                <a:gd name="T54" fmla="*/ 25 w 105"/>
                <a:gd name="T55" fmla="*/ 65 h 89"/>
                <a:gd name="T56" fmla="*/ 27 w 105"/>
                <a:gd name="T57" fmla="*/ 79 h 89"/>
                <a:gd name="T58" fmla="*/ 36 w 105"/>
                <a:gd name="T59" fmla="*/ 88 h 89"/>
                <a:gd name="T60" fmla="*/ 43 w 105"/>
                <a:gd name="T61" fmla="*/ 88 h 89"/>
                <a:gd name="T62" fmla="*/ 47 w 105"/>
                <a:gd name="T63" fmla="*/ 85 h 89"/>
                <a:gd name="T64" fmla="*/ 49 w 105"/>
                <a:gd name="T65" fmla="*/ 81 h 89"/>
                <a:gd name="T66" fmla="*/ 55 w 105"/>
                <a:gd name="T67" fmla="*/ 82 h 89"/>
                <a:gd name="T68" fmla="*/ 59 w 105"/>
                <a:gd name="T69" fmla="*/ 82 h 89"/>
                <a:gd name="T70" fmla="*/ 59 w 105"/>
                <a:gd name="T71" fmla="*/ 78 h 89"/>
                <a:gd name="T72" fmla="*/ 60 w 105"/>
                <a:gd name="T73" fmla="*/ 75 h 89"/>
                <a:gd name="T74" fmla="*/ 66 w 105"/>
                <a:gd name="T75" fmla="*/ 73 h 89"/>
                <a:gd name="T76" fmla="*/ 67 w 105"/>
                <a:gd name="T77" fmla="*/ 69 h 89"/>
                <a:gd name="T78" fmla="*/ 75 w 105"/>
                <a:gd name="T79" fmla="*/ 72 h 89"/>
                <a:gd name="T80" fmla="*/ 80 w 105"/>
                <a:gd name="T81" fmla="*/ 69 h 89"/>
                <a:gd name="T82" fmla="*/ 83 w 105"/>
                <a:gd name="T83" fmla="*/ 63 h 89"/>
                <a:gd name="T84" fmla="*/ 89 w 105"/>
                <a:gd name="T85" fmla="*/ 60 h 89"/>
                <a:gd name="T86" fmla="*/ 95 w 105"/>
                <a:gd name="T87" fmla="*/ 55 h 89"/>
                <a:gd name="T88" fmla="*/ 99 w 105"/>
                <a:gd name="T89" fmla="*/ 5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5" h="89">
                  <a:moveTo>
                    <a:pt x="99" y="50"/>
                  </a:moveTo>
                  <a:lnTo>
                    <a:pt x="103" y="43"/>
                  </a:lnTo>
                  <a:lnTo>
                    <a:pt x="105" y="35"/>
                  </a:lnTo>
                  <a:lnTo>
                    <a:pt x="105" y="28"/>
                  </a:lnTo>
                  <a:lnTo>
                    <a:pt x="102" y="25"/>
                  </a:lnTo>
                  <a:lnTo>
                    <a:pt x="99" y="22"/>
                  </a:lnTo>
                  <a:lnTo>
                    <a:pt x="98" y="22"/>
                  </a:lnTo>
                  <a:lnTo>
                    <a:pt x="95" y="22"/>
                  </a:lnTo>
                  <a:lnTo>
                    <a:pt x="90" y="23"/>
                  </a:lnTo>
                  <a:lnTo>
                    <a:pt x="86" y="23"/>
                  </a:lnTo>
                  <a:lnTo>
                    <a:pt x="82" y="22"/>
                  </a:lnTo>
                  <a:lnTo>
                    <a:pt x="80" y="20"/>
                  </a:lnTo>
                  <a:lnTo>
                    <a:pt x="79" y="20"/>
                  </a:lnTo>
                  <a:lnTo>
                    <a:pt x="78" y="22"/>
                  </a:lnTo>
                  <a:lnTo>
                    <a:pt x="76" y="22"/>
                  </a:lnTo>
                  <a:lnTo>
                    <a:pt x="75" y="20"/>
                  </a:lnTo>
                  <a:lnTo>
                    <a:pt x="73" y="18"/>
                  </a:lnTo>
                  <a:lnTo>
                    <a:pt x="66" y="18"/>
                  </a:lnTo>
                  <a:lnTo>
                    <a:pt x="62" y="16"/>
                  </a:lnTo>
                  <a:lnTo>
                    <a:pt x="57" y="12"/>
                  </a:lnTo>
                  <a:lnTo>
                    <a:pt x="57" y="9"/>
                  </a:lnTo>
                  <a:lnTo>
                    <a:pt x="59" y="7"/>
                  </a:lnTo>
                  <a:lnTo>
                    <a:pt x="60" y="6"/>
                  </a:lnTo>
                  <a:lnTo>
                    <a:pt x="59" y="3"/>
                  </a:lnTo>
                  <a:lnTo>
                    <a:pt x="56" y="2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49" y="2"/>
                  </a:lnTo>
                  <a:lnTo>
                    <a:pt x="49" y="3"/>
                  </a:lnTo>
                  <a:lnTo>
                    <a:pt x="47" y="5"/>
                  </a:lnTo>
                  <a:lnTo>
                    <a:pt x="46" y="5"/>
                  </a:lnTo>
                  <a:lnTo>
                    <a:pt x="46" y="2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39" y="2"/>
                  </a:lnTo>
                  <a:lnTo>
                    <a:pt x="39" y="5"/>
                  </a:lnTo>
                  <a:lnTo>
                    <a:pt x="37" y="7"/>
                  </a:lnTo>
                  <a:lnTo>
                    <a:pt x="33" y="9"/>
                  </a:lnTo>
                  <a:lnTo>
                    <a:pt x="27" y="10"/>
                  </a:lnTo>
                  <a:lnTo>
                    <a:pt x="23" y="15"/>
                  </a:lnTo>
                  <a:lnTo>
                    <a:pt x="20" y="19"/>
                  </a:lnTo>
                  <a:lnTo>
                    <a:pt x="13" y="25"/>
                  </a:lnTo>
                  <a:lnTo>
                    <a:pt x="9" y="33"/>
                  </a:lnTo>
                  <a:lnTo>
                    <a:pt x="4" y="40"/>
                  </a:lnTo>
                  <a:lnTo>
                    <a:pt x="3" y="46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3" y="63"/>
                  </a:lnTo>
                  <a:lnTo>
                    <a:pt x="7" y="65"/>
                  </a:lnTo>
                  <a:lnTo>
                    <a:pt x="12" y="65"/>
                  </a:lnTo>
                  <a:lnTo>
                    <a:pt x="15" y="65"/>
                  </a:lnTo>
                  <a:lnTo>
                    <a:pt x="17" y="65"/>
                  </a:lnTo>
                  <a:lnTo>
                    <a:pt x="19" y="62"/>
                  </a:lnTo>
                  <a:lnTo>
                    <a:pt x="22" y="60"/>
                  </a:lnTo>
                  <a:lnTo>
                    <a:pt x="25" y="62"/>
                  </a:lnTo>
                  <a:lnTo>
                    <a:pt x="25" y="65"/>
                  </a:lnTo>
                  <a:lnTo>
                    <a:pt x="26" y="75"/>
                  </a:lnTo>
                  <a:lnTo>
                    <a:pt x="27" y="79"/>
                  </a:lnTo>
                  <a:lnTo>
                    <a:pt x="32" y="85"/>
                  </a:lnTo>
                  <a:lnTo>
                    <a:pt x="36" y="88"/>
                  </a:lnTo>
                  <a:lnTo>
                    <a:pt x="39" y="89"/>
                  </a:lnTo>
                  <a:lnTo>
                    <a:pt x="43" y="88"/>
                  </a:lnTo>
                  <a:lnTo>
                    <a:pt x="46" y="86"/>
                  </a:lnTo>
                  <a:lnTo>
                    <a:pt x="47" y="85"/>
                  </a:lnTo>
                  <a:lnTo>
                    <a:pt x="49" y="83"/>
                  </a:lnTo>
                  <a:lnTo>
                    <a:pt x="49" y="81"/>
                  </a:lnTo>
                  <a:lnTo>
                    <a:pt x="52" y="81"/>
                  </a:lnTo>
                  <a:lnTo>
                    <a:pt x="55" y="82"/>
                  </a:lnTo>
                  <a:lnTo>
                    <a:pt x="59" y="82"/>
                  </a:lnTo>
                  <a:lnTo>
                    <a:pt x="59" y="82"/>
                  </a:lnTo>
                  <a:lnTo>
                    <a:pt x="60" y="79"/>
                  </a:lnTo>
                  <a:lnTo>
                    <a:pt x="59" y="78"/>
                  </a:lnTo>
                  <a:lnTo>
                    <a:pt x="59" y="75"/>
                  </a:lnTo>
                  <a:lnTo>
                    <a:pt x="60" y="75"/>
                  </a:lnTo>
                  <a:lnTo>
                    <a:pt x="65" y="75"/>
                  </a:lnTo>
                  <a:lnTo>
                    <a:pt x="66" y="73"/>
                  </a:lnTo>
                  <a:lnTo>
                    <a:pt x="66" y="71"/>
                  </a:lnTo>
                  <a:lnTo>
                    <a:pt x="67" y="69"/>
                  </a:lnTo>
                  <a:lnTo>
                    <a:pt x="70" y="69"/>
                  </a:lnTo>
                  <a:lnTo>
                    <a:pt x="75" y="72"/>
                  </a:lnTo>
                  <a:lnTo>
                    <a:pt x="78" y="72"/>
                  </a:lnTo>
                  <a:lnTo>
                    <a:pt x="80" y="69"/>
                  </a:lnTo>
                  <a:lnTo>
                    <a:pt x="82" y="65"/>
                  </a:lnTo>
                  <a:lnTo>
                    <a:pt x="83" y="63"/>
                  </a:lnTo>
                  <a:lnTo>
                    <a:pt x="86" y="60"/>
                  </a:lnTo>
                  <a:lnTo>
                    <a:pt x="89" y="60"/>
                  </a:lnTo>
                  <a:lnTo>
                    <a:pt x="92" y="58"/>
                  </a:lnTo>
                  <a:lnTo>
                    <a:pt x="95" y="55"/>
                  </a:lnTo>
                  <a:lnTo>
                    <a:pt x="99" y="50"/>
                  </a:lnTo>
                  <a:lnTo>
                    <a:pt x="99" y="5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75" name="Freeform 323"/>
            <p:cNvSpPr>
              <a:spLocks/>
            </p:cNvSpPr>
            <p:nvPr/>
          </p:nvSpPr>
          <p:spPr bwMode="auto">
            <a:xfrm>
              <a:off x="4955430" y="2019554"/>
              <a:ext cx="9769" cy="11906"/>
            </a:xfrm>
            <a:custGeom>
              <a:avLst/>
              <a:gdLst>
                <a:gd name="T0" fmla="*/ 12 w 16"/>
                <a:gd name="T1" fmla="*/ 7 h 18"/>
                <a:gd name="T2" fmla="*/ 8 w 16"/>
                <a:gd name="T3" fmla="*/ 3 h 18"/>
                <a:gd name="T4" fmla="*/ 5 w 16"/>
                <a:gd name="T5" fmla="*/ 0 h 18"/>
                <a:gd name="T6" fmla="*/ 3 w 16"/>
                <a:gd name="T7" fmla="*/ 0 h 18"/>
                <a:gd name="T8" fmla="*/ 0 w 16"/>
                <a:gd name="T9" fmla="*/ 1 h 18"/>
                <a:gd name="T10" fmla="*/ 0 w 16"/>
                <a:gd name="T11" fmla="*/ 4 h 18"/>
                <a:gd name="T12" fmla="*/ 0 w 16"/>
                <a:gd name="T13" fmla="*/ 7 h 18"/>
                <a:gd name="T14" fmla="*/ 5 w 16"/>
                <a:gd name="T15" fmla="*/ 10 h 18"/>
                <a:gd name="T16" fmla="*/ 9 w 16"/>
                <a:gd name="T17" fmla="*/ 13 h 18"/>
                <a:gd name="T18" fmla="*/ 15 w 16"/>
                <a:gd name="T19" fmla="*/ 18 h 18"/>
                <a:gd name="T20" fmla="*/ 16 w 16"/>
                <a:gd name="T21" fmla="*/ 18 h 18"/>
                <a:gd name="T22" fmla="*/ 16 w 16"/>
                <a:gd name="T23" fmla="*/ 18 h 18"/>
                <a:gd name="T24" fmla="*/ 16 w 16"/>
                <a:gd name="T25" fmla="*/ 16 h 18"/>
                <a:gd name="T26" fmla="*/ 16 w 16"/>
                <a:gd name="T27" fmla="*/ 14 h 18"/>
                <a:gd name="T28" fmla="*/ 15 w 16"/>
                <a:gd name="T29" fmla="*/ 10 h 18"/>
                <a:gd name="T30" fmla="*/ 12 w 16"/>
                <a:gd name="T31" fmla="*/ 7 h 18"/>
                <a:gd name="T32" fmla="*/ 12 w 16"/>
                <a:gd name="T33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18">
                  <a:moveTo>
                    <a:pt x="12" y="7"/>
                  </a:moveTo>
                  <a:lnTo>
                    <a:pt x="8" y="3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0" y="7"/>
                  </a:lnTo>
                  <a:lnTo>
                    <a:pt x="5" y="10"/>
                  </a:lnTo>
                  <a:lnTo>
                    <a:pt x="9" y="13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5" y="10"/>
                  </a:lnTo>
                  <a:lnTo>
                    <a:pt x="12" y="7"/>
                  </a:lnTo>
                  <a:lnTo>
                    <a:pt x="12" y="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76" name="Freeform 324"/>
            <p:cNvSpPr>
              <a:spLocks/>
            </p:cNvSpPr>
            <p:nvPr/>
          </p:nvSpPr>
          <p:spPr bwMode="auto">
            <a:xfrm>
              <a:off x="4957873" y="1997064"/>
              <a:ext cx="13433" cy="15875"/>
            </a:xfrm>
            <a:custGeom>
              <a:avLst/>
              <a:gdLst>
                <a:gd name="T0" fmla="*/ 11 w 23"/>
                <a:gd name="T1" fmla="*/ 1 h 23"/>
                <a:gd name="T2" fmla="*/ 8 w 23"/>
                <a:gd name="T3" fmla="*/ 1 h 23"/>
                <a:gd name="T4" fmla="*/ 5 w 23"/>
                <a:gd name="T5" fmla="*/ 1 h 23"/>
                <a:gd name="T6" fmla="*/ 4 w 23"/>
                <a:gd name="T7" fmla="*/ 4 h 23"/>
                <a:gd name="T8" fmla="*/ 3 w 23"/>
                <a:gd name="T9" fmla="*/ 6 h 23"/>
                <a:gd name="T10" fmla="*/ 1 w 23"/>
                <a:gd name="T11" fmla="*/ 7 h 23"/>
                <a:gd name="T12" fmla="*/ 0 w 23"/>
                <a:gd name="T13" fmla="*/ 9 h 23"/>
                <a:gd name="T14" fmla="*/ 1 w 23"/>
                <a:gd name="T15" fmla="*/ 11 h 23"/>
                <a:gd name="T16" fmla="*/ 3 w 23"/>
                <a:gd name="T17" fmla="*/ 16 h 23"/>
                <a:gd name="T18" fmla="*/ 4 w 23"/>
                <a:gd name="T19" fmla="*/ 20 h 23"/>
                <a:gd name="T20" fmla="*/ 5 w 23"/>
                <a:gd name="T21" fmla="*/ 21 h 23"/>
                <a:gd name="T22" fmla="*/ 8 w 23"/>
                <a:gd name="T23" fmla="*/ 23 h 23"/>
                <a:gd name="T24" fmla="*/ 11 w 23"/>
                <a:gd name="T25" fmla="*/ 23 h 23"/>
                <a:gd name="T26" fmla="*/ 14 w 23"/>
                <a:gd name="T27" fmla="*/ 21 h 23"/>
                <a:gd name="T28" fmla="*/ 15 w 23"/>
                <a:gd name="T29" fmla="*/ 20 h 23"/>
                <a:gd name="T30" fmla="*/ 17 w 23"/>
                <a:gd name="T31" fmla="*/ 19 h 23"/>
                <a:gd name="T32" fmla="*/ 18 w 23"/>
                <a:gd name="T33" fmla="*/ 16 h 23"/>
                <a:gd name="T34" fmla="*/ 20 w 23"/>
                <a:gd name="T35" fmla="*/ 11 h 23"/>
                <a:gd name="T36" fmla="*/ 20 w 23"/>
                <a:gd name="T37" fmla="*/ 9 h 23"/>
                <a:gd name="T38" fmla="*/ 20 w 23"/>
                <a:gd name="T39" fmla="*/ 9 h 23"/>
                <a:gd name="T40" fmla="*/ 21 w 23"/>
                <a:gd name="T41" fmla="*/ 7 h 23"/>
                <a:gd name="T42" fmla="*/ 23 w 23"/>
                <a:gd name="T43" fmla="*/ 7 h 23"/>
                <a:gd name="T44" fmla="*/ 23 w 23"/>
                <a:gd name="T45" fmla="*/ 6 h 23"/>
                <a:gd name="T46" fmla="*/ 23 w 23"/>
                <a:gd name="T47" fmla="*/ 4 h 23"/>
                <a:gd name="T48" fmla="*/ 20 w 23"/>
                <a:gd name="T49" fmla="*/ 4 h 23"/>
                <a:gd name="T50" fmla="*/ 18 w 23"/>
                <a:gd name="T51" fmla="*/ 3 h 23"/>
                <a:gd name="T52" fmla="*/ 17 w 23"/>
                <a:gd name="T53" fmla="*/ 0 h 23"/>
                <a:gd name="T54" fmla="*/ 15 w 23"/>
                <a:gd name="T55" fmla="*/ 0 h 23"/>
                <a:gd name="T56" fmla="*/ 13 w 23"/>
                <a:gd name="T57" fmla="*/ 1 h 23"/>
                <a:gd name="T58" fmla="*/ 11 w 23"/>
                <a:gd name="T59" fmla="*/ 1 h 23"/>
                <a:gd name="T60" fmla="*/ 11 w 23"/>
                <a:gd name="T61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3" h="23">
                  <a:moveTo>
                    <a:pt x="11" y="1"/>
                  </a:moveTo>
                  <a:lnTo>
                    <a:pt x="8" y="1"/>
                  </a:lnTo>
                  <a:lnTo>
                    <a:pt x="5" y="1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7"/>
                  </a:lnTo>
                  <a:lnTo>
                    <a:pt x="0" y="9"/>
                  </a:lnTo>
                  <a:lnTo>
                    <a:pt x="1" y="11"/>
                  </a:lnTo>
                  <a:lnTo>
                    <a:pt x="3" y="16"/>
                  </a:lnTo>
                  <a:lnTo>
                    <a:pt x="4" y="20"/>
                  </a:lnTo>
                  <a:lnTo>
                    <a:pt x="5" y="21"/>
                  </a:lnTo>
                  <a:lnTo>
                    <a:pt x="8" y="23"/>
                  </a:lnTo>
                  <a:lnTo>
                    <a:pt x="11" y="23"/>
                  </a:lnTo>
                  <a:lnTo>
                    <a:pt x="14" y="21"/>
                  </a:lnTo>
                  <a:lnTo>
                    <a:pt x="15" y="20"/>
                  </a:lnTo>
                  <a:lnTo>
                    <a:pt x="17" y="19"/>
                  </a:lnTo>
                  <a:lnTo>
                    <a:pt x="18" y="16"/>
                  </a:lnTo>
                  <a:lnTo>
                    <a:pt x="20" y="11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1" y="7"/>
                  </a:lnTo>
                  <a:lnTo>
                    <a:pt x="23" y="7"/>
                  </a:lnTo>
                  <a:lnTo>
                    <a:pt x="23" y="6"/>
                  </a:lnTo>
                  <a:lnTo>
                    <a:pt x="23" y="4"/>
                  </a:lnTo>
                  <a:lnTo>
                    <a:pt x="20" y="4"/>
                  </a:lnTo>
                  <a:lnTo>
                    <a:pt x="18" y="3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3" y="1"/>
                  </a:lnTo>
                  <a:lnTo>
                    <a:pt x="11" y="1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80" name="Freeform 328"/>
            <p:cNvSpPr>
              <a:spLocks/>
            </p:cNvSpPr>
            <p:nvPr/>
          </p:nvSpPr>
          <p:spPr bwMode="auto">
            <a:xfrm>
              <a:off x="4954209" y="2051304"/>
              <a:ext cx="31750" cy="22489"/>
            </a:xfrm>
            <a:custGeom>
              <a:avLst/>
              <a:gdLst>
                <a:gd name="T0" fmla="*/ 40 w 51"/>
                <a:gd name="T1" fmla="*/ 0 h 34"/>
                <a:gd name="T2" fmla="*/ 44 w 51"/>
                <a:gd name="T3" fmla="*/ 2 h 34"/>
                <a:gd name="T4" fmla="*/ 47 w 51"/>
                <a:gd name="T5" fmla="*/ 4 h 34"/>
                <a:gd name="T6" fmla="*/ 49 w 51"/>
                <a:gd name="T7" fmla="*/ 7 h 34"/>
                <a:gd name="T8" fmla="*/ 51 w 51"/>
                <a:gd name="T9" fmla="*/ 12 h 34"/>
                <a:gd name="T10" fmla="*/ 51 w 51"/>
                <a:gd name="T11" fmla="*/ 13 h 34"/>
                <a:gd name="T12" fmla="*/ 51 w 51"/>
                <a:gd name="T13" fmla="*/ 14 h 34"/>
                <a:gd name="T14" fmla="*/ 49 w 51"/>
                <a:gd name="T15" fmla="*/ 14 h 34"/>
                <a:gd name="T16" fmla="*/ 47 w 51"/>
                <a:gd name="T17" fmla="*/ 16 h 34"/>
                <a:gd name="T18" fmla="*/ 46 w 51"/>
                <a:gd name="T19" fmla="*/ 17 h 34"/>
                <a:gd name="T20" fmla="*/ 44 w 51"/>
                <a:gd name="T21" fmla="*/ 20 h 34"/>
                <a:gd name="T22" fmla="*/ 44 w 51"/>
                <a:gd name="T23" fmla="*/ 22 h 34"/>
                <a:gd name="T24" fmla="*/ 41 w 51"/>
                <a:gd name="T25" fmla="*/ 23 h 34"/>
                <a:gd name="T26" fmla="*/ 39 w 51"/>
                <a:gd name="T27" fmla="*/ 26 h 34"/>
                <a:gd name="T28" fmla="*/ 31 w 51"/>
                <a:gd name="T29" fmla="*/ 29 h 34"/>
                <a:gd name="T30" fmla="*/ 29 w 51"/>
                <a:gd name="T31" fmla="*/ 32 h 34"/>
                <a:gd name="T32" fmla="*/ 24 w 51"/>
                <a:gd name="T33" fmla="*/ 34 h 34"/>
                <a:gd name="T34" fmla="*/ 20 w 51"/>
                <a:gd name="T35" fmla="*/ 34 h 34"/>
                <a:gd name="T36" fmla="*/ 14 w 51"/>
                <a:gd name="T37" fmla="*/ 33 h 34"/>
                <a:gd name="T38" fmla="*/ 11 w 51"/>
                <a:gd name="T39" fmla="*/ 32 h 34"/>
                <a:gd name="T40" fmla="*/ 9 w 51"/>
                <a:gd name="T41" fmla="*/ 29 h 34"/>
                <a:gd name="T42" fmla="*/ 4 w 51"/>
                <a:gd name="T43" fmla="*/ 23 h 34"/>
                <a:gd name="T44" fmla="*/ 3 w 51"/>
                <a:gd name="T45" fmla="*/ 17 h 34"/>
                <a:gd name="T46" fmla="*/ 3 w 51"/>
                <a:gd name="T47" fmla="*/ 13 h 34"/>
                <a:gd name="T48" fmla="*/ 0 w 51"/>
                <a:gd name="T49" fmla="*/ 12 h 34"/>
                <a:gd name="T50" fmla="*/ 0 w 51"/>
                <a:gd name="T51" fmla="*/ 10 h 34"/>
                <a:gd name="T52" fmla="*/ 0 w 51"/>
                <a:gd name="T53" fmla="*/ 9 h 34"/>
                <a:gd name="T54" fmla="*/ 1 w 51"/>
                <a:gd name="T55" fmla="*/ 7 h 34"/>
                <a:gd name="T56" fmla="*/ 7 w 51"/>
                <a:gd name="T57" fmla="*/ 6 h 34"/>
                <a:gd name="T58" fmla="*/ 10 w 51"/>
                <a:gd name="T59" fmla="*/ 3 h 34"/>
                <a:gd name="T60" fmla="*/ 16 w 51"/>
                <a:gd name="T61" fmla="*/ 2 h 34"/>
                <a:gd name="T62" fmla="*/ 19 w 51"/>
                <a:gd name="T63" fmla="*/ 2 h 34"/>
                <a:gd name="T64" fmla="*/ 24 w 51"/>
                <a:gd name="T65" fmla="*/ 2 h 34"/>
                <a:gd name="T66" fmla="*/ 34 w 51"/>
                <a:gd name="T67" fmla="*/ 0 h 34"/>
                <a:gd name="T68" fmla="*/ 40 w 51"/>
                <a:gd name="T69" fmla="*/ 0 h 34"/>
                <a:gd name="T70" fmla="*/ 40 w 51"/>
                <a:gd name="T71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1" h="34">
                  <a:moveTo>
                    <a:pt x="40" y="0"/>
                  </a:moveTo>
                  <a:lnTo>
                    <a:pt x="44" y="2"/>
                  </a:lnTo>
                  <a:lnTo>
                    <a:pt x="47" y="4"/>
                  </a:lnTo>
                  <a:lnTo>
                    <a:pt x="49" y="7"/>
                  </a:lnTo>
                  <a:lnTo>
                    <a:pt x="51" y="12"/>
                  </a:lnTo>
                  <a:lnTo>
                    <a:pt x="51" y="13"/>
                  </a:lnTo>
                  <a:lnTo>
                    <a:pt x="51" y="14"/>
                  </a:lnTo>
                  <a:lnTo>
                    <a:pt x="49" y="14"/>
                  </a:lnTo>
                  <a:lnTo>
                    <a:pt x="47" y="16"/>
                  </a:lnTo>
                  <a:lnTo>
                    <a:pt x="46" y="17"/>
                  </a:lnTo>
                  <a:lnTo>
                    <a:pt x="44" y="20"/>
                  </a:lnTo>
                  <a:lnTo>
                    <a:pt x="44" y="22"/>
                  </a:lnTo>
                  <a:lnTo>
                    <a:pt x="41" y="23"/>
                  </a:lnTo>
                  <a:lnTo>
                    <a:pt x="39" y="26"/>
                  </a:lnTo>
                  <a:lnTo>
                    <a:pt x="31" y="29"/>
                  </a:lnTo>
                  <a:lnTo>
                    <a:pt x="29" y="32"/>
                  </a:lnTo>
                  <a:lnTo>
                    <a:pt x="24" y="34"/>
                  </a:lnTo>
                  <a:lnTo>
                    <a:pt x="20" y="34"/>
                  </a:lnTo>
                  <a:lnTo>
                    <a:pt x="14" y="33"/>
                  </a:lnTo>
                  <a:lnTo>
                    <a:pt x="11" y="32"/>
                  </a:lnTo>
                  <a:lnTo>
                    <a:pt x="9" y="29"/>
                  </a:lnTo>
                  <a:lnTo>
                    <a:pt x="4" y="23"/>
                  </a:lnTo>
                  <a:lnTo>
                    <a:pt x="3" y="17"/>
                  </a:lnTo>
                  <a:lnTo>
                    <a:pt x="3" y="13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9"/>
                  </a:lnTo>
                  <a:lnTo>
                    <a:pt x="1" y="7"/>
                  </a:lnTo>
                  <a:lnTo>
                    <a:pt x="7" y="6"/>
                  </a:lnTo>
                  <a:lnTo>
                    <a:pt x="10" y="3"/>
                  </a:lnTo>
                  <a:lnTo>
                    <a:pt x="16" y="2"/>
                  </a:lnTo>
                  <a:lnTo>
                    <a:pt x="19" y="2"/>
                  </a:lnTo>
                  <a:lnTo>
                    <a:pt x="24" y="2"/>
                  </a:lnTo>
                  <a:lnTo>
                    <a:pt x="34" y="0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81" name="Freeform 329"/>
            <p:cNvSpPr>
              <a:spLocks/>
            </p:cNvSpPr>
            <p:nvPr/>
          </p:nvSpPr>
          <p:spPr bwMode="auto">
            <a:xfrm>
              <a:off x="4888267" y="2060564"/>
              <a:ext cx="15875" cy="13229"/>
            </a:xfrm>
            <a:custGeom>
              <a:avLst/>
              <a:gdLst>
                <a:gd name="T0" fmla="*/ 17 w 25"/>
                <a:gd name="T1" fmla="*/ 4 h 20"/>
                <a:gd name="T2" fmla="*/ 10 w 25"/>
                <a:gd name="T3" fmla="*/ 1 h 20"/>
                <a:gd name="T4" fmla="*/ 8 w 25"/>
                <a:gd name="T5" fmla="*/ 0 h 20"/>
                <a:gd name="T6" fmla="*/ 4 w 25"/>
                <a:gd name="T7" fmla="*/ 0 h 20"/>
                <a:gd name="T8" fmla="*/ 1 w 25"/>
                <a:gd name="T9" fmla="*/ 1 h 20"/>
                <a:gd name="T10" fmla="*/ 1 w 25"/>
                <a:gd name="T11" fmla="*/ 4 h 20"/>
                <a:gd name="T12" fmla="*/ 1 w 25"/>
                <a:gd name="T13" fmla="*/ 8 h 20"/>
                <a:gd name="T14" fmla="*/ 0 w 25"/>
                <a:gd name="T15" fmla="*/ 13 h 20"/>
                <a:gd name="T16" fmla="*/ 0 w 25"/>
                <a:gd name="T17" fmla="*/ 14 h 20"/>
                <a:gd name="T18" fmla="*/ 1 w 25"/>
                <a:gd name="T19" fmla="*/ 16 h 20"/>
                <a:gd name="T20" fmla="*/ 2 w 25"/>
                <a:gd name="T21" fmla="*/ 14 h 20"/>
                <a:gd name="T22" fmla="*/ 4 w 25"/>
                <a:gd name="T23" fmla="*/ 14 h 20"/>
                <a:gd name="T24" fmla="*/ 7 w 25"/>
                <a:gd name="T25" fmla="*/ 14 h 20"/>
                <a:gd name="T26" fmla="*/ 8 w 25"/>
                <a:gd name="T27" fmla="*/ 14 h 20"/>
                <a:gd name="T28" fmla="*/ 8 w 25"/>
                <a:gd name="T29" fmla="*/ 18 h 20"/>
                <a:gd name="T30" fmla="*/ 10 w 25"/>
                <a:gd name="T31" fmla="*/ 20 h 20"/>
                <a:gd name="T32" fmla="*/ 12 w 25"/>
                <a:gd name="T33" fmla="*/ 20 h 20"/>
                <a:gd name="T34" fmla="*/ 14 w 25"/>
                <a:gd name="T35" fmla="*/ 20 h 20"/>
                <a:gd name="T36" fmla="*/ 15 w 25"/>
                <a:gd name="T37" fmla="*/ 18 h 20"/>
                <a:gd name="T38" fmla="*/ 17 w 25"/>
                <a:gd name="T39" fmla="*/ 17 h 20"/>
                <a:gd name="T40" fmla="*/ 18 w 25"/>
                <a:gd name="T41" fmla="*/ 14 h 20"/>
                <a:gd name="T42" fmla="*/ 21 w 25"/>
                <a:gd name="T43" fmla="*/ 13 h 20"/>
                <a:gd name="T44" fmla="*/ 21 w 25"/>
                <a:gd name="T45" fmla="*/ 13 h 20"/>
                <a:gd name="T46" fmla="*/ 22 w 25"/>
                <a:gd name="T47" fmla="*/ 13 h 20"/>
                <a:gd name="T48" fmla="*/ 24 w 25"/>
                <a:gd name="T49" fmla="*/ 10 h 20"/>
                <a:gd name="T50" fmla="*/ 25 w 25"/>
                <a:gd name="T51" fmla="*/ 8 h 20"/>
                <a:gd name="T52" fmla="*/ 25 w 25"/>
                <a:gd name="T53" fmla="*/ 8 h 20"/>
                <a:gd name="T54" fmla="*/ 25 w 25"/>
                <a:gd name="T55" fmla="*/ 7 h 20"/>
                <a:gd name="T56" fmla="*/ 24 w 25"/>
                <a:gd name="T57" fmla="*/ 6 h 20"/>
                <a:gd name="T58" fmla="*/ 21 w 25"/>
                <a:gd name="T59" fmla="*/ 6 h 20"/>
                <a:gd name="T60" fmla="*/ 21 w 25"/>
                <a:gd name="T61" fmla="*/ 6 h 20"/>
                <a:gd name="T62" fmla="*/ 20 w 25"/>
                <a:gd name="T63" fmla="*/ 6 h 20"/>
                <a:gd name="T64" fmla="*/ 18 w 25"/>
                <a:gd name="T65" fmla="*/ 4 h 20"/>
                <a:gd name="T66" fmla="*/ 17 w 25"/>
                <a:gd name="T67" fmla="*/ 4 h 20"/>
                <a:gd name="T68" fmla="*/ 17 w 25"/>
                <a:gd name="T6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0">
                  <a:moveTo>
                    <a:pt x="17" y="4"/>
                  </a:moveTo>
                  <a:lnTo>
                    <a:pt x="10" y="1"/>
                  </a:lnTo>
                  <a:lnTo>
                    <a:pt x="8" y="0"/>
                  </a:lnTo>
                  <a:lnTo>
                    <a:pt x="4" y="0"/>
                  </a:lnTo>
                  <a:lnTo>
                    <a:pt x="1" y="1"/>
                  </a:lnTo>
                  <a:lnTo>
                    <a:pt x="1" y="4"/>
                  </a:lnTo>
                  <a:lnTo>
                    <a:pt x="1" y="8"/>
                  </a:lnTo>
                  <a:lnTo>
                    <a:pt x="0" y="13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7" y="14"/>
                  </a:lnTo>
                  <a:lnTo>
                    <a:pt x="8" y="14"/>
                  </a:lnTo>
                  <a:lnTo>
                    <a:pt x="8" y="18"/>
                  </a:lnTo>
                  <a:lnTo>
                    <a:pt x="10" y="20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5" y="18"/>
                  </a:lnTo>
                  <a:lnTo>
                    <a:pt x="17" y="17"/>
                  </a:lnTo>
                  <a:lnTo>
                    <a:pt x="18" y="14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4" y="10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7"/>
                  </a:lnTo>
                  <a:lnTo>
                    <a:pt x="24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0" y="6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7" y="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82" name="Freeform 330"/>
            <p:cNvSpPr>
              <a:spLocks/>
            </p:cNvSpPr>
            <p:nvPr/>
          </p:nvSpPr>
          <p:spPr bwMode="auto">
            <a:xfrm>
              <a:off x="4909027" y="2073793"/>
              <a:ext cx="6106" cy="6615"/>
            </a:xfrm>
            <a:custGeom>
              <a:avLst/>
              <a:gdLst>
                <a:gd name="T0" fmla="*/ 6 w 12"/>
                <a:gd name="T1" fmla="*/ 1 h 10"/>
                <a:gd name="T2" fmla="*/ 9 w 12"/>
                <a:gd name="T3" fmla="*/ 1 h 10"/>
                <a:gd name="T4" fmla="*/ 10 w 12"/>
                <a:gd name="T5" fmla="*/ 3 h 10"/>
                <a:gd name="T6" fmla="*/ 12 w 12"/>
                <a:gd name="T7" fmla="*/ 3 h 10"/>
                <a:gd name="T8" fmla="*/ 10 w 12"/>
                <a:gd name="T9" fmla="*/ 4 h 10"/>
                <a:gd name="T10" fmla="*/ 9 w 12"/>
                <a:gd name="T11" fmla="*/ 6 h 10"/>
                <a:gd name="T12" fmla="*/ 6 w 12"/>
                <a:gd name="T13" fmla="*/ 7 h 10"/>
                <a:gd name="T14" fmla="*/ 3 w 12"/>
                <a:gd name="T15" fmla="*/ 10 h 10"/>
                <a:gd name="T16" fmla="*/ 2 w 12"/>
                <a:gd name="T17" fmla="*/ 10 h 10"/>
                <a:gd name="T18" fmla="*/ 0 w 12"/>
                <a:gd name="T19" fmla="*/ 9 h 10"/>
                <a:gd name="T20" fmla="*/ 0 w 12"/>
                <a:gd name="T21" fmla="*/ 7 h 10"/>
                <a:gd name="T22" fmla="*/ 0 w 12"/>
                <a:gd name="T23" fmla="*/ 6 h 10"/>
                <a:gd name="T24" fmla="*/ 0 w 12"/>
                <a:gd name="T25" fmla="*/ 3 h 10"/>
                <a:gd name="T26" fmla="*/ 0 w 12"/>
                <a:gd name="T27" fmla="*/ 3 h 10"/>
                <a:gd name="T28" fmla="*/ 2 w 12"/>
                <a:gd name="T29" fmla="*/ 1 h 10"/>
                <a:gd name="T30" fmla="*/ 2 w 12"/>
                <a:gd name="T31" fmla="*/ 0 h 10"/>
                <a:gd name="T32" fmla="*/ 6 w 12"/>
                <a:gd name="T33" fmla="*/ 1 h 10"/>
                <a:gd name="T34" fmla="*/ 6 w 12"/>
                <a:gd name="T35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0">
                  <a:moveTo>
                    <a:pt x="6" y="1"/>
                  </a:moveTo>
                  <a:lnTo>
                    <a:pt x="9" y="1"/>
                  </a:lnTo>
                  <a:lnTo>
                    <a:pt x="10" y="3"/>
                  </a:lnTo>
                  <a:lnTo>
                    <a:pt x="12" y="3"/>
                  </a:lnTo>
                  <a:lnTo>
                    <a:pt x="10" y="4"/>
                  </a:lnTo>
                  <a:lnTo>
                    <a:pt x="9" y="6"/>
                  </a:lnTo>
                  <a:lnTo>
                    <a:pt x="6" y="7"/>
                  </a:lnTo>
                  <a:lnTo>
                    <a:pt x="3" y="10"/>
                  </a:lnTo>
                  <a:lnTo>
                    <a:pt x="2" y="10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1"/>
                  </a:lnTo>
                  <a:lnTo>
                    <a:pt x="2" y="0"/>
                  </a:lnTo>
                  <a:lnTo>
                    <a:pt x="6" y="1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83" name="Freeform 331"/>
            <p:cNvSpPr>
              <a:spLocks/>
            </p:cNvSpPr>
            <p:nvPr/>
          </p:nvSpPr>
          <p:spPr bwMode="auto">
            <a:xfrm>
              <a:off x="4911469" y="2046012"/>
              <a:ext cx="20759" cy="17198"/>
            </a:xfrm>
            <a:custGeom>
              <a:avLst/>
              <a:gdLst>
                <a:gd name="T0" fmla="*/ 33 w 34"/>
                <a:gd name="T1" fmla="*/ 9 h 26"/>
                <a:gd name="T2" fmla="*/ 30 w 34"/>
                <a:gd name="T3" fmla="*/ 6 h 26"/>
                <a:gd name="T4" fmla="*/ 27 w 34"/>
                <a:gd name="T5" fmla="*/ 4 h 26"/>
                <a:gd name="T6" fmla="*/ 21 w 34"/>
                <a:gd name="T7" fmla="*/ 3 h 26"/>
                <a:gd name="T8" fmla="*/ 18 w 34"/>
                <a:gd name="T9" fmla="*/ 1 h 26"/>
                <a:gd name="T10" fmla="*/ 17 w 34"/>
                <a:gd name="T11" fmla="*/ 0 h 26"/>
                <a:gd name="T12" fmla="*/ 14 w 34"/>
                <a:gd name="T13" fmla="*/ 0 h 26"/>
                <a:gd name="T14" fmla="*/ 8 w 34"/>
                <a:gd name="T15" fmla="*/ 3 h 26"/>
                <a:gd name="T16" fmla="*/ 5 w 34"/>
                <a:gd name="T17" fmla="*/ 4 h 26"/>
                <a:gd name="T18" fmla="*/ 3 w 34"/>
                <a:gd name="T19" fmla="*/ 4 h 26"/>
                <a:gd name="T20" fmla="*/ 0 w 34"/>
                <a:gd name="T21" fmla="*/ 6 h 26"/>
                <a:gd name="T22" fmla="*/ 0 w 34"/>
                <a:gd name="T23" fmla="*/ 7 h 26"/>
                <a:gd name="T24" fmla="*/ 0 w 34"/>
                <a:gd name="T25" fmla="*/ 11 h 26"/>
                <a:gd name="T26" fmla="*/ 1 w 34"/>
                <a:gd name="T27" fmla="*/ 13 h 26"/>
                <a:gd name="T28" fmla="*/ 4 w 34"/>
                <a:gd name="T29" fmla="*/ 14 h 26"/>
                <a:gd name="T30" fmla="*/ 5 w 34"/>
                <a:gd name="T31" fmla="*/ 16 h 26"/>
                <a:gd name="T32" fmla="*/ 7 w 34"/>
                <a:gd name="T33" fmla="*/ 19 h 26"/>
                <a:gd name="T34" fmla="*/ 7 w 34"/>
                <a:gd name="T35" fmla="*/ 21 h 26"/>
                <a:gd name="T36" fmla="*/ 8 w 34"/>
                <a:gd name="T37" fmla="*/ 24 h 26"/>
                <a:gd name="T38" fmla="*/ 11 w 34"/>
                <a:gd name="T39" fmla="*/ 26 h 26"/>
                <a:gd name="T40" fmla="*/ 13 w 34"/>
                <a:gd name="T41" fmla="*/ 26 h 26"/>
                <a:gd name="T42" fmla="*/ 14 w 34"/>
                <a:gd name="T43" fmla="*/ 24 h 26"/>
                <a:gd name="T44" fmla="*/ 16 w 34"/>
                <a:gd name="T45" fmla="*/ 23 h 26"/>
                <a:gd name="T46" fmla="*/ 17 w 34"/>
                <a:gd name="T47" fmla="*/ 23 h 26"/>
                <a:gd name="T48" fmla="*/ 18 w 34"/>
                <a:gd name="T49" fmla="*/ 23 h 26"/>
                <a:gd name="T50" fmla="*/ 20 w 34"/>
                <a:gd name="T51" fmla="*/ 24 h 26"/>
                <a:gd name="T52" fmla="*/ 20 w 34"/>
                <a:gd name="T53" fmla="*/ 26 h 26"/>
                <a:gd name="T54" fmla="*/ 21 w 34"/>
                <a:gd name="T55" fmla="*/ 26 h 26"/>
                <a:gd name="T56" fmla="*/ 23 w 34"/>
                <a:gd name="T57" fmla="*/ 26 h 26"/>
                <a:gd name="T58" fmla="*/ 27 w 34"/>
                <a:gd name="T59" fmla="*/ 23 h 26"/>
                <a:gd name="T60" fmla="*/ 30 w 34"/>
                <a:gd name="T61" fmla="*/ 19 h 26"/>
                <a:gd name="T62" fmla="*/ 33 w 34"/>
                <a:gd name="T63" fmla="*/ 16 h 26"/>
                <a:gd name="T64" fmla="*/ 34 w 34"/>
                <a:gd name="T65" fmla="*/ 13 h 26"/>
                <a:gd name="T66" fmla="*/ 34 w 34"/>
                <a:gd name="T67" fmla="*/ 10 h 26"/>
                <a:gd name="T68" fmla="*/ 33 w 34"/>
                <a:gd name="T69" fmla="*/ 9 h 26"/>
                <a:gd name="T70" fmla="*/ 33 w 34"/>
                <a:gd name="T71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4" h="26">
                  <a:moveTo>
                    <a:pt x="33" y="9"/>
                  </a:moveTo>
                  <a:lnTo>
                    <a:pt x="30" y="6"/>
                  </a:lnTo>
                  <a:lnTo>
                    <a:pt x="27" y="4"/>
                  </a:lnTo>
                  <a:lnTo>
                    <a:pt x="21" y="3"/>
                  </a:lnTo>
                  <a:lnTo>
                    <a:pt x="18" y="1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8" y="3"/>
                  </a:lnTo>
                  <a:lnTo>
                    <a:pt x="5" y="4"/>
                  </a:lnTo>
                  <a:lnTo>
                    <a:pt x="3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11"/>
                  </a:lnTo>
                  <a:lnTo>
                    <a:pt x="1" y="13"/>
                  </a:lnTo>
                  <a:lnTo>
                    <a:pt x="4" y="14"/>
                  </a:lnTo>
                  <a:lnTo>
                    <a:pt x="5" y="16"/>
                  </a:lnTo>
                  <a:lnTo>
                    <a:pt x="7" y="19"/>
                  </a:lnTo>
                  <a:lnTo>
                    <a:pt x="7" y="21"/>
                  </a:lnTo>
                  <a:lnTo>
                    <a:pt x="8" y="24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4" y="24"/>
                  </a:lnTo>
                  <a:lnTo>
                    <a:pt x="16" y="23"/>
                  </a:lnTo>
                  <a:lnTo>
                    <a:pt x="17" y="23"/>
                  </a:lnTo>
                  <a:lnTo>
                    <a:pt x="18" y="23"/>
                  </a:lnTo>
                  <a:lnTo>
                    <a:pt x="20" y="24"/>
                  </a:lnTo>
                  <a:lnTo>
                    <a:pt x="20" y="26"/>
                  </a:lnTo>
                  <a:lnTo>
                    <a:pt x="21" y="26"/>
                  </a:lnTo>
                  <a:lnTo>
                    <a:pt x="23" y="26"/>
                  </a:lnTo>
                  <a:lnTo>
                    <a:pt x="27" y="23"/>
                  </a:lnTo>
                  <a:lnTo>
                    <a:pt x="30" y="19"/>
                  </a:lnTo>
                  <a:lnTo>
                    <a:pt x="33" y="16"/>
                  </a:lnTo>
                  <a:lnTo>
                    <a:pt x="34" y="13"/>
                  </a:lnTo>
                  <a:lnTo>
                    <a:pt x="34" y="10"/>
                  </a:lnTo>
                  <a:lnTo>
                    <a:pt x="33" y="9"/>
                  </a:lnTo>
                  <a:lnTo>
                    <a:pt x="33" y="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84" name="Freeform 332"/>
            <p:cNvSpPr>
              <a:spLocks/>
            </p:cNvSpPr>
            <p:nvPr/>
          </p:nvSpPr>
          <p:spPr bwMode="auto">
            <a:xfrm>
              <a:off x="4939555" y="2026168"/>
              <a:ext cx="4885" cy="6615"/>
            </a:xfrm>
            <a:custGeom>
              <a:avLst/>
              <a:gdLst>
                <a:gd name="T0" fmla="*/ 8 w 8"/>
                <a:gd name="T1" fmla="*/ 4 h 10"/>
                <a:gd name="T2" fmla="*/ 7 w 8"/>
                <a:gd name="T3" fmla="*/ 1 h 10"/>
                <a:gd name="T4" fmla="*/ 4 w 8"/>
                <a:gd name="T5" fmla="*/ 0 h 10"/>
                <a:gd name="T6" fmla="*/ 2 w 8"/>
                <a:gd name="T7" fmla="*/ 0 h 10"/>
                <a:gd name="T8" fmla="*/ 1 w 8"/>
                <a:gd name="T9" fmla="*/ 3 h 10"/>
                <a:gd name="T10" fmla="*/ 0 w 8"/>
                <a:gd name="T11" fmla="*/ 6 h 10"/>
                <a:gd name="T12" fmla="*/ 0 w 8"/>
                <a:gd name="T13" fmla="*/ 7 h 10"/>
                <a:gd name="T14" fmla="*/ 1 w 8"/>
                <a:gd name="T15" fmla="*/ 8 h 10"/>
                <a:gd name="T16" fmla="*/ 4 w 8"/>
                <a:gd name="T17" fmla="*/ 8 h 10"/>
                <a:gd name="T18" fmla="*/ 7 w 8"/>
                <a:gd name="T19" fmla="*/ 10 h 10"/>
                <a:gd name="T20" fmla="*/ 8 w 8"/>
                <a:gd name="T21" fmla="*/ 8 h 10"/>
                <a:gd name="T22" fmla="*/ 8 w 8"/>
                <a:gd name="T23" fmla="*/ 6 h 10"/>
                <a:gd name="T24" fmla="*/ 8 w 8"/>
                <a:gd name="T25" fmla="*/ 4 h 10"/>
                <a:gd name="T26" fmla="*/ 8 w 8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0">
                  <a:moveTo>
                    <a:pt x="8" y="4"/>
                  </a:moveTo>
                  <a:lnTo>
                    <a:pt x="7" y="1"/>
                  </a:lnTo>
                  <a:lnTo>
                    <a:pt x="4" y="0"/>
                  </a:lnTo>
                  <a:lnTo>
                    <a:pt x="2" y="0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8"/>
                  </a:lnTo>
                  <a:lnTo>
                    <a:pt x="4" y="8"/>
                  </a:lnTo>
                  <a:lnTo>
                    <a:pt x="7" y="10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85" name="Freeform 333"/>
            <p:cNvSpPr>
              <a:spLocks/>
            </p:cNvSpPr>
            <p:nvPr/>
          </p:nvSpPr>
          <p:spPr bwMode="auto">
            <a:xfrm>
              <a:off x="4938334" y="2018231"/>
              <a:ext cx="6106" cy="6615"/>
            </a:xfrm>
            <a:custGeom>
              <a:avLst/>
              <a:gdLst>
                <a:gd name="T0" fmla="*/ 10 w 10"/>
                <a:gd name="T1" fmla="*/ 5 h 9"/>
                <a:gd name="T2" fmla="*/ 9 w 10"/>
                <a:gd name="T3" fmla="*/ 3 h 9"/>
                <a:gd name="T4" fmla="*/ 7 w 10"/>
                <a:gd name="T5" fmla="*/ 2 h 9"/>
                <a:gd name="T6" fmla="*/ 4 w 10"/>
                <a:gd name="T7" fmla="*/ 2 h 9"/>
                <a:gd name="T8" fmla="*/ 2 w 10"/>
                <a:gd name="T9" fmla="*/ 0 h 9"/>
                <a:gd name="T10" fmla="*/ 0 w 10"/>
                <a:gd name="T11" fmla="*/ 2 h 9"/>
                <a:gd name="T12" fmla="*/ 0 w 10"/>
                <a:gd name="T13" fmla="*/ 3 h 9"/>
                <a:gd name="T14" fmla="*/ 2 w 10"/>
                <a:gd name="T15" fmla="*/ 5 h 9"/>
                <a:gd name="T16" fmla="*/ 6 w 10"/>
                <a:gd name="T17" fmla="*/ 8 h 9"/>
                <a:gd name="T18" fmla="*/ 9 w 10"/>
                <a:gd name="T19" fmla="*/ 9 h 9"/>
                <a:gd name="T20" fmla="*/ 9 w 10"/>
                <a:gd name="T21" fmla="*/ 8 h 9"/>
                <a:gd name="T22" fmla="*/ 10 w 10"/>
                <a:gd name="T23" fmla="*/ 8 h 9"/>
                <a:gd name="T24" fmla="*/ 10 w 10"/>
                <a:gd name="T25" fmla="*/ 5 h 9"/>
                <a:gd name="T26" fmla="*/ 10 w 10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9">
                  <a:moveTo>
                    <a:pt x="10" y="5"/>
                  </a:moveTo>
                  <a:lnTo>
                    <a:pt x="9" y="3"/>
                  </a:lnTo>
                  <a:lnTo>
                    <a:pt x="7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6" y="8"/>
                  </a:lnTo>
                  <a:lnTo>
                    <a:pt x="9" y="9"/>
                  </a:lnTo>
                  <a:lnTo>
                    <a:pt x="9" y="8"/>
                  </a:lnTo>
                  <a:lnTo>
                    <a:pt x="10" y="8"/>
                  </a:lnTo>
                  <a:lnTo>
                    <a:pt x="10" y="5"/>
                  </a:lnTo>
                  <a:lnTo>
                    <a:pt x="10" y="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86" name="Freeform 334"/>
            <p:cNvSpPr>
              <a:spLocks/>
            </p:cNvSpPr>
            <p:nvPr/>
          </p:nvSpPr>
          <p:spPr bwMode="auto">
            <a:xfrm>
              <a:off x="4928565" y="2020877"/>
              <a:ext cx="12211" cy="22489"/>
            </a:xfrm>
            <a:custGeom>
              <a:avLst/>
              <a:gdLst>
                <a:gd name="T0" fmla="*/ 16 w 19"/>
                <a:gd name="T1" fmla="*/ 13 h 33"/>
                <a:gd name="T2" fmla="*/ 16 w 19"/>
                <a:gd name="T3" fmla="*/ 15 h 33"/>
                <a:gd name="T4" fmla="*/ 16 w 19"/>
                <a:gd name="T5" fmla="*/ 17 h 33"/>
                <a:gd name="T6" fmla="*/ 16 w 19"/>
                <a:gd name="T7" fmla="*/ 20 h 33"/>
                <a:gd name="T8" fmla="*/ 18 w 19"/>
                <a:gd name="T9" fmla="*/ 20 h 33"/>
                <a:gd name="T10" fmla="*/ 19 w 19"/>
                <a:gd name="T11" fmla="*/ 21 h 33"/>
                <a:gd name="T12" fmla="*/ 19 w 19"/>
                <a:gd name="T13" fmla="*/ 24 h 33"/>
                <a:gd name="T14" fmla="*/ 18 w 19"/>
                <a:gd name="T15" fmla="*/ 25 h 33"/>
                <a:gd name="T16" fmla="*/ 16 w 19"/>
                <a:gd name="T17" fmla="*/ 27 h 33"/>
                <a:gd name="T18" fmla="*/ 15 w 19"/>
                <a:gd name="T19" fmla="*/ 28 h 33"/>
                <a:gd name="T20" fmla="*/ 13 w 19"/>
                <a:gd name="T21" fmla="*/ 28 h 33"/>
                <a:gd name="T22" fmla="*/ 9 w 19"/>
                <a:gd name="T23" fmla="*/ 30 h 33"/>
                <a:gd name="T24" fmla="*/ 8 w 19"/>
                <a:gd name="T25" fmla="*/ 31 h 33"/>
                <a:gd name="T26" fmla="*/ 6 w 19"/>
                <a:gd name="T27" fmla="*/ 33 h 33"/>
                <a:gd name="T28" fmla="*/ 5 w 19"/>
                <a:gd name="T29" fmla="*/ 33 h 33"/>
                <a:gd name="T30" fmla="*/ 3 w 19"/>
                <a:gd name="T31" fmla="*/ 33 h 33"/>
                <a:gd name="T32" fmla="*/ 0 w 19"/>
                <a:gd name="T33" fmla="*/ 31 h 33"/>
                <a:gd name="T34" fmla="*/ 0 w 19"/>
                <a:gd name="T35" fmla="*/ 28 h 33"/>
                <a:gd name="T36" fmla="*/ 0 w 19"/>
                <a:gd name="T37" fmla="*/ 25 h 33"/>
                <a:gd name="T38" fmla="*/ 0 w 19"/>
                <a:gd name="T39" fmla="*/ 24 h 33"/>
                <a:gd name="T40" fmla="*/ 2 w 19"/>
                <a:gd name="T41" fmla="*/ 20 h 33"/>
                <a:gd name="T42" fmla="*/ 0 w 19"/>
                <a:gd name="T43" fmla="*/ 14 h 33"/>
                <a:gd name="T44" fmla="*/ 0 w 19"/>
                <a:gd name="T45" fmla="*/ 7 h 33"/>
                <a:gd name="T46" fmla="*/ 2 w 19"/>
                <a:gd name="T47" fmla="*/ 4 h 33"/>
                <a:gd name="T48" fmla="*/ 3 w 19"/>
                <a:gd name="T49" fmla="*/ 3 h 33"/>
                <a:gd name="T50" fmla="*/ 5 w 19"/>
                <a:gd name="T51" fmla="*/ 3 h 33"/>
                <a:gd name="T52" fmla="*/ 6 w 19"/>
                <a:gd name="T53" fmla="*/ 4 h 33"/>
                <a:gd name="T54" fmla="*/ 9 w 19"/>
                <a:gd name="T55" fmla="*/ 4 h 33"/>
                <a:gd name="T56" fmla="*/ 10 w 19"/>
                <a:gd name="T57" fmla="*/ 3 h 33"/>
                <a:gd name="T58" fmla="*/ 10 w 19"/>
                <a:gd name="T59" fmla="*/ 1 h 33"/>
                <a:gd name="T60" fmla="*/ 12 w 19"/>
                <a:gd name="T61" fmla="*/ 0 h 33"/>
                <a:gd name="T62" fmla="*/ 13 w 19"/>
                <a:gd name="T63" fmla="*/ 0 h 33"/>
                <a:gd name="T64" fmla="*/ 15 w 19"/>
                <a:gd name="T65" fmla="*/ 1 h 33"/>
                <a:gd name="T66" fmla="*/ 15 w 19"/>
                <a:gd name="T67" fmla="*/ 4 h 33"/>
                <a:gd name="T68" fmla="*/ 16 w 19"/>
                <a:gd name="T69" fmla="*/ 8 h 33"/>
                <a:gd name="T70" fmla="*/ 16 w 19"/>
                <a:gd name="T71" fmla="*/ 13 h 33"/>
                <a:gd name="T72" fmla="*/ 16 w 19"/>
                <a:gd name="T73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" h="33">
                  <a:moveTo>
                    <a:pt x="16" y="13"/>
                  </a:moveTo>
                  <a:lnTo>
                    <a:pt x="16" y="15"/>
                  </a:lnTo>
                  <a:lnTo>
                    <a:pt x="16" y="17"/>
                  </a:lnTo>
                  <a:lnTo>
                    <a:pt x="16" y="20"/>
                  </a:lnTo>
                  <a:lnTo>
                    <a:pt x="18" y="20"/>
                  </a:lnTo>
                  <a:lnTo>
                    <a:pt x="19" y="21"/>
                  </a:lnTo>
                  <a:lnTo>
                    <a:pt x="19" y="24"/>
                  </a:lnTo>
                  <a:lnTo>
                    <a:pt x="18" y="25"/>
                  </a:lnTo>
                  <a:lnTo>
                    <a:pt x="16" y="27"/>
                  </a:lnTo>
                  <a:lnTo>
                    <a:pt x="15" y="28"/>
                  </a:lnTo>
                  <a:lnTo>
                    <a:pt x="13" y="28"/>
                  </a:lnTo>
                  <a:lnTo>
                    <a:pt x="9" y="30"/>
                  </a:lnTo>
                  <a:lnTo>
                    <a:pt x="8" y="31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3" y="33"/>
                  </a:lnTo>
                  <a:lnTo>
                    <a:pt x="0" y="31"/>
                  </a:lnTo>
                  <a:lnTo>
                    <a:pt x="0" y="28"/>
                  </a:lnTo>
                  <a:lnTo>
                    <a:pt x="0" y="25"/>
                  </a:lnTo>
                  <a:lnTo>
                    <a:pt x="0" y="24"/>
                  </a:lnTo>
                  <a:lnTo>
                    <a:pt x="2" y="20"/>
                  </a:lnTo>
                  <a:lnTo>
                    <a:pt x="0" y="14"/>
                  </a:lnTo>
                  <a:lnTo>
                    <a:pt x="0" y="7"/>
                  </a:lnTo>
                  <a:lnTo>
                    <a:pt x="2" y="4"/>
                  </a:lnTo>
                  <a:lnTo>
                    <a:pt x="3" y="3"/>
                  </a:lnTo>
                  <a:lnTo>
                    <a:pt x="5" y="3"/>
                  </a:lnTo>
                  <a:lnTo>
                    <a:pt x="6" y="4"/>
                  </a:lnTo>
                  <a:lnTo>
                    <a:pt x="9" y="4"/>
                  </a:lnTo>
                  <a:lnTo>
                    <a:pt x="10" y="3"/>
                  </a:lnTo>
                  <a:lnTo>
                    <a:pt x="10" y="1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5" y="1"/>
                  </a:lnTo>
                  <a:lnTo>
                    <a:pt x="15" y="4"/>
                  </a:lnTo>
                  <a:lnTo>
                    <a:pt x="16" y="8"/>
                  </a:lnTo>
                  <a:lnTo>
                    <a:pt x="16" y="13"/>
                  </a:lnTo>
                  <a:lnTo>
                    <a:pt x="16" y="1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87" name="Freeform 335"/>
            <p:cNvSpPr>
              <a:spLocks/>
            </p:cNvSpPr>
            <p:nvPr/>
          </p:nvSpPr>
          <p:spPr bwMode="auto">
            <a:xfrm>
              <a:off x="4882162" y="1981190"/>
              <a:ext cx="2442" cy="2646"/>
            </a:xfrm>
            <a:custGeom>
              <a:avLst/>
              <a:gdLst>
                <a:gd name="T0" fmla="*/ 4 w 4"/>
                <a:gd name="T1" fmla="*/ 0 h 4"/>
                <a:gd name="T2" fmla="*/ 3 w 4"/>
                <a:gd name="T3" fmla="*/ 0 h 4"/>
                <a:gd name="T4" fmla="*/ 1 w 4"/>
                <a:gd name="T5" fmla="*/ 0 h 4"/>
                <a:gd name="T6" fmla="*/ 0 w 4"/>
                <a:gd name="T7" fmla="*/ 0 h 4"/>
                <a:gd name="T8" fmla="*/ 0 w 4"/>
                <a:gd name="T9" fmla="*/ 1 h 4"/>
                <a:gd name="T10" fmla="*/ 0 w 4"/>
                <a:gd name="T11" fmla="*/ 2 h 4"/>
                <a:gd name="T12" fmla="*/ 1 w 4"/>
                <a:gd name="T13" fmla="*/ 4 h 4"/>
                <a:gd name="T14" fmla="*/ 3 w 4"/>
                <a:gd name="T15" fmla="*/ 4 h 4"/>
                <a:gd name="T16" fmla="*/ 3 w 4"/>
                <a:gd name="T17" fmla="*/ 2 h 4"/>
                <a:gd name="T18" fmla="*/ 4 w 4"/>
                <a:gd name="T19" fmla="*/ 1 h 4"/>
                <a:gd name="T20" fmla="*/ 4 w 4"/>
                <a:gd name="T21" fmla="*/ 0 h 4"/>
                <a:gd name="T22" fmla="*/ 4 w 4"/>
                <a:gd name="T2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4">
                  <a:moveTo>
                    <a:pt x="4" y="0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4"/>
                  </a:lnTo>
                  <a:lnTo>
                    <a:pt x="3" y="4"/>
                  </a:lnTo>
                  <a:lnTo>
                    <a:pt x="3" y="2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88" name="Freeform 336"/>
            <p:cNvSpPr>
              <a:spLocks/>
            </p:cNvSpPr>
            <p:nvPr/>
          </p:nvSpPr>
          <p:spPr bwMode="auto">
            <a:xfrm>
              <a:off x="4896815" y="2110834"/>
              <a:ext cx="3663" cy="1323"/>
            </a:xfrm>
            <a:custGeom>
              <a:avLst/>
              <a:gdLst>
                <a:gd name="T0" fmla="*/ 3 w 4"/>
                <a:gd name="T1" fmla="*/ 0 h 3"/>
                <a:gd name="T2" fmla="*/ 3 w 4"/>
                <a:gd name="T3" fmla="*/ 0 h 3"/>
                <a:gd name="T4" fmla="*/ 1 w 4"/>
                <a:gd name="T5" fmla="*/ 0 h 3"/>
                <a:gd name="T6" fmla="*/ 0 w 4"/>
                <a:gd name="T7" fmla="*/ 0 h 3"/>
                <a:gd name="T8" fmla="*/ 0 w 4"/>
                <a:gd name="T9" fmla="*/ 2 h 3"/>
                <a:gd name="T10" fmla="*/ 0 w 4"/>
                <a:gd name="T11" fmla="*/ 2 h 3"/>
                <a:gd name="T12" fmla="*/ 1 w 4"/>
                <a:gd name="T13" fmla="*/ 3 h 3"/>
                <a:gd name="T14" fmla="*/ 3 w 4"/>
                <a:gd name="T15" fmla="*/ 3 h 3"/>
                <a:gd name="T16" fmla="*/ 3 w 4"/>
                <a:gd name="T17" fmla="*/ 3 h 3"/>
                <a:gd name="T18" fmla="*/ 4 w 4"/>
                <a:gd name="T19" fmla="*/ 2 h 3"/>
                <a:gd name="T20" fmla="*/ 3 w 4"/>
                <a:gd name="T21" fmla="*/ 0 h 3"/>
                <a:gd name="T22" fmla="*/ 3 w 4"/>
                <a:gd name="T2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2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89" name="Freeform 337"/>
            <p:cNvSpPr>
              <a:spLocks/>
            </p:cNvSpPr>
            <p:nvPr/>
          </p:nvSpPr>
          <p:spPr bwMode="auto">
            <a:xfrm>
              <a:off x="5020151" y="2002356"/>
              <a:ext cx="3663" cy="5292"/>
            </a:xfrm>
            <a:custGeom>
              <a:avLst/>
              <a:gdLst>
                <a:gd name="T0" fmla="*/ 6 w 6"/>
                <a:gd name="T1" fmla="*/ 2 h 7"/>
                <a:gd name="T2" fmla="*/ 5 w 6"/>
                <a:gd name="T3" fmla="*/ 2 h 7"/>
                <a:gd name="T4" fmla="*/ 3 w 6"/>
                <a:gd name="T5" fmla="*/ 0 h 7"/>
                <a:gd name="T6" fmla="*/ 3 w 6"/>
                <a:gd name="T7" fmla="*/ 0 h 7"/>
                <a:gd name="T8" fmla="*/ 0 w 6"/>
                <a:gd name="T9" fmla="*/ 2 h 7"/>
                <a:gd name="T10" fmla="*/ 0 w 6"/>
                <a:gd name="T11" fmla="*/ 3 h 7"/>
                <a:gd name="T12" fmla="*/ 0 w 6"/>
                <a:gd name="T13" fmla="*/ 4 h 7"/>
                <a:gd name="T14" fmla="*/ 2 w 6"/>
                <a:gd name="T15" fmla="*/ 7 h 7"/>
                <a:gd name="T16" fmla="*/ 5 w 6"/>
                <a:gd name="T17" fmla="*/ 7 h 7"/>
                <a:gd name="T18" fmla="*/ 5 w 6"/>
                <a:gd name="T19" fmla="*/ 6 h 7"/>
                <a:gd name="T20" fmla="*/ 6 w 6"/>
                <a:gd name="T21" fmla="*/ 3 h 7"/>
                <a:gd name="T22" fmla="*/ 6 w 6"/>
                <a:gd name="T23" fmla="*/ 3 h 7"/>
                <a:gd name="T24" fmla="*/ 6 w 6"/>
                <a:gd name="T25" fmla="*/ 2 h 7"/>
                <a:gd name="T26" fmla="*/ 6 w 6"/>
                <a:gd name="T2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7">
                  <a:moveTo>
                    <a:pt x="6" y="2"/>
                  </a:moveTo>
                  <a:lnTo>
                    <a:pt x="5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4"/>
                  </a:lnTo>
                  <a:lnTo>
                    <a:pt x="2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90" name="Freeform 338"/>
            <p:cNvSpPr>
              <a:spLocks/>
            </p:cNvSpPr>
            <p:nvPr/>
          </p:nvSpPr>
          <p:spPr bwMode="auto">
            <a:xfrm>
              <a:off x="4924902" y="2032783"/>
              <a:ext cx="2442" cy="3969"/>
            </a:xfrm>
            <a:custGeom>
              <a:avLst/>
              <a:gdLst>
                <a:gd name="T0" fmla="*/ 4 w 4"/>
                <a:gd name="T1" fmla="*/ 1 h 6"/>
                <a:gd name="T2" fmla="*/ 3 w 4"/>
                <a:gd name="T3" fmla="*/ 0 h 6"/>
                <a:gd name="T4" fmla="*/ 1 w 4"/>
                <a:gd name="T5" fmla="*/ 0 h 6"/>
                <a:gd name="T6" fmla="*/ 0 w 4"/>
                <a:gd name="T7" fmla="*/ 0 h 6"/>
                <a:gd name="T8" fmla="*/ 0 w 4"/>
                <a:gd name="T9" fmla="*/ 1 h 6"/>
                <a:gd name="T10" fmla="*/ 0 w 4"/>
                <a:gd name="T11" fmla="*/ 3 h 6"/>
                <a:gd name="T12" fmla="*/ 1 w 4"/>
                <a:gd name="T13" fmla="*/ 4 h 6"/>
                <a:gd name="T14" fmla="*/ 3 w 4"/>
                <a:gd name="T15" fmla="*/ 6 h 6"/>
                <a:gd name="T16" fmla="*/ 3 w 4"/>
                <a:gd name="T17" fmla="*/ 4 h 6"/>
                <a:gd name="T18" fmla="*/ 4 w 4"/>
                <a:gd name="T19" fmla="*/ 3 h 6"/>
                <a:gd name="T20" fmla="*/ 4 w 4"/>
                <a:gd name="T21" fmla="*/ 1 h 6"/>
                <a:gd name="T22" fmla="*/ 4 w 4"/>
                <a:gd name="T23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6">
                  <a:moveTo>
                    <a:pt x="4" y="1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1" y="4"/>
                  </a:lnTo>
                  <a:lnTo>
                    <a:pt x="3" y="6"/>
                  </a:lnTo>
                  <a:lnTo>
                    <a:pt x="3" y="4"/>
                  </a:lnTo>
                  <a:lnTo>
                    <a:pt x="4" y="3"/>
                  </a:ln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91" name="Freeform 339"/>
            <p:cNvSpPr>
              <a:spLocks/>
            </p:cNvSpPr>
            <p:nvPr/>
          </p:nvSpPr>
          <p:spPr bwMode="auto">
            <a:xfrm>
              <a:off x="4906585" y="1998387"/>
              <a:ext cx="19538" cy="46302"/>
            </a:xfrm>
            <a:custGeom>
              <a:avLst/>
              <a:gdLst>
                <a:gd name="T0" fmla="*/ 8 w 31"/>
                <a:gd name="T1" fmla="*/ 45 h 71"/>
                <a:gd name="T2" fmla="*/ 7 w 31"/>
                <a:gd name="T3" fmla="*/ 40 h 71"/>
                <a:gd name="T4" fmla="*/ 5 w 31"/>
                <a:gd name="T5" fmla="*/ 38 h 71"/>
                <a:gd name="T6" fmla="*/ 5 w 31"/>
                <a:gd name="T7" fmla="*/ 35 h 71"/>
                <a:gd name="T8" fmla="*/ 10 w 31"/>
                <a:gd name="T9" fmla="*/ 28 h 71"/>
                <a:gd name="T10" fmla="*/ 8 w 31"/>
                <a:gd name="T11" fmla="*/ 22 h 71"/>
                <a:gd name="T12" fmla="*/ 4 w 31"/>
                <a:gd name="T13" fmla="*/ 15 h 71"/>
                <a:gd name="T14" fmla="*/ 4 w 31"/>
                <a:gd name="T15" fmla="*/ 10 h 71"/>
                <a:gd name="T16" fmla="*/ 0 w 31"/>
                <a:gd name="T17" fmla="*/ 6 h 71"/>
                <a:gd name="T18" fmla="*/ 4 w 31"/>
                <a:gd name="T19" fmla="*/ 0 h 71"/>
                <a:gd name="T20" fmla="*/ 5 w 31"/>
                <a:gd name="T21" fmla="*/ 2 h 71"/>
                <a:gd name="T22" fmla="*/ 12 w 31"/>
                <a:gd name="T23" fmla="*/ 8 h 71"/>
                <a:gd name="T24" fmla="*/ 18 w 31"/>
                <a:gd name="T25" fmla="*/ 12 h 71"/>
                <a:gd name="T26" fmla="*/ 18 w 31"/>
                <a:gd name="T27" fmla="*/ 18 h 71"/>
                <a:gd name="T28" fmla="*/ 17 w 31"/>
                <a:gd name="T29" fmla="*/ 23 h 71"/>
                <a:gd name="T30" fmla="*/ 21 w 31"/>
                <a:gd name="T31" fmla="*/ 25 h 71"/>
                <a:gd name="T32" fmla="*/ 24 w 31"/>
                <a:gd name="T33" fmla="*/ 26 h 71"/>
                <a:gd name="T34" fmla="*/ 23 w 31"/>
                <a:gd name="T35" fmla="*/ 30 h 71"/>
                <a:gd name="T36" fmla="*/ 25 w 31"/>
                <a:gd name="T37" fmla="*/ 35 h 71"/>
                <a:gd name="T38" fmla="*/ 28 w 31"/>
                <a:gd name="T39" fmla="*/ 36 h 71"/>
                <a:gd name="T40" fmla="*/ 27 w 31"/>
                <a:gd name="T41" fmla="*/ 39 h 71"/>
                <a:gd name="T42" fmla="*/ 25 w 31"/>
                <a:gd name="T43" fmla="*/ 42 h 71"/>
                <a:gd name="T44" fmla="*/ 25 w 31"/>
                <a:gd name="T45" fmla="*/ 52 h 71"/>
                <a:gd name="T46" fmla="*/ 27 w 31"/>
                <a:gd name="T47" fmla="*/ 58 h 71"/>
                <a:gd name="T48" fmla="*/ 28 w 31"/>
                <a:gd name="T49" fmla="*/ 59 h 71"/>
                <a:gd name="T50" fmla="*/ 31 w 31"/>
                <a:gd name="T51" fmla="*/ 60 h 71"/>
                <a:gd name="T52" fmla="*/ 31 w 31"/>
                <a:gd name="T53" fmla="*/ 63 h 71"/>
                <a:gd name="T54" fmla="*/ 28 w 31"/>
                <a:gd name="T55" fmla="*/ 68 h 71"/>
                <a:gd name="T56" fmla="*/ 21 w 31"/>
                <a:gd name="T57" fmla="*/ 66 h 71"/>
                <a:gd name="T58" fmla="*/ 15 w 31"/>
                <a:gd name="T59" fmla="*/ 71 h 71"/>
                <a:gd name="T60" fmla="*/ 11 w 31"/>
                <a:gd name="T61" fmla="*/ 71 h 71"/>
                <a:gd name="T62" fmla="*/ 4 w 31"/>
                <a:gd name="T63" fmla="*/ 62 h 71"/>
                <a:gd name="T64" fmla="*/ 4 w 31"/>
                <a:gd name="T65" fmla="*/ 56 h 71"/>
                <a:gd name="T66" fmla="*/ 7 w 31"/>
                <a:gd name="T67" fmla="*/ 48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1" h="71">
                  <a:moveTo>
                    <a:pt x="7" y="48"/>
                  </a:moveTo>
                  <a:lnTo>
                    <a:pt x="8" y="45"/>
                  </a:lnTo>
                  <a:lnTo>
                    <a:pt x="8" y="43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5" y="38"/>
                  </a:lnTo>
                  <a:lnTo>
                    <a:pt x="5" y="36"/>
                  </a:lnTo>
                  <a:lnTo>
                    <a:pt x="5" y="35"/>
                  </a:lnTo>
                  <a:lnTo>
                    <a:pt x="8" y="30"/>
                  </a:lnTo>
                  <a:lnTo>
                    <a:pt x="10" y="28"/>
                  </a:lnTo>
                  <a:lnTo>
                    <a:pt x="10" y="25"/>
                  </a:lnTo>
                  <a:lnTo>
                    <a:pt x="8" y="22"/>
                  </a:lnTo>
                  <a:lnTo>
                    <a:pt x="5" y="18"/>
                  </a:lnTo>
                  <a:lnTo>
                    <a:pt x="4" y="15"/>
                  </a:lnTo>
                  <a:lnTo>
                    <a:pt x="4" y="13"/>
                  </a:lnTo>
                  <a:lnTo>
                    <a:pt x="4" y="10"/>
                  </a:lnTo>
                  <a:lnTo>
                    <a:pt x="1" y="9"/>
                  </a:lnTo>
                  <a:lnTo>
                    <a:pt x="0" y="6"/>
                  </a:lnTo>
                  <a:lnTo>
                    <a:pt x="1" y="3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8" y="6"/>
                  </a:lnTo>
                  <a:lnTo>
                    <a:pt x="12" y="8"/>
                  </a:lnTo>
                  <a:lnTo>
                    <a:pt x="15" y="9"/>
                  </a:lnTo>
                  <a:lnTo>
                    <a:pt x="18" y="12"/>
                  </a:lnTo>
                  <a:lnTo>
                    <a:pt x="18" y="15"/>
                  </a:lnTo>
                  <a:lnTo>
                    <a:pt x="18" y="18"/>
                  </a:lnTo>
                  <a:lnTo>
                    <a:pt x="17" y="20"/>
                  </a:lnTo>
                  <a:lnTo>
                    <a:pt x="17" y="23"/>
                  </a:lnTo>
                  <a:lnTo>
                    <a:pt x="18" y="25"/>
                  </a:lnTo>
                  <a:lnTo>
                    <a:pt x="21" y="25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8"/>
                  </a:lnTo>
                  <a:lnTo>
                    <a:pt x="23" y="30"/>
                  </a:lnTo>
                  <a:lnTo>
                    <a:pt x="23" y="33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8" y="36"/>
                  </a:lnTo>
                  <a:lnTo>
                    <a:pt x="28" y="38"/>
                  </a:lnTo>
                  <a:lnTo>
                    <a:pt x="27" y="39"/>
                  </a:lnTo>
                  <a:lnTo>
                    <a:pt x="25" y="40"/>
                  </a:lnTo>
                  <a:lnTo>
                    <a:pt x="25" y="42"/>
                  </a:lnTo>
                  <a:lnTo>
                    <a:pt x="27" y="45"/>
                  </a:lnTo>
                  <a:lnTo>
                    <a:pt x="25" y="52"/>
                  </a:lnTo>
                  <a:lnTo>
                    <a:pt x="27" y="55"/>
                  </a:lnTo>
                  <a:lnTo>
                    <a:pt x="27" y="58"/>
                  </a:lnTo>
                  <a:lnTo>
                    <a:pt x="27" y="59"/>
                  </a:lnTo>
                  <a:lnTo>
                    <a:pt x="28" y="59"/>
                  </a:lnTo>
                  <a:lnTo>
                    <a:pt x="30" y="60"/>
                  </a:lnTo>
                  <a:lnTo>
                    <a:pt x="31" y="60"/>
                  </a:lnTo>
                  <a:lnTo>
                    <a:pt x="31" y="62"/>
                  </a:lnTo>
                  <a:lnTo>
                    <a:pt x="31" y="63"/>
                  </a:lnTo>
                  <a:lnTo>
                    <a:pt x="30" y="66"/>
                  </a:lnTo>
                  <a:lnTo>
                    <a:pt x="28" y="68"/>
                  </a:lnTo>
                  <a:lnTo>
                    <a:pt x="25" y="68"/>
                  </a:lnTo>
                  <a:lnTo>
                    <a:pt x="21" y="66"/>
                  </a:lnTo>
                  <a:lnTo>
                    <a:pt x="18" y="68"/>
                  </a:lnTo>
                  <a:lnTo>
                    <a:pt x="15" y="71"/>
                  </a:lnTo>
                  <a:lnTo>
                    <a:pt x="12" y="71"/>
                  </a:lnTo>
                  <a:lnTo>
                    <a:pt x="11" y="71"/>
                  </a:lnTo>
                  <a:lnTo>
                    <a:pt x="8" y="66"/>
                  </a:lnTo>
                  <a:lnTo>
                    <a:pt x="4" y="62"/>
                  </a:lnTo>
                  <a:lnTo>
                    <a:pt x="4" y="59"/>
                  </a:lnTo>
                  <a:lnTo>
                    <a:pt x="4" y="56"/>
                  </a:lnTo>
                  <a:lnTo>
                    <a:pt x="5" y="52"/>
                  </a:lnTo>
                  <a:lnTo>
                    <a:pt x="7" y="48"/>
                  </a:lnTo>
                  <a:lnTo>
                    <a:pt x="7" y="4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92" name="Freeform 340"/>
            <p:cNvSpPr>
              <a:spLocks/>
            </p:cNvSpPr>
            <p:nvPr/>
          </p:nvSpPr>
          <p:spPr bwMode="auto">
            <a:xfrm>
              <a:off x="4869950" y="2028814"/>
              <a:ext cx="23202" cy="25135"/>
            </a:xfrm>
            <a:custGeom>
              <a:avLst/>
              <a:gdLst>
                <a:gd name="T0" fmla="*/ 39 w 39"/>
                <a:gd name="T1" fmla="*/ 19 h 37"/>
                <a:gd name="T2" fmla="*/ 39 w 39"/>
                <a:gd name="T3" fmla="*/ 14 h 37"/>
                <a:gd name="T4" fmla="*/ 37 w 39"/>
                <a:gd name="T5" fmla="*/ 10 h 37"/>
                <a:gd name="T6" fmla="*/ 36 w 39"/>
                <a:gd name="T7" fmla="*/ 7 h 37"/>
                <a:gd name="T8" fmla="*/ 33 w 39"/>
                <a:gd name="T9" fmla="*/ 7 h 37"/>
                <a:gd name="T10" fmla="*/ 30 w 39"/>
                <a:gd name="T11" fmla="*/ 6 h 37"/>
                <a:gd name="T12" fmla="*/ 27 w 39"/>
                <a:gd name="T13" fmla="*/ 3 h 37"/>
                <a:gd name="T14" fmla="*/ 24 w 39"/>
                <a:gd name="T15" fmla="*/ 2 h 37"/>
                <a:gd name="T16" fmla="*/ 20 w 39"/>
                <a:gd name="T17" fmla="*/ 2 h 37"/>
                <a:gd name="T18" fmla="*/ 19 w 39"/>
                <a:gd name="T19" fmla="*/ 2 h 37"/>
                <a:gd name="T20" fmla="*/ 17 w 39"/>
                <a:gd name="T21" fmla="*/ 3 h 37"/>
                <a:gd name="T22" fmla="*/ 14 w 39"/>
                <a:gd name="T23" fmla="*/ 3 h 37"/>
                <a:gd name="T24" fmla="*/ 13 w 39"/>
                <a:gd name="T25" fmla="*/ 2 h 37"/>
                <a:gd name="T26" fmla="*/ 11 w 39"/>
                <a:gd name="T27" fmla="*/ 0 h 37"/>
                <a:gd name="T28" fmla="*/ 9 w 39"/>
                <a:gd name="T29" fmla="*/ 0 h 37"/>
                <a:gd name="T30" fmla="*/ 6 w 39"/>
                <a:gd name="T31" fmla="*/ 0 h 37"/>
                <a:gd name="T32" fmla="*/ 4 w 39"/>
                <a:gd name="T33" fmla="*/ 2 h 37"/>
                <a:gd name="T34" fmla="*/ 4 w 39"/>
                <a:gd name="T35" fmla="*/ 3 h 37"/>
                <a:gd name="T36" fmla="*/ 4 w 39"/>
                <a:gd name="T37" fmla="*/ 3 h 37"/>
                <a:gd name="T38" fmla="*/ 7 w 39"/>
                <a:gd name="T39" fmla="*/ 4 h 37"/>
                <a:gd name="T40" fmla="*/ 10 w 39"/>
                <a:gd name="T41" fmla="*/ 6 h 37"/>
                <a:gd name="T42" fmla="*/ 10 w 39"/>
                <a:gd name="T43" fmla="*/ 7 h 37"/>
                <a:gd name="T44" fmla="*/ 10 w 39"/>
                <a:gd name="T45" fmla="*/ 9 h 37"/>
                <a:gd name="T46" fmla="*/ 7 w 39"/>
                <a:gd name="T47" fmla="*/ 12 h 37"/>
                <a:gd name="T48" fmla="*/ 1 w 39"/>
                <a:gd name="T49" fmla="*/ 12 h 37"/>
                <a:gd name="T50" fmla="*/ 0 w 39"/>
                <a:gd name="T51" fmla="*/ 13 h 37"/>
                <a:gd name="T52" fmla="*/ 0 w 39"/>
                <a:gd name="T53" fmla="*/ 14 h 37"/>
                <a:gd name="T54" fmla="*/ 3 w 39"/>
                <a:gd name="T55" fmla="*/ 17 h 37"/>
                <a:gd name="T56" fmla="*/ 4 w 39"/>
                <a:gd name="T57" fmla="*/ 20 h 37"/>
                <a:gd name="T58" fmla="*/ 9 w 39"/>
                <a:gd name="T59" fmla="*/ 25 h 37"/>
                <a:gd name="T60" fmla="*/ 10 w 39"/>
                <a:gd name="T61" fmla="*/ 26 h 37"/>
                <a:gd name="T62" fmla="*/ 11 w 39"/>
                <a:gd name="T63" fmla="*/ 26 h 37"/>
                <a:gd name="T64" fmla="*/ 14 w 39"/>
                <a:gd name="T65" fmla="*/ 26 h 37"/>
                <a:gd name="T66" fmla="*/ 14 w 39"/>
                <a:gd name="T67" fmla="*/ 25 h 37"/>
                <a:gd name="T68" fmla="*/ 17 w 39"/>
                <a:gd name="T69" fmla="*/ 25 h 37"/>
                <a:gd name="T70" fmla="*/ 17 w 39"/>
                <a:gd name="T71" fmla="*/ 26 h 37"/>
                <a:gd name="T72" fmla="*/ 17 w 39"/>
                <a:gd name="T73" fmla="*/ 27 h 37"/>
                <a:gd name="T74" fmla="*/ 14 w 39"/>
                <a:gd name="T75" fmla="*/ 29 h 37"/>
                <a:gd name="T76" fmla="*/ 14 w 39"/>
                <a:gd name="T77" fmla="*/ 32 h 37"/>
                <a:gd name="T78" fmla="*/ 16 w 39"/>
                <a:gd name="T79" fmla="*/ 35 h 37"/>
                <a:gd name="T80" fmla="*/ 19 w 39"/>
                <a:gd name="T81" fmla="*/ 36 h 37"/>
                <a:gd name="T82" fmla="*/ 20 w 39"/>
                <a:gd name="T83" fmla="*/ 36 h 37"/>
                <a:gd name="T84" fmla="*/ 21 w 39"/>
                <a:gd name="T85" fmla="*/ 35 h 37"/>
                <a:gd name="T86" fmla="*/ 23 w 39"/>
                <a:gd name="T87" fmla="*/ 35 h 37"/>
                <a:gd name="T88" fmla="*/ 27 w 39"/>
                <a:gd name="T89" fmla="*/ 37 h 37"/>
                <a:gd name="T90" fmla="*/ 29 w 39"/>
                <a:gd name="T91" fmla="*/ 37 h 37"/>
                <a:gd name="T92" fmla="*/ 32 w 39"/>
                <a:gd name="T93" fmla="*/ 37 h 37"/>
                <a:gd name="T94" fmla="*/ 34 w 39"/>
                <a:gd name="T95" fmla="*/ 35 h 37"/>
                <a:gd name="T96" fmla="*/ 37 w 39"/>
                <a:gd name="T97" fmla="*/ 32 h 37"/>
                <a:gd name="T98" fmla="*/ 39 w 39"/>
                <a:gd name="T99" fmla="*/ 27 h 37"/>
                <a:gd name="T100" fmla="*/ 39 w 39"/>
                <a:gd name="T101" fmla="*/ 25 h 37"/>
                <a:gd name="T102" fmla="*/ 39 w 39"/>
                <a:gd name="T103" fmla="*/ 19 h 37"/>
                <a:gd name="T104" fmla="*/ 39 w 39"/>
                <a:gd name="T10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9" h="37">
                  <a:moveTo>
                    <a:pt x="39" y="19"/>
                  </a:moveTo>
                  <a:lnTo>
                    <a:pt x="39" y="14"/>
                  </a:lnTo>
                  <a:lnTo>
                    <a:pt x="37" y="10"/>
                  </a:lnTo>
                  <a:lnTo>
                    <a:pt x="36" y="7"/>
                  </a:lnTo>
                  <a:lnTo>
                    <a:pt x="33" y="7"/>
                  </a:lnTo>
                  <a:lnTo>
                    <a:pt x="30" y="6"/>
                  </a:lnTo>
                  <a:lnTo>
                    <a:pt x="27" y="3"/>
                  </a:lnTo>
                  <a:lnTo>
                    <a:pt x="24" y="2"/>
                  </a:lnTo>
                  <a:lnTo>
                    <a:pt x="20" y="2"/>
                  </a:lnTo>
                  <a:lnTo>
                    <a:pt x="19" y="2"/>
                  </a:lnTo>
                  <a:lnTo>
                    <a:pt x="17" y="3"/>
                  </a:lnTo>
                  <a:lnTo>
                    <a:pt x="14" y="3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7" y="4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0" y="9"/>
                  </a:lnTo>
                  <a:lnTo>
                    <a:pt x="7" y="12"/>
                  </a:lnTo>
                  <a:lnTo>
                    <a:pt x="1" y="12"/>
                  </a:lnTo>
                  <a:lnTo>
                    <a:pt x="0" y="13"/>
                  </a:lnTo>
                  <a:lnTo>
                    <a:pt x="0" y="14"/>
                  </a:lnTo>
                  <a:lnTo>
                    <a:pt x="3" y="17"/>
                  </a:lnTo>
                  <a:lnTo>
                    <a:pt x="4" y="20"/>
                  </a:lnTo>
                  <a:lnTo>
                    <a:pt x="9" y="25"/>
                  </a:lnTo>
                  <a:lnTo>
                    <a:pt x="10" y="26"/>
                  </a:lnTo>
                  <a:lnTo>
                    <a:pt x="11" y="26"/>
                  </a:lnTo>
                  <a:lnTo>
                    <a:pt x="14" y="26"/>
                  </a:lnTo>
                  <a:lnTo>
                    <a:pt x="14" y="25"/>
                  </a:lnTo>
                  <a:lnTo>
                    <a:pt x="17" y="25"/>
                  </a:lnTo>
                  <a:lnTo>
                    <a:pt x="17" y="26"/>
                  </a:lnTo>
                  <a:lnTo>
                    <a:pt x="17" y="27"/>
                  </a:lnTo>
                  <a:lnTo>
                    <a:pt x="14" y="29"/>
                  </a:lnTo>
                  <a:lnTo>
                    <a:pt x="14" y="32"/>
                  </a:lnTo>
                  <a:lnTo>
                    <a:pt x="16" y="35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1" y="35"/>
                  </a:lnTo>
                  <a:lnTo>
                    <a:pt x="23" y="35"/>
                  </a:lnTo>
                  <a:lnTo>
                    <a:pt x="27" y="37"/>
                  </a:lnTo>
                  <a:lnTo>
                    <a:pt x="29" y="37"/>
                  </a:lnTo>
                  <a:lnTo>
                    <a:pt x="32" y="37"/>
                  </a:lnTo>
                  <a:lnTo>
                    <a:pt x="34" y="35"/>
                  </a:lnTo>
                  <a:lnTo>
                    <a:pt x="37" y="32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9" y="19"/>
                  </a:lnTo>
                  <a:lnTo>
                    <a:pt x="39" y="1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93" name="Freeform 341"/>
            <p:cNvSpPr>
              <a:spLocks/>
            </p:cNvSpPr>
            <p:nvPr/>
          </p:nvSpPr>
          <p:spPr bwMode="auto">
            <a:xfrm>
              <a:off x="4872393" y="2060564"/>
              <a:ext cx="4885" cy="5292"/>
            </a:xfrm>
            <a:custGeom>
              <a:avLst/>
              <a:gdLst>
                <a:gd name="T0" fmla="*/ 9 w 9"/>
                <a:gd name="T1" fmla="*/ 3 h 7"/>
                <a:gd name="T2" fmla="*/ 7 w 9"/>
                <a:gd name="T3" fmla="*/ 1 h 7"/>
                <a:gd name="T4" fmla="*/ 5 w 9"/>
                <a:gd name="T5" fmla="*/ 0 h 7"/>
                <a:gd name="T6" fmla="*/ 2 w 9"/>
                <a:gd name="T7" fmla="*/ 0 h 7"/>
                <a:gd name="T8" fmla="*/ 0 w 9"/>
                <a:gd name="T9" fmla="*/ 1 h 7"/>
                <a:gd name="T10" fmla="*/ 0 w 9"/>
                <a:gd name="T11" fmla="*/ 3 h 7"/>
                <a:gd name="T12" fmla="*/ 0 w 9"/>
                <a:gd name="T13" fmla="*/ 4 h 7"/>
                <a:gd name="T14" fmla="*/ 3 w 9"/>
                <a:gd name="T15" fmla="*/ 4 h 7"/>
                <a:gd name="T16" fmla="*/ 5 w 9"/>
                <a:gd name="T17" fmla="*/ 6 h 7"/>
                <a:gd name="T18" fmla="*/ 5 w 9"/>
                <a:gd name="T19" fmla="*/ 7 h 7"/>
                <a:gd name="T20" fmla="*/ 6 w 9"/>
                <a:gd name="T21" fmla="*/ 7 h 7"/>
                <a:gd name="T22" fmla="*/ 7 w 9"/>
                <a:gd name="T23" fmla="*/ 6 h 7"/>
                <a:gd name="T24" fmla="*/ 7 w 9"/>
                <a:gd name="T25" fmla="*/ 4 h 7"/>
                <a:gd name="T26" fmla="*/ 9 w 9"/>
                <a:gd name="T27" fmla="*/ 3 h 7"/>
                <a:gd name="T28" fmla="*/ 9 w 9"/>
                <a:gd name="T2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" h="7">
                  <a:moveTo>
                    <a:pt x="9" y="3"/>
                  </a:moveTo>
                  <a:lnTo>
                    <a:pt x="7" y="1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3" y="4"/>
                  </a:lnTo>
                  <a:lnTo>
                    <a:pt x="5" y="6"/>
                  </a:lnTo>
                  <a:lnTo>
                    <a:pt x="5" y="7"/>
                  </a:lnTo>
                  <a:lnTo>
                    <a:pt x="6" y="7"/>
                  </a:lnTo>
                  <a:lnTo>
                    <a:pt x="7" y="6"/>
                  </a:lnTo>
                  <a:lnTo>
                    <a:pt x="7" y="4"/>
                  </a:lnTo>
                  <a:lnTo>
                    <a:pt x="9" y="3"/>
                  </a:lnTo>
                  <a:lnTo>
                    <a:pt x="9" y="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94" name="Freeform 342"/>
            <p:cNvSpPr>
              <a:spLocks/>
            </p:cNvSpPr>
            <p:nvPr/>
          </p:nvSpPr>
          <p:spPr bwMode="auto">
            <a:xfrm>
              <a:off x="4902921" y="2130678"/>
              <a:ext cx="4885" cy="9260"/>
            </a:xfrm>
            <a:custGeom>
              <a:avLst/>
              <a:gdLst>
                <a:gd name="T0" fmla="*/ 7 w 7"/>
                <a:gd name="T1" fmla="*/ 6 h 13"/>
                <a:gd name="T2" fmla="*/ 7 w 7"/>
                <a:gd name="T3" fmla="*/ 3 h 13"/>
                <a:gd name="T4" fmla="*/ 6 w 7"/>
                <a:gd name="T5" fmla="*/ 1 h 13"/>
                <a:gd name="T6" fmla="*/ 3 w 7"/>
                <a:gd name="T7" fmla="*/ 0 h 13"/>
                <a:gd name="T8" fmla="*/ 1 w 7"/>
                <a:gd name="T9" fmla="*/ 0 h 13"/>
                <a:gd name="T10" fmla="*/ 0 w 7"/>
                <a:gd name="T11" fmla="*/ 0 h 13"/>
                <a:gd name="T12" fmla="*/ 0 w 7"/>
                <a:gd name="T13" fmla="*/ 1 h 13"/>
                <a:gd name="T14" fmla="*/ 0 w 7"/>
                <a:gd name="T15" fmla="*/ 6 h 13"/>
                <a:gd name="T16" fmla="*/ 3 w 7"/>
                <a:gd name="T17" fmla="*/ 8 h 13"/>
                <a:gd name="T18" fmla="*/ 3 w 7"/>
                <a:gd name="T19" fmla="*/ 11 h 13"/>
                <a:gd name="T20" fmla="*/ 4 w 7"/>
                <a:gd name="T21" fmla="*/ 13 h 13"/>
                <a:gd name="T22" fmla="*/ 6 w 7"/>
                <a:gd name="T23" fmla="*/ 13 h 13"/>
                <a:gd name="T24" fmla="*/ 7 w 7"/>
                <a:gd name="T25" fmla="*/ 11 h 13"/>
                <a:gd name="T26" fmla="*/ 7 w 7"/>
                <a:gd name="T27" fmla="*/ 10 h 13"/>
                <a:gd name="T28" fmla="*/ 7 w 7"/>
                <a:gd name="T29" fmla="*/ 6 h 13"/>
                <a:gd name="T30" fmla="*/ 7 w 7"/>
                <a:gd name="T3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13">
                  <a:moveTo>
                    <a:pt x="7" y="6"/>
                  </a:moveTo>
                  <a:lnTo>
                    <a:pt x="7" y="3"/>
                  </a:lnTo>
                  <a:lnTo>
                    <a:pt x="6" y="1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6"/>
                  </a:lnTo>
                  <a:lnTo>
                    <a:pt x="3" y="8"/>
                  </a:lnTo>
                  <a:lnTo>
                    <a:pt x="3" y="11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7" y="6"/>
                  </a:lnTo>
                  <a:lnTo>
                    <a:pt x="7" y="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95" name="Freeform 343"/>
            <p:cNvSpPr>
              <a:spLocks/>
            </p:cNvSpPr>
            <p:nvPr/>
          </p:nvSpPr>
          <p:spPr bwMode="auto">
            <a:xfrm>
              <a:off x="4860181" y="1999710"/>
              <a:ext cx="25644" cy="25135"/>
            </a:xfrm>
            <a:custGeom>
              <a:avLst/>
              <a:gdLst>
                <a:gd name="T0" fmla="*/ 0 w 41"/>
                <a:gd name="T1" fmla="*/ 3 h 38"/>
                <a:gd name="T2" fmla="*/ 0 w 41"/>
                <a:gd name="T3" fmla="*/ 7 h 38"/>
                <a:gd name="T4" fmla="*/ 5 w 41"/>
                <a:gd name="T5" fmla="*/ 11 h 38"/>
                <a:gd name="T6" fmla="*/ 11 w 41"/>
                <a:gd name="T7" fmla="*/ 16 h 38"/>
                <a:gd name="T8" fmla="*/ 11 w 41"/>
                <a:gd name="T9" fmla="*/ 20 h 38"/>
                <a:gd name="T10" fmla="*/ 8 w 41"/>
                <a:gd name="T11" fmla="*/ 24 h 38"/>
                <a:gd name="T12" fmla="*/ 10 w 41"/>
                <a:gd name="T13" fmla="*/ 28 h 38"/>
                <a:gd name="T14" fmla="*/ 10 w 41"/>
                <a:gd name="T15" fmla="*/ 33 h 38"/>
                <a:gd name="T16" fmla="*/ 14 w 41"/>
                <a:gd name="T17" fmla="*/ 33 h 38"/>
                <a:gd name="T18" fmla="*/ 18 w 41"/>
                <a:gd name="T19" fmla="*/ 33 h 38"/>
                <a:gd name="T20" fmla="*/ 21 w 41"/>
                <a:gd name="T21" fmla="*/ 34 h 38"/>
                <a:gd name="T22" fmla="*/ 30 w 41"/>
                <a:gd name="T23" fmla="*/ 37 h 38"/>
                <a:gd name="T24" fmla="*/ 34 w 41"/>
                <a:gd name="T25" fmla="*/ 38 h 38"/>
                <a:gd name="T26" fmla="*/ 40 w 41"/>
                <a:gd name="T27" fmla="*/ 38 h 38"/>
                <a:gd name="T28" fmla="*/ 41 w 41"/>
                <a:gd name="T29" fmla="*/ 36 h 38"/>
                <a:gd name="T30" fmla="*/ 38 w 41"/>
                <a:gd name="T31" fmla="*/ 31 h 38"/>
                <a:gd name="T32" fmla="*/ 37 w 41"/>
                <a:gd name="T33" fmla="*/ 24 h 38"/>
                <a:gd name="T34" fmla="*/ 34 w 41"/>
                <a:gd name="T35" fmla="*/ 20 h 38"/>
                <a:gd name="T36" fmla="*/ 35 w 41"/>
                <a:gd name="T37" fmla="*/ 17 h 38"/>
                <a:gd name="T38" fmla="*/ 35 w 41"/>
                <a:gd name="T39" fmla="*/ 13 h 38"/>
                <a:gd name="T40" fmla="*/ 34 w 41"/>
                <a:gd name="T41" fmla="*/ 8 h 38"/>
                <a:gd name="T42" fmla="*/ 30 w 41"/>
                <a:gd name="T43" fmla="*/ 7 h 38"/>
                <a:gd name="T44" fmla="*/ 25 w 41"/>
                <a:gd name="T45" fmla="*/ 11 h 38"/>
                <a:gd name="T46" fmla="*/ 24 w 41"/>
                <a:gd name="T47" fmla="*/ 10 h 38"/>
                <a:gd name="T48" fmla="*/ 27 w 41"/>
                <a:gd name="T49" fmla="*/ 6 h 38"/>
                <a:gd name="T50" fmla="*/ 21 w 41"/>
                <a:gd name="T51" fmla="*/ 4 h 38"/>
                <a:gd name="T52" fmla="*/ 17 w 41"/>
                <a:gd name="T53" fmla="*/ 4 h 38"/>
                <a:gd name="T54" fmla="*/ 15 w 41"/>
                <a:gd name="T55" fmla="*/ 0 h 38"/>
                <a:gd name="T56" fmla="*/ 14 w 41"/>
                <a:gd name="T57" fmla="*/ 0 h 38"/>
                <a:gd name="T58" fmla="*/ 10 w 41"/>
                <a:gd name="T59" fmla="*/ 1 h 38"/>
                <a:gd name="T60" fmla="*/ 5 w 41"/>
                <a:gd name="T61" fmla="*/ 0 h 38"/>
                <a:gd name="T62" fmla="*/ 1 w 41"/>
                <a:gd name="T63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38">
                  <a:moveTo>
                    <a:pt x="1" y="1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10"/>
                  </a:lnTo>
                  <a:lnTo>
                    <a:pt x="5" y="11"/>
                  </a:lnTo>
                  <a:lnTo>
                    <a:pt x="10" y="14"/>
                  </a:lnTo>
                  <a:lnTo>
                    <a:pt x="11" y="16"/>
                  </a:lnTo>
                  <a:lnTo>
                    <a:pt x="11" y="17"/>
                  </a:lnTo>
                  <a:lnTo>
                    <a:pt x="11" y="20"/>
                  </a:lnTo>
                  <a:lnTo>
                    <a:pt x="10" y="21"/>
                  </a:lnTo>
                  <a:lnTo>
                    <a:pt x="8" y="24"/>
                  </a:lnTo>
                  <a:lnTo>
                    <a:pt x="7" y="26"/>
                  </a:lnTo>
                  <a:lnTo>
                    <a:pt x="10" y="28"/>
                  </a:lnTo>
                  <a:lnTo>
                    <a:pt x="10" y="31"/>
                  </a:lnTo>
                  <a:lnTo>
                    <a:pt x="10" y="33"/>
                  </a:lnTo>
                  <a:lnTo>
                    <a:pt x="13" y="33"/>
                  </a:lnTo>
                  <a:lnTo>
                    <a:pt x="14" y="33"/>
                  </a:lnTo>
                  <a:lnTo>
                    <a:pt x="15" y="33"/>
                  </a:lnTo>
                  <a:lnTo>
                    <a:pt x="18" y="33"/>
                  </a:lnTo>
                  <a:lnTo>
                    <a:pt x="20" y="33"/>
                  </a:lnTo>
                  <a:lnTo>
                    <a:pt x="21" y="34"/>
                  </a:lnTo>
                  <a:lnTo>
                    <a:pt x="25" y="36"/>
                  </a:lnTo>
                  <a:lnTo>
                    <a:pt x="30" y="37"/>
                  </a:lnTo>
                  <a:lnTo>
                    <a:pt x="33" y="38"/>
                  </a:lnTo>
                  <a:lnTo>
                    <a:pt x="34" y="38"/>
                  </a:lnTo>
                  <a:lnTo>
                    <a:pt x="37" y="38"/>
                  </a:lnTo>
                  <a:lnTo>
                    <a:pt x="40" y="38"/>
                  </a:lnTo>
                  <a:lnTo>
                    <a:pt x="41" y="37"/>
                  </a:lnTo>
                  <a:lnTo>
                    <a:pt x="41" y="36"/>
                  </a:lnTo>
                  <a:lnTo>
                    <a:pt x="40" y="34"/>
                  </a:lnTo>
                  <a:lnTo>
                    <a:pt x="38" y="31"/>
                  </a:lnTo>
                  <a:lnTo>
                    <a:pt x="37" y="28"/>
                  </a:lnTo>
                  <a:lnTo>
                    <a:pt x="37" y="24"/>
                  </a:lnTo>
                  <a:lnTo>
                    <a:pt x="35" y="23"/>
                  </a:lnTo>
                  <a:lnTo>
                    <a:pt x="34" y="20"/>
                  </a:lnTo>
                  <a:lnTo>
                    <a:pt x="34" y="18"/>
                  </a:lnTo>
                  <a:lnTo>
                    <a:pt x="35" y="17"/>
                  </a:lnTo>
                  <a:lnTo>
                    <a:pt x="37" y="14"/>
                  </a:lnTo>
                  <a:lnTo>
                    <a:pt x="35" y="13"/>
                  </a:lnTo>
                  <a:lnTo>
                    <a:pt x="34" y="11"/>
                  </a:lnTo>
                  <a:lnTo>
                    <a:pt x="34" y="8"/>
                  </a:lnTo>
                  <a:lnTo>
                    <a:pt x="33" y="7"/>
                  </a:lnTo>
                  <a:lnTo>
                    <a:pt x="30" y="7"/>
                  </a:lnTo>
                  <a:lnTo>
                    <a:pt x="28" y="11"/>
                  </a:lnTo>
                  <a:lnTo>
                    <a:pt x="25" y="11"/>
                  </a:lnTo>
                  <a:lnTo>
                    <a:pt x="23" y="11"/>
                  </a:lnTo>
                  <a:lnTo>
                    <a:pt x="24" y="10"/>
                  </a:lnTo>
                  <a:lnTo>
                    <a:pt x="27" y="8"/>
                  </a:lnTo>
                  <a:lnTo>
                    <a:pt x="27" y="6"/>
                  </a:lnTo>
                  <a:lnTo>
                    <a:pt x="24" y="4"/>
                  </a:lnTo>
                  <a:lnTo>
                    <a:pt x="21" y="4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7" y="1"/>
                  </a:lnTo>
                  <a:lnTo>
                    <a:pt x="15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7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98" name="Freeform 346"/>
            <p:cNvSpPr>
              <a:spLocks/>
            </p:cNvSpPr>
            <p:nvPr/>
          </p:nvSpPr>
          <p:spPr bwMode="auto">
            <a:xfrm>
              <a:off x="4922459" y="2001033"/>
              <a:ext cx="20759" cy="14552"/>
            </a:xfrm>
            <a:custGeom>
              <a:avLst/>
              <a:gdLst>
                <a:gd name="T0" fmla="*/ 25 w 33"/>
                <a:gd name="T1" fmla="*/ 3 h 21"/>
                <a:gd name="T2" fmla="*/ 19 w 33"/>
                <a:gd name="T3" fmla="*/ 1 h 21"/>
                <a:gd name="T4" fmla="*/ 16 w 33"/>
                <a:gd name="T5" fmla="*/ 0 h 21"/>
                <a:gd name="T6" fmla="*/ 13 w 33"/>
                <a:gd name="T7" fmla="*/ 0 h 21"/>
                <a:gd name="T8" fmla="*/ 12 w 33"/>
                <a:gd name="T9" fmla="*/ 0 h 21"/>
                <a:gd name="T10" fmla="*/ 10 w 33"/>
                <a:gd name="T11" fmla="*/ 1 h 21"/>
                <a:gd name="T12" fmla="*/ 9 w 33"/>
                <a:gd name="T13" fmla="*/ 3 h 21"/>
                <a:gd name="T14" fmla="*/ 5 w 33"/>
                <a:gd name="T15" fmla="*/ 3 h 21"/>
                <a:gd name="T16" fmla="*/ 3 w 33"/>
                <a:gd name="T17" fmla="*/ 1 h 21"/>
                <a:gd name="T18" fmla="*/ 2 w 33"/>
                <a:gd name="T19" fmla="*/ 3 h 21"/>
                <a:gd name="T20" fmla="*/ 0 w 33"/>
                <a:gd name="T21" fmla="*/ 4 h 21"/>
                <a:gd name="T22" fmla="*/ 0 w 33"/>
                <a:gd name="T23" fmla="*/ 8 h 21"/>
                <a:gd name="T24" fmla="*/ 2 w 33"/>
                <a:gd name="T25" fmla="*/ 14 h 21"/>
                <a:gd name="T26" fmla="*/ 6 w 33"/>
                <a:gd name="T27" fmla="*/ 20 h 21"/>
                <a:gd name="T28" fmla="*/ 12 w 33"/>
                <a:gd name="T29" fmla="*/ 21 h 21"/>
                <a:gd name="T30" fmla="*/ 16 w 33"/>
                <a:gd name="T31" fmla="*/ 21 h 21"/>
                <a:gd name="T32" fmla="*/ 19 w 33"/>
                <a:gd name="T33" fmla="*/ 20 h 21"/>
                <a:gd name="T34" fmla="*/ 22 w 33"/>
                <a:gd name="T35" fmla="*/ 17 h 21"/>
                <a:gd name="T36" fmla="*/ 23 w 33"/>
                <a:gd name="T37" fmla="*/ 15 h 21"/>
                <a:gd name="T38" fmla="*/ 26 w 33"/>
                <a:gd name="T39" fmla="*/ 14 h 21"/>
                <a:gd name="T40" fmla="*/ 28 w 33"/>
                <a:gd name="T41" fmla="*/ 15 h 21"/>
                <a:gd name="T42" fmla="*/ 30 w 33"/>
                <a:gd name="T43" fmla="*/ 17 h 21"/>
                <a:gd name="T44" fmla="*/ 32 w 33"/>
                <a:gd name="T45" fmla="*/ 17 h 21"/>
                <a:gd name="T46" fmla="*/ 33 w 33"/>
                <a:gd name="T47" fmla="*/ 15 h 21"/>
                <a:gd name="T48" fmla="*/ 32 w 33"/>
                <a:gd name="T49" fmla="*/ 13 h 21"/>
                <a:gd name="T50" fmla="*/ 33 w 33"/>
                <a:gd name="T51" fmla="*/ 11 h 21"/>
                <a:gd name="T52" fmla="*/ 33 w 33"/>
                <a:gd name="T53" fmla="*/ 10 h 21"/>
                <a:gd name="T54" fmla="*/ 32 w 33"/>
                <a:gd name="T55" fmla="*/ 7 h 21"/>
                <a:gd name="T56" fmla="*/ 32 w 33"/>
                <a:gd name="T57" fmla="*/ 4 h 21"/>
                <a:gd name="T58" fmla="*/ 30 w 33"/>
                <a:gd name="T59" fmla="*/ 4 h 21"/>
                <a:gd name="T60" fmla="*/ 29 w 33"/>
                <a:gd name="T61" fmla="*/ 4 h 21"/>
                <a:gd name="T62" fmla="*/ 25 w 33"/>
                <a:gd name="T63" fmla="*/ 3 h 21"/>
                <a:gd name="T64" fmla="*/ 25 w 33"/>
                <a:gd name="T65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" h="21">
                  <a:moveTo>
                    <a:pt x="25" y="3"/>
                  </a:moveTo>
                  <a:lnTo>
                    <a:pt x="19" y="1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9" y="3"/>
                  </a:lnTo>
                  <a:lnTo>
                    <a:pt x="5" y="3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4"/>
                  </a:lnTo>
                  <a:lnTo>
                    <a:pt x="0" y="8"/>
                  </a:lnTo>
                  <a:lnTo>
                    <a:pt x="2" y="14"/>
                  </a:lnTo>
                  <a:lnTo>
                    <a:pt x="6" y="20"/>
                  </a:lnTo>
                  <a:lnTo>
                    <a:pt x="12" y="21"/>
                  </a:lnTo>
                  <a:lnTo>
                    <a:pt x="16" y="21"/>
                  </a:lnTo>
                  <a:lnTo>
                    <a:pt x="19" y="20"/>
                  </a:lnTo>
                  <a:lnTo>
                    <a:pt x="22" y="17"/>
                  </a:lnTo>
                  <a:lnTo>
                    <a:pt x="23" y="15"/>
                  </a:lnTo>
                  <a:lnTo>
                    <a:pt x="26" y="14"/>
                  </a:lnTo>
                  <a:lnTo>
                    <a:pt x="28" y="15"/>
                  </a:lnTo>
                  <a:lnTo>
                    <a:pt x="30" y="17"/>
                  </a:lnTo>
                  <a:lnTo>
                    <a:pt x="32" y="17"/>
                  </a:lnTo>
                  <a:lnTo>
                    <a:pt x="33" y="15"/>
                  </a:lnTo>
                  <a:lnTo>
                    <a:pt x="32" y="13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2" y="7"/>
                  </a:lnTo>
                  <a:lnTo>
                    <a:pt x="32" y="4"/>
                  </a:lnTo>
                  <a:lnTo>
                    <a:pt x="30" y="4"/>
                  </a:lnTo>
                  <a:lnTo>
                    <a:pt x="29" y="4"/>
                  </a:lnTo>
                  <a:lnTo>
                    <a:pt x="25" y="3"/>
                  </a:lnTo>
                  <a:lnTo>
                    <a:pt x="25" y="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99" name="Freeform 347"/>
            <p:cNvSpPr>
              <a:spLocks/>
            </p:cNvSpPr>
            <p:nvPr/>
          </p:nvSpPr>
          <p:spPr bwMode="auto">
            <a:xfrm>
              <a:off x="5026257" y="2003679"/>
              <a:ext cx="21981" cy="25135"/>
            </a:xfrm>
            <a:custGeom>
              <a:avLst/>
              <a:gdLst>
                <a:gd name="T0" fmla="*/ 28 w 34"/>
                <a:gd name="T1" fmla="*/ 36 h 37"/>
                <a:gd name="T2" fmla="*/ 33 w 34"/>
                <a:gd name="T3" fmla="*/ 31 h 37"/>
                <a:gd name="T4" fmla="*/ 33 w 34"/>
                <a:gd name="T5" fmla="*/ 31 h 37"/>
                <a:gd name="T6" fmla="*/ 33 w 34"/>
                <a:gd name="T7" fmla="*/ 29 h 37"/>
                <a:gd name="T8" fmla="*/ 34 w 34"/>
                <a:gd name="T9" fmla="*/ 27 h 37"/>
                <a:gd name="T10" fmla="*/ 34 w 34"/>
                <a:gd name="T11" fmla="*/ 23 h 37"/>
                <a:gd name="T12" fmla="*/ 33 w 34"/>
                <a:gd name="T13" fmla="*/ 20 h 37"/>
                <a:gd name="T14" fmla="*/ 30 w 34"/>
                <a:gd name="T15" fmla="*/ 16 h 37"/>
                <a:gd name="T16" fmla="*/ 28 w 34"/>
                <a:gd name="T17" fmla="*/ 13 h 37"/>
                <a:gd name="T18" fmla="*/ 26 w 34"/>
                <a:gd name="T19" fmla="*/ 10 h 37"/>
                <a:gd name="T20" fmla="*/ 23 w 34"/>
                <a:gd name="T21" fmla="*/ 10 h 37"/>
                <a:gd name="T22" fmla="*/ 18 w 34"/>
                <a:gd name="T23" fmla="*/ 10 h 37"/>
                <a:gd name="T24" fmla="*/ 16 w 34"/>
                <a:gd name="T25" fmla="*/ 9 h 37"/>
                <a:gd name="T26" fmla="*/ 17 w 34"/>
                <a:gd name="T27" fmla="*/ 9 h 37"/>
                <a:gd name="T28" fmla="*/ 18 w 34"/>
                <a:gd name="T29" fmla="*/ 7 h 37"/>
                <a:gd name="T30" fmla="*/ 18 w 34"/>
                <a:gd name="T31" fmla="*/ 6 h 37"/>
                <a:gd name="T32" fmla="*/ 16 w 34"/>
                <a:gd name="T33" fmla="*/ 4 h 37"/>
                <a:gd name="T34" fmla="*/ 8 w 34"/>
                <a:gd name="T35" fmla="*/ 1 h 37"/>
                <a:gd name="T36" fmla="*/ 6 w 34"/>
                <a:gd name="T37" fmla="*/ 0 h 37"/>
                <a:gd name="T38" fmla="*/ 3 w 34"/>
                <a:gd name="T39" fmla="*/ 1 h 37"/>
                <a:gd name="T40" fmla="*/ 1 w 34"/>
                <a:gd name="T41" fmla="*/ 1 h 37"/>
                <a:gd name="T42" fmla="*/ 0 w 34"/>
                <a:gd name="T43" fmla="*/ 4 h 37"/>
                <a:gd name="T44" fmla="*/ 0 w 34"/>
                <a:gd name="T45" fmla="*/ 6 h 37"/>
                <a:gd name="T46" fmla="*/ 0 w 34"/>
                <a:gd name="T47" fmla="*/ 7 h 37"/>
                <a:gd name="T48" fmla="*/ 1 w 34"/>
                <a:gd name="T49" fmla="*/ 10 h 37"/>
                <a:gd name="T50" fmla="*/ 4 w 34"/>
                <a:gd name="T51" fmla="*/ 11 h 37"/>
                <a:gd name="T52" fmla="*/ 7 w 34"/>
                <a:gd name="T53" fmla="*/ 13 h 37"/>
                <a:gd name="T54" fmla="*/ 8 w 34"/>
                <a:gd name="T55" fmla="*/ 13 h 37"/>
                <a:gd name="T56" fmla="*/ 7 w 34"/>
                <a:gd name="T57" fmla="*/ 16 h 37"/>
                <a:gd name="T58" fmla="*/ 6 w 34"/>
                <a:gd name="T59" fmla="*/ 19 h 37"/>
                <a:gd name="T60" fmla="*/ 6 w 34"/>
                <a:gd name="T61" fmla="*/ 20 h 37"/>
                <a:gd name="T62" fmla="*/ 6 w 34"/>
                <a:gd name="T63" fmla="*/ 23 h 37"/>
                <a:gd name="T64" fmla="*/ 11 w 34"/>
                <a:gd name="T65" fmla="*/ 29 h 37"/>
                <a:gd name="T66" fmla="*/ 16 w 34"/>
                <a:gd name="T67" fmla="*/ 33 h 37"/>
                <a:gd name="T68" fmla="*/ 21 w 34"/>
                <a:gd name="T69" fmla="*/ 36 h 37"/>
                <a:gd name="T70" fmla="*/ 26 w 34"/>
                <a:gd name="T71" fmla="*/ 37 h 37"/>
                <a:gd name="T72" fmla="*/ 28 w 34"/>
                <a:gd name="T73" fmla="*/ 36 h 37"/>
                <a:gd name="T74" fmla="*/ 28 w 34"/>
                <a:gd name="T75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" h="37">
                  <a:moveTo>
                    <a:pt x="28" y="36"/>
                  </a:moveTo>
                  <a:lnTo>
                    <a:pt x="33" y="31"/>
                  </a:lnTo>
                  <a:lnTo>
                    <a:pt x="33" y="31"/>
                  </a:lnTo>
                  <a:lnTo>
                    <a:pt x="33" y="29"/>
                  </a:lnTo>
                  <a:lnTo>
                    <a:pt x="34" y="27"/>
                  </a:lnTo>
                  <a:lnTo>
                    <a:pt x="34" y="23"/>
                  </a:lnTo>
                  <a:lnTo>
                    <a:pt x="33" y="20"/>
                  </a:lnTo>
                  <a:lnTo>
                    <a:pt x="30" y="16"/>
                  </a:lnTo>
                  <a:lnTo>
                    <a:pt x="28" y="13"/>
                  </a:lnTo>
                  <a:lnTo>
                    <a:pt x="26" y="10"/>
                  </a:lnTo>
                  <a:lnTo>
                    <a:pt x="23" y="10"/>
                  </a:lnTo>
                  <a:lnTo>
                    <a:pt x="18" y="10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8" y="7"/>
                  </a:lnTo>
                  <a:lnTo>
                    <a:pt x="18" y="6"/>
                  </a:lnTo>
                  <a:lnTo>
                    <a:pt x="16" y="4"/>
                  </a:lnTo>
                  <a:lnTo>
                    <a:pt x="8" y="1"/>
                  </a:lnTo>
                  <a:lnTo>
                    <a:pt x="6" y="0"/>
                  </a:lnTo>
                  <a:lnTo>
                    <a:pt x="3" y="1"/>
                  </a:lnTo>
                  <a:lnTo>
                    <a:pt x="1" y="1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10"/>
                  </a:lnTo>
                  <a:lnTo>
                    <a:pt x="4" y="11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7" y="16"/>
                  </a:lnTo>
                  <a:lnTo>
                    <a:pt x="6" y="19"/>
                  </a:lnTo>
                  <a:lnTo>
                    <a:pt x="6" y="20"/>
                  </a:lnTo>
                  <a:lnTo>
                    <a:pt x="6" y="23"/>
                  </a:lnTo>
                  <a:lnTo>
                    <a:pt x="11" y="29"/>
                  </a:lnTo>
                  <a:lnTo>
                    <a:pt x="16" y="33"/>
                  </a:lnTo>
                  <a:lnTo>
                    <a:pt x="21" y="36"/>
                  </a:lnTo>
                  <a:lnTo>
                    <a:pt x="26" y="37"/>
                  </a:lnTo>
                  <a:lnTo>
                    <a:pt x="28" y="36"/>
                  </a:lnTo>
                  <a:lnTo>
                    <a:pt x="28" y="3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00" name="Freeform 348"/>
            <p:cNvSpPr>
              <a:spLocks/>
            </p:cNvSpPr>
            <p:nvPr/>
          </p:nvSpPr>
          <p:spPr bwMode="auto">
            <a:xfrm>
              <a:off x="5015266" y="2010294"/>
              <a:ext cx="4885" cy="9260"/>
            </a:xfrm>
            <a:custGeom>
              <a:avLst/>
              <a:gdLst>
                <a:gd name="T0" fmla="*/ 9 w 9"/>
                <a:gd name="T1" fmla="*/ 11 h 13"/>
                <a:gd name="T2" fmla="*/ 9 w 9"/>
                <a:gd name="T3" fmla="*/ 10 h 13"/>
                <a:gd name="T4" fmla="*/ 9 w 9"/>
                <a:gd name="T5" fmla="*/ 7 h 13"/>
                <a:gd name="T6" fmla="*/ 7 w 9"/>
                <a:gd name="T7" fmla="*/ 7 h 13"/>
                <a:gd name="T8" fmla="*/ 6 w 9"/>
                <a:gd name="T9" fmla="*/ 1 h 13"/>
                <a:gd name="T10" fmla="*/ 4 w 9"/>
                <a:gd name="T11" fmla="*/ 0 h 13"/>
                <a:gd name="T12" fmla="*/ 3 w 9"/>
                <a:gd name="T13" fmla="*/ 0 h 13"/>
                <a:gd name="T14" fmla="*/ 2 w 9"/>
                <a:gd name="T15" fmla="*/ 0 h 13"/>
                <a:gd name="T16" fmla="*/ 2 w 9"/>
                <a:gd name="T17" fmla="*/ 1 h 13"/>
                <a:gd name="T18" fmla="*/ 0 w 9"/>
                <a:gd name="T19" fmla="*/ 6 h 13"/>
                <a:gd name="T20" fmla="*/ 0 w 9"/>
                <a:gd name="T21" fmla="*/ 9 h 13"/>
                <a:gd name="T22" fmla="*/ 2 w 9"/>
                <a:gd name="T23" fmla="*/ 11 h 13"/>
                <a:gd name="T24" fmla="*/ 4 w 9"/>
                <a:gd name="T25" fmla="*/ 13 h 13"/>
                <a:gd name="T26" fmla="*/ 7 w 9"/>
                <a:gd name="T27" fmla="*/ 13 h 13"/>
                <a:gd name="T28" fmla="*/ 7 w 9"/>
                <a:gd name="T29" fmla="*/ 13 h 13"/>
                <a:gd name="T30" fmla="*/ 9 w 9"/>
                <a:gd name="T31" fmla="*/ 11 h 13"/>
                <a:gd name="T32" fmla="*/ 9 w 9"/>
                <a:gd name="T33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" h="13">
                  <a:moveTo>
                    <a:pt x="9" y="11"/>
                  </a:moveTo>
                  <a:lnTo>
                    <a:pt x="9" y="10"/>
                  </a:lnTo>
                  <a:lnTo>
                    <a:pt x="9" y="7"/>
                  </a:lnTo>
                  <a:lnTo>
                    <a:pt x="7" y="7"/>
                  </a:lnTo>
                  <a:lnTo>
                    <a:pt x="6" y="1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11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9" y="11"/>
                  </a:lnTo>
                  <a:lnTo>
                    <a:pt x="9" y="1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01" name="Freeform 349"/>
            <p:cNvSpPr>
              <a:spLocks/>
            </p:cNvSpPr>
            <p:nvPr/>
          </p:nvSpPr>
          <p:spPr bwMode="auto">
            <a:xfrm>
              <a:off x="4884604" y="2155813"/>
              <a:ext cx="3663" cy="3969"/>
            </a:xfrm>
            <a:custGeom>
              <a:avLst/>
              <a:gdLst>
                <a:gd name="T0" fmla="*/ 4 w 6"/>
                <a:gd name="T1" fmla="*/ 4 h 6"/>
                <a:gd name="T2" fmla="*/ 4 w 6"/>
                <a:gd name="T3" fmla="*/ 3 h 6"/>
                <a:gd name="T4" fmla="*/ 6 w 6"/>
                <a:gd name="T5" fmla="*/ 2 h 6"/>
                <a:gd name="T6" fmla="*/ 4 w 6"/>
                <a:gd name="T7" fmla="*/ 0 h 6"/>
                <a:gd name="T8" fmla="*/ 3 w 6"/>
                <a:gd name="T9" fmla="*/ 0 h 6"/>
                <a:gd name="T10" fmla="*/ 1 w 6"/>
                <a:gd name="T11" fmla="*/ 3 h 6"/>
                <a:gd name="T12" fmla="*/ 0 w 6"/>
                <a:gd name="T13" fmla="*/ 4 h 6"/>
                <a:gd name="T14" fmla="*/ 0 w 6"/>
                <a:gd name="T15" fmla="*/ 6 h 6"/>
                <a:gd name="T16" fmla="*/ 0 w 6"/>
                <a:gd name="T17" fmla="*/ 6 h 6"/>
                <a:gd name="T18" fmla="*/ 3 w 6"/>
                <a:gd name="T19" fmla="*/ 6 h 6"/>
                <a:gd name="T20" fmla="*/ 3 w 6"/>
                <a:gd name="T21" fmla="*/ 6 h 6"/>
                <a:gd name="T22" fmla="*/ 4 w 6"/>
                <a:gd name="T23" fmla="*/ 4 h 6"/>
                <a:gd name="T24" fmla="*/ 4 w 6"/>
                <a:gd name="T2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6">
                  <a:moveTo>
                    <a:pt x="4" y="4"/>
                  </a:moveTo>
                  <a:lnTo>
                    <a:pt x="4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3" y="0"/>
                  </a:lnTo>
                  <a:lnTo>
                    <a:pt x="1" y="3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02" name="Freeform 350"/>
            <p:cNvSpPr>
              <a:spLocks/>
            </p:cNvSpPr>
            <p:nvPr/>
          </p:nvSpPr>
          <p:spPr bwMode="auto">
            <a:xfrm>
              <a:off x="4878498" y="1989127"/>
              <a:ext cx="1221" cy="132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03" name="Freeform 351"/>
            <p:cNvSpPr>
              <a:spLocks/>
            </p:cNvSpPr>
            <p:nvPr/>
          </p:nvSpPr>
          <p:spPr bwMode="auto">
            <a:xfrm>
              <a:off x="4878498" y="1989127"/>
              <a:ext cx="1221" cy="132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lnTo>
                    <a:pt x="1" y="1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04" name="Freeform 352"/>
            <p:cNvSpPr>
              <a:spLocks/>
            </p:cNvSpPr>
            <p:nvPr/>
          </p:nvSpPr>
          <p:spPr bwMode="auto">
            <a:xfrm>
              <a:off x="4795461" y="2030137"/>
              <a:ext cx="28086" cy="29104"/>
            </a:xfrm>
            <a:custGeom>
              <a:avLst/>
              <a:gdLst>
                <a:gd name="T0" fmla="*/ 42 w 46"/>
                <a:gd name="T1" fmla="*/ 15 h 44"/>
                <a:gd name="T2" fmla="*/ 42 w 46"/>
                <a:gd name="T3" fmla="*/ 14 h 44"/>
                <a:gd name="T4" fmla="*/ 45 w 46"/>
                <a:gd name="T5" fmla="*/ 11 h 44"/>
                <a:gd name="T6" fmla="*/ 46 w 46"/>
                <a:gd name="T7" fmla="*/ 10 h 44"/>
                <a:gd name="T8" fmla="*/ 46 w 46"/>
                <a:gd name="T9" fmla="*/ 8 h 44"/>
                <a:gd name="T10" fmla="*/ 40 w 46"/>
                <a:gd name="T11" fmla="*/ 1 h 44"/>
                <a:gd name="T12" fmla="*/ 38 w 46"/>
                <a:gd name="T13" fmla="*/ 1 h 44"/>
                <a:gd name="T14" fmla="*/ 35 w 46"/>
                <a:gd name="T15" fmla="*/ 0 h 44"/>
                <a:gd name="T16" fmla="*/ 33 w 46"/>
                <a:gd name="T17" fmla="*/ 0 h 44"/>
                <a:gd name="T18" fmla="*/ 32 w 46"/>
                <a:gd name="T19" fmla="*/ 2 h 44"/>
                <a:gd name="T20" fmla="*/ 32 w 46"/>
                <a:gd name="T21" fmla="*/ 4 h 44"/>
                <a:gd name="T22" fmla="*/ 32 w 46"/>
                <a:gd name="T23" fmla="*/ 7 h 44"/>
                <a:gd name="T24" fmla="*/ 29 w 46"/>
                <a:gd name="T25" fmla="*/ 7 h 44"/>
                <a:gd name="T26" fmla="*/ 26 w 46"/>
                <a:gd name="T27" fmla="*/ 8 h 44"/>
                <a:gd name="T28" fmla="*/ 25 w 46"/>
                <a:gd name="T29" fmla="*/ 8 h 44"/>
                <a:gd name="T30" fmla="*/ 23 w 46"/>
                <a:gd name="T31" fmla="*/ 8 h 44"/>
                <a:gd name="T32" fmla="*/ 22 w 46"/>
                <a:gd name="T33" fmla="*/ 8 h 44"/>
                <a:gd name="T34" fmla="*/ 20 w 46"/>
                <a:gd name="T35" fmla="*/ 7 h 44"/>
                <a:gd name="T36" fmla="*/ 17 w 46"/>
                <a:gd name="T37" fmla="*/ 7 h 44"/>
                <a:gd name="T38" fmla="*/ 17 w 46"/>
                <a:gd name="T39" fmla="*/ 8 h 44"/>
                <a:gd name="T40" fmla="*/ 15 w 46"/>
                <a:gd name="T41" fmla="*/ 8 h 44"/>
                <a:gd name="T42" fmla="*/ 10 w 46"/>
                <a:gd name="T43" fmla="*/ 4 h 44"/>
                <a:gd name="T44" fmla="*/ 6 w 46"/>
                <a:gd name="T45" fmla="*/ 1 h 44"/>
                <a:gd name="T46" fmla="*/ 5 w 46"/>
                <a:gd name="T47" fmla="*/ 2 h 44"/>
                <a:gd name="T48" fmla="*/ 3 w 46"/>
                <a:gd name="T49" fmla="*/ 5 h 44"/>
                <a:gd name="T50" fmla="*/ 0 w 46"/>
                <a:gd name="T51" fmla="*/ 12 h 44"/>
                <a:gd name="T52" fmla="*/ 0 w 46"/>
                <a:gd name="T53" fmla="*/ 17 h 44"/>
                <a:gd name="T54" fmla="*/ 2 w 46"/>
                <a:gd name="T55" fmla="*/ 18 h 44"/>
                <a:gd name="T56" fmla="*/ 3 w 46"/>
                <a:gd name="T57" fmla="*/ 20 h 44"/>
                <a:gd name="T58" fmla="*/ 5 w 46"/>
                <a:gd name="T59" fmla="*/ 23 h 44"/>
                <a:gd name="T60" fmla="*/ 5 w 46"/>
                <a:gd name="T61" fmla="*/ 27 h 44"/>
                <a:gd name="T62" fmla="*/ 10 w 46"/>
                <a:gd name="T63" fmla="*/ 33 h 44"/>
                <a:gd name="T64" fmla="*/ 15 w 46"/>
                <a:gd name="T65" fmla="*/ 35 h 44"/>
                <a:gd name="T66" fmla="*/ 17 w 46"/>
                <a:gd name="T67" fmla="*/ 37 h 44"/>
                <a:gd name="T68" fmla="*/ 19 w 46"/>
                <a:gd name="T69" fmla="*/ 40 h 44"/>
                <a:gd name="T70" fmla="*/ 17 w 46"/>
                <a:gd name="T71" fmla="*/ 41 h 44"/>
                <a:gd name="T72" fmla="*/ 17 w 46"/>
                <a:gd name="T73" fmla="*/ 43 h 44"/>
                <a:gd name="T74" fmla="*/ 19 w 46"/>
                <a:gd name="T75" fmla="*/ 44 h 44"/>
                <a:gd name="T76" fmla="*/ 23 w 46"/>
                <a:gd name="T77" fmla="*/ 44 h 44"/>
                <a:gd name="T78" fmla="*/ 25 w 46"/>
                <a:gd name="T79" fmla="*/ 43 h 44"/>
                <a:gd name="T80" fmla="*/ 29 w 46"/>
                <a:gd name="T81" fmla="*/ 37 h 44"/>
                <a:gd name="T82" fmla="*/ 32 w 46"/>
                <a:gd name="T83" fmla="*/ 37 h 44"/>
                <a:gd name="T84" fmla="*/ 35 w 46"/>
                <a:gd name="T85" fmla="*/ 35 h 44"/>
                <a:gd name="T86" fmla="*/ 35 w 46"/>
                <a:gd name="T87" fmla="*/ 37 h 44"/>
                <a:gd name="T88" fmla="*/ 35 w 46"/>
                <a:gd name="T89" fmla="*/ 38 h 44"/>
                <a:gd name="T90" fmla="*/ 32 w 46"/>
                <a:gd name="T91" fmla="*/ 41 h 44"/>
                <a:gd name="T92" fmla="*/ 32 w 46"/>
                <a:gd name="T93" fmla="*/ 43 h 44"/>
                <a:gd name="T94" fmla="*/ 33 w 46"/>
                <a:gd name="T95" fmla="*/ 43 h 44"/>
                <a:gd name="T96" fmla="*/ 36 w 46"/>
                <a:gd name="T97" fmla="*/ 41 h 44"/>
                <a:gd name="T98" fmla="*/ 39 w 46"/>
                <a:gd name="T99" fmla="*/ 40 h 44"/>
                <a:gd name="T100" fmla="*/ 42 w 46"/>
                <a:gd name="T101" fmla="*/ 38 h 44"/>
                <a:gd name="T102" fmla="*/ 42 w 46"/>
                <a:gd name="T103" fmla="*/ 35 h 44"/>
                <a:gd name="T104" fmla="*/ 43 w 46"/>
                <a:gd name="T105" fmla="*/ 31 h 44"/>
                <a:gd name="T106" fmla="*/ 43 w 46"/>
                <a:gd name="T107" fmla="*/ 28 h 44"/>
                <a:gd name="T108" fmla="*/ 43 w 46"/>
                <a:gd name="T109" fmla="*/ 27 h 44"/>
                <a:gd name="T110" fmla="*/ 43 w 46"/>
                <a:gd name="T111" fmla="*/ 25 h 44"/>
                <a:gd name="T112" fmla="*/ 42 w 46"/>
                <a:gd name="T113" fmla="*/ 23 h 44"/>
                <a:gd name="T114" fmla="*/ 42 w 46"/>
                <a:gd name="T115" fmla="*/ 20 h 44"/>
                <a:gd name="T116" fmla="*/ 40 w 46"/>
                <a:gd name="T117" fmla="*/ 18 h 44"/>
                <a:gd name="T118" fmla="*/ 42 w 46"/>
                <a:gd name="T119" fmla="*/ 15 h 44"/>
                <a:gd name="T120" fmla="*/ 42 w 46"/>
                <a:gd name="T121" fmla="*/ 1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6" h="44">
                  <a:moveTo>
                    <a:pt x="42" y="15"/>
                  </a:moveTo>
                  <a:lnTo>
                    <a:pt x="42" y="14"/>
                  </a:lnTo>
                  <a:lnTo>
                    <a:pt x="45" y="11"/>
                  </a:lnTo>
                  <a:lnTo>
                    <a:pt x="46" y="10"/>
                  </a:lnTo>
                  <a:lnTo>
                    <a:pt x="46" y="8"/>
                  </a:lnTo>
                  <a:lnTo>
                    <a:pt x="40" y="1"/>
                  </a:lnTo>
                  <a:lnTo>
                    <a:pt x="38" y="1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2" y="7"/>
                  </a:lnTo>
                  <a:lnTo>
                    <a:pt x="29" y="7"/>
                  </a:lnTo>
                  <a:lnTo>
                    <a:pt x="26" y="8"/>
                  </a:lnTo>
                  <a:lnTo>
                    <a:pt x="25" y="8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0" y="7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5" y="8"/>
                  </a:lnTo>
                  <a:lnTo>
                    <a:pt x="10" y="4"/>
                  </a:lnTo>
                  <a:lnTo>
                    <a:pt x="6" y="1"/>
                  </a:lnTo>
                  <a:lnTo>
                    <a:pt x="5" y="2"/>
                  </a:lnTo>
                  <a:lnTo>
                    <a:pt x="3" y="5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2" y="18"/>
                  </a:lnTo>
                  <a:lnTo>
                    <a:pt x="3" y="20"/>
                  </a:lnTo>
                  <a:lnTo>
                    <a:pt x="5" y="23"/>
                  </a:lnTo>
                  <a:lnTo>
                    <a:pt x="5" y="27"/>
                  </a:lnTo>
                  <a:lnTo>
                    <a:pt x="10" y="33"/>
                  </a:lnTo>
                  <a:lnTo>
                    <a:pt x="15" y="35"/>
                  </a:lnTo>
                  <a:lnTo>
                    <a:pt x="17" y="37"/>
                  </a:lnTo>
                  <a:lnTo>
                    <a:pt x="19" y="40"/>
                  </a:lnTo>
                  <a:lnTo>
                    <a:pt x="17" y="41"/>
                  </a:lnTo>
                  <a:lnTo>
                    <a:pt x="17" y="43"/>
                  </a:lnTo>
                  <a:lnTo>
                    <a:pt x="19" y="44"/>
                  </a:lnTo>
                  <a:lnTo>
                    <a:pt x="23" y="44"/>
                  </a:lnTo>
                  <a:lnTo>
                    <a:pt x="25" y="43"/>
                  </a:lnTo>
                  <a:lnTo>
                    <a:pt x="29" y="37"/>
                  </a:lnTo>
                  <a:lnTo>
                    <a:pt x="32" y="37"/>
                  </a:lnTo>
                  <a:lnTo>
                    <a:pt x="35" y="35"/>
                  </a:lnTo>
                  <a:lnTo>
                    <a:pt x="35" y="37"/>
                  </a:lnTo>
                  <a:lnTo>
                    <a:pt x="35" y="38"/>
                  </a:lnTo>
                  <a:lnTo>
                    <a:pt x="32" y="41"/>
                  </a:lnTo>
                  <a:lnTo>
                    <a:pt x="32" y="43"/>
                  </a:lnTo>
                  <a:lnTo>
                    <a:pt x="33" y="43"/>
                  </a:lnTo>
                  <a:lnTo>
                    <a:pt x="36" y="41"/>
                  </a:lnTo>
                  <a:lnTo>
                    <a:pt x="39" y="40"/>
                  </a:lnTo>
                  <a:lnTo>
                    <a:pt x="42" y="38"/>
                  </a:lnTo>
                  <a:lnTo>
                    <a:pt x="42" y="35"/>
                  </a:lnTo>
                  <a:lnTo>
                    <a:pt x="43" y="31"/>
                  </a:lnTo>
                  <a:lnTo>
                    <a:pt x="43" y="28"/>
                  </a:lnTo>
                  <a:lnTo>
                    <a:pt x="43" y="27"/>
                  </a:lnTo>
                  <a:lnTo>
                    <a:pt x="43" y="25"/>
                  </a:lnTo>
                  <a:lnTo>
                    <a:pt x="42" y="23"/>
                  </a:lnTo>
                  <a:lnTo>
                    <a:pt x="42" y="20"/>
                  </a:lnTo>
                  <a:lnTo>
                    <a:pt x="40" y="18"/>
                  </a:lnTo>
                  <a:lnTo>
                    <a:pt x="42" y="15"/>
                  </a:lnTo>
                  <a:lnTo>
                    <a:pt x="42" y="1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05" name="Freeform 353"/>
            <p:cNvSpPr>
              <a:spLocks/>
            </p:cNvSpPr>
            <p:nvPr/>
          </p:nvSpPr>
          <p:spPr bwMode="auto">
            <a:xfrm>
              <a:off x="4746615" y="2027491"/>
              <a:ext cx="24423" cy="25135"/>
            </a:xfrm>
            <a:custGeom>
              <a:avLst/>
              <a:gdLst>
                <a:gd name="T0" fmla="*/ 39 w 40"/>
                <a:gd name="T1" fmla="*/ 14 h 37"/>
                <a:gd name="T2" fmla="*/ 39 w 40"/>
                <a:gd name="T3" fmla="*/ 11 h 37"/>
                <a:gd name="T4" fmla="*/ 40 w 40"/>
                <a:gd name="T5" fmla="*/ 4 h 37"/>
                <a:gd name="T6" fmla="*/ 40 w 40"/>
                <a:gd name="T7" fmla="*/ 3 h 37"/>
                <a:gd name="T8" fmla="*/ 39 w 40"/>
                <a:gd name="T9" fmla="*/ 3 h 37"/>
                <a:gd name="T10" fmla="*/ 36 w 40"/>
                <a:gd name="T11" fmla="*/ 4 h 37"/>
                <a:gd name="T12" fmla="*/ 34 w 40"/>
                <a:gd name="T13" fmla="*/ 4 h 37"/>
                <a:gd name="T14" fmla="*/ 30 w 40"/>
                <a:gd name="T15" fmla="*/ 3 h 37"/>
                <a:gd name="T16" fmla="*/ 26 w 40"/>
                <a:gd name="T17" fmla="*/ 3 h 37"/>
                <a:gd name="T18" fmla="*/ 22 w 40"/>
                <a:gd name="T19" fmla="*/ 3 h 37"/>
                <a:gd name="T20" fmla="*/ 19 w 40"/>
                <a:gd name="T21" fmla="*/ 4 h 37"/>
                <a:gd name="T22" fmla="*/ 16 w 40"/>
                <a:gd name="T23" fmla="*/ 7 h 37"/>
                <a:gd name="T24" fmla="*/ 14 w 40"/>
                <a:gd name="T25" fmla="*/ 8 h 37"/>
                <a:gd name="T26" fmla="*/ 10 w 40"/>
                <a:gd name="T27" fmla="*/ 7 h 37"/>
                <a:gd name="T28" fmla="*/ 10 w 40"/>
                <a:gd name="T29" fmla="*/ 7 h 37"/>
                <a:gd name="T30" fmla="*/ 10 w 40"/>
                <a:gd name="T31" fmla="*/ 4 h 37"/>
                <a:gd name="T32" fmla="*/ 12 w 40"/>
                <a:gd name="T33" fmla="*/ 3 h 37"/>
                <a:gd name="T34" fmla="*/ 9 w 40"/>
                <a:gd name="T35" fmla="*/ 3 h 37"/>
                <a:gd name="T36" fmla="*/ 6 w 40"/>
                <a:gd name="T37" fmla="*/ 1 h 37"/>
                <a:gd name="T38" fmla="*/ 4 w 40"/>
                <a:gd name="T39" fmla="*/ 0 h 37"/>
                <a:gd name="T40" fmla="*/ 3 w 40"/>
                <a:gd name="T41" fmla="*/ 0 h 37"/>
                <a:gd name="T42" fmla="*/ 2 w 40"/>
                <a:gd name="T43" fmla="*/ 1 h 37"/>
                <a:gd name="T44" fmla="*/ 2 w 40"/>
                <a:gd name="T45" fmla="*/ 3 h 37"/>
                <a:gd name="T46" fmla="*/ 0 w 40"/>
                <a:gd name="T47" fmla="*/ 5 h 37"/>
                <a:gd name="T48" fmla="*/ 2 w 40"/>
                <a:gd name="T49" fmla="*/ 7 h 37"/>
                <a:gd name="T50" fmla="*/ 4 w 40"/>
                <a:gd name="T51" fmla="*/ 7 h 37"/>
                <a:gd name="T52" fmla="*/ 6 w 40"/>
                <a:gd name="T53" fmla="*/ 7 h 37"/>
                <a:gd name="T54" fmla="*/ 6 w 40"/>
                <a:gd name="T55" fmla="*/ 10 h 37"/>
                <a:gd name="T56" fmla="*/ 6 w 40"/>
                <a:gd name="T57" fmla="*/ 13 h 37"/>
                <a:gd name="T58" fmla="*/ 9 w 40"/>
                <a:gd name="T59" fmla="*/ 17 h 37"/>
                <a:gd name="T60" fmla="*/ 17 w 40"/>
                <a:gd name="T61" fmla="*/ 27 h 37"/>
                <a:gd name="T62" fmla="*/ 22 w 40"/>
                <a:gd name="T63" fmla="*/ 34 h 37"/>
                <a:gd name="T64" fmla="*/ 26 w 40"/>
                <a:gd name="T65" fmla="*/ 36 h 37"/>
                <a:gd name="T66" fmla="*/ 27 w 40"/>
                <a:gd name="T67" fmla="*/ 37 h 37"/>
                <a:gd name="T68" fmla="*/ 29 w 40"/>
                <a:gd name="T69" fmla="*/ 37 h 37"/>
                <a:gd name="T70" fmla="*/ 30 w 40"/>
                <a:gd name="T71" fmla="*/ 34 h 37"/>
                <a:gd name="T72" fmla="*/ 29 w 40"/>
                <a:gd name="T73" fmla="*/ 33 h 37"/>
                <a:gd name="T74" fmla="*/ 30 w 40"/>
                <a:gd name="T75" fmla="*/ 31 h 37"/>
                <a:gd name="T76" fmla="*/ 32 w 40"/>
                <a:gd name="T77" fmla="*/ 28 h 37"/>
                <a:gd name="T78" fmla="*/ 33 w 40"/>
                <a:gd name="T79" fmla="*/ 27 h 37"/>
                <a:gd name="T80" fmla="*/ 33 w 40"/>
                <a:gd name="T81" fmla="*/ 24 h 37"/>
                <a:gd name="T82" fmla="*/ 32 w 40"/>
                <a:gd name="T83" fmla="*/ 21 h 37"/>
                <a:gd name="T84" fmla="*/ 34 w 40"/>
                <a:gd name="T85" fmla="*/ 20 h 37"/>
                <a:gd name="T86" fmla="*/ 36 w 40"/>
                <a:gd name="T87" fmla="*/ 20 h 37"/>
                <a:gd name="T88" fmla="*/ 37 w 40"/>
                <a:gd name="T89" fmla="*/ 18 h 37"/>
                <a:gd name="T90" fmla="*/ 39 w 40"/>
                <a:gd name="T91" fmla="*/ 14 h 37"/>
                <a:gd name="T92" fmla="*/ 39 w 40"/>
                <a:gd name="T93" fmla="*/ 1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" h="37">
                  <a:moveTo>
                    <a:pt x="39" y="14"/>
                  </a:moveTo>
                  <a:lnTo>
                    <a:pt x="39" y="11"/>
                  </a:lnTo>
                  <a:lnTo>
                    <a:pt x="40" y="4"/>
                  </a:lnTo>
                  <a:lnTo>
                    <a:pt x="40" y="3"/>
                  </a:lnTo>
                  <a:lnTo>
                    <a:pt x="39" y="3"/>
                  </a:lnTo>
                  <a:lnTo>
                    <a:pt x="36" y="4"/>
                  </a:lnTo>
                  <a:lnTo>
                    <a:pt x="34" y="4"/>
                  </a:lnTo>
                  <a:lnTo>
                    <a:pt x="30" y="3"/>
                  </a:lnTo>
                  <a:lnTo>
                    <a:pt x="26" y="3"/>
                  </a:lnTo>
                  <a:lnTo>
                    <a:pt x="22" y="3"/>
                  </a:lnTo>
                  <a:lnTo>
                    <a:pt x="19" y="4"/>
                  </a:lnTo>
                  <a:lnTo>
                    <a:pt x="16" y="7"/>
                  </a:lnTo>
                  <a:lnTo>
                    <a:pt x="14" y="8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4"/>
                  </a:lnTo>
                  <a:lnTo>
                    <a:pt x="12" y="3"/>
                  </a:lnTo>
                  <a:lnTo>
                    <a:pt x="9" y="3"/>
                  </a:lnTo>
                  <a:lnTo>
                    <a:pt x="6" y="1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2" y="3"/>
                  </a:lnTo>
                  <a:lnTo>
                    <a:pt x="0" y="5"/>
                  </a:lnTo>
                  <a:lnTo>
                    <a:pt x="2" y="7"/>
                  </a:lnTo>
                  <a:lnTo>
                    <a:pt x="4" y="7"/>
                  </a:lnTo>
                  <a:lnTo>
                    <a:pt x="6" y="7"/>
                  </a:lnTo>
                  <a:lnTo>
                    <a:pt x="6" y="10"/>
                  </a:lnTo>
                  <a:lnTo>
                    <a:pt x="6" y="13"/>
                  </a:lnTo>
                  <a:lnTo>
                    <a:pt x="9" y="17"/>
                  </a:lnTo>
                  <a:lnTo>
                    <a:pt x="17" y="27"/>
                  </a:lnTo>
                  <a:lnTo>
                    <a:pt x="22" y="34"/>
                  </a:lnTo>
                  <a:lnTo>
                    <a:pt x="26" y="36"/>
                  </a:lnTo>
                  <a:lnTo>
                    <a:pt x="27" y="37"/>
                  </a:lnTo>
                  <a:lnTo>
                    <a:pt x="29" y="37"/>
                  </a:lnTo>
                  <a:lnTo>
                    <a:pt x="30" y="34"/>
                  </a:lnTo>
                  <a:lnTo>
                    <a:pt x="29" y="33"/>
                  </a:lnTo>
                  <a:lnTo>
                    <a:pt x="30" y="31"/>
                  </a:lnTo>
                  <a:lnTo>
                    <a:pt x="32" y="28"/>
                  </a:lnTo>
                  <a:lnTo>
                    <a:pt x="33" y="27"/>
                  </a:lnTo>
                  <a:lnTo>
                    <a:pt x="33" y="24"/>
                  </a:lnTo>
                  <a:lnTo>
                    <a:pt x="32" y="21"/>
                  </a:lnTo>
                  <a:lnTo>
                    <a:pt x="34" y="20"/>
                  </a:lnTo>
                  <a:lnTo>
                    <a:pt x="36" y="20"/>
                  </a:lnTo>
                  <a:lnTo>
                    <a:pt x="37" y="18"/>
                  </a:lnTo>
                  <a:lnTo>
                    <a:pt x="39" y="14"/>
                  </a:lnTo>
                  <a:lnTo>
                    <a:pt x="39" y="1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09" name="Freeform 357"/>
            <p:cNvSpPr>
              <a:spLocks/>
            </p:cNvSpPr>
            <p:nvPr/>
          </p:nvSpPr>
          <p:spPr bwMode="auto">
            <a:xfrm>
              <a:off x="4750278" y="2003679"/>
              <a:ext cx="18317" cy="18521"/>
            </a:xfrm>
            <a:custGeom>
              <a:avLst/>
              <a:gdLst>
                <a:gd name="T0" fmla="*/ 29 w 30"/>
                <a:gd name="T1" fmla="*/ 4 h 28"/>
                <a:gd name="T2" fmla="*/ 26 w 30"/>
                <a:gd name="T3" fmla="*/ 2 h 28"/>
                <a:gd name="T4" fmla="*/ 25 w 30"/>
                <a:gd name="T5" fmla="*/ 1 h 28"/>
                <a:gd name="T6" fmla="*/ 22 w 30"/>
                <a:gd name="T7" fmla="*/ 1 h 28"/>
                <a:gd name="T8" fmla="*/ 20 w 30"/>
                <a:gd name="T9" fmla="*/ 1 h 28"/>
                <a:gd name="T10" fmla="*/ 16 w 30"/>
                <a:gd name="T11" fmla="*/ 1 h 28"/>
                <a:gd name="T12" fmla="*/ 13 w 30"/>
                <a:gd name="T13" fmla="*/ 0 h 28"/>
                <a:gd name="T14" fmla="*/ 10 w 30"/>
                <a:gd name="T15" fmla="*/ 0 h 28"/>
                <a:gd name="T16" fmla="*/ 7 w 30"/>
                <a:gd name="T17" fmla="*/ 0 h 28"/>
                <a:gd name="T18" fmla="*/ 6 w 30"/>
                <a:gd name="T19" fmla="*/ 1 h 28"/>
                <a:gd name="T20" fmla="*/ 5 w 30"/>
                <a:gd name="T21" fmla="*/ 4 h 28"/>
                <a:gd name="T22" fmla="*/ 5 w 30"/>
                <a:gd name="T23" fmla="*/ 7 h 28"/>
                <a:gd name="T24" fmla="*/ 5 w 30"/>
                <a:gd name="T25" fmla="*/ 10 h 28"/>
                <a:gd name="T26" fmla="*/ 3 w 30"/>
                <a:gd name="T27" fmla="*/ 12 h 28"/>
                <a:gd name="T28" fmla="*/ 5 w 30"/>
                <a:gd name="T29" fmla="*/ 14 h 28"/>
                <a:gd name="T30" fmla="*/ 5 w 30"/>
                <a:gd name="T31" fmla="*/ 15 h 28"/>
                <a:gd name="T32" fmla="*/ 3 w 30"/>
                <a:gd name="T33" fmla="*/ 17 h 28"/>
                <a:gd name="T34" fmla="*/ 2 w 30"/>
                <a:gd name="T35" fmla="*/ 20 h 28"/>
                <a:gd name="T36" fmla="*/ 0 w 30"/>
                <a:gd name="T37" fmla="*/ 22 h 28"/>
                <a:gd name="T38" fmla="*/ 2 w 30"/>
                <a:gd name="T39" fmla="*/ 25 h 28"/>
                <a:gd name="T40" fmla="*/ 3 w 30"/>
                <a:gd name="T41" fmla="*/ 28 h 28"/>
                <a:gd name="T42" fmla="*/ 6 w 30"/>
                <a:gd name="T43" fmla="*/ 28 h 28"/>
                <a:gd name="T44" fmla="*/ 7 w 30"/>
                <a:gd name="T45" fmla="*/ 27 h 28"/>
                <a:gd name="T46" fmla="*/ 10 w 30"/>
                <a:gd name="T47" fmla="*/ 24 h 28"/>
                <a:gd name="T48" fmla="*/ 12 w 30"/>
                <a:gd name="T49" fmla="*/ 21 h 28"/>
                <a:gd name="T50" fmla="*/ 15 w 30"/>
                <a:gd name="T51" fmla="*/ 18 h 28"/>
                <a:gd name="T52" fmla="*/ 17 w 30"/>
                <a:gd name="T53" fmla="*/ 20 h 28"/>
                <a:gd name="T54" fmla="*/ 19 w 30"/>
                <a:gd name="T55" fmla="*/ 21 h 28"/>
                <a:gd name="T56" fmla="*/ 22 w 30"/>
                <a:gd name="T57" fmla="*/ 21 h 28"/>
                <a:gd name="T58" fmla="*/ 23 w 30"/>
                <a:gd name="T59" fmla="*/ 18 h 28"/>
                <a:gd name="T60" fmla="*/ 26 w 30"/>
                <a:gd name="T61" fmla="*/ 18 h 28"/>
                <a:gd name="T62" fmla="*/ 29 w 30"/>
                <a:gd name="T63" fmla="*/ 18 h 28"/>
                <a:gd name="T64" fmla="*/ 30 w 30"/>
                <a:gd name="T65" fmla="*/ 17 h 28"/>
                <a:gd name="T66" fmla="*/ 30 w 30"/>
                <a:gd name="T67" fmla="*/ 15 h 28"/>
                <a:gd name="T68" fmla="*/ 30 w 30"/>
                <a:gd name="T69" fmla="*/ 14 h 28"/>
                <a:gd name="T70" fmla="*/ 30 w 30"/>
                <a:gd name="T71" fmla="*/ 12 h 28"/>
                <a:gd name="T72" fmla="*/ 29 w 30"/>
                <a:gd name="T73" fmla="*/ 11 h 28"/>
                <a:gd name="T74" fmla="*/ 30 w 30"/>
                <a:gd name="T75" fmla="*/ 10 h 28"/>
                <a:gd name="T76" fmla="*/ 30 w 30"/>
                <a:gd name="T77" fmla="*/ 8 h 28"/>
                <a:gd name="T78" fmla="*/ 29 w 30"/>
                <a:gd name="T79" fmla="*/ 4 h 28"/>
                <a:gd name="T80" fmla="*/ 29 w 30"/>
                <a:gd name="T81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0" h="28">
                  <a:moveTo>
                    <a:pt x="29" y="4"/>
                  </a:moveTo>
                  <a:lnTo>
                    <a:pt x="26" y="2"/>
                  </a:lnTo>
                  <a:lnTo>
                    <a:pt x="25" y="1"/>
                  </a:lnTo>
                  <a:lnTo>
                    <a:pt x="22" y="1"/>
                  </a:lnTo>
                  <a:lnTo>
                    <a:pt x="20" y="1"/>
                  </a:lnTo>
                  <a:lnTo>
                    <a:pt x="16" y="1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6" y="1"/>
                  </a:lnTo>
                  <a:lnTo>
                    <a:pt x="5" y="4"/>
                  </a:lnTo>
                  <a:lnTo>
                    <a:pt x="5" y="7"/>
                  </a:lnTo>
                  <a:lnTo>
                    <a:pt x="5" y="10"/>
                  </a:lnTo>
                  <a:lnTo>
                    <a:pt x="3" y="12"/>
                  </a:lnTo>
                  <a:lnTo>
                    <a:pt x="5" y="14"/>
                  </a:lnTo>
                  <a:lnTo>
                    <a:pt x="5" y="15"/>
                  </a:lnTo>
                  <a:lnTo>
                    <a:pt x="3" y="17"/>
                  </a:lnTo>
                  <a:lnTo>
                    <a:pt x="2" y="20"/>
                  </a:lnTo>
                  <a:lnTo>
                    <a:pt x="0" y="22"/>
                  </a:lnTo>
                  <a:lnTo>
                    <a:pt x="2" y="25"/>
                  </a:lnTo>
                  <a:lnTo>
                    <a:pt x="3" y="28"/>
                  </a:lnTo>
                  <a:lnTo>
                    <a:pt x="6" y="28"/>
                  </a:lnTo>
                  <a:lnTo>
                    <a:pt x="7" y="27"/>
                  </a:lnTo>
                  <a:lnTo>
                    <a:pt x="10" y="24"/>
                  </a:lnTo>
                  <a:lnTo>
                    <a:pt x="12" y="21"/>
                  </a:lnTo>
                  <a:lnTo>
                    <a:pt x="15" y="18"/>
                  </a:lnTo>
                  <a:lnTo>
                    <a:pt x="17" y="20"/>
                  </a:lnTo>
                  <a:lnTo>
                    <a:pt x="19" y="21"/>
                  </a:lnTo>
                  <a:lnTo>
                    <a:pt x="22" y="21"/>
                  </a:lnTo>
                  <a:lnTo>
                    <a:pt x="23" y="18"/>
                  </a:lnTo>
                  <a:lnTo>
                    <a:pt x="26" y="18"/>
                  </a:lnTo>
                  <a:lnTo>
                    <a:pt x="29" y="18"/>
                  </a:lnTo>
                  <a:lnTo>
                    <a:pt x="30" y="17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30" y="12"/>
                  </a:lnTo>
                  <a:lnTo>
                    <a:pt x="29" y="11"/>
                  </a:lnTo>
                  <a:lnTo>
                    <a:pt x="30" y="10"/>
                  </a:lnTo>
                  <a:lnTo>
                    <a:pt x="30" y="8"/>
                  </a:lnTo>
                  <a:lnTo>
                    <a:pt x="29" y="4"/>
                  </a:lnTo>
                  <a:lnTo>
                    <a:pt x="29" y="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10" name="Freeform 358"/>
            <p:cNvSpPr>
              <a:spLocks/>
            </p:cNvSpPr>
            <p:nvPr/>
          </p:nvSpPr>
          <p:spPr bwMode="auto">
            <a:xfrm>
              <a:off x="4742952" y="2010294"/>
              <a:ext cx="4885" cy="6615"/>
            </a:xfrm>
            <a:custGeom>
              <a:avLst/>
              <a:gdLst>
                <a:gd name="T0" fmla="*/ 9 w 9"/>
                <a:gd name="T1" fmla="*/ 1 h 9"/>
                <a:gd name="T2" fmla="*/ 8 w 9"/>
                <a:gd name="T3" fmla="*/ 0 h 9"/>
                <a:gd name="T4" fmla="*/ 6 w 9"/>
                <a:gd name="T5" fmla="*/ 0 h 9"/>
                <a:gd name="T6" fmla="*/ 6 w 9"/>
                <a:gd name="T7" fmla="*/ 0 h 9"/>
                <a:gd name="T8" fmla="*/ 5 w 9"/>
                <a:gd name="T9" fmla="*/ 0 h 9"/>
                <a:gd name="T10" fmla="*/ 3 w 9"/>
                <a:gd name="T11" fmla="*/ 0 h 9"/>
                <a:gd name="T12" fmla="*/ 2 w 9"/>
                <a:gd name="T13" fmla="*/ 0 h 9"/>
                <a:gd name="T14" fmla="*/ 2 w 9"/>
                <a:gd name="T15" fmla="*/ 0 h 9"/>
                <a:gd name="T16" fmla="*/ 0 w 9"/>
                <a:gd name="T17" fmla="*/ 1 h 9"/>
                <a:gd name="T18" fmla="*/ 0 w 9"/>
                <a:gd name="T19" fmla="*/ 4 h 9"/>
                <a:gd name="T20" fmla="*/ 0 w 9"/>
                <a:gd name="T21" fmla="*/ 6 h 9"/>
                <a:gd name="T22" fmla="*/ 2 w 9"/>
                <a:gd name="T23" fmla="*/ 7 h 9"/>
                <a:gd name="T24" fmla="*/ 3 w 9"/>
                <a:gd name="T25" fmla="*/ 9 h 9"/>
                <a:gd name="T26" fmla="*/ 5 w 9"/>
                <a:gd name="T27" fmla="*/ 9 h 9"/>
                <a:gd name="T28" fmla="*/ 8 w 9"/>
                <a:gd name="T29" fmla="*/ 7 h 9"/>
                <a:gd name="T30" fmla="*/ 8 w 9"/>
                <a:gd name="T31" fmla="*/ 7 h 9"/>
                <a:gd name="T32" fmla="*/ 9 w 9"/>
                <a:gd name="T33" fmla="*/ 6 h 9"/>
                <a:gd name="T34" fmla="*/ 9 w 9"/>
                <a:gd name="T35" fmla="*/ 4 h 9"/>
                <a:gd name="T36" fmla="*/ 9 w 9"/>
                <a:gd name="T37" fmla="*/ 1 h 9"/>
                <a:gd name="T38" fmla="*/ 9 w 9"/>
                <a:gd name="T3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" h="9">
                  <a:moveTo>
                    <a:pt x="9" y="1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7"/>
                  </a:lnTo>
                  <a:lnTo>
                    <a:pt x="3" y="9"/>
                  </a:lnTo>
                  <a:lnTo>
                    <a:pt x="5" y="9"/>
                  </a:lnTo>
                  <a:lnTo>
                    <a:pt x="8" y="7"/>
                  </a:lnTo>
                  <a:lnTo>
                    <a:pt x="8" y="7"/>
                  </a:lnTo>
                  <a:lnTo>
                    <a:pt x="9" y="6"/>
                  </a:lnTo>
                  <a:lnTo>
                    <a:pt x="9" y="4"/>
                  </a:lnTo>
                  <a:lnTo>
                    <a:pt x="9" y="1"/>
                  </a:lnTo>
                  <a:lnTo>
                    <a:pt x="9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11" name="Freeform 359"/>
            <p:cNvSpPr>
              <a:spLocks/>
            </p:cNvSpPr>
            <p:nvPr/>
          </p:nvSpPr>
          <p:spPr bwMode="auto">
            <a:xfrm>
              <a:off x="4736846" y="2008971"/>
              <a:ext cx="3663" cy="7937"/>
            </a:xfrm>
            <a:custGeom>
              <a:avLst/>
              <a:gdLst>
                <a:gd name="T0" fmla="*/ 6 w 6"/>
                <a:gd name="T1" fmla="*/ 4 h 12"/>
                <a:gd name="T2" fmla="*/ 6 w 6"/>
                <a:gd name="T3" fmla="*/ 2 h 12"/>
                <a:gd name="T4" fmla="*/ 5 w 6"/>
                <a:gd name="T5" fmla="*/ 0 h 12"/>
                <a:gd name="T6" fmla="*/ 3 w 6"/>
                <a:gd name="T7" fmla="*/ 0 h 12"/>
                <a:gd name="T8" fmla="*/ 3 w 6"/>
                <a:gd name="T9" fmla="*/ 2 h 12"/>
                <a:gd name="T10" fmla="*/ 2 w 6"/>
                <a:gd name="T11" fmla="*/ 3 h 12"/>
                <a:gd name="T12" fmla="*/ 2 w 6"/>
                <a:gd name="T13" fmla="*/ 6 h 12"/>
                <a:gd name="T14" fmla="*/ 0 w 6"/>
                <a:gd name="T15" fmla="*/ 7 h 12"/>
                <a:gd name="T16" fmla="*/ 2 w 6"/>
                <a:gd name="T17" fmla="*/ 9 h 12"/>
                <a:gd name="T18" fmla="*/ 2 w 6"/>
                <a:gd name="T19" fmla="*/ 12 h 12"/>
                <a:gd name="T20" fmla="*/ 3 w 6"/>
                <a:gd name="T21" fmla="*/ 12 h 12"/>
                <a:gd name="T22" fmla="*/ 5 w 6"/>
                <a:gd name="T23" fmla="*/ 12 h 12"/>
                <a:gd name="T24" fmla="*/ 5 w 6"/>
                <a:gd name="T25" fmla="*/ 9 h 12"/>
                <a:gd name="T26" fmla="*/ 5 w 6"/>
                <a:gd name="T27" fmla="*/ 7 h 12"/>
                <a:gd name="T28" fmla="*/ 6 w 6"/>
                <a:gd name="T29" fmla="*/ 4 h 12"/>
                <a:gd name="T30" fmla="*/ 6 w 6"/>
                <a:gd name="T31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" h="12">
                  <a:moveTo>
                    <a:pt x="6" y="4"/>
                  </a:moveTo>
                  <a:lnTo>
                    <a:pt x="6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2" y="3"/>
                  </a:lnTo>
                  <a:lnTo>
                    <a:pt x="2" y="6"/>
                  </a:lnTo>
                  <a:lnTo>
                    <a:pt x="0" y="7"/>
                  </a:lnTo>
                  <a:lnTo>
                    <a:pt x="2" y="9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9"/>
                  </a:lnTo>
                  <a:lnTo>
                    <a:pt x="5" y="7"/>
                  </a:lnTo>
                  <a:lnTo>
                    <a:pt x="6" y="4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12" name="Freeform 360"/>
            <p:cNvSpPr>
              <a:spLocks/>
            </p:cNvSpPr>
            <p:nvPr/>
          </p:nvSpPr>
          <p:spPr bwMode="auto">
            <a:xfrm>
              <a:off x="4830874" y="2007648"/>
              <a:ext cx="10990" cy="19844"/>
            </a:xfrm>
            <a:custGeom>
              <a:avLst/>
              <a:gdLst>
                <a:gd name="T0" fmla="*/ 14 w 17"/>
                <a:gd name="T1" fmla="*/ 11 h 28"/>
                <a:gd name="T2" fmla="*/ 16 w 17"/>
                <a:gd name="T3" fmla="*/ 8 h 28"/>
                <a:gd name="T4" fmla="*/ 16 w 17"/>
                <a:gd name="T5" fmla="*/ 5 h 28"/>
                <a:gd name="T6" fmla="*/ 16 w 17"/>
                <a:gd name="T7" fmla="*/ 3 h 28"/>
                <a:gd name="T8" fmla="*/ 17 w 17"/>
                <a:gd name="T9" fmla="*/ 1 h 28"/>
                <a:gd name="T10" fmla="*/ 16 w 17"/>
                <a:gd name="T11" fmla="*/ 0 h 28"/>
                <a:gd name="T12" fmla="*/ 13 w 17"/>
                <a:gd name="T13" fmla="*/ 1 h 28"/>
                <a:gd name="T14" fmla="*/ 11 w 17"/>
                <a:gd name="T15" fmla="*/ 3 h 28"/>
                <a:gd name="T16" fmla="*/ 10 w 17"/>
                <a:gd name="T17" fmla="*/ 4 h 28"/>
                <a:gd name="T18" fmla="*/ 9 w 17"/>
                <a:gd name="T19" fmla="*/ 4 h 28"/>
                <a:gd name="T20" fmla="*/ 9 w 17"/>
                <a:gd name="T21" fmla="*/ 5 h 28"/>
                <a:gd name="T22" fmla="*/ 7 w 17"/>
                <a:gd name="T23" fmla="*/ 10 h 28"/>
                <a:gd name="T24" fmla="*/ 9 w 17"/>
                <a:gd name="T25" fmla="*/ 13 h 28"/>
                <a:gd name="T26" fmla="*/ 7 w 17"/>
                <a:gd name="T27" fmla="*/ 14 h 28"/>
                <a:gd name="T28" fmla="*/ 4 w 17"/>
                <a:gd name="T29" fmla="*/ 15 h 28"/>
                <a:gd name="T30" fmla="*/ 3 w 17"/>
                <a:gd name="T31" fmla="*/ 18 h 28"/>
                <a:gd name="T32" fmla="*/ 1 w 17"/>
                <a:gd name="T33" fmla="*/ 20 h 28"/>
                <a:gd name="T34" fmla="*/ 0 w 17"/>
                <a:gd name="T35" fmla="*/ 24 h 28"/>
                <a:gd name="T36" fmla="*/ 0 w 17"/>
                <a:gd name="T37" fmla="*/ 27 h 28"/>
                <a:gd name="T38" fmla="*/ 0 w 17"/>
                <a:gd name="T39" fmla="*/ 28 h 28"/>
                <a:gd name="T40" fmla="*/ 3 w 17"/>
                <a:gd name="T41" fmla="*/ 28 h 28"/>
                <a:gd name="T42" fmla="*/ 3 w 17"/>
                <a:gd name="T43" fmla="*/ 27 h 28"/>
                <a:gd name="T44" fmla="*/ 6 w 17"/>
                <a:gd name="T45" fmla="*/ 27 h 28"/>
                <a:gd name="T46" fmla="*/ 7 w 17"/>
                <a:gd name="T47" fmla="*/ 24 h 28"/>
                <a:gd name="T48" fmla="*/ 9 w 17"/>
                <a:gd name="T49" fmla="*/ 23 h 28"/>
                <a:gd name="T50" fmla="*/ 9 w 17"/>
                <a:gd name="T51" fmla="*/ 18 h 28"/>
                <a:gd name="T52" fmla="*/ 10 w 17"/>
                <a:gd name="T53" fmla="*/ 17 h 28"/>
                <a:gd name="T54" fmla="*/ 11 w 17"/>
                <a:gd name="T55" fmla="*/ 15 h 28"/>
                <a:gd name="T56" fmla="*/ 13 w 17"/>
                <a:gd name="T57" fmla="*/ 14 h 28"/>
                <a:gd name="T58" fmla="*/ 14 w 17"/>
                <a:gd name="T59" fmla="*/ 14 h 28"/>
                <a:gd name="T60" fmla="*/ 14 w 17"/>
                <a:gd name="T61" fmla="*/ 11 h 28"/>
                <a:gd name="T62" fmla="*/ 14 w 17"/>
                <a:gd name="T63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" h="28">
                  <a:moveTo>
                    <a:pt x="14" y="11"/>
                  </a:moveTo>
                  <a:lnTo>
                    <a:pt x="16" y="8"/>
                  </a:lnTo>
                  <a:lnTo>
                    <a:pt x="16" y="5"/>
                  </a:lnTo>
                  <a:lnTo>
                    <a:pt x="16" y="3"/>
                  </a:lnTo>
                  <a:lnTo>
                    <a:pt x="17" y="1"/>
                  </a:lnTo>
                  <a:lnTo>
                    <a:pt x="16" y="0"/>
                  </a:lnTo>
                  <a:lnTo>
                    <a:pt x="13" y="1"/>
                  </a:lnTo>
                  <a:lnTo>
                    <a:pt x="11" y="3"/>
                  </a:lnTo>
                  <a:lnTo>
                    <a:pt x="10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7" y="10"/>
                  </a:lnTo>
                  <a:lnTo>
                    <a:pt x="9" y="13"/>
                  </a:lnTo>
                  <a:lnTo>
                    <a:pt x="7" y="14"/>
                  </a:lnTo>
                  <a:lnTo>
                    <a:pt x="4" y="15"/>
                  </a:lnTo>
                  <a:lnTo>
                    <a:pt x="3" y="18"/>
                  </a:lnTo>
                  <a:lnTo>
                    <a:pt x="1" y="20"/>
                  </a:lnTo>
                  <a:lnTo>
                    <a:pt x="0" y="24"/>
                  </a:lnTo>
                  <a:lnTo>
                    <a:pt x="0" y="27"/>
                  </a:lnTo>
                  <a:lnTo>
                    <a:pt x="0" y="28"/>
                  </a:lnTo>
                  <a:lnTo>
                    <a:pt x="3" y="28"/>
                  </a:lnTo>
                  <a:lnTo>
                    <a:pt x="3" y="27"/>
                  </a:lnTo>
                  <a:lnTo>
                    <a:pt x="6" y="27"/>
                  </a:lnTo>
                  <a:lnTo>
                    <a:pt x="7" y="24"/>
                  </a:lnTo>
                  <a:lnTo>
                    <a:pt x="9" y="23"/>
                  </a:lnTo>
                  <a:lnTo>
                    <a:pt x="9" y="18"/>
                  </a:lnTo>
                  <a:lnTo>
                    <a:pt x="10" y="17"/>
                  </a:lnTo>
                  <a:lnTo>
                    <a:pt x="11" y="15"/>
                  </a:lnTo>
                  <a:lnTo>
                    <a:pt x="13" y="14"/>
                  </a:lnTo>
                  <a:lnTo>
                    <a:pt x="14" y="14"/>
                  </a:lnTo>
                  <a:lnTo>
                    <a:pt x="14" y="11"/>
                  </a:lnTo>
                  <a:lnTo>
                    <a:pt x="14" y="1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13" name="Freeform 361"/>
            <p:cNvSpPr>
              <a:spLocks/>
            </p:cNvSpPr>
            <p:nvPr/>
          </p:nvSpPr>
          <p:spPr bwMode="auto">
            <a:xfrm>
              <a:off x="4835758" y="2020877"/>
              <a:ext cx="14654" cy="23812"/>
            </a:xfrm>
            <a:custGeom>
              <a:avLst/>
              <a:gdLst>
                <a:gd name="T0" fmla="*/ 10 w 24"/>
                <a:gd name="T1" fmla="*/ 8 h 34"/>
                <a:gd name="T2" fmla="*/ 9 w 24"/>
                <a:gd name="T3" fmla="*/ 11 h 34"/>
                <a:gd name="T4" fmla="*/ 7 w 24"/>
                <a:gd name="T5" fmla="*/ 14 h 34"/>
                <a:gd name="T6" fmla="*/ 4 w 24"/>
                <a:gd name="T7" fmla="*/ 15 h 34"/>
                <a:gd name="T8" fmla="*/ 2 w 24"/>
                <a:gd name="T9" fmla="*/ 17 h 34"/>
                <a:gd name="T10" fmla="*/ 0 w 24"/>
                <a:gd name="T11" fmla="*/ 18 h 34"/>
                <a:gd name="T12" fmla="*/ 0 w 24"/>
                <a:gd name="T13" fmla="*/ 18 h 34"/>
                <a:gd name="T14" fmla="*/ 0 w 24"/>
                <a:gd name="T15" fmla="*/ 21 h 34"/>
                <a:gd name="T16" fmla="*/ 2 w 24"/>
                <a:gd name="T17" fmla="*/ 23 h 34"/>
                <a:gd name="T18" fmla="*/ 3 w 24"/>
                <a:gd name="T19" fmla="*/ 24 h 34"/>
                <a:gd name="T20" fmla="*/ 4 w 24"/>
                <a:gd name="T21" fmla="*/ 25 h 34"/>
                <a:gd name="T22" fmla="*/ 3 w 24"/>
                <a:gd name="T23" fmla="*/ 28 h 34"/>
                <a:gd name="T24" fmla="*/ 3 w 24"/>
                <a:gd name="T25" fmla="*/ 31 h 34"/>
                <a:gd name="T26" fmla="*/ 4 w 24"/>
                <a:gd name="T27" fmla="*/ 33 h 34"/>
                <a:gd name="T28" fmla="*/ 7 w 24"/>
                <a:gd name="T29" fmla="*/ 34 h 34"/>
                <a:gd name="T30" fmla="*/ 9 w 24"/>
                <a:gd name="T31" fmla="*/ 33 h 34"/>
                <a:gd name="T32" fmla="*/ 12 w 24"/>
                <a:gd name="T33" fmla="*/ 31 h 34"/>
                <a:gd name="T34" fmla="*/ 16 w 24"/>
                <a:gd name="T35" fmla="*/ 30 h 34"/>
                <a:gd name="T36" fmla="*/ 17 w 24"/>
                <a:gd name="T37" fmla="*/ 28 h 34"/>
                <a:gd name="T38" fmla="*/ 19 w 24"/>
                <a:gd name="T39" fmla="*/ 27 h 34"/>
                <a:gd name="T40" fmla="*/ 19 w 24"/>
                <a:gd name="T41" fmla="*/ 25 h 34"/>
                <a:gd name="T42" fmla="*/ 17 w 24"/>
                <a:gd name="T43" fmla="*/ 25 h 34"/>
                <a:gd name="T44" fmla="*/ 16 w 24"/>
                <a:gd name="T45" fmla="*/ 24 h 34"/>
                <a:gd name="T46" fmla="*/ 17 w 24"/>
                <a:gd name="T47" fmla="*/ 23 h 34"/>
                <a:gd name="T48" fmla="*/ 20 w 24"/>
                <a:gd name="T49" fmla="*/ 21 h 34"/>
                <a:gd name="T50" fmla="*/ 20 w 24"/>
                <a:gd name="T51" fmla="*/ 18 h 34"/>
                <a:gd name="T52" fmla="*/ 20 w 24"/>
                <a:gd name="T53" fmla="*/ 17 h 34"/>
                <a:gd name="T54" fmla="*/ 19 w 24"/>
                <a:gd name="T55" fmla="*/ 15 h 34"/>
                <a:gd name="T56" fmla="*/ 17 w 24"/>
                <a:gd name="T57" fmla="*/ 14 h 34"/>
                <a:gd name="T58" fmla="*/ 17 w 24"/>
                <a:gd name="T59" fmla="*/ 13 h 34"/>
                <a:gd name="T60" fmla="*/ 19 w 24"/>
                <a:gd name="T61" fmla="*/ 11 h 34"/>
                <a:gd name="T62" fmla="*/ 22 w 24"/>
                <a:gd name="T63" fmla="*/ 10 h 34"/>
                <a:gd name="T64" fmla="*/ 23 w 24"/>
                <a:gd name="T65" fmla="*/ 8 h 34"/>
                <a:gd name="T66" fmla="*/ 23 w 24"/>
                <a:gd name="T67" fmla="*/ 7 h 34"/>
                <a:gd name="T68" fmla="*/ 24 w 24"/>
                <a:gd name="T69" fmla="*/ 4 h 34"/>
                <a:gd name="T70" fmla="*/ 22 w 24"/>
                <a:gd name="T71" fmla="*/ 1 h 34"/>
                <a:gd name="T72" fmla="*/ 19 w 24"/>
                <a:gd name="T73" fmla="*/ 0 h 34"/>
                <a:gd name="T74" fmla="*/ 17 w 24"/>
                <a:gd name="T75" fmla="*/ 0 h 34"/>
                <a:gd name="T76" fmla="*/ 14 w 24"/>
                <a:gd name="T77" fmla="*/ 1 h 34"/>
                <a:gd name="T78" fmla="*/ 13 w 24"/>
                <a:gd name="T79" fmla="*/ 3 h 34"/>
                <a:gd name="T80" fmla="*/ 10 w 24"/>
                <a:gd name="T81" fmla="*/ 4 h 34"/>
                <a:gd name="T82" fmla="*/ 10 w 24"/>
                <a:gd name="T83" fmla="*/ 8 h 34"/>
                <a:gd name="T84" fmla="*/ 10 w 24"/>
                <a:gd name="T85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4" h="34">
                  <a:moveTo>
                    <a:pt x="10" y="8"/>
                  </a:moveTo>
                  <a:lnTo>
                    <a:pt x="9" y="11"/>
                  </a:lnTo>
                  <a:lnTo>
                    <a:pt x="7" y="14"/>
                  </a:lnTo>
                  <a:lnTo>
                    <a:pt x="4" y="15"/>
                  </a:lnTo>
                  <a:lnTo>
                    <a:pt x="2" y="17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21"/>
                  </a:lnTo>
                  <a:lnTo>
                    <a:pt x="2" y="23"/>
                  </a:lnTo>
                  <a:lnTo>
                    <a:pt x="3" y="24"/>
                  </a:lnTo>
                  <a:lnTo>
                    <a:pt x="4" y="25"/>
                  </a:lnTo>
                  <a:lnTo>
                    <a:pt x="3" y="28"/>
                  </a:lnTo>
                  <a:lnTo>
                    <a:pt x="3" y="31"/>
                  </a:lnTo>
                  <a:lnTo>
                    <a:pt x="4" y="33"/>
                  </a:lnTo>
                  <a:lnTo>
                    <a:pt x="7" y="34"/>
                  </a:lnTo>
                  <a:lnTo>
                    <a:pt x="9" y="33"/>
                  </a:lnTo>
                  <a:lnTo>
                    <a:pt x="12" y="31"/>
                  </a:lnTo>
                  <a:lnTo>
                    <a:pt x="16" y="30"/>
                  </a:lnTo>
                  <a:lnTo>
                    <a:pt x="17" y="28"/>
                  </a:lnTo>
                  <a:lnTo>
                    <a:pt x="19" y="27"/>
                  </a:lnTo>
                  <a:lnTo>
                    <a:pt x="19" y="25"/>
                  </a:lnTo>
                  <a:lnTo>
                    <a:pt x="17" y="25"/>
                  </a:lnTo>
                  <a:lnTo>
                    <a:pt x="16" y="24"/>
                  </a:lnTo>
                  <a:lnTo>
                    <a:pt x="17" y="23"/>
                  </a:lnTo>
                  <a:lnTo>
                    <a:pt x="20" y="21"/>
                  </a:lnTo>
                  <a:lnTo>
                    <a:pt x="20" y="18"/>
                  </a:lnTo>
                  <a:lnTo>
                    <a:pt x="20" y="17"/>
                  </a:lnTo>
                  <a:lnTo>
                    <a:pt x="19" y="15"/>
                  </a:lnTo>
                  <a:lnTo>
                    <a:pt x="17" y="14"/>
                  </a:lnTo>
                  <a:lnTo>
                    <a:pt x="17" y="13"/>
                  </a:lnTo>
                  <a:lnTo>
                    <a:pt x="19" y="11"/>
                  </a:lnTo>
                  <a:lnTo>
                    <a:pt x="22" y="10"/>
                  </a:lnTo>
                  <a:lnTo>
                    <a:pt x="23" y="8"/>
                  </a:lnTo>
                  <a:lnTo>
                    <a:pt x="23" y="7"/>
                  </a:lnTo>
                  <a:lnTo>
                    <a:pt x="24" y="4"/>
                  </a:lnTo>
                  <a:lnTo>
                    <a:pt x="22" y="1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4" y="1"/>
                  </a:lnTo>
                  <a:lnTo>
                    <a:pt x="13" y="3"/>
                  </a:lnTo>
                  <a:lnTo>
                    <a:pt x="10" y="4"/>
                  </a:lnTo>
                  <a:lnTo>
                    <a:pt x="10" y="8"/>
                  </a:lnTo>
                  <a:lnTo>
                    <a:pt x="10" y="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14" name="Freeform 362"/>
            <p:cNvSpPr>
              <a:spLocks/>
            </p:cNvSpPr>
            <p:nvPr/>
          </p:nvSpPr>
          <p:spPr bwMode="auto">
            <a:xfrm>
              <a:off x="4838201" y="2042043"/>
              <a:ext cx="9769" cy="9260"/>
            </a:xfrm>
            <a:custGeom>
              <a:avLst/>
              <a:gdLst>
                <a:gd name="T0" fmla="*/ 18 w 18"/>
                <a:gd name="T1" fmla="*/ 5 h 13"/>
                <a:gd name="T2" fmla="*/ 16 w 18"/>
                <a:gd name="T3" fmla="*/ 3 h 13"/>
                <a:gd name="T4" fmla="*/ 15 w 18"/>
                <a:gd name="T5" fmla="*/ 2 h 13"/>
                <a:gd name="T6" fmla="*/ 12 w 18"/>
                <a:gd name="T7" fmla="*/ 0 h 13"/>
                <a:gd name="T8" fmla="*/ 8 w 18"/>
                <a:gd name="T9" fmla="*/ 3 h 13"/>
                <a:gd name="T10" fmla="*/ 5 w 18"/>
                <a:gd name="T11" fmla="*/ 5 h 13"/>
                <a:gd name="T12" fmla="*/ 2 w 18"/>
                <a:gd name="T13" fmla="*/ 6 h 13"/>
                <a:gd name="T14" fmla="*/ 0 w 18"/>
                <a:gd name="T15" fmla="*/ 7 h 13"/>
                <a:gd name="T16" fmla="*/ 0 w 18"/>
                <a:gd name="T17" fmla="*/ 9 h 13"/>
                <a:gd name="T18" fmla="*/ 2 w 18"/>
                <a:gd name="T19" fmla="*/ 12 h 13"/>
                <a:gd name="T20" fmla="*/ 6 w 18"/>
                <a:gd name="T21" fmla="*/ 12 h 13"/>
                <a:gd name="T22" fmla="*/ 12 w 18"/>
                <a:gd name="T23" fmla="*/ 13 h 13"/>
                <a:gd name="T24" fmla="*/ 15 w 18"/>
                <a:gd name="T25" fmla="*/ 12 h 13"/>
                <a:gd name="T26" fmla="*/ 16 w 18"/>
                <a:gd name="T27" fmla="*/ 12 h 13"/>
                <a:gd name="T28" fmla="*/ 18 w 18"/>
                <a:gd name="T29" fmla="*/ 10 h 13"/>
                <a:gd name="T30" fmla="*/ 18 w 18"/>
                <a:gd name="T31" fmla="*/ 7 h 13"/>
                <a:gd name="T32" fmla="*/ 18 w 18"/>
                <a:gd name="T33" fmla="*/ 6 h 13"/>
                <a:gd name="T34" fmla="*/ 18 w 18"/>
                <a:gd name="T35" fmla="*/ 5 h 13"/>
                <a:gd name="T36" fmla="*/ 18 w 18"/>
                <a:gd name="T37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13">
                  <a:moveTo>
                    <a:pt x="18" y="5"/>
                  </a:moveTo>
                  <a:lnTo>
                    <a:pt x="16" y="3"/>
                  </a:lnTo>
                  <a:lnTo>
                    <a:pt x="15" y="2"/>
                  </a:lnTo>
                  <a:lnTo>
                    <a:pt x="12" y="0"/>
                  </a:lnTo>
                  <a:lnTo>
                    <a:pt x="8" y="3"/>
                  </a:lnTo>
                  <a:lnTo>
                    <a:pt x="5" y="5"/>
                  </a:lnTo>
                  <a:lnTo>
                    <a:pt x="2" y="6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2"/>
                  </a:lnTo>
                  <a:lnTo>
                    <a:pt x="6" y="12"/>
                  </a:lnTo>
                  <a:lnTo>
                    <a:pt x="12" y="13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8" y="10"/>
                  </a:lnTo>
                  <a:lnTo>
                    <a:pt x="18" y="7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8" y="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15" name="Freeform 363"/>
            <p:cNvSpPr>
              <a:spLocks/>
            </p:cNvSpPr>
            <p:nvPr/>
          </p:nvSpPr>
          <p:spPr bwMode="auto">
            <a:xfrm>
              <a:off x="4849191" y="2038074"/>
              <a:ext cx="7327" cy="9260"/>
            </a:xfrm>
            <a:custGeom>
              <a:avLst/>
              <a:gdLst>
                <a:gd name="T0" fmla="*/ 12 w 12"/>
                <a:gd name="T1" fmla="*/ 9 h 16"/>
                <a:gd name="T2" fmla="*/ 12 w 12"/>
                <a:gd name="T3" fmla="*/ 6 h 16"/>
                <a:gd name="T4" fmla="*/ 9 w 12"/>
                <a:gd name="T5" fmla="*/ 1 h 16"/>
                <a:gd name="T6" fmla="*/ 4 w 12"/>
                <a:gd name="T7" fmla="*/ 0 h 16"/>
                <a:gd name="T8" fmla="*/ 1 w 12"/>
                <a:gd name="T9" fmla="*/ 1 h 16"/>
                <a:gd name="T10" fmla="*/ 0 w 12"/>
                <a:gd name="T11" fmla="*/ 4 h 16"/>
                <a:gd name="T12" fmla="*/ 0 w 12"/>
                <a:gd name="T13" fmla="*/ 6 h 16"/>
                <a:gd name="T14" fmla="*/ 0 w 12"/>
                <a:gd name="T15" fmla="*/ 13 h 16"/>
                <a:gd name="T16" fmla="*/ 1 w 12"/>
                <a:gd name="T17" fmla="*/ 14 h 16"/>
                <a:gd name="T18" fmla="*/ 3 w 12"/>
                <a:gd name="T19" fmla="*/ 16 h 16"/>
                <a:gd name="T20" fmla="*/ 4 w 12"/>
                <a:gd name="T21" fmla="*/ 16 h 16"/>
                <a:gd name="T22" fmla="*/ 7 w 12"/>
                <a:gd name="T23" fmla="*/ 16 h 16"/>
                <a:gd name="T24" fmla="*/ 9 w 12"/>
                <a:gd name="T25" fmla="*/ 14 h 16"/>
                <a:gd name="T26" fmla="*/ 10 w 12"/>
                <a:gd name="T27" fmla="*/ 13 h 16"/>
                <a:gd name="T28" fmla="*/ 10 w 12"/>
                <a:gd name="T29" fmla="*/ 10 h 16"/>
                <a:gd name="T30" fmla="*/ 12 w 12"/>
                <a:gd name="T31" fmla="*/ 9 h 16"/>
                <a:gd name="T32" fmla="*/ 12 w 12"/>
                <a:gd name="T33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6">
                  <a:moveTo>
                    <a:pt x="12" y="9"/>
                  </a:moveTo>
                  <a:lnTo>
                    <a:pt x="12" y="6"/>
                  </a:lnTo>
                  <a:lnTo>
                    <a:pt x="9" y="1"/>
                  </a:lnTo>
                  <a:lnTo>
                    <a:pt x="4" y="0"/>
                  </a:lnTo>
                  <a:lnTo>
                    <a:pt x="1" y="1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3"/>
                  </a:lnTo>
                  <a:lnTo>
                    <a:pt x="1" y="14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7" y="16"/>
                  </a:lnTo>
                  <a:lnTo>
                    <a:pt x="9" y="14"/>
                  </a:lnTo>
                  <a:lnTo>
                    <a:pt x="10" y="13"/>
                  </a:lnTo>
                  <a:lnTo>
                    <a:pt x="10" y="10"/>
                  </a:lnTo>
                  <a:lnTo>
                    <a:pt x="12" y="9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16" name="Freeform 364"/>
            <p:cNvSpPr>
              <a:spLocks/>
            </p:cNvSpPr>
            <p:nvPr/>
          </p:nvSpPr>
          <p:spPr bwMode="auto">
            <a:xfrm>
              <a:off x="4846749" y="2051304"/>
              <a:ext cx="7327" cy="9260"/>
            </a:xfrm>
            <a:custGeom>
              <a:avLst/>
              <a:gdLst>
                <a:gd name="T0" fmla="*/ 11 w 11"/>
                <a:gd name="T1" fmla="*/ 5 h 12"/>
                <a:gd name="T2" fmla="*/ 11 w 11"/>
                <a:gd name="T3" fmla="*/ 4 h 12"/>
                <a:gd name="T4" fmla="*/ 11 w 11"/>
                <a:gd name="T5" fmla="*/ 1 h 12"/>
                <a:gd name="T6" fmla="*/ 10 w 11"/>
                <a:gd name="T7" fmla="*/ 1 h 12"/>
                <a:gd name="T8" fmla="*/ 7 w 11"/>
                <a:gd name="T9" fmla="*/ 1 h 12"/>
                <a:gd name="T10" fmla="*/ 4 w 11"/>
                <a:gd name="T11" fmla="*/ 0 h 12"/>
                <a:gd name="T12" fmla="*/ 1 w 11"/>
                <a:gd name="T13" fmla="*/ 0 h 12"/>
                <a:gd name="T14" fmla="*/ 1 w 11"/>
                <a:gd name="T15" fmla="*/ 2 h 12"/>
                <a:gd name="T16" fmla="*/ 1 w 11"/>
                <a:gd name="T17" fmla="*/ 4 h 12"/>
                <a:gd name="T18" fmla="*/ 1 w 11"/>
                <a:gd name="T19" fmla="*/ 7 h 12"/>
                <a:gd name="T20" fmla="*/ 0 w 11"/>
                <a:gd name="T21" fmla="*/ 10 h 12"/>
                <a:gd name="T22" fmla="*/ 1 w 11"/>
                <a:gd name="T23" fmla="*/ 11 h 12"/>
                <a:gd name="T24" fmla="*/ 3 w 11"/>
                <a:gd name="T25" fmla="*/ 12 h 12"/>
                <a:gd name="T26" fmla="*/ 5 w 11"/>
                <a:gd name="T27" fmla="*/ 12 h 12"/>
                <a:gd name="T28" fmla="*/ 7 w 11"/>
                <a:gd name="T29" fmla="*/ 10 h 12"/>
                <a:gd name="T30" fmla="*/ 8 w 11"/>
                <a:gd name="T31" fmla="*/ 8 h 12"/>
                <a:gd name="T32" fmla="*/ 8 w 11"/>
                <a:gd name="T33" fmla="*/ 7 h 12"/>
                <a:gd name="T34" fmla="*/ 11 w 11"/>
                <a:gd name="T35" fmla="*/ 5 h 12"/>
                <a:gd name="T36" fmla="*/ 11 w 11"/>
                <a:gd name="T37" fmla="*/ 5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" h="12">
                  <a:moveTo>
                    <a:pt x="11" y="5"/>
                  </a:moveTo>
                  <a:lnTo>
                    <a:pt x="11" y="4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7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1" y="4"/>
                  </a:lnTo>
                  <a:lnTo>
                    <a:pt x="1" y="7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7" y="10"/>
                  </a:lnTo>
                  <a:lnTo>
                    <a:pt x="8" y="8"/>
                  </a:lnTo>
                  <a:lnTo>
                    <a:pt x="8" y="7"/>
                  </a:lnTo>
                  <a:lnTo>
                    <a:pt x="11" y="5"/>
                  </a:lnTo>
                  <a:lnTo>
                    <a:pt x="11" y="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17" name="Freeform 365"/>
            <p:cNvSpPr>
              <a:spLocks/>
            </p:cNvSpPr>
            <p:nvPr/>
          </p:nvSpPr>
          <p:spPr bwMode="auto">
            <a:xfrm>
              <a:off x="4838201" y="2051304"/>
              <a:ext cx="6106" cy="3969"/>
            </a:xfrm>
            <a:custGeom>
              <a:avLst/>
              <a:gdLst>
                <a:gd name="T0" fmla="*/ 9 w 12"/>
                <a:gd name="T1" fmla="*/ 5 h 5"/>
                <a:gd name="T2" fmla="*/ 10 w 12"/>
                <a:gd name="T3" fmla="*/ 4 h 5"/>
                <a:gd name="T4" fmla="*/ 12 w 12"/>
                <a:gd name="T5" fmla="*/ 1 h 5"/>
                <a:gd name="T6" fmla="*/ 10 w 12"/>
                <a:gd name="T7" fmla="*/ 1 h 5"/>
                <a:gd name="T8" fmla="*/ 8 w 12"/>
                <a:gd name="T9" fmla="*/ 0 h 5"/>
                <a:gd name="T10" fmla="*/ 5 w 12"/>
                <a:gd name="T11" fmla="*/ 0 h 5"/>
                <a:gd name="T12" fmla="*/ 2 w 12"/>
                <a:gd name="T13" fmla="*/ 0 h 5"/>
                <a:gd name="T14" fmla="*/ 0 w 12"/>
                <a:gd name="T15" fmla="*/ 2 h 5"/>
                <a:gd name="T16" fmla="*/ 2 w 12"/>
                <a:gd name="T17" fmla="*/ 4 h 5"/>
                <a:gd name="T18" fmla="*/ 3 w 12"/>
                <a:gd name="T19" fmla="*/ 5 h 5"/>
                <a:gd name="T20" fmla="*/ 6 w 12"/>
                <a:gd name="T21" fmla="*/ 5 h 5"/>
                <a:gd name="T22" fmla="*/ 9 w 12"/>
                <a:gd name="T23" fmla="*/ 5 h 5"/>
                <a:gd name="T24" fmla="*/ 9 w 12"/>
                <a:gd name="T2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5">
                  <a:moveTo>
                    <a:pt x="9" y="5"/>
                  </a:moveTo>
                  <a:lnTo>
                    <a:pt x="10" y="4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8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4"/>
                  </a:lnTo>
                  <a:lnTo>
                    <a:pt x="3" y="5"/>
                  </a:lnTo>
                  <a:lnTo>
                    <a:pt x="6" y="5"/>
                  </a:lnTo>
                  <a:lnTo>
                    <a:pt x="9" y="5"/>
                  </a:lnTo>
                  <a:lnTo>
                    <a:pt x="9" y="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18" name="Freeform 366"/>
            <p:cNvSpPr>
              <a:spLocks/>
            </p:cNvSpPr>
            <p:nvPr/>
          </p:nvSpPr>
          <p:spPr bwMode="auto">
            <a:xfrm>
              <a:off x="4819883" y="2051304"/>
              <a:ext cx="10990" cy="13229"/>
            </a:xfrm>
            <a:custGeom>
              <a:avLst/>
              <a:gdLst>
                <a:gd name="T0" fmla="*/ 15 w 19"/>
                <a:gd name="T1" fmla="*/ 14 h 20"/>
                <a:gd name="T2" fmla="*/ 19 w 19"/>
                <a:gd name="T3" fmla="*/ 8 h 20"/>
                <a:gd name="T4" fmla="*/ 19 w 19"/>
                <a:gd name="T5" fmla="*/ 7 h 20"/>
                <a:gd name="T6" fmla="*/ 19 w 19"/>
                <a:gd name="T7" fmla="*/ 5 h 20"/>
                <a:gd name="T8" fmla="*/ 18 w 19"/>
                <a:gd name="T9" fmla="*/ 4 h 20"/>
                <a:gd name="T10" fmla="*/ 18 w 19"/>
                <a:gd name="T11" fmla="*/ 2 h 20"/>
                <a:gd name="T12" fmla="*/ 16 w 19"/>
                <a:gd name="T13" fmla="*/ 1 h 20"/>
                <a:gd name="T14" fmla="*/ 15 w 19"/>
                <a:gd name="T15" fmla="*/ 0 h 20"/>
                <a:gd name="T16" fmla="*/ 10 w 19"/>
                <a:gd name="T17" fmla="*/ 1 h 20"/>
                <a:gd name="T18" fmla="*/ 9 w 19"/>
                <a:gd name="T19" fmla="*/ 4 h 20"/>
                <a:gd name="T20" fmla="*/ 8 w 19"/>
                <a:gd name="T21" fmla="*/ 7 h 20"/>
                <a:gd name="T22" fmla="*/ 8 w 19"/>
                <a:gd name="T23" fmla="*/ 10 h 20"/>
                <a:gd name="T24" fmla="*/ 6 w 19"/>
                <a:gd name="T25" fmla="*/ 12 h 20"/>
                <a:gd name="T26" fmla="*/ 2 w 19"/>
                <a:gd name="T27" fmla="*/ 14 h 20"/>
                <a:gd name="T28" fmla="*/ 0 w 19"/>
                <a:gd name="T29" fmla="*/ 17 h 20"/>
                <a:gd name="T30" fmla="*/ 2 w 19"/>
                <a:gd name="T31" fmla="*/ 20 h 20"/>
                <a:gd name="T32" fmla="*/ 3 w 19"/>
                <a:gd name="T33" fmla="*/ 20 h 20"/>
                <a:gd name="T34" fmla="*/ 5 w 19"/>
                <a:gd name="T35" fmla="*/ 20 h 20"/>
                <a:gd name="T36" fmla="*/ 8 w 19"/>
                <a:gd name="T37" fmla="*/ 20 h 20"/>
                <a:gd name="T38" fmla="*/ 10 w 19"/>
                <a:gd name="T39" fmla="*/ 20 h 20"/>
                <a:gd name="T40" fmla="*/ 13 w 19"/>
                <a:gd name="T41" fmla="*/ 20 h 20"/>
                <a:gd name="T42" fmla="*/ 15 w 19"/>
                <a:gd name="T43" fmla="*/ 17 h 20"/>
                <a:gd name="T44" fmla="*/ 15 w 19"/>
                <a:gd name="T45" fmla="*/ 14 h 20"/>
                <a:gd name="T46" fmla="*/ 15 w 19"/>
                <a:gd name="T4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" h="20">
                  <a:moveTo>
                    <a:pt x="15" y="14"/>
                  </a:moveTo>
                  <a:lnTo>
                    <a:pt x="19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8" y="4"/>
                  </a:lnTo>
                  <a:lnTo>
                    <a:pt x="18" y="2"/>
                  </a:lnTo>
                  <a:lnTo>
                    <a:pt x="16" y="1"/>
                  </a:lnTo>
                  <a:lnTo>
                    <a:pt x="15" y="0"/>
                  </a:lnTo>
                  <a:lnTo>
                    <a:pt x="10" y="1"/>
                  </a:lnTo>
                  <a:lnTo>
                    <a:pt x="9" y="4"/>
                  </a:lnTo>
                  <a:lnTo>
                    <a:pt x="8" y="7"/>
                  </a:lnTo>
                  <a:lnTo>
                    <a:pt x="8" y="10"/>
                  </a:lnTo>
                  <a:lnTo>
                    <a:pt x="6" y="12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5" y="20"/>
                  </a:lnTo>
                  <a:lnTo>
                    <a:pt x="8" y="20"/>
                  </a:lnTo>
                  <a:lnTo>
                    <a:pt x="10" y="20"/>
                  </a:lnTo>
                  <a:lnTo>
                    <a:pt x="13" y="20"/>
                  </a:lnTo>
                  <a:lnTo>
                    <a:pt x="15" y="17"/>
                  </a:lnTo>
                  <a:lnTo>
                    <a:pt x="15" y="14"/>
                  </a:lnTo>
                  <a:lnTo>
                    <a:pt x="15" y="1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19" name="Freeform 367"/>
            <p:cNvSpPr>
              <a:spLocks/>
            </p:cNvSpPr>
            <p:nvPr/>
          </p:nvSpPr>
          <p:spPr bwMode="auto">
            <a:xfrm>
              <a:off x="4835758" y="2064533"/>
              <a:ext cx="13433" cy="9260"/>
            </a:xfrm>
            <a:custGeom>
              <a:avLst/>
              <a:gdLst>
                <a:gd name="T0" fmla="*/ 20 w 23"/>
                <a:gd name="T1" fmla="*/ 12 h 16"/>
                <a:gd name="T2" fmla="*/ 23 w 23"/>
                <a:gd name="T3" fmla="*/ 9 h 16"/>
                <a:gd name="T4" fmla="*/ 23 w 23"/>
                <a:gd name="T5" fmla="*/ 7 h 16"/>
                <a:gd name="T6" fmla="*/ 22 w 23"/>
                <a:gd name="T7" fmla="*/ 2 h 16"/>
                <a:gd name="T8" fmla="*/ 19 w 23"/>
                <a:gd name="T9" fmla="*/ 0 h 16"/>
                <a:gd name="T10" fmla="*/ 14 w 23"/>
                <a:gd name="T11" fmla="*/ 0 h 16"/>
                <a:gd name="T12" fmla="*/ 12 w 23"/>
                <a:gd name="T13" fmla="*/ 2 h 16"/>
                <a:gd name="T14" fmla="*/ 10 w 23"/>
                <a:gd name="T15" fmla="*/ 3 h 16"/>
                <a:gd name="T16" fmla="*/ 9 w 23"/>
                <a:gd name="T17" fmla="*/ 6 h 16"/>
                <a:gd name="T18" fmla="*/ 7 w 23"/>
                <a:gd name="T19" fmla="*/ 7 h 16"/>
                <a:gd name="T20" fmla="*/ 4 w 23"/>
                <a:gd name="T21" fmla="*/ 3 h 16"/>
                <a:gd name="T22" fmla="*/ 3 w 23"/>
                <a:gd name="T23" fmla="*/ 3 h 16"/>
                <a:gd name="T24" fmla="*/ 0 w 23"/>
                <a:gd name="T25" fmla="*/ 4 h 16"/>
                <a:gd name="T26" fmla="*/ 0 w 23"/>
                <a:gd name="T27" fmla="*/ 6 h 16"/>
                <a:gd name="T28" fmla="*/ 2 w 23"/>
                <a:gd name="T29" fmla="*/ 12 h 16"/>
                <a:gd name="T30" fmla="*/ 3 w 23"/>
                <a:gd name="T31" fmla="*/ 14 h 16"/>
                <a:gd name="T32" fmla="*/ 7 w 23"/>
                <a:gd name="T33" fmla="*/ 16 h 16"/>
                <a:gd name="T34" fmla="*/ 10 w 23"/>
                <a:gd name="T35" fmla="*/ 16 h 16"/>
                <a:gd name="T36" fmla="*/ 13 w 23"/>
                <a:gd name="T37" fmla="*/ 14 h 16"/>
                <a:gd name="T38" fmla="*/ 16 w 23"/>
                <a:gd name="T39" fmla="*/ 14 h 16"/>
                <a:gd name="T40" fmla="*/ 17 w 23"/>
                <a:gd name="T41" fmla="*/ 13 h 16"/>
                <a:gd name="T42" fmla="*/ 20 w 23"/>
                <a:gd name="T43" fmla="*/ 12 h 16"/>
                <a:gd name="T44" fmla="*/ 20 w 23"/>
                <a:gd name="T45" fmla="*/ 12 h 16"/>
                <a:gd name="T46" fmla="*/ 20 w 23"/>
                <a:gd name="T47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" h="16">
                  <a:moveTo>
                    <a:pt x="20" y="12"/>
                  </a:moveTo>
                  <a:lnTo>
                    <a:pt x="23" y="9"/>
                  </a:lnTo>
                  <a:lnTo>
                    <a:pt x="23" y="7"/>
                  </a:lnTo>
                  <a:lnTo>
                    <a:pt x="22" y="2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10" y="3"/>
                  </a:lnTo>
                  <a:lnTo>
                    <a:pt x="9" y="6"/>
                  </a:lnTo>
                  <a:lnTo>
                    <a:pt x="7" y="7"/>
                  </a:lnTo>
                  <a:lnTo>
                    <a:pt x="4" y="3"/>
                  </a:lnTo>
                  <a:lnTo>
                    <a:pt x="3" y="3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12"/>
                  </a:lnTo>
                  <a:lnTo>
                    <a:pt x="3" y="14"/>
                  </a:lnTo>
                  <a:lnTo>
                    <a:pt x="7" y="16"/>
                  </a:lnTo>
                  <a:lnTo>
                    <a:pt x="10" y="16"/>
                  </a:lnTo>
                  <a:lnTo>
                    <a:pt x="13" y="14"/>
                  </a:lnTo>
                  <a:lnTo>
                    <a:pt x="16" y="14"/>
                  </a:lnTo>
                  <a:lnTo>
                    <a:pt x="17" y="13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20" name="Freeform 368"/>
            <p:cNvSpPr>
              <a:spLocks/>
            </p:cNvSpPr>
            <p:nvPr/>
          </p:nvSpPr>
          <p:spPr bwMode="auto">
            <a:xfrm>
              <a:off x="4856518" y="2061887"/>
              <a:ext cx="8548" cy="11906"/>
            </a:xfrm>
            <a:custGeom>
              <a:avLst/>
              <a:gdLst>
                <a:gd name="T0" fmla="*/ 1 w 13"/>
                <a:gd name="T1" fmla="*/ 9 h 17"/>
                <a:gd name="T2" fmla="*/ 6 w 13"/>
                <a:gd name="T3" fmla="*/ 16 h 17"/>
                <a:gd name="T4" fmla="*/ 7 w 13"/>
                <a:gd name="T5" fmla="*/ 17 h 17"/>
                <a:gd name="T6" fmla="*/ 9 w 13"/>
                <a:gd name="T7" fmla="*/ 17 h 17"/>
                <a:gd name="T8" fmla="*/ 11 w 13"/>
                <a:gd name="T9" fmla="*/ 16 h 17"/>
                <a:gd name="T10" fmla="*/ 13 w 13"/>
                <a:gd name="T11" fmla="*/ 13 h 17"/>
                <a:gd name="T12" fmla="*/ 13 w 13"/>
                <a:gd name="T13" fmla="*/ 10 h 17"/>
                <a:gd name="T14" fmla="*/ 13 w 13"/>
                <a:gd name="T15" fmla="*/ 9 h 17"/>
                <a:gd name="T16" fmla="*/ 10 w 13"/>
                <a:gd name="T17" fmla="*/ 7 h 17"/>
                <a:gd name="T18" fmla="*/ 10 w 13"/>
                <a:gd name="T19" fmla="*/ 6 h 17"/>
                <a:gd name="T20" fmla="*/ 10 w 13"/>
                <a:gd name="T21" fmla="*/ 2 h 17"/>
                <a:gd name="T22" fmla="*/ 9 w 13"/>
                <a:gd name="T23" fmla="*/ 0 h 17"/>
                <a:gd name="T24" fmla="*/ 4 w 13"/>
                <a:gd name="T25" fmla="*/ 0 h 17"/>
                <a:gd name="T26" fmla="*/ 0 w 13"/>
                <a:gd name="T27" fmla="*/ 0 h 17"/>
                <a:gd name="T28" fmla="*/ 0 w 13"/>
                <a:gd name="T29" fmla="*/ 2 h 17"/>
                <a:gd name="T30" fmla="*/ 0 w 13"/>
                <a:gd name="T31" fmla="*/ 5 h 17"/>
                <a:gd name="T32" fmla="*/ 0 w 13"/>
                <a:gd name="T33" fmla="*/ 6 h 17"/>
                <a:gd name="T34" fmla="*/ 1 w 13"/>
                <a:gd name="T35" fmla="*/ 9 h 17"/>
                <a:gd name="T36" fmla="*/ 1 w 13"/>
                <a:gd name="T37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" h="17">
                  <a:moveTo>
                    <a:pt x="1" y="9"/>
                  </a:moveTo>
                  <a:lnTo>
                    <a:pt x="6" y="16"/>
                  </a:lnTo>
                  <a:lnTo>
                    <a:pt x="7" y="17"/>
                  </a:lnTo>
                  <a:lnTo>
                    <a:pt x="9" y="17"/>
                  </a:lnTo>
                  <a:lnTo>
                    <a:pt x="11" y="16"/>
                  </a:lnTo>
                  <a:lnTo>
                    <a:pt x="13" y="13"/>
                  </a:lnTo>
                  <a:lnTo>
                    <a:pt x="13" y="10"/>
                  </a:lnTo>
                  <a:lnTo>
                    <a:pt x="13" y="9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10" y="2"/>
                  </a:lnTo>
                  <a:lnTo>
                    <a:pt x="9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6"/>
                  </a:lnTo>
                  <a:lnTo>
                    <a:pt x="1" y="9"/>
                  </a:lnTo>
                  <a:lnTo>
                    <a:pt x="1" y="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21" name="Freeform 369"/>
            <p:cNvSpPr>
              <a:spLocks/>
            </p:cNvSpPr>
            <p:nvPr/>
          </p:nvSpPr>
          <p:spPr bwMode="auto">
            <a:xfrm>
              <a:off x="4836979" y="2073793"/>
              <a:ext cx="34192" cy="37041"/>
            </a:xfrm>
            <a:custGeom>
              <a:avLst/>
              <a:gdLst>
                <a:gd name="T0" fmla="*/ 21 w 56"/>
                <a:gd name="T1" fmla="*/ 11 h 56"/>
                <a:gd name="T2" fmla="*/ 20 w 56"/>
                <a:gd name="T3" fmla="*/ 17 h 56"/>
                <a:gd name="T4" fmla="*/ 19 w 56"/>
                <a:gd name="T5" fmla="*/ 19 h 56"/>
                <a:gd name="T6" fmla="*/ 17 w 56"/>
                <a:gd name="T7" fmla="*/ 21 h 56"/>
                <a:gd name="T8" fmla="*/ 10 w 56"/>
                <a:gd name="T9" fmla="*/ 24 h 56"/>
                <a:gd name="T10" fmla="*/ 3 w 56"/>
                <a:gd name="T11" fmla="*/ 27 h 56"/>
                <a:gd name="T12" fmla="*/ 1 w 56"/>
                <a:gd name="T13" fmla="*/ 29 h 56"/>
                <a:gd name="T14" fmla="*/ 0 w 56"/>
                <a:gd name="T15" fmla="*/ 29 h 56"/>
                <a:gd name="T16" fmla="*/ 0 w 56"/>
                <a:gd name="T17" fmla="*/ 31 h 56"/>
                <a:gd name="T18" fmla="*/ 1 w 56"/>
                <a:gd name="T19" fmla="*/ 34 h 56"/>
                <a:gd name="T20" fmla="*/ 4 w 56"/>
                <a:gd name="T21" fmla="*/ 41 h 56"/>
                <a:gd name="T22" fmla="*/ 9 w 56"/>
                <a:gd name="T23" fmla="*/ 41 h 56"/>
                <a:gd name="T24" fmla="*/ 11 w 56"/>
                <a:gd name="T25" fmla="*/ 44 h 56"/>
                <a:gd name="T26" fmla="*/ 14 w 56"/>
                <a:gd name="T27" fmla="*/ 46 h 56"/>
                <a:gd name="T28" fmla="*/ 16 w 56"/>
                <a:gd name="T29" fmla="*/ 49 h 56"/>
                <a:gd name="T30" fmla="*/ 17 w 56"/>
                <a:gd name="T31" fmla="*/ 50 h 56"/>
                <a:gd name="T32" fmla="*/ 21 w 56"/>
                <a:gd name="T33" fmla="*/ 50 h 56"/>
                <a:gd name="T34" fmla="*/ 24 w 56"/>
                <a:gd name="T35" fmla="*/ 53 h 56"/>
                <a:gd name="T36" fmla="*/ 26 w 56"/>
                <a:gd name="T37" fmla="*/ 56 h 56"/>
                <a:gd name="T38" fmla="*/ 30 w 56"/>
                <a:gd name="T39" fmla="*/ 56 h 56"/>
                <a:gd name="T40" fmla="*/ 32 w 56"/>
                <a:gd name="T41" fmla="*/ 54 h 56"/>
                <a:gd name="T42" fmla="*/ 32 w 56"/>
                <a:gd name="T43" fmla="*/ 53 h 56"/>
                <a:gd name="T44" fmla="*/ 33 w 56"/>
                <a:gd name="T45" fmla="*/ 50 h 56"/>
                <a:gd name="T46" fmla="*/ 32 w 56"/>
                <a:gd name="T47" fmla="*/ 49 h 56"/>
                <a:gd name="T48" fmla="*/ 33 w 56"/>
                <a:gd name="T49" fmla="*/ 46 h 56"/>
                <a:gd name="T50" fmla="*/ 36 w 56"/>
                <a:gd name="T51" fmla="*/ 43 h 56"/>
                <a:gd name="T52" fmla="*/ 39 w 56"/>
                <a:gd name="T53" fmla="*/ 39 h 56"/>
                <a:gd name="T54" fmla="*/ 40 w 56"/>
                <a:gd name="T55" fmla="*/ 39 h 56"/>
                <a:gd name="T56" fmla="*/ 44 w 56"/>
                <a:gd name="T57" fmla="*/ 39 h 56"/>
                <a:gd name="T58" fmla="*/ 46 w 56"/>
                <a:gd name="T59" fmla="*/ 37 h 56"/>
                <a:gd name="T60" fmla="*/ 46 w 56"/>
                <a:gd name="T61" fmla="*/ 33 h 56"/>
                <a:gd name="T62" fmla="*/ 49 w 56"/>
                <a:gd name="T63" fmla="*/ 29 h 56"/>
                <a:gd name="T64" fmla="*/ 54 w 56"/>
                <a:gd name="T65" fmla="*/ 23 h 56"/>
                <a:gd name="T66" fmla="*/ 56 w 56"/>
                <a:gd name="T67" fmla="*/ 20 h 56"/>
                <a:gd name="T68" fmla="*/ 56 w 56"/>
                <a:gd name="T69" fmla="*/ 17 h 56"/>
                <a:gd name="T70" fmla="*/ 54 w 56"/>
                <a:gd name="T71" fmla="*/ 14 h 56"/>
                <a:gd name="T72" fmla="*/ 56 w 56"/>
                <a:gd name="T73" fmla="*/ 10 h 56"/>
                <a:gd name="T74" fmla="*/ 56 w 56"/>
                <a:gd name="T75" fmla="*/ 9 h 56"/>
                <a:gd name="T76" fmla="*/ 53 w 56"/>
                <a:gd name="T77" fmla="*/ 7 h 56"/>
                <a:gd name="T78" fmla="*/ 50 w 56"/>
                <a:gd name="T79" fmla="*/ 7 h 56"/>
                <a:gd name="T80" fmla="*/ 47 w 56"/>
                <a:gd name="T81" fmla="*/ 9 h 56"/>
                <a:gd name="T82" fmla="*/ 46 w 56"/>
                <a:gd name="T83" fmla="*/ 10 h 56"/>
                <a:gd name="T84" fmla="*/ 44 w 56"/>
                <a:gd name="T85" fmla="*/ 10 h 56"/>
                <a:gd name="T86" fmla="*/ 43 w 56"/>
                <a:gd name="T87" fmla="*/ 9 h 56"/>
                <a:gd name="T88" fmla="*/ 43 w 56"/>
                <a:gd name="T89" fmla="*/ 6 h 56"/>
                <a:gd name="T90" fmla="*/ 40 w 56"/>
                <a:gd name="T91" fmla="*/ 3 h 56"/>
                <a:gd name="T92" fmla="*/ 37 w 56"/>
                <a:gd name="T93" fmla="*/ 1 h 56"/>
                <a:gd name="T94" fmla="*/ 36 w 56"/>
                <a:gd name="T95" fmla="*/ 0 h 56"/>
                <a:gd name="T96" fmla="*/ 33 w 56"/>
                <a:gd name="T97" fmla="*/ 0 h 56"/>
                <a:gd name="T98" fmla="*/ 30 w 56"/>
                <a:gd name="T99" fmla="*/ 0 h 56"/>
                <a:gd name="T100" fmla="*/ 27 w 56"/>
                <a:gd name="T101" fmla="*/ 0 h 56"/>
                <a:gd name="T102" fmla="*/ 27 w 56"/>
                <a:gd name="T103" fmla="*/ 0 h 56"/>
                <a:gd name="T104" fmla="*/ 26 w 56"/>
                <a:gd name="T105" fmla="*/ 1 h 56"/>
                <a:gd name="T106" fmla="*/ 26 w 56"/>
                <a:gd name="T107" fmla="*/ 4 h 56"/>
                <a:gd name="T108" fmla="*/ 24 w 56"/>
                <a:gd name="T109" fmla="*/ 6 h 56"/>
                <a:gd name="T110" fmla="*/ 23 w 56"/>
                <a:gd name="T111" fmla="*/ 7 h 56"/>
                <a:gd name="T112" fmla="*/ 21 w 56"/>
                <a:gd name="T113" fmla="*/ 10 h 56"/>
                <a:gd name="T114" fmla="*/ 21 w 56"/>
                <a:gd name="T115" fmla="*/ 11 h 56"/>
                <a:gd name="T116" fmla="*/ 21 w 56"/>
                <a:gd name="T117" fmla="*/ 1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" h="56">
                  <a:moveTo>
                    <a:pt x="21" y="11"/>
                  </a:moveTo>
                  <a:lnTo>
                    <a:pt x="20" y="17"/>
                  </a:lnTo>
                  <a:lnTo>
                    <a:pt x="19" y="19"/>
                  </a:lnTo>
                  <a:lnTo>
                    <a:pt x="17" y="21"/>
                  </a:lnTo>
                  <a:lnTo>
                    <a:pt x="10" y="24"/>
                  </a:lnTo>
                  <a:lnTo>
                    <a:pt x="3" y="27"/>
                  </a:lnTo>
                  <a:lnTo>
                    <a:pt x="1" y="29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1" y="34"/>
                  </a:lnTo>
                  <a:lnTo>
                    <a:pt x="4" y="41"/>
                  </a:lnTo>
                  <a:lnTo>
                    <a:pt x="9" y="41"/>
                  </a:lnTo>
                  <a:lnTo>
                    <a:pt x="11" y="44"/>
                  </a:lnTo>
                  <a:lnTo>
                    <a:pt x="14" y="46"/>
                  </a:lnTo>
                  <a:lnTo>
                    <a:pt x="16" y="49"/>
                  </a:lnTo>
                  <a:lnTo>
                    <a:pt x="17" y="50"/>
                  </a:lnTo>
                  <a:lnTo>
                    <a:pt x="21" y="50"/>
                  </a:lnTo>
                  <a:lnTo>
                    <a:pt x="24" y="53"/>
                  </a:lnTo>
                  <a:lnTo>
                    <a:pt x="26" y="56"/>
                  </a:lnTo>
                  <a:lnTo>
                    <a:pt x="30" y="56"/>
                  </a:lnTo>
                  <a:lnTo>
                    <a:pt x="32" y="54"/>
                  </a:lnTo>
                  <a:lnTo>
                    <a:pt x="32" y="53"/>
                  </a:lnTo>
                  <a:lnTo>
                    <a:pt x="33" y="50"/>
                  </a:lnTo>
                  <a:lnTo>
                    <a:pt x="32" y="49"/>
                  </a:lnTo>
                  <a:lnTo>
                    <a:pt x="33" y="46"/>
                  </a:lnTo>
                  <a:lnTo>
                    <a:pt x="36" y="43"/>
                  </a:lnTo>
                  <a:lnTo>
                    <a:pt x="39" y="39"/>
                  </a:lnTo>
                  <a:lnTo>
                    <a:pt x="40" y="39"/>
                  </a:lnTo>
                  <a:lnTo>
                    <a:pt x="44" y="39"/>
                  </a:lnTo>
                  <a:lnTo>
                    <a:pt x="46" y="37"/>
                  </a:lnTo>
                  <a:lnTo>
                    <a:pt x="46" y="33"/>
                  </a:lnTo>
                  <a:lnTo>
                    <a:pt x="49" y="29"/>
                  </a:lnTo>
                  <a:lnTo>
                    <a:pt x="54" y="23"/>
                  </a:lnTo>
                  <a:lnTo>
                    <a:pt x="56" y="20"/>
                  </a:lnTo>
                  <a:lnTo>
                    <a:pt x="56" y="17"/>
                  </a:lnTo>
                  <a:lnTo>
                    <a:pt x="54" y="14"/>
                  </a:lnTo>
                  <a:lnTo>
                    <a:pt x="56" y="10"/>
                  </a:lnTo>
                  <a:lnTo>
                    <a:pt x="56" y="9"/>
                  </a:lnTo>
                  <a:lnTo>
                    <a:pt x="53" y="7"/>
                  </a:lnTo>
                  <a:lnTo>
                    <a:pt x="50" y="7"/>
                  </a:lnTo>
                  <a:lnTo>
                    <a:pt x="47" y="9"/>
                  </a:lnTo>
                  <a:lnTo>
                    <a:pt x="46" y="10"/>
                  </a:lnTo>
                  <a:lnTo>
                    <a:pt x="44" y="10"/>
                  </a:lnTo>
                  <a:lnTo>
                    <a:pt x="43" y="9"/>
                  </a:lnTo>
                  <a:lnTo>
                    <a:pt x="43" y="6"/>
                  </a:lnTo>
                  <a:lnTo>
                    <a:pt x="40" y="3"/>
                  </a:lnTo>
                  <a:lnTo>
                    <a:pt x="37" y="1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30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6" y="1"/>
                  </a:lnTo>
                  <a:lnTo>
                    <a:pt x="26" y="4"/>
                  </a:lnTo>
                  <a:lnTo>
                    <a:pt x="24" y="6"/>
                  </a:lnTo>
                  <a:lnTo>
                    <a:pt x="23" y="7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22" name="Freeform 370"/>
            <p:cNvSpPr>
              <a:spLocks/>
            </p:cNvSpPr>
            <p:nvPr/>
          </p:nvSpPr>
          <p:spPr bwMode="auto">
            <a:xfrm>
              <a:off x="4862623" y="2072470"/>
              <a:ext cx="42740" cy="48947"/>
            </a:xfrm>
            <a:custGeom>
              <a:avLst/>
              <a:gdLst>
                <a:gd name="T0" fmla="*/ 7 w 69"/>
                <a:gd name="T1" fmla="*/ 39 h 73"/>
                <a:gd name="T2" fmla="*/ 1 w 69"/>
                <a:gd name="T3" fmla="*/ 47 h 73"/>
                <a:gd name="T4" fmla="*/ 1 w 69"/>
                <a:gd name="T5" fmla="*/ 56 h 73"/>
                <a:gd name="T6" fmla="*/ 9 w 69"/>
                <a:gd name="T7" fmla="*/ 69 h 73"/>
                <a:gd name="T8" fmla="*/ 11 w 69"/>
                <a:gd name="T9" fmla="*/ 73 h 73"/>
                <a:gd name="T10" fmla="*/ 13 w 69"/>
                <a:gd name="T11" fmla="*/ 69 h 73"/>
                <a:gd name="T12" fmla="*/ 16 w 69"/>
                <a:gd name="T13" fmla="*/ 62 h 73"/>
                <a:gd name="T14" fmla="*/ 19 w 69"/>
                <a:gd name="T15" fmla="*/ 62 h 73"/>
                <a:gd name="T16" fmla="*/ 23 w 69"/>
                <a:gd name="T17" fmla="*/ 67 h 73"/>
                <a:gd name="T18" fmla="*/ 26 w 69"/>
                <a:gd name="T19" fmla="*/ 72 h 73"/>
                <a:gd name="T20" fmla="*/ 29 w 69"/>
                <a:gd name="T21" fmla="*/ 70 h 73"/>
                <a:gd name="T22" fmla="*/ 30 w 69"/>
                <a:gd name="T23" fmla="*/ 65 h 73"/>
                <a:gd name="T24" fmla="*/ 33 w 69"/>
                <a:gd name="T25" fmla="*/ 63 h 73"/>
                <a:gd name="T26" fmla="*/ 33 w 69"/>
                <a:gd name="T27" fmla="*/ 59 h 73"/>
                <a:gd name="T28" fmla="*/ 29 w 69"/>
                <a:gd name="T29" fmla="*/ 56 h 73"/>
                <a:gd name="T30" fmla="*/ 29 w 69"/>
                <a:gd name="T31" fmla="*/ 52 h 73"/>
                <a:gd name="T32" fmla="*/ 34 w 69"/>
                <a:gd name="T33" fmla="*/ 49 h 73"/>
                <a:gd name="T34" fmla="*/ 40 w 69"/>
                <a:gd name="T35" fmla="*/ 49 h 73"/>
                <a:gd name="T36" fmla="*/ 44 w 69"/>
                <a:gd name="T37" fmla="*/ 49 h 73"/>
                <a:gd name="T38" fmla="*/ 49 w 69"/>
                <a:gd name="T39" fmla="*/ 52 h 73"/>
                <a:gd name="T40" fmla="*/ 50 w 69"/>
                <a:gd name="T41" fmla="*/ 49 h 73"/>
                <a:gd name="T42" fmla="*/ 54 w 69"/>
                <a:gd name="T43" fmla="*/ 52 h 73"/>
                <a:gd name="T44" fmla="*/ 57 w 69"/>
                <a:gd name="T45" fmla="*/ 54 h 73"/>
                <a:gd name="T46" fmla="*/ 63 w 69"/>
                <a:gd name="T47" fmla="*/ 59 h 73"/>
                <a:gd name="T48" fmla="*/ 67 w 69"/>
                <a:gd name="T49" fmla="*/ 57 h 73"/>
                <a:gd name="T50" fmla="*/ 67 w 69"/>
                <a:gd name="T51" fmla="*/ 49 h 73"/>
                <a:gd name="T52" fmla="*/ 67 w 69"/>
                <a:gd name="T53" fmla="*/ 42 h 73"/>
                <a:gd name="T54" fmla="*/ 67 w 69"/>
                <a:gd name="T55" fmla="*/ 34 h 73"/>
                <a:gd name="T56" fmla="*/ 53 w 69"/>
                <a:gd name="T57" fmla="*/ 14 h 73"/>
                <a:gd name="T58" fmla="*/ 46 w 69"/>
                <a:gd name="T59" fmla="*/ 12 h 73"/>
                <a:gd name="T60" fmla="*/ 37 w 69"/>
                <a:gd name="T61" fmla="*/ 9 h 73"/>
                <a:gd name="T62" fmla="*/ 34 w 69"/>
                <a:gd name="T63" fmla="*/ 4 h 73"/>
                <a:gd name="T64" fmla="*/ 27 w 69"/>
                <a:gd name="T65" fmla="*/ 0 h 73"/>
                <a:gd name="T66" fmla="*/ 24 w 69"/>
                <a:gd name="T67" fmla="*/ 0 h 73"/>
                <a:gd name="T68" fmla="*/ 24 w 69"/>
                <a:gd name="T69" fmla="*/ 4 h 73"/>
                <a:gd name="T70" fmla="*/ 24 w 69"/>
                <a:gd name="T71" fmla="*/ 12 h 73"/>
                <a:gd name="T72" fmla="*/ 21 w 69"/>
                <a:gd name="T73" fmla="*/ 14 h 73"/>
                <a:gd name="T74" fmla="*/ 21 w 69"/>
                <a:gd name="T75" fmla="*/ 19 h 73"/>
                <a:gd name="T76" fmla="*/ 19 w 69"/>
                <a:gd name="T77" fmla="*/ 23 h 73"/>
                <a:gd name="T78" fmla="*/ 16 w 69"/>
                <a:gd name="T79" fmla="*/ 26 h 73"/>
                <a:gd name="T80" fmla="*/ 13 w 69"/>
                <a:gd name="T81" fmla="*/ 3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9" h="73">
                  <a:moveTo>
                    <a:pt x="13" y="32"/>
                  </a:moveTo>
                  <a:lnTo>
                    <a:pt x="7" y="39"/>
                  </a:lnTo>
                  <a:lnTo>
                    <a:pt x="3" y="43"/>
                  </a:lnTo>
                  <a:lnTo>
                    <a:pt x="1" y="47"/>
                  </a:lnTo>
                  <a:lnTo>
                    <a:pt x="0" y="50"/>
                  </a:lnTo>
                  <a:lnTo>
                    <a:pt x="1" y="56"/>
                  </a:lnTo>
                  <a:lnTo>
                    <a:pt x="4" y="63"/>
                  </a:lnTo>
                  <a:lnTo>
                    <a:pt x="9" y="69"/>
                  </a:lnTo>
                  <a:lnTo>
                    <a:pt x="10" y="73"/>
                  </a:lnTo>
                  <a:lnTo>
                    <a:pt x="11" y="73"/>
                  </a:lnTo>
                  <a:lnTo>
                    <a:pt x="13" y="72"/>
                  </a:lnTo>
                  <a:lnTo>
                    <a:pt x="13" y="69"/>
                  </a:lnTo>
                  <a:lnTo>
                    <a:pt x="14" y="65"/>
                  </a:lnTo>
                  <a:lnTo>
                    <a:pt x="16" y="62"/>
                  </a:lnTo>
                  <a:lnTo>
                    <a:pt x="17" y="62"/>
                  </a:lnTo>
                  <a:lnTo>
                    <a:pt x="19" y="62"/>
                  </a:lnTo>
                  <a:lnTo>
                    <a:pt x="21" y="65"/>
                  </a:lnTo>
                  <a:lnTo>
                    <a:pt x="23" y="67"/>
                  </a:lnTo>
                  <a:lnTo>
                    <a:pt x="24" y="70"/>
                  </a:lnTo>
                  <a:lnTo>
                    <a:pt x="26" y="72"/>
                  </a:lnTo>
                  <a:lnTo>
                    <a:pt x="27" y="73"/>
                  </a:lnTo>
                  <a:lnTo>
                    <a:pt x="29" y="70"/>
                  </a:lnTo>
                  <a:lnTo>
                    <a:pt x="29" y="67"/>
                  </a:lnTo>
                  <a:lnTo>
                    <a:pt x="30" y="65"/>
                  </a:lnTo>
                  <a:lnTo>
                    <a:pt x="31" y="65"/>
                  </a:lnTo>
                  <a:lnTo>
                    <a:pt x="33" y="63"/>
                  </a:lnTo>
                  <a:lnTo>
                    <a:pt x="33" y="60"/>
                  </a:lnTo>
                  <a:lnTo>
                    <a:pt x="33" y="59"/>
                  </a:lnTo>
                  <a:lnTo>
                    <a:pt x="31" y="59"/>
                  </a:lnTo>
                  <a:lnTo>
                    <a:pt x="29" y="56"/>
                  </a:lnTo>
                  <a:lnTo>
                    <a:pt x="27" y="53"/>
                  </a:lnTo>
                  <a:lnTo>
                    <a:pt x="29" y="52"/>
                  </a:lnTo>
                  <a:lnTo>
                    <a:pt x="30" y="49"/>
                  </a:lnTo>
                  <a:lnTo>
                    <a:pt x="34" y="49"/>
                  </a:lnTo>
                  <a:lnTo>
                    <a:pt x="37" y="50"/>
                  </a:lnTo>
                  <a:lnTo>
                    <a:pt x="40" y="49"/>
                  </a:lnTo>
                  <a:lnTo>
                    <a:pt x="43" y="47"/>
                  </a:lnTo>
                  <a:lnTo>
                    <a:pt x="44" y="49"/>
                  </a:lnTo>
                  <a:lnTo>
                    <a:pt x="46" y="50"/>
                  </a:lnTo>
                  <a:lnTo>
                    <a:pt x="49" y="52"/>
                  </a:lnTo>
                  <a:lnTo>
                    <a:pt x="49" y="50"/>
                  </a:lnTo>
                  <a:lnTo>
                    <a:pt x="50" y="49"/>
                  </a:lnTo>
                  <a:lnTo>
                    <a:pt x="53" y="49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7" y="54"/>
                  </a:lnTo>
                  <a:lnTo>
                    <a:pt x="62" y="56"/>
                  </a:lnTo>
                  <a:lnTo>
                    <a:pt x="63" y="59"/>
                  </a:lnTo>
                  <a:lnTo>
                    <a:pt x="66" y="59"/>
                  </a:lnTo>
                  <a:lnTo>
                    <a:pt x="67" y="57"/>
                  </a:lnTo>
                  <a:lnTo>
                    <a:pt x="67" y="54"/>
                  </a:lnTo>
                  <a:lnTo>
                    <a:pt x="67" y="49"/>
                  </a:lnTo>
                  <a:lnTo>
                    <a:pt x="67" y="46"/>
                  </a:lnTo>
                  <a:lnTo>
                    <a:pt x="67" y="42"/>
                  </a:lnTo>
                  <a:lnTo>
                    <a:pt x="69" y="39"/>
                  </a:lnTo>
                  <a:lnTo>
                    <a:pt x="67" y="34"/>
                  </a:lnTo>
                  <a:lnTo>
                    <a:pt x="60" y="26"/>
                  </a:lnTo>
                  <a:lnTo>
                    <a:pt x="53" y="14"/>
                  </a:lnTo>
                  <a:lnTo>
                    <a:pt x="49" y="12"/>
                  </a:lnTo>
                  <a:lnTo>
                    <a:pt x="46" y="12"/>
                  </a:lnTo>
                  <a:lnTo>
                    <a:pt x="42" y="10"/>
                  </a:lnTo>
                  <a:lnTo>
                    <a:pt x="37" y="9"/>
                  </a:lnTo>
                  <a:lnTo>
                    <a:pt x="36" y="4"/>
                  </a:lnTo>
                  <a:lnTo>
                    <a:pt x="34" y="4"/>
                  </a:lnTo>
                  <a:lnTo>
                    <a:pt x="31" y="3"/>
                  </a:lnTo>
                  <a:lnTo>
                    <a:pt x="27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3" y="1"/>
                  </a:lnTo>
                  <a:lnTo>
                    <a:pt x="24" y="4"/>
                  </a:lnTo>
                  <a:lnTo>
                    <a:pt x="24" y="9"/>
                  </a:lnTo>
                  <a:lnTo>
                    <a:pt x="24" y="12"/>
                  </a:lnTo>
                  <a:lnTo>
                    <a:pt x="23" y="13"/>
                  </a:lnTo>
                  <a:lnTo>
                    <a:pt x="21" y="14"/>
                  </a:lnTo>
                  <a:lnTo>
                    <a:pt x="21" y="16"/>
                  </a:lnTo>
                  <a:lnTo>
                    <a:pt x="21" y="19"/>
                  </a:lnTo>
                  <a:lnTo>
                    <a:pt x="20" y="22"/>
                  </a:lnTo>
                  <a:lnTo>
                    <a:pt x="19" y="23"/>
                  </a:lnTo>
                  <a:lnTo>
                    <a:pt x="17" y="23"/>
                  </a:lnTo>
                  <a:lnTo>
                    <a:pt x="16" y="26"/>
                  </a:lnTo>
                  <a:lnTo>
                    <a:pt x="16" y="29"/>
                  </a:lnTo>
                  <a:lnTo>
                    <a:pt x="13" y="32"/>
                  </a:lnTo>
                  <a:lnTo>
                    <a:pt x="13" y="3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23" name="Freeform 371"/>
            <p:cNvSpPr>
              <a:spLocks/>
            </p:cNvSpPr>
            <p:nvPr/>
          </p:nvSpPr>
          <p:spPr bwMode="auto">
            <a:xfrm>
              <a:off x="4874835" y="2133324"/>
              <a:ext cx="19538" cy="21166"/>
            </a:xfrm>
            <a:custGeom>
              <a:avLst/>
              <a:gdLst>
                <a:gd name="T0" fmla="*/ 31 w 33"/>
                <a:gd name="T1" fmla="*/ 17 h 31"/>
                <a:gd name="T2" fmla="*/ 33 w 33"/>
                <a:gd name="T3" fmla="*/ 13 h 31"/>
                <a:gd name="T4" fmla="*/ 30 w 33"/>
                <a:gd name="T5" fmla="*/ 4 h 31"/>
                <a:gd name="T6" fmla="*/ 25 w 33"/>
                <a:gd name="T7" fmla="*/ 1 h 31"/>
                <a:gd name="T8" fmla="*/ 17 w 33"/>
                <a:gd name="T9" fmla="*/ 0 h 31"/>
                <a:gd name="T10" fmla="*/ 4 w 33"/>
                <a:gd name="T11" fmla="*/ 1 h 31"/>
                <a:gd name="T12" fmla="*/ 1 w 33"/>
                <a:gd name="T13" fmla="*/ 3 h 31"/>
                <a:gd name="T14" fmla="*/ 0 w 33"/>
                <a:gd name="T15" fmla="*/ 4 h 31"/>
                <a:gd name="T16" fmla="*/ 1 w 33"/>
                <a:gd name="T17" fmla="*/ 10 h 31"/>
                <a:gd name="T18" fmla="*/ 5 w 33"/>
                <a:gd name="T19" fmla="*/ 17 h 31"/>
                <a:gd name="T20" fmla="*/ 5 w 33"/>
                <a:gd name="T21" fmla="*/ 18 h 31"/>
                <a:gd name="T22" fmla="*/ 5 w 33"/>
                <a:gd name="T23" fmla="*/ 21 h 31"/>
                <a:gd name="T24" fmla="*/ 4 w 33"/>
                <a:gd name="T25" fmla="*/ 23 h 31"/>
                <a:gd name="T26" fmla="*/ 4 w 33"/>
                <a:gd name="T27" fmla="*/ 24 h 31"/>
                <a:gd name="T28" fmla="*/ 4 w 33"/>
                <a:gd name="T29" fmla="*/ 27 h 31"/>
                <a:gd name="T30" fmla="*/ 4 w 33"/>
                <a:gd name="T31" fmla="*/ 30 h 31"/>
                <a:gd name="T32" fmla="*/ 5 w 33"/>
                <a:gd name="T33" fmla="*/ 31 h 31"/>
                <a:gd name="T34" fmla="*/ 8 w 33"/>
                <a:gd name="T35" fmla="*/ 30 h 31"/>
                <a:gd name="T36" fmla="*/ 10 w 33"/>
                <a:gd name="T37" fmla="*/ 28 h 31"/>
                <a:gd name="T38" fmla="*/ 14 w 33"/>
                <a:gd name="T39" fmla="*/ 28 h 31"/>
                <a:gd name="T40" fmla="*/ 17 w 33"/>
                <a:gd name="T41" fmla="*/ 28 h 31"/>
                <a:gd name="T42" fmla="*/ 20 w 33"/>
                <a:gd name="T43" fmla="*/ 27 h 31"/>
                <a:gd name="T44" fmla="*/ 23 w 33"/>
                <a:gd name="T45" fmla="*/ 25 h 31"/>
                <a:gd name="T46" fmla="*/ 25 w 33"/>
                <a:gd name="T47" fmla="*/ 25 h 31"/>
                <a:gd name="T48" fmla="*/ 27 w 33"/>
                <a:gd name="T49" fmla="*/ 25 h 31"/>
                <a:gd name="T50" fmla="*/ 30 w 33"/>
                <a:gd name="T51" fmla="*/ 24 h 31"/>
                <a:gd name="T52" fmla="*/ 31 w 33"/>
                <a:gd name="T53" fmla="*/ 21 h 31"/>
                <a:gd name="T54" fmla="*/ 31 w 33"/>
                <a:gd name="T55" fmla="*/ 17 h 31"/>
                <a:gd name="T56" fmla="*/ 31 w 33"/>
                <a:gd name="T57" fmla="*/ 1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3" h="31">
                  <a:moveTo>
                    <a:pt x="31" y="17"/>
                  </a:moveTo>
                  <a:lnTo>
                    <a:pt x="33" y="13"/>
                  </a:lnTo>
                  <a:lnTo>
                    <a:pt x="30" y="4"/>
                  </a:lnTo>
                  <a:lnTo>
                    <a:pt x="25" y="1"/>
                  </a:lnTo>
                  <a:lnTo>
                    <a:pt x="17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4"/>
                  </a:lnTo>
                  <a:lnTo>
                    <a:pt x="1" y="10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21"/>
                  </a:lnTo>
                  <a:lnTo>
                    <a:pt x="4" y="23"/>
                  </a:lnTo>
                  <a:lnTo>
                    <a:pt x="4" y="24"/>
                  </a:lnTo>
                  <a:lnTo>
                    <a:pt x="4" y="27"/>
                  </a:lnTo>
                  <a:lnTo>
                    <a:pt x="4" y="30"/>
                  </a:lnTo>
                  <a:lnTo>
                    <a:pt x="5" y="31"/>
                  </a:lnTo>
                  <a:lnTo>
                    <a:pt x="8" y="30"/>
                  </a:lnTo>
                  <a:lnTo>
                    <a:pt x="10" y="28"/>
                  </a:lnTo>
                  <a:lnTo>
                    <a:pt x="14" y="28"/>
                  </a:lnTo>
                  <a:lnTo>
                    <a:pt x="17" y="28"/>
                  </a:lnTo>
                  <a:lnTo>
                    <a:pt x="20" y="27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7" y="25"/>
                  </a:lnTo>
                  <a:lnTo>
                    <a:pt x="30" y="24"/>
                  </a:lnTo>
                  <a:lnTo>
                    <a:pt x="31" y="21"/>
                  </a:lnTo>
                  <a:lnTo>
                    <a:pt x="31" y="17"/>
                  </a:lnTo>
                  <a:lnTo>
                    <a:pt x="31" y="1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24" name="Freeform 372"/>
            <p:cNvSpPr>
              <a:spLocks/>
            </p:cNvSpPr>
            <p:nvPr/>
          </p:nvSpPr>
          <p:spPr bwMode="auto">
            <a:xfrm>
              <a:off x="4862623" y="2134647"/>
              <a:ext cx="9769" cy="14552"/>
            </a:xfrm>
            <a:custGeom>
              <a:avLst/>
              <a:gdLst>
                <a:gd name="T0" fmla="*/ 12 w 17"/>
                <a:gd name="T1" fmla="*/ 8 h 21"/>
                <a:gd name="T2" fmla="*/ 14 w 17"/>
                <a:gd name="T3" fmla="*/ 7 h 21"/>
                <a:gd name="T4" fmla="*/ 17 w 17"/>
                <a:gd name="T5" fmla="*/ 5 h 21"/>
                <a:gd name="T6" fmla="*/ 17 w 17"/>
                <a:gd name="T7" fmla="*/ 2 h 21"/>
                <a:gd name="T8" fmla="*/ 15 w 17"/>
                <a:gd name="T9" fmla="*/ 2 h 21"/>
                <a:gd name="T10" fmla="*/ 14 w 17"/>
                <a:gd name="T11" fmla="*/ 1 h 21"/>
                <a:gd name="T12" fmla="*/ 8 w 17"/>
                <a:gd name="T13" fmla="*/ 1 h 21"/>
                <a:gd name="T14" fmla="*/ 2 w 17"/>
                <a:gd name="T15" fmla="*/ 0 h 21"/>
                <a:gd name="T16" fmla="*/ 1 w 17"/>
                <a:gd name="T17" fmla="*/ 0 h 21"/>
                <a:gd name="T18" fmla="*/ 1 w 17"/>
                <a:gd name="T19" fmla="*/ 1 h 21"/>
                <a:gd name="T20" fmla="*/ 0 w 17"/>
                <a:gd name="T21" fmla="*/ 2 h 21"/>
                <a:gd name="T22" fmla="*/ 2 w 17"/>
                <a:gd name="T23" fmla="*/ 2 h 21"/>
                <a:gd name="T24" fmla="*/ 7 w 17"/>
                <a:gd name="T25" fmla="*/ 5 h 21"/>
                <a:gd name="T26" fmla="*/ 7 w 17"/>
                <a:gd name="T27" fmla="*/ 8 h 21"/>
                <a:gd name="T28" fmla="*/ 7 w 17"/>
                <a:gd name="T29" fmla="*/ 15 h 21"/>
                <a:gd name="T30" fmla="*/ 7 w 17"/>
                <a:gd name="T31" fmla="*/ 18 h 21"/>
                <a:gd name="T32" fmla="*/ 8 w 17"/>
                <a:gd name="T33" fmla="*/ 20 h 21"/>
                <a:gd name="T34" fmla="*/ 11 w 17"/>
                <a:gd name="T35" fmla="*/ 21 h 21"/>
                <a:gd name="T36" fmla="*/ 12 w 17"/>
                <a:gd name="T37" fmla="*/ 21 h 21"/>
                <a:gd name="T38" fmla="*/ 12 w 17"/>
                <a:gd name="T39" fmla="*/ 18 h 21"/>
                <a:gd name="T40" fmla="*/ 12 w 17"/>
                <a:gd name="T41" fmla="*/ 18 h 21"/>
                <a:gd name="T42" fmla="*/ 12 w 17"/>
                <a:gd name="T43" fmla="*/ 14 h 21"/>
                <a:gd name="T44" fmla="*/ 12 w 17"/>
                <a:gd name="T45" fmla="*/ 12 h 21"/>
                <a:gd name="T46" fmla="*/ 11 w 17"/>
                <a:gd name="T47" fmla="*/ 11 h 21"/>
                <a:gd name="T48" fmla="*/ 11 w 17"/>
                <a:gd name="T49" fmla="*/ 10 h 21"/>
                <a:gd name="T50" fmla="*/ 12 w 17"/>
                <a:gd name="T51" fmla="*/ 8 h 21"/>
                <a:gd name="T52" fmla="*/ 12 w 17"/>
                <a:gd name="T53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" h="21">
                  <a:moveTo>
                    <a:pt x="12" y="8"/>
                  </a:moveTo>
                  <a:lnTo>
                    <a:pt x="14" y="7"/>
                  </a:lnTo>
                  <a:lnTo>
                    <a:pt x="17" y="5"/>
                  </a:lnTo>
                  <a:lnTo>
                    <a:pt x="17" y="2"/>
                  </a:lnTo>
                  <a:lnTo>
                    <a:pt x="15" y="2"/>
                  </a:lnTo>
                  <a:lnTo>
                    <a:pt x="14" y="1"/>
                  </a:lnTo>
                  <a:lnTo>
                    <a:pt x="8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2"/>
                  </a:lnTo>
                  <a:lnTo>
                    <a:pt x="2" y="2"/>
                  </a:lnTo>
                  <a:lnTo>
                    <a:pt x="7" y="5"/>
                  </a:lnTo>
                  <a:lnTo>
                    <a:pt x="7" y="8"/>
                  </a:lnTo>
                  <a:lnTo>
                    <a:pt x="7" y="15"/>
                  </a:lnTo>
                  <a:lnTo>
                    <a:pt x="7" y="18"/>
                  </a:lnTo>
                  <a:lnTo>
                    <a:pt x="8" y="20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2" y="8"/>
                  </a:lnTo>
                  <a:lnTo>
                    <a:pt x="12" y="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25" name="Freeform 373"/>
            <p:cNvSpPr>
              <a:spLocks/>
            </p:cNvSpPr>
            <p:nvPr/>
          </p:nvSpPr>
          <p:spPr bwMode="auto">
            <a:xfrm>
              <a:off x="4977411" y="2076439"/>
              <a:ext cx="62278" cy="50270"/>
            </a:xfrm>
            <a:custGeom>
              <a:avLst/>
              <a:gdLst>
                <a:gd name="T0" fmla="*/ 84 w 101"/>
                <a:gd name="T1" fmla="*/ 59 h 76"/>
                <a:gd name="T2" fmla="*/ 90 w 101"/>
                <a:gd name="T3" fmla="*/ 48 h 76"/>
                <a:gd name="T4" fmla="*/ 86 w 101"/>
                <a:gd name="T5" fmla="*/ 44 h 76"/>
                <a:gd name="T6" fmla="*/ 86 w 101"/>
                <a:gd name="T7" fmla="*/ 43 h 76"/>
                <a:gd name="T8" fmla="*/ 93 w 101"/>
                <a:gd name="T9" fmla="*/ 43 h 76"/>
                <a:gd name="T10" fmla="*/ 96 w 101"/>
                <a:gd name="T11" fmla="*/ 34 h 76"/>
                <a:gd name="T12" fmla="*/ 101 w 101"/>
                <a:gd name="T13" fmla="*/ 23 h 76"/>
                <a:gd name="T14" fmla="*/ 101 w 101"/>
                <a:gd name="T15" fmla="*/ 14 h 76"/>
                <a:gd name="T16" fmla="*/ 91 w 101"/>
                <a:gd name="T17" fmla="*/ 1 h 76"/>
                <a:gd name="T18" fmla="*/ 86 w 101"/>
                <a:gd name="T19" fmla="*/ 0 h 76"/>
                <a:gd name="T20" fmla="*/ 74 w 101"/>
                <a:gd name="T21" fmla="*/ 6 h 76"/>
                <a:gd name="T22" fmla="*/ 65 w 101"/>
                <a:gd name="T23" fmla="*/ 20 h 76"/>
                <a:gd name="T24" fmla="*/ 61 w 101"/>
                <a:gd name="T25" fmla="*/ 28 h 76"/>
                <a:gd name="T26" fmla="*/ 51 w 101"/>
                <a:gd name="T27" fmla="*/ 28 h 76"/>
                <a:gd name="T28" fmla="*/ 41 w 101"/>
                <a:gd name="T29" fmla="*/ 20 h 76"/>
                <a:gd name="T30" fmla="*/ 35 w 101"/>
                <a:gd name="T31" fmla="*/ 18 h 76"/>
                <a:gd name="T32" fmla="*/ 25 w 101"/>
                <a:gd name="T33" fmla="*/ 26 h 76"/>
                <a:gd name="T34" fmla="*/ 12 w 101"/>
                <a:gd name="T35" fmla="*/ 30 h 76"/>
                <a:gd name="T36" fmla="*/ 5 w 101"/>
                <a:gd name="T37" fmla="*/ 33 h 76"/>
                <a:gd name="T38" fmla="*/ 4 w 101"/>
                <a:gd name="T39" fmla="*/ 38 h 76"/>
                <a:gd name="T40" fmla="*/ 5 w 101"/>
                <a:gd name="T41" fmla="*/ 53 h 76"/>
                <a:gd name="T42" fmla="*/ 2 w 101"/>
                <a:gd name="T43" fmla="*/ 61 h 76"/>
                <a:gd name="T44" fmla="*/ 1 w 101"/>
                <a:gd name="T45" fmla="*/ 67 h 76"/>
                <a:gd name="T46" fmla="*/ 2 w 101"/>
                <a:gd name="T47" fmla="*/ 69 h 76"/>
                <a:gd name="T48" fmla="*/ 17 w 101"/>
                <a:gd name="T49" fmla="*/ 69 h 76"/>
                <a:gd name="T50" fmla="*/ 23 w 101"/>
                <a:gd name="T51" fmla="*/ 67 h 76"/>
                <a:gd name="T52" fmla="*/ 23 w 101"/>
                <a:gd name="T53" fmla="*/ 71 h 76"/>
                <a:gd name="T54" fmla="*/ 25 w 101"/>
                <a:gd name="T55" fmla="*/ 73 h 76"/>
                <a:gd name="T56" fmla="*/ 33 w 101"/>
                <a:gd name="T57" fmla="*/ 73 h 76"/>
                <a:gd name="T58" fmla="*/ 41 w 101"/>
                <a:gd name="T59" fmla="*/ 76 h 76"/>
                <a:gd name="T60" fmla="*/ 48 w 101"/>
                <a:gd name="T61" fmla="*/ 74 h 76"/>
                <a:gd name="T62" fmla="*/ 54 w 101"/>
                <a:gd name="T63" fmla="*/ 73 h 76"/>
                <a:gd name="T64" fmla="*/ 60 w 101"/>
                <a:gd name="T65" fmla="*/ 73 h 76"/>
                <a:gd name="T66" fmla="*/ 73 w 101"/>
                <a:gd name="T67" fmla="*/ 66 h 76"/>
                <a:gd name="T68" fmla="*/ 78 w 101"/>
                <a:gd name="T69" fmla="*/ 6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1" h="76">
                  <a:moveTo>
                    <a:pt x="78" y="63"/>
                  </a:moveTo>
                  <a:lnTo>
                    <a:pt x="84" y="59"/>
                  </a:lnTo>
                  <a:lnTo>
                    <a:pt x="87" y="53"/>
                  </a:lnTo>
                  <a:lnTo>
                    <a:pt x="90" y="48"/>
                  </a:lnTo>
                  <a:lnTo>
                    <a:pt x="88" y="47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43"/>
                  </a:lnTo>
                  <a:lnTo>
                    <a:pt x="90" y="43"/>
                  </a:lnTo>
                  <a:lnTo>
                    <a:pt x="93" y="43"/>
                  </a:lnTo>
                  <a:lnTo>
                    <a:pt x="94" y="41"/>
                  </a:lnTo>
                  <a:lnTo>
                    <a:pt x="96" y="34"/>
                  </a:lnTo>
                  <a:lnTo>
                    <a:pt x="98" y="28"/>
                  </a:lnTo>
                  <a:lnTo>
                    <a:pt x="101" y="23"/>
                  </a:lnTo>
                  <a:lnTo>
                    <a:pt x="101" y="18"/>
                  </a:lnTo>
                  <a:lnTo>
                    <a:pt x="101" y="14"/>
                  </a:lnTo>
                  <a:lnTo>
                    <a:pt x="97" y="7"/>
                  </a:lnTo>
                  <a:lnTo>
                    <a:pt x="91" y="1"/>
                  </a:lnTo>
                  <a:lnTo>
                    <a:pt x="88" y="0"/>
                  </a:lnTo>
                  <a:lnTo>
                    <a:pt x="86" y="0"/>
                  </a:lnTo>
                  <a:lnTo>
                    <a:pt x="78" y="3"/>
                  </a:lnTo>
                  <a:lnTo>
                    <a:pt x="74" y="6"/>
                  </a:lnTo>
                  <a:lnTo>
                    <a:pt x="70" y="11"/>
                  </a:lnTo>
                  <a:lnTo>
                    <a:pt x="65" y="20"/>
                  </a:lnTo>
                  <a:lnTo>
                    <a:pt x="64" y="26"/>
                  </a:lnTo>
                  <a:lnTo>
                    <a:pt x="61" y="28"/>
                  </a:lnTo>
                  <a:lnTo>
                    <a:pt x="57" y="30"/>
                  </a:lnTo>
                  <a:lnTo>
                    <a:pt x="51" y="28"/>
                  </a:lnTo>
                  <a:lnTo>
                    <a:pt x="43" y="21"/>
                  </a:lnTo>
                  <a:lnTo>
                    <a:pt x="41" y="20"/>
                  </a:lnTo>
                  <a:lnTo>
                    <a:pt x="37" y="20"/>
                  </a:lnTo>
                  <a:lnTo>
                    <a:pt x="35" y="18"/>
                  </a:lnTo>
                  <a:lnTo>
                    <a:pt x="33" y="20"/>
                  </a:lnTo>
                  <a:lnTo>
                    <a:pt x="25" y="26"/>
                  </a:lnTo>
                  <a:lnTo>
                    <a:pt x="20" y="27"/>
                  </a:lnTo>
                  <a:lnTo>
                    <a:pt x="12" y="30"/>
                  </a:lnTo>
                  <a:lnTo>
                    <a:pt x="8" y="30"/>
                  </a:lnTo>
                  <a:lnTo>
                    <a:pt x="5" y="33"/>
                  </a:lnTo>
                  <a:lnTo>
                    <a:pt x="4" y="36"/>
                  </a:lnTo>
                  <a:lnTo>
                    <a:pt x="4" y="38"/>
                  </a:lnTo>
                  <a:lnTo>
                    <a:pt x="4" y="47"/>
                  </a:lnTo>
                  <a:lnTo>
                    <a:pt x="5" y="53"/>
                  </a:lnTo>
                  <a:lnTo>
                    <a:pt x="4" y="57"/>
                  </a:lnTo>
                  <a:lnTo>
                    <a:pt x="2" y="61"/>
                  </a:lnTo>
                  <a:lnTo>
                    <a:pt x="0" y="66"/>
                  </a:lnTo>
                  <a:lnTo>
                    <a:pt x="1" y="67"/>
                  </a:lnTo>
                  <a:lnTo>
                    <a:pt x="1" y="69"/>
                  </a:lnTo>
                  <a:lnTo>
                    <a:pt x="2" y="69"/>
                  </a:lnTo>
                  <a:lnTo>
                    <a:pt x="8" y="69"/>
                  </a:lnTo>
                  <a:lnTo>
                    <a:pt x="17" y="69"/>
                  </a:lnTo>
                  <a:lnTo>
                    <a:pt x="21" y="67"/>
                  </a:lnTo>
                  <a:lnTo>
                    <a:pt x="23" y="67"/>
                  </a:lnTo>
                  <a:lnTo>
                    <a:pt x="24" y="69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5" y="73"/>
                  </a:lnTo>
                  <a:lnTo>
                    <a:pt x="28" y="73"/>
                  </a:lnTo>
                  <a:lnTo>
                    <a:pt x="33" y="73"/>
                  </a:lnTo>
                  <a:lnTo>
                    <a:pt x="37" y="74"/>
                  </a:lnTo>
                  <a:lnTo>
                    <a:pt x="41" y="76"/>
                  </a:lnTo>
                  <a:lnTo>
                    <a:pt x="45" y="76"/>
                  </a:lnTo>
                  <a:lnTo>
                    <a:pt x="48" y="74"/>
                  </a:lnTo>
                  <a:lnTo>
                    <a:pt x="51" y="73"/>
                  </a:lnTo>
                  <a:lnTo>
                    <a:pt x="54" y="73"/>
                  </a:lnTo>
                  <a:lnTo>
                    <a:pt x="57" y="73"/>
                  </a:lnTo>
                  <a:lnTo>
                    <a:pt x="60" y="73"/>
                  </a:lnTo>
                  <a:lnTo>
                    <a:pt x="68" y="67"/>
                  </a:lnTo>
                  <a:lnTo>
                    <a:pt x="73" y="66"/>
                  </a:lnTo>
                  <a:lnTo>
                    <a:pt x="76" y="64"/>
                  </a:lnTo>
                  <a:lnTo>
                    <a:pt x="78" y="63"/>
                  </a:lnTo>
                  <a:lnTo>
                    <a:pt x="78" y="6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26" name="Freeform 374"/>
            <p:cNvSpPr>
              <a:spLocks/>
            </p:cNvSpPr>
            <p:nvPr/>
          </p:nvSpPr>
          <p:spPr bwMode="auto">
            <a:xfrm>
              <a:off x="4912690" y="2068501"/>
              <a:ext cx="63499" cy="59531"/>
            </a:xfrm>
            <a:custGeom>
              <a:avLst/>
              <a:gdLst>
                <a:gd name="T0" fmla="*/ 103 w 105"/>
                <a:gd name="T1" fmla="*/ 43 h 89"/>
                <a:gd name="T2" fmla="*/ 105 w 105"/>
                <a:gd name="T3" fmla="*/ 28 h 89"/>
                <a:gd name="T4" fmla="*/ 99 w 105"/>
                <a:gd name="T5" fmla="*/ 22 h 89"/>
                <a:gd name="T6" fmla="*/ 95 w 105"/>
                <a:gd name="T7" fmla="*/ 22 h 89"/>
                <a:gd name="T8" fmla="*/ 86 w 105"/>
                <a:gd name="T9" fmla="*/ 23 h 89"/>
                <a:gd name="T10" fmla="*/ 80 w 105"/>
                <a:gd name="T11" fmla="*/ 20 h 89"/>
                <a:gd name="T12" fmla="*/ 78 w 105"/>
                <a:gd name="T13" fmla="*/ 22 h 89"/>
                <a:gd name="T14" fmla="*/ 75 w 105"/>
                <a:gd name="T15" fmla="*/ 20 h 89"/>
                <a:gd name="T16" fmla="*/ 66 w 105"/>
                <a:gd name="T17" fmla="*/ 18 h 89"/>
                <a:gd name="T18" fmla="*/ 57 w 105"/>
                <a:gd name="T19" fmla="*/ 12 h 89"/>
                <a:gd name="T20" fmla="*/ 59 w 105"/>
                <a:gd name="T21" fmla="*/ 7 h 89"/>
                <a:gd name="T22" fmla="*/ 59 w 105"/>
                <a:gd name="T23" fmla="*/ 3 h 89"/>
                <a:gd name="T24" fmla="*/ 52 w 105"/>
                <a:gd name="T25" fmla="*/ 0 h 89"/>
                <a:gd name="T26" fmla="*/ 49 w 105"/>
                <a:gd name="T27" fmla="*/ 2 h 89"/>
                <a:gd name="T28" fmla="*/ 47 w 105"/>
                <a:gd name="T29" fmla="*/ 5 h 89"/>
                <a:gd name="T30" fmla="*/ 46 w 105"/>
                <a:gd name="T31" fmla="*/ 2 h 89"/>
                <a:gd name="T32" fmla="*/ 40 w 105"/>
                <a:gd name="T33" fmla="*/ 0 h 89"/>
                <a:gd name="T34" fmla="*/ 39 w 105"/>
                <a:gd name="T35" fmla="*/ 5 h 89"/>
                <a:gd name="T36" fmla="*/ 33 w 105"/>
                <a:gd name="T37" fmla="*/ 9 h 89"/>
                <a:gd name="T38" fmla="*/ 23 w 105"/>
                <a:gd name="T39" fmla="*/ 15 h 89"/>
                <a:gd name="T40" fmla="*/ 13 w 105"/>
                <a:gd name="T41" fmla="*/ 25 h 89"/>
                <a:gd name="T42" fmla="*/ 4 w 105"/>
                <a:gd name="T43" fmla="*/ 40 h 89"/>
                <a:gd name="T44" fmla="*/ 0 w 105"/>
                <a:gd name="T45" fmla="*/ 58 h 89"/>
                <a:gd name="T46" fmla="*/ 3 w 105"/>
                <a:gd name="T47" fmla="*/ 63 h 89"/>
                <a:gd name="T48" fmla="*/ 12 w 105"/>
                <a:gd name="T49" fmla="*/ 65 h 89"/>
                <a:gd name="T50" fmla="*/ 17 w 105"/>
                <a:gd name="T51" fmla="*/ 65 h 89"/>
                <a:gd name="T52" fmla="*/ 22 w 105"/>
                <a:gd name="T53" fmla="*/ 60 h 89"/>
                <a:gd name="T54" fmla="*/ 25 w 105"/>
                <a:gd name="T55" fmla="*/ 65 h 89"/>
                <a:gd name="T56" fmla="*/ 27 w 105"/>
                <a:gd name="T57" fmla="*/ 79 h 89"/>
                <a:gd name="T58" fmla="*/ 36 w 105"/>
                <a:gd name="T59" fmla="*/ 88 h 89"/>
                <a:gd name="T60" fmla="*/ 43 w 105"/>
                <a:gd name="T61" fmla="*/ 88 h 89"/>
                <a:gd name="T62" fmla="*/ 47 w 105"/>
                <a:gd name="T63" fmla="*/ 85 h 89"/>
                <a:gd name="T64" fmla="*/ 49 w 105"/>
                <a:gd name="T65" fmla="*/ 81 h 89"/>
                <a:gd name="T66" fmla="*/ 55 w 105"/>
                <a:gd name="T67" fmla="*/ 82 h 89"/>
                <a:gd name="T68" fmla="*/ 59 w 105"/>
                <a:gd name="T69" fmla="*/ 82 h 89"/>
                <a:gd name="T70" fmla="*/ 59 w 105"/>
                <a:gd name="T71" fmla="*/ 78 h 89"/>
                <a:gd name="T72" fmla="*/ 60 w 105"/>
                <a:gd name="T73" fmla="*/ 75 h 89"/>
                <a:gd name="T74" fmla="*/ 66 w 105"/>
                <a:gd name="T75" fmla="*/ 73 h 89"/>
                <a:gd name="T76" fmla="*/ 67 w 105"/>
                <a:gd name="T77" fmla="*/ 69 h 89"/>
                <a:gd name="T78" fmla="*/ 75 w 105"/>
                <a:gd name="T79" fmla="*/ 72 h 89"/>
                <a:gd name="T80" fmla="*/ 80 w 105"/>
                <a:gd name="T81" fmla="*/ 69 h 89"/>
                <a:gd name="T82" fmla="*/ 83 w 105"/>
                <a:gd name="T83" fmla="*/ 63 h 89"/>
                <a:gd name="T84" fmla="*/ 89 w 105"/>
                <a:gd name="T85" fmla="*/ 60 h 89"/>
                <a:gd name="T86" fmla="*/ 95 w 105"/>
                <a:gd name="T87" fmla="*/ 55 h 89"/>
                <a:gd name="T88" fmla="*/ 99 w 105"/>
                <a:gd name="T89" fmla="*/ 5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5" h="89">
                  <a:moveTo>
                    <a:pt x="99" y="50"/>
                  </a:moveTo>
                  <a:lnTo>
                    <a:pt x="103" y="43"/>
                  </a:lnTo>
                  <a:lnTo>
                    <a:pt x="105" y="35"/>
                  </a:lnTo>
                  <a:lnTo>
                    <a:pt x="105" y="28"/>
                  </a:lnTo>
                  <a:lnTo>
                    <a:pt x="102" y="25"/>
                  </a:lnTo>
                  <a:lnTo>
                    <a:pt x="99" y="22"/>
                  </a:lnTo>
                  <a:lnTo>
                    <a:pt x="98" y="22"/>
                  </a:lnTo>
                  <a:lnTo>
                    <a:pt x="95" y="22"/>
                  </a:lnTo>
                  <a:lnTo>
                    <a:pt x="90" y="23"/>
                  </a:lnTo>
                  <a:lnTo>
                    <a:pt x="86" y="23"/>
                  </a:lnTo>
                  <a:lnTo>
                    <a:pt x="82" y="22"/>
                  </a:lnTo>
                  <a:lnTo>
                    <a:pt x="80" y="20"/>
                  </a:lnTo>
                  <a:lnTo>
                    <a:pt x="79" y="20"/>
                  </a:lnTo>
                  <a:lnTo>
                    <a:pt x="78" y="22"/>
                  </a:lnTo>
                  <a:lnTo>
                    <a:pt x="76" y="22"/>
                  </a:lnTo>
                  <a:lnTo>
                    <a:pt x="75" y="20"/>
                  </a:lnTo>
                  <a:lnTo>
                    <a:pt x="73" y="18"/>
                  </a:lnTo>
                  <a:lnTo>
                    <a:pt x="66" y="18"/>
                  </a:lnTo>
                  <a:lnTo>
                    <a:pt x="62" y="16"/>
                  </a:lnTo>
                  <a:lnTo>
                    <a:pt x="57" y="12"/>
                  </a:lnTo>
                  <a:lnTo>
                    <a:pt x="57" y="9"/>
                  </a:lnTo>
                  <a:lnTo>
                    <a:pt x="59" y="7"/>
                  </a:lnTo>
                  <a:lnTo>
                    <a:pt x="60" y="6"/>
                  </a:lnTo>
                  <a:lnTo>
                    <a:pt x="59" y="3"/>
                  </a:lnTo>
                  <a:lnTo>
                    <a:pt x="56" y="2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49" y="2"/>
                  </a:lnTo>
                  <a:lnTo>
                    <a:pt x="49" y="3"/>
                  </a:lnTo>
                  <a:lnTo>
                    <a:pt x="47" y="5"/>
                  </a:lnTo>
                  <a:lnTo>
                    <a:pt x="46" y="5"/>
                  </a:lnTo>
                  <a:lnTo>
                    <a:pt x="46" y="2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39" y="2"/>
                  </a:lnTo>
                  <a:lnTo>
                    <a:pt x="39" y="5"/>
                  </a:lnTo>
                  <a:lnTo>
                    <a:pt x="37" y="7"/>
                  </a:lnTo>
                  <a:lnTo>
                    <a:pt x="33" y="9"/>
                  </a:lnTo>
                  <a:lnTo>
                    <a:pt x="27" y="10"/>
                  </a:lnTo>
                  <a:lnTo>
                    <a:pt x="23" y="15"/>
                  </a:lnTo>
                  <a:lnTo>
                    <a:pt x="20" y="19"/>
                  </a:lnTo>
                  <a:lnTo>
                    <a:pt x="13" y="25"/>
                  </a:lnTo>
                  <a:lnTo>
                    <a:pt x="9" y="33"/>
                  </a:lnTo>
                  <a:lnTo>
                    <a:pt x="4" y="40"/>
                  </a:lnTo>
                  <a:lnTo>
                    <a:pt x="3" y="46"/>
                  </a:lnTo>
                  <a:lnTo>
                    <a:pt x="0" y="58"/>
                  </a:lnTo>
                  <a:lnTo>
                    <a:pt x="2" y="62"/>
                  </a:lnTo>
                  <a:lnTo>
                    <a:pt x="3" y="63"/>
                  </a:lnTo>
                  <a:lnTo>
                    <a:pt x="7" y="65"/>
                  </a:lnTo>
                  <a:lnTo>
                    <a:pt x="12" y="65"/>
                  </a:lnTo>
                  <a:lnTo>
                    <a:pt x="15" y="65"/>
                  </a:lnTo>
                  <a:lnTo>
                    <a:pt x="17" y="65"/>
                  </a:lnTo>
                  <a:lnTo>
                    <a:pt x="19" y="62"/>
                  </a:lnTo>
                  <a:lnTo>
                    <a:pt x="22" y="60"/>
                  </a:lnTo>
                  <a:lnTo>
                    <a:pt x="25" y="62"/>
                  </a:lnTo>
                  <a:lnTo>
                    <a:pt x="25" y="65"/>
                  </a:lnTo>
                  <a:lnTo>
                    <a:pt x="26" y="75"/>
                  </a:lnTo>
                  <a:lnTo>
                    <a:pt x="27" y="79"/>
                  </a:lnTo>
                  <a:lnTo>
                    <a:pt x="32" y="85"/>
                  </a:lnTo>
                  <a:lnTo>
                    <a:pt x="36" y="88"/>
                  </a:lnTo>
                  <a:lnTo>
                    <a:pt x="39" y="89"/>
                  </a:lnTo>
                  <a:lnTo>
                    <a:pt x="43" y="88"/>
                  </a:lnTo>
                  <a:lnTo>
                    <a:pt x="46" y="86"/>
                  </a:lnTo>
                  <a:lnTo>
                    <a:pt x="47" y="85"/>
                  </a:lnTo>
                  <a:lnTo>
                    <a:pt x="49" y="83"/>
                  </a:lnTo>
                  <a:lnTo>
                    <a:pt x="49" y="81"/>
                  </a:lnTo>
                  <a:lnTo>
                    <a:pt x="52" y="81"/>
                  </a:lnTo>
                  <a:lnTo>
                    <a:pt x="55" y="82"/>
                  </a:lnTo>
                  <a:lnTo>
                    <a:pt x="59" y="82"/>
                  </a:lnTo>
                  <a:lnTo>
                    <a:pt x="59" y="82"/>
                  </a:lnTo>
                  <a:lnTo>
                    <a:pt x="60" y="79"/>
                  </a:lnTo>
                  <a:lnTo>
                    <a:pt x="59" y="78"/>
                  </a:lnTo>
                  <a:lnTo>
                    <a:pt x="59" y="75"/>
                  </a:lnTo>
                  <a:lnTo>
                    <a:pt x="60" y="75"/>
                  </a:lnTo>
                  <a:lnTo>
                    <a:pt x="65" y="75"/>
                  </a:lnTo>
                  <a:lnTo>
                    <a:pt x="66" y="73"/>
                  </a:lnTo>
                  <a:lnTo>
                    <a:pt x="66" y="71"/>
                  </a:lnTo>
                  <a:lnTo>
                    <a:pt x="67" y="69"/>
                  </a:lnTo>
                  <a:lnTo>
                    <a:pt x="70" y="69"/>
                  </a:lnTo>
                  <a:lnTo>
                    <a:pt x="75" y="72"/>
                  </a:lnTo>
                  <a:lnTo>
                    <a:pt x="78" y="72"/>
                  </a:lnTo>
                  <a:lnTo>
                    <a:pt x="80" y="69"/>
                  </a:lnTo>
                  <a:lnTo>
                    <a:pt x="82" y="65"/>
                  </a:lnTo>
                  <a:lnTo>
                    <a:pt x="83" y="63"/>
                  </a:lnTo>
                  <a:lnTo>
                    <a:pt x="86" y="60"/>
                  </a:lnTo>
                  <a:lnTo>
                    <a:pt x="89" y="60"/>
                  </a:lnTo>
                  <a:lnTo>
                    <a:pt x="92" y="58"/>
                  </a:lnTo>
                  <a:lnTo>
                    <a:pt x="95" y="55"/>
                  </a:lnTo>
                  <a:lnTo>
                    <a:pt x="99" y="50"/>
                  </a:lnTo>
                  <a:lnTo>
                    <a:pt x="99" y="5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27" name="Freeform 375"/>
            <p:cNvSpPr>
              <a:spLocks/>
            </p:cNvSpPr>
            <p:nvPr/>
          </p:nvSpPr>
          <p:spPr bwMode="auto">
            <a:xfrm>
              <a:off x="4972526" y="2020877"/>
              <a:ext cx="7327" cy="11906"/>
            </a:xfrm>
            <a:custGeom>
              <a:avLst/>
              <a:gdLst>
                <a:gd name="T0" fmla="*/ 13 w 13"/>
                <a:gd name="T1" fmla="*/ 10 h 19"/>
                <a:gd name="T2" fmla="*/ 11 w 13"/>
                <a:gd name="T3" fmla="*/ 6 h 19"/>
                <a:gd name="T4" fmla="*/ 6 w 13"/>
                <a:gd name="T5" fmla="*/ 2 h 19"/>
                <a:gd name="T6" fmla="*/ 3 w 13"/>
                <a:gd name="T7" fmla="*/ 0 h 19"/>
                <a:gd name="T8" fmla="*/ 1 w 13"/>
                <a:gd name="T9" fmla="*/ 0 h 19"/>
                <a:gd name="T10" fmla="*/ 1 w 13"/>
                <a:gd name="T11" fmla="*/ 2 h 19"/>
                <a:gd name="T12" fmla="*/ 0 w 13"/>
                <a:gd name="T13" fmla="*/ 3 h 19"/>
                <a:gd name="T14" fmla="*/ 0 w 13"/>
                <a:gd name="T15" fmla="*/ 5 h 19"/>
                <a:gd name="T16" fmla="*/ 3 w 13"/>
                <a:gd name="T17" fmla="*/ 7 h 19"/>
                <a:gd name="T18" fmla="*/ 6 w 13"/>
                <a:gd name="T19" fmla="*/ 10 h 19"/>
                <a:gd name="T20" fmla="*/ 6 w 13"/>
                <a:gd name="T21" fmla="*/ 13 h 19"/>
                <a:gd name="T22" fmla="*/ 6 w 13"/>
                <a:gd name="T23" fmla="*/ 16 h 19"/>
                <a:gd name="T24" fmla="*/ 7 w 13"/>
                <a:gd name="T25" fmla="*/ 17 h 19"/>
                <a:gd name="T26" fmla="*/ 9 w 13"/>
                <a:gd name="T27" fmla="*/ 19 h 19"/>
                <a:gd name="T28" fmla="*/ 10 w 13"/>
                <a:gd name="T29" fmla="*/ 19 h 19"/>
                <a:gd name="T30" fmla="*/ 13 w 13"/>
                <a:gd name="T31" fmla="*/ 19 h 19"/>
                <a:gd name="T32" fmla="*/ 13 w 13"/>
                <a:gd name="T33" fmla="*/ 16 h 19"/>
                <a:gd name="T34" fmla="*/ 13 w 13"/>
                <a:gd name="T35" fmla="*/ 15 h 19"/>
                <a:gd name="T36" fmla="*/ 13 w 13"/>
                <a:gd name="T37" fmla="*/ 10 h 19"/>
                <a:gd name="T38" fmla="*/ 13 w 13"/>
                <a:gd name="T39" fmla="*/ 1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" h="19">
                  <a:moveTo>
                    <a:pt x="13" y="10"/>
                  </a:moveTo>
                  <a:lnTo>
                    <a:pt x="11" y="6"/>
                  </a:lnTo>
                  <a:lnTo>
                    <a:pt x="6" y="2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7"/>
                  </a:lnTo>
                  <a:lnTo>
                    <a:pt x="6" y="10"/>
                  </a:lnTo>
                  <a:lnTo>
                    <a:pt x="6" y="13"/>
                  </a:lnTo>
                  <a:lnTo>
                    <a:pt x="6" y="16"/>
                  </a:lnTo>
                  <a:lnTo>
                    <a:pt x="7" y="17"/>
                  </a:lnTo>
                  <a:lnTo>
                    <a:pt x="9" y="19"/>
                  </a:lnTo>
                  <a:lnTo>
                    <a:pt x="10" y="19"/>
                  </a:lnTo>
                  <a:lnTo>
                    <a:pt x="13" y="19"/>
                  </a:lnTo>
                  <a:lnTo>
                    <a:pt x="13" y="16"/>
                  </a:lnTo>
                  <a:lnTo>
                    <a:pt x="13" y="15"/>
                  </a:lnTo>
                  <a:lnTo>
                    <a:pt x="13" y="10"/>
                  </a:lnTo>
                  <a:lnTo>
                    <a:pt x="13" y="1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33" name="Freeform 381"/>
            <p:cNvSpPr>
              <a:spLocks/>
            </p:cNvSpPr>
            <p:nvPr/>
          </p:nvSpPr>
          <p:spPr bwMode="auto">
            <a:xfrm>
              <a:off x="4954209" y="2051304"/>
              <a:ext cx="31750" cy="22489"/>
            </a:xfrm>
            <a:custGeom>
              <a:avLst/>
              <a:gdLst>
                <a:gd name="T0" fmla="*/ 40 w 51"/>
                <a:gd name="T1" fmla="*/ 0 h 34"/>
                <a:gd name="T2" fmla="*/ 34 w 51"/>
                <a:gd name="T3" fmla="*/ 0 h 34"/>
                <a:gd name="T4" fmla="*/ 24 w 51"/>
                <a:gd name="T5" fmla="*/ 2 h 34"/>
                <a:gd name="T6" fmla="*/ 19 w 51"/>
                <a:gd name="T7" fmla="*/ 2 h 34"/>
                <a:gd name="T8" fmla="*/ 16 w 51"/>
                <a:gd name="T9" fmla="*/ 2 h 34"/>
                <a:gd name="T10" fmla="*/ 10 w 51"/>
                <a:gd name="T11" fmla="*/ 3 h 34"/>
                <a:gd name="T12" fmla="*/ 7 w 51"/>
                <a:gd name="T13" fmla="*/ 6 h 34"/>
                <a:gd name="T14" fmla="*/ 1 w 51"/>
                <a:gd name="T15" fmla="*/ 7 h 34"/>
                <a:gd name="T16" fmla="*/ 0 w 51"/>
                <a:gd name="T17" fmla="*/ 9 h 34"/>
                <a:gd name="T18" fmla="*/ 0 w 51"/>
                <a:gd name="T19" fmla="*/ 10 h 34"/>
                <a:gd name="T20" fmla="*/ 0 w 51"/>
                <a:gd name="T21" fmla="*/ 12 h 34"/>
                <a:gd name="T22" fmla="*/ 3 w 51"/>
                <a:gd name="T23" fmla="*/ 13 h 34"/>
                <a:gd name="T24" fmla="*/ 3 w 51"/>
                <a:gd name="T25" fmla="*/ 17 h 34"/>
                <a:gd name="T26" fmla="*/ 4 w 51"/>
                <a:gd name="T27" fmla="*/ 23 h 34"/>
                <a:gd name="T28" fmla="*/ 9 w 51"/>
                <a:gd name="T29" fmla="*/ 29 h 34"/>
                <a:gd name="T30" fmla="*/ 11 w 51"/>
                <a:gd name="T31" fmla="*/ 32 h 34"/>
                <a:gd name="T32" fmla="*/ 14 w 51"/>
                <a:gd name="T33" fmla="*/ 33 h 34"/>
                <a:gd name="T34" fmla="*/ 20 w 51"/>
                <a:gd name="T35" fmla="*/ 34 h 34"/>
                <a:gd name="T36" fmla="*/ 24 w 51"/>
                <a:gd name="T37" fmla="*/ 34 h 34"/>
                <a:gd name="T38" fmla="*/ 29 w 51"/>
                <a:gd name="T39" fmla="*/ 32 h 34"/>
                <a:gd name="T40" fmla="*/ 31 w 51"/>
                <a:gd name="T41" fmla="*/ 29 h 34"/>
                <a:gd name="T42" fmla="*/ 39 w 51"/>
                <a:gd name="T43" fmla="*/ 26 h 34"/>
                <a:gd name="T44" fmla="*/ 41 w 51"/>
                <a:gd name="T45" fmla="*/ 23 h 34"/>
                <a:gd name="T46" fmla="*/ 44 w 51"/>
                <a:gd name="T47" fmla="*/ 22 h 34"/>
                <a:gd name="T48" fmla="*/ 44 w 51"/>
                <a:gd name="T49" fmla="*/ 20 h 34"/>
                <a:gd name="T50" fmla="*/ 46 w 51"/>
                <a:gd name="T51" fmla="*/ 17 h 34"/>
                <a:gd name="T52" fmla="*/ 47 w 51"/>
                <a:gd name="T53" fmla="*/ 16 h 34"/>
                <a:gd name="T54" fmla="*/ 49 w 51"/>
                <a:gd name="T55" fmla="*/ 14 h 34"/>
                <a:gd name="T56" fmla="*/ 51 w 51"/>
                <a:gd name="T57" fmla="*/ 14 h 34"/>
                <a:gd name="T58" fmla="*/ 51 w 51"/>
                <a:gd name="T59" fmla="*/ 13 h 34"/>
                <a:gd name="T60" fmla="*/ 51 w 51"/>
                <a:gd name="T61" fmla="*/ 12 h 34"/>
                <a:gd name="T62" fmla="*/ 49 w 51"/>
                <a:gd name="T63" fmla="*/ 7 h 34"/>
                <a:gd name="T64" fmla="*/ 47 w 51"/>
                <a:gd name="T65" fmla="*/ 4 h 34"/>
                <a:gd name="T66" fmla="*/ 44 w 51"/>
                <a:gd name="T67" fmla="*/ 2 h 34"/>
                <a:gd name="T68" fmla="*/ 40 w 51"/>
                <a:gd name="T69" fmla="*/ 0 h 34"/>
                <a:gd name="T70" fmla="*/ 40 w 51"/>
                <a:gd name="T71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1" h="34">
                  <a:moveTo>
                    <a:pt x="40" y="0"/>
                  </a:moveTo>
                  <a:lnTo>
                    <a:pt x="34" y="0"/>
                  </a:lnTo>
                  <a:lnTo>
                    <a:pt x="24" y="2"/>
                  </a:lnTo>
                  <a:lnTo>
                    <a:pt x="19" y="2"/>
                  </a:lnTo>
                  <a:lnTo>
                    <a:pt x="16" y="2"/>
                  </a:lnTo>
                  <a:lnTo>
                    <a:pt x="10" y="3"/>
                  </a:lnTo>
                  <a:lnTo>
                    <a:pt x="7" y="6"/>
                  </a:lnTo>
                  <a:lnTo>
                    <a:pt x="1" y="7"/>
                  </a:lnTo>
                  <a:lnTo>
                    <a:pt x="0" y="9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3"/>
                  </a:lnTo>
                  <a:lnTo>
                    <a:pt x="3" y="17"/>
                  </a:lnTo>
                  <a:lnTo>
                    <a:pt x="4" y="23"/>
                  </a:lnTo>
                  <a:lnTo>
                    <a:pt x="9" y="29"/>
                  </a:lnTo>
                  <a:lnTo>
                    <a:pt x="11" y="32"/>
                  </a:lnTo>
                  <a:lnTo>
                    <a:pt x="14" y="33"/>
                  </a:lnTo>
                  <a:lnTo>
                    <a:pt x="20" y="34"/>
                  </a:lnTo>
                  <a:lnTo>
                    <a:pt x="24" y="34"/>
                  </a:lnTo>
                  <a:lnTo>
                    <a:pt x="29" y="32"/>
                  </a:lnTo>
                  <a:lnTo>
                    <a:pt x="31" y="29"/>
                  </a:lnTo>
                  <a:lnTo>
                    <a:pt x="39" y="26"/>
                  </a:lnTo>
                  <a:lnTo>
                    <a:pt x="41" y="23"/>
                  </a:lnTo>
                  <a:lnTo>
                    <a:pt x="44" y="22"/>
                  </a:lnTo>
                  <a:lnTo>
                    <a:pt x="44" y="20"/>
                  </a:lnTo>
                  <a:lnTo>
                    <a:pt x="46" y="17"/>
                  </a:lnTo>
                  <a:lnTo>
                    <a:pt x="47" y="16"/>
                  </a:lnTo>
                  <a:lnTo>
                    <a:pt x="49" y="14"/>
                  </a:lnTo>
                  <a:lnTo>
                    <a:pt x="51" y="14"/>
                  </a:lnTo>
                  <a:lnTo>
                    <a:pt x="51" y="13"/>
                  </a:lnTo>
                  <a:lnTo>
                    <a:pt x="51" y="12"/>
                  </a:lnTo>
                  <a:lnTo>
                    <a:pt x="49" y="7"/>
                  </a:lnTo>
                  <a:lnTo>
                    <a:pt x="47" y="4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34" name="Freeform 382"/>
            <p:cNvSpPr>
              <a:spLocks/>
            </p:cNvSpPr>
            <p:nvPr/>
          </p:nvSpPr>
          <p:spPr bwMode="auto">
            <a:xfrm>
              <a:off x="4888267" y="2060564"/>
              <a:ext cx="15875" cy="13229"/>
            </a:xfrm>
            <a:custGeom>
              <a:avLst/>
              <a:gdLst>
                <a:gd name="T0" fmla="*/ 17 w 25"/>
                <a:gd name="T1" fmla="*/ 4 h 20"/>
                <a:gd name="T2" fmla="*/ 10 w 25"/>
                <a:gd name="T3" fmla="*/ 1 h 20"/>
                <a:gd name="T4" fmla="*/ 8 w 25"/>
                <a:gd name="T5" fmla="*/ 0 h 20"/>
                <a:gd name="T6" fmla="*/ 4 w 25"/>
                <a:gd name="T7" fmla="*/ 0 h 20"/>
                <a:gd name="T8" fmla="*/ 1 w 25"/>
                <a:gd name="T9" fmla="*/ 1 h 20"/>
                <a:gd name="T10" fmla="*/ 1 w 25"/>
                <a:gd name="T11" fmla="*/ 4 h 20"/>
                <a:gd name="T12" fmla="*/ 1 w 25"/>
                <a:gd name="T13" fmla="*/ 8 h 20"/>
                <a:gd name="T14" fmla="*/ 0 w 25"/>
                <a:gd name="T15" fmla="*/ 13 h 20"/>
                <a:gd name="T16" fmla="*/ 0 w 25"/>
                <a:gd name="T17" fmla="*/ 14 h 20"/>
                <a:gd name="T18" fmla="*/ 1 w 25"/>
                <a:gd name="T19" fmla="*/ 16 h 20"/>
                <a:gd name="T20" fmla="*/ 2 w 25"/>
                <a:gd name="T21" fmla="*/ 14 h 20"/>
                <a:gd name="T22" fmla="*/ 4 w 25"/>
                <a:gd name="T23" fmla="*/ 14 h 20"/>
                <a:gd name="T24" fmla="*/ 7 w 25"/>
                <a:gd name="T25" fmla="*/ 14 h 20"/>
                <a:gd name="T26" fmla="*/ 8 w 25"/>
                <a:gd name="T27" fmla="*/ 14 h 20"/>
                <a:gd name="T28" fmla="*/ 8 w 25"/>
                <a:gd name="T29" fmla="*/ 18 h 20"/>
                <a:gd name="T30" fmla="*/ 10 w 25"/>
                <a:gd name="T31" fmla="*/ 20 h 20"/>
                <a:gd name="T32" fmla="*/ 12 w 25"/>
                <a:gd name="T33" fmla="*/ 20 h 20"/>
                <a:gd name="T34" fmla="*/ 14 w 25"/>
                <a:gd name="T35" fmla="*/ 20 h 20"/>
                <a:gd name="T36" fmla="*/ 15 w 25"/>
                <a:gd name="T37" fmla="*/ 18 h 20"/>
                <a:gd name="T38" fmla="*/ 17 w 25"/>
                <a:gd name="T39" fmla="*/ 17 h 20"/>
                <a:gd name="T40" fmla="*/ 18 w 25"/>
                <a:gd name="T41" fmla="*/ 14 h 20"/>
                <a:gd name="T42" fmla="*/ 21 w 25"/>
                <a:gd name="T43" fmla="*/ 13 h 20"/>
                <a:gd name="T44" fmla="*/ 21 w 25"/>
                <a:gd name="T45" fmla="*/ 13 h 20"/>
                <a:gd name="T46" fmla="*/ 22 w 25"/>
                <a:gd name="T47" fmla="*/ 13 h 20"/>
                <a:gd name="T48" fmla="*/ 24 w 25"/>
                <a:gd name="T49" fmla="*/ 10 h 20"/>
                <a:gd name="T50" fmla="*/ 25 w 25"/>
                <a:gd name="T51" fmla="*/ 8 h 20"/>
                <a:gd name="T52" fmla="*/ 25 w 25"/>
                <a:gd name="T53" fmla="*/ 8 h 20"/>
                <a:gd name="T54" fmla="*/ 25 w 25"/>
                <a:gd name="T55" fmla="*/ 7 h 20"/>
                <a:gd name="T56" fmla="*/ 24 w 25"/>
                <a:gd name="T57" fmla="*/ 6 h 20"/>
                <a:gd name="T58" fmla="*/ 21 w 25"/>
                <a:gd name="T59" fmla="*/ 6 h 20"/>
                <a:gd name="T60" fmla="*/ 21 w 25"/>
                <a:gd name="T61" fmla="*/ 6 h 20"/>
                <a:gd name="T62" fmla="*/ 20 w 25"/>
                <a:gd name="T63" fmla="*/ 6 h 20"/>
                <a:gd name="T64" fmla="*/ 18 w 25"/>
                <a:gd name="T65" fmla="*/ 4 h 20"/>
                <a:gd name="T66" fmla="*/ 17 w 25"/>
                <a:gd name="T67" fmla="*/ 4 h 20"/>
                <a:gd name="T68" fmla="*/ 17 w 25"/>
                <a:gd name="T6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20">
                  <a:moveTo>
                    <a:pt x="17" y="4"/>
                  </a:moveTo>
                  <a:lnTo>
                    <a:pt x="10" y="1"/>
                  </a:lnTo>
                  <a:lnTo>
                    <a:pt x="8" y="0"/>
                  </a:lnTo>
                  <a:lnTo>
                    <a:pt x="4" y="0"/>
                  </a:lnTo>
                  <a:lnTo>
                    <a:pt x="1" y="1"/>
                  </a:lnTo>
                  <a:lnTo>
                    <a:pt x="1" y="4"/>
                  </a:lnTo>
                  <a:lnTo>
                    <a:pt x="1" y="8"/>
                  </a:lnTo>
                  <a:lnTo>
                    <a:pt x="0" y="13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7" y="14"/>
                  </a:lnTo>
                  <a:lnTo>
                    <a:pt x="8" y="14"/>
                  </a:lnTo>
                  <a:lnTo>
                    <a:pt x="8" y="18"/>
                  </a:lnTo>
                  <a:lnTo>
                    <a:pt x="10" y="20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5" y="18"/>
                  </a:lnTo>
                  <a:lnTo>
                    <a:pt x="17" y="17"/>
                  </a:lnTo>
                  <a:lnTo>
                    <a:pt x="18" y="14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4" y="10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7"/>
                  </a:lnTo>
                  <a:lnTo>
                    <a:pt x="24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0" y="6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7" y="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35" name="Freeform 383"/>
            <p:cNvSpPr>
              <a:spLocks/>
            </p:cNvSpPr>
            <p:nvPr/>
          </p:nvSpPr>
          <p:spPr bwMode="auto">
            <a:xfrm>
              <a:off x="4909027" y="2073793"/>
              <a:ext cx="6106" cy="6615"/>
            </a:xfrm>
            <a:custGeom>
              <a:avLst/>
              <a:gdLst>
                <a:gd name="T0" fmla="*/ 6 w 12"/>
                <a:gd name="T1" fmla="*/ 1 h 10"/>
                <a:gd name="T2" fmla="*/ 2 w 12"/>
                <a:gd name="T3" fmla="*/ 0 h 10"/>
                <a:gd name="T4" fmla="*/ 2 w 12"/>
                <a:gd name="T5" fmla="*/ 1 h 10"/>
                <a:gd name="T6" fmla="*/ 0 w 12"/>
                <a:gd name="T7" fmla="*/ 3 h 10"/>
                <a:gd name="T8" fmla="*/ 0 w 12"/>
                <a:gd name="T9" fmla="*/ 3 h 10"/>
                <a:gd name="T10" fmla="*/ 0 w 12"/>
                <a:gd name="T11" fmla="*/ 6 h 10"/>
                <a:gd name="T12" fmla="*/ 0 w 12"/>
                <a:gd name="T13" fmla="*/ 7 h 10"/>
                <a:gd name="T14" fmla="*/ 0 w 12"/>
                <a:gd name="T15" fmla="*/ 9 h 10"/>
                <a:gd name="T16" fmla="*/ 2 w 12"/>
                <a:gd name="T17" fmla="*/ 10 h 10"/>
                <a:gd name="T18" fmla="*/ 3 w 12"/>
                <a:gd name="T19" fmla="*/ 10 h 10"/>
                <a:gd name="T20" fmla="*/ 6 w 12"/>
                <a:gd name="T21" fmla="*/ 7 h 10"/>
                <a:gd name="T22" fmla="*/ 9 w 12"/>
                <a:gd name="T23" fmla="*/ 6 h 10"/>
                <a:gd name="T24" fmla="*/ 10 w 12"/>
                <a:gd name="T25" fmla="*/ 4 h 10"/>
                <a:gd name="T26" fmla="*/ 12 w 12"/>
                <a:gd name="T27" fmla="*/ 3 h 10"/>
                <a:gd name="T28" fmla="*/ 10 w 12"/>
                <a:gd name="T29" fmla="*/ 3 h 10"/>
                <a:gd name="T30" fmla="*/ 9 w 12"/>
                <a:gd name="T31" fmla="*/ 1 h 10"/>
                <a:gd name="T32" fmla="*/ 6 w 12"/>
                <a:gd name="T33" fmla="*/ 1 h 10"/>
                <a:gd name="T34" fmla="*/ 6 w 12"/>
                <a:gd name="T35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10">
                  <a:moveTo>
                    <a:pt x="6" y="1"/>
                  </a:moveTo>
                  <a:lnTo>
                    <a:pt x="2" y="0"/>
                  </a:lnTo>
                  <a:lnTo>
                    <a:pt x="2" y="1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6" y="7"/>
                  </a:lnTo>
                  <a:lnTo>
                    <a:pt x="9" y="6"/>
                  </a:lnTo>
                  <a:lnTo>
                    <a:pt x="10" y="4"/>
                  </a:lnTo>
                  <a:lnTo>
                    <a:pt x="12" y="3"/>
                  </a:lnTo>
                  <a:lnTo>
                    <a:pt x="10" y="3"/>
                  </a:lnTo>
                  <a:lnTo>
                    <a:pt x="9" y="1"/>
                  </a:lnTo>
                  <a:lnTo>
                    <a:pt x="6" y="1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36" name="Freeform 384"/>
            <p:cNvSpPr>
              <a:spLocks/>
            </p:cNvSpPr>
            <p:nvPr/>
          </p:nvSpPr>
          <p:spPr bwMode="auto">
            <a:xfrm>
              <a:off x="4911469" y="2046012"/>
              <a:ext cx="20759" cy="17198"/>
            </a:xfrm>
            <a:custGeom>
              <a:avLst/>
              <a:gdLst>
                <a:gd name="T0" fmla="*/ 33 w 34"/>
                <a:gd name="T1" fmla="*/ 9 h 26"/>
                <a:gd name="T2" fmla="*/ 30 w 34"/>
                <a:gd name="T3" fmla="*/ 6 h 26"/>
                <a:gd name="T4" fmla="*/ 27 w 34"/>
                <a:gd name="T5" fmla="*/ 4 h 26"/>
                <a:gd name="T6" fmla="*/ 21 w 34"/>
                <a:gd name="T7" fmla="*/ 3 h 26"/>
                <a:gd name="T8" fmla="*/ 18 w 34"/>
                <a:gd name="T9" fmla="*/ 1 h 26"/>
                <a:gd name="T10" fmla="*/ 17 w 34"/>
                <a:gd name="T11" fmla="*/ 0 h 26"/>
                <a:gd name="T12" fmla="*/ 14 w 34"/>
                <a:gd name="T13" fmla="*/ 0 h 26"/>
                <a:gd name="T14" fmla="*/ 8 w 34"/>
                <a:gd name="T15" fmla="*/ 3 h 26"/>
                <a:gd name="T16" fmla="*/ 5 w 34"/>
                <a:gd name="T17" fmla="*/ 4 h 26"/>
                <a:gd name="T18" fmla="*/ 3 w 34"/>
                <a:gd name="T19" fmla="*/ 4 h 26"/>
                <a:gd name="T20" fmla="*/ 0 w 34"/>
                <a:gd name="T21" fmla="*/ 6 h 26"/>
                <a:gd name="T22" fmla="*/ 0 w 34"/>
                <a:gd name="T23" fmla="*/ 7 h 26"/>
                <a:gd name="T24" fmla="*/ 0 w 34"/>
                <a:gd name="T25" fmla="*/ 11 h 26"/>
                <a:gd name="T26" fmla="*/ 1 w 34"/>
                <a:gd name="T27" fmla="*/ 13 h 26"/>
                <a:gd name="T28" fmla="*/ 4 w 34"/>
                <a:gd name="T29" fmla="*/ 14 h 26"/>
                <a:gd name="T30" fmla="*/ 5 w 34"/>
                <a:gd name="T31" fmla="*/ 16 h 26"/>
                <a:gd name="T32" fmla="*/ 7 w 34"/>
                <a:gd name="T33" fmla="*/ 19 h 26"/>
                <a:gd name="T34" fmla="*/ 7 w 34"/>
                <a:gd name="T35" fmla="*/ 21 h 26"/>
                <a:gd name="T36" fmla="*/ 8 w 34"/>
                <a:gd name="T37" fmla="*/ 24 h 26"/>
                <a:gd name="T38" fmla="*/ 11 w 34"/>
                <a:gd name="T39" fmla="*/ 26 h 26"/>
                <a:gd name="T40" fmla="*/ 13 w 34"/>
                <a:gd name="T41" fmla="*/ 26 h 26"/>
                <a:gd name="T42" fmla="*/ 14 w 34"/>
                <a:gd name="T43" fmla="*/ 24 h 26"/>
                <a:gd name="T44" fmla="*/ 16 w 34"/>
                <a:gd name="T45" fmla="*/ 23 h 26"/>
                <a:gd name="T46" fmla="*/ 17 w 34"/>
                <a:gd name="T47" fmla="*/ 23 h 26"/>
                <a:gd name="T48" fmla="*/ 18 w 34"/>
                <a:gd name="T49" fmla="*/ 23 h 26"/>
                <a:gd name="T50" fmla="*/ 20 w 34"/>
                <a:gd name="T51" fmla="*/ 24 h 26"/>
                <a:gd name="T52" fmla="*/ 20 w 34"/>
                <a:gd name="T53" fmla="*/ 26 h 26"/>
                <a:gd name="T54" fmla="*/ 21 w 34"/>
                <a:gd name="T55" fmla="*/ 26 h 26"/>
                <a:gd name="T56" fmla="*/ 23 w 34"/>
                <a:gd name="T57" fmla="*/ 26 h 26"/>
                <a:gd name="T58" fmla="*/ 27 w 34"/>
                <a:gd name="T59" fmla="*/ 23 h 26"/>
                <a:gd name="T60" fmla="*/ 30 w 34"/>
                <a:gd name="T61" fmla="*/ 19 h 26"/>
                <a:gd name="T62" fmla="*/ 33 w 34"/>
                <a:gd name="T63" fmla="*/ 16 h 26"/>
                <a:gd name="T64" fmla="*/ 34 w 34"/>
                <a:gd name="T65" fmla="*/ 13 h 26"/>
                <a:gd name="T66" fmla="*/ 34 w 34"/>
                <a:gd name="T67" fmla="*/ 10 h 26"/>
                <a:gd name="T68" fmla="*/ 33 w 34"/>
                <a:gd name="T69" fmla="*/ 9 h 26"/>
                <a:gd name="T70" fmla="*/ 33 w 34"/>
                <a:gd name="T71" fmla="*/ 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4" h="26">
                  <a:moveTo>
                    <a:pt x="33" y="9"/>
                  </a:moveTo>
                  <a:lnTo>
                    <a:pt x="30" y="6"/>
                  </a:lnTo>
                  <a:lnTo>
                    <a:pt x="27" y="4"/>
                  </a:lnTo>
                  <a:lnTo>
                    <a:pt x="21" y="3"/>
                  </a:lnTo>
                  <a:lnTo>
                    <a:pt x="18" y="1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8" y="3"/>
                  </a:lnTo>
                  <a:lnTo>
                    <a:pt x="5" y="4"/>
                  </a:lnTo>
                  <a:lnTo>
                    <a:pt x="3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11"/>
                  </a:lnTo>
                  <a:lnTo>
                    <a:pt x="1" y="13"/>
                  </a:lnTo>
                  <a:lnTo>
                    <a:pt x="4" y="14"/>
                  </a:lnTo>
                  <a:lnTo>
                    <a:pt x="5" y="16"/>
                  </a:lnTo>
                  <a:lnTo>
                    <a:pt x="7" y="19"/>
                  </a:lnTo>
                  <a:lnTo>
                    <a:pt x="7" y="21"/>
                  </a:lnTo>
                  <a:lnTo>
                    <a:pt x="8" y="24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4" y="24"/>
                  </a:lnTo>
                  <a:lnTo>
                    <a:pt x="16" y="23"/>
                  </a:lnTo>
                  <a:lnTo>
                    <a:pt x="17" y="23"/>
                  </a:lnTo>
                  <a:lnTo>
                    <a:pt x="18" y="23"/>
                  </a:lnTo>
                  <a:lnTo>
                    <a:pt x="20" y="24"/>
                  </a:lnTo>
                  <a:lnTo>
                    <a:pt x="20" y="26"/>
                  </a:lnTo>
                  <a:lnTo>
                    <a:pt x="21" y="26"/>
                  </a:lnTo>
                  <a:lnTo>
                    <a:pt x="23" y="26"/>
                  </a:lnTo>
                  <a:lnTo>
                    <a:pt x="27" y="23"/>
                  </a:lnTo>
                  <a:lnTo>
                    <a:pt x="30" y="19"/>
                  </a:lnTo>
                  <a:lnTo>
                    <a:pt x="33" y="16"/>
                  </a:lnTo>
                  <a:lnTo>
                    <a:pt x="34" y="13"/>
                  </a:lnTo>
                  <a:lnTo>
                    <a:pt x="34" y="10"/>
                  </a:lnTo>
                  <a:lnTo>
                    <a:pt x="33" y="9"/>
                  </a:lnTo>
                  <a:lnTo>
                    <a:pt x="33" y="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37" name="Freeform 385"/>
            <p:cNvSpPr>
              <a:spLocks/>
            </p:cNvSpPr>
            <p:nvPr/>
          </p:nvSpPr>
          <p:spPr bwMode="auto">
            <a:xfrm>
              <a:off x="4939555" y="2026168"/>
              <a:ext cx="4885" cy="6615"/>
            </a:xfrm>
            <a:custGeom>
              <a:avLst/>
              <a:gdLst>
                <a:gd name="T0" fmla="*/ 8 w 8"/>
                <a:gd name="T1" fmla="*/ 4 h 10"/>
                <a:gd name="T2" fmla="*/ 7 w 8"/>
                <a:gd name="T3" fmla="*/ 1 h 10"/>
                <a:gd name="T4" fmla="*/ 4 w 8"/>
                <a:gd name="T5" fmla="*/ 0 h 10"/>
                <a:gd name="T6" fmla="*/ 2 w 8"/>
                <a:gd name="T7" fmla="*/ 0 h 10"/>
                <a:gd name="T8" fmla="*/ 1 w 8"/>
                <a:gd name="T9" fmla="*/ 3 h 10"/>
                <a:gd name="T10" fmla="*/ 0 w 8"/>
                <a:gd name="T11" fmla="*/ 6 h 10"/>
                <a:gd name="T12" fmla="*/ 0 w 8"/>
                <a:gd name="T13" fmla="*/ 7 h 10"/>
                <a:gd name="T14" fmla="*/ 1 w 8"/>
                <a:gd name="T15" fmla="*/ 8 h 10"/>
                <a:gd name="T16" fmla="*/ 4 w 8"/>
                <a:gd name="T17" fmla="*/ 8 h 10"/>
                <a:gd name="T18" fmla="*/ 7 w 8"/>
                <a:gd name="T19" fmla="*/ 10 h 10"/>
                <a:gd name="T20" fmla="*/ 8 w 8"/>
                <a:gd name="T21" fmla="*/ 8 h 10"/>
                <a:gd name="T22" fmla="*/ 8 w 8"/>
                <a:gd name="T23" fmla="*/ 6 h 10"/>
                <a:gd name="T24" fmla="*/ 8 w 8"/>
                <a:gd name="T25" fmla="*/ 4 h 10"/>
                <a:gd name="T26" fmla="*/ 8 w 8"/>
                <a:gd name="T27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0">
                  <a:moveTo>
                    <a:pt x="8" y="4"/>
                  </a:moveTo>
                  <a:lnTo>
                    <a:pt x="7" y="1"/>
                  </a:lnTo>
                  <a:lnTo>
                    <a:pt x="4" y="0"/>
                  </a:lnTo>
                  <a:lnTo>
                    <a:pt x="2" y="0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8"/>
                  </a:lnTo>
                  <a:lnTo>
                    <a:pt x="4" y="8"/>
                  </a:lnTo>
                  <a:lnTo>
                    <a:pt x="7" y="10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38" name="Freeform 386"/>
            <p:cNvSpPr>
              <a:spLocks/>
            </p:cNvSpPr>
            <p:nvPr/>
          </p:nvSpPr>
          <p:spPr bwMode="auto">
            <a:xfrm>
              <a:off x="4938334" y="2018231"/>
              <a:ext cx="6106" cy="6615"/>
            </a:xfrm>
            <a:custGeom>
              <a:avLst/>
              <a:gdLst>
                <a:gd name="T0" fmla="*/ 10 w 10"/>
                <a:gd name="T1" fmla="*/ 5 h 9"/>
                <a:gd name="T2" fmla="*/ 9 w 10"/>
                <a:gd name="T3" fmla="*/ 3 h 9"/>
                <a:gd name="T4" fmla="*/ 7 w 10"/>
                <a:gd name="T5" fmla="*/ 2 h 9"/>
                <a:gd name="T6" fmla="*/ 4 w 10"/>
                <a:gd name="T7" fmla="*/ 2 h 9"/>
                <a:gd name="T8" fmla="*/ 2 w 10"/>
                <a:gd name="T9" fmla="*/ 0 h 9"/>
                <a:gd name="T10" fmla="*/ 0 w 10"/>
                <a:gd name="T11" fmla="*/ 2 h 9"/>
                <a:gd name="T12" fmla="*/ 0 w 10"/>
                <a:gd name="T13" fmla="*/ 3 h 9"/>
                <a:gd name="T14" fmla="*/ 2 w 10"/>
                <a:gd name="T15" fmla="*/ 5 h 9"/>
                <a:gd name="T16" fmla="*/ 6 w 10"/>
                <a:gd name="T17" fmla="*/ 8 h 9"/>
                <a:gd name="T18" fmla="*/ 9 w 10"/>
                <a:gd name="T19" fmla="*/ 9 h 9"/>
                <a:gd name="T20" fmla="*/ 9 w 10"/>
                <a:gd name="T21" fmla="*/ 8 h 9"/>
                <a:gd name="T22" fmla="*/ 10 w 10"/>
                <a:gd name="T23" fmla="*/ 8 h 9"/>
                <a:gd name="T24" fmla="*/ 10 w 10"/>
                <a:gd name="T25" fmla="*/ 5 h 9"/>
                <a:gd name="T26" fmla="*/ 10 w 10"/>
                <a:gd name="T27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9">
                  <a:moveTo>
                    <a:pt x="10" y="5"/>
                  </a:moveTo>
                  <a:lnTo>
                    <a:pt x="9" y="3"/>
                  </a:lnTo>
                  <a:lnTo>
                    <a:pt x="7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2" y="5"/>
                  </a:lnTo>
                  <a:lnTo>
                    <a:pt x="6" y="8"/>
                  </a:lnTo>
                  <a:lnTo>
                    <a:pt x="9" y="9"/>
                  </a:lnTo>
                  <a:lnTo>
                    <a:pt x="9" y="8"/>
                  </a:lnTo>
                  <a:lnTo>
                    <a:pt x="10" y="8"/>
                  </a:lnTo>
                  <a:lnTo>
                    <a:pt x="10" y="5"/>
                  </a:lnTo>
                  <a:lnTo>
                    <a:pt x="10" y="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39" name="Freeform 387"/>
            <p:cNvSpPr>
              <a:spLocks/>
            </p:cNvSpPr>
            <p:nvPr/>
          </p:nvSpPr>
          <p:spPr bwMode="auto">
            <a:xfrm>
              <a:off x="4928565" y="2020877"/>
              <a:ext cx="12211" cy="22489"/>
            </a:xfrm>
            <a:custGeom>
              <a:avLst/>
              <a:gdLst>
                <a:gd name="T0" fmla="*/ 16 w 19"/>
                <a:gd name="T1" fmla="*/ 13 h 33"/>
                <a:gd name="T2" fmla="*/ 16 w 19"/>
                <a:gd name="T3" fmla="*/ 8 h 33"/>
                <a:gd name="T4" fmla="*/ 15 w 19"/>
                <a:gd name="T5" fmla="*/ 4 h 33"/>
                <a:gd name="T6" fmla="*/ 15 w 19"/>
                <a:gd name="T7" fmla="*/ 1 h 33"/>
                <a:gd name="T8" fmla="*/ 13 w 19"/>
                <a:gd name="T9" fmla="*/ 0 h 33"/>
                <a:gd name="T10" fmla="*/ 12 w 19"/>
                <a:gd name="T11" fmla="*/ 0 h 33"/>
                <a:gd name="T12" fmla="*/ 10 w 19"/>
                <a:gd name="T13" fmla="*/ 1 h 33"/>
                <a:gd name="T14" fmla="*/ 10 w 19"/>
                <a:gd name="T15" fmla="*/ 3 h 33"/>
                <a:gd name="T16" fmla="*/ 9 w 19"/>
                <a:gd name="T17" fmla="*/ 4 h 33"/>
                <a:gd name="T18" fmla="*/ 6 w 19"/>
                <a:gd name="T19" fmla="*/ 4 h 33"/>
                <a:gd name="T20" fmla="*/ 5 w 19"/>
                <a:gd name="T21" fmla="*/ 3 h 33"/>
                <a:gd name="T22" fmla="*/ 3 w 19"/>
                <a:gd name="T23" fmla="*/ 3 h 33"/>
                <a:gd name="T24" fmla="*/ 2 w 19"/>
                <a:gd name="T25" fmla="*/ 4 h 33"/>
                <a:gd name="T26" fmla="*/ 0 w 19"/>
                <a:gd name="T27" fmla="*/ 7 h 33"/>
                <a:gd name="T28" fmla="*/ 0 w 19"/>
                <a:gd name="T29" fmla="*/ 14 h 33"/>
                <a:gd name="T30" fmla="*/ 2 w 19"/>
                <a:gd name="T31" fmla="*/ 20 h 33"/>
                <a:gd name="T32" fmla="*/ 0 w 19"/>
                <a:gd name="T33" fmla="*/ 24 h 33"/>
                <a:gd name="T34" fmla="*/ 0 w 19"/>
                <a:gd name="T35" fmla="*/ 25 h 33"/>
                <a:gd name="T36" fmla="*/ 0 w 19"/>
                <a:gd name="T37" fmla="*/ 28 h 33"/>
                <a:gd name="T38" fmla="*/ 0 w 19"/>
                <a:gd name="T39" fmla="*/ 31 h 33"/>
                <a:gd name="T40" fmla="*/ 3 w 19"/>
                <a:gd name="T41" fmla="*/ 33 h 33"/>
                <a:gd name="T42" fmla="*/ 5 w 19"/>
                <a:gd name="T43" fmla="*/ 33 h 33"/>
                <a:gd name="T44" fmla="*/ 6 w 19"/>
                <a:gd name="T45" fmla="*/ 33 h 33"/>
                <a:gd name="T46" fmla="*/ 8 w 19"/>
                <a:gd name="T47" fmla="*/ 31 h 33"/>
                <a:gd name="T48" fmla="*/ 9 w 19"/>
                <a:gd name="T49" fmla="*/ 30 h 33"/>
                <a:gd name="T50" fmla="*/ 13 w 19"/>
                <a:gd name="T51" fmla="*/ 28 h 33"/>
                <a:gd name="T52" fmla="*/ 15 w 19"/>
                <a:gd name="T53" fmla="*/ 28 h 33"/>
                <a:gd name="T54" fmla="*/ 16 w 19"/>
                <a:gd name="T55" fmla="*/ 27 h 33"/>
                <a:gd name="T56" fmla="*/ 18 w 19"/>
                <a:gd name="T57" fmla="*/ 25 h 33"/>
                <a:gd name="T58" fmla="*/ 19 w 19"/>
                <a:gd name="T59" fmla="*/ 24 h 33"/>
                <a:gd name="T60" fmla="*/ 19 w 19"/>
                <a:gd name="T61" fmla="*/ 21 h 33"/>
                <a:gd name="T62" fmla="*/ 18 w 19"/>
                <a:gd name="T63" fmla="*/ 20 h 33"/>
                <a:gd name="T64" fmla="*/ 16 w 19"/>
                <a:gd name="T65" fmla="*/ 20 h 33"/>
                <a:gd name="T66" fmla="*/ 16 w 19"/>
                <a:gd name="T67" fmla="*/ 17 h 33"/>
                <a:gd name="T68" fmla="*/ 16 w 19"/>
                <a:gd name="T69" fmla="*/ 15 h 33"/>
                <a:gd name="T70" fmla="*/ 16 w 19"/>
                <a:gd name="T71" fmla="*/ 13 h 33"/>
                <a:gd name="T72" fmla="*/ 16 w 19"/>
                <a:gd name="T73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" h="33">
                  <a:moveTo>
                    <a:pt x="16" y="13"/>
                  </a:moveTo>
                  <a:lnTo>
                    <a:pt x="16" y="8"/>
                  </a:lnTo>
                  <a:lnTo>
                    <a:pt x="15" y="4"/>
                  </a:lnTo>
                  <a:lnTo>
                    <a:pt x="15" y="1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10" y="3"/>
                  </a:lnTo>
                  <a:lnTo>
                    <a:pt x="9" y="4"/>
                  </a:lnTo>
                  <a:lnTo>
                    <a:pt x="6" y="4"/>
                  </a:lnTo>
                  <a:lnTo>
                    <a:pt x="5" y="3"/>
                  </a:lnTo>
                  <a:lnTo>
                    <a:pt x="3" y="3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0" y="25"/>
                  </a:lnTo>
                  <a:lnTo>
                    <a:pt x="0" y="28"/>
                  </a:lnTo>
                  <a:lnTo>
                    <a:pt x="0" y="31"/>
                  </a:lnTo>
                  <a:lnTo>
                    <a:pt x="3" y="33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8" y="31"/>
                  </a:lnTo>
                  <a:lnTo>
                    <a:pt x="9" y="30"/>
                  </a:lnTo>
                  <a:lnTo>
                    <a:pt x="13" y="28"/>
                  </a:lnTo>
                  <a:lnTo>
                    <a:pt x="15" y="28"/>
                  </a:lnTo>
                  <a:lnTo>
                    <a:pt x="16" y="27"/>
                  </a:lnTo>
                  <a:lnTo>
                    <a:pt x="18" y="25"/>
                  </a:lnTo>
                  <a:lnTo>
                    <a:pt x="19" y="24"/>
                  </a:lnTo>
                  <a:lnTo>
                    <a:pt x="19" y="21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6" y="17"/>
                  </a:lnTo>
                  <a:lnTo>
                    <a:pt x="16" y="15"/>
                  </a:lnTo>
                  <a:lnTo>
                    <a:pt x="16" y="13"/>
                  </a:lnTo>
                  <a:lnTo>
                    <a:pt x="16" y="1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40" name="Freeform 388"/>
            <p:cNvSpPr>
              <a:spLocks/>
            </p:cNvSpPr>
            <p:nvPr/>
          </p:nvSpPr>
          <p:spPr bwMode="auto">
            <a:xfrm>
              <a:off x="4882162" y="1981190"/>
              <a:ext cx="2442" cy="2646"/>
            </a:xfrm>
            <a:custGeom>
              <a:avLst/>
              <a:gdLst>
                <a:gd name="T0" fmla="*/ 4 w 4"/>
                <a:gd name="T1" fmla="*/ 0 h 4"/>
                <a:gd name="T2" fmla="*/ 3 w 4"/>
                <a:gd name="T3" fmla="*/ 0 h 4"/>
                <a:gd name="T4" fmla="*/ 1 w 4"/>
                <a:gd name="T5" fmla="*/ 0 h 4"/>
                <a:gd name="T6" fmla="*/ 0 w 4"/>
                <a:gd name="T7" fmla="*/ 0 h 4"/>
                <a:gd name="T8" fmla="*/ 0 w 4"/>
                <a:gd name="T9" fmla="*/ 1 h 4"/>
                <a:gd name="T10" fmla="*/ 0 w 4"/>
                <a:gd name="T11" fmla="*/ 2 h 4"/>
                <a:gd name="T12" fmla="*/ 1 w 4"/>
                <a:gd name="T13" fmla="*/ 4 h 4"/>
                <a:gd name="T14" fmla="*/ 3 w 4"/>
                <a:gd name="T15" fmla="*/ 4 h 4"/>
                <a:gd name="T16" fmla="*/ 3 w 4"/>
                <a:gd name="T17" fmla="*/ 2 h 4"/>
                <a:gd name="T18" fmla="*/ 4 w 4"/>
                <a:gd name="T19" fmla="*/ 1 h 4"/>
                <a:gd name="T20" fmla="*/ 4 w 4"/>
                <a:gd name="T21" fmla="*/ 0 h 4"/>
                <a:gd name="T22" fmla="*/ 4 w 4"/>
                <a:gd name="T2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4">
                  <a:moveTo>
                    <a:pt x="4" y="0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4"/>
                  </a:lnTo>
                  <a:lnTo>
                    <a:pt x="3" y="4"/>
                  </a:lnTo>
                  <a:lnTo>
                    <a:pt x="3" y="2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41" name="Freeform 389"/>
            <p:cNvSpPr>
              <a:spLocks/>
            </p:cNvSpPr>
            <p:nvPr/>
          </p:nvSpPr>
          <p:spPr bwMode="auto">
            <a:xfrm>
              <a:off x="4896815" y="2110834"/>
              <a:ext cx="3663" cy="1323"/>
            </a:xfrm>
            <a:custGeom>
              <a:avLst/>
              <a:gdLst>
                <a:gd name="T0" fmla="*/ 3 w 4"/>
                <a:gd name="T1" fmla="*/ 0 h 3"/>
                <a:gd name="T2" fmla="*/ 3 w 4"/>
                <a:gd name="T3" fmla="*/ 0 h 3"/>
                <a:gd name="T4" fmla="*/ 1 w 4"/>
                <a:gd name="T5" fmla="*/ 0 h 3"/>
                <a:gd name="T6" fmla="*/ 0 w 4"/>
                <a:gd name="T7" fmla="*/ 0 h 3"/>
                <a:gd name="T8" fmla="*/ 0 w 4"/>
                <a:gd name="T9" fmla="*/ 2 h 3"/>
                <a:gd name="T10" fmla="*/ 0 w 4"/>
                <a:gd name="T11" fmla="*/ 2 h 3"/>
                <a:gd name="T12" fmla="*/ 1 w 4"/>
                <a:gd name="T13" fmla="*/ 3 h 3"/>
                <a:gd name="T14" fmla="*/ 3 w 4"/>
                <a:gd name="T15" fmla="*/ 3 h 3"/>
                <a:gd name="T16" fmla="*/ 3 w 4"/>
                <a:gd name="T17" fmla="*/ 3 h 3"/>
                <a:gd name="T18" fmla="*/ 4 w 4"/>
                <a:gd name="T19" fmla="*/ 2 h 3"/>
                <a:gd name="T20" fmla="*/ 3 w 4"/>
                <a:gd name="T21" fmla="*/ 0 h 3"/>
                <a:gd name="T22" fmla="*/ 3 w 4"/>
                <a:gd name="T2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2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42" name="Freeform 390"/>
            <p:cNvSpPr>
              <a:spLocks/>
            </p:cNvSpPr>
            <p:nvPr/>
          </p:nvSpPr>
          <p:spPr bwMode="auto">
            <a:xfrm>
              <a:off x="5020151" y="2002356"/>
              <a:ext cx="3663" cy="5292"/>
            </a:xfrm>
            <a:custGeom>
              <a:avLst/>
              <a:gdLst>
                <a:gd name="T0" fmla="*/ 6 w 6"/>
                <a:gd name="T1" fmla="*/ 2 h 7"/>
                <a:gd name="T2" fmla="*/ 5 w 6"/>
                <a:gd name="T3" fmla="*/ 2 h 7"/>
                <a:gd name="T4" fmla="*/ 3 w 6"/>
                <a:gd name="T5" fmla="*/ 0 h 7"/>
                <a:gd name="T6" fmla="*/ 3 w 6"/>
                <a:gd name="T7" fmla="*/ 0 h 7"/>
                <a:gd name="T8" fmla="*/ 0 w 6"/>
                <a:gd name="T9" fmla="*/ 2 h 7"/>
                <a:gd name="T10" fmla="*/ 0 w 6"/>
                <a:gd name="T11" fmla="*/ 3 h 7"/>
                <a:gd name="T12" fmla="*/ 0 w 6"/>
                <a:gd name="T13" fmla="*/ 4 h 7"/>
                <a:gd name="T14" fmla="*/ 2 w 6"/>
                <a:gd name="T15" fmla="*/ 7 h 7"/>
                <a:gd name="T16" fmla="*/ 5 w 6"/>
                <a:gd name="T17" fmla="*/ 7 h 7"/>
                <a:gd name="T18" fmla="*/ 5 w 6"/>
                <a:gd name="T19" fmla="*/ 6 h 7"/>
                <a:gd name="T20" fmla="*/ 6 w 6"/>
                <a:gd name="T21" fmla="*/ 3 h 7"/>
                <a:gd name="T22" fmla="*/ 6 w 6"/>
                <a:gd name="T23" fmla="*/ 3 h 7"/>
                <a:gd name="T24" fmla="*/ 6 w 6"/>
                <a:gd name="T25" fmla="*/ 2 h 7"/>
                <a:gd name="T26" fmla="*/ 6 w 6"/>
                <a:gd name="T2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" h="7">
                  <a:moveTo>
                    <a:pt x="6" y="2"/>
                  </a:moveTo>
                  <a:lnTo>
                    <a:pt x="5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4"/>
                  </a:lnTo>
                  <a:lnTo>
                    <a:pt x="2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43" name="Freeform 391"/>
            <p:cNvSpPr>
              <a:spLocks/>
            </p:cNvSpPr>
            <p:nvPr/>
          </p:nvSpPr>
          <p:spPr bwMode="auto">
            <a:xfrm>
              <a:off x="4924902" y="2032783"/>
              <a:ext cx="2442" cy="3969"/>
            </a:xfrm>
            <a:custGeom>
              <a:avLst/>
              <a:gdLst>
                <a:gd name="T0" fmla="*/ 4 w 4"/>
                <a:gd name="T1" fmla="*/ 1 h 6"/>
                <a:gd name="T2" fmla="*/ 3 w 4"/>
                <a:gd name="T3" fmla="*/ 0 h 6"/>
                <a:gd name="T4" fmla="*/ 1 w 4"/>
                <a:gd name="T5" fmla="*/ 0 h 6"/>
                <a:gd name="T6" fmla="*/ 0 w 4"/>
                <a:gd name="T7" fmla="*/ 0 h 6"/>
                <a:gd name="T8" fmla="*/ 0 w 4"/>
                <a:gd name="T9" fmla="*/ 1 h 6"/>
                <a:gd name="T10" fmla="*/ 0 w 4"/>
                <a:gd name="T11" fmla="*/ 3 h 6"/>
                <a:gd name="T12" fmla="*/ 1 w 4"/>
                <a:gd name="T13" fmla="*/ 4 h 6"/>
                <a:gd name="T14" fmla="*/ 3 w 4"/>
                <a:gd name="T15" fmla="*/ 6 h 6"/>
                <a:gd name="T16" fmla="*/ 3 w 4"/>
                <a:gd name="T17" fmla="*/ 4 h 6"/>
                <a:gd name="T18" fmla="*/ 4 w 4"/>
                <a:gd name="T19" fmla="*/ 3 h 6"/>
                <a:gd name="T20" fmla="*/ 4 w 4"/>
                <a:gd name="T21" fmla="*/ 1 h 6"/>
                <a:gd name="T22" fmla="*/ 4 w 4"/>
                <a:gd name="T23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6">
                  <a:moveTo>
                    <a:pt x="4" y="1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1" y="4"/>
                  </a:lnTo>
                  <a:lnTo>
                    <a:pt x="3" y="6"/>
                  </a:lnTo>
                  <a:lnTo>
                    <a:pt x="3" y="4"/>
                  </a:lnTo>
                  <a:lnTo>
                    <a:pt x="4" y="3"/>
                  </a:ln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45" name="Freeform 393"/>
            <p:cNvSpPr>
              <a:spLocks/>
            </p:cNvSpPr>
            <p:nvPr/>
          </p:nvSpPr>
          <p:spPr bwMode="auto">
            <a:xfrm>
              <a:off x="4869950" y="2028814"/>
              <a:ext cx="23202" cy="25135"/>
            </a:xfrm>
            <a:custGeom>
              <a:avLst/>
              <a:gdLst>
                <a:gd name="T0" fmla="*/ 39 w 39"/>
                <a:gd name="T1" fmla="*/ 19 h 37"/>
                <a:gd name="T2" fmla="*/ 39 w 39"/>
                <a:gd name="T3" fmla="*/ 14 h 37"/>
                <a:gd name="T4" fmla="*/ 37 w 39"/>
                <a:gd name="T5" fmla="*/ 10 h 37"/>
                <a:gd name="T6" fmla="*/ 36 w 39"/>
                <a:gd name="T7" fmla="*/ 7 h 37"/>
                <a:gd name="T8" fmla="*/ 33 w 39"/>
                <a:gd name="T9" fmla="*/ 7 h 37"/>
                <a:gd name="T10" fmla="*/ 30 w 39"/>
                <a:gd name="T11" fmla="*/ 6 h 37"/>
                <a:gd name="T12" fmla="*/ 27 w 39"/>
                <a:gd name="T13" fmla="*/ 3 h 37"/>
                <a:gd name="T14" fmla="*/ 24 w 39"/>
                <a:gd name="T15" fmla="*/ 2 h 37"/>
                <a:gd name="T16" fmla="*/ 20 w 39"/>
                <a:gd name="T17" fmla="*/ 2 h 37"/>
                <a:gd name="T18" fmla="*/ 19 w 39"/>
                <a:gd name="T19" fmla="*/ 2 h 37"/>
                <a:gd name="T20" fmla="*/ 17 w 39"/>
                <a:gd name="T21" fmla="*/ 3 h 37"/>
                <a:gd name="T22" fmla="*/ 14 w 39"/>
                <a:gd name="T23" fmla="*/ 3 h 37"/>
                <a:gd name="T24" fmla="*/ 13 w 39"/>
                <a:gd name="T25" fmla="*/ 2 h 37"/>
                <a:gd name="T26" fmla="*/ 11 w 39"/>
                <a:gd name="T27" fmla="*/ 0 h 37"/>
                <a:gd name="T28" fmla="*/ 9 w 39"/>
                <a:gd name="T29" fmla="*/ 0 h 37"/>
                <a:gd name="T30" fmla="*/ 6 w 39"/>
                <a:gd name="T31" fmla="*/ 0 h 37"/>
                <a:gd name="T32" fmla="*/ 4 w 39"/>
                <a:gd name="T33" fmla="*/ 2 h 37"/>
                <a:gd name="T34" fmla="*/ 4 w 39"/>
                <a:gd name="T35" fmla="*/ 3 h 37"/>
                <a:gd name="T36" fmla="*/ 4 w 39"/>
                <a:gd name="T37" fmla="*/ 3 h 37"/>
                <a:gd name="T38" fmla="*/ 7 w 39"/>
                <a:gd name="T39" fmla="*/ 4 h 37"/>
                <a:gd name="T40" fmla="*/ 10 w 39"/>
                <a:gd name="T41" fmla="*/ 6 h 37"/>
                <a:gd name="T42" fmla="*/ 10 w 39"/>
                <a:gd name="T43" fmla="*/ 7 h 37"/>
                <a:gd name="T44" fmla="*/ 10 w 39"/>
                <a:gd name="T45" fmla="*/ 9 h 37"/>
                <a:gd name="T46" fmla="*/ 7 w 39"/>
                <a:gd name="T47" fmla="*/ 12 h 37"/>
                <a:gd name="T48" fmla="*/ 1 w 39"/>
                <a:gd name="T49" fmla="*/ 12 h 37"/>
                <a:gd name="T50" fmla="*/ 0 w 39"/>
                <a:gd name="T51" fmla="*/ 13 h 37"/>
                <a:gd name="T52" fmla="*/ 0 w 39"/>
                <a:gd name="T53" fmla="*/ 14 h 37"/>
                <a:gd name="T54" fmla="*/ 3 w 39"/>
                <a:gd name="T55" fmla="*/ 17 h 37"/>
                <a:gd name="T56" fmla="*/ 4 w 39"/>
                <a:gd name="T57" fmla="*/ 20 h 37"/>
                <a:gd name="T58" fmla="*/ 9 w 39"/>
                <a:gd name="T59" fmla="*/ 25 h 37"/>
                <a:gd name="T60" fmla="*/ 10 w 39"/>
                <a:gd name="T61" fmla="*/ 26 h 37"/>
                <a:gd name="T62" fmla="*/ 11 w 39"/>
                <a:gd name="T63" fmla="*/ 26 h 37"/>
                <a:gd name="T64" fmla="*/ 14 w 39"/>
                <a:gd name="T65" fmla="*/ 26 h 37"/>
                <a:gd name="T66" fmla="*/ 14 w 39"/>
                <a:gd name="T67" fmla="*/ 25 h 37"/>
                <a:gd name="T68" fmla="*/ 17 w 39"/>
                <a:gd name="T69" fmla="*/ 25 h 37"/>
                <a:gd name="T70" fmla="*/ 17 w 39"/>
                <a:gd name="T71" fmla="*/ 26 h 37"/>
                <a:gd name="T72" fmla="*/ 17 w 39"/>
                <a:gd name="T73" fmla="*/ 27 h 37"/>
                <a:gd name="T74" fmla="*/ 14 w 39"/>
                <a:gd name="T75" fmla="*/ 29 h 37"/>
                <a:gd name="T76" fmla="*/ 14 w 39"/>
                <a:gd name="T77" fmla="*/ 32 h 37"/>
                <a:gd name="T78" fmla="*/ 16 w 39"/>
                <a:gd name="T79" fmla="*/ 35 h 37"/>
                <a:gd name="T80" fmla="*/ 19 w 39"/>
                <a:gd name="T81" fmla="*/ 36 h 37"/>
                <a:gd name="T82" fmla="*/ 20 w 39"/>
                <a:gd name="T83" fmla="*/ 36 h 37"/>
                <a:gd name="T84" fmla="*/ 21 w 39"/>
                <a:gd name="T85" fmla="*/ 35 h 37"/>
                <a:gd name="T86" fmla="*/ 23 w 39"/>
                <a:gd name="T87" fmla="*/ 35 h 37"/>
                <a:gd name="T88" fmla="*/ 27 w 39"/>
                <a:gd name="T89" fmla="*/ 37 h 37"/>
                <a:gd name="T90" fmla="*/ 29 w 39"/>
                <a:gd name="T91" fmla="*/ 37 h 37"/>
                <a:gd name="T92" fmla="*/ 32 w 39"/>
                <a:gd name="T93" fmla="*/ 37 h 37"/>
                <a:gd name="T94" fmla="*/ 34 w 39"/>
                <a:gd name="T95" fmla="*/ 35 h 37"/>
                <a:gd name="T96" fmla="*/ 37 w 39"/>
                <a:gd name="T97" fmla="*/ 32 h 37"/>
                <a:gd name="T98" fmla="*/ 39 w 39"/>
                <a:gd name="T99" fmla="*/ 27 h 37"/>
                <a:gd name="T100" fmla="*/ 39 w 39"/>
                <a:gd name="T101" fmla="*/ 25 h 37"/>
                <a:gd name="T102" fmla="*/ 39 w 39"/>
                <a:gd name="T103" fmla="*/ 19 h 37"/>
                <a:gd name="T104" fmla="*/ 39 w 39"/>
                <a:gd name="T10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9" h="37">
                  <a:moveTo>
                    <a:pt x="39" y="19"/>
                  </a:moveTo>
                  <a:lnTo>
                    <a:pt x="39" y="14"/>
                  </a:lnTo>
                  <a:lnTo>
                    <a:pt x="37" y="10"/>
                  </a:lnTo>
                  <a:lnTo>
                    <a:pt x="36" y="7"/>
                  </a:lnTo>
                  <a:lnTo>
                    <a:pt x="33" y="7"/>
                  </a:lnTo>
                  <a:lnTo>
                    <a:pt x="30" y="6"/>
                  </a:lnTo>
                  <a:lnTo>
                    <a:pt x="27" y="3"/>
                  </a:lnTo>
                  <a:lnTo>
                    <a:pt x="24" y="2"/>
                  </a:lnTo>
                  <a:lnTo>
                    <a:pt x="20" y="2"/>
                  </a:lnTo>
                  <a:lnTo>
                    <a:pt x="19" y="2"/>
                  </a:lnTo>
                  <a:lnTo>
                    <a:pt x="17" y="3"/>
                  </a:lnTo>
                  <a:lnTo>
                    <a:pt x="14" y="3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7" y="4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0" y="9"/>
                  </a:lnTo>
                  <a:lnTo>
                    <a:pt x="7" y="12"/>
                  </a:lnTo>
                  <a:lnTo>
                    <a:pt x="1" y="12"/>
                  </a:lnTo>
                  <a:lnTo>
                    <a:pt x="0" y="13"/>
                  </a:lnTo>
                  <a:lnTo>
                    <a:pt x="0" y="14"/>
                  </a:lnTo>
                  <a:lnTo>
                    <a:pt x="3" y="17"/>
                  </a:lnTo>
                  <a:lnTo>
                    <a:pt x="4" y="20"/>
                  </a:lnTo>
                  <a:lnTo>
                    <a:pt x="9" y="25"/>
                  </a:lnTo>
                  <a:lnTo>
                    <a:pt x="10" y="26"/>
                  </a:lnTo>
                  <a:lnTo>
                    <a:pt x="11" y="26"/>
                  </a:lnTo>
                  <a:lnTo>
                    <a:pt x="14" y="26"/>
                  </a:lnTo>
                  <a:lnTo>
                    <a:pt x="14" y="25"/>
                  </a:lnTo>
                  <a:lnTo>
                    <a:pt x="17" y="25"/>
                  </a:lnTo>
                  <a:lnTo>
                    <a:pt x="17" y="26"/>
                  </a:lnTo>
                  <a:lnTo>
                    <a:pt x="17" y="27"/>
                  </a:lnTo>
                  <a:lnTo>
                    <a:pt x="14" y="29"/>
                  </a:lnTo>
                  <a:lnTo>
                    <a:pt x="14" y="32"/>
                  </a:lnTo>
                  <a:lnTo>
                    <a:pt x="16" y="35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1" y="35"/>
                  </a:lnTo>
                  <a:lnTo>
                    <a:pt x="23" y="35"/>
                  </a:lnTo>
                  <a:lnTo>
                    <a:pt x="27" y="37"/>
                  </a:lnTo>
                  <a:lnTo>
                    <a:pt x="29" y="37"/>
                  </a:lnTo>
                  <a:lnTo>
                    <a:pt x="32" y="37"/>
                  </a:lnTo>
                  <a:lnTo>
                    <a:pt x="34" y="35"/>
                  </a:lnTo>
                  <a:lnTo>
                    <a:pt x="37" y="32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9" y="19"/>
                  </a:lnTo>
                  <a:lnTo>
                    <a:pt x="39" y="1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46" name="Freeform 394"/>
            <p:cNvSpPr>
              <a:spLocks/>
            </p:cNvSpPr>
            <p:nvPr/>
          </p:nvSpPr>
          <p:spPr bwMode="auto">
            <a:xfrm>
              <a:off x="4872393" y="2060564"/>
              <a:ext cx="4885" cy="5292"/>
            </a:xfrm>
            <a:custGeom>
              <a:avLst/>
              <a:gdLst>
                <a:gd name="T0" fmla="*/ 9 w 9"/>
                <a:gd name="T1" fmla="*/ 3 h 7"/>
                <a:gd name="T2" fmla="*/ 7 w 9"/>
                <a:gd name="T3" fmla="*/ 1 h 7"/>
                <a:gd name="T4" fmla="*/ 5 w 9"/>
                <a:gd name="T5" fmla="*/ 0 h 7"/>
                <a:gd name="T6" fmla="*/ 2 w 9"/>
                <a:gd name="T7" fmla="*/ 0 h 7"/>
                <a:gd name="T8" fmla="*/ 0 w 9"/>
                <a:gd name="T9" fmla="*/ 1 h 7"/>
                <a:gd name="T10" fmla="*/ 0 w 9"/>
                <a:gd name="T11" fmla="*/ 3 h 7"/>
                <a:gd name="T12" fmla="*/ 0 w 9"/>
                <a:gd name="T13" fmla="*/ 4 h 7"/>
                <a:gd name="T14" fmla="*/ 3 w 9"/>
                <a:gd name="T15" fmla="*/ 4 h 7"/>
                <a:gd name="T16" fmla="*/ 5 w 9"/>
                <a:gd name="T17" fmla="*/ 6 h 7"/>
                <a:gd name="T18" fmla="*/ 5 w 9"/>
                <a:gd name="T19" fmla="*/ 7 h 7"/>
                <a:gd name="T20" fmla="*/ 6 w 9"/>
                <a:gd name="T21" fmla="*/ 7 h 7"/>
                <a:gd name="T22" fmla="*/ 7 w 9"/>
                <a:gd name="T23" fmla="*/ 6 h 7"/>
                <a:gd name="T24" fmla="*/ 7 w 9"/>
                <a:gd name="T25" fmla="*/ 4 h 7"/>
                <a:gd name="T26" fmla="*/ 9 w 9"/>
                <a:gd name="T27" fmla="*/ 3 h 7"/>
                <a:gd name="T28" fmla="*/ 9 w 9"/>
                <a:gd name="T2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" h="7">
                  <a:moveTo>
                    <a:pt x="9" y="3"/>
                  </a:moveTo>
                  <a:lnTo>
                    <a:pt x="7" y="1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3" y="4"/>
                  </a:lnTo>
                  <a:lnTo>
                    <a:pt x="5" y="6"/>
                  </a:lnTo>
                  <a:lnTo>
                    <a:pt x="5" y="7"/>
                  </a:lnTo>
                  <a:lnTo>
                    <a:pt x="6" y="7"/>
                  </a:lnTo>
                  <a:lnTo>
                    <a:pt x="7" y="6"/>
                  </a:lnTo>
                  <a:lnTo>
                    <a:pt x="7" y="4"/>
                  </a:lnTo>
                  <a:lnTo>
                    <a:pt x="9" y="3"/>
                  </a:lnTo>
                  <a:lnTo>
                    <a:pt x="9" y="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47" name="Freeform 395"/>
            <p:cNvSpPr>
              <a:spLocks/>
            </p:cNvSpPr>
            <p:nvPr/>
          </p:nvSpPr>
          <p:spPr bwMode="auto">
            <a:xfrm>
              <a:off x="4902921" y="2130678"/>
              <a:ext cx="4885" cy="9260"/>
            </a:xfrm>
            <a:custGeom>
              <a:avLst/>
              <a:gdLst>
                <a:gd name="T0" fmla="*/ 7 w 7"/>
                <a:gd name="T1" fmla="*/ 6 h 13"/>
                <a:gd name="T2" fmla="*/ 7 w 7"/>
                <a:gd name="T3" fmla="*/ 3 h 13"/>
                <a:gd name="T4" fmla="*/ 6 w 7"/>
                <a:gd name="T5" fmla="*/ 1 h 13"/>
                <a:gd name="T6" fmla="*/ 3 w 7"/>
                <a:gd name="T7" fmla="*/ 0 h 13"/>
                <a:gd name="T8" fmla="*/ 1 w 7"/>
                <a:gd name="T9" fmla="*/ 0 h 13"/>
                <a:gd name="T10" fmla="*/ 0 w 7"/>
                <a:gd name="T11" fmla="*/ 0 h 13"/>
                <a:gd name="T12" fmla="*/ 0 w 7"/>
                <a:gd name="T13" fmla="*/ 1 h 13"/>
                <a:gd name="T14" fmla="*/ 0 w 7"/>
                <a:gd name="T15" fmla="*/ 6 h 13"/>
                <a:gd name="T16" fmla="*/ 3 w 7"/>
                <a:gd name="T17" fmla="*/ 8 h 13"/>
                <a:gd name="T18" fmla="*/ 3 w 7"/>
                <a:gd name="T19" fmla="*/ 11 h 13"/>
                <a:gd name="T20" fmla="*/ 4 w 7"/>
                <a:gd name="T21" fmla="*/ 13 h 13"/>
                <a:gd name="T22" fmla="*/ 6 w 7"/>
                <a:gd name="T23" fmla="*/ 13 h 13"/>
                <a:gd name="T24" fmla="*/ 7 w 7"/>
                <a:gd name="T25" fmla="*/ 11 h 13"/>
                <a:gd name="T26" fmla="*/ 7 w 7"/>
                <a:gd name="T27" fmla="*/ 10 h 13"/>
                <a:gd name="T28" fmla="*/ 7 w 7"/>
                <a:gd name="T29" fmla="*/ 6 h 13"/>
                <a:gd name="T30" fmla="*/ 7 w 7"/>
                <a:gd name="T3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13">
                  <a:moveTo>
                    <a:pt x="7" y="6"/>
                  </a:moveTo>
                  <a:lnTo>
                    <a:pt x="7" y="3"/>
                  </a:lnTo>
                  <a:lnTo>
                    <a:pt x="6" y="1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6"/>
                  </a:lnTo>
                  <a:lnTo>
                    <a:pt x="3" y="8"/>
                  </a:lnTo>
                  <a:lnTo>
                    <a:pt x="3" y="11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7" y="6"/>
                  </a:lnTo>
                  <a:lnTo>
                    <a:pt x="7" y="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48" name="Freeform 396"/>
            <p:cNvSpPr>
              <a:spLocks/>
            </p:cNvSpPr>
            <p:nvPr/>
          </p:nvSpPr>
          <p:spPr bwMode="auto">
            <a:xfrm>
              <a:off x="4860181" y="1999710"/>
              <a:ext cx="25644" cy="25135"/>
            </a:xfrm>
            <a:custGeom>
              <a:avLst/>
              <a:gdLst>
                <a:gd name="T0" fmla="*/ 0 w 41"/>
                <a:gd name="T1" fmla="*/ 3 h 38"/>
                <a:gd name="T2" fmla="*/ 0 w 41"/>
                <a:gd name="T3" fmla="*/ 7 h 38"/>
                <a:gd name="T4" fmla="*/ 5 w 41"/>
                <a:gd name="T5" fmla="*/ 11 h 38"/>
                <a:gd name="T6" fmla="*/ 11 w 41"/>
                <a:gd name="T7" fmla="*/ 16 h 38"/>
                <a:gd name="T8" fmla="*/ 11 w 41"/>
                <a:gd name="T9" fmla="*/ 20 h 38"/>
                <a:gd name="T10" fmla="*/ 8 w 41"/>
                <a:gd name="T11" fmla="*/ 24 h 38"/>
                <a:gd name="T12" fmla="*/ 10 w 41"/>
                <a:gd name="T13" fmla="*/ 28 h 38"/>
                <a:gd name="T14" fmla="*/ 10 w 41"/>
                <a:gd name="T15" fmla="*/ 33 h 38"/>
                <a:gd name="T16" fmla="*/ 14 w 41"/>
                <a:gd name="T17" fmla="*/ 33 h 38"/>
                <a:gd name="T18" fmla="*/ 18 w 41"/>
                <a:gd name="T19" fmla="*/ 33 h 38"/>
                <a:gd name="T20" fmla="*/ 21 w 41"/>
                <a:gd name="T21" fmla="*/ 34 h 38"/>
                <a:gd name="T22" fmla="*/ 30 w 41"/>
                <a:gd name="T23" fmla="*/ 37 h 38"/>
                <a:gd name="T24" fmla="*/ 34 w 41"/>
                <a:gd name="T25" fmla="*/ 38 h 38"/>
                <a:gd name="T26" fmla="*/ 40 w 41"/>
                <a:gd name="T27" fmla="*/ 38 h 38"/>
                <a:gd name="T28" fmla="*/ 41 w 41"/>
                <a:gd name="T29" fmla="*/ 36 h 38"/>
                <a:gd name="T30" fmla="*/ 38 w 41"/>
                <a:gd name="T31" fmla="*/ 31 h 38"/>
                <a:gd name="T32" fmla="*/ 37 w 41"/>
                <a:gd name="T33" fmla="*/ 24 h 38"/>
                <a:gd name="T34" fmla="*/ 34 w 41"/>
                <a:gd name="T35" fmla="*/ 20 h 38"/>
                <a:gd name="T36" fmla="*/ 35 w 41"/>
                <a:gd name="T37" fmla="*/ 17 h 38"/>
                <a:gd name="T38" fmla="*/ 35 w 41"/>
                <a:gd name="T39" fmla="*/ 13 h 38"/>
                <a:gd name="T40" fmla="*/ 34 w 41"/>
                <a:gd name="T41" fmla="*/ 8 h 38"/>
                <a:gd name="T42" fmla="*/ 30 w 41"/>
                <a:gd name="T43" fmla="*/ 7 h 38"/>
                <a:gd name="T44" fmla="*/ 25 w 41"/>
                <a:gd name="T45" fmla="*/ 11 h 38"/>
                <a:gd name="T46" fmla="*/ 24 w 41"/>
                <a:gd name="T47" fmla="*/ 10 h 38"/>
                <a:gd name="T48" fmla="*/ 27 w 41"/>
                <a:gd name="T49" fmla="*/ 6 h 38"/>
                <a:gd name="T50" fmla="*/ 21 w 41"/>
                <a:gd name="T51" fmla="*/ 4 h 38"/>
                <a:gd name="T52" fmla="*/ 17 w 41"/>
                <a:gd name="T53" fmla="*/ 4 h 38"/>
                <a:gd name="T54" fmla="*/ 15 w 41"/>
                <a:gd name="T55" fmla="*/ 0 h 38"/>
                <a:gd name="T56" fmla="*/ 14 w 41"/>
                <a:gd name="T57" fmla="*/ 0 h 38"/>
                <a:gd name="T58" fmla="*/ 10 w 41"/>
                <a:gd name="T59" fmla="*/ 1 h 38"/>
                <a:gd name="T60" fmla="*/ 5 w 41"/>
                <a:gd name="T61" fmla="*/ 0 h 38"/>
                <a:gd name="T62" fmla="*/ 1 w 41"/>
                <a:gd name="T63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38">
                  <a:moveTo>
                    <a:pt x="1" y="1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10"/>
                  </a:lnTo>
                  <a:lnTo>
                    <a:pt x="5" y="11"/>
                  </a:lnTo>
                  <a:lnTo>
                    <a:pt x="10" y="14"/>
                  </a:lnTo>
                  <a:lnTo>
                    <a:pt x="11" y="16"/>
                  </a:lnTo>
                  <a:lnTo>
                    <a:pt x="11" y="17"/>
                  </a:lnTo>
                  <a:lnTo>
                    <a:pt x="11" y="20"/>
                  </a:lnTo>
                  <a:lnTo>
                    <a:pt x="10" y="21"/>
                  </a:lnTo>
                  <a:lnTo>
                    <a:pt x="8" y="24"/>
                  </a:lnTo>
                  <a:lnTo>
                    <a:pt x="7" y="26"/>
                  </a:lnTo>
                  <a:lnTo>
                    <a:pt x="10" y="28"/>
                  </a:lnTo>
                  <a:lnTo>
                    <a:pt x="10" y="31"/>
                  </a:lnTo>
                  <a:lnTo>
                    <a:pt x="10" y="33"/>
                  </a:lnTo>
                  <a:lnTo>
                    <a:pt x="13" y="33"/>
                  </a:lnTo>
                  <a:lnTo>
                    <a:pt x="14" y="33"/>
                  </a:lnTo>
                  <a:lnTo>
                    <a:pt x="15" y="33"/>
                  </a:lnTo>
                  <a:lnTo>
                    <a:pt x="18" y="33"/>
                  </a:lnTo>
                  <a:lnTo>
                    <a:pt x="20" y="33"/>
                  </a:lnTo>
                  <a:lnTo>
                    <a:pt x="21" y="34"/>
                  </a:lnTo>
                  <a:lnTo>
                    <a:pt x="25" y="36"/>
                  </a:lnTo>
                  <a:lnTo>
                    <a:pt x="30" y="37"/>
                  </a:lnTo>
                  <a:lnTo>
                    <a:pt x="33" y="38"/>
                  </a:lnTo>
                  <a:lnTo>
                    <a:pt x="34" y="38"/>
                  </a:lnTo>
                  <a:lnTo>
                    <a:pt x="37" y="38"/>
                  </a:lnTo>
                  <a:lnTo>
                    <a:pt x="40" y="38"/>
                  </a:lnTo>
                  <a:lnTo>
                    <a:pt x="41" y="37"/>
                  </a:lnTo>
                  <a:lnTo>
                    <a:pt x="41" y="36"/>
                  </a:lnTo>
                  <a:lnTo>
                    <a:pt x="40" y="34"/>
                  </a:lnTo>
                  <a:lnTo>
                    <a:pt x="38" y="31"/>
                  </a:lnTo>
                  <a:lnTo>
                    <a:pt x="37" y="28"/>
                  </a:lnTo>
                  <a:lnTo>
                    <a:pt x="37" y="24"/>
                  </a:lnTo>
                  <a:lnTo>
                    <a:pt x="35" y="23"/>
                  </a:lnTo>
                  <a:lnTo>
                    <a:pt x="34" y="20"/>
                  </a:lnTo>
                  <a:lnTo>
                    <a:pt x="34" y="18"/>
                  </a:lnTo>
                  <a:lnTo>
                    <a:pt x="35" y="17"/>
                  </a:lnTo>
                  <a:lnTo>
                    <a:pt x="37" y="14"/>
                  </a:lnTo>
                  <a:lnTo>
                    <a:pt x="35" y="13"/>
                  </a:lnTo>
                  <a:lnTo>
                    <a:pt x="34" y="11"/>
                  </a:lnTo>
                  <a:lnTo>
                    <a:pt x="34" y="8"/>
                  </a:lnTo>
                  <a:lnTo>
                    <a:pt x="33" y="7"/>
                  </a:lnTo>
                  <a:lnTo>
                    <a:pt x="30" y="7"/>
                  </a:lnTo>
                  <a:lnTo>
                    <a:pt x="28" y="11"/>
                  </a:lnTo>
                  <a:lnTo>
                    <a:pt x="25" y="11"/>
                  </a:lnTo>
                  <a:lnTo>
                    <a:pt x="23" y="11"/>
                  </a:lnTo>
                  <a:lnTo>
                    <a:pt x="24" y="10"/>
                  </a:lnTo>
                  <a:lnTo>
                    <a:pt x="27" y="8"/>
                  </a:lnTo>
                  <a:lnTo>
                    <a:pt x="27" y="6"/>
                  </a:lnTo>
                  <a:lnTo>
                    <a:pt x="24" y="4"/>
                  </a:lnTo>
                  <a:lnTo>
                    <a:pt x="21" y="4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7" y="1"/>
                  </a:lnTo>
                  <a:lnTo>
                    <a:pt x="15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7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51" name="Freeform 399"/>
            <p:cNvSpPr>
              <a:spLocks/>
            </p:cNvSpPr>
            <p:nvPr/>
          </p:nvSpPr>
          <p:spPr bwMode="auto">
            <a:xfrm>
              <a:off x="4922459" y="2001033"/>
              <a:ext cx="20759" cy="14552"/>
            </a:xfrm>
            <a:custGeom>
              <a:avLst/>
              <a:gdLst>
                <a:gd name="T0" fmla="*/ 25 w 33"/>
                <a:gd name="T1" fmla="*/ 3 h 21"/>
                <a:gd name="T2" fmla="*/ 19 w 33"/>
                <a:gd name="T3" fmla="*/ 1 h 21"/>
                <a:gd name="T4" fmla="*/ 16 w 33"/>
                <a:gd name="T5" fmla="*/ 0 h 21"/>
                <a:gd name="T6" fmla="*/ 13 w 33"/>
                <a:gd name="T7" fmla="*/ 0 h 21"/>
                <a:gd name="T8" fmla="*/ 12 w 33"/>
                <a:gd name="T9" fmla="*/ 0 h 21"/>
                <a:gd name="T10" fmla="*/ 10 w 33"/>
                <a:gd name="T11" fmla="*/ 1 h 21"/>
                <a:gd name="T12" fmla="*/ 9 w 33"/>
                <a:gd name="T13" fmla="*/ 3 h 21"/>
                <a:gd name="T14" fmla="*/ 5 w 33"/>
                <a:gd name="T15" fmla="*/ 3 h 21"/>
                <a:gd name="T16" fmla="*/ 3 w 33"/>
                <a:gd name="T17" fmla="*/ 1 h 21"/>
                <a:gd name="T18" fmla="*/ 2 w 33"/>
                <a:gd name="T19" fmla="*/ 3 h 21"/>
                <a:gd name="T20" fmla="*/ 0 w 33"/>
                <a:gd name="T21" fmla="*/ 4 h 21"/>
                <a:gd name="T22" fmla="*/ 0 w 33"/>
                <a:gd name="T23" fmla="*/ 8 h 21"/>
                <a:gd name="T24" fmla="*/ 2 w 33"/>
                <a:gd name="T25" fmla="*/ 14 h 21"/>
                <a:gd name="T26" fmla="*/ 6 w 33"/>
                <a:gd name="T27" fmla="*/ 20 h 21"/>
                <a:gd name="T28" fmla="*/ 12 w 33"/>
                <a:gd name="T29" fmla="*/ 21 h 21"/>
                <a:gd name="T30" fmla="*/ 16 w 33"/>
                <a:gd name="T31" fmla="*/ 21 h 21"/>
                <a:gd name="T32" fmla="*/ 19 w 33"/>
                <a:gd name="T33" fmla="*/ 20 h 21"/>
                <a:gd name="T34" fmla="*/ 22 w 33"/>
                <a:gd name="T35" fmla="*/ 17 h 21"/>
                <a:gd name="T36" fmla="*/ 23 w 33"/>
                <a:gd name="T37" fmla="*/ 15 h 21"/>
                <a:gd name="T38" fmla="*/ 26 w 33"/>
                <a:gd name="T39" fmla="*/ 14 h 21"/>
                <a:gd name="T40" fmla="*/ 28 w 33"/>
                <a:gd name="T41" fmla="*/ 15 h 21"/>
                <a:gd name="T42" fmla="*/ 30 w 33"/>
                <a:gd name="T43" fmla="*/ 17 h 21"/>
                <a:gd name="T44" fmla="*/ 32 w 33"/>
                <a:gd name="T45" fmla="*/ 17 h 21"/>
                <a:gd name="T46" fmla="*/ 33 w 33"/>
                <a:gd name="T47" fmla="*/ 15 h 21"/>
                <a:gd name="T48" fmla="*/ 32 w 33"/>
                <a:gd name="T49" fmla="*/ 13 h 21"/>
                <a:gd name="T50" fmla="*/ 33 w 33"/>
                <a:gd name="T51" fmla="*/ 11 h 21"/>
                <a:gd name="T52" fmla="*/ 33 w 33"/>
                <a:gd name="T53" fmla="*/ 10 h 21"/>
                <a:gd name="T54" fmla="*/ 32 w 33"/>
                <a:gd name="T55" fmla="*/ 7 h 21"/>
                <a:gd name="T56" fmla="*/ 32 w 33"/>
                <a:gd name="T57" fmla="*/ 4 h 21"/>
                <a:gd name="T58" fmla="*/ 30 w 33"/>
                <a:gd name="T59" fmla="*/ 4 h 21"/>
                <a:gd name="T60" fmla="*/ 29 w 33"/>
                <a:gd name="T61" fmla="*/ 4 h 21"/>
                <a:gd name="T62" fmla="*/ 25 w 33"/>
                <a:gd name="T63" fmla="*/ 3 h 21"/>
                <a:gd name="T64" fmla="*/ 25 w 33"/>
                <a:gd name="T65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" h="21">
                  <a:moveTo>
                    <a:pt x="25" y="3"/>
                  </a:moveTo>
                  <a:lnTo>
                    <a:pt x="19" y="1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9" y="3"/>
                  </a:lnTo>
                  <a:lnTo>
                    <a:pt x="5" y="3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4"/>
                  </a:lnTo>
                  <a:lnTo>
                    <a:pt x="0" y="8"/>
                  </a:lnTo>
                  <a:lnTo>
                    <a:pt x="2" y="14"/>
                  </a:lnTo>
                  <a:lnTo>
                    <a:pt x="6" y="20"/>
                  </a:lnTo>
                  <a:lnTo>
                    <a:pt x="12" y="21"/>
                  </a:lnTo>
                  <a:lnTo>
                    <a:pt x="16" y="21"/>
                  </a:lnTo>
                  <a:lnTo>
                    <a:pt x="19" y="20"/>
                  </a:lnTo>
                  <a:lnTo>
                    <a:pt x="22" y="17"/>
                  </a:lnTo>
                  <a:lnTo>
                    <a:pt x="23" y="15"/>
                  </a:lnTo>
                  <a:lnTo>
                    <a:pt x="26" y="14"/>
                  </a:lnTo>
                  <a:lnTo>
                    <a:pt x="28" y="15"/>
                  </a:lnTo>
                  <a:lnTo>
                    <a:pt x="30" y="17"/>
                  </a:lnTo>
                  <a:lnTo>
                    <a:pt x="32" y="17"/>
                  </a:lnTo>
                  <a:lnTo>
                    <a:pt x="33" y="15"/>
                  </a:lnTo>
                  <a:lnTo>
                    <a:pt x="32" y="13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2" y="7"/>
                  </a:lnTo>
                  <a:lnTo>
                    <a:pt x="32" y="4"/>
                  </a:lnTo>
                  <a:lnTo>
                    <a:pt x="30" y="4"/>
                  </a:lnTo>
                  <a:lnTo>
                    <a:pt x="29" y="4"/>
                  </a:lnTo>
                  <a:lnTo>
                    <a:pt x="25" y="3"/>
                  </a:lnTo>
                  <a:lnTo>
                    <a:pt x="25" y="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52" name="Freeform 400"/>
            <p:cNvSpPr>
              <a:spLocks/>
            </p:cNvSpPr>
            <p:nvPr/>
          </p:nvSpPr>
          <p:spPr bwMode="auto">
            <a:xfrm>
              <a:off x="5026257" y="2003679"/>
              <a:ext cx="21981" cy="25135"/>
            </a:xfrm>
            <a:custGeom>
              <a:avLst/>
              <a:gdLst>
                <a:gd name="T0" fmla="*/ 28 w 34"/>
                <a:gd name="T1" fmla="*/ 36 h 37"/>
                <a:gd name="T2" fmla="*/ 33 w 34"/>
                <a:gd name="T3" fmla="*/ 31 h 37"/>
                <a:gd name="T4" fmla="*/ 33 w 34"/>
                <a:gd name="T5" fmla="*/ 31 h 37"/>
                <a:gd name="T6" fmla="*/ 33 w 34"/>
                <a:gd name="T7" fmla="*/ 29 h 37"/>
                <a:gd name="T8" fmla="*/ 34 w 34"/>
                <a:gd name="T9" fmla="*/ 27 h 37"/>
                <a:gd name="T10" fmla="*/ 34 w 34"/>
                <a:gd name="T11" fmla="*/ 23 h 37"/>
                <a:gd name="T12" fmla="*/ 33 w 34"/>
                <a:gd name="T13" fmla="*/ 20 h 37"/>
                <a:gd name="T14" fmla="*/ 30 w 34"/>
                <a:gd name="T15" fmla="*/ 16 h 37"/>
                <a:gd name="T16" fmla="*/ 28 w 34"/>
                <a:gd name="T17" fmla="*/ 13 h 37"/>
                <a:gd name="T18" fmla="*/ 26 w 34"/>
                <a:gd name="T19" fmla="*/ 10 h 37"/>
                <a:gd name="T20" fmla="*/ 23 w 34"/>
                <a:gd name="T21" fmla="*/ 10 h 37"/>
                <a:gd name="T22" fmla="*/ 18 w 34"/>
                <a:gd name="T23" fmla="*/ 10 h 37"/>
                <a:gd name="T24" fmla="*/ 16 w 34"/>
                <a:gd name="T25" fmla="*/ 9 h 37"/>
                <a:gd name="T26" fmla="*/ 17 w 34"/>
                <a:gd name="T27" fmla="*/ 9 h 37"/>
                <a:gd name="T28" fmla="*/ 18 w 34"/>
                <a:gd name="T29" fmla="*/ 7 h 37"/>
                <a:gd name="T30" fmla="*/ 18 w 34"/>
                <a:gd name="T31" fmla="*/ 6 h 37"/>
                <a:gd name="T32" fmla="*/ 16 w 34"/>
                <a:gd name="T33" fmla="*/ 4 h 37"/>
                <a:gd name="T34" fmla="*/ 8 w 34"/>
                <a:gd name="T35" fmla="*/ 1 h 37"/>
                <a:gd name="T36" fmla="*/ 6 w 34"/>
                <a:gd name="T37" fmla="*/ 0 h 37"/>
                <a:gd name="T38" fmla="*/ 3 w 34"/>
                <a:gd name="T39" fmla="*/ 1 h 37"/>
                <a:gd name="T40" fmla="*/ 1 w 34"/>
                <a:gd name="T41" fmla="*/ 1 h 37"/>
                <a:gd name="T42" fmla="*/ 0 w 34"/>
                <a:gd name="T43" fmla="*/ 4 h 37"/>
                <a:gd name="T44" fmla="*/ 0 w 34"/>
                <a:gd name="T45" fmla="*/ 6 h 37"/>
                <a:gd name="T46" fmla="*/ 0 w 34"/>
                <a:gd name="T47" fmla="*/ 7 h 37"/>
                <a:gd name="T48" fmla="*/ 1 w 34"/>
                <a:gd name="T49" fmla="*/ 10 h 37"/>
                <a:gd name="T50" fmla="*/ 4 w 34"/>
                <a:gd name="T51" fmla="*/ 11 h 37"/>
                <a:gd name="T52" fmla="*/ 7 w 34"/>
                <a:gd name="T53" fmla="*/ 13 h 37"/>
                <a:gd name="T54" fmla="*/ 8 w 34"/>
                <a:gd name="T55" fmla="*/ 13 h 37"/>
                <a:gd name="T56" fmla="*/ 7 w 34"/>
                <a:gd name="T57" fmla="*/ 16 h 37"/>
                <a:gd name="T58" fmla="*/ 6 w 34"/>
                <a:gd name="T59" fmla="*/ 19 h 37"/>
                <a:gd name="T60" fmla="*/ 6 w 34"/>
                <a:gd name="T61" fmla="*/ 20 h 37"/>
                <a:gd name="T62" fmla="*/ 6 w 34"/>
                <a:gd name="T63" fmla="*/ 23 h 37"/>
                <a:gd name="T64" fmla="*/ 11 w 34"/>
                <a:gd name="T65" fmla="*/ 29 h 37"/>
                <a:gd name="T66" fmla="*/ 16 w 34"/>
                <a:gd name="T67" fmla="*/ 33 h 37"/>
                <a:gd name="T68" fmla="*/ 21 w 34"/>
                <a:gd name="T69" fmla="*/ 36 h 37"/>
                <a:gd name="T70" fmla="*/ 26 w 34"/>
                <a:gd name="T71" fmla="*/ 37 h 37"/>
                <a:gd name="T72" fmla="*/ 28 w 34"/>
                <a:gd name="T73" fmla="*/ 36 h 37"/>
                <a:gd name="T74" fmla="*/ 28 w 34"/>
                <a:gd name="T75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" h="37">
                  <a:moveTo>
                    <a:pt x="28" y="36"/>
                  </a:moveTo>
                  <a:lnTo>
                    <a:pt x="33" y="31"/>
                  </a:lnTo>
                  <a:lnTo>
                    <a:pt x="33" y="31"/>
                  </a:lnTo>
                  <a:lnTo>
                    <a:pt x="33" y="29"/>
                  </a:lnTo>
                  <a:lnTo>
                    <a:pt x="34" y="27"/>
                  </a:lnTo>
                  <a:lnTo>
                    <a:pt x="34" y="23"/>
                  </a:lnTo>
                  <a:lnTo>
                    <a:pt x="33" y="20"/>
                  </a:lnTo>
                  <a:lnTo>
                    <a:pt x="30" y="16"/>
                  </a:lnTo>
                  <a:lnTo>
                    <a:pt x="28" y="13"/>
                  </a:lnTo>
                  <a:lnTo>
                    <a:pt x="26" y="10"/>
                  </a:lnTo>
                  <a:lnTo>
                    <a:pt x="23" y="10"/>
                  </a:lnTo>
                  <a:lnTo>
                    <a:pt x="18" y="10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8" y="7"/>
                  </a:lnTo>
                  <a:lnTo>
                    <a:pt x="18" y="6"/>
                  </a:lnTo>
                  <a:lnTo>
                    <a:pt x="16" y="4"/>
                  </a:lnTo>
                  <a:lnTo>
                    <a:pt x="8" y="1"/>
                  </a:lnTo>
                  <a:lnTo>
                    <a:pt x="6" y="0"/>
                  </a:lnTo>
                  <a:lnTo>
                    <a:pt x="3" y="1"/>
                  </a:lnTo>
                  <a:lnTo>
                    <a:pt x="1" y="1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10"/>
                  </a:lnTo>
                  <a:lnTo>
                    <a:pt x="4" y="11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7" y="16"/>
                  </a:lnTo>
                  <a:lnTo>
                    <a:pt x="6" y="19"/>
                  </a:lnTo>
                  <a:lnTo>
                    <a:pt x="6" y="20"/>
                  </a:lnTo>
                  <a:lnTo>
                    <a:pt x="6" y="23"/>
                  </a:lnTo>
                  <a:lnTo>
                    <a:pt x="11" y="29"/>
                  </a:lnTo>
                  <a:lnTo>
                    <a:pt x="16" y="33"/>
                  </a:lnTo>
                  <a:lnTo>
                    <a:pt x="21" y="36"/>
                  </a:lnTo>
                  <a:lnTo>
                    <a:pt x="26" y="37"/>
                  </a:lnTo>
                  <a:lnTo>
                    <a:pt x="28" y="36"/>
                  </a:lnTo>
                  <a:lnTo>
                    <a:pt x="28" y="3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53" name="Freeform 401"/>
            <p:cNvSpPr>
              <a:spLocks/>
            </p:cNvSpPr>
            <p:nvPr/>
          </p:nvSpPr>
          <p:spPr bwMode="auto">
            <a:xfrm>
              <a:off x="5015266" y="2010294"/>
              <a:ext cx="4885" cy="9260"/>
            </a:xfrm>
            <a:custGeom>
              <a:avLst/>
              <a:gdLst>
                <a:gd name="T0" fmla="*/ 9 w 9"/>
                <a:gd name="T1" fmla="*/ 11 h 13"/>
                <a:gd name="T2" fmla="*/ 9 w 9"/>
                <a:gd name="T3" fmla="*/ 10 h 13"/>
                <a:gd name="T4" fmla="*/ 9 w 9"/>
                <a:gd name="T5" fmla="*/ 7 h 13"/>
                <a:gd name="T6" fmla="*/ 7 w 9"/>
                <a:gd name="T7" fmla="*/ 7 h 13"/>
                <a:gd name="T8" fmla="*/ 6 w 9"/>
                <a:gd name="T9" fmla="*/ 1 h 13"/>
                <a:gd name="T10" fmla="*/ 4 w 9"/>
                <a:gd name="T11" fmla="*/ 0 h 13"/>
                <a:gd name="T12" fmla="*/ 3 w 9"/>
                <a:gd name="T13" fmla="*/ 0 h 13"/>
                <a:gd name="T14" fmla="*/ 2 w 9"/>
                <a:gd name="T15" fmla="*/ 0 h 13"/>
                <a:gd name="T16" fmla="*/ 2 w 9"/>
                <a:gd name="T17" fmla="*/ 1 h 13"/>
                <a:gd name="T18" fmla="*/ 0 w 9"/>
                <a:gd name="T19" fmla="*/ 6 h 13"/>
                <a:gd name="T20" fmla="*/ 0 w 9"/>
                <a:gd name="T21" fmla="*/ 9 h 13"/>
                <a:gd name="T22" fmla="*/ 2 w 9"/>
                <a:gd name="T23" fmla="*/ 11 h 13"/>
                <a:gd name="T24" fmla="*/ 4 w 9"/>
                <a:gd name="T25" fmla="*/ 13 h 13"/>
                <a:gd name="T26" fmla="*/ 7 w 9"/>
                <a:gd name="T27" fmla="*/ 13 h 13"/>
                <a:gd name="T28" fmla="*/ 7 w 9"/>
                <a:gd name="T29" fmla="*/ 13 h 13"/>
                <a:gd name="T30" fmla="*/ 9 w 9"/>
                <a:gd name="T31" fmla="*/ 11 h 13"/>
                <a:gd name="T32" fmla="*/ 9 w 9"/>
                <a:gd name="T33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" h="13">
                  <a:moveTo>
                    <a:pt x="9" y="11"/>
                  </a:moveTo>
                  <a:lnTo>
                    <a:pt x="9" y="10"/>
                  </a:lnTo>
                  <a:lnTo>
                    <a:pt x="9" y="7"/>
                  </a:lnTo>
                  <a:lnTo>
                    <a:pt x="7" y="7"/>
                  </a:lnTo>
                  <a:lnTo>
                    <a:pt x="6" y="1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11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9" y="11"/>
                  </a:lnTo>
                  <a:lnTo>
                    <a:pt x="9" y="1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54" name="Freeform 402"/>
            <p:cNvSpPr>
              <a:spLocks/>
            </p:cNvSpPr>
            <p:nvPr/>
          </p:nvSpPr>
          <p:spPr bwMode="auto">
            <a:xfrm>
              <a:off x="4884604" y="2155813"/>
              <a:ext cx="3663" cy="3969"/>
            </a:xfrm>
            <a:custGeom>
              <a:avLst/>
              <a:gdLst>
                <a:gd name="T0" fmla="*/ 4 w 6"/>
                <a:gd name="T1" fmla="*/ 4 h 6"/>
                <a:gd name="T2" fmla="*/ 4 w 6"/>
                <a:gd name="T3" fmla="*/ 3 h 6"/>
                <a:gd name="T4" fmla="*/ 6 w 6"/>
                <a:gd name="T5" fmla="*/ 2 h 6"/>
                <a:gd name="T6" fmla="*/ 4 w 6"/>
                <a:gd name="T7" fmla="*/ 0 h 6"/>
                <a:gd name="T8" fmla="*/ 3 w 6"/>
                <a:gd name="T9" fmla="*/ 0 h 6"/>
                <a:gd name="T10" fmla="*/ 1 w 6"/>
                <a:gd name="T11" fmla="*/ 3 h 6"/>
                <a:gd name="T12" fmla="*/ 0 w 6"/>
                <a:gd name="T13" fmla="*/ 4 h 6"/>
                <a:gd name="T14" fmla="*/ 0 w 6"/>
                <a:gd name="T15" fmla="*/ 6 h 6"/>
                <a:gd name="T16" fmla="*/ 0 w 6"/>
                <a:gd name="T17" fmla="*/ 6 h 6"/>
                <a:gd name="T18" fmla="*/ 3 w 6"/>
                <a:gd name="T19" fmla="*/ 6 h 6"/>
                <a:gd name="T20" fmla="*/ 3 w 6"/>
                <a:gd name="T21" fmla="*/ 6 h 6"/>
                <a:gd name="T22" fmla="*/ 4 w 6"/>
                <a:gd name="T23" fmla="*/ 4 h 6"/>
                <a:gd name="T24" fmla="*/ 4 w 6"/>
                <a:gd name="T2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6">
                  <a:moveTo>
                    <a:pt x="4" y="4"/>
                  </a:moveTo>
                  <a:lnTo>
                    <a:pt x="4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3" y="0"/>
                  </a:lnTo>
                  <a:lnTo>
                    <a:pt x="1" y="3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55" name="Freeform 403"/>
            <p:cNvSpPr>
              <a:spLocks/>
            </p:cNvSpPr>
            <p:nvPr/>
          </p:nvSpPr>
          <p:spPr bwMode="auto">
            <a:xfrm>
              <a:off x="4177563" y="2788161"/>
              <a:ext cx="24423" cy="52916"/>
            </a:xfrm>
            <a:custGeom>
              <a:avLst/>
              <a:gdLst>
                <a:gd name="T0" fmla="*/ 24 w 40"/>
                <a:gd name="T1" fmla="*/ 3 h 79"/>
                <a:gd name="T2" fmla="*/ 32 w 40"/>
                <a:gd name="T3" fmla="*/ 4 h 79"/>
                <a:gd name="T4" fmla="*/ 32 w 40"/>
                <a:gd name="T5" fmla="*/ 11 h 79"/>
                <a:gd name="T6" fmla="*/ 33 w 40"/>
                <a:gd name="T7" fmla="*/ 13 h 79"/>
                <a:gd name="T8" fmla="*/ 35 w 40"/>
                <a:gd name="T9" fmla="*/ 8 h 79"/>
                <a:gd name="T10" fmla="*/ 37 w 40"/>
                <a:gd name="T11" fmla="*/ 7 h 79"/>
                <a:gd name="T12" fmla="*/ 39 w 40"/>
                <a:gd name="T13" fmla="*/ 8 h 79"/>
                <a:gd name="T14" fmla="*/ 39 w 40"/>
                <a:gd name="T15" fmla="*/ 31 h 79"/>
                <a:gd name="T16" fmla="*/ 36 w 40"/>
                <a:gd name="T17" fmla="*/ 37 h 79"/>
                <a:gd name="T18" fmla="*/ 35 w 40"/>
                <a:gd name="T19" fmla="*/ 34 h 79"/>
                <a:gd name="T20" fmla="*/ 37 w 40"/>
                <a:gd name="T21" fmla="*/ 18 h 79"/>
                <a:gd name="T22" fmla="*/ 36 w 40"/>
                <a:gd name="T23" fmla="*/ 14 h 79"/>
                <a:gd name="T24" fmla="*/ 35 w 40"/>
                <a:gd name="T25" fmla="*/ 17 h 79"/>
                <a:gd name="T26" fmla="*/ 35 w 40"/>
                <a:gd name="T27" fmla="*/ 23 h 79"/>
                <a:gd name="T28" fmla="*/ 32 w 40"/>
                <a:gd name="T29" fmla="*/ 26 h 79"/>
                <a:gd name="T30" fmla="*/ 33 w 40"/>
                <a:gd name="T31" fmla="*/ 33 h 79"/>
                <a:gd name="T32" fmla="*/ 32 w 40"/>
                <a:gd name="T33" fmla="*/ 40 h 79"/>
                <a:gd name="T34" fmla="*/ 36 w 40"/>
                <a:gd name="T35" fmla="*/ 41 h 79"/>
                <a:gd name="T36" fmla="*/ 40 w 40"/>
                <a:gd name="T37" fmla="*/ 44 h 79"/>
                <a:gd name="T38" fmla="*/ 37 w 40"/>
                <a:gd name="T39" fmla="*/ 47 h 79"/>
                <a:gd name="T40" fmla="*/ 35 w 40"/>
                <a:gd name="T41" fmla="*/ 48 h 79"/>
                <a:gd name="T42" fmla="*/ 32 w 40"/>
                <a:gd name="T43" fmla="*/ 54 h 79"/>
                <a:gd name="T44" fmla="*/ 22 w 40"/>
                <a:gd name="T45" fmla="*/ 63 h 79"/>
                <a:gd name="T46" fmla="*/ 14 w 40"/>
                <a:gd name="T47" fmla="*/ 63 h 79"/>
                <a:gd name="T48" fmla="*/ 9 w 40"/>
                <a:gd name="T49" fmla="*/ 67 h 79"/>
                <a:gd name="T50" fmla="*/ 7 w 40"/>
                <a:gd name="T51" fmla="*/ 74 h 79"/>
                <a:gd name="T52" fmla="*/ 7 w 40"/>
                <a:gd name="T53" fmla="*/ 79 h 79"/>
                <a:gd name="T54" fmla="*/ 2 w 40"/>
                <a:gd name="T55" fmla="*/ 77 h 79"/>
                <a:gd name="T56" fmla="*/ 0 w 40"/>
                <a:gd name="T57" fmla="*/ 76 h 79"/>
                <a:gd name="T58" fmla="*/ 4 w 40"/>
                <a:gd name="T59" fmla="*/ 73 h 79"/>
                <a:gd name="T60" fmla="*/ 6 w 40"/>
                <a:gd name="T61" fmla="*/ 67 h 79"/>
                <a:gd name="T62" fmla="*/ 6 w 40"/>
                <a:gd name="T63" fmla="*/ 57 h 79"/>
                <a:gd name="T64" fmla="*/ 3 w 40"/>
                <a:gd name="T65" fmla="*/ 51 h 79"/>
                <a:gd name="T66" fmla="*/ 7 w 40"/>
                <a:gd name="T67" fmla="*/ 48 h 79"/>
                <a:gd name="T68" fmla="*/ 9 w 40"/>
                <a:gd name="T69" fmla="*/ 44 h 79"/>
                <a:gd name="T70" fmla="*/ 9 w 40"/>
                <a:gd name="T71" fmla="*/ 37 h 79"/>
                <a:gd name="T72" fmla="*/ 13 w 40"/>
                <a:gd name="T73" fmla="*/ 34 h 79"/>
                <a:gd name="T74" fmla="*/ 13 w 40"/>
                <a:gd name="T75" fmla="*/ 23 h 79"/>
                <a:gd name="T76" fmla="*/ 6 w 40"/>
                <a:gd name="T77" fmla="*/ 18 h 79"/>
                <a:gd name="T78" fmla="*/ 2 w 40"/>
                <a:gd name="T79" fmla="*/ 13 h 79"/>
                <a:gd name="T80" fmla="*/ 6 w 40"/>
                <a:gd name="T81" fmla="*/ 1 h 79"/>
                <a:gd name="T82" fmla="*/ 14 w 40"/>
                <a:gd name="T83" fmla="*/ 1 h 79"/>
                <a:gd name="T84" fmla="*/ 22 w 40"/>
                <a:gd name="T85" fmla="*/ 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" h="79">
                  <a:moveTo>
                    <a:pt x="22" y="3"/>
                  </a:moveTo>
                  <a:lnTo>
                    <a:pt x="24" y="3"/>
                  </a:lnTo>
                  <a:lnTo>
                    <a:pt x="29" y="3"/>
                  </a:lnTo>
                  <a:lnTo>
                    <a:pt x="32" y="4"/>
                  </a:lnTo>
                  <a:lnTo>
                    <a:pt x="32" y="6"/>
                  </a:lnTo>
                  <a:lnTo>
                    <a:pt x="32" y="11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5" y="8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9" y="7"/>
                  </a:lnTo>
                  <a:lnTo>
                    <a:pt x="39" y="8"/>
                  </a:lnTo>
                  <a:lnTo>
                    <a:pt x="40" y="24"/>
                  </a:lnTo>
                  <a:lnTo>
                    <a:pt x="39" y="31"/>
                  </a:lnTo>
                  <a:lnTo>
                    <a:pt x="37" y="37"/>
                  </a:lnTo>
                  <a:lnTo>
                    <a:pt x="36" y="37"/>
                  </a:lnTo>
                  <a:lnTo>
                    <a:pt x="35" y="37"/>
                  </a:lnTo>
                  <a:lnTo>
                    <a:pt x="35" y="34"/>
                  </a:lnTo>
                  <a:lnTo>
                    <a:pt x="36" y="27"/>
                  </a:lnTo>
                  <a:lnTo>
                    <a:pt x="37" y="18"/>
                  </a:lnTo>
                  <a:lnTo>
                    <a:pt x="37" y="16"/>
                  </a:lnTo>
                  <a:lnTo>
                    <a:pt x="36" y="14"/>
                  </a:lnTo>
                  <a:lnTo>
                    <a:pt x="35" y="16"/>
                  </a:lnTo>
                  <a:lnTo>
                    <a:pt x="35" y="17"/>
                  </a:lnTo>
                  <a:lnTo>
                    <a:pt x="35" y="20"/>
                  </a:lnTo>
                  <a:lnTo>
                    <a:pt x="35" y="23"/>
                  </a:lnTo>
                  <a:lnTo>
                    <a:pt x="33" y="24"/>
                  </a:lnTo>
                  <a:lnTo>
                    <a:pt x="32" y="26"/>
                  </a:lnTo>
                  <a:lnTo>
                    <a:pt x="32" y="28"/>
                  </a:lnTo>
                  <a:lnTo>
                    <a:pt x="33" y="33"/>
                  </a:lnTo>
                  <a:lnTo>
                    <a:pt x="32" y="38"/>
                  </a:lnTo>
                  <a:lnTo>
                    <a:pt x="32" y="40"/>
                  </a:lnTo>
                  <a:lnTo>
                    <a:pt x="33" y="43"/>
                  </a:lnTo>
                  <a:lnTo>
                    <a:pt x="36" y="41"/>
                  </a:lnTo>
                  <a:lnTo>
                    <a:pt x="39" y="43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37" y="47"/>
                  </a:lnTo>
                  <a:lnTo>
                    <a:pt x="36" y="47"/>
                  </a:lnTo>
                  <a:lnTo>
                    <a:pt x="35" y="48"/>
                  </a:lnTo>
                  <a:lnTo>
                    <a:pt x="35" y="51"/>
                  </a:lnTo>
                  <a:lnTo>
                    <a:pt x="32" y="54"/>
                  </a:lnTo>
                  <a:lnTo>
                    <a:pt x="26" y="59"/>
                  </a:lnTo>
                  <a:lnTo>
                    <a:pt x="22" y="63"/>
                  </a:lnTo>
                  <a:lnTo>
                    <a:pt x="17" y="63"/>
                  </a:lnTo>
                  <a:lnTo>
                    <a:pt x="14" y="63"/>
                  </a:lnTo>
                  <a:lnTo>
                    <a:pt x="12" y="64"/>
                  </a:lnTo>
                  <a:lnTo>
                    <a:pt x="9" y="67"/>
                  </a:lnTo>
                  <a:lnTo>
                    <a:pt x="7" y="70"/>
                  </a:lnTo>
                  <a:lnTo>
                    <a:pt x="7" y="74"/>
                  </a:lnTo>
                  <a:lnTo>
                    <a:pt x="7" y="77"/>
                  </a:lnTo>
                  <a:lnTo>
                    <a:pt x="7" y="79"/>
                  </a:lnTo>
                  <a:lnTo>
                    <a:pt x="6" y="79"/>
                  </a:lnTo>
                  <a:lnTo>
                    <a:pt x="2" y="77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3" y="74"/>
                  </a:lnTo>
                  <a:lnTo>
                    <a:pt x="4" y="73"/>
                  </a:lnTo>
                  <a:lnTo>
                    <a:pt x="4" y="69"/>
                  </a:lnTo>
                  <a:lnTo>
                    <a:pt x="6" y="67"/>
                  </a:lnTo>
                  <a:lnTo>
                    <a:pt x="6" y="61"/>
                  </a:lnTo>
                  <a:lnTo>
                    <a:pt x="6" y="57"/>
                  </a:lnTo>
                  <a:lnTo>
                    <a:pt x="4" y="53"/>
                  </a:lnTo>
                  <a:lnTo>
                    <a:pt x="3" y="51"/>
                  </a:lnTo>
                  <a:lnTo>
                    <a:pt x="4" y="50"/>
                  </a:lnTo>
                  <a:lnTo>
                    <a:pt x="7" y="48"/>
                  </a:lnTo>
                  <a:lnTo>
                    <a:pt x="9" y="47"/>
                  </a:lnTo>
                  <a:lnTo>
                    <a:pt x="9" y="44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12" y="36"/>
                  </a:lnTo>
                  <a:lnTo>
                    <a:pt x="13" y="34"/>
                  </a:lnTo>
                  <a:lnTo>
                    <a:pt x="13" y="27"/>
                  </a:lnTo>
                  <a:lnTo>
                    <a:pt x="13" y="23"/>
                  </a:lnTo>
                  <a:lnTo>
                    <a:pt x="12" y="20"/>
                  </a:lnTo>
                  <a:lnTo>
                    <a:pt x="6" y="18"/>
                  </a:lnTo>
                  <a:lnTo>
                    <a:pt x="3" y="17"/>
                  </a:lnTo>
                  <a:lnTo>
                    <a:pt x="2" y="13"/>
                  </a:lnTo>
                  <a:lnTo>
                    <a:pt x="3" y="6"/>
                  </a:lnTo>
                  <a:lnTo>
                    <a:pt x="6" y="1"/>
                  </a:lnTo>
                  <a:lnTo>
                    <a:pt x="10" y="0"/>
                  </a:lnTo>
                  <a:lnTo>
                    <a:pt x="14" y="1"/>
                  </a:lnTo>
                  <a:lnTo>
                    <a:pt x="22" y="3"/>
                  </a:lnTo>
                  <a:lnTo>
                    <a:pt x="22" y="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56" name="Freeform 404"/>
            <p:cNvSpPr>
              <a:spLocks/>
            </p:cNvSpPr>
            <p:nvPr/>
          </p:nvSpPr>
          <p:spPr bwMode="auto">
            <a:xfrm>
              <a:off x="4180005" y="2654548"/>
              <a:ext cx="227132" cy="310882"/>
            </a:xfrm>
            <a:custGeom>
              <a:avLst/>
              <a:gdLst>
                <a:gd name="T0" fmla="*/ 69 w 372"/>
                <a:gd name="T1" fmla="*/ 217 h 472"/>
                <a:gd name="T2" fmla="*/ 53 w 372"/>
                <a:gd name="T3" fmla="*/ 217 h 472"/>
                <a:gd name="T4" fmla="*/ 40 w 372"/>
                <a:gd name="T5" fmla="*/ 220 h 472"/>
                <a:gd name="T6" fmla="*/ 37 w 372"/>
                <a:gd name="T7" fmla="*/ 201 h 472"/>
                <a:gd name="T8" fmla="*/ 57 w 372"/>
                <a:gd name="T9" fmla="*/ 169 h 472"/>
                <a:gd name="T10" fmla="*/ 27 w 372"/>
                <a:gd name="T11" fmla="*/ 205 h 472"/>
                <a:gd name="T12" fmla="*/ 24 w 372"/>
                <a:gd name="T13" fmla="*/ 189 h 472"/>
                <a:gd name="T14" fmla="*/ 16 w 372"/>
                <a:gd name="T15" fmla="*/ 134 h 472"/>
                <a:gd name="T16" fmla="*/ 80 w 372"/>
                <a:gd name="T17" fmla="*/ 89 h 472"/>
                <a:gd name="T18" fmla="*/ 92 w 372"/>
                <a:gd name="T19" fmla="*/ 108 h 472"/>
                <a:gd name="T20" fmla="*/ 103 w 372"/>
                <a:gd name="T21" fmla="*/ 109 h 472"/>
                <a:gd name="T22" fmla="*/ 120 w 372"/>
                <a:gd name="T23" fmla="*/ 96 h 472"/>
                <a:gd name="T24" fmla="*/ 133 w 372"/>
                <a:gd name="T25" fmla="*/ 86 h 472"/>
                <a:gd name="T26" fmla="*/ 148 w 372"/>
                <a:gd name="T27" fmla="*/ 83 h 472"/>
                <a:gd name="T28" fmla="*/ 172 w 372"/>
                <a:gd name="T29" fmla="*/ 75 h 472"/>
                <a:gd name="T30" fmla="*/ 169 w 372"/>
                <a:gd name="T31" fmla="*/ 65 h 472"/>
                <a:gd name="T32" fmla="*/ 183 w 372"/>
                <a:gd name="T33" fmla="*/ 66 h 472"/>
                <a:gd name="T34" fmla="*/ 183 w 372"/>
                <a:gd name="T35" fmla="*/ 26 h 472"/>
                <a:gd name="T36" fmla="*/ 213 w 372"/>
                <a:gd name="T37" fmla="*/ 28 h 472"/>
                <a:gd name="T38" fmla="*/ 261 w 372"/>
                <a:gd name="T39" fmla="*/ 2 h 472"/>
                <a:gd name="T40" fmla="*/ 301 w 372"/>
                <a:gd name="T41" fmla="*/ 26 h 472"/>
                <a:gd name="T42" fmla="*/ 344 w 372"/>
                <a:gd name="T43" fmla="*/ 58 h 472"/>
                <a:gd name="T44" fmla="*/ 365 w 372"/>
                <a:gd name="T45" fmla="*/ 85 h 472"/>
                <a:gd name="T46" fmla="*/ 341 w 372"/>
                <a:gd name="T47" fmla="*/ 105 h 472"/>
                <a:gd name="T48" fmla="*/ 344 w 372"/>
                <a:gd name="T49" fmla="*/ 125 h 472"/>
                <a:gd name="T50" fmla="*/ 321 w 372"/>
                <a:gd name="T51" fmla="*/ 121 h 472"/>
                <a:gd name="T52" fmla="*/ 306 w 372"/>
                <a:gd name="T53" fmla="*/ 141 h 472"/>
                <a:gd name="T54" fmla="*/ 298 w 372"/>
                <a:gd name="T55" fmla="*/ 142 h 472"/>
                <a:gd name="T56" fmla="*/ 268 w 372"/>
                <a:gd name="T57" fmla="*/ 162 h 472"/>
                <a:gd name="T58" fmla="*/ 254 w 372"/>
                <a:gd name="T59" fmla="*/ 167 h 472"/>
                <a:gd name="T60" fmla="*/ 235 w 372"/>
                <a:gd name="T61" fmla="*/ 191 h 472"/>
                <a:gd name="T62" fmla="*/ 209 w 372"/>
                <a:gd name="T63" fmla="*/ 225 h 472"/>
                <a:gd name="T64" fmla="*/ 199 w 372"/>
                <a:gd name="T65" fmla="*/ 240 h 472"/>
                <a:gd name="T66" fmla="*/ 173 w 372"/>
                <a:gd name="T67" fmla="*/ 298 h 472"/>
                <a:gd name="T68" fmla="*/ 165 w 372"/>
                <a:gd name="T69" fmla="*/ 436 h 472"/>
                <a:gd name="T70" fmla="*/ 163 w 372"/>
                <a:gd name="T71" fmla="*/ 462 h 472"/>
                <a:gd name="T72" fmla="*/ 129 w 372"/>
                <a:gd name="T73" fmla="*/ 437 h 472"/>
                <a:gd name="T74" fmla="*/ 133 w 372"/>
                <a:gd name="T75" fmla="*/ 469 h 472"/>
                <a:gd name="T76" fmla="*/ 117 w 372"/>
                <a:gd name="T77" fmla="*/ 433 h 472"/>
                <a:gd name="T78" fmla="*/ 110 w 372"/>
                <a:gd name="T79" fmla="*/ 416 h 472"/>
                <a:gd name="T80" fmla="*/ 105 w 372"/>
                <a:gd name="T81" fmla="*/ 434 h 472"/>
                <a:gd name="T82" fmla="*/ 96 w 372"/>
                <a:gd name="T83" fmla="*/ 424 h 472"/>
                <a:gd name="T84" fmla="*/ 85 w 372"/>
                <a:gd name="T85" fmla="*/ 410 h 472"/>
                <a:gd name="T86" fmla="*/ 77 w 372"/>
                <a:gd name="T87" fmla="*/ 420 h 472"/>
                <a:gd name="T88" fmla="*/ 83 w 372"/>
                <a:gd name="T89" fmla="*/ 397 h 472"/>
                <a:gd name="T90" fmla="*/ 77 w 372"/>
                <a:gd name="T91" fmla="*/ 389 h 472"/>
                <a:gd name="T92" fmla="*/ 63 w 372"/>
                <a:gd name="T93" fmla="*/ 383 h 472"/>
                <a:gd name="T94" fmla="*/ 59 w 372"/>
                <a:gd name="T95" fmla="*/ 400 h 472"/>
                <a:gd name="T96" fmla="*/ 40 w 372"/>
                <a:gd name="T97" fmla="*/ 371 h 472"/>
                <a:gd name="T98" fmla="*/ 39 w 372"/>
                <a:gd name="T99" fmla="*/ 356 h 472"/>
                <a:gd name="T100" fmla="*/ 37 w 372"/>
                <a:gd name="T101" fmla="*/ 379 h 472"/>
                <a:gd name="T102" fmla="*/ 26 w 372"/>
                <a:gd name="T103" fmla="*/ 350 h 472"/>
                <a:gd name="T104" fmla="*/ 9 w 372"/>
                <a:gd name="T105" fmla="*/ 323 h 472"/>
                <a:gd name="T106" fmla="*/ 9 w 372"/>
                <a:gd name="T107" fmla="*/ 307 h 472"/>
                <a:gd name="T108" fmla="*/ 29 w 372"/>
                <a:gd name="T109" fmla="*/ 303 h 472"/>
                <a:gd name="T110" fmla="*/ 42 w 372"/>
                <a:gd name="T111" fmla="*/ 290 h 472"/>
                <a:gd name="T112" fmla="*/ 56 w 372"/>
                <a:gd name="T113" fmla="*/ 297 h 472"/>
                <a:gd name="T114" fmla="*/ 63 w 372"/>
                <a:gd name="T115" fmla="*/ 300 h 472"/>
                <a:gd name="T116" fmla="*/ 66 w 372"/>
                <a:gd name="T117" fmla="*/ 287 h 472"/>
                <a:gd name="T118" fmla="*/ 56 w 372"/>
                <a:gd name="T119" fmla="*/ 277 h 472"/>
                <a:gd name="T120" fmla="*/ 44 w 372"/>
                <a:gd name="T121" fmla="*/ 265 h 472"/>
                <a:gd name="T122" fmla="*/ 83 w 372"/>
                <a:gd name="T123" fmla="*/ 251 h 472"/>
                <a:gd name="T124" fmla="*/ 62 w 372"/>
                <a:gd name="T125" fmla="*/ 25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2" h="472">
                  <a:moveTo>
                    <a:pt x="59" y="232"/>
                  </a:moveTo>
                  <a:lnTo>
                    <a:pt x="59" y="230"/>
                  </a:lnTo>
                  <a:lnTo>
                    <a:pt x="60" y="228"/>
                  </a:lnTo>
                  <a:lnTo>
                    <a:pt x="62" y="227"/>
                  </a:lnTo>
                  <a:lnTo>
                    <a:pt x="66" y="227"/>
                  </a:lnTo>
                  <a:lnTo>
                    <a:pt x="67" y="225"/>
                  </a:lnTo>
                  <a:lnTo>
                    <a:pt x="69" y="225"/>
                  </a:lnTo>
                  <a:lnTo>
                    <a:pt x="70" y="222"/>
                  </a:lnTo>
                  <a:lnTo>
                    <a:pt x="73" y="222"/>
                  </a:lnTo>
                  <a:lnTo>
                    <a:pt x="76" y="222"/>
                  </a:lnTo>
                  <a:lnTo>
                    <a:pt x="76" y="220"/>
                  </a:lnTo>
                  <a:lnTo>
                    <a:pt x="74" y="218"/>
                  </a:lnTo>
                  <a:lnTo>
                    <a:pt x="73" y="217"/>
                  </a:lnTo>
                  <a:lnTo>
                    <a:pt x="69" y="217"/>
                  </a:lnTo>
                  <a:lnTo>
                    <a:pt x="64" y="218"/>
                  </a:lnTo>
                  <a:lnTo>
                    <a:pt x="60" y="220"/>
                  </a:lnTo>
                  <a:lnTo>
                    <a:pt x="57" y="222"/>
                  </a:lnTo>
                  <a:lnTo>
                    <a:pt x="56" y="224"/>
                  </a:lnTo>
                  <a:lnTo>
                    <a:pt x="54" y="224"/>
                  </a:lnTo>
                  <a:lnTo>
                    <a:pt x="54" y="220"/>
                  </a:lnTo>
                  <a:lnTo>
                    <a:pt x="56" y="215"/>
                  </a:lnTo>
                  <a:lnTo>
                    <a:pt x="57" y="212"/>
                  </a:lnTo>
                  <a:lnTo>
                    <a:pt x="57" y="211"/>
                  </a:lnTo>
                  <a:lnTo>
                    <a:pt x="56" y="211"/>
                  </a:lnTo>
                  <a:lnTo>
                    <a:pt x="56" y="212"/>
                  </a:lnTo>
                  <a:lnTo>
                    <a:pt x="54" y="214"/>
                  </a:lnTo>
                  <a:lnTo>
                    <a:pt x="53" y="215"/>
                  </a:lnTo>
                  <a:lnTo>
                    <a:pt x="53" y="217"/>
                  </a:lnTo>
                  <a:lnTo>
                    <a:pt x="53" y="220"/>
                  </a:lnTo>
                  <a:lnTo>
                    <a:pt x="53" y="221"/>
                  </a:lnTo>
                  <a:lnTo>
                    <a:pt x="52" y="221"/>
                  </a:lnTo>
                  <a:lnTo>
                    <a:pt x="50" y="220"/>
                  </a:lnTo>
                  <a:lnTo>
                    <a:pt x="50" y="217"/>
                  </a:lnTo>
                  <a:lnTo>
                    <a:pt x="50" y="215"/>
                  </a:lnTo>
                  <a:lnTo>
                    <a:pt x="50" y="214"/>
                  </a:lnTo>
                  <a:lnTo>
                    <a:pt x="49" y="214"/>
                  </a:lnTo>
                  <a:lnTo>
                    <a:pt x="47" y="215"/>
                  </a:lnTo>
                  <a:lnTo>
                    <a:pt x="46" y="220"/>
                  </a:lnTo>
                  <a:lnTo>
                    <a:pt x="44" y="222"/>
                  </a:lnTo>
                  <a:lnTo>
                    <a:pt x="42" y="222"/>
                  </a:lnTo>
                  <a:lnTo>
                    <a:pt x="40" y="222"/>
                  </a:lnTo>
                  <a:lnTo>
                    <a:pt x="40" y="220"/>
                  </a:lnTo>
                  <a:lnTo>
                    <a:pt x="40" y="217"/>
                  </a:lnTo>
                  <a:lnTo>
                    <a:pt x="42" y="215"/>
                  </a:lnTo>
                  <a:lnTo>
                    <a:pt x="43" y="215"/>
                  </a:lnTo>
                  <a:lnTo>
                    <a:pt x="46" y="215"/>
                  </a:lnTo>
                  <a:lnTo>
                    <a:pt x="47" y="212"/>
                  </a:lnTo>
                  <a:lnTo>
                    <a:pt x="47" y="210"/>
                  </a:lnTo>
                  <a:lnTo>
                    <a:pt x="47" y="208"/>
                  </a:lnTo>
                  <a:lnTo>
                    <a:pt x="44" y="210"/>
                  </a:lnTo>
                  <a:lnTo>
                    <a:pt x="42" y="211"/>
                  </a:lnTo>
                  <a:lnTo>
                    <a:pt x="40" y="210"/>
                  </a:lnTo>
                  <a:lnTo>
                    <a:pt x="40" y="204"/>
                  </a:lnTo>
                  <a:lnTo>
                    <a:pt x="40" y="202"/>
                  </a:lnTo>
                  <a:lnTo>
                    <a:pt x="39" y="201"/>
                  </a:lnTo>
                  <a:lnTo>
                    <a:pt x="37" y="201"/>
                  </a:lnTo>
                  <a:lnTo>
                    <a:pt x="34" y="201"/>
                  </a:lnTo>
                  <a:lnTo>
                    <a:pt x="33" y="201"/>
                  </a:lnTo>
                  <a:lnTo>
                    <a:pt x="33" y="198"/>
                  </a:lnTo>
                  <a:lnTo>
                    <a:pt x="34" y="198"/>
                  </a:lnTo>
                  <a:lnTo>
                    <a:pt x="37" y="197"/>
                  </a:lnTo>
                  <a:lnTo>
                    <a:pt x="40" y="197"/>
                  </a:lnTo>
                  <a:lnTo>
                    <a:pt x="43" y="197"/>
                  </a:lnTo>
                  <a:lnTo>
                    <a:pt x="44" y="195"/>
                  </a:lnTo>
                  <a:lnTo>
                    <a:pt x="47" y="192"/>
                  </a:lnTo>
                  <a:lnTo>
                    <a:pt x="47" y="189"/>
                  </a:lnTo>
                  <a:lnTo>
                    <a:pt x="47" y="184"/>
                  </a:lnTo>
                  <a:lnTo>
                    <a:pt x="49" y="179"/>
                  </a:lnTo>
                  <a:lnTo>
                    <a:pt x="54" y="174"/>
                  </a:lnTo>
                  <a:lnTo>
                    <a:pt x="57" y="169"/>
                  </a:lnTo>
                  <a:lnTo>
                    <a:pt x="57" y="168"/>
                  </a:lnTo>
                  <a:lnTo>
                    <a:pt x="59" y="167"/>
                  </a:lnTo>
                  <a:lnTo>
                    <a:pt x="56" y="167"/>
                  </a:lnTo>
                  <a:lnTo>
                    <a:pt x="54" y="168"/>
                  </a:lnTo>
                  <a:lnTo>
                    <a:pt x="50" y="174"/>
                  </a:lnTo>
                  <a:lnTo>
                    <a:pt x="46" y="181"/>
                  </a:lnTo>
                  <a:lnTo>
                    <a:pt x="43" y="184"/>
                  </a:lnTo>
                  <a:lnTo>
                    <a:pt x="39" y="185"/>
                  </a:lnTo>
                  <a:lnTo>
                    <a:pt x="36" y="185"/>
                  </a:lnTo>
                  <a:lnTo>
                    <a:pt x="34" y="185"/>
                  </a:lnTo>
                  <a:lnTo>
                    <a:pt x="33" y="189"/>
                  </a:lnTo>
                  <a:lnTo>
                    <a:pt x="33" y="197"/>
                  </a:lnTo>
                  <a:lnTo>
                    <a:pt x="32" y="201"/>
                  </a:lnTo>
                  <a:lnTo>
                    <a:pt x="27" y="205"/>
                  </a:lnTo>
                  <a:lnTo>
                    <a:pt x="26" y="204"/>
                  </a:lnTo>
                  <a:lnTo>
                    <a:pt x="26" y="202"/>
                  </a:lnTo>
                  <a:lnTo>
                    <a:pt x="27" y="201"/>
                  </a:lnTo>
                  <a:lnTo>
                    <a:pt x="29" y="197"/>
                  </a:lnTo>
                  <a:lnTo>
                    <a:pt x="30" y="188"/>
                  </a:lnTo>
                  <a:lnTo>
                    <a:pt x="32" y="184"/>
                  </a:lnTo>
                  <a:lnTo>
                    <a:pt x="36" y="177"/>
                  </a:lnTo>
                  <a:lnTo>
                    <a:pt x="37" y="174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27" y="178"/>
                  </a:lnTo>
                  <a:lnTo>
                    <a:pt x="24" y="181"/>
                  </a:lnTo>
                  <a:lnTo>
                    <a:pt x="24" y="184"/>
                  </a:lnTo>
                  <a:lnTo>
                    <a:pt x="24" y="189"/>
                  </a:lnTo>
                  <a:lnTo>
                    <a:pt x="20" y="187"/>
                  </a:lnTo>
                  <a:lnTo>
                    <a:pt x="19" y="182"/>
                  </a:lnTo>
                  <a:lnTo>
                    <a:pt x="16" y="182"/>
                  </a:lnTo>
                  <a:lnTo>
                    <a:pt x="14" y="181"/>
                  </a:lnTo>
                  <a:lnTo>
                    <a:pt x="11" y="175"/>
                  </a:lnTo>
                  <a:lnTo>
                    <a:pt x="9" y="169"/>
                  </a:lnTo>
                  <a:lnTo>
                    <a:pt x="7" y="164"/>
                  </a:lnTo>
                  <a:lnTo>
                    <a:pt x="4" y="157"/>
                  </a:lnTo>
                  <a:lnTo>
                    <a:pt x="6" y="152"/>
                  </a:lnTo>
                  <a:lnTo>
                    <a:pt x="9" y="148"/>
                  </a:lnTo>
                  <a:lnTo>
                    <a:pt x="11" y="145"/>
                  </a:lnTo>
                  <a:lnTo>
                    <a:pt x="13" y="141"/>
                  </a:lnTo>
                  <a:lnTo>
                    <a:pt x="14" y="136"/>
                  </a:lnTo>
                  <a:lnTo>
                    <a:pt x="16" y="134"/>
                  </a:lnTo>
                  <a:lnTo>
                    <a:pt x="20" y="132"/>
                  </a:lnTo>
                  <a:lnTo>
                    <a:pt x="20" y="129"/>
                  </a:lnTo>
                  <a:lnTo>
                    <a:pt x="20" y="124"/>
                  </a:lnTo>
                  <a:lnTo>
                    <a:pt x="21" y="121"/>
                  </a:lnTo>
                  <a:lnTo>
                    <a:pt x="23" y="118"/>
                  </a:lnTo>
                  <a:lnTo>
                    <a:pt x="27" y="114"/>
                  </a:lnTo>
                  <a:lnTo>
                    <a:pt x="33" y="108"/>
                  </a:lnTo>
                  <a:lnTo>
                    <a:pt x="47" y="99"/>
                  </a:lnTo>
                  <a:lnTo>
                    <a:pt x="57" y="94"/>
                  </a:lnTo>
                  <a:lnTo>
                    <a:pt x="62" y="92"/>
                  </a:lnTo>
                  <a:lnTo>
                    <a:pt x="67" y="91"/>
                  </a:lnTo>
                  <a:lnTo>
                    <a:pt x="73" y="92"/>
                  </a:lnTo>
                  <a:lnTo>
                    <a:pt x="79" y="89"/>
                  </a:lnTo>
                  <a:lnTo>
                    <a:pt x="80" y="89"/>
                  </a:lnTo>
                  <a:lnTo>
                    <a:pt x="82" y="91"/>
                  </a:lnTo>
                  <a:lnTo>
                    <a:pt x="82" y="94"/>
                  </a:lnTo>
                  <a:lnTo>
                    <a:pt x="80" y="96"/>
                  </a:lnTo>
                  <a:lnTo>
                    <a:pt x="82" y="98"/>
                  </a:lnTo>
                  <a:lnTo>
                    <a:pt x="83" y="101"/>
                  </a:lnTo>
                  <a:lnTo>
                    <a:pt x="82" y="104"/>
                  </a:lnTo>
                  <a:lnTo>
                    <a:pt x="80" y="106"/>
                  </a:lnTo>
                  <a:lnTo>
                    <a:pt x="80" y="108"/>
                  </a:lnTo>
                  <a:lnTo>
                    <a:pt x="82" y="106"/>
                  </a:lnTo>
                  <a:lnTo>
                    <a:pt x="85" y="105"/>
                  </a:lnTo>
                  <a:lnTo>
                    <a:pt x="90" y="104"/>
                  </a:lnTo>
                  <a:lnTo>
                    <a:pt x="92" y="104"/>
                  </a:lnTo>
                  <a:lnTo>
                    <a:pt x="93" y="106"/>
                  </a:lnTo>
                  <a:lnTo>
                    <a:pt x="92" y="108"/>
                  </a:lnTo>
                  <a:lnTo>
                    <a:pt x="89" y="109"/>
                  </a:lnTo>
                  <a:lnTo>
                    <a:pt x="86" y="109"/>
                  </a:lnTo>
                  <a:lnTo>
                    <a:pt x="86" y="112"/>
                  </a:lnTo>
                  <a:lnTo>
                    <a:pt x="90" y="112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89" y="118"/>
                  </a:lnTo>
                  <a:lnTo>
                    <a:pt x="89" y="119"/>
                  </a:lnTo>
                  <a:lnTo>
                    <a:pt x="89" y="122"/>
                  </a:lnTo>
                  <a:lnTo>
                    <a:pt x="92" y="122"/>
                  </a:lnTo>
                  <a:lnTo>
                    <a:pt x="95" y="121"/>
                  </a:lnTo>
                  <a:lnTo>
                    <a:pt x="96" y="118"/>
                  </a:lnTo>
                  <a:lnTo>
                    <a:pt x="97" y="114"/>
                  </a:lnTo>
                  <a:lnTo>
                    <a:pt x="103" y="109"/>
                  </a:lnTo>
                  <a:lnTo>
                    <a:pt x="105" y="109"/>
                  </a:lnTo>
                  <a:lnTo>
                    <a:pt x="103" y="112"/>
                  </a:lnTo>
                  <a:lnTo>
                    <a:pt x="105" y="114"/>
                  </a:lnTo>
                  <a:lnTo>
                    <a:pt x="106" y="114"/>
                  </a:lnTo>
                  <a:lnTo>
                    <a:pt x="107" y="112"/>
                  </a:lnTo>
                  <a:lnTo>
                    <a:pt x="107" y="111"/>
                  </a:lnTo>
                  <a:lnTo>
                    <a:pt x="109" y="109"/>
                  </a:lnTo>
                  <a:lnTo>
                    <a:pt x="113" y="105"/>
                  </a:lnTo>
                  <a:lnTo>
                    <a:pt x="115" y="101"/>
                  </a:lnTo>
                  <a:lnTo>
                    <a:pt x="116" y="98"/>
                  </a:lnTo>
                  <a:lnTo>
                    <a:pt x="116" y="94"/>
                  </a:lnTo>
                  <a:lnTo>
                    <a:pt x="117" y="94"/>
                  </a:lnTo>
                  <a:lnTo>
                    <a:pt x="119" y="94"/>
                  </a:lnTo>
                  <a:lnTo>
                    <a:pt x="120" y="96"/>
                  </a:lnTo>
                  <a:lnTo>
                    <a:pt x="119" y="101"/>
                  </a:lnTo>
                  <a:lnTo>
                    <a:pt x="122" y="102"/>
                  </a:lnTo>
                  <a:lnTo>
                    <a:pt x="123" y="102"/>
                  </a:lnTo>
                  <a:lnTo>
                    <a:pt x="123" y="99"/>
                  </a:lnTo>
                  <a:lnTo>
                    <a:pt x="125" y="98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32" y="98"/>
                  </a:lnTo>
                  <a:lnTo>
                    <a:pt x="132" y="98"/>
                  </a:lnTo>
                  <a:lnTo>
                    <a:pt x="133" y="95"/>
                  </a:lnTo>
                  <a:lnTo>
                    <a:pt x="132" y="91"/>
                  </a:lnTo>
                  <a:lnTo>
                    <a:pt x="132" y="88"/>
                  </a:lnTo>
                  <a:lnTo>
                    <a:pt x="132" y="86"/>
                  </a:lnTo>
                  <a:lnTo>
                    <a:pt x="133" y="86"/>
                  </a:lnTo>
                  <a:lnTo>
                    <a:pt x="135" y="88"/>
                  </a:lnTo>
                  <a:lnTo>
                    <a:pt x="135" y="92"/>
                  </a:lnTo>
                  <a:lnTo>
                    <a:pt x="135" y="98"/>
                  </a:lnTo>
                  <a:lnTo>
                    <a:pt x="140" y="101"/>
                  </a:lnTo>
                  <a:lnTo>
                    <a:pt x="142" y="101"/>
                  </a:lnTo>
                  <a:lnTo>
                    <a:pt x="140" y="99"/>
                  </a:lnTo>
                  <a:lnTo>
                    <a:pt x="137" y="95"/>
                  </a:lnTo>
                  <a:lnTo>
                    <a:pt x="137" y="92"/>
                  </a:lnTo>
                  <a:lnTo>
                    <a:pt x="137" y="91"/>
                  </a:lnTo>
                  <a:lnTo>
                    <a:pt x="139" y="89"/>
                  </a:lnTo>
                  <a:lnTo>
                    <a:pt x="142" y="88"/>
                  </a:lnTo>
                  <a:lnTo>
                    <a:pt x="143" y="83"/>
                  </a:lnTo>
                  <a:lnTo>
                    <a:pt x="146" y="83"/>
                  </a:lnTo>
                  <a:lnTo>
                    <a:pt x="148" y="83"/>
                  </a:lnTo>
                  <a:lnTo>
                    <a:pt x="148" y="86"/>
                  </a:lnTo>
                  <a:lnTo>
                    <a:pt x="149" y="86"/>
                  </a:lnTo>
                  <a:lnTo>
                    <a:pt x="149" y="83"/>
                  </a:lnTo>
                  <a:lnTo>
                    <a:pt x="149" y="82"/>
                  </a:lnTo>
                  <a:lnTo>
                    <a:pt x="149" y="79"/>
                  </a:lnTo>
                  <a:lnTo>
                    <a:pt x="149" y="76"/>
                  </a:lnTo>
                  <a:lnTo>
                    <a:pt x="152" y="76"/>
                  </a:lnTo>
                  <a:lnTo>
                    <a:pt x="155" y="76"/>
                  </a:lnTo>
                  <a:lnTo>
                    <a:pt x="159" y="78"/>
                  </a:lnTo>
                  <a:lnTo>
                    <a:pt x="162" y="78"/>
                  </a:lnTo>
                  <a:lnTo>
                    <a:pt x="163" y="76"/>
                  </a:lnTo>
                  <a:lnTo>
                    <a:pt x="166" y="73"/>
                  </a:lnTo>
                  <a:lnTo>
                    <a:pt x="168" y="73"/>
                  </a:lnTo>
                  <a:lnTo>
                    <a:pt x="172" y="75"/>
                  </a:lnTo>
                  <a:lnTo>
                    <a:pt x="175" y="78"/>
                  </a:lnTo>
                  <a:lnTo>
                    <a:pt x="176" y="81"/>
                  </a:lnTo>
                  <a:lnTo>
                    <a:pt x="178" y="81"/>
                  </a:lnTo>
                  <a:lnTo>
                    <a:pt x="179" y="79"/>
                  </a:lnTo>
                  <a:lnTo>
                    <a:pt x="178" y="75"/>
                  </a:lnTo>
                  <a:lnTo>
                    <a:pt x="175" y="72"/>
                  </a:lnTo>
                  <a:lnTo>
                    <a:pt x="169" y="71"/>
                  </a:lnTo>
                  <a:lnTo>
                    <a:pt x="165" y="71"/>
                  </a:lnTo>
                  <a:lnTo>
                    <a:pt x="159" y="71"/>
                  </a:lnTo>
                  <a:lnTo>
                    <a:pt x="158" y="69"/>
                  </a:lnTo>
                  <a:lnTo>
                    <a:pt x="156" y="68"/>
                  </a:lnTo>
                  <a:lnTo>
                    <a:pt x="158" y="66"/>
                  </a:lnTo>
                  <a:lnTo>
                    <a:pt x="166" y="66"/>
                  </a:lnTo>
                  <a:lnTo>
                    <a:pt x="169" y="65"/>
                  </a:lnTo>
                  <a:lnTo>
                    <a:pt x="169" y="63"/>
                  </a:lnTo>
                  <a:lnTo>
                    <a:pt x="168" y="62"/>
                  </a:lnTo>
                  <a:lnTo>
                    <a:pt x="163" y="59"/>
                  </a:lnTo>
                  <a:lnTo>
                    <a:pt x="163" y="58"/>
                  </a:lnTo>
                  <a:lnTo>
                    <a:pt x="165" y="56"/>
                  </a:lnTo>
                  <a:lnTo>
                    <a:pt x="168" y="56"/>
                  </a:lnTo>
                  <a:lnTo>
                    <a:pt x="170" y="59"/>
                  </a:lnTo>
                  <a:lnTo>
                    <a:pt x="172" y="61"/>
                  </a:lnTo>
                  <a:lnTo>
                    <a:pt x="173" y="62"/>
                  </a:lnTo>
                  <a:lnTo>
                    <a:pt x="176" y="62"/>
                  </a:lnTo>
                  <a:lnTo>
                    <a:pt x="179" y="62"/>
                  </a:lnTo>
                  <a:lnTo>
                    <a:pt x="182" y="65"/>
                  </a:lnTo>
                  <a:lnTo>
                    <a:pt x="183" y="66"/>
                  </a:lnTo>
                  <a:lnTo>
                    <a:pt x="183" y="66"/>
                  </a:lnTo>
                  <a:lnTo>
                    <a:pt x="185" y="65"/>
                  </a:lnTo>
                  <a:lnTo>
                    <a:pt x="183" y="61"/>
                  </a:lnTo>
                  <a:lnTo>
                    <a:pt x="180" y="59"/>
                  </a:lnTo>
                  <a:lnTo>
                    <a:pt x="176" y="58"/>
                  </a:lnTo>
                  <a:lnTo>
                    <a:pt x="172" y="56"/>
                  </a:lnTo>
                  <a:lnTo>
                    <a:pt x="170" y="53"/>
                  </a:lnTo>
                  <a:lnTo>
                    <a:pt x="169" y="52"/>
                  </a:lnTo>
                  <a:lnTo>
                    <a:pt x="165" y="48"/>
                  </a:lnTo>
                  <a:lnTo>
                    <a:pt x="163" y="45"/>
                  </a:lnTo>
                  <a:lnTo>
                    <a:pt x="163" y="42"/>
                  </a:lnTo>
                  <a:lnTo>
                    <a:pt x="166" y="36"/>
                  </a:lnTo>
                  <a:lnTo>
                    <a:pt x="172" y="33"/>
                  </a:lnTo>
                  <a:lnTo>
                    <a:pt x="179" y="29"/>
                  </a:lnTo>
                  <a:lnTo>
                    <a:pt x="183" y="26"/>
                  </a:lnTo>
                  <a:lnTo>
                    <a:pt x="188" y="26"/>
                  </a:lnTo>
                  <a:lnTo>
                    <a:pt x="196" y="28"/>
                  </a:lnTo>
                  <a:lnTo>
                    <a:pt x="203" y="29"/>
                  </a:lnTo>
                  <a:lnTo>
                    <a:pt x="209" y="31"/>
                  </a:lnTo>
                  <a:lnTo>
                    <a:pt x="211" y="33"/>
                  </a:lnTo>
                  <a:lnTo>
                    <a:pt x="213" y="39"/>
                  </a:lnTo>
                  <a:lnTo>
                    <a:pt x="215" y="43"/>
                  </a:lnTo>
                  <a:lnTo>
                    <a:pt x="216" y="45"/>
                  </a:lnTo>
                  <a:lnTo>
                    <a:pt x="216" y="42"/>
                  </a:lnTo>
                  <a:lnTo>
                    <a:pt x="218" y="39"/>
                  </a:lnTo>
                  <a:lnTo>
                    <a:pt x="216" y="38"/>
                  </a:lnTo>
                  <a:lnTo>
                    <a:pt x="213" y="33"/>
                  </a:lnTo>
                  <a:lnTo>
                    <a:pt x="213" y="32"/>
                  </a:lnTo>
                  <a:lnTo>
                    <a:pt x="213" y="28"/>
                  </a:lnTo>
                  <a:lnTo>
                    <a:pt x="218" y="25"/>
                  </a:lnTo>
                  <a:lnTo>
                    <a:pt x="221" y="25"/>
                  </a:lnTo>
                  <a:lnTo>
                    <a:pt x="225" y="25"/>
                  </a:lnTo>
                  <a:lnTo>
                    <a:pt x="231" y="29"/>
                  </a:lnTo>
                  <a:lnTo>
                    <a:pt x="231" y="26"/>
                  </a:lnTo>
                  <a:lnTo>
                    <a:pt x="232" y="23"/>
                  </a:lnTo>
                  <a:lnTo>
                    <a:pt x="232" y="19"/>
                  </a:lnTo>
                  <a:lnTo>
                    <a:pt x="231" y="16"/>
                  </a:lnTo>
                  <a:lnTo>
                    <a:pt x="232" y="13"/>
                  </a:lnTo>
                  <a:lnTo>
                    <a:pt x="235" y="12"/>
                  </a:lnTo>
                  <a:lnTo>
                    <a:pt x="242" y="8"/>
                  </a:lnTo>
                  <a:lnTo>
                    <a:pt x="251" y="2"/>
                  </a:lnTo>
                  <a:lnTo>
                    <a:pt x="258" y="0"/>
                  </a:lnTo>
                  <a:lnTo>
                    <a:pt x="261" y="2"/>
                  </a:lnTo>
                  <a:lnTo>
                    <a:pt x="262" y="3"/>
                  </a:lnTo>
                  <a:lnTo>
                    <a:pt x="264" y="8"/>
                  </a:lnTo>
                  <a:lnTo>
                    <a:pt x="266" y="8"/>
                  </a:lnTo>
                  <a:lnTo>
                    <a:pt x="268" y="8"/>
                  </a:lnTo>
                  <a:lnTo>
                    <a:pt x="271" y="6"/>
                  </a:lnTo>
                  <a:lnTo>
                    <a:pt x="275" y="5"/>
                  </a:lnTo>
                  <a:lnTo>
                    <a:pt x="276" y="5"/>
                  </a:lnTo>
                  <a:lnTo>
                    <a:pt x="281" y="6"/>
                  </a:lnTo>
                  <a:lnTo>
                    <a:pt x="285" y="10"/>
                  </a:lnTo>
                  <a:lnTo>
                    <a:pt x="291" y="20"/>
                  </a:lnTo>
                  <a:lnTo>
                    <a:pt x="294" y="22"/>
                  </a:lnTo>
                  <a:lnTo>
                    <a:pt x="298" y="23"/>
                  </a:lnTo>
                  <a:lnTo>
                    <a:pt x="301" y="23"/>
                  </a:lnTo>
                  <a:lnTo>
                    <a:pt x="301" y="26"/>
                  </a:lnTo>
                  <a:lnTo>
                    <a:pt x="304" y="28"/>
                  </a:lnTo>
                  <a:lnTo>
                    <a:pt x="304" y="26"/>
                  </a:lnTo>
                  <a:lnTo>
                    <a:pt x="304" y="25"/>
                  </a:lnTo>
                  <a:lnTo>
                    <a:pt x="306" y="22"/>
                  </a:lnTo>
                  <a:lnTo>
                    <a:pt x="309" y="20"/>
                  </a:lnTo>
                  <a:lnTo>
                    <a:pt x="318" y="22"/>
                  </a:lnTo>
                  <a:lnTo>
                    <a:pt x="327" y="22"/>
                  </a:lnTo>
                  <a:lnTo>
                    <a:pt x="334" y="23"/>
                  </a:lnTo>
                  <a:lnTo>
                    <a:pt x="338" y="28"/>
                  </a:lnTo>
                  <a:lnTo>
                    <a:pt x="339" y="35"/>
                  </a:lnTo>
                  <a:lnTo>
                    <a:pt x="341" y="42"/>
                  </a:lnTo>
                  <a:lnTo>
                    <a:pt x="341" y="51"/>
                  </a:lnTo>
                  <a:lnTo>
                    <a:pt x="341" y="55"/>
                  </a:lnTo>
                  <a:lnTo>
                    <a:pt x="344" y="58"/>
                  </a:lnTo>
                  <a:lnTo>
                    <a:pt x="347" y="59"/>
                  </a:lnTo>
                  <a:lnTo>
                    <a:pt x="354" y="62"/>
                  </a:lnTo>
                  <a:lnTo>
                    <a:pt x="357" y="66"/>
                  </a:lnTo>
                  <a:lnTo>
                    <a:pt x="357" y="69"/>
                  </a:lnTo>
                  <a:lnTo>
                    <a:pt x="357" y="72"/>
                  </a:lnTo>
                  <a:lnTo>
                    <a:pt x="358" y="75"/>
                  </a:lnTo>
                  <a:lnTo>
                    <a:pt x="359" y="78"/>
                  </a:lnTo>
                  <a:lnTo>
                    <a:pt x="358" y="79"/>
                  </a:lnTo>
                  <a:lnTo>
                    <a:pt x="355" y="79"/>
                  </a:lnTo>
                  <a:lnTo>
                    <a:pt x="354" y="81"/>
                  </a:lnTo>
                  <a:lnTo>
                    <a:pt x="355" y="82"/>
                  </a:lnTo>
                  <a:lnTo>
                    <a:pt x="359" y="82"/>
                  </a:lnTo>
                  <a:lnTo>
                    <a:pt x="362" y="82"/>
                  </a:lnTo>
                  <a:lnTo>
                    <a:pt x="365" y="85"/>
                  </a:lnTo>
                  <a:lnTo>
                    <a:pt x="370" y="89"/>
                  </a:lnTo>
                  <a:lnTo>
                    <a:pt x="372" y="95"/>
                  </a:lnTo>
                  <a:lnTo>
                    <a:pt x="372" y="104"/>
                  </a:lnTo>
                  <a:lnTo>
                    <a:pt x="372" y="106"/>
                  </a:lnTo>
                  <a:lnTo>
                    <a:pt x="372" y="109"/>
                  </a:lnTo>
                  <a:lnTo>
                    <a:pt x="368" y="114"/>
                  </a:lnTo>
                  <a:lnTo>
                    <a:pt x="364" y="115"/>
                  </a:lnTo>
                  <a:lnTo>
                    <a:pt x="361" y="114"/>
                  </a:lnTo>
                  <a:lnTo>
                    <a:pt x="359" y="112"/>
                  </a:lnTo>
                  <a:lnTo>
                    <a:pt x="355" y="111"/>
                  </a:lnTo>
                  <a:lnTo>
                    <a:pt x="351" y="111"/>
                  </a:lnTo>
                  <a:lnTo>
                    <a:pt x="348" y="109"/>
                  </a:lnTo>
                  <a:lnTo>
                    <a:pt x="345" y="106"/>
                  </a:lnTo>
                  <a:lnTo>
                    <a:pt x="341" y="105"/>
                  </a:lnTo>
                  <a:lnTo>
                    <a:pt x="338" y="104"/>
                  </a:lnTo>
                  <a:lnTo>
                    <a:pt x="337" y="104"/>
                  </a:lnTo>
                  <a:lnTo>
                    <a:pt x="337" y="105"/>
                  </a:lnTo>
                  <a:lnTo>
                    <a:pt x="339" y="106"/>
                  </a:lnTo>
                  <a:lnTo>
                    <a:pt x="342" y="111"/>
                  </a:lnTo>
                  <a:lnTo>
                    <a:pt x="347" y="112"/>
                  </a:lnTo>
                  <a:lnTo>
                    <a:pt x="349" y="115"/>
                  </a:lnTo>
                  <a:lnTo>
                    <a:pt x="351" y="118"/>
                  </a:lnTo>
                  <a:lnTo>
                    <a:pt x="354" y="121"/>
                  </a:lnTo>
                  <a:lnTo>
                    <a:pt x="352" y="122"/>
                  </a:lnTo>
                  <a:lnTo>
                    <a:pt x="352" y="124"/>
                  </a:lnTo>
                  <a:lnTo>
                    <a:pt x="349" y="122"/>
                  </a:lnTo>
                  <a:lnTo>
                    <a:pt x="347" y="124"/>
                  </a:lnTo>
                  <a:lnTo>
                    <a:pt x="344" y="125"/>
                  </a:lnTo>
                  <a:lnTo>
                    <a:pt x="341" y="125"/>
                  </a:lnTo>
                  <a:lnTo>
                    <a:pt x="338" y="121"/>
                  </a:lnTo>
                  <a:lnTo>
                    <a:pt x="334" y="118"/>
                  </a:lnTo>
                  <a:lnTo>
                    <a:pt x="331" y="118"/>
                  </a:lnTo>
                  <a:lnTo>
                    <a:pt x="329" y="119"/>
                  </a:lnTo>
                  <a:lnTo>
                    <a:pt x="327" y="119"/>
                  </a:lnTo>
                  <a:lnTo>
                    <a:pt x="322" y="116"/>
                  </a:lnTo>
                  <a:lnTo>
                    <a:pt x="317" y="114"/>
                  </a:lnTo>
                  <a:lnTo>
                    <a:pt x="315" y="112"/>
                  </a:lnTo>
                  <a:lnTo>
                    <a:pt x="315" y="114"/>
                  </a:lnTo>
                  <a:lnTo>
                    <a:pt x="317" y="116"/>
                  </a:lnTo>
                  <a:lnTo>
                    <a:pt x="318" y="119"/>
                  </a:lnTo>
                  <a:lnTo>
                    <a:pt x="319" y="121"/>
                  </a:lnTo>
                  <a:lnTo>
                    <a:pt x="321" y="121"/>
                  </a:lnTo>
                  <a:lnTo>
                    <a:pt x="324" y="121"/>
                  </a:lnTo>
                  <a:lnTo>
                    <a:pt x="327" y="124"/>
                  </a:lnTo>
                  <a:lnTo>
                    <a:pt x="329" y="122"/>
                  </a:lnTo>
                  <a:lnTo>
                    <a:pt x="332" y="122"/>
                  </a:lnTo>
                  <a:lnTo>
                    <a:pt x="335" y="124"/>
                  </a:lnTo>
                  <a:lnTo>
                    <a:pt x="337" y="126"/>
                  </a:lnTo>
                  <a:lnTo>
                    <a:pt x="335" y="129"/>
                  </a:lnTo>
                  <a:lnTo>
                    <a:pt x="334" y="131"/>
                  </a:lnTo>
                  <a:lnTo>
                    <a:pt x="329" y="134"/>
                  </a:lnTo>
                  <a:lnTo>
                    <a:pt x="325" y="138"/>
                  </a:lnTo>
                  <a:lnTo>
                    <a:pt x="317" y="145"/>
                  </a:lnTo>
                  <a:lnTo>
                    <a:pt x="314" y="145"/>
                  </a:lnTo>
                  <a:lnTo>
                    <a:pt x="309" y="144"/>
                  </a:lnTo>
                  <a:lnTo>
                    <a:pt x="306" y="141"/>
                  </a:lnTo>
                  <a:lnTo>
                    <a:pt x="305" y="138"/>
                  </a:lnTo>
                  <a:lnTo>
                    <a:pt x="305" y="135"/>
                  </a:lnTo>
                  <a:lnTo>
                    <a:pt x="304" y="135"/>
                  </a:lnTo>
                  <a:lnTo>
                    <a:pt x="302" y="135"/>
                  </a:lnTo>
                  <a:lnTo>
                    <a:pt x="302" y="138"/>
                  </a:lnTo>
                  <a:lnTo>
                    <a:pt x="301" y="139"/>
                  </a:lnTo>
                  <a:lnTo>
                    <a:pt x="298" y="139"/>
                  </a:lnTo>
                  <a:lnTo>
                    <a:pt x="294" y="135"/>
                  </a:lnTo>
                  <a:lnTo>
                    <a:pt x="294" y="132"/>
                  </a:lnTo>
                  <a:lnTo>
                    <a:pt x="291" y="132"/>
                  </a:lnTo>
                  <a:lnTo>
                    <a:pt x="291" y="134"/>
                  </a:lnTo>
                  <a:lnTo>
                    <a:pt x="291" y="136"/>
                  </a:lnTo>
                  <a:lnTo>
                    <a:pt x="294" y="138"/>
                  </a:lnTo>
                  <a:lnTo>
                    <a:pt x="298" y="142"/>
                  </a:lnTo>
                  <a:lnTo>
                    <a:pt x="299" y="144"/>
                  </a:lnTo>
                  <a:lnTo>
                    <a:pt x="296" y="154"/>
                  </a:lnTo>
                  <a:lnTo>
                    <a:pt x="294" y="157"/>
                  </a:lnTo>
                  <a:lnTo>
                    <a:pt x="292" y="157"/>
                  </a:lnTo>
                  <a:lnTo>
                    <a:pt x="291" y="154"/>
                  </a:lnTo>
                  <a:lnTo>
                    <a:pt x="286" y="151"/>
                  </a:lnTo>
                  <a:lnTo>
                    <a:pt x="286" y="149"/>
                  </a:lnTo>
                  <a:lnTo>
                    <a:pt x="284" y="151"/>
                  </a:lnTo>
                  <a:lnTo>
                    <a:pt x="284" y="154"/>
                  </a:lnTo>
                  <a:lnTo>
                    <a:pt x="282" y="157"/>
                  </a:lnTo>
                  <a:lnTo>
                    <a:pt x="276" y="158"/>
                  </a:lnTo>
                  <a:lnTo>
                    <a:pt x="274" y="159"/>
                  </a:lnTo>
                  <a:lnTo>
                    <a:pt x="271" y="162"/>
                  </a:lnTo>
                  <a:lnTo>
                    <a:pt x="268" y="162"/>
                  </a:lnTo>
                  <a:lnTo>
                    <a:pt x="265" y="161"/>
                  </a:lnTo>
                  <a:lnTo>
                    <a:pt x="265" y="159"/>
                  </a:lnTo>
                  <a:lnTo>
                    <a:pt x="266" y="157"/>
                  </a:lnTo>
                  <a:lnTo>
                    <a:pt x="265" y="154"/>
                  </a:lnTo>
                  <a:lnTo>
                    <a:pt x="264" y="151"/>
                  </a:lnTo>
                  <a:lnTo>
                    <a:pt x="262" y="151"/>
                  </a:lnTo>
                  <a:lnTo>
                    <a:pt x="262" y="152"/>
                  </a:lnTo>
                  <a:lnTo>
                    <a:pt x="262" y="157"/>
                  </a:lnTo>
                  <a:lnTo>
                    <a:pt x="264" y="161"/>
                  </a:lnTo>
                  <a:lnTo>
                    <a:pt x="264" y="164"/>
                  </a:lnTo>
                  <a:lnTo>
                    <a:pt x="262" y="168"/>
                  </a:lnTo>
                  <a:lnTo>
                    <a:pt x="259" y="169"/>
                  </a:lnTo>
                  <a:lnTo>
                    <a:pt x="256" y="169"/>
                  </a:lnTo>
                  <a:lnTo>
                    <a:pt x="254" y="167"/>
                  </a:lnTo>
                  <a:lnTo>
                    <a:pt x="248" y="165"/>
                  </a:lnTo>
                  <a:lnTo>
                    <a:pt x="246" y="162"/>
                  </a:lnTo>
                  <a:lnTo>
                    <a:pt x="245" y="162"/>
                  </a:lnTo>
                  <a:lnTo>
                    <a:pt x="245" y="164"/>
                  </a:lnTo>
                  <a:lnTo>
                    <a:pt x="246" y="167"/>
                  </a:lnTo>
                  <a:lnTo>
                    <a:pt x="249" y="169"/>
                  </a:lnTo>
                  <a:lnTo>
                    <a:pt x="254" y="171"/>
                  </a:lnTo>
                  <a:lnTo>
                    <a:pt x="254" y="174"/>
                  </a:lnTo>
                  <a:lnTo>
                    <a:pt x="252" y="175"/>
                  </a:lnTo>
                  <a:lnTo>
                    <a:pt x="246" y="182"/>
                  </a:lnTo>
                  <a:lnTo>
                    <a:pt x="239" y="185"/>
                  </a:lnTo>
                  <a:lnTo>
                    <a:pt x="236" y="185"/>
                  </a:lnTo>
                  <a:lnTo>
                    <a:pt x="235" y="188"/>
                  </a:lnTo>
                  <a:lnTo>
                    <a:pt x="235" y="191"/>
                  </a:lnTo>
                  <a:lnTo>
                    <a:pt x="236" y="197"/>
                  </a:lnTo>
                  <a:lnTo>
                    <a:pt x="236" y="200"/>
                  </a:lnTo>
                  <a:lnTo>
                    <a:pt x="235" y="201"/>
                  </a:lnTo>
                  <a:lnTo>
                    <a:pt x="232" y="204"/>
                  </a:lnTo>
                  <a:lnTo>
                    <a:pt x="231" y="207"/>
                  </a:lnTo>
                  <a:lnTo>
                    <a:pt x="229" y="210"/>
                  </a:lnTo>
                  <a:lnTo>
                    <a:pt x="226" y="211"/>
                  </a:lnTo>
                  <a:lnTo>
                    <a:pt x="222" y="211"/>
                  </a:lnTo>
                  <a:lnTo>
                    <a:pt x="218" y="211"/>
                  </a:lnTo>
                  <a:lnTo>
                    <a:pt x="212" y="215"/>
                  </a:lnTo>
                  <a:lnTo>
                    <a:pt x="211" y="218"/>
                  </a:lnTo>
                  <a:lnTo>
                    <a:pt x="211" y="221"/>
                  </a:lnTo>
                  <a:lnTo>
                    <a:pt x="211" y="224"/>
                  </a:lnTo>
                  <a:lnTo>
                    <a:pt x="209" y="225"/>
                  </a:lnTo>
                  <a:lnTo>
                    <a:pt x="203" y="228"/>
                  </a:lnTo>
                  <a:lnTo>
                    <a:pt x="201" y="230"/>
                  </a:lnTo>
                  <a:lnTo>
                    <a:pt x="201" y="232"/>
                  </a:lnTo>
                  <a:lnTo>
                    <a:pt x="201" y="234"/>
                  </a:lnTo>
                  <a:lnTo>
                    <a:pt x="198" y="234"/>
                  </a:lnTo>
                  <a:lnTo>
                    <a:pt x="198" y="231"/>
                  </a:lnTo>
                  <a:lnTo>
                    <a:pt x="196" y="228"/>
                  </a:lnTo>
                  <a:lnTo>
                    <a:pt x="195" y="228"/>
                  </a:lnTo>
                  <a:lnTo>
                    <a:pt x="192" y="228"/>
                  </a:lnTo>
                  <a:lnTo>
                    <a:pt x="192" y="231"/>
                  </a:lnTo>
                  <a:lnTo>
                    <a:pt x="192" y="232"/>
                  </a:lnTo>
                  <a:lnTo>
                    <a:pt x="195" y="234"/>
                  </a:lnTo>
                  <a:lnTo>
                    <a:pt x="198" y="235"/>
                  </a:lnTo>
                  <a:lnTo>
                    <a:pt x="199" y="240"/>
                  </a:lnTo>
                  <a:lnTo>
                    <a:pt x="199" y="242"/>
                  </a:lnTo>
                  <a:lnTo>
                    <a:pt x="199" y="244"/>
                  </a:lnTo>
                  <a:lnTo>
                    <a:pt x="198" y="244"/>
                  </a:lnTo>
                  <a:lnTo>
                    <a:pt x="196" y="242"/>
                  </a:lnTo>
                  <a:lnTo>
                    <a:pt x="196" y="242"/>
                  </a:lnTo>
                  <a:lnTo>
                    <a:pt x="195" y="242"/>
                  </a:lnTo>
                  <a:lnTo>
                    <a:pt x="195" y="245"/>
                  </a:lnTo>
                  <a:lnTo>
                    <a:pt x="196" y="247"/>
                  </a:lnTo>
                  <a:lnTo>
                    <a:pt x="195" y="248"/>
                  </a:lnTo>
                  <a:lnTo>
                    <a:pt x="192" y="254"/>
                  </a:lnTo>
                  <a:lnTo>
                    <a:pt x="186" y="263"/>
                  </a:lnTo>
                  <a:lnTo>
                    <a:pt x="179" y="281"/>
                  </a:lnTo>
                  <a:lnTo>
                    <a:pt x="175" y="291"/>
                  </a:lnTo>
                  <a:lnTo>
                    <a:pt x="173" y="298"/>
                  </a:lnTo>
                  <a:lnTo>
                    <a:pt x="172" y="308"/>
                  </a:lnTo>
                  <a:lnTo>
                    <a:pt x="165" y="326"/>
                  </a:lnTo>
                  <a:lnTo>
                    <a:pt x="159" y="343"/>
                  </a:lnTo>
                  <a:lnTo>
                    <a:pt x="156" y="357"/>
                  </a:lnTo>
                  <a:lnTo>
                    <a:pt x="155" y="364"/>
                  </a:lnTo>
                  <a:lnTo>
                    <a:pt x="158" y="374"/>
                  </a:lnTo>
                  <a:lnTo>
                    <a:pt x="158" y="386"/>
                  </a:lnTo>
                  <a:lnTo>
                    <a:pt x="158" y="411"/>
                  </a:lnTo>
                  <a:lnTo>
                    <a:pt x="158" y="426"/>
                  </a:lnTo>
                  <a:lnTo>
                    <a:pt x="158" y="429"/>
                  </a:lnTo>
                  <a:lnTo>
                    <a:pt x="158" y="430"/>
                  </a:lnTo>
                  <a:lnTo>
                    <a:pt x="160" y="432"/>
                  </a:lnTo>
                  <a:lnTo>
                    <a:pt x="163" y="434"/>
                  </a:lnTo>
                  <a:lnTo>
                    <a:pt x="165" y="436"/>
                  </a:lnTo>
                  <a:lnTo>
                    <a:pt x="165" y="440"/>
                  </a:lnTo>
                  <a:lnTo>
                    <a:pt x="166" y="443"/>
                  </a:lnTo>
                  <a:lnTo>
                    <a:pt x="168" y="444"/>
                  </a:lnTo>
                  <a:lnTo>
                    <a:pt x="170" y="446"/>
                  </a:lnTo>
                  <a:lnTo>
                    <a:pt x="170" y="446"/>
                  </a:lnTo>
                  <a:lnTo>
                    <a:pt x="170" y="453"/>
                  </a:lnTo>
                  <a:lnTo>
                    <a:pt x="170" y="460"/>
                  </a:lnTo>
                  <a:lnTo>
                    <a:pt x="170" y="464"/>
                  </a:lnTo>
                  <a:lnTo>
                    <a:pt x="169" y="464"/>
                  </a:lnTo>
                  <a:lnTo>
                    <a:pt x="168" y="462"/>
                  </a:lnTo>
                  <a:lnTo>
                    <a:pt x="165" y="456"/>
                  </a:lnTo>
                  <a:lnTo>
                    <a:pt x="165" y="454"/>
                  </a:lnTo>
                  <a:lnTo>
                    <a:pt x="163" y="456"/>
                  </a:lnTo>
                  <a:lnTo>
                    <a:pt x="163" y="462"/>
                  </a:lnTo>
                  <a:lnTo>
                    <a:pt x="162" y="464"/>
                  </a:lnTo>
                  <a:lnTo>
                    <a:pt x="155" y="470"/>
                  </a:lnTo>
                  <a:lnTo>
                    <a:pt x="149" y="472"/>
                  </a:lnTo>
                  <a:lnTo>
                    <a:pt x="148" y="472"/>
                  </a:lnTo>
                  <a:lnTo>
                    <a:pt x="146" y="470"/>
                  </a:lnTo>
                  <a:lnTo>
                    <a:pt x="145" y="466"/>
                  </a:lnTo>
                  <a:lnTo>
                    <a:pt x="142" y="460"/>
                  </a:lnTo>
                  <a:lnTo>
                    <a:pt x="137" y="454"/>
                  </a:lnTo>
                  <a:lnTo>
                    <a:pt x="137" y="450"/>
                  </a:lnTo>
                  <a:lnTo>
                    <a:pt x="133" y="449"/>
                  </a:lnTo>
                  <a:lnTo>
                    <a:pt x="130" y="447"/>
                  </a:lnTo>
                  <a:lnTo>
                    <a:pt x="130" y="443"/>
                  </a:lnTo>
                  <a:lnTo>
                    <a:pt x="130" y="440"/>
                  </a:lnTo>
                  <a:lnTo>
                    <a:pt x="129" y="437"/>
                  </a:lnTo>
                  <a:lnTo>
                    <a:pt x="127" y="437"/>
                  </a:lnTo>
                  <a:lnTo>
                    <a:pt x="127" y="439"/>
                  </a:lnTo>
                  <a:lnTo>
                    <a:pt x="126" y="446"/>
                  </a:lnTo>
                  <a:lnTo>
                    <a:pt x="127" y="450"/>
                  </a:lnTo>
                  <a:lnTo>
                    <a:pt x="132" y="457"/>
                  </a:lnTo>
                  <a:lnTo>
                    <a:pt x="136" y="460"/>
                  </a:lnTo>
                  <a:lnTo>
                    <a:pt x="139" y="463"/>
                  </a:lnTo>
                  <a:lnTo>
                    <a:pt x="139" y="464"/>
                  </a:lnTo>
                  <a:lnTo>
                    <a:pt x="139" y="467"/>
                  </a:lnTo>
                  <a:lnTo>
                    <a:pt x="140" y="470"/>
                  </a:lnTo>
                  <a:lnTo>
                    <a:pt x="140" y="472"/>
                  </a:lnTo>
                  <a:lnTo>
                    <a:pt x="139" y="472"/>
                  </a:lnTo>
                  <a:lnTo>
                    <a:pt x="136" y="470"/>
                  </a:lnTo>
                  <a:lnTo>
                    <a:pt x="133" y="469"/>
                  </a:lnTo>
                  <a:lnTo>
                    <a:pt x="130" y="466"/>
                  </a:lnTo>
                  <a:lnTo>
                    <a:pt x="125" y="456"/>
                  </a:lnTo>
                  <a:lnTo>
                    <a:pt x="119" y="442"/>
                  </a:lnTo>
                  <a:lnTo>
                    <a:pt x="119" y="439"/>
                  </a:lnTo>
                  <a:lnTo>
                    <a:pt x="119" y="437"/>
                  </a:lnTo>
                  <a:lnTo>
                    <a:pt x="117" y="439"/>
                  </a:lnTo>
                  <a:lnTo>
                    <a:pt x="117" y="440"/>
                  </a:lnTo>
                  <a:lnTo>
                    <a:pt x="116" y="442"/>
                  </a:lnTo>
                  <a:lnTo>
                    <a:pt x="115" y="442"/>
                  </a:lnTo>
                  <a:lnTo>
                    <a:pt x="115" y="439"/>
                  </a:lnTo>
                  <a:lnTo>
                    <a:pt x="115" y="437"/>
                  </a:lnTo>
                  <a:lnTo>
                    <a:pt x="115" y="436"/>
                  </a:lnTo>
                  <a:lnTo>
                    <a:pt x="116" y="434"/>
                  </a:lnTo>
                  <a:lnTo>
                    <a:pt x="117" y="433"/>
                  </a:lnTo>
                  <a:lnTo>
                    <a:pt x="119" y="430"/>
                  </a:lnTo>
                  <a:lnTo>
                    <a:pt x="119" y="429"/>
                  </a:lnTo>
                  <a:lnTo>
                    <a:pt x="120" y="427"/>
                  </a:lnTo>
                  <a:lnTo>
                    <a:pt x="123" y="429"/>
                  </a:lnTo>
                  <a:lnTo>
                    <a:pt x="125" y="429"/>
                  </a:lnTo>
                  <a:lnTo>
                    <a:pt x="125" y="427"/>
                  </a:lnTo>
                  <a:lnTo>
                    <a:pt x="125" y="424"/>
                  </a:lnTo>
                  <a:lnTo>
                    <a:pt x="122" y="423"/>
                  </a:lnTo>
                  <a:lnTo>
                    <a:pt x="119" y="424"/>
                  </a:lnTo>
                  <a:lnTo>
                    <a:pt x="117" y="424"/>
                  </a:lnTo>
                  <a:lnTo>
                    <a:pt x="115" y="424"/>
                  </a:lnTo>
                  <a:lnTo>
                    <a:pt x="113" y="423"/>
                  </a:lnTo>
                  <a:lnTo>
                    <a:pt x="112" y="416"/>
                  </a:lnTo>
                  <a:lnTo>
                    <a:pt x="110" y="416"/>
                  </a:lnTo>
                  <a:lnTo>
                    <a:pt x="109" y="417"/>
                  </a:lnTo>
                  <a:lnTo>
                    <a:pt x="110" y="423"/>
                  </a:lnTo>
                  <a:lnTo>
                    <a:pt x="109" y="423"/>
                  </a:lnTo>
                  <a:lnTo>
                    <a:pt x="106" y="420"/>
                  </a:lnTo>
                  <a:lnTo>
                    <a:pt x="103" y="420"/>
                  </a:lnTo>
                  <a:lnTo>
                    <a:pt x="103" y="420"/>
                  </a:lnTo>
                  <a:lnTo>
                    <a:pt x="103" y="423"/>
                  </a:lnTo>
                  <a:lnTo>
                    <a:pt x="105" y="426"/>
                  </a:lnTo>
                  <a:lnTo>
                    <a:pt x="105" y="427"/>
                  </a:lnTo>
                  <a:lnTo>
                    <a:pt x="103" y="427"/>
                  </a:lnTo>
                  <a:lnTo>
                    <a:pt x="100" y="427"/>
                  </a:lnTo>
                  <a:lnTo>
                    <a:pt x="100" y="429"/>
                  </a:lnTo>
                  <a:lnTo>
                    <a:pt x="103" y="434"/>
                  </a:lnTo>
                  <a:lnTo>
                    <a:pt x="105" y="434"/>
                  </a:lnTo>
                  <a:lnTo>
                    <a:pt x="107" y="433"/>
                  </a:lnTo>
                  <a:lnTo>
                    <a:pt x="107" y="430"/>
                  </a:lnTo>
                  <a:lnTo>
                    <a:pt x="107" y="429"/>
                  </a:lnTo>
                  <a:lnTo>
                    <a:pt x="109" y="429"/>
                  </a:lnTo>
                  <a:lnTo>
                    <a:pt x="112" y="429"/>
                  </a:lnTo>
                  <a:lnTo>
                    <a:pt x="113" y="430"/>
                  </a:lnTo>
                  <a:lnTo>
                    <a:pt x="112" y="434"/>
                  </a:lnTo>
                  <a:lnTo>
                    <a:pt x="110" y="446"/>
                  </a:lnTo>
                  <a:lnTo>
                    <a:pt x="109" y="446"/>
                  </a:lnTo>
                  <a:lnTo>
                    <a:pt x="105" y="443"/>
                  </a:lnTo>
                  <a:lnTo>
                    <a:pt x="99" y="437"/>
                  </a:lnTo>
                  <a:lnTo>
                    <a:pt x="97" y="430"/>
                  </a:lnTo>
                  <a:lnTo>
                    <a:pt x="95" y="427"/>
                  </a:lnTo>
                  <a:lnTo>
                    <a:pt x="96" y="424"/>
                  </a:lnTo>
                  <a:lnTo>
                    <a:pt x="96" y="423"/>
                  </a:lnTo>
                  <a:lnTo>
                    <a:pt x="97" y="423"/>
                  </a:lnTo>
                  <a:lnTo>
                    <a:pt x="96" y="420"/>
                  </a:lnTo>
                  <a:lnTo>
                    <a:pt x="93" y="420"/>
                  </a:lnTo>
                  <a:lnTo>
                    <a:pt x="92" y="421"/>
                  </a:lnTo>
                  <a:lnTo>
                    <a:pt x="93" y="426"/>
                  </a:lnTo>
                  <a:lnTo>
                    <a:pt x="95" y="430"/>
                  </a:lnTo>
                  <a:lnTo>
                    <a:pt x="93" y="432"/>
                  </a:lnTo>
                  <a:lnTo>
                    <a:pt x="92" y="432"/>
                  </a:lnTo>
                  <a:lnTo>
                    <a:pt x="92" y="429"/>
                  </a:lnTo>
                  <a:lnTo>
                    <a:pt x="90" y="423"/>
                  </a:lnTo>
                  <a:lnTo>
                    <a:pt x="89" y="414"/>
                  </a:lnTo>
                  <a:lnTo>
                    <a:pt x="86" y="411"/>
                  </a:lnTo>
                  <a:lnTo>
                    <a:pt x="85" y="410"/>
                  </a:lnTo>
                  <a:lnTo>
                    <a:pt x="85" y="413"/>
                  </a:lnTo>
                  <a:lnTo>
                    <a:pt x="85" y="416"/>
                  </a:lnTo>
                  <a:lnTo>
                    <a:pt x="85" y="420"/>
                  </a:lnTo>
                  <a:lnTo>
                    <a:pt x="86" y="427"/>
                  </a:lnTo>
                  <a:lnTo>
                    <a:pt x="85" y="429"/>
                  </a:lnTo>
                  <a:lnTo>
                    <a:pt x="83" y="430"/>
                  </a:lnTo>
                  <a:lnTo>
                    <a:pt x="82" y="430"/>
                  </a:lnTo>
                  <a:lnTo>
                    <a:pt x="82" y="427"/>
                  </a:lnTo>
                  <a:lnTo>
                    <a:pt x="80" y="426"/>
                  </a:lnTo>
                  <a:lnTo>
                    <a:pt x="77" y="427"/>
                  </a:lnTo>
                  <a:lnTo>
                    <a:pt x="77" y="426"/>
                  </a:lnTo>
                  <a:lnTo>
                    <a:pt x="77" y="424"/>
                  </a:lnTo>
                  <a:lnTo>
                    <a:pt x="79" y="421"/>
                  </a:lnTo>
                  <a:lnTo>
                    <a:pt x="77" y="420"/>
                  </a:lnTo>
                  <a:lnTo>
                    <a:pt x="74" y="419"/>
                  </a:lnTo>
                  <a:lnTo>
                    <a:pt x="73" y="416"/>
                  </a:lnTo>
                  <a:lnTo>
                    <a:pt x="73" y="411"/>
                  </a:lnTo>
                  <a:lnTo>
                    <a:pt x="73" y="409"/>
                  </a:lnTo>
                  <a:lnTo>
                    <a:pt x="76" y="409"/>
                  </a:lnTo>
                  <a:lnTo>
                    <a:pt x="76" y="410"/>
                  </a:lnTo>
                  <a:lnTo>
                    <a:pt x="76" y="413"/>
                  </a:lnTo>
                  <a:lnTo>
                    <a:pt x="76" y="416"/>
                  </a:lnTo>
                  <a:lnTo>
                    <a:pt x="79" y="417"/>
                  </a:lnTo>
                  <a:lnTo>
                    <a:pt x="80" y="417"/>
                  </a:lnTo>
                  <a:lnTo>
                    <a:pt x="82" y="417"/>
                  </a:lnTo>
                  <a:lnTo>
                    <a:pt x="82" y="414"/>
                  </a:lnTo>
                  <a:lnTo>
                    <a:pt x="83" y="401"/>
                  </a:lnTo>
                  <a:lnTo>
                    <a:pt x="83" y="397"/>
                  </a:lnTo>
                  <a:lnTo>
                    <a:pt x="82" y="397"/>
                  </a:lnTo>
                  <a:lnTo>
                    <a:pt x="80" y="399"/>
                  </a:lnTo>
                  <a:lnTo>
                    <a:pt x="80" y="404"/>
                  </a:lnTo>
                  <a:lnTo>
                    <a:pt x="80" y="411"/>
                  </a:lnTo>
                  <a:lnTo>
                    <a:pt x="80" y="413"/>
                  </a:lnTo>
                  <a:lnTo>
                    <a:pt x="79" y="411"/>
                  </a:lnTo>
                  <a:lnTo>
                    <a:pt x="79" y="406"/>
                  </a:lnTo>
                  <a:lnTo>
                    <a:pt x="79" y="401"/>
                  </a:lnTo>
                  <a:lnTo>
                    <a:pt x="76" y="397"/>
                  </a:lnTo>
                  <a:lnTo>
                    <a:pt x="76" y="396"/>
                  </a:lnTo>
                  <a:lnTo>
                    <a:pt x="77" y="393"/>
                  </a:lnTo>
                  <a:lnTo>
                    <a:pt x="79" y="390"/>
                  </a:lnTo>
                  <a:lnTo>
                    <a:pt x="77" y="389"/>
                  </a:lnTo>
                  <a:lnTo>
                    <a:pt x="77" y="389"/>
                  </a:lnTo>
                  <a:lnTo>
                    <a:pt x="76" y="389"/>
                  </a:lnTo>
                  <a:lnTo>
                    <a:pt x="73" y="390"/>
                  </a:lnTo>
                  <a:lnTo>
                    <a:pt x="70" y="390"/>
                  </a:lnTo>
                  <a:lnTo>
                    <a:pt x="67" y="387"/>
                  </a:lnTo>
                  <a:lnTo>
                    <a:pt x="66" y="380"/>
                  </a:lnTo>
                  <a:lnTo>
                    <a:pt x="62" y="376"/>
                  </a:lnTo>
                  <a:lnTo>
                    <a:pt x="60" y="373"/>
                  </a:lnTo>
                  <a:lnTo>
                    <a:pt x="60" y="370"/>
                  </a:lnTo>
                  <a:lnTo>
                    <a:pt x="59" y="367"/>
                  </a:lnTo>
                  <a:lnTo>
                    <a:pt x="57" y="369"/>
                  </a:lnTo>
                  <a:lnTo>
                    <a:pt x="57" y="370"/>
                  </a:lnTo>
                  <a:lnTo>
                    <a:pt x="57" y="374"/>
                  </a:lnTo>
                  <a:lnTo>
                    <a:pt x="62" y="380"/>
                  </a:lnTo>
                  <a:lnTo>
                    <a:pt x="63" y="383"/>
                  </a:lnTo>
                  <a:lnTo>
                    <a:pt x="63" y="386"/>
                  </a:lnTo>
                  <a:lnTo>
                    <a:pt x="66" y="389"/>
                  </a:lnTo>
                  <a:lnTo>
                    <a:pt x="67" y="391"/>
                  </a:lnTo>
                  <a:lnTo>
                    <a:pt x="69" y="400"/>
                  </a:lnTo>
                  <a:lnTo>
                    <a:pt x="69" y="403"/>
                  </a:lnTo>
                  <a:lnTo>
                    <a:pt x="66" y="401"/>
                  </a:lnTo>
                  <a:lnTo>
                    <a:pt x="66" y="396"/>
                  </a:lnTo>
                  <a:lnTo>
                    <a:pt x="66" y="393"/>
                  </a:lnTo>
                  <a:lnTo>
                    <a:pt x="64" y="391"/>
                  </a:lnTo>
                  <a:lnTo>
                    <a:pt x="62" y="391"/>
                  </a:lnTo>
                  <a:lnTo>
                    <a:pt x="59" y="393"/>
                  </a:lnTo>
                  <a:lnTo>
                    <a:pt x="57" y="394"/>
                  </a:lnTo>
                  <a:lnTo>
                    <a:pt x="59" y="397"/>
                  </a:lnTo>
                  <a:lnTo>
                    <a:pt x="59" y="400"/>
                  </a:lnTo>
                  <a:lnTo>
                    <a:pt x="56" y="403"/>
                  </a:lnTo>
                  <a:lnTo>
                    <a:pt x="53" y="404"/>
                  </a:lnTo>
                  <a:lnTo>
                    <a:pt x="52" y="404"/>
                  </a:lnTo>
                  <a:lnTo>
                    <a:pt x="50" y="404"/>
                  </a:lnTo>
                  <a:lnTo>
                    <a:pt x="49" y="404"/>
                  </a:lnTo>
                  <a:lnTo>
                    <a:pt x="46" y="404"/>
                  </a:lnTo>
                  <a:lnTo>
                    <a:pt x="44" y="403"/>
                  </a:lnTo>
                  <a:lnTo>
                    <a:pt x="42" y="399"/>
                  </a:lnTo>
                  <a:lnTo>
                    <a:pt x="43" y="393"/>
                  </a:lnTo>
                  <a:lnTo>
                    <a:pt x="44" y="387"/>
                  </a:lnTo>
                  <a:lnTo>
                    <a:pt x="46" y="383"/>
                  </a:lnTo>
                  <a:lnTo>
                    <a:pt x="43" y="380"/>
                  </a:lnTo>
                  <a:lnTo>
                    <a:pt x="42" y="377"/>
                  </a:lnTo>
                  <a:lnTo>
                    <a:pt x="40" y="371"/>
                  </a:lnTo>
                  <a:lnTo>
                    <a:pt x="42" y="369"/>
                  </a:lnTo>
                  <a:lnTo>
                    <a:pt x="43" y="367"/>
                  </a:lnTo>
                  <a:lnTo>
                    <a:pt x="44" y="366"/>
                  </a:lnTo>
                  <a:lnTo>
                    <a:pt x="46" y="363"/>
                  </a:lnTo>
                  <a:lnTo>
                    <a:pt x="44" y="361"/>
                  </a:lnTo>
                  <a:lnTo>
                    <a:pt x="43" y="357"/>
                  </a:lnTo>
                  <a:lnTo>
                    <a:pt x="44" y="354"/>
                  </a:lnTo>
                  <a:lnTo>
                    <a:pt x="47" y="350"/>
                  </a:lnTo>
                  <a:lnTo>
                    <a:pt x="47" y="347"/>
                  </a:lnTo>
                  <a:lnTo>
                    <a:pt x="47" y="346"/>
                  </a:lnTo>
                  <a:lnTo>
                    <a:pt x="46" y="346"/>
                  </a:lnTo>
                  <a:lnTo>
                    <a:pt x="43" y="350"/>
                  </a:lnTo>
                  <a:lnTo>
                    <a:pt x="42" y="354"/>
                  </a:lnTo>
                  <a:lnTo>
                    <a:pt x="39" y="356"/>
                  </a:lnTo>
                  <a:lnTo>
                    <a:pt x="37" y="354"/>
                  </a:lnTo>
                  <a:lnTo>
                    <a:pt x="34" y="354"/>
                  </a:lnTo>
                  <a:lnTo>
                    <a:pt x="36" y="358"/>
                  </a:lnTo>
                  <a:lnTo>
                    <a:pt x="39" y="364"/>
                  </a:lnTo>
                  <a:lnTo>
                    <a:pt x="37" y="370"/>
                  </a:lnTo>
                  <a:lnTo>
                    <a:pt x="36" y="369"/>
                  </a:lnTo>
                  <a:lnTo>
                    <a:pt x="34" y="367"/>
                  </a:lnTo>
                  <a:lnTo>
                    <a:pt x="34" y="369"/>
                  </a:lnTo>
                  <a:lnTo>
                    <a:pt x="34" y="370"/>
                  </a:lnTo>
                  <a:lnTo>
                    <a:pt x="34" y="373"/>
                  </a:lnTo>
                  <a:lnTo>
                    <a:pt x="39" y="374"/>
                  </a:lnTo>
                  <a:lnTo>
                    <a:pt x="40" y="376"/>
                  </a:lnTo>
                  <a:lnTo>
                    <a:pt x="39" y="379"/>
                  </a:lnTo>
                  <a:lnTo>
                    <a:pt x="37" y="379"/>
                  </a:lnTo>
                  <a:lnTo>
                    <a:pt x="34" y="374"/>
                  </a:lnTo>
                  <a:lnTo>
                    <a:pt x="32" y="373"/>
                  </a:lnTo>
                  <a:lnTo>
                    <a:pt x="32" y="370"/>
                  </a:lnTo>
                  <a:lnTo>
                    <a:pt x="32" y="367"/>
                  </a:lnTo>
                  <a:lnTo>
                    <a:pt x="33" y="366"/>
                  </a:lnTo>
                  <a:lnTo>
                    <a:pt x="33" y="363"/>
                  </a:lnTo>
                  <a:lnTo>
                    <a:pt x="33" y="361"/>
                  </a:lnTo>
                  <a:lnTo>
                    <a:pt x="32" y="357"/>
                  </a:lnTo>
                  <a:lnTo>
                    <a:pt x="30" y="351"/>
                  </a:lnTo>
                  <a:lnTo>
                    <a:pt x="32" y="346"/>
                  </a:lnTo>
                  <a:lnTo>
                    <a:pt x="30" y="346"/>
                  </a:lnTo>
                  <a:lnTo>
                    <a:pt x="29" y="346"/>
                  </a:lnTo>
                  <a:lnTo>
                    <a:pt x="27" y="348"/>
                  </a:lnTo>
                  <a:lnTo>
                    <a:pt x="26" y="350"/>
                  </a:lnTo>
                  <a:lnTo>
                    <a:pt x="24" y="350"/>
                  </a:lnTo>
                  <a:lnTo>
                    <a:pt x="21" y="350"/>
                  </a:lnTo>
                  <a:lnTo>
                    <a:pt x="20" y="346"/>
                  </a:lnTo>
                  <a:lnTo>
                    <a:pt x="20" y="343"/>
                  </a:lnTo>
                  <a:lnTo>
                    <a:pt x="19" y="343"/>
                  </a:lnTo>
                  <a:lnTo>
                    <a:pt x="17" y="344"/>
                  </a:lnTo>
                  <a:lnTo>
                    <a:pt x="16" y="346"/>
                  </a:lnTo>
                  <a:lnTo>
                    <a:pt x="14" y="343"/>
                  </a:lnTo>
                  <a:lnTo>
                    <a:pt x="16" y="340"/>
                  </a:lnTo>
                  <a:lnTo>
                    <a:pt x="16" y="334"/>
                  </a:lnTo>
                  <a:lnTo>
                    <a:pt x="16" y="333"/>
                  </a:lnTo>
                  <a:lnTo>
                    <a:pt x="13" y="330"/>
                  </a:lnTo>
                  <a:lnTo>
                    <a:pt x="9" y="327"/>
                  </a:lnTo>
                  <a:lnTo>
                    <a:pt x="9" y="323"/>
                  </a:lnTo>
                  <a:lnTo>
                    <a:pt x="10" y="317"/>
                  </a:lnTo>
                  <a:lnTo>
                    <a:pt x="9" y="316"/>
                  </a:lnTo>
                  <a:lnTo>
                    <a:pt x="7" y="316"/>
                  </a:lnTo>
                  <a:lnTo>
                    <a:pt x="6" y="314"/>
                  </a:lnTo>
                  <a:lnTo>
                    <a:pt x="4" y="313"/>
                  </a:lnTo>
                  <a:lnTo>
                    <a:pt x="1" y="313"/>
                  </a:lnTo>
                  <a:lnTo>
                    <a:pt x="1" y="313"/>
                  </a:lnTo>
                  <a:lnTo>
                    <a:pt x="0" y="310"/>
                  </a:lnTo>
                  <a:lnTo>
                    <a:pt x="1" y="303"/>
                  </a:lnTo>
                  <a:lnTo>
                    <a:pt x="1" y="300"/>
                  </a:lnTo>
                  <a:lnTo>
                    <a:pt x="4" y="301"/>
                  </a:lnTo>
                  <a:lnTo>
                    <a:pt x="7" y="304"/>
                  </a:lnTo>
                  <a:lnTo>
                    <a:pt x="7" y="307"/>
                  </a:lnTo>
                  <a:lnTo>
                    <a:pt x="9" y="307"/>
                  </a:lnTo>
                  <a:lnTo>
                    <a:pt x="10" y="307"/>
                  </a:lnTo>
                  <a:lnTo>
                    <a:pt x="13" y="305"/>
                  </a:lnTo>
                  <a:lnTo>
                    <a:pt x="14" y="305"/>
                  </a:lnTo>
                  <a:lnTo>
                    <a:pt x="14" y="307"/>
                  </a:lnTo>
                  <a:lnTo>
                    <a:pt x="13" y="317"/>
                  </a:lnTo>
                  <a:lnTo>
                    <a:pt x="13" y="320"/>
                  </a:lnTo>
                  <a:lnTo>
                    <a:pt x="14" y="321"/>
                  </a:lnTo>
                  <a:lnTo>
                    <a:pt x="14" y="320"/>
                  </a:lnTo>
                  <a:lnTo>
                    <a:pt x="16" y="317"/>
                  </a:lnTo>
                  <a:lnTo>
                    <a:pt x="16" y="313"/>
                  </a:lnTo>
                  <a:lnTo>
                    <a:pt x="17" y="311"/>
                  </a:lnTo>
                  <a:lnTo>
                    <a:pt x="20" y="310"/>
                  </a:lnTo>
                  <a:lnTo>
                    <a:pt x="24" y="307"/>
                  </a:lnTo>
                  <a:lnTo>
                    <a:pt x="29" y="303"/>
                  </a:lnTo>
                  <a:lnTo>
                    <a:pt x="29" y="300"/>
                  </a:lnTo>
                  <a:lnTo>
                    <a:pt x="30" y="294"/>
                  </a:lnTo>
                  <a:lnTo>
                    <a:pt x="27" y="288"/>
                  </a:lnTo>
                  <a:lnTo>
                    <a:pt x="27" y="284"/>
                  </a:lnTo>
                  <a:lnTo>
                    <a:pt x="30" y="281"/>
                  </a:lnTo>
                  <a:lnTo>
                    <a:pt x="32" y="281"/>
                  </a:lnTo>
                  <a:lnTo>
                    <a:pt x="33" y="281"/>
                  </a:lnTo>
                  <a:lnTo>
                    <a:pt x="33" y="283"/>
                  </a:lnTo>
                  <a:lnTo>
                    <a:pt x="33" y="285"/>
                  </a:lnTo>
                  <a:lnTo>
                    <a:pt x="34" y="285"/>
                  </a:lnTo>
                  <a:lnTo>
                    <a:pt x="37" y="285"/>
                  </a:lnTo>
                  <a:lnTo>
                    <a:pt x="40" y="285"/>
                  </a:lnTo>
                  <a:lnTo>
                    <a:pt x="42" y="285"/>
                  </a:lnTo>
                  <a:lnTo>
                    <a:pt x="42" y="290"/>
                  </a:lnTo>
                  <a:lnTo>
                    <a:pt x="42" y="297"/>
                  </a:lnTo>
                  <a:lnTo>
                    <a:pt x="43" y="300"/>
                  </a:lnTo>
                  <a:lnTo>
                    <a:pt x="44" y="300"/>
                  </a:lnTo>
                  <a:lnTo>
                    <a:pt x="44" y="298"/>
                  </a:lnTo>
                  <a:lnTo>
                    <a:pt x="46" y="290"/>
                  </a:lnTo>
                  <a:lnTo>
                    <a:pt x="46" y="287"/>
                  </a:lnTo>
                  <a:lnTo>
                    <a:pt x="47" y="287"/>
                  </a:lnTo>
                  <a:lnTo>
                    <a:pt x="49" y="287"/>
                  </a:lnTo>
                  <a:lnTo>
                    <a:pt x="50" y="288"/>
                  </a:lnTo>
                  <a:lnTo>
                    <a:pt x="54" y="288"/>
                  </a:lnTo>
                  <a:lnTo>
                    <a:pt x="56" y="290"/>
                  </a:lnTo>
                  <a:lnTo>
                    <a:pt x="57" y="293"/>
                  </a:lnTo>
                  <a:lnTo>
                    <a:pt x="56" y="297"/>
                  </a:lnTo>
                  <a:lnTo>
                    <a:pt x="56" y="297"/>
                  </a:lnTo>
                  <a:lnTo>
                    <a:pt x="53" y="293"/>
                  </a:lnTo>
                  <a:lnTo>
                    <a:pt x="52" y="291"/>
                  </a:lnTo>
                  <a:lnTo>
                    <a:pt x="49" y="291"/>
                  </a:lnTo>
                  <a:lnTo>
                    <a:pt x="49" y="294"/>
                  </a:lnTo>
                  <a:lnTo>
                    <a:pt x="49" y="295"/>
                  </a:lnTo>
                  <a:lnTo>
                    <a:pt x="52" y="297"/>
                  </a:lnTo>
                  <a:lnTo>
                    <a:pt x="54" y="298"/>
                  </a:lnTo>
                  <a:lnTo>
                    <a:pt x="56" y="300"/>
                  </a:lnTo>
                  <a:lnTo>
                    <a:pt x="57" y="303"/>
                  </a:lnTo>
                  <a:lnTo>
                    <a:pt x="59" y="304"/>
                  </a:lnTo>
                  <a:lnTo>
                    <a:pt x="64" y="304"/>
                  </a:lnTo>
                  <a:lnTo>
                    <a:pt x="64" y="303"/>
                  </a:lnTo>
                  <a:lnTo>
                    <a:pt x="64" y="301"/>
                  </a:lnTo>
                  <a:lnTo>
                    <a:pt x="63" y="300"/>
                  </a:lnTo>
                  <a:lnTo>
                    <a:pt x="60" y="300"/>
                  </a:lnTo>
                  <a:lnTo>
                    <a:pt x="59" y="295"/>
                  </a:lnTo>
                  <a:lnTo>
                    <a:pt x="59" y="290"/>
                  </a:lnTo>
                  <a:lnTo>
                    <a:pt x="59" y="288"/>
                  </a:lnTo>
                  <a:lnTo>
                    <a:pt x="63" y="287"/>
                  </a:lnTo>
                  <a:lnTo>
                    <a:pt x="64" y="288"/>
                  </a:lnTo>
                  <a:lnTo>
                    <a:pt x="66" y="290"/>
                  </a:lnTo>
                  <a:lnTo>
                    <a:pt x="67" y="297"/>
                  </a:lnTo>
                  <a:lnTo>
                    <a:pt x="69" y="301"/>
                  </a:lnTo>
                  <a:lnTo>
                    <a:pt x="70" y="300"/>
                  </a:lnTo>
                  <a:lnTo>
                    <a:pt x="70" y="300"/>
                  </a:lnTo>
                  <a:lnTo>
                    <a:pt x="70" y="295"/>
                  </a:lnTo>
                  <a:lnTo>
                    <a:pt x="69" y="291"/>
                  </a:lnTo>
                  <a:lnTo>
                    <a:pt x="66" y="287"/>
                  </a:lnTo>
                  <a:lnTo>
                    <a:pt x="67" y="287"/>
                  </a:lnTo>
                  <a:lnTo>
                    <a:pt x="69" y="285"/>
                  </a:lnTo>
                  <a:lnTo>
                    <a:pt x="70" y="288"/>
                  </a:lnTo>
                  <a:lnTo>
                    <a:pt x="70" y="290"/>
                  </a:lnTo>
                  <a:lnTo>
                    <a:pt x="72" y="290"/>
                  </a:lnTo>
                  <a:lnTo>
                    <a:pt x="72" y="287"/>
                  </a:lnTo>
                  <a:lnTo>
                    <a:pt x="70" y="284"/>
                  </a:lnTo>
                  <a:lnTo>
                    <a:pt x="67" y="281"/>
                  </a:lnTo>
                  <a:lnTo>
                    <a:pt x="66" y="281"/>
                  </a:lnTo>
                  <a:lnTo>
                    <a:pt x="63" y="284"/>
                  </a:lnTo>
                  <a:lnTo>
                    <a:pt x="62" y="284"/>
                  </a:lnTo>
                  <a:lnTo>
                    <a:pt x="59" y="283"/>
                  </a:lnTo>
                  <a:lnTo>
                    <a:pt x="57" y="281"/>
                  </a:lnTo>
                  <a:lnTo>
                    <a:pt x="56" y="277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4" y="278"/>
                  </a:lnTo>
                  <a:lnTo>
                    <a:pt x="53" y="283"/>
                  </a:lnTo>
                  <a:lnTo>
                    <a:pt x="52" y="284"/>
                  </a:lnTo>
                  <a:lnTo>
                    <a:pt x="50" y="283"/>
                  </a:lnTo>
                  <a:lnTo>
                    <a:pt x="47" y="281"/>
                  </a:lnTo>
                  <a:lnTo>
                    <a:pt x="47" y="280"/>
                  </a:lnTo>
                  <a:lnTo>
                    <a:pt x="49" y="277"/>
                  </a:lnTo>
                  <a:lnTo>
                    <a:pt x="50" y="275"/>
                  </a:lnTo>
                  <a:lnTo>
                    <a:pt x="50" y="273"/>
                  </a:lnTo>
                  <a:lnTo>
                    <a:pt x="50" y="270"/>
                  </a:lnTo>
                  <a:lnTo>
                    <a:pt x="46" y="268"/>
                  </a:lnTo>
                  <a:lnTo>
                    <a:pt x="44" y="265"/>
                  </a:lnTo>
                  <a:lnTo>
                    <a:pt x="46" y="260"/>
                  </a:lnTo>
                  <a:lnTo>
                    <a:pt x="47" y="255"/>
                  </a:lnTo>
                  <a:lnTo>
                    <a:pt x="47" y="255"/>
                  </a:lnTo>
                  <a:lnTo>
                    <a:pt x="52" y="255"/>
                  </a:lnTo>
                  <a:lnTo>
                    <a:pt x="54" y="255"/>
                  </a:lnTo>
                  <a:lnTo>
                    <a:pt x="57" y="254"/>
                  </a:lnTo>
                  <a:lnTo>
                    <a:pt x="60" y="252"/>
                  </a:lnTo>
                  <a:lnTo>
                    <a:pt x="64" y="251"/>
                  </a:lnTo>
                  <a:lnTo>
                    <a:pt x="69" y="248"/>
                  </a:lnTo>
                  <a:lnTo>
                    <a:pt x="74" y="250"/>
                  </a:lnTo>
                  <a:lnTo>
                    <a:pt x="79" y="251"/>
                  </a:lnTo>
                  <a:lnTo>
                    <a:pt x="80" y="254"/>
                  </a:lnTo>
                  <a:lnTo>
                    <a:pt x="82" y="254"/>
                  </a:lnTo>
                  <a:lnTo>
                    <a:pt x="83" y="251"/>
                  </a:lnTo>
                  <a:lnTo>
                    <a:pt x="85" y="251"/>
                  </a:lnTo>
                  <a:lnTo>
                    <a:pt x="89" y="251"/>
                  </a:lnTo>
                  <a:lnTo>
                    <a:pt x="90" y="250"/>
                  </a:lnTo>
                  <a:lnTo>
                    <a:pt x="90" y="248"/>
                  </a:lnTo>
                  <a:lnTo>
                    <a:pt x="90" y="247"/>
                  </a:lnTo>
                  <a:lnTo>
                    <a:pt x="87" y="247"/>
                  </a:lnTo>
                  <a:lnTo>
                    <a:pt x="82" y="248"/>
                  </a:lnTo>
                  <a:lnTo>
                    <a:pt x="79" y="248"/>
                  </a:lnTo>
                  <a:lnTo>
                    <a:pt x="74" y="245"/>
                  </a:lnTo>
                  <a:lnTo>
                    <a:pt x="72" y="247"/>
                  </a:lnTo>
                  <a:lnTo>
                    <a:pt x="69" y="247"/>
                  </a:lnTo>
                  <a:lnTo>
                    <a:pt x="64" y="245"/>
                  </a:lnTo>
                  <a:lnTo>
                    <a:pt x="63" y="245"/>
                  </a:lnTo>
                  <a:lnTo>
                    <a:pt x="62" y="250"/>
                  </a:lnTo>
                  <a:lnTo>
                    <a:pt x="60" y="251"/>
                  </a:lnTo>
                  <a:lnTo>
                    <a:pt x="59" y="252"/>
                  </a:lnTo>
                  <a:lnTo>
                    <a:pt x="50" y="252"/>
                  </a:lnTo>
                  <a:lnTo>
                    <a:pt x="50" y="251"/>
                  </a:lnTo>
                  <a:lnTo>
                    <a:pt x="50" y="248"/>
                  </a:lnTo>
                  <a:lnTo>
                    <a:pt x="52" y="244"/>
                  </a:lnTo>
                  <a:lnTo>
                    <a:pt x="53" y="241"/>
                  </a:lnTo>
                  <a:lnTo>
                    <a:pt x="56" y="238"/>
                  </a:lnTo>
                  <a:lnTo>
                    <a:pt x="59" y="232"/>
                  </a:lnTo>
                  <a:lnTo>
                    <a:pt x="59" y="23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57" name="Freeform 405"/>
            <p:cNvSpPr>
              <a:spLocks/>
            </p:cNvSpPr>
            <p:nvPr/>
          </p:nvSpPr>
          <p:spPr bwMode="auto">
            <a:xfrm>
              <a:off x="4205649" y="2808005"/>
              <a:ext cx="3663" cy="10583"/>
            </a:xfrm>
            <a:custGeom>
              <a:avLst/>
              <a:gdLst>
                <a:gd name="T0" fmla="*/ 6 w 6"/>
                <a:gd name="T1" fmla="*/ 8 h 14"/>
                <a:gd name="T2" fmla="*/ 4 w 6"/>
                <a:gd name="T3" fmla="*/ 11 h 14"/>
                <a:gd name="T4" fmla="*/ 3 w 6"/>
                <a:gd name="T5" fmla="*/ 14 h 14"/>
                <a:gd name="T6" fmla="*/ 1 w 6"/>
                <a:gd name="T7" fmla="*/ 14 h 14"/>
                <a:gd name="T8" fmla="*/ 1 w 6"/>
                <a:gd name="T9" fmla="*/ 14 h 14"/>
                <a:gd name="T10" fmla="*/ 0 w 6"/>
                <a:gd name="T11" fmla="*/ 10 h 14"/>
                <a:gd name="T12" fmla="*/ 1 w 6"/>
                <a:gd name="T13" fmla="*/ 1 h 14"/>
                <a:gd name="T14" fmla="*/ 1 w 6"/>
                <a:gd name="T15" fmla="*/ 0 h 14"/>
                <a:gd name="T16" fmla="*/ 3 w 6"/>
                <a:gd name="T17" fmla="*/ 0 h 14"/>
                <a:gd name="T18" fmla="*/ 4 w 6"/>
                <a:gd name="T19" fmla="*/ 3 h 14"/>
                <a:gd name="T20" fmla="*/ 6 w 6"/>
                <a:gd name="T21" fmla="*/ 4 h 14"/>
                <a:gd name="T22" fmla="*/ 6 w 6"/>
                <a:gd name="T23" fmla="*/ 8 h 14"/>
                <a:gd name="T24" fmla="*/ 6 w 6"/>
                <a:gd name="T25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14">
                  <a:moveTo>
                    <a:pt x="6" y="8"/>
                  </a:moveTo>
                  <a:lnTo>
                    <a:pt x="4" y="11"/>
                  </a:lnTo>
                  <a:lnTo>
                    <a:pt x="3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0" y="10"/>
                  </a:lnTo>
                  <a:lnTo>
                    <a:pt x="1" y="1"/>
                  </a:lnTo>
                  <a:lnTo>
                    <a:pt x="1" y="0"/>
                  </a:lnTo>
                  <a:lnTo>
                    <a:pt x="3" y="0"/>
                  </a:lnTo>
                  <a:lnTo>
                    <a:pt x="4" y="3"/>
                  </a:lnTo>
                  <a:lnTo>
                    <a:pt x="6" y="4"/>
                  </a:lnTo>
                  <a:lnTo>
                    <a:pt x="6" y="8"/>
                  </a:lnTo>
                  <a:lnTo>
                    <a:pt x="6" y="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58" name="Freeform 406"/>
            <p:cNvSpPr>
              <a:spLocks/>
            </p:cNvSpPr>
            <p:nvPr/>
          </p:nvSpPr>
          <p:spPr bwMode="auto">
            <a:xfrm>
              <a:off x="4359513" y="2520935"/>
              <a:ext cx="526312" cy="201081"/>
            </a:xfrm>
            <a:custGeom>
              <a:avLst/>
              <a:gdLst>
                <a:gd name="T0" fmla="*/ 40 w 862"/>
                <a:gd name="T1" fmla="*/ 220 h 304"/>
                <a:gd name="T2" fmla="*/ 76 w 862"/>
                <a:gd name="T3" fmla="*/ 263 h 304"/>
                <a:gd name="T4" fmla="*/ 93 w 862"/>
                <a:gd name="T5" fmla="*/ 302 h 304"/>
                <a:gd name="T6" fmla="*/ 133 w 862"/>
                <a:gd name="T7" fmla="*/ 263 h 304"/>
                <a:gd name="T8" fmla="*/ 150 w 862"/>
                <a:gd name="T9" fmla="*/ 276 h 304"/>
                <a:gd name="T10" fmla="*/ 160 w 862"/>
                <a:gd name="T11" fmla="*/ 223 h 304"/>
                <a:gd name="T12" fmla="*/ 202 w 862"/>
                <a:gd name="T13" fmla="*/ 246 h 304"/>
                <a:gd name="T14" fmla="*/ 222 w 862"/>
                <a:gd name="T15" fmla="*/ 241 h 304"/>
                <a:gd name="T16" fmla="*/ 246 w 862"/>
                <a:gd name="T17" fmla="*/ 233 h 304"/>
                <a:gd name="T18" fmla="*/ 259 w 862"/>
                <a:gd name="T19" fmla="*/ 219 h 304"/>
                <a:gd name="T20" fmla="*/ 279 w 862"/>
                <a:gd name="T21" fmla="*/ 167 h 304"/>
                <a:gd name="T22" fmla="*/ 318 w 862"/>
                <a:gd name="T23" fmla="*/ 180 h 304"/>
                <a:gd name="T24" fmla="*/ 329 w 862"/>
                <a:gd name="T25" fmla="*/ 183 h 304"/>
                <a:gd name="T26" fmla="*/ 349 w 862"/>
                <a:gd name="T27" fmla="*/ 169 h 304"/>
                <a:gd name="T28" fmla="*/ 381 w 862"/>
                <a:gd name="T29" fmla="*/ 176 h 304"/>
                <a:gd name="T30" fmla="*/ 382 w 862"/>
                <a:gd name="T31" fmla="*/ 143 h 304"/>
                <a:gd name="T32" fmla="*/ 415 w 862"/>
                <a:gd name="T33" fmla="*/ 152 h 304"/>
                <a:gd name="T34" fmla="*/ 454 w 862"/>
                <a:gd name="T35" fmla="*/ 146 h 304"/>
                <a:gd name="T36" fmla="*/ 476 w 862"/>
                <a:gd name="T37" fmla="*/ 147 h 304"/>
                <a:gd name="T38" fmla="*/ 518 w 862"/>
                <a:gd name="T39" fmla="*/ 139 h 304"/>
                <a:gd name="T40" fmla="*/ 583 w 862"/>
                <a:gd name="T41" fmla="*/ 136 h 304"/>
                <a:gd name="T42" fmla="*/ 627 w 862"/>
                <a:gd name="T43" fmla="*/ 147 h 304"/>
                <a:gd name="T44" fmla="*/ 699 w 862"/>
                <a:gd name="T45" fmla="*/ 150 h 304"/>
                <a:gd name="T46" fmla="*/ 792 w 862"/>
                <a:gd name="T47" fmla="*/ 150 h 304"/>
                <a:gd name="T48" fmla="*/ 819 w 862"/>
                <a:gd name="T49" fmla="*/ 130 h 304"/>
                <a:gd name="T50" fmla="*/ 851 w 862"/>
                <a:gd name="T51" fmla="*/ 97 h 304"/>
                <a:gd name="T52" fmla="*/ 859 w 862"/>
                <a:gd name="T53" fmla="*/ 56 h 304"/>
                <a:gd name="T54" fmla="*/ 818 w 862"/>
                <a:gd name="T55" fmla="*/ 26 h 304"/>
                <a:gd name="T56" fmla="*/ 775 w 862"/>
                <a:gd name="T57" fmla="*/ 29 h 304"/>
                <a:gd name="T58" fmla="*/ 739 w 862"/>
                <a:gd name="T59" fmla="*/ 50 h 304"/>
                <a:gd name="T60" fmla="*/ 705 w 862"/>
                <a:gd name="T61" fmla="*/ 57 h 304"/>
                <a:gd name="T62" fmla="*/ 677 w 862"/>
                <a:gd name="T63" fmla="*/ 66 h 304"/>
                <a:gd name="T64" fmla="*/ 647 w 862"/>
                <a:gd name="T65" fmla="*/ 60 h 304"/>
                <a:gd name="T66" fmla="*/ 614 w 862"/>
                <a:gd name="T67" fmla="*/ 49 h 304"/>
                <a:gd name="T68" fmla="*/ 580 w 862"/>
                <a:gd name="T69" fmla="*/ 41 h 304"/>
                <a:gd name="T70" fmla="*/ 567 w 862"/>
                <a:gd name="T71" fmla="*/ 14 h 304"/>
                <a:gd name="T72" fmla="*/ 534 w 862"/>
                <a:gd name="T73" fmla="*/ 6 h 304"/>
                <a:gd name="T74" fmla="*/ 520 w 862"/>
                <a:gd name="T75" fmla="*/ 26 h 304"/>
                <a:gd name="T76" fmla="*/ 517 w 862"/>
                <a:gd name="T77" fmla="*/ 13 h 304"/>
                <a:gd name="T78" fmla="*/ 473 w 862"/>
                <a:gd name="T79" fmla="*/ 16 h 304"/>
                <a:gd name="T80" fmla="*/ 434 w 862"/>
                <a:gd name="T81" fmla="*/ 6 h 304"/>
                <a:gd name="T82" fmla="*/ 377 w 862"/>
                <a:gd name="T83" fmla="*/ 11 h 304"/>
                <a:gd name="T84" fmla="*/ 348 w 862"/>
                <a:gd name="T85" fmla="*/ 33 h 304"/>
                <a:gd name="T86" fmla="*/ 324 w 862"/>
                <a:gd name="T87" fmla="*/ 24 h 304"/>
                <a:gd name="T88" fmla="*/ 275 w 862"/>
                <a:gd name="T89" fmla="*/ 50 h 304"/>
                <a:gd name="T90" fmla="*/ 268 w 862"/>
                <a:gd name="T91" fmla="*/ 29 h 304"/>
                <a:gd name="T92" fmla="*/ 246 w 862"/>
                <a:gd name="T93" fmla="*/ 40 h 304"/>
                <a:gd name="T94" fmla="*/ 252 w 862"/>
                <a:gd name="T95" fmla="*/ 62 h 304"/>
                <a:gd name="T96" fmla="*/ 225 w 862"/>
                <a:gd name="T97" fmla="*/ 79 h 304"/>
                <a:gd name="T98" fmla="*/ 236 w 862"/>
                <a:gd name="T99" fmla="*/ 110 h 304"/>
                <a:gd name="T100" fmla="*/ 196 w 862"/>
                <a:gd name="T101" fmla="*/ 83 h 304"/>
                <a:gd name="T102" fmla="*/ 195 w 862"/>
                <a:gd name="T103" fmla="*/ 113 h 304"/>
                <a:gd name="T104" fmla="*/ 206 w 862"/>
                <a:gd name="T105" fmla="*/ 135 h 304"/>
                <a:gd name="T106" fmla="*/ 156 w 862"/>
                <a:gd name="T107" fmla="*/ 116 h 304"/>
                <a:gd name="T108" fmla="*/ 143 w 862"/>
                <a:gd name="T109" fmla="*/ 123 h 304"/>
                <a:gd name="T110" fmla="*/ 145 w 862"/>
                <a:gd name="T111" fmla="*/ 155 h 304"/>
                <a:gd name="T112" fmla="*/ 126 w 862"/>
                <a:gd name="T113" fmla="*/ 132 h 304"/>
                <a:gd name="T114" fmla="*/ 59 w 862"/>
                <a:gd name="T115" fmla="*/ 143 h 304"/>
                <a:gd name="T116" fmla="*/ 30 w 862"/>
                <a:gd name="T117" fmla="*/ 172 h 304"/>
                <a:gd name="T118" fmla="*/ 87 w 862"/>
                <a:gd name="T119" fmla="*/ 195 h 304"/>
                <a:gd name="T120" fmla="*/ 19 w 862"/>
                <a:gd name="T121" fmla="*/ 20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2" h="304">
                  <a:moveTo>
                    <a:pt x="4" y="203"/>
                  </a:moveTo>
                  <a:lnTo>
                    <a:pt x="1" y="205"/>
                  </a:lnTo>
                  <a:lnTo>
                    <a:pt x="0" y="208"/>
                  </a:lnTo>
                  <a:lnTo>
                    <a:pt x="1" y="210"/>
                  </a:lnTo>
                  <a:lnTo>
                    <a:pt x="1" y="213"/>
                  </a:lnTo>
                  <a:lnTo>
                    <a:pt x="4" y="218"/>
                  </a:lnTo>
                  <a:lnTo>
                    <a:pt x="6" y="219"/>
                  </a:lnTo>
                  <a:lnTo>
                    <a:pt x="9" y="219"/>
                  </a:lnTo>
                  <a:lnTo>
                    <a:pt x="13" y="218"/>
                  </a:lnTo>
                  <a:lnTo>
                    <a:pt x="16" y="216"/>
                  </a:lnTo>
                  <a:lnTo>
                    <a:pt x="19" y="218"/>
                  </a:lnTo>
                  <a:lnTo>
                    <a:pt x="23" y="218"/>
                  </a:lnTo>
                  <a:lnTo>
                    <a:pt x="26" y="219"/>
                  </a:lnTo>
                  <a:lnTo>
                    <a:pt x="29" y="219"/>
                  </a:lnTo>
                  <a:lnTo>
                    <a:pt x="33" y="219"/>
                  </a:lnTo>
                  <a:lnTo>
                    <a:pt x="37" y="220"/>
                  </a:lnTo>
                  <a:lnTo>
                    <a:pt x="40" y="220"/>
                  </a:lnTo>
                  <a:lnTo>
                    <a:pt x="43" y="223"/>
                  </a:lnTo>
                  <a:lnTo>
                    <a:pt x="46" y="226"/>
                  </a:lnTo>
                  <a:lnTo>
                    <a:pt x="47" y="231"/>
                  </a:lnTo>
                  <a:lnTo>
                    <a:pt x="49" y="235"/>
                  </a:lnTo>
                  <a:lnTo>
                    <a:pt x="50" y="242"/>
                  </a:lnTo>
                  <a:lnTo>
                    <a:pt x="49" y="248"/>
                  </a:lnTo>
                  <a:lnTo>
                    <a:pt x="50" y="252"/>
                  </a:lnTo>
                  <a:lnTo>
                    <a:pt x="53" y="253"/>
                  </a:lnTo>
                  <a:lnTo>
                    <a:pt x="59" y="258"/>
                  </a:lnTo>
                  <a:lnTo>
                    <a:pt x="63" y="262"/>
                  </a:lnTo>
                  <a:lnTo>
                    <a:pt x="66" y="266"/>
                  </a:lnTo>
                  <a:lnTo>
                    <a:pt x="66" y="269"/>
                  </a:lnTo>
                  <a:lnTo>
                    <a:pt x="66" y="273"/>
                  </a:lnTo>
                  <a:lnTo>
                    <a:pt x="66" y="273"/>
                  </a:lnTo>
                  <a:lnTo>
                    <a:pt x="69" y="273"/>
                  </a:lnTo>
                  <a:lnTo>
                    <a:pt x="72" y="269"/>
                  </a:lnTo>
                  <a:lnTo>
                    <a:pt x="76" y="263"/>
                  </a:lnTo>
                  <a:lnTo>
                    <a:pt x="77" y="261"/>
                  </a:lnTo>
                  <a:lnTo>
                    <a:pt x="79" y="258"/>
                  </a:lnTo>
                  <a:lnTo>
                    <a:pt x="79" y="255"/>
                  </a:lnTo>
                  <a:lnTo>
                    <a:pt x="80" y="253"/>
                  </a:lnTo>
                  <a:lnTo>
                    <a:pt x="82" y="255"/>
                  </a:lnTo>
                  <a:lnTo>
                    <a:pt x="82" y="259"/>
                  </a:lnTo>
                  <a:lnTo>
                    <a:pt x="79" y="263"/>
                  </a:lnTo>
                  <a:lnTo>
                    <a:pt x="76" y="268"/>
                  </a:lnTo>
                  <a:lnTo>
                    <a:pt x="73" y="272"/>
                  </a:lnTo>
                  <a:lnTo>
                    <a:pt x="70" y="278"/>
                  </a:lnTo>
                  <a:lnTo>
                    <a:pt x="72" y="281"/>
                  </a:lnTo>
                  <a:lnTo>
                    <a:pt x="73" y="283"/>
                  </a:lnTo>
                  <a:lnTo>
                    <a:pt x="76" y="286"/>
                  </a:lnTo>
                  <a:lnTo>
                    <a:pt x="80" y="289"/>
                  </a:lnTo>
                  <a:lnTo>
                    <a:pt x="85" y="299"/>
                  </a:lnTo>
                  <a:lnTo>
                    <a:pt x="86" y="304"/>
                  </a:lnTo>
                  <a:lnTo>
                    <a:pt x="93" y="302"/>
                  </a:lnTo>
                  <a:lnTo>
                    <a:pt x="95" y="299"/>
                  </a:lnTo>
                  <a:lnTo>
                    <a:pt x="96" y="299"/>
                  </a:lnTo>
                  <a:lnTo>
                    <a:pt x="99" y="298"/>
                  </a:lnTo>
                  <a:lnTo>
                    <a:pt x="100" y="294"/>
                  </a:lnTo>
                  <a:lnTo>
                    <a:pt x="102" y="292"/>
                  </a:lnTo>
                  <a:lnTo>
                    <a:pt x="103" y="295"/>
                  </a:lnTo>
                  <a:lnTo>
                    <a:pt x="103" y="299"/>
                  </a:lnTo>
                  <a:lnTo>
                    <a:pt x="103" y="301"/>
                  </a:lnTo>
                  <a:lnTo>
                    <a:pt x="107" y="299"/>
                  </a:lnTo>
                  <a:lnTo>
                    <a:pt x="115" y="298"/>
                  </a:lnTo>
                  <a:lnTo>
                    <a:pt x="122" y="292"/>
                  </a:lnTo>
                  <a:lnTo>
                    <a:pt x="129" y="289"/>
                  </a:lnTo>
                  <a:lnTo>
                    <a:pt x="133" y="286"/>
                  </a:lnTo>
                  <a:lnTo>
                    <a:pt x="135" y="282"/>
                  </a:lnTo>
                  <a:lnTo>
                    <a:pt x="135" y="273"/>
                  </a:lnTo>
                  <a:lnTo>
                    <a:pt x="135" y="269"/>
                  </a:lnTo>
                  <a:lnTo>
                    <a:pt x="133" y="263"/>
                  </a:lnTo>
                  <a:lnTo>
                    <a:pt x="130" y="261"/>
                  </a:lnTo>
                  <a:lnTo>
                    <a:pt x="130" y="258"/>
                  </a:lnTo>
                  <a:lnTo>
                    <a:pt x="130" y="256"/>
                  </a:lnTo>
                  <a:lnTo>
                    <a:pt x="133" y="256"/>
                  </a:lnTo>
                  <a:lnTo>
                    <a:pt x="133" y="255"/>
                  </a:lnTo>
                  <a:lnTo>
                    <a:pt x="133" y="251"/>
                  </a:lnTo>
                  <a:lnTo>
                    <a:pt x="135" y="245"/>
                  </a:lnTo>
                  <a:lnTo>
                    <a:pt x="133" y="241"/>
                  </a:lnTo>
                  <a:lnTo>
                    <a:pt x="135" y="238"/>
                  </a:lnTo>
                  <a:lnTo>
                    <a:pt x="136" y="239"/>
                  </a:lnTo>
                  <a:lnTo>
                    <a:pt x="138" y="245"/>
                  </a:lnTo>
                  <a:lnTo>
                    <a:pt x="136" y="258"/>
                  </a:lnTo>
                  <a:lnTo>
                    <a:pt x="136" y="265"/>
                  </a:lnTo>
                  <a:lnTo>
                    <a:pt x="139" y="272"/>
                  </a:lnTo>
                  <a:lnTo>
                    <a:pt x="142" y="276"/>
                  </a:lnTo>
                  <a:lnTo>
                    <a:pt x="148" y="276"/>
                  </a:lnTo>
                  <a:lnTo>
                    <a:pt x="150" y="276"/>
                  </a:lnTo>
                  <a:lnTo>
                    <a:pt x="156" y="278"/>
                  </a:lnTo>
                  <a:lnTo>
                    <a:pt x="163" y="279"/>
                  </a:lnTo>
                  <a:lnTo>
                    <a:pt x="166" y="276"/>
                  </a:lnTo>
                  <a:lnTo>
                    <a:pt x="168" y="269"/>
                  </a:lnTo>
                  <a:lnTo>
                    <a:pt x="169" y="262"/>
                  </a:lnTo>
                  <a:lnTo>
                    <a:pt x="172" y="258"/>
                  </a:lnTo>
                  <a:lnTo>
                    <a:pt x="173" y="253"/>
                  </a:lnTo>
                  <a:lnTo>
                    <a:pt x="172" y="249"/>
                  </a:lnTo>
                  <a:lnTo>
                    <a:pt x="169" y="239"/>
                  </a:lnTo>
                  <a:lnTo>
                    <a:pt x="163" y="232"/>
                  </a:lnTo>
                  <a:lnTo>
                    <a:pt x="156" y="223"/>
                  </a:lnTo>
                  <a:lnTo>
                    <a:pt x="153" y="219"/>
                  </a:lnTo>
                  <a:lnTo>
                    <a:pt x="152" y="216"/>
                  </a:lnTo>
                  <a:lnTo>
                    <a:pt x="152" y="215"/>
                  </a:lnTo>
                  <a:lnTo>
                    <a:pt x="153" y="215"/>
                  </a:lnTo>
                  <a:lnTo>
                    <a:pt x="155" y="216"/>
                  </a:lnTo>
                  <a:lnTo>
                    <a:pt x="160" y="223"/>
                  </a:lnTo>
                  <a:lnTo>
                    <a:pt x="168" y="231"/>
                  </a:lnTo>
                  <a:lnTo>
                    <a:pt x="176" y="241"/>
                  </a:lnTo>
                  <a:lnTo>
                    <a:pt x="178" y="246"/>
                  </a:lnTo>
                  <a:lnTo>
                    <a:pt x="178" y="252"/>
                  </a:lnTo>
                  <a:lnTo>
                    <a:pt x="176" y="259"/>
                  </a:lnTo>
                  <a:lnTo>
                    <a:pt x="175" y="263"/>
                  </a:lnTo>
                  <a:lnTo>
                    <a:pt x="175" y="266"/>
                  </a:lnTo>
                  <a:lnTo>
                    <a:pt x="179" y="266"/>
                  </a:lnTo>
                  <a:lnTo>
                    <a:pt x="183" y="265"/>
                  </a:lnTo>
                  <a:lnTo>
                    <a:pt x="188" y="263"/>
                  </a:lnTo>
                  <a:lnTo>
                    <a:pt x="191" y="262"/>
                  </a:lnTo>
                  <a:lnTo>
                    <a:pt x="192" y="259"/>
                  </a:lnTo>
                  <a:lnTo>
                    <a:pt x="192" y="255"/>
                  </a:lnTo>
                  <a:lnTo>
                    <a:pt x="193" y="253"/>
                  </a:lnTo>
                  <a:lnTo>
                    <a:pt x="198" y="251"/>
                  </a:lnTo>
                  <a:lnTo>
                    <a:pt x="199" y="248"/>
                  </a:lnTo>
                  <a:lnTo>
                    <a:pt x="202" y="246"/>
                  </a:lnTo>
                  <a:lnTo>
                    <a:pt x="205" y="242"/>
                  </a:lnTo>
                  <a:lnTo>
                    <a:pt x="206" y="220"/>
                  </a:lnTo>
                  <a:lnTo>
                    <a:pt x="209" y="212"/>
                  </a:lnTo>
                  <a:lnTo>
                    <a:pt x="212" y="209"/>
                  </a:lnTo>
                  <a:lnTo>
                    <a:pt x="213" y="202"/>
                  </a:lnTo>
                  <a:lnTo>
                    <a:pt x="215" y="198"/>
                  </a:lnTo>
                  <a:lnTo>
                    <a:pt x="218" y="198"/>
                  </a:lnTo>
                  <a:lnTo>
                    <a:pt x="216" y="202"/>
                  </a:lnTo>
                  <a:lnTo>
                    <a:pt x="213" y="212"/>
                  </a:lnTo>
                  <a:lnTo>
                    <a:pt x="212" y="223"/>
                  </a:lnTo>
                  <a:lnTo>
                    <a:pt x="212" y="231"/>
                  </a:lnTo>
                  <a:lnTo>
                    <a:pt x="216" y="235"/>
                  </a:lnTo>
                  <a:lnTo>
                    <a:pt x="218" y="239"/>
                  </a:lnTo>
                  <a:lnTo>
                    <a:pt x="218" y="242"/>
                  </a:lnTo>
                  <a:lnTo>
                    <a:pt x="218" y="242"/>
                  </a:lnTo>
                  <a:lnTo>
                    <a:pt x="221" y="241"/>
                  </a:lnTo>
                  <a:lnTo>
                    <a:pt x="222" y="241"/>
                  </a:lnTo>
                  <a:lnTo>
                    <a:pt x="225" y="242"/>
                  </a:lnTo>
                  <a:lnTo>
                    <a:pt x="228" y="241"/>
                  </a:lnTo>
                  <a:lnTo>
                    <a:pt x="229" y="238"/>
                  </a:lnTo>
                  <a:lnTo>
                    <a:pt x="229" y="236"/>
                  </a:lnTo>
                  <a:lnTo>
                    <a:pt x="226" y="236"/>
                  </a:lnTo>
                  <a:lnTo>
                    <a:pt x="226" y="233"/>
                  </a:lnTo>
                  <a:lnTo>
                    <a:pt x="228" y="232"/>
                  </a:lnTo>
                  <a:lnTo>
                    <a:pt x="232" y="231"/>
                  </a:lnTo>
                  <a:lnTo>
                    <a:pt x="235" y="226"/>
                  </a:lnTo>
                  <a:lnTo>
                    <a:pt x="235" y="223"/>
                  </a:lnTo>
                  <a:lnTo>
                    <a:pt x="236" y="223"/>
                  </a:lnTo>
                  <a:lnTo>
                    <a:pt x="238" y="225"/>
                  </a:lnTo>
                  <a:lnTo>
                    <a:pt x="239" y="226"/>
                  </a:lnTo>
                  <a:lnTo>
                    <a:pt x="242" y="228"/>
                  </a:lnTo>
                  <a:lnTo>
                    <a:pt x="244" y="231"/>
                  </a:lnTo>
                  <a:lnTo>
                    <a:pt x="245" y="232"/>
                  </a:lnTo>
                  <a:lnTo>
                    <a:pt x="246" y="233"/>
                  </a:lnTo>
                  <a:lnTo>
                    <a:pt x="248" y="233"/>
                  </a:lnTo>
                  <a:lnTo>
                    <a:pt x="249" y="232"/>
                  </a:lnTo>
                  <a:lnTo>
                    <a:pt x="248" y="229"/>
                  </a:lnTo>
                  <a:lnTo>
                    <a:pt x="245" y="226"/>
                  </a:lnTo>
                  <a:lnTo>
                    <a:pt x="244" y="225"/>
                  </a:lnTo>
                  <a:lnTo>
                    <a:pt x="242" y="223"/>
                  </a:lnTo>
                  <a:lnTo>
                    <a:pt x="242" y="220"/>
                  </a:lnTo>
                  <a:lnTo>
                    <a:pt x="244" y="219"/>
                  </a:lnTo>
                  <a:lnTo>
                    <a:pt x="246" y="219"/>
                  </a:lnTo>
                  <a:lnTo>
                    <a:pt x="246" y="223"/>
                  </a:lnTo>
                  <a:lnTo>
                    <a:pt x="249" y="228"/>
                  </a:lnTo>
                  <a:lnTo>
                    <a:pt x="252" y="229"/>
                  </a:lnTo>
                  <a:lnTo>
                    <a:pt x="255" y="228"/>
                  </a:lnTo>
                  <a:lnTo>
                    <a:pt x="258" y="223"/>
                  </a:lnTo>
                  <a:lnTo>
                    <a:pt x="256" y="220"/>
                  </a:lnTo>
                  <a:lnTo>
                    <a:pt x="258" y="219"/>
                  </a:lnTo>
                  <a:lnTo>
                    <a:pt x="259" y="219"/>
                  </a:lnTo>
                  <a:lnTo>
                    <a:pt x="259" y="219"/>
                  </a:lnTo>
                  <a:lnTo>
                    <a:pt x="261" y="222"/>
                  </a:lnTo>
                  <a:lnTo>
                    <a:pt x="262" y="223"/>
                  </a:lnTo>
                  <a:lnTo>
                    <a:pt x="265" y="223"/>
                  </a:lnTo>
                  <a:lnTo>
                    <a:pt x="266" y="223"/>
                  </a:lnTo>
                  <a:lnTo>
                    <a:pt x="268" y="219"/>
                  </a:lnTo>
                  <a:lnTo>
                    <a:pt x="269" y="212"/>
                  </a:lnTo>
                  <a:lnTo>
                    <a:pt x="274" y="206"/>
                  </a:lnTo>
                  <a:lnTo>
                    <a:pt x="279" y="199"/>
                  </a:lnTo>
                  <a:lnTo>
                    <a:pt x="281" y="196"/>
                  </a:lnTo>
                  <a:lnTo>
                    <a:pt x="282" y="189"/>
                  </a:lnTo>
                  <a:lnTo>
                    <a:pt x="282" y="185"/>
                  </a:lnTo>
                  <a:lnTo>
                    <a:pt x="282" y="179"/>
                  </a:lnTo>
                  <a:lnTo>
                    <a:pt x="281" y="176"/>
                  </a:lnTo>
                  <a:lnTo>
                    <a:pt x="279" y="173"/>
                  </a:lnTo>
                  <a:lnTo>
                    <a:pt x="278" y="169"/>
                  </a:lnTo>
                  <a:lnTo>
                    <a:pt x="279" y="167"/>
                  </a:lnTo>
                  <a:lnTo>
                    <a:pt x="281" y="169"/>
                  </a:lnTo>
                  <a:lnTo>
                    <a:pt x="281" y="172"/>
                  </a:lnTo>
                  <a:lnTo>
                    <a:pt x="284" y="176"/>
                  </a:lnTo>
                  <a:lnTo>
                    <a:pt x="285" y="179"/>
                  </a:lnTo>
                  <a:lnTo>
                    <a:pt x="289" y="183"/>
                  </a:lnTo>
                  <a:lnTo>
                    <a:pt x="291" y="189"/>
                  </a:lnTo>
                  <a:lnTo>
                    <a:pt x="291" y="196"/>
                  </a:lnTo>
                  <a:lnTo>
                    <a:pt x="297" y="205"/>
                  </a:lnTo>
                  <a:lnTo>
                    <a:pt x="299" y="206"/>
                  </a:lnTo>
                  <a:lnTo>
                    <a:pt x="301" y="206"/>
                  </a:lnTo>
                  <a:lnTo>
                    <a:pt x="301" y="205"/>
                  </a:lnTo>
                  <a:lnTo>
                    <a:pt x="304" y="199"/>
                  </a:lnTo>
                  <a:lnTo>
                    <a:pt x="305" y="198"/>
                  </a:lnTo>
                  <a:lnTo>
                    <a:pt x="309" y="195"/>
                  </a:lnTo>
                  <a:lnTo>
                    <a:pt x="315" y="190"/>
                  </a:lnTo>
                  <a:lnTo>
                    <a:pt x="318" y="185"/>
                  </a:lnTo>
                  <a:lnTo>
                    <a:pt x="318" y="180"/>
                  </a:lnTo>
                  <a:lnTo>
                    <a:pt x="317" y="179"/>
                  </a:lnTo>
                  <a:lnTo>
                    <a:pt x="318" y="178"/>
                  </a:lnTo>
                  <a:lnTo>
                    <a:pt x="319" y="178"/>
                  </a:lnTo>
                  <a:lnTo>
                    <a:pt x="319" y="182"/>
                  </a:lnTo>
                  <a:lnTo>
                    <a:pt x="322" y="183"/>
                  </a:lnTo>
                  <a:lnTo>
                    <a:pt x="325" y="182"/>
                  </a:lnTo>
                  <a:lnTo>
                    <a:pt x="324" y="179"/>
                  </a:lnTo>
                  <a:lnTo>
                    <a:pt x="325" y="176"/>
                  </a:lnTo>
                  <a:lnTo>
                    <a:pt x="325" y="172"/>
                  </a:lnTo>
                  <a:lnTo>
                    <a:pt x="327" y="167"/>
                  </a:lnTo>
                  <a:lnTo>
                    <a:pt x="325" y="165"/>
                  </a:lnTo>
                  <a:lnTo>
                    <a:pt x="327" y="165"/>
                  </a:lnTo>
                  <a:lnTo>
                    <a:pt x="328" y="165"/>
                  </a:lnTo>
                  <a:lnTo>
                    <a:pt x="328" y="169"/>
                  </a:lnTo>
                  <a:lnTo>
                    <a:pt x="329" y="175"/>
                  </a:lnTo>
                  <a:lnTo>
                    <a:pt x="331" y="178"/>
                  </a:lnTo>
                  <a:lnTo>
                    <a:pt x="329" y="183"/>
                  </a:lnTo>
                  <a:lnTo>
                    <a:pt x="329" y="188"/>
                  </a:lnTo>
                  <a:lnTo>
                    <a:pt x="331" y="192"/>
                  </a:lnTo>
                  <a:lnTo>
                    <a:pt x="331" y="198"/>
                  </a:lnTo>
                  <a:lnTo>
                    <a:pt x="334" y="202"/>
                  </a:lnTo>
                  <a:lnTo>
                    <a:pt x="338" y="203"/>
                  </a:lnTo>
                  <a:lnTo>
                    <a:pt x="344" y="202"/>
                  </a:lnTo>
                  <a:lnTo>
                    <a:pt x="347" y="199"/>
                  </a:lnTo>
                  <a:lnTo>
                    <a:pt x="348" y="195"/>
                  </a:lnTo>
                  <a:lnTo>
                    <a:pt x="348" y="190"/>
                  </a:lnTo>
                  <a:lnTo>
                    <a:pt x="348" y="185"/>
                  </a:lnTo>
                  <a:lnTo>
                    <a:pt x="347" y="183"/>
                  </a:lnTo>
                  <a:lnTo>
                    <a:pt x="345" y="179"/>
                  </a:lnTo>
                  <a:lnTo>
                    <a:pt x="345" y="175"/>
                  </a:lnTo>
                  <a:lnTo>
                    <a:pt x="347" y="172"/>
                  </a:lnTo>
                  <a:lnTo>
                    <a:pt x="347" y="169"/>
                  </a:lnTo>
                  <a:lnTo>
                    <a:pt x="348" y="169"/>
                  </a:lnTo>
                  <a:lnTo>
                    <a:pt x="349" y="169"/>
                  </a:lnTo>
                  <a:lnTo>
                    <a:pt x="349" y="172"/>
                  </a:lnTo>
                  <a:lnTo>
                    <a:pt x="349" y="176"/>
                  </a:lnTo>
                  <a:lnTo>
                    <a:pt x="349" y="179"/>
                  </a:lnTo>
                  <a:lnTo>
                    <a:pt x="351" y="180"/>
                  </a:lnTo>
                  <a:lnTo>
                    <a:pt x="354" y="183"/>
                  </a:lnTo>
                  <a:lnTo>
                    <a:pt x="355" y="186"/>
                  </a:lnTo>
                  <a:lnTo>
                    <a:pt x="360" y="188"/>
                  </a:lnTo>
                  <a:lnTo>
                    <a:pt x="364" y="189"/>
                  </a:lnTo>
                  <a:lnTo>
                    <a:pt x="370" y="190"/>
                  </a:lnTo>
                  <a:lnTo>
                    <a:pt x="375" y="190"/>
                  </a:lnTo>
                  <a:lnTo>
                    <a:pt x="378" y="189"/>
                  </a:lnTo>
                  <a:lnTo>
                    <a:pt x="378" y="186"/>
                  </a:lnTo>
                  <a:lnTo>
                    <a:pt x="378" y="183"/>
                  </a:lnTo>
                  <a:lnTo>
                    <a:pt x="378" y="180"/>
                  </a:lnTo>
                  <a:lnTo>
                    <a:pt x="378" y="178"/>
                  </a:lnTo>
                  <a:lnTo>
                    <a:pt x="380" y="176"/>
                  </a:lnTo>
                  <a:lnTo>
                    <a:pt x="381" y="176"/>
                  </a:lnTo>
                  <a:lnTo>
                    <a:pt x="384" y="176"/>
                  </a:lnTo>
                  <a:lnTo>
                    <a:pt x="387" y="178"/>
                  </a:lnTo>
                  <a:lnTo>
                    <a:pt x="388" y="180"/>
                  </a:lnTo>
                  <a:lnTo>
                    <a:pt x="392" y="180"/>
                  </a:lnTo>
                  <a:lnTo>
                    <a:pt x="397" y="180"/>
                  </a:lnTo>
                  <a:lnTo>
                    <a:pt x="401" y="178"/>
                  </a:lnTo>
                  <a:lnTo>
                    <a:pt x="404" y="175"/>
                  </a:lnTo>
                  <a:lnTo>
                    <a:pt x="404" y="172"/>
                  </a:lnTo>
                  <a:lnTo>
                    <a:pt x="402" y="169"/>
                  </a:lnTo>
                  <a:lnTo>
                    <a:pt x="400" y="169"/>
                  </a:lnTo>
                  <a:lnTo>
                    <a:pt x="394" y="162"/>
                  </a:lnTo>
                  <a:lnTo>
                    <a:pt x="391" y="160"/>
                  </a:lnTo>
                  <a:lnTo>
                    <a:pt x="388" y="157"/>
                  </a:lnTo>
                  <a:lnTo>
                    <a:pt x="385" y="155"/>
                  </a:lnTo>
                  <a:lnTo>
                    <a:pt x="384" y="152"/>
                  </a:lnTo>
                  <a:lnTo>
                    <a:pt x="382" y="149"/>
                  </a:lnTo>
                  <a:lnTo>
                    <a:pt x="382" y="143"/>
                  </a:lnTo>
                  <a:lnTo>
                    <a:pt x="382" y="137"/>
                  </a:lnTo>
                  <a:lnTo>
                    <a:pt x="382" y="135"/>
                  </a:lnTo>
                  <a:lnTo>
                    <a:pt x="385" y="135"/>
                  </a:lnTo>
                  <a:lnTo>
                    <a:pt x="385" y="136"/>
                  </a:lnTo>
                  <a:lnTo>
                    <a:pt x="385" y="137"/>
                  </a:lnTo>
                  <a:lnTo>
                    <a:pt x="385" y="146"/>
                  </a:lnTo>
                  <a:lnTo>
                    <a:pt x="388" y="152"/>
                  </a:lnTo>
                  <a:lnTo>
                    <a:pt x="390" y="156"/>
                  </a:lnTo>
                  <a:lnTo>
                    <a:pt x="394" y="157"/>
                  </a:lnTo>
                  <a:lnTo>
                    <a:pt x="397" y="159"/>
                  </a:lnTo>
                  <a:lnTo>
                    <a:pt x="402" y="159"/>
                  </a:lnTo>
                  <a:lnTo>
                    <a:pt x="407" y="157"/>
                  </a:lnTo>
                  <a:lnTo>
                    <a:pt x="408" y="155"/>
                  </a:lnTo>
                  <a:lnTo>
                    <a:pt x="410" y="152"/>
                  </a:lnTo>
                  <a:lnTo>
                    <a:pt x="413" y="150"/>
                  </a:lnTo>
                  <a:lnTo>
                    <a:pt x="415" y="150"/>
                  </a:lnTo>
                  <a:lnTo>
                    <a:pt x="415" y="152"/>
                  </a:lnTo>
                  <a:lnTo>
                    <a:pt x="415" y="152"/>
                  </a:lnTo>
                  <a:lnTo>
                    <a:pt x="413" y="156"/>
                  </a:lnTo>
                  <a:lnTo>
                    <a:pt x="411" y="159"/>
                  </a:lnTo>
                  <a:lnTo>
                    <a:pt x="413" y="162"/>
                  </a:lnTo>
                  <a:lnTo>
                    <a:pt x="413" y="163"/>
                  </a:lnTo>
                  <a:lnTo>
                    <a:pt x="414" y="163"/>
                  </a:lnTo>
                  <a:lnTo>
                    <a:pt x="417" y="165"/>
                  </a:lnTo>
                  <a:lnTo>
                    <a:pt x="420" y="162"/>
                  </a:lnTo>
                  <a:lnTo>
                    <a:pt x="423" y="159"/>
                  </a:lnTo>
                  <a:lnTo>
                    <a:pt x="424" y="156"/>
                  </a:lnTo>
                  <a:lnTo>
                    <a:pt x="425" y="153"/>
                  </a:lnTo>
                  <a:lnTo>
                    <a:pt x="427" y="152"/>
                  </a:lnTo>
                  <a:lnTo>
                    <a:pt x="430" y="150"/>
                  </a:lnTo>
                  <a:lnTo>
                    <a:pt x="434" y="150"/>
                  </a:lnTo>
                  <a:lnTo>
                    <a:pt x="444" y="150"/>
                  </a:lnTo>
                  <a:lnTo>
                    <a:pt x="448" y="150"/>
                  </a:lnTo>
                  <a:lnTo>
                    <a:pt x="454" y="146"/>
                  </a:lnTo>
                  <a:lnTo>
                    <a:pt x="458" y="142"/>
                  </a:lnTo>
                  <a:lnTo>
                    <a:pt x="461" y="139"/>
                  </a:lnTo>
                  <a:lnTo>
                    <a:pt x="463" y="139"/>
                  </a:lnTo>
                  <a:lnTo>
                    <a:pt x="464" y="137"/>
                  </a:lnTo>
                  <a:lnTo>
                    <a:pt x="466" y="139"/>
                  </a:lnTo>
                  <a:lnTo>
                    <a:pt x="466" y="140"/>
                  </a:lnTo>
                  <a:lnTo>
                    <a:pt x="461" y="143"/>
                  </a:lnTo>
                  <a:lnTo>
                    <a:pt x="458" y="149"/>
                  </a:lnTo>
                  <a:lnTo>
                    <a:pt x="457" y="153"/>
                  </a:lnTo>
                  <a:lnTo>
                    <a:pt x="458" y="156"/>
                  </a:lnTo>
                  <a:lnTo>
                    <a:pt x="461" y="156"/>
                  </a:lnTo>
                  <a:lnTo>
                    <a:pt x="464" y="155"/>
                  </a:lnTo>
                  <a:lnTo>
                    <a:pt x="467" y="152"/>
                  </a:lnTo>
                  <a:lnTo>
                    <a:pt x="468" y="150"/>
                  </a:lnTo>
                  <a:lnTo>
                    <a:pt x="471" y="150"/>
                  </a:lnTo>
                  <a:lnTo>
                    <a:pt x="476" y="149"/>
                  </a:lnTo>
                  <a:lnTo>
                    <a:pt x="476" y="147"/>
                  </a:lnTo>
                  <a:lnTo>
                    <a:pt x="477" y="143"/>
                  </a:lnTo>
                  <a:lnTo>
                    <a:pt x="478" y="142"/>
                  </a:lnTo>
                  <a:lnTo>
                    <a:pt x="481" y="140"/>
                  </a:lnTo>
                  <a:lnTo>
                    <a:pt x="483" y="139"/>
                  </a:lnTo>
                  <a:lnTo>
                    <a:pt x="484" y="140"/>
                  </a:lnTo>
                  <a:lnTo>
                    <a:pt x="484" y="143"/>
                  </a:lnTo>
                  <a:lnTo>
                    <a:pt x="488" y="143"/>
                  </a:lnTo>
                  <a:lnTo>
                    <a:pt x="491" y="142"/>
                  </a:lnTo>
                  <a:lnTo>
                    <a:pt x="497" y="137"/>
                  </a:lnTo>
                  <a:lnTo>
                    <a:pt x="500" y="136"/>
                  </a:lnTo>
                  <a:lnTo>
                    <a:pt x="503" y="137"/>
                  </a:lnTo>
                  <a:lnTo>
                    <a:pt x="506" y="140"/>
                  </a:lnTo>
                  <a:lnTo>
                    <a:pt x="507" y="143"/>
                  </a:lnTo>
                  <a:lnTo>
                    <a:pt x="508" y="143"/>
                  </a:lnTo>
                  <a:lnTo>
                    <a:pt x="511" y="143"/>
                  </a:lnTo>
                  <a:lnTo>
                    <a:pt x="514" y="140"/>
                  </a:lnTo>
                  <a:lnTo>
                    <a:pt x="518" y="139"/>
                  </a:lnTo>
                  <a:lnTo>
                    <a:pt x="524" y="140"/>
                  </a:lnTo>
                  <a:lnTo>
                    <a:pt x="534" y="140"/>
                  </a:lnTo>
                  <a:lnTo>
                    <a:pt x="543" y="142"/>
                  </a:lnTo>
                  <a:lnTo>
                    <a:pt x="547" y="142"/>
                  </a:lnTo>
                  <a:lnTo>
                    <a:pt x="551" y="143"/>
                  </a:lnTo>
                  <a:lnTo>
                    <a:pt x="553" y="146"/>
                  </a:lnTo>
                  <a:lnTo>
                    <a:pt x="557" y="146"/>
                  </a:lnTo>
                  <a:lnTo>
                    <a:pt x="563" y="146"/>
                  </a:lnTo>
                  <a:lnTo>
                    <a:pt x="570" y="145"/>
                  </a:lnTo>
                  <a:lnTo>
                    <a:pt x="574" y="143"/>
                  </a:lnTo>
                  <a:lnTo>
                    <a:pt x="577" y="140"/>
                  </a:lnTo>
                  <a:lnTo>
                    <a:pt x="579" y="140"/>
                  </a:lnTo>
                  <a:lnTo>
                    <a:pt x="580" y="137"/>
                  </a:lnTo>
                  <a:lnTo>
                    <a:pt x="580" y="135"/>
                  </a:lnTo>
                  <a:lnTo>
                    <a:pt x="580" y="135"/>
                  </a:lnTo>
                  <a:lnTo>
                    <a:pt x="582" y="135"/>
                  </a:lnTo>
                  <a:lnTo>
                    <a:pt x="583" y="136"/>
                  </a:lnTo>
                  <a:lnTo>
                    <a:pt x="582" y="140"/>
                  </a:lnTo>
                  <a:lnTo>
                    <a:pt x="583" y="143"/>
                  </a:lnTo>
                  <a:lnTo>
                    <a:pt x="582" y="146"/>
                  </a:lnTo>
                  <a:lnTo>
                    <a:pt x="577" y="149"/>
                  </a:lnTo>
                  <a:lnTo>
                    <a:pt x="577" y="152"/>
                  </a:lnTo>
                  <a:lnTo>
                    <a:pt x="579" y="152"/>
                  </a:lnTo>
                  <a:lnTo>
                    <a:pt x="582" y="150"/>
                  </a:lnTo>
                  <a:lnTo>
                    <a:pt x="584" y="147"/>
                  </a:lnTo>
                  <a:lnTo>
                    <a:pt x="586" y="146"/>
                  </a:lnTo>
                  <a:lnTo>
                    <a:pt x="592" y="147"/>
                  </a:lnTo>
                  <a:lnTo>
                    <a:pt x="596" y="147"/>
                  </a:lnTo>
                  <a:lnTo>
                    <a:pt x="599" y="146"/>
                  </a:lnTo>
                  <a:lnTo>
                    <a:pt x="606" y="147"/>
                  </a:lnTo>
                  <a:lnTo>
                    <a:pt x="612" y="149"/>
                  </a:lnTo>
                  <a:lnTo>
                    <a:pt x="617" y="149"/>
                  </a:lnTo>
                  <a:lnTo>
                    <a:pt x="622" y="147"/>
                  </a:lnTo>
                  <a:lnTo>
                    <a:pt x="627" y="147"/>
                  </a:lnTo>
                  <a:lnTo>
                    <a:pt x="630" y="149"/>
                  </a:lnTo>
                  <a:lnTo>
                    <a:pt x="636" y="150"/>
                  </a:lnTo>
                  <a:lnTo>
                    <a:pt x="640" y="152"/>
                  </a:lnTo>
                  <a:lnTo>
                    <a:pt x="645" y="150"/>
                  </a:lnTo>
                  <a:lnTo>
                    <a:pt x="652" y="149"/>
                  </a:lnTo>
                  <a:lnTo>
                    <a:pt x="655" y="149"/>
                  </a:lnTo>
                  <a:lnTo>
                    <a:pt x="659" y="150"/>
                  </a:lnTo>
                  <a:lnTo>
                    <a:pt x="666" y="153"/>
                  </a:lnTo>
                  <a:lnTo>
                    <a:pt x="675" y="152"/>
                  </a:lnTo>
                  <a:lnTo>
                    <a:pt x="677" y="152"/>
                  </a:lnTo>
                  <a:lnTo>
                    <a:pt x="680" y="152"/>
                  </a:lnTo>
                  <a:lnTo>
                    <a:pt x="687" y="155"/>
                  </a:lnTo>
                  <a:lnTo>
                    <a:pt x="692" y="155"/>
                  </a:lnTo>
                  <a:lnTo>
                    <a:pt x="695" y="155"/>
                  </a:lnTo>
                  <a:lnTo>
                    <a:pt x="698" y="152"/>
                  </a:lnTo>
                  <a:lnTo>
                    <a:pt x="698" y="150"/>
                  </a:lnTo>
                  <a:lnTo>
                    <a:pt x="699" y="150"/>
                  </a:lnTo>
                  <a:lnTo>
                    <a:pt x="700" y="152"/>
                  </a:lnTo>
                  <a:lnTo>
                    <a:pt x="703" y="153"/>
                  </a:lnTo>
                  <a:lnTo>
                    <a:pt x="706" y="153"/>
                  </a:lnTo>
                  <a:lnTo>
                    <a:pt x="716" y="153"/>
                  </a:lnTo>
                  <a:lnTo>
                    <a:pt x="722" y="153"/>
                  </a:lnTo>
                  <a:lnTo>
                    <a:pt x="735" y="155"/>
                  </a:lnTo>
                  <a:lnTo>
                    <a:pt x="740" y="155"/>
                  </a:lnTo>
                  <a:lnTo>
                    <a:pt x="745" y="155"/>
                  </a:lnTo>
                  <a:lnTo>
                    <a:pt x="749" y="152"/>
                  </a:lnTo>
                  <a:lnTo>
                    <a:pt x="758" y="150"/>
                  </a:lnTo>
                  <a:lnTo>
                    <a:pt x="771" y="147"/>
                  </a:lnTo>
                  <a:lnTo>
                    <a:pt x="776" y="147"/>
                  </a:lnTo>
                  <a:lnTo>
                    <a:pt x="781" y="147"/>
                  </a:lnTo>
                  <a:lnTo>
                    <a:pt x="786" y="147"/>
                  </a:lnTo>
                  <a:lnTo>
                    <a:pt x="789" y="147"/>
                  </a:lnTo>
                  <a:lnTo>
                    <a:pt x="792" y="149"/>
                  </a:lnTo>
                  <a:lnTo>
                    <a:pt x="792" y="150"/>
                  </a:lnTo>
                  <a:lnTo>
                    <a:pt x="793" y="152"/>
                  </a:lnTo>
                  <a:lnTo>
                    <a:pt x="796" y="152"/>
                  </a:lnTo>
                  <a:lnTo>
                    <a:pt x="796" y="150"/>
                  </a:lnTo>
                  <a:lnTo>
                    <a:pt x="795" y="147"/>
                  </a:lnTo>
                  <a:lnTo>
                    <a:pt x="795" y="145"/>
                  </a:lnTo>
                  <a:lnTo>
                    <a:pt x="795" y="143"/>
                  </a:lnTo>
                  <a:lnTo>
                    <a:pt x="795" y="142"/>
                  </a:lnTo>
                  <a:lnTo>
                    <a:pt x="798" y="142"/>
                  </a:lnTo>
                  <a:lnTo>
                    <a:pt x="801" y="140"/>
                  </a:lnTo>
                  <a:lnTo>
                    <a:pt x="801" y="139"/>
                  </a:lnTo>
                  <a:lnTo>
                    <a:pt x="802" y="137"/>
                  </a:lnTo>
                  <a:lnTo>
                    <a:pt x="805" y="139"/>
                  </a:lnTo>
                  <a:lnTo>
                    <a:pt x="808" y="137"/>
                  </a:lnTo>
                  <a:lnTo>
                    <a:pt x="809" y="136"/>
                  </a:lnTo>
                  <a:lnTo>
                    <a:pt x="811" y="132"/>
                  </a:lnTo>
                  <a:lnTo>
                    <a:pt x="814" y="132"/>
                  </a:lnTo>
                  <a:lnTo>
                    <a:pt x="819" y="130"/>
                  </a:lnTo>
                  <a:lnTo>
                    <a:pt x="824" y="129"/>
                  </a:lnTo>
                  <a:lnTo>
                    <a:pt x="825" y="126"/>
                  </a:lnTo>
                  <a:lnTo>
                    <a:pt x="828" y="123"/>
                  </a:lnTo>
                  <a:lnTo>
                    <a:pt x="832" y="122"/>
                  </a:lnTo>
                  <a:lnTo>
                    <a:pt x="834" y="119"/>
                  </a:lnTo>
                  <a:lnTo>
                    <a:pt x="836" y="119"/>
                  </a:lnTo>
                  <a:lnTo>
                    <a:pt x="839" y="119"/>
                  </a:lnTo>
                  <a:lnTo>
                    <a:pt x="841" y="120"/>
                  </a:lnTo>
                  <a:lnTo>
                    <a:pt x="842" y="117"/>
                  </a:lnTo>
                  <a:lnTo>
                    <a:pt x="842" y="116"/>
                  </a:lnTo>
                  <a:lnTo>
                    <a:pt x="841" y="116"/>
                  </a:lnTo>
                  <a:lnTo>
                    <a:pt x="839" y="114"/>
                  </a:lnTo>
                  <a:lnTo>
                    <a:pt x="838" y="113"/>
                  </a:lnTo>
                  <a:lnTo>
                    <a:pt x="838" y="109"/>
                  </a:lnTo>
                  <a:lnTo>
                    <a:pt x="842" y="104"/>
                  </a:lnTo>
                  <a:lnTo>
                    <a:pt x="846" y="100"/>
                  </a:lnTo>
                  <a:lnTo>
                    <a:pt x="851" y="97"/>
                  </a:lnTo>
                  <a:lnTo>
                    <a:pt x="854" y="96"/>
                  </a:lnTo>
                  <a:lnTo>
                    <a:pt x="856" y="94"/>
                  </a:lnTo>
                  <a:lnTo>
                    <a:pt x="856" y="93"/>
                  </a:lnTo>
                  <a:lnTo>
                    <a:pt x="856" y="90"/>
                  </a:lnTo>
                  <a:lnTo>
                    <a:pt x="856" y="87"/>
                  </a:lnTo>
                  <a:lnTo>
                    <a:pt x="858" y="84"/>
                  </a:lnTo>
                  <a:lnTo>
                    <a:pt x="859" y="83"/>
                  </a:lnTo>
                  <a:lnTo>
                    <a:pt x="859" y="80"/>
                  </a:lnTo>
                  <a:lnTo>
                    <a:pt x="859" y="79"/>
                  </a:lnTo>
                  <a:lnTo>
                    <a:pt x="858" y="77"/>
                  </a:lnTo>
                  <a:lnTo>
                    <a:pt x="856" y="74"/>
                  </a:lnTo>
                  <a:lnTo>
                    <a:pt x="856" y="72"/>
                  </a:lnTo>
                  <a:lnTo>
                    <a:pt x="858" y="69"/>
                  </a:lnTo>
                  <a:lnTo>
                    <a:pt x="861" y="66"/>
                  </a:lnTo>
                  <a:lnTo>
                    <a:pt x="862" y="63"/>
                  </a:lnTo>
                  <a:lnTo>
                    <a:pt x="859" y="60"/>
                  </a:lnTo>
                  <a:lnTo>
                    <a:pt x="859" y="56"/>
                  </a:lnTo>
                  <a:lnTo>
                    <a:pt x="858" y="53"/>
                  </a:lnTo>
                  <a:lnTo>
                    <a:pt x="858" y="51"/>
                  </a:lnTo>
                  <a:lnTo>
                    <a:pt x="858" y="49"/>
                  </a:lnTo>
                  <a:lnTo>
                    <a:pt x="858" y="46"/>
                  </a:lnTo>
                  <a:lnTo>
                    <a:pt x="855" y="43"/>
                  </a:lnTo>
                  <a:lnTo>
                    <a:pt x="854" y="41"/>
                  </a:lnTo>
                  <a:lnTo>
                    <a:pt x="852" y="40"/>
                  </a:lnTo>
                  <a:lnTo>
                    <a:pt x="849" y="39"/>
                  </a:lnTo>
                  <a:lnTo>
                    <a:pt x="849" y="37"/>
                  </a:lnTo>
                  <a:lnTo>
                    <a:pt x="848" y="33"/>
                  </a:lnTo>
                  <a:lnTo>
                    <a:pt x="846" y="30"/>
                  </a:lnTo>
                  <a:lnTo>
                    <a:pt x="842" y="30"/>
                  </a:lnTo>
                  <a:lnTo>
                    <a:pt x="835" y="29"/>
                  </a:lnTo>
                  <a:lnTo>
                    <a:pt x="829" y="26"/>
                  </a:lnTo>
                  <a:lnTo>
                    <a:pt x="825" y="24"/>
                  </a:lnTo>
                  <a:lnTo>
                    <a:pt x="822" y="24"/>
                  </a:lnTo>
                  <a:lnTo>
                    <a:pt x="818" y="26"/>
                  </a:lnTo>
                  <a:lnTo>
                    <a:pt x="814" y="27"/>
                  </a:lnTo>
                  <a:lnTo>
                    <a:pt x="809" y="26"/>
                  </a:lnTo>
                  <a:lnTo>
                    <a:pt x="806" y="23"/>
                  </a:lnTo>
                  <a:lnTo>
                    <a:pt x="805" y="21"/>
                  </a:lnTo>
                  <a:lnTo>
                    <a:pt x="802" y="23"/>
                  </a:lnTo>
                  <a:lnTo>
                    <a:pt x="801" y="24"/>
                  </a:lnTo>
                  <a:lnTo>
                    <a:pt x="799" y="27"/>
                  </a:lnTo>
                  <a:lnTo>
                    <a:pt x="796" y="27"/>
                  </a:lnTo>
                  <a:lnTo>
                    <a:pt x="793" y="26"/>
                  </a:lnTo>
                  <a:lnTo>
                    <a:pt x="792" y="26"/>
                  </a:lnTo>
                  <a:lnTo>
                    <a:pt x="786" y="26"/>
                  </a:lnTo>
                  <a:lnTo>
                    <a:pt x="785" y="27"/>
                  </a:lnTo>
                  <a:lnTo>
                    <a:pt x="785" y="29"/>
                  </a:lnTo>
                  <a:lnTo>
                    <a:pt x="783" y="30"/>
                  </a:lnTo>
                  <a:lnTo>
                    <a:pt x="781" y="29"/>
                  </a:lnTo>
                  <a:lnTo>
                    <a:pt x="778" y="29"/>
                  </a:lnTo>
                  <a:lnTo>
                    <a:pt x="775" y="29"/>
                  </a:lnTo>
                  <a:lnTo>
                    <a:pt x="772" y="30"/>
                  </a:lnTo>
                  <a:lnTo>
                    <a:pt x="771" y="31"/>
                  </a:lnTo>
                  <a:lnTo>
                    <a:pt x="769" y="33"/>
                  </a:lnTo>
                  <a:lnTo>
                    <a:pt x="766" y="33"/>
                  </a:lnTo>
                  <a:lnTo>
                    <a:pt x="762" y="31"/>
                  </a:lnTo>
                  <a:lnTo>
                    <a:pt x="761" y="33"/>
                  </a:lnTo>
                  <a:lnTo>
                    <a:pt x="758" y="34"/>
                  </a:lnTo>
                  <a:lnTo>
                    <a:pt x="755" y="34"/>
                  </a:lnTo>
                  <a:lnTo>
                    <a:pt x="753" y="34"/>
                  </a:lnTo>
                  <a:lnTo>
                    <a:pt x="751" y="33"/>
                  </a:lnTo>
                  <a:lnTo>
                    <a:pt x="748" y="34"/>
                  </a:lnTo>
                  <a:lnTo>
                    <a:pt x="746" y="36"/>
                  </a:lnTo>
                  <a:lnTo>
                    <a:pt x="743" y="37"/>
                  </a:lnTo>
                  <a:lnTo>
                    <a:pt x="742" y="39"/>
                  </a:lnTo>
                  <a:lnTo>
                    <a:pt x="739" y="41"/>
                  </a:lnTo>
                  <a:lnTo>
                    <a:pt x="739" y="46"/>
                  </a:lnTo>
                  <a:lnTo>
                    <a:pt x="739" y="50"/>
                  </a:lnTo>
                  <a:lnTo>
                    <a:pt x="739" y="53"/>
                  </a:lnTo>
                  <a:lnTo>
                    <a:pt x="738" y="56"/>
                  </a:lnTo>
                  <a:lnTo>
                    <a:pt x="736" y="59"/>
                  </a:lnTo>
                  <a:lnTo>
                    <a:pt x="736" y="62"/>
                  </a:lnTo>
                  <a:lnTo>
                    <a:pt x="735" y="66"/>
                  </a:lnTo>
                  <a:lnTo>
                    <a:pt x="733" y="67"/>
                  </a:lnTo>
                  <a:lnTo>
                    <a:pt x="730" y="64"/>
                  </a:lnTo>
                  <a:lnTo>
                    <a:pt x="729" y="62"/>
                  </a:lnTo>
                  <a:lnTo>
                    <a:pt x="725" y="56"/>
                  </a:lnTo>
                  <a:lnTo>
                    <a:pt x="723" y="51"/>
                  </a:lnTo>
                  <a:lnTo>
                    <a:pt x="722" y="50"/>
                  </a:lnTo>
                  <a:lnTo>
                    <a:pt x="718" y="50"/>
                  </a:lnTo>
                  <a:lnTo>
                    <a:pt x="715" y="53"/>
                  </a:lnTo>
                  <a:lnTo>
                    <a:pt x="713" y="56"/>
                  </a:lnTo>
                  <a:lnTo>
                    <a:pt x="710" y="56"/>
                  </a:lnTo>
                  <a:lnTo>
                    <a:pt x="708" y="56"/>
                  </a:lnTo>
                  <a:lnTo>
                    <a:pt x="705" y="57"/>
                  </a:lnTo>
                  <a:lnTo>
                    <a:pt x="702" y="59"/>
                  </a:lnTo>
                  <a:lnTo>
                    <a:pt x="699" y="59"/>
                  </a:lnTo>
                  <a:lnTo>
                    <a:pt x="699" y="54"/>
                  </a:lnTo>
                  <a:lnTo>
                    <a:pt x="698" y="53"/>
                  </a:lnTo>
                  <a:lnTo>
                    <a:pt x="695" y="51"/>
                  </a:lnTo>
                  <a:lnTo>
                    <a:pt x="690" y="51"/>
                  </a:lnTo>
                  <a:lnTo>
                    <a:pt x="687" y="53"/>
                  </a:lnTo>
                  <a:lnTo>
                    <a:pt x="687" y="54"/>
                  </a:lnTo>
                  <a:lnTo>
                    <a:pt x="686" y="56"/>
                  </a:lnTo>
                  <a:lnTo>
                    <a:pt x="682" y="56"/>
                  </a:lnTo>
                  <a:lnTo>
                    <a:pt x="679" y="54"/>
                  </a:lnTo>
                  <a:lnTo>
                    <a:pt x="676" y="56"/>
                  </a:lnTo>
                  <a:lnTo>
                    <a:pt x="676" y="57"/>
                  </a:lnTo>
                  <a:lnTo>
                    <a:pt x="676" y="60"/>
                  </a:lnTo>
                  <a:lnTo>
                    <a:pt x="677" y="63"/>
                  </a:lnTo>
                  <a:lnTo>
                    <a:pt x="679" y="64"/>
                  </a:lnTo>
                  <a:lnTo>
                    <a:pt x="677" y="66"/>
                  </a:lnTo>
                  <a:lnTo>
                    <a:pt x="676" y="67"/>
                  </a:lnTo>
                  <a:lnTo>
                    <a:pt x="676" y="64"/>
                  </a:lnTo>
                  <a:lnTo>
                    <a:pt x="675" y="63"/>
                  </a:lnTo>
                  <a:lnTo>
                    <a:pt x="673" y="62"/>
                  </a:lnTo>
                  <a:lnTo>
                    <a:pt x="672" y="59"/>
                  </a:lnTo>
                  <a:lnTo>
                    <a:pt x="672" y="56"/>
                  </a:lnTo>
                  <a:lnTo>
                    <a:pt x="672" y="56"/>
                  </a:lnTo>
                  <a:lnTo>
                    <a:pt x="670" y="56"/>
                  </a:lnTo>
                  <a:lnTo>
                    <a:pt x="669" y="59"/>
                  </a:lnTo>
                  <a:lnTo>
                    <a:pt x="667" y="59"/>
                  </a:lnTo>
                  <a:lnTo>
                    <a:pt x="665" y="59"/>
                  </a:lnTo>
                  <a:lnTo>
                    <a:pt x="662" y="57"/>
                  </a:lnTo>
                  <a:lnTo>
                    <a:pt x="659" y="57"/>
                  </a:lnTo>
                  <a:lnTo>
                    <a:pt x="655" y="57"/>
                  </a:lnTo>
                  <a:lnTo>
                    <a:pt x="653" y="60"/>
                  </a:lnTo>
                  <a:lnTo>
                    <a:pt x="649" y="60"/>
                  </a:lnTo>
                  <a:lnTo>
                    <a:pt x="647" y="60"/>
                  </a:lnTo>
                  <a:lnTo>
                    <a:pt x="646" y="60"/>
                  </a:lnTo>
                  <a:lnTo>
                    <a:pt x="647" y="56"/>
                  </a:lnTo>
                  <a:lnTo>
                    <a:pt x="649" y="51"/>
                  </a:lnTo>
                  <a:lnTo>
                    <a:pt x="649" y="47"/>
                  </a:lnTo>
                  <a:lnTo>
                    <a:pt x="647" y="47"/>
                  </a:lnTo>
                  <a:lnTo>
                    <a:pt x="646" y="49"/>
                  </a:lnTo>
                  <a:lnTo>
                    <a:pt x="642" y="49"/>
                  </a:lnTo>
                  <a:lnTo>
                    <a:pt x="639" y="49"/>
                  </a:lnTo>
                  <a:lnTo>
                    <a:pt x="637" y="49"/>
                  </a:lnTo>
                  <a:lnTo>
                    <a:pt x="633" y="47"/>
                  </a:lnTo>
                  <a:lnTo>
                    <a:pt x="632" y="49"/>
                  </a:lnTo>
                  <a:lnTo>
                    <a:pt x="630" y="50"/>
                  </a:lnTo>
                  <a:lnTo>
                    <a:pt x="629" y="51"/>
                  </a:lnTo>
                  <a:lnTo>
                    <a:pt x="626" y="51"/>
                  </a:lnTo>
                  <a:lnTo>
                    <a:pt x="623" y="50"/>
                  </a:lnTo>
                  <a:lnTo>
                    <a:pt x="620" y="50"/>
                  </a:lnTo>
                  <a:lnTo>
                    <a:pt x="614" y="49"/>
                  </a:lnTo>
                  <a:lnTo>
                    <a:pt x="610" y="50"/>
                  </a:lnTo>
                  <a:lnTo>
                    <a:pt x="603" y="50"/>
                  </a:lnTo>
                  <a:lnTo>
                    <a:pt x="602" y="49"/>
                  </a:lnTo>
                  <a:lnTo>
                    <a:pt x="602" y="46"/>
                  </a:lnTo>
                  <a:lnTo>
                    <a:pt x="603" y="43"/>
                  </a:lnTo>
                  <a:lnTo>
                    <a:pt x="603" y="40"/>
                  </a:lnTo>
                  <a:lnTo>
                    <a:pt x="604" y="37"/>
                  </a:lnTo>
                  <a:lnTo>
                    <a:pt x="603" y="36"/>
                  </a:lnTo>
                  <a:lnTo>
                    <a:pt x="600" y="36"/>
                  </a:lnTo>
                  <a:lnTo>
                    <a:pt x="599" y="37"/>
                  </a:lnTo>
                  <a:lnTo>
                    <a:pt x="596" y="40"/>
                  </a:lnTo>
                  <a:lnTo>
                    <a:pt x="592" y="43"/>
                  </a:lnTo>
                  <a:lnTo>
                    <a:pt x="589" y="44"/>
                  </a:lnTo>
                  <a:lnTo>
                    <a:pt x="586" y="44"/>
                  </a:lnTo>
                  <a:lnTo>
                    <a:pt x="582" y="44"/>
                  </a:lnTo>
                  <a:lnTo>
                    <a:pt x="580" y="43"/>
                  </a:lnTo>
                  <a:lnTo>
                    <a:pt x="580" y="41"/>
                  </a:lnTo>
                  <a:lnTo>
                    <a:pt x="582" y="39"/>
                  </a:lnTo>
                  <a:lnTo>
                    <a:pt x="583" y="37"/>
                  </a:lnTo>
                  <a:lnTo>
                    <a:pt x="587" y="34"/>
                  </a:lnTo>
                  <a:lnTo>
                    <a:pt x="589" y="33"/>
                  </a:lnTo>
                  <a:lnTo>
                    <a:pt x="589" y="30"/>
                  </a:lnTo>
                  <a:lnTo>
                    <a:pt x="589" y="29"/>
                  </a:lnTo>
                  <a:lnTo>
                    <a:pt x="587" y="29"/>
                  </a:lnTo>
                  <a:lnTo>
                    <a:pt x="582" y="27"/>
                  </a:lnTo>
                  <a:lnTo>
                    <a:pt x="577" y="24"/>
                  </a:lnTo>
                  <a:lnTo>
                    <a:pt x="576" y="23"/>
                  </a:lnTo>
                  <a:lnTo>
                    <a:pt x="573" y="20"/>
                  </a:lnTo>
                  <a:lnTo>
                    <a:pt x="574" y="17"/>
                  </a:lnTo>
                  <a:lnTo>
                    <a:pt x="574" y="16"/>
                  </a:lnTo>
                  <a:lnTo>
                    <a:pt x="574" y="14"/>
                  </a:lnTo>
                  <a:lnTo>
                    <a:pt x="571" y="14"/>
                  </a:lnTo>
                  <a:lnTo>
                    <a:pt x="570" y="14"/>
                  </a:lnTo>
                  <a:lnTo>
                    <a:pt x="567" y="14"/>
                  </a:lnTo>
                  <a:lnTo>
                    <a:pt x="567" y="14"/>
                  </a:lnTo>
                  <a:lnTo>
                    <a:pt x="566" y="13"/>
                  </a:lnTo>
                  <a:lnTo>
                    <a:pt x="566" y="10"/>
                  </a:lnTo>
                  <a:lnTo>
                    <a:pt x="564" y="7"/>
                  </a:lnTo>
                  <a:lnTo>
                    <a:pt x="561" y="7"/>
                  </a:lnTo>
                  <a:lnTo>
                    <a:pt x="559" y="6"/>
                  </a:lnTo>
                  <a:lnTo>
                    <a:pt x="556" y="3"/>
                  </a:lnTo>
                  <a:lnTo>
                    <a:pt x="554" y="3"/>
                  </a:lnTo>
                  <a:lnTo>
                    <a:pt x="550" y="3"/>
                  </a:lnTo>
                  <a:lnTo>
                    <a:pt x="549" y="1"/>
                  </a:lnTo>
                  <a:lnTo>
                    <a:pt x="547" y="0"/>
                  </a:lnTo>
                  <a:lnTo>
                    <a:pt x="544" y="0"/>
                  </a:lnTo>
                  <a:lnTo>
                    <a:pt x="543" y="0"/>
                  </a:lnTo>
                  <a:lnTo>
                    <a:pt x="539" y="1"/>
                  </a:lnTo>
                  <a:lnTo>
                    <a:pt x="537" y="1"/>
                  </a:lnTo>
                  <a:lnTo>
                    <a:pt x="536" y="3"/>
                  </a:lnTo>
                  <a:lnTo>
                    <a:pt x="534" y="6"/>
                  </a:lnTo>
                  <a:lnTo>
                    <a:pt x="534" y="7"/>
                  </a:lnTo>
                  <a:lnTo>
                    <a:pt x="531" y="9"/>
                  </a:lnTo>
                  <a:lnTo>
                    <a:pt x="530" y="10"/>
                  </a:lnTo>
                  <a:lnTo>
                    <a:pt x="527" y="11"/>
                  </a:lnTo>
                  <a:lnTo>
                    <a:pt x="526" y="13"/>
                  </a:lnTo>
                  <a:lnTo>
                    <a:pt x="526" y="14"/>
                  </a:lnTo>
                  <a:lnTo>
                    <a:pt x="529" y="17"/>
                  </a:lnTo>
                  <a:lnTo>
                    <a:pt x="533" y="20"/>
                  </a:lnTo>
                  <a:lnTo>
                    <a:pt x="533" y="21"/>
                  </a:lnTo>
                  <a:lnTo>
                    <a:pt x="530" y="24"/>
                  </a:lnTo>
                  <a:lnTo>
                    <a:pt x="529" y="24"/>
                  </a:lnTo>
                  <a:lnTo>
                    <a:pt x="529" y="27"/>
                  </a:lnTo>
                  <a:lnTo>
                    <a:pt x="527" y="29"/>
                  </a:lnTo>
                  <a:lnTo>
                    <a:pt x="527" y="30"/>
                  </a:lnTo>
                  <a:lnTo>
                    <a:pt x="524" y="30"/>
                  </a:lnTo>
                  <a:lnTo>
                    <a:pt x="523" y="27"/>
                  </a:lnTo>
                  <a:lnTo>
                    <a:pt x="520" y="26"/>
                  </a:lnTo>
                  <a:lnTo>
                    <a:pt x="516" y="26"/>
                  </a:lnTo>
                  <a:lnTo>
                    <a:pt x="513" y="26"/>
                  </a:lnTo>
                  <a:lnTo>
                    <a:pt x="508" y="27"/>
                  </a:lnTo>
                  <a:lnTo>
                    <a:pt x="504" y="29"/>
                  </a:lnTo>
                  <a:lnTo>
                    <a:pt x="501" y="29"/>
                  </a:lnTo>
                  <a:lnTo>
                    <a:pt x="500" y="26"/>
                  </a:lnTo>
                  <a:lnTo>
                    <a:pt x="500" y="23"/>
                  </a:lnTo>
                  <a:lnTo>
                    <a:pt x="501" y="21"/>
                  </a:lnTo>
                  <a:lnTo>
                    <a:pt x="504" y="19"/>
                  </a:lnTo>
                  <a:lnTo>
                    <a:pt x="508" y="17"/>
                  </a:lnTo>
                  <a:lnTo>
                    <a:pt x="511" y="17"/>
                  </a:lnTo>
                  <a:lnTo>
                    <a:pt x="514" y="17"/>
                  </a:lnTo>
                  <a:lnTo>
                    <a:pt x="517" y="17"/>
                  </a:lnTo>
                  <a:lnTo>
                    <a:pt x="518" y="17"/>
                  </a:lnTo>
                  <a:lnTo>
                    <a:pt x="518" y="14"/>
                  </a:lnTo>
                  <a:lnTo>
                    <a:pt x="518" y="14"/>
                  </a:lnTo>
                  <a:lnTo>
                    <a:pt x="517" y="13"/>
                  </a:lnTo>
                  <a:lnTo>
                    <a:pt x="514" y="10"/>
                  </a:lnTo>
                  <a:lnTo>
                    <a:pt x="513" y="9"/>
                  </a:lnTo>
                  <a:lnTo>
                    <a:pt x="508" y="7"/>
                  </a:lnTo>
                  <a:lnTo>
                    <a:pt x="503" y="7"/>
                  </a:lnTo>
                  <a:lnTo>
                    <a:pt x="493" y="6"/>
                  </a:lnTo>
                  <a:lnTo>
                    <a:pt x="490" y="7"/>
                  </a:lnTo>
                  <a:lnTo>
                    <a:pt x="488" y="9"/>
                  </a:lnTo>
                  <a:lnTo>
                    <a:pt x="488" y="10"/>
                  </a:lnTo>
                  <a:lnTo>
                    <a:pt x="491" y="13"/>
                  </a:lnTo>
                  <a:lnTo>
                    <a:pt x="491" y="17"/>
                  </a:lnTo>
                  <a:lnTo>
                    <a:pt x="493" y="20"/>
                  </a:lnTo>
                  <a:lnTo>
                    <a:pt x="491" y="21"/>
                  </a:lnTo>
                  <a:lnTo>
                    <a:pt x="490" y="21"/>
                  </a:lnTo>
                  <a:lnTo>
                    <a:pt x="488" y="20"/>
                  </a:lnTo>
                  <a:lnTo>
                    <a:pt x="483" y="17"/>
                  </a:lnTo>
                  <a:lnTo>
                    <a:pt x="478" y="16"/>
                  </a:lnTo>
                  <a:lnTo>
                    <a:pt x="473" y="16"/>
                  </a:lnTo>
                  <a:lnTo>
                    <a:pt x="466" y="14"/>
                  </a:lnTo>
                  <a:lnTo>
                    <a:pt x="464" y="13"/>
                  </a:lnTo>
                  <a:lnTo>
                    <a:pt x="463" y="10"/>
                  </a:lnTo>
                  <a:lnTo>
                    <a:pt x="460" y="7"/>
                  </a:lnTo>
                  <a:lnTo>
                    <a:pt x="455" y="7"/>
                  </a:lnTo>
                  <a:lnTo>
                    <a:pt x="455" y="7"/>
                  </a:lnTo>
                  <a:lnTo>
                    <a:pt x="453" y="7"/>
                  </a:lnTo>
                  <a:lnTo>
                    <a:pt x="451" y="10"/>
                  </a:lnTo>
                  <a:lnTo>
                    <a:pt x="450" y="11"/>
                  </a:lnTo>
                  <a:lnTo>
                    <a:pt x="447" y="10"/>
                  </a:lnTo>
                  <a:lnTo>
                    <a:pt x="444" y="10"/>
                  </a:lnTo>
                  <a:lnTo>
                    <a:pt x="441" y="10"/>
                  </a:lnTo>
                  <a:lnTo>
                    <a:pt x="438" y="11"/>
                  </a:lnTo>
                  <a:lnTo>
                    <a:pt x="438" y="11"/>
                  </a:lnTo>
                  <a:lnTo>
                    <a:pt x="437" y="10"/>
                  </a:lnTo>
                  <a:lnTo>
                    <a:pt x="437" y="7"/>
                  </a:lnTo>
                  <a:lnTo>
                    <a:pt x="434" y="6"/>
                  </a:lnTo>
                  <a:lnTo>
                    <a:pt x="431" y="4"/>
                  </a:lnTo>
                  <a:lnTo>
                    <a:pt x="427" y="4"/>
                  </a:lnTo>
                  <a:lnTo>
                    <a:pt x="423" y="6"/>
                  </a:lnTo>
                  <a:lnTo>
                    <a:pt x="421" y="9"/>
                  </a:lnTo>
                  <a:lnTo>
                    <a:pt x="418" y="9"/>
                  </a:lnTo>
                  <a:lnTo>
                    <a:pt x="415" y="7"/>
                  </a:lnTo>
                  <a:lnTo>
                    <a:pt x="414" y="9"/>
                  </a:lnTo>
                  <a:lnTo>
                    <a:pt x="411" y="10"/>
                  </a:lnTo>
                  <a:lnTo>
                    <a:pt x="410" y="13"/>
                  </a:lnTo>
                  <a:lnTo>
                    <a:pt x="410" y="14"/>
                  </a:lnTo>
                  <a:lnTo>
                    <a:pt x="405" y="14"/>
                  </a:lnTo>
                  <a:lnTo>
                    <a:pt x="397" y="14"/>
                  </a:lnTo>
                  <a:lnTo>
                    <a:pt x="391" y="13"/>
                  </a:lnTo>
                  <a:lnTo>
                    <a:pt x="382" y="10"/>
                  </a:lnTo>
                  <a:lnTo>
                    <a:pt x="380" y="10"/>
                  </a:lnTo>
                  <a:lnTo>
                    <a:pt x="378" y="11"/>
                  </a:lnTo>
                  <a:lnTo>
                    <a:pt x="377" y="11"/>
                  </a:lnTo>
                  <a:lnTo>
                    <a:pt x="377" y="14"/>
                  </a:lnTo>
                  <a:lnTo>
                    <a:pt x="380" y="17"/>
                  </a:lnTo>
                  <a:lnTo>
                    <a:pt x="381" y="20"/>
                  </a:lnTo>
                  <a:lnTo>
                    <a:pt x="382" y="21"/>
                  </a:lnTo>
                  <a:lnTo>
                    <a:pt x="382" y="23"/>
                  </a:lnTo>
                  <a:lnTo>
                    <a:pt x="382" y="24"/>
                  </a:lnTo>
                  <a:lnTo>
                    <a:pt x="380" y="24"/>
                  </a:lnTo>
                  <a:lnTo>
                    <a:pt x="372" y="23"/>
                  </a:lnTo>
                  <a:lnTo>
                    <a:pt x="365" y="21"/>
                  </a:lnTo>
                  <a:lnTo>
                    <a:pt x="360" y="20"/>
                  </a:lnTo>
                  <a:lnTo>
                    <a:pt x="357" y="20"/>
                  </a:lnTo>
                  <a:lnTo>
                    <a:pt x="354" y="21"/>
                  </a:lnTo>
                  <a:lnTo>
                    <a:pt x="352" y="23"/>
                  </a:lnTo>
                  <a:lnTo>
                    <a:pt x="348" y="26"/>
                  </a:lnTo>
                  <a:lnTo>
                    <a:pt x="348" y="29"/>
                  </a:lnTo>
                  <a:lnTo>
                    <a:pt x="348" y="30"/>
                  </a:lnTo>
                  <a:lnTo>
                    <a:pt x="348" y="33"/>
                  </a:lnTo>
                  <a:lnTo>
                    <a:pt x="348" y="36"/>
                  </a:lnTo>
                  <a:lnTo>
                    <a:pt x="345" y="37"/>
                  </a:lnTo>
                  <a:lnTo>
                    <a:pt x="344" y="41"/>
                  </a:lnTo>
                  <a:lnTo>
                    <a:pt x="344" y="44"/>
                  </a:lnTo>
                  <a:lnTo>
                    <a:pt x="342" y="47"/>
                  </a:lnTo>
                  <a:lnTo>
                    <a:pt x="341" y="49"/>
                  </a:lnTo>
                  <a:lnTo>
                    <a:pt x="339" y="49"/>
                  </a:lnTo>
                  <a:lnTo>
                    <a:pt x="335" y="47"/>
                  </a:lnTo>
                  <a:lnTo>
                    <a:pt x="332" y="46"/>
                  </a:lnTo>
                  <a:lnTo>
                    <a:pt x="332" y="43"/>
                  </a:lnTo>
                  <a:lnTo>
                    <a:pt x="332" y="39"/>
                  </a:lnTo>
                  <a:lnTo>
                    <a:pt x="332" y="36"/>
                  </a:lnTo>
                  <a:lnTo>
                    <a:pt x="332" y="33"/>
                  </a:lnTo>
                  <a:lnTo>
                    <a:pt x="329" y="33"/>
                  </a:lnTo>
                  <a:lnTo>
                    <a:pt x="328" y="31"/>
                  </a:lnTo>
                  <a:lnTo>
                    <a:pt x="327" y="29"/>
                  </a:lnTo>
                  <a:lnTo>
                    <a:pt x="324" y="24"/>
                  </a:lnTo>
                  <a:lnTo>
                    <a:pt x="319" y="21"/>
                  </a:lnTo>
                  <a:lnTo>
                    <a:pt x="317" y="21"/>
                  </a:lnTo>
                  <a:lnTo>
                    <a:pt x="314" y="20"/>
                  </a:lnTo>
                  <a:lnTo>
                    <a:pt x="311" y="21"/>
                  </a:lnTo>
                  <a:lnTo>
                    <a:pt x="305" y="21"/>
                  </a:lnTo>
                  <a:lnTo>
                    <a:pt x="301" y="23"/>
                  </a:lnTo>
                  <a:lnTo>
                    <a:pt x="299" y="26"/>
                  </a:lnTo>
                  <a:lnTo>
                    <a:pt x="301" y="27"/>
                  </a:lnTo>
                  <a:lnTo>
                    <a:pt x="302" y="30"/>
                  </a:lnTo>
                  <a:lnTo>
                    <a:pt x="302" y="34"/>
                  </a:lnTo>
                  <a:lnTo>
                    <a:pt x="301" y="36"/>
                  </a:lnTo>
                  <a:lnTo>
                    <a:pt x="298" y="37"/>
                  </a:lnTo>
                  <a:lnTo>
                    <a:pt x="292" y="40"/>
                  </a:lnTo>
                  <a:lnTo>
                    <a:pt x="285" y="44"/>
                  </a:lnTo>
                  <a:lnTo>
                    <a:pt x="282" y="46"/>
                  </a:lnTo>
                  <a:lnTo>
                    <a:pt x="279" y="47"/>
                  </a:lnTo>
                  <a:lnTo>
                    <a:pt x="275" y="50"/>
                  </a:lnTo>
                  <a:lnTo>
                    <a:pt x="272" y="50"/>
                  </a:lnTo>
                  <a:lnTo>
                    <a:pt x="269" y="50"/>
                  </a:lnTo>
                  <a:lnTo>
                    <a:pt x="269" y="50"/>
                  </a:lnTo>
                  <a:lnTo>
                    <a:pt x="269" y="47"/>
                  </a:lnTo>
                  <a:lnTo>
                    <a:pt x="271" y="46"/>
                  </a:lnTo>
                  <a:lnTo>
                    <a:pt x="272" y="43"/>
                  </a:lnTo>
                  <a:lnTo>
                    <a:pt x="274" y="39"/>
                  </a:lnTo>
                  <a:lnTo>
                    <a:pt x="275" y="36"/>
                  </a:lnTo>
                  <a:lnTo>
                    <a:pt x="275" y="34"/>
                  </a:lnTo>
                  <a:lnTo>
                    <a:pt x="276" y="31"/>
                  </a:lnTo>
                  <a:lnTo>
                    <a:pt x="275" y="31"/>
                  </a:lnTo>
                  <a:lnTo>
                    <a:pt x="272" y="31"/>
                  </a:lnTo>
                  <a:lnTo>
                    <a:pt x="271" y="33"/>
                  </a:lnTo>
                  <a:lnTo>
                    <a:pt x="268" y="33"/>
                  </a:lnTo>
                  <a:lnTo>
                    <a:pt x="266" y="33"/>
                  </a:lnTo>
                  <a:lnTo>
                    <a:pt x="266" y="30"/>
                  </a:lnTo>
                  <a:lnTo>
                    <a:pt x="268" y="29"/>
                  </a:lnTo>
                  <a:lnTo>
                    <a:pt x="271" y="29"/>
                  </a:lnTo>
                  <a:lnTo>
                    <a:pt x="271" y="27"/>
                  </a:lnTo>
                  <a:lnTo>
                    <a:pt x="272" y="23"/>
                  </a:lnTo>
                  <a:lnTo>
                    <a:pt x="271" y="21"/>
                  </a:lnTo>
                  <a:lnTo>
                    <a:pt x="269" y="20"/>
                  </a:lnTo>
                  <a:lnTo>
                    <a:pt x="266" y="20"/>
                  </a:lnTo>
                  <a:lnTo>
                    <a:pt x="262" y="21"/>
                  </a:lnTo>
                  <a:lnTo>
                    <a:pt x="258" y="23"/>
                  </a:lnTo>
                  <a:lnTo>
                    <a:pt x="252" y="24"/>
                  </a:lnTo>
                  <a:lnTo>
                    <a:pt x="249" y="29"/>
                  </a:lnTo>
                  <a:lnTo>
                    <a:pt x="248" y="29"/>
                  </a:lnTo>
                  <a:lnTo>
                    <a:pt x="246" y="31"/>
                  </a:lnTo>
                  <a:lnTo>
                    <a:pt x="249" y="33"/>
                  </a:lnTo>
                  <a:lnTo>
                    <a:pt x="252" y="34"/>
                  </a:lnTo>
                  <a:lnTo>
                    <a:pt x="252" y="37"/>
                  </a:lnTo>
                  <a:lnTo>
                    <a:pt x="251" y="39"/>
                  </a:lnTo>
                  <a:lnTo>
                    <a:pt x="246" y="40"/>
                  </a:lnTo>
                  <a:lnTo>
                    <a:pt x="242" y="41"/>
                  </a:lnTo>
                  <a:lnTo>
                    <a:pt x="241" y="46"/>
                  </a:lnTo>
                  <a:lnTo>
                    <a:pt x="241" y="49"/>
                  </a:lnTo>
                  <a:lnTo>
                    <a:pt x="242" y="51"/>
                  </a:lnTo>
                  <a:lnTo>
                    <a:pt x="245" y="51"/>
                  </a:lnTo>
                  <a:lnTo>
                    <a:pt x="248" y="50"/>
                  </a:lnTo>
                  <a:lnTo>
                    <a:pt x="249" y="51"/>
                  </a:lnTo>
                  <a:lnTo>
                    <a:pt x="252" y="51"/>
                  </a:lnTo>
                  <a:lnTo>
                    <a:pt x="256" y="53"/>
                  </a:lnTo>
                  <a:lnTo>
                    <a:pt x="259" y="54"/>
                  </a:lnTo>
                  <a:lnTo>
                    <a:pt x="264" y="56"/>
                  </a:lnTo>
                  <a:lnTo>
                    <a:pt x="265" y="57"/>
                  </a:lnTo>
                  <a:lnTo>
                    <a:pt x="264" y="59"/>
                  </a:lnTo>
                  <a:lnTo>
                    <a:pt x="261" y="60"/>
                  </a:lnTo>
                  <a:lnTo>
                    <a:pt x="255" y="60"/>
                  </a:lnTo>
                  <a:lnTo>
                    <a:pt x="254" y="60"/>
                  </a:lnTo>
                  <a:lnTo>
                    <a:pt x="252" y="62"/>
                  </a:lnTo>
                  <a:lnTo>
                    <a:pt x="254" y="64"/>
                  </a:lnTo>
                  <a:lnTo>
                    <a:pt x="255" y="67"/>
                  </a:lnTo>
                  <a:lnTo>
                    <a:pt x="256" y="69"/>
                  </a:lnTo>
                  <a:lnTo>
                    <a:pt x="261" y="69"/>
                  </a:lnTo>
                  <a:lnTo>
                    <a:pt x="262" y="72"/>
                  </a:lnTo>
                  <a:lnTo>
                    <a:pt x="259" y="72"/>
                  </a:lnTo>
                  <a:lnTo>
                    <a:pt x="256" y="73"/>
                  </a:lnTo>
                  <a:lnTo>
                    <a:pt x="254" y="73"/>
                  </a:lnTo>
                  <a:lnTo>
                    <a:pt x="249" y="70"/>
                  </a:lnTo>
                  <a:lnTo>
                    <a:pt x="245" y="69"/>
                  </a:lnTo>
                  <a:lnTo>
                    <a:pt x="238" y="67"/>
                  </a:lnTo>
                  <a:lnTo>
                    <a:pt x="232" y="67"/>
                  </a:lnTo>
                  <a:lnTo>
                    <a:pt x="225" y="67"/>
                  </a:lnTo>
                  <a:lnTo>
                    <a:pt x="222" y="70"/>
                  </a:lnTo>
                  <a:lnTo>
                    <a:pt x="221" y="73"/>
                  </a:lnTo>
                  <a:lnTo>
                    <a:pt x="222" y="76"/>
                  </a:lnTo>
                  <a:lnTo>
                    <a:pt x="225" y="79"/>
                  </a:lnTo>
                  <a:lnTo>
                    <a:pt x="231" y="82"/>
                  </a:lnTo>
                  <a:lnTo>
                    <a:pt x="233" y="84"/>
                  </a:lnTo>
                  <a:lnTo>
                    <a:pt x="236" y="87"/>
                  </a:lnTo>
                  <a:lnTo>
                    <a:pt x="239" y="90"/>
                  </a:lnTo>
                  <a:lnTo>
                    <a:pt x="239" y="93"/>
                  </a:lnTo>
                  <a:lnTo>
                    <a:pt x="238" y="93"/>
                  </a:lnTo>
                  <a:lnTo>
                    <a:pt x="235" y="93"/>
                  </a:lnTo>
                  <a:lnTo>
                    <a:pt x="233" y="94"/>
                  </a:lnTo>
                  <a:lnTo>
                    <a:pt x="235" y="97"/>
                  </a:lnTo>
                  <a:lnTo>
                    <a:pt x="235" y="102"/>
                  </a:lnTo>
                  <a:lnTo>
                    <a:pt x="235" y="104"/>
                  </a:lnTo>
                  <a:lnTo>
                    <a:pt x="236" y="107"/>
                  </a:lnTo>
                  <a:lnTo>
                    <a:pt x="241" y="109"/>
                  </a:lnTo>
                  <a:lnTo>
                    <a:pt x="244" y="112"/>
                  </a:lnTo>
                  <a:lnTo>
                    <a:pt x="242" y="113"/>
                  </a:lnTo>
                  <a:lnTo>
                    <a:pt x="239" y="113"/>
                  </a:lnTo>
                  <a:lnTo>
                    <a:pt x="236" y="110"/>
                  </a:lnTo>
                  <a:lnTo>
                    <a:pt x="233" y="106"/>
                  </a:lnTo>
                  <a:lnTo>
                    <a:pt x="232" y="103"/>
                  </a:lnTo>
                  <a:lnTo>
                    <a:pt x="232" y="99"/>
                  </a:lnTo>
                  <a:lnTo>
                    <a:pt x="231" y="96"/>
                  </a:lnTo>
                  <a:lnTo>
                    <a:pt x="228" y="96"/>
                  </a:lnTo>
                  <a:lnTo>
                    <a:pt x="223" y="94"/>
                  </a:lnTo>
                  <a:lnTo>
                    <a:pt x="221" y="93"/>
                  </a:lnTo>
                  <a:lnTo>
                    <a:pt x="213" y="92"/>
                  </a:lnTo>
                  <a:lnTo>
                    <a:pt x="211" y="92"/>
                  </a:lnTo>
                  <a:lnTo>
                    <a:pt x="209" y="92"/>
                  </a:lnTo>
                  <a:lnTo>
                    <a:pt x="208" y="89"/>
                  </a:lnTo>
                  <a:lnTo>
                    <a:pt x="209" y="86"/>
                  </a:lnTo>
                  <a:lnTo>
                    <a:pt x="209" y="84"/>
                  </a:lnTo>
                  <a:lnTo>
                    <a:pt x="206" y="82"/>
                  </a:lnTo>
                  <a:lnTo>
                    <a:pt x="203" y="82"/>
                  </a:lnTo>
                  <a:lnTo>
                    <a:pt x="201" y="82"/>
                  </a:lnTo>
                  <a:lnTo>
                    <a:pt x="196" y="83"/>
                  </a:lnTo>
                  <a:lnTo>
                    <a:pt x="193" y="83"/>
                  </a:lnTo>
                  <a:lnTo>
                    <a:pt x="191" y="83"/>
                  </a:lnTo>
                  <a:lnTo>
                    <a:pt x="189" y="84"/>
                  </a:lnTo>
                  <a:lnTo>
                    <a:pt x="189" y="86"/>
                  </a:lnTo>
                  <a:lnTo>
                    <a:pt x="188" y="87"/>
                  </a:lnTo>
                  <a:lnTo>
                    <a:pt x="185" y="90"/>
                  </a:lnTo>
                  <a:lnTo>
                    <a:pt x="183" y="92"/>
                  </a:lnTo>
                  <a:lnTo>
                    <a:pt x="182" y="94"/>
                  </a:lnTo>
                  <a:lnTo>
                    <a:pt x="183" y="96"/>
                  </a:lnTo>
                  <a:lnTo>
                    <a:pt x="186" y="97"/>
                  </a:lnTo>
                  <a:lnTo>
                    <a:pt x="185" y="100"/>
                  </a:lnTo>
                  <a:lnTo>
                    <a:pt x="183" y="102"/>
                  </a:lnTo>
                  <a:lnTo>
                    <a:pt x="185" y="103"/>
                  </a:lnTo>
                  <a:lnTo>
                    <a:pt x="189" y="104"/>
                  </a:lnTo>
                  <a:lnTo>
                    <a:pt x="192" y="107"/>
                  </a:lnTo>
                  <a:lnTo>
                    <a:pt x="195" y="112"/>
                  </a:lnTo>
                  <a:lnTo>
                    <a:pt x="195" y="113"/>
                  </a:lnTo>
                  <a:lnTo>
                    <a:pt x="192" y="114"/>
                  </a:lnTo>
                  <a:lnTo>
                    <a:pt x="192" y="117"/>
                  </a:lnTo>
                  <a:lnTo>
                    <a:pt x="193" y="119"/>
                  </a:lnTo>
                  <a:lnTo>
                    <a:pt x="196" y="119"/>
                  </a:lnTo>
                  <a:lnTo>
                    <a:pt x="202" y="125"/>
                  </a:lnTo>
                  <a:lnTo>
                    <a:pt x="205" y="129"/>
                  </a:lnTo>
                  <a:lnTo>
                    <a:pt x="209" y="135"/>
                  </a:lnTo>
                  <a:lnTo>
                    <a:pt x="212" y="140"/>
                  </a:lnTo>
                  <a:lnTo>
                    <a:pt x="215" y="146"/>
                  </a:lnTo>
                  <a:lnTo>
                    <a:pt x="216" y="152"/>
                  </a:lnTo>
                  <a:lnTo>
                    <a:pt x="216" y="155"/>
                  </a:lnTo>
                  <a:lnTo>
                    <a:pt x="215" y="156"/>
                  </a:lnTo>
                  <a:lnTo>
                    <a:pt x="213" y="155"/>
                  </a:lnTo>
                  <a:lnTo>
                    <a:pt x="213" y="150"/>
                  </a:lnTo>
                  <a:lnTo>
                    <a:pt x="212" y="146"/>
                  </a:lnTo>
                  <a:lnTo>
                    <a:pt x="209" y="139"/>
                  </a:lnTo>
                  <a:lnTo>
                    <a:pt x="206" y="135"/>
                  </a:lnTo>
                  <a:lnTo>
                    <a:pt x="202" y="126"/>
                  </a:lnTo>
                  <a:lnTo>
                    <a:pt x="199" y="123"/>
                  </a:lnTo>
                  <a:lnTo>
                    <a:pt x="196" y="123"/>
                  </a:lnTo>
                  <a:lnTo>
                    <a:pt x="191" y="120"/>
                  </a:lnTo>
                  <a:lnTo>
                    <a:pt x="188" y="117"/>
                  </a:lnTo>
                  <a:lnTo>
                    <a:pt x="183" y="116"/>
                  </a:lnTo>
                  <a:lnTo>
                    <a:pt x="179" y="114"/>
                  </a:lnTo>
                  <a:lnTo>
                    <a:pt x="176" y="112"/>
                  </a:lnTo>
                  <a:lnTo>
                    <a:pt x="173" y="110"/>
                  </a:lnTo>
                  <a:lnTo>
                    <a:pt x="168" y="110"/>
                  </a:lnTo>
                  <a:lnTo>
                    <a:pt x="165" y="107"/>
                  </a:lnTo>
                  <a:lnTo>
                    <a:pt x="160" y="106"/>
                  </a:lnTo>
                  <a:lnTo>
                    <a:pt x="158" y="106"/>
                  </a:lnTo>
                  <a:lnTo>
                    <a:pt x="156" y="107"/>
                  </a:lnTo>
                  <a:lnTo>
                    <a:pt x="155" y="110"/>
                  </a:lnTo>
                  <a:lnTo>
                    <a:pt x="153" y="113"/>
                  </a:lnTo>
                  <a:lnTo>
                    <a:pt x="156" y="116"/>
                  </a:lnTo>
                  <a:lnTo>
                    <a:pt x="158" y="120"/>
                  </a:lnTo>
                  <a:lnTo>
                    <a:pt x="159" y="125"/>
                  </a:lnTo>
                  <a:lnTo>
                    <a:pt x="162" y="127"/>
                  </a:lnTo>
                  <a:lnTo>
                    <a:pt x="162" y="129"/>
                  </a:lnTo>
                  <a:lnTo>
                    <a:pt x="162" y="132"/>
                  </a:lnTo>
                  <a:lnTo>
                    <a:pt x="162" y="135"/>
                  </a:lnTo>
                  <a:lnTo>
                    <a:pt x="160" y="136"/>
                  </a:lnTo>
                  <a:lnTo>
                    <a:pt x="158" y="136"/>
                  </a:lnTo>
                  <a:lnTo>
                    <a:pt x="155" y="136"/>
                  </a:lnTo>
                  <a:lnTo>
                    <a:pt x="155" y="133"/>
                  </a:lnTo>
                  <a:lnTo>
                    <a:pt x="156" y="133"/>
                  </a:lnTo>
                  <a:lnTo>
                    <a:pt x="158" y="132"/>
                  </a:lnTo>
                  <a:lnTo>
                    <a:pt x="158" y="130"/>
                  </a:lnTo>
                  <a:lnTo>
                    <a:pt x="156" y="130"/>
                  </a:lnTo>
                  <a:lnTo>
                    <a:pt x="149" y="126"/>
                  </a:lnTo>
                  <a:lnTo>
                    <a:pt x="148" y="125"/>
                  </a:lnTo>
                  <a:lnTo>
                    <a:pt x="143" y="123"/>
                  </a:lnTo>
                  <a:lnTo>
                    <a:pt x="143" y="122"/>
                  </a:lnTo>
                  <a:lnTo>
                    <a:pt x="143" y="119"/>
                  </a:lnTo>
                  <a:lnTo>
                    <a:pt x="142" y="117"/>
                  </a:lnTo>
                  <a:lnTo>
                    <a:pt x="140" y="116"/>
                  </a:lnTo>
                  <a:lnTo>
                    <a:pt x="138" y="117"/>
                  </a:lnTo>
                  <a:lnTo>
                    <a:pt x="135" y="119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7"/>
                  </a:lnTo>
                  <a:lnTo>
                    <a:pt x="140" y="132"/>
                  </a:lnTo>
                  <a:lnTo>
                    <a:pt x="143" y="136"/>
                  </a:lnTo>
                  <a:lnTo>
                    <a:pt x="145" y="139"/>
                  </a:lnTo>
                  <a:lnTo>
                    <a:pt x="145" y="142"/>
                  </a:lnTo>
                  <a:lnTo>
                    <a:pt x="143" y="145"/>
                  </a:lnTo>
                  <a:lnTo>
                    <a:pt x="142" y="149"/>
                  </a:lnTo>
                  <a:lnTo>
                    <a:pt x="142" y="153"/>
                  </a:lnTo>
                  <a:lnTo>
                    <a:pt x="145" y="155"/>
                  </a:lnTo>
                  <a:lnTo>
                    <a:pt x="146" y="159"/>
                  </a:lnTo>
                  <a:lnTo>
                    <a:pt x="146" y="172"/>
                  </a:lnTo>
                  <a:lnTo>
                    <a:pt x="149" y="175"/>
                  </a:lnTo>
                  <a:lnTo>
                    <a:pt x="150" y="178"/>
                  </a:lnTo>
                  <a:lnTo>
                    <a:pt x="149" y="176"/>
                  </a:lnTo>
                  <a:lnTo>
                    <a:pt x="145" y="175"/>
                  </a:lnTo>
                  <a:lnTo>
                    <a:pt x="145" y="170"/>
                  </a:lnTo>
                  <a:lnTo>
                    <a:pt x="143" y="162"/>
                  </a:lnTo>
                  <a:lnTo>
                    <a:pt x="143" y="159"/>
                  </a:lnTo>
                  <a:lnTo>
                    <a:pt x="142" y="156"/>
                  </a:lnTo>
                  <a:lnTo>
                    <a:pt x="139" y="149"/>
                  </a:lnTo>
                  <a:lnTo>
                    <a:pt x="136" y="146"/>
                  </a:lnTo>
                  <a:lnTo>
                    <a:pt x="132" y="143"/>
                  </a:lnTo>
                  <a:lnTo>
                    <a:pt x="130" y="140"/>
                  </a:lnTo>
                  <a:lnTo>
                    <a:pt x="130" y="137"/>
                  </a:lnTo>
                  <a:lnTo>
                    <a:pt x="128" y="133"/>
                  </a:lnTo>
                  <a:lnTo>
                    <a:pt x="126" y="132"/>
                  </a:lnTo>
                  <a:lnTo>
                    <a:pt x="120" y="130"/>
                  </a:lnTo>
                  <a:lnTo>
                    <a:pt x="103" y="132"/>
                  </a:lnTo>
                  <a:lnTo>
                    <a:pt x="99" y="135"/>
                  </a:lnTo>
                  <a:lnTo>
                    <a:pt x="93" y="136"/>
                  </a:lnTo>
                  <a:lnTo>
                    <a:pt x="92" y="137"/>
                  </a:lnTo>
                  <a:lnTo>
                    <a:pt x="92" y="142"/>
                  </a:lnTo>
                  <a:lnTo>
                    <a:pt x="93" y="145"/>
                  </a:lnTo>
                  <a:lnTo>
                    <a:pt x="93" y="147"/>
                  </a:lnTo>
                  <a:lnTo>
                    <a:pt x="93" y="149"/>
                  </a:lnTo>
                  <a:lnTo>
                    <a:pt x="92" y="147"/>
                  </a:lnTo>
                  <a:lnTo>
                    <a:pt x="90" y="146"/>
                  </a:lnTo>
                  <a:lnTo>
                    <a:pt x="85" y="146"/>
                  </a:lnTo>
                  <a:lnTo>
                    <a:pt x="82" y="145"/>
                  </a:lnTo>
                  <a:lnTo>
                    <a:pt x="77" y="143"/>
                  </a:lnTo>
                  <a:lnTo>
                    <a:pt x="72" y="142"/>
                  </a:lnTo>
                  <a:lnTo>
                    <a:pt x="63" y="142"/>
                  </a:lnTo>
                  <a:lnTo>
                    <a:pt x="59" y="143"/>
                  </a:lnTo>
                  <a:lnTo>
                    <a:pt x="54" y="142"/>
                  </a:lnTo>
                  <a:lnTo>
                    <a:pt x="52" y="143"/>
                  </a:lnTo>
                  <a:lnTo>
                    <a:pt x="52" y="145"/>
                  </a:lnTo>
                  <a:lnTo>
                    <a:pt x="47" y="147"/>
                  </a:lnTo>
                  <a:lnTo>
                    <a:pt x="44" y="147"/>
                  </a:lnTo>
                  <a:lnTo>
                    <a:pt x="42" y="147"/>
                  </a:lnTo>
                  <a:lnTo>
                    <a:pt x="37" y="143"/>
                  </a:lnTo>
                  <a:lnTo>
                    <a:pt x="37" y="140"/>
                  </a:lnTo>
                  <a:lnTo>
                    <a:pt x="39" y="137"/>
                  </a:lnTo>
                  <a:lnTo>
                    <a:pt x="36" y="136"/>
                  </a:lnTo>
                  <a:lnTo>
                    <a:pt x="33" y="139"/>
                  </a:lnTo>
                  <a:lnTo>
                    <a:pt x="32" y="142"/>
                  </a:lnTo>
                  <a:lnTo>
                    <a:pt x="30" y="146"/>
                  </a:lnTo>
                  <a:lnTo>
                    <a:pt x="30" y="155"/>
                  </a:lnTo>
                  <a:lnTo>
                    <a:pt x="30" y="160"/>
                  </a:lnTo>
                  <a:lnTo>
                    <a:pt x="29" y="167"/>
                  </a:lnTo>
                  <a:lnTo>
                    <a:pt x="30" y="172"/>
                  </a:lnTo>
                  <a:lnTo>
                    <a:pt x="32" y="175"/>
                  </a:lnTo>
                  <a:lnTo>
                    <a:pt x="34" y="178"/>
                  </a:lnTo>
                  <a:lnTo>
                    <a:pt x="39" y="180"/>
                  </a:lnTo>
                  <a:lnTo>
                    <a:pt x="42" y="180"/>
                  </a:lnTo>
                  <a:lnTo>
                    <a:pt x="47" y="180"/>
                  </a:lnTo>
                  <a:lnTo>
                    <a:pt x="52" y="179"/>
                  </a:lnTo>
                  <a:lnTo>
                    <a:pt x="53" y="178"/>
                  </a:lnTo>
                  <a:lnTo>
                    <a:pt x="56" y="179"/>
                  </a:lnTo>
                  <a:lnTo>
                    <a:pt x="59" y="182"/>
                  </a:lnTo>
                  <a:lnTo>
                    <a:pt x="63" y="183"/>
                  </a:lnTo>
                  <a:lnTo>
                    <a:pt x="64" y="183"/>
                  </a:lnTo>
                  <a:lnTo>
                    <a:pt x="66" y="185"/>
                  </a:lnTo>
                  <a:lnTo>
                    <a:pt x="66" y="188"/>
                  </a:lnTo>
                  <a:lnTo>
                    <a:pt x="67" y="189"/>
                  </a:lnTo>
                  <a:lnTo>
                    <a:pt x="75" y="190"/>
                  </a:lnTo>
                  <a:lnTo>
                    <a:pt x="82" y="193"/>
                  </a:lnTo>
                  <a:lnTo>
                    <a:pt x="87" y="195"/>
                  </a:lnTo>
                  <a:lnTo>
                    <a:pt x="89" y="196"/>
                  </a:lnTo>
                  <a:lnTo>
                    <a:pt x="89" y="199"/>
                  </a:lnTo>
                  <a:lnTo>
                    <a:pt x="86" y="199"/>
                  </a:lnTo>
                  <a:lnTo>
                    <a:pt x="82" y="196"/>
                  </a:lnTo>
                  <a:lnTo>
                    <a:pt x="75" y="193"/>
                  </a:lnTo>
                  <a:lnTo>
                    <a:pt x="67" y="193"/>
                  </a:lnTo>
                  <a:lnTo>
                    <a:pt x="64" y="190"/>
                  </a:lnTo>
                  <a:lnTo>
                    <a:pt x="60" y="189"/>
                  </a:lnTo>
                  <a:lnTo>
                    <a:pt x="53" y="188"/>
                  </a:lnTo>
                  <a:lnTo>
                    <a:pt x="49" y="189"/>
                  </a:lnTo>
                  <a:lnTo>
                    <a:pt x="42" y="188"/>
                  </a:lnTo>
                  <a:lnTo>
                    <a:pt x="36" y="188"/>
                  </a:lnTo>
                  <a:lnTo>
                    <a:pt x="29" y="189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20" y="200"/>
                  </a:lnTo>
                  <a:lnTo>
                    <a:pt x="19" y="203"/>
                  </a:lnTo>
                  <a:lnTo>
                    <a:pt x="16" y="206"/>
                  </a:lnTo>
                  <a:lnTo>
                    <a:pt x="13" y="206"/>
                  </a:lnTo>
                  <a:lnTo>
                    <a:pt x="10" y="205"/>
                  </a:lnTo>
                  <a:lnTo>
                    <a:pt x="4" y="203"/>
                  </a:lnTo>
                  <a:lnTo>
                    <a:pt x="4" y="20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59" name="Freeform 407"/>
            <p:cNvSpPr>
              <a:spLocks/>
            </p:cNvSpPr>
            <p:nvPr/>
          </p:nvSpPr>
          <p:spPr bwMode="auto">
            <a:xfrm>
              <a:off x="4177563" y="2788161"/>
              <a:ext cx="24423" cy="52916"/>
            </a:xfrm>
            <a:custGeom>
              <a:avLst/>
              <a:gdLst>
                <a:gd name="T0" fmla="*/ 14 w 40"/>
                <a:gd name="T1" fmla="*/ 1 h 79"/>
                <a:gd name="T2" fmla="*/ 6 w 40"/>
                <a:gd name="T3" fmla="*/ 1 h 79"/>
                <a:gd name="T4" fmla="*/ 2 w 40"/>
                <a:gd name="T5" fmla="*/ 13 h 79"/>
                <a:gd name="T6" fmla="*/ 6 w 40"/>
                <a:gd name="T7" fmla="*/ 18 h 79"/>
                <a:gd name="T8" fmla="*/ 13 w 40"/>
                <a:gd name="T9" fmla="*/ 23 h 79"/>
                <a:gd name="T10" fmla="*/ 13 w 40"/>
                <a:gd name="T11" fmla="*/ 34 h 79"/>
                <a:gd name="T12" fmla="*/ 9 w 40"/>
                <a:gd name="T13" fmla="*/ 37 h 79"/>
                <a:gd name="T14" fmla="*/ 9 w 40"/>
                <a:gd name="T15" fmla="*/ 44 h 79"/>
                <a:gd name="T16" fmla="*/ 7 w 40"/>
                <a:gd name="T17" fmla="*/ 48 h 79"/>
                <a:gd name="T18" fmla="*/ 3 w 40"/>
                <a:gd name="T19" fmla="*/ 51 h 79"/>
                <a:gd name="T20" fmla="*/ 6 w 40"/>
                <a:gd name="T21" fmla="*/ 57 h 79"/>
                <a:gd name="T22" fmla="*/ 6 w 40"/>
                <a:gd name="T23" fmla="*/ 67 h 79"/>
                <a:gd name="T24" fmla="*/ 4 w 40"/>
                <a:gd name="T25" fmla="*/ 73 h 79"/>
                <a:gd name="T26" fmla="*/ 0 w 40"/>
                <a:gd name="T27" fmla="*/ 76 h 79"/>
                <a:gd name="T28" fmla="*/ 2 w 40"/>
                <a:gd name="T29" fmla="*/ 77 h 79"/>
                <a:gd name="T30" fmla="*/ 7 w 40"/>
                <a:gd name="T31" fmla="*/ 79 h 79"/>
                <a:gd name="T32" fmla="*/ 7 w 40"/>
                <a:gd name="T33" fmla="*/ 74 h 79"/>
                <a:gd name="T34" fmla="*/ 9 w 40"/>
                <a:gd name="T35" fmla="*/ 67 h 79"/>
                <a:gd name="T36" fmla="*/ 14 w 40"/>
                <a:gd name="T37" fmla="*/ 63 h 79"/>
                <a:gd name="T38" fmla="*/ 22 w 40"/>
                <a:gd name="T39" fmla="*/ 63 h 79"/>
                <a:gd name="T40" fmla="*/ 32 w 40"/>
                <a:gd name="T41" fmla="*/ 54 h 79"/>
                <a:gd name="T42" fmla="*/ 35 w 40"/>
                <a:gd name="T43" fmla="*/ 48 h 79"/>
                <a:gd name="T44" fmla="*/ 37 w 40"/>
                <a:gd name="T45" fmla="*/ 47 h 79"/>
                <a:gd name="T46" fmla="*/ 40 w 40"/>
                <a:gd name="T47" fmla="*/ 44 h 79"/>
                <a:gd name="T48" fmla="*/ 36 w 40"/>
                <a:gd name="T49" fmla="*/ 41 h 79"/>
                <a:gd name="T50" fmla="*/ 32 w 40"/>
                <a:gd name="T51" fmla="*/ 40 h 79"/>
                <a:gd name="T52" fmla="*/ 33 w 40"/>
                <a:gd name="T53" fmla="*/ 33 h 79"/>
                <a:gd name="T54" fmla="*/ 32 w 40"/>
                <a:gd name="T55" fmla="*/ 26 h 79"/>
                <a:gd name="T56" fmla="*/ 35 w 40"/>
                <a:gd name="T57" fmla="*/ 23 h 79"/>
                <a:gd name="T58" fmla="*/ 35 w 40"/>
                <a:gd name="T59" fmla="*/ 17 h 79"/>
                <a:gd name="T60" fmla="*/ 36 w 40"/>
                <a:gd name="T61" fmla="*/ 14 h 79"/>
                <a:gd name="T62" fmla="*/ 37 w 40"/>
                <a:gd name="T63" fmla="*/ 18 h 79"/>
                <a:gd name="T64" fmla="*/ 35 w 40"/>
                <a:gd name="T65" fmla="*/ 34 h 79"/>
                <a:gd name="T66" fmla="*/ 36 w 40"/>
                <a:gd name="T67" fmla="*/ 37 h 79"/>
                <a:gd name="T68" fmla="*/ 39 w 40"/>
                <a:gd name="T69" fmla="*/ 31 h 79"/>
                <a:gd name="T70" fmla="*/ 39 w 40"/>
                <a:gd name="T71" fmla="*/ 8 h 79"/>
                <a:gd name="T72" fmla="*/ 37 w 40"/>
                <a:gd name="T73" fmla="*/ 7 h 79"/>
                <a:gd name="T74" fmla="*/ 35 w 40"/>
                <a:gd name="T75" fmla="*/ 8 h 79"/>
                <a:gd name="T76" fmla="*/ 33 w 40"/>
                <a:gd name="T77" fmla="*/ 13 h 79"/>
                <a:gd name="T78" fmla="*/ 32 w 40"/>
                <a:gd name="T79" fmla="*/ 11 h 79"/>
                <a:gd name="T80" fmla="*/ 32 w 40"/>
                <a:gd name="T81" fmla="*/ 4 h 79"/>
                <a:gd name="T82" fmla="*/ 24 w 40"/>
                <a:gd name="T83" fmla="*/ 3 h 79"/>
                <a:gd name="T84" fmla="*/ 22 w 40"/>
                <a:gd name="T85" fmla="*/ 3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" h="79">
                  <a:moveTo>
                    <a:pt x="22" y="3"/>
                  </a:moveTo>
                  <a:lnTo>
                    <a:pt x="14" y="1"/>
                  </a:lnTo>
                  <a:lnTo>
                    <a:pt x="10" y="0"/>
                  </a:lnTo>
                  <a:lnTo>
                    <a:pt x="6" y="1"/>
                  </a:lnTo>
                  <a:lnTo>
                    <a:pt x="3" y="6"/>
                  </a:lnTo>
                  <a:lnTo>
                    <a:pt x="2" y="13"/>
                  </a:lnTo>
                  <a:lnTo>
                    <a:pt x="3" y="17"/>
                  </a:lnTo>
                  <a:lnTo>
                    <a:pt x="6" y="18"/>
                  </a:lnTo>
                  <a:lnTo>
                    <a:pt x="12" y="20"/>
                  </a:lnTo>
                  <a:lnTo>
                    <a:pt x="13" y="23"/>
                  </a:lnTo>
                  <a:lnTo>
                    <a:pt x="13" y="27"/>
                  </a:lnTo>
                  <a:lnTo>
                    <a:pt x="13" y="34"/>
                  </a:lnTo>
                  <a:lnTo>
                    <a:pt x="12" y="36"/>
                  </a:lnTo>
                  <a:lnTo>
                    <a:pt x="9" y="37"/>
                  </a:lnTo>
                  <a:lnTo>
                    <a:pt x="9" y="38"/>
                  </a:lnTo>
                  <a:lnTo>
                    <a:pt x="9" y="44"/>
                  </a:lnTo>
                  <a:lnTo>
                    <a:pt x="9" y="47"/>
                  </a:lnTo>
                  <a:lnTo>
                    <a:pt x="7" y="48"/>
                  </a:lnTo>
                  <a:lnTo>
                    <a:pt x="4" y="50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6" y="57"/>
                  </a:lnTo>
                  <a:lnTo>
                    <a:pt x="6" y="61"/>
                  </a:lnTo>
                  <a:lnTo>
                    <a:pt x="6" y="67"/>
                  </a:lnTo>
                  <a:lnTo>
                    <a:pt x="4" y="69"/>
                  </a:lnTo>
                  <a:lnTo>
                    <a:pt x="4" y="73"/>
                  </a:lnTo>
                  <a:lnTo>
                    <a:pt x="3" y="74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2" y="77"/>
                  </a:lnTo>
                  <a:lnTo>
                    <a:pt x="6" y="79"/>
                  </a:lnTo>
                  <a:lnTo>
                    <a:pt x="7" y="79"/>
                  </a:lnTo>
                  <a:lnTo>
                    <a:pt x="7" y="77"/>
                  </a:lnTo>
                  <a:lnTo>
                    <a:pt x="7" y="74"/>
                  </a:lnTo>
                  <a:lnTo>
                    <a:pt x="7" y="70"/>
                  </a:lnTo>
                  <a:lnTo>
                    <a:pt x="9" y="67"/>
                  </a:lnTo>
                  <a:lnTo>
                    <a:pt x="12" y="64"/>
                  </a:lnTo>
                  <a:lnTo>
                    <a:pt x="14" y="63"/>
                  </a:lnTo>
                  <a:lnTo>
                    <a:pt x="17" y="63"/>
                  </a:lnTo>
                  <a:lnTo>
                    <a:pt x="22" y="63"/>
                  </a:lnTo>
                  <a:lnTo>
                    <a:pt x="26" y="59"/>
                  </a:lnTo>
                  <a:lnTo>
                    <a:pt x="32" y="54"/>
                  </a:lnTo>
                  <a:lnTo>
                    <a:pt x="35" y="51"/>
                  </a:lnTo>
                  <a:lnTo>
                    <a:pt x="35" y="48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40" y="46"/>
                  </a:lnTo>
                  <a:lnTo>
                    <a:pt x="40" y="44"/>
                  </a:lnTo>
                  <a:lnTo>
                    <a:pt x="39" y="43"/>
                  </a:lnTo>
                  <a:lnTo>
                    <a:pt x="36" y="41"/>
                  </a:lnTo>
                  <a:lnTo>
                    <a:pt x="33" y="43"/>
                  </a:lnTo>
                  <a:lnTo>
                    <a:pt x="32" y="40"/>
                  </a:lnTo>
                  <a:lnTo>
                    <a:pt x="32" y="38"/>
                  </a:lnTo>
                  <a:lnTo>
                    <a:pt x="33" y="33"/>
                  </a:lnTo>
                  <a:lnTo>
                    <a:pt x="32" y="28"/>
                  </a:lnTo>
                  <a:lnTo>
                    <a:pt x="32" y="26"/>
                  </a:lnTo>
                  <a:lnTo>
                    <a:pt x="33" y="24"/>
                  </a:lnTo>
                  <a:lnTo>
                    <a:pt x="35" y="23"/>
                  </a:lnTo>
                  <a:lnTo>
                    <a:pt x="35" y="20"/>
                  </a:lnTo>
                  <a:lnTo>
                    <a:pt x="35" y="17"/>
                  </a:lnTo>
                  <a:lnTo>
                    <a:pt x="35" y="16"/>
                  </a:lnTo>
                  <a:lnTo>
                    <a:pt x="36" y="14"/>
                  </a:lnTo>
                  <a:lnTo>
                    <a:pt x="37" y="16"/>
                  </a:lnTo>
                  <a:lnTo>
                    <a:pt x="37" y="18"/>
                  </a:lnTo>
                  <a:lnTo>
                    <a:pt x="36" y="27"/>
                  </a:lnTo>
                  <a:lnTo>
                    <a:pt x="35" y="34"/>
                  </a:lnTo>
                  <a:lnTo>
                    <a:pt x="35" y="37"/>
                  </a:lnTo>
                  <a:lnTo>
                    <a:pt x="36" y="37"/>
                  </a:lnTo>
                  <a:lnTo>
                    <a:pt x="37" y="37"/>
                  </a:lnTo>
                  <a:lnTo>
                    <a:pt x="39" y="31"/>
                  </a:lnTo>
                  <a:lnTo>
                    <a:pt x="40" y="24"/>
                  </a:lnTo>
                  <a:lnTo>
                    <a:pt x="39" y="8"/>
                  </a:lnTo>
                  <a:lnTo>
                    <a:pt x="39" y="7"/>
                  </a:lnTo>
                  <a:lnTo>
                    <a:pt x="37" y="7"/>
                  </a:lnTo>
                  <a:lnTo>
                    <a:pt x="36" y="7"/>
                  </a:lnTo>
                  <a:lnTo>
                    <a:pt x="35" y="8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2" y="11"/>
                  </a:lnTo>
                  <a:lnTo>
                    <a:pt x="32" y="6"/>
                  </a:lnTo>
                  <a:lnTo>
                    <a:pt x="32" y="4"/>
                  </a:lnTo>
                  <a:lnTo>
                    <a:pt x="29" y="3"/>
                  </a:lnTo>
                  <a:lnTo>
                    <a:pt x="24" y="3"/>
                  </a:lnTo>
                  <a:lnTo>
                    <a:pt x="22" y="3"/>
                  </a:lnTo>
                  <a:lnTo>
                    <a:pt x="22" y="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8" name="Freeform 409"/>
            <p:cNvSpPr>
              <a:spLocks/>
            </p:cNvSpPr>
            <p:nvPr/>
          </p:nvSpPr>
          <p:spPr bwMode="auto">
            <a:xfrm>
              <a:off x="4180005" y="2654548"/>
              <a:ext cx="227132" cy="310882"/>
            </a:xfrm>
            <a:custGeom>
              <a:avLst/>
              <a:gdLst>
                <a:gd name="T0" fmla="*/ 72 w 372"/>
                <a:gd name="T1" fmla="*/ 247 h 472"/>
                <a:gd name="T2" fmla="*/ 74 w 372"/>
                <a:gd name="T3" fmla="*/ 250 h 472"/>
                <a:gd name="T4" fmla="*/ 50 w 372"/>
                <a:gd name="T5" fmla="*/ 275 h 472"/>
                <a:gd name="T6" fmla="*/ 63 w 372"/>
                <a:gd name="T7" fmla="*/ 284 h 472"/>
                <a:gd name="T8" fmla="*/ 70 w 372"/>
                <a:gd name="T9" fmla="*/ 300 h 472"/>
                <a:gd name="T10" fmla="*/ 59 w 372"/>
                <a:gd name="T11" fmla="*/ 304 h 472"/>
                <a:gd name="T12" fmla="*/ 54 w 372"/>
                <a:gd name="T13" fmla="*/ 288 h 472"/>
                <a:gd name="T14" fmla="*/ 34 w 372"/>
                <a:gd name="T15" fmla="*/ 285 h 472"/>
                <a:gd name="T16" fmla="*/ 16 w 372"/>
                <a:gd name="T17" fmla="*/ 313 h 472"/>
                <a:gd name="T18" fmla="*/ 1 w 372"/>
                <a:gd name="T19" fmla="*/ 300 h 472"/>
                <a:gd name="T20" fmla="*/ 16 w 372"/>
                <a:gd name="T21" fmla="*/ 334 h 472"/>
                <a:gd name="T22" fmla="*/ 32 w 372"/>
                <a:gd name="T23" fmla="*/ 346 h 472"/>
                <a:gd name="T24" fmla="*/ 34 w 372"/>
                <a:gd name="T25" fmla="*/ 373 h 472"/>
                <a:gd name="T26" fmla="*/ 47 w 372"/>
                <a:gd name="T27" fmla="*/ 346 h 472"/>
                <a:gd name="T28" fmla="*/ 44 w 372"/>
                <a:gd name="T29" fmla="*/ 387 h 472"/>
                <a:gd name="T30" fmla="*/ 62 w 372"/>
                <a:gd name="T31" fmla="*/ 391 h 472"/>
                <a:gd name="T32" fmla="*/ 57 w 372"/>
                <a:gd name="T33" fmla="*/ 369 h 472"/>
                <a:gd name="T34" fmla="*/ 76 w 372"/>
                <a:gd name="T35" fmla="*/ 396 h 472"/>
                <a:gd name="T36" fmla="*/ 80 w 372"/>
                <a:gd name="T37" fmla="*/ 417 h 472"/>
                <a:gd name="T38" fmla="*/ 77 w 372"/>
                <a:gd name="T39" fmla="*/ 427 h 472"/>
                <a:gd name="T40" fmla="*/ 92 w 372"/>
                <a:gd name="T41" fmla="*/ 429 h 472"/>
                <a:gd name="T42" fmla="*/ 105 w 372"/>
                <a:gd name="T43" fmla="*/ 443 h 472"/>
                <a:gd name="T44" fmla="*/ 103 w 372"/>
                <a:gd name="T45" fmla="*/ 427 h 472"/>
                <a:gd name="T46" fmla="*/ 117 w 372"/>
                <a:gd name="T47" fmla="*/ 424 h 472"/>
                <a:gd name="T48" fmla="*/ 115 w 372"/>
                <a:gd name="T49" fmla="*/ 439 h 472"/>
                <a:gd name="T50" fmla="*/ 140 w 372"/>
                <a:gd name="T51" fmla="*/ 470 h 472"/>
                <a:gd name="T52" fmla="*/ 133 w 372"/>
                <a:gd name="T53" fmla="*/ 449 h 472"/>
                <a:gd name="T54" fmla="*/ 168 w 372"/>
                <a:gd name="T55" fmla="*/ 462 h 472"/>
                <a:gd name="T56" fmla="*/ 158 w 372"/>
                <a:gd name="T57" fmla="*/ 429 h 472"/>
                <a:gd name="T58" fmla="*/ 192 w 372"/>
                <a:gd name="T59" fmla="*/ 254 h 472"/>
                <a:gd name="T60" fmla="*/ 192 w 372"/>
                <a:gd name="T61" fmla="*/ 231 h 472"/>
                <a:gd name="T62" fmla="*/ 212 w 372"/>
                <a:gd name="T63" fmla="*/ 215 h 472"/>
                <a:gd name="T64" fmla="*/ 246 w 372"/>
                <a:gd name="T65" fmla="*/ 182 h 472"/>
                <a:gd name="T66" fmla="*/ 264 w 372"/>
                <a:gd name="T67" fmla="*/ 164 h 472"/>
                <a:gd name="T68" fmla="*/ 282 w 372"/>
                <a:gd name="T69" fmla="*/ 157 h 472"/>
                <a:gd name="T70" fmla="*/ 291 w 372"/>
                <a:gd name="T71" fmla="*/ 132 h 472"/>
                <a:gd name="T72" fmla="*/ 325 w 372"/>
                <a:gd name="T73" fmla="*/ 138 h 472"/>
                <a:gd name="T74" fmla="*/ 315 w 372"/>
                <a:gd name="T75" fmla="*/ 114 h 472"/>
                <a:gd name="T76" fmla="*/ 352 w 372"/>
                <a:gd name="T77" fmla="*/ 122 h 472"/>
                <a:gd name="T78" fmla="*/ 355 w 372"/>
                <a:gd name="T79" fmla="*/ 111 h 472"/>
                <a:gd name="T80" fmla="*/ 354 w 372"/>
                <a:gd name="T81" fmla="*/ 81 h 472"/>
                <a:gd name="T82" fmla="*/ 339 w 372"/>
                <a:gd name="T83" fmla="*/ 35 h 472"/>
                <a:gd name="T84" fmla="*/ 291 w 372"/>
                <a:gd name="T85" fmla="*/ 20 h 472"/>
                <a:gd name="T86" fmla="*/ 235 w 372"/>
                <a:gd name="T87" fmla="*/ 12 h 472"/>
                <a:gd name="T88" fmla="*/ 218 w 372"/>
                <a:gd name="T89" fmla="*/ 39 h 472"/>
                <a:gd name="T90" fmla="*/ 163 w 372"/>
                <a:gd name="T91" fmla="*/ 42 h 472"/>
                <a:gd name="T92" fmla="*/ 176 w 372"/>
                <a:gd name="T93" fmla="*/ 62 h 472"/>
                <a:gd name="T94" fmla="*/ 158 w 372"/>
                <a:gd name="T95" fmla="*/ 69 h 472"/>
                <a:gd name="T96" fmla="*/ 162 w 372"/>
                <a:gd name="T97" fmla="*/ 78 h 472"/>
                <a:gd name="T98" fmla="*/ 139 w 372"/>
                <a:gd name="T99" fmla="*/ 89 h 472"/>
                <a:gd name="T100" fmla="*/ 133 w 372"/>
                <a:gd name="T101" fmla="*/ 95 h 472"/>
                <a:gd name="T102" fmla="*/ 116 w 372"/>
                <a:gd name="T103" fmla="*/ 98 h 472"/>
                <a:gd name="T104" fmla="*/ 92 w 372"/>
                <a:gd name="T105" fmla="*/ 122 h 472"/>
                <a:gd name="T106" fmla="*/ 85 w 372"/>
                <a:gd name="T107" fmla="*/ 105 h 472"/>
                <a:gd name="T108" fmla="*/ 62 w 372"/>
                <a:gd name="T109" fmla="*/ 92 h 472"/>
                <a:gd name="T110" fmla="*/ 9 w 372"/>
                <a:gd name="T111" fmla="*/ 148 h 472"/>
                <a:gd name="T112" fmla="*/ 36 w 372"/>
                <a:gd name="T113" fmla="*/ 171 h 472"/>
                <a:gd name="T114" fmla="*/ 34 w 372"/>
                <a:gd name="T115" fmla="*/ 185 h 472"/>
                <a:gd name="T116" fmla="*/ 47 w 372"/>
                <a:gd name="T117" fmla="*/ 189 h 472"/>
                <a:gd name="T118" fmla="*/ 40 w 372"/>
                <a:gd name="T119" fmla="*/ 210 h 472"/>
                <a:gd name="T120" fmla="*/ 46 w 372"/>
                <a:gd name="T121" fmla="*/ 220 h 472"/>
                <a:gd name="T122" fmla="*/ 56 w 372"/>
                <a:gd name="T123" fmla="*/ 211 h 472"/>
                <a:gd name="T124" fmla="*/ 76 w 372"/>
                <a:gd name="T125" fmla="*/ 22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2" h="472">
                  <a:moveTo>
                    <a:pt x="59" y="232"/>
                  </a:moveTo>
                  <a:lnTo>
                    <a:pt x="56" y="238"/>
                  </a:lnTo>
                  <a:lnTo>
                    <a:pt x="53" y="241"/>
                  </a:lnTo>
                  <a:lnTo>
                    <a:pt x="52" y="244"/>
                  </a:lnTo>
                  <a:lnTo>
                    <a:pt x="50" y="248"/>
                  </a:lnTo>
                  <a:lnTo>
                    <a:pt x="50" y="251"/>
                  </a:lnTo>
                  <a:lnTo>
                    <a:pt x="50" y="252"/>
                  </a:lnTo>
                  <a:lnTo>
                    <a:pt x="59" y="252"/>
                  </a:lnTo>
                  <a:lnTo>
                    <a:pt x="60" y="251"/>
                  </a:lnTo>
                  <a:lnTo>
                    <a:pt x="62" y="250"/>
                  </a:lnTo>
                  <a:lnTo>
                    <a:pt x="63" y="245"/>
                  </a:lnTo>
                  <a:lnTo>
                    <a:pt x="64" y="245"/>
                  </a:lnTo>
                  <a:lnTo>
                    <a:pt x="69" y="247"/>
                  </a:lnTo>
                  <a:lnTo>
                    <a:pt x="72" y="247"/>
                  </a:lnTo>
                  <a:lnTo>
                    <a:pt x="74" y="245"/>
                  </a:lnTo>
                  <a:lnTo>
                    <a:pt x="79" y="248"/>
                  </a:lnTo>
                  <a:lnTo>
                    <a:pt x="82" y="248"/>
                  </a:lnTo>
                  <a:lnTo>
                    <a:pt x="87" y="247"/>
                  </a:lnTo>
                  <a:lnTo>
                    <a:pt x="90" y="247"/>
                  </a:lnTo>
                  <a:lnTo>
                    <a:pt x="90" y="248"/>
                  </a:lnTo>
                  <a:lnTo>
                    <a:pt x="90" y="250"/>
                  </a:lnTo>
                  <a:lnTo>
                    <a:pt x="89" y="251"/>
                  </a:lnTo>
                  <a:lnTo>
                    <a:pt x="85" y="251"/>
                  </a:lnTo>
                  <a:lnTo>
                    <a:pt x="83" y="251"/>
                  </a:lnTo>
                  <a:lnTo>
                    <a:pt x="82" y="254"/>
                  </a:lnTo>
                  <a:lnTo>
                    <a:pt x="80" y="254"/>
                  </a:lnTo>
                  <a:lnTo>
                    <a:pt x="79" y="251"/>
                  </a:lnTo>
                  <a:lnTo>
                    <a:pt x="74" y="250"/>
                  </a:lnTo>
                  <a:lnTo>
                    <a:pt x="69" y="248"/>
                  </a:lnTo>
                  <a:lnTo>
                    <a:pt x="64" y="251"/>
                  </a:lnTo>
                  <a:lnTo>
                    <a:pt x="60" y="252"/>
                  </a:lnTo>
                  <a:lnTo>
                    <a:pt x="57" y="254"/>
                  </a:lnTo>
                  <a:lnTo>
                    <a:pt x="54" y="255"/>
                  </a:lnTo>
                  <a:lnTo>
                    <a:pt x="52" y="255"/>
                  </a:lnTo>
                  <a:lnTo>
                    <a:pt x="47" y="255"/>
                  </a:lnTo>
                  <a:lnTo>
                    <a:pt x="47" y="255"/>
                  </a:lnTo>
                  <a:lnTo>
                    <a:pt x="46" y="260"/>
                  </a:lnTo>
                  <a:lnTo>
                    <a:pt x="44" y="265"/>
                  </a:lnTo>
                  <a:lnTo>
                    <a:pt x="46" y="268"/>
                  </a:lnTo>
                  <a:lnTo>
                    <a:pt x="50" y="270"/>
                  </a:lnTo>
                  <a:lnTo>
                    <a:pt x="50" y="273"/>
                  </a:lnTo>
                  <a:lnTo>
                    <a:pt x="50" y="275"/>
                  </a:lnTo>
                  <a:lnTo>
                    <a:pt x="49" y="277"/>
                  </a:lnTo>
                  <a:lnTo>
                    <a:pt x="47" y="280"/>
                  </a:lnTo>
                  <a:lnTo>
                    <a:pt x="47" y="281"/>
                  </a:lnTo>
                  <a:lnTo>
                    <a:pt x="50" y="283"/>
                  </a:lnTo>
                  <a:lnTo>
                    <a:pt x="52" y="284"/>
                  </a:lnTo>
                  <a:lnTo>
                    <a:pt x="53" y="283"/>
                  </a:lnTo>
                  <a:lnTo>
                    <a:pt x="54" y="278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6" y="277"/>
                  </a:lnTo>
                  <a:lnTo>
                    <a:pt x="57" y="281"/>
                  </a:lnTo>
                  <a:lnTo>
                    <a:pt x="59" y="283"/>
                  </a:lnTo>
                  <a:lnTo>
                    <a:pt x="62" y="284"/>
                  </a:lnTo>
                  <a:lnTo>
                    <a:pt x="63" y="284"/>
                  </a:lnTo>
                  <a:lnTo>
                    <a:pt x="66" y="281"/>
                  </a:lnTo>
                  <a:lnTo>
                    <a:pt x="67" y="281"/>
                  </a:lnTo>
                  <a:lnTo>
                    <a:pt x="70" y="284"/>
                  </a:lnTo>
                  <a:lnTo>
                    <a:pt x="72" y="287"/>
                  </a:lnTo>
                  <a:lnTo>
                    <a:pt x="72" y="290"/>
                  </a:lnTo>
                  <a:lnTo>
                    <a:pt x="70" y="290"/>
                  </a:lnTo>
                  <a:lnTo>
                    <a:pt x="70" y="288"/>
                  </a:lnTo>
                  <a:lnTo>
                    <a:pt x="69" y="285"/>
                  </a:lnTo>
                  <a:lnTo>
                    <a:pt x="67" y="287"/>
                  </a:lnTo>
                  <a:lnTo>
                    <a:pt x="66" y="287"/>
                  </a:lnTo>
                  <a:lnTo>
                    <a:pt x="69" y="291"/>
                  </a:lnTo>
                  <a:lnTo>
                    <a:pt x="70" y="295"/>
                  </a:lnTo>
                  <a:lnTo>
                    <a:pt x="70" y="300"/>
                  </a:lnTo>
                  <a:lnTo>
                    <a:pt x="70" y="300"/>
                  </a:lnTo>
                  <a:lnTo>
                    <a:pt x="69" y="301"/>
                  </a:lnTo>
                  <a:lnTo>
                    <a:pt x="67" y="297"/>
                  </a:lnTo>
                  <a:lnTo>
                    <a:pt x="66" y="290"/>
                  </a:lnTo>
                  <a:lnTo>
                    <a:pt x="64" y="288"/>
                  </a:lnTo>
                  <a:lnTo>
                    <a:pt x="63" y="287"/>
                  </a:lnTo>
                  <a:lnTo>
                    <a:pt x="59" y="288"/>
                  </a:lnTo>
                  <a:lnTo>
                    <a:pt x="59" y="290"/>
                  </a:lnTo>
                  <a:lnTo>
                    <a:pt x="59" y="295"/>
                  </a:lnTo>
                  <a:lnTo>
                    <a:pt x="60" y="300"/>
                  </a:lnTo>
                  <a:lnTo>
                    <a:pt x="63" y="300"/>
                  </a:lnTo>
                  <a:lnTo>
                    <a:pt x="64" y="301"/>
                  </a:lnTo>
                  <a:lnTo>
                    <a:pt x="64" y="303"/>
                  </a:lnTo>
                  <a:lnTo>
                    <a:pt x="64" y="304"/>
                  </a:lnTo>
                  <a:lnTo>
                    <a:pt x="59" y="304"/>
                  </a:lnTo>
                  <a:lnTo>
                    <a:pt x="57" y="303"/>
                  </a:lnTo>
                  <a:lnTo>
                    <a:pt x="56" y="300"/>
                  </a:lnTo>
                  <a:lnTo>
                    <a:pt x="54" y="298"/>
                  </a:lnTo>
                  <a:lnTo>
                    <a:pt x="52" y="297"/>
                  </a:lnTo>
                  <a:lnTo>
                    <a:pt x="49" y="295"/>
                  </a:lnTo>
                  <a:lnTo>
                    <a:pt x="49" y="294"/>
                  </a:lnTo>
                  <a:lnTo>
                    <a:pt x="49" y="291"/>
                  </a:lnTo>
                  <a:lnTo>
                    <a:pt x="52" y="291"/>
                  </a:lnTo>
                  <a:lnTo>
                    <a:pt x="53" y="293"/>
                  </a:lnTo>
                  <a:lnTo>
                    <a:pt x="56" y="297"/>
                  </a:lnTo>
                  <a:lnTo>
                    <a:pt x="56" y="297"/>
                  </a:lnTo>
                  <a:lnTo>
                    <a:pt x="57" y="293"/>
                  </a:lnTo>
                  <a:lnTo>
                    <a:pt x="56" y="290"/>
                  </a:lnTo>
                  <a:lnTo>
                    <a:pt x="54" y="288"/>
                  </a:lnTo>
                  <a:lnTo>
                    <a:pt x="50" y="288"/>
                  </a:lnTo>
                  <a:lnTo>
                    <a:pt x="49" y="287"/>
                  </a:lnTo>
                  <a:lnTo>
                    <a:pt x="47" y="287"/>
                  </a:lnTo>
                  <a:lnTo>
                    <a:pt x="46" y="287"/>
                  </a:lnTo>
                  <a:lnTo>
                    <a:pt x="46" y="290"/>
                  </a:lnTo>
                  <a:lnTo>
                    <a:pt x="44" y="298"/>
                  </a:lnTo>
                  <a:lnTo>
                    <a:pt x="44" y="300"/>
                  </a:lnTo>
                  <a:lnTo>
                    <a:pt x="43" y="300"/>
                  </a:lnTo>
                  <a:lnTo>
                    <a:pt x="42" y="297"/>
                  </a:lnTo>
                  <a:lnTo>
                    <a:pt x="42" y="290"/>
                  </a:lnTo>
                  <a:lnTo>
                    <a:pt x="42" y="285"/>
                  </a:lnTo>
                  <a:lnTo>
                    <a:pt x="40" y="285"/>
                  </a:lnTo>
                  <a:lnTo>
                    <a:pt x="37" y="285"/>
                  </a:lnTo>
                  <a:lnTo>
                    <a:pt x="34" y="285"/>
                  </a:lnTo>
                  <a:lnTo>
                    <a:pt x="33" y="285"/>
                  </a:lnTo>
                  <a:lnTo>
                    <a:pt x="33" y="283"/>
                  </a:lnTo>
                  <a:lnTo>
                    <a:pt x="33" y="281"/>
                  </a:lnTo>
                  <a:lnTo>
                    <a:pt x="32" y="281"/>
                  </a:lnTo>
                  <a:lnTo>
                    <a:pt x="30" y="281"/>
                  </a:lnTo>
                  <a:lnTo>
                    <a:pt x="27" y="284"/>
                  </a:lnTo>
                  <a:lnTo>
                    <a:pt x="27" y="288"/>
                  </a:lnTo>
                  <a:lnTo>
                    <a:pt x="30" y="294"/>
                  </a:lnTo>
                  <a:lnTo>
                    <a:pt x="29" y="300"/>
                  </a:lnTo>
                  <a:lnTo>
                    <a:pt x="29" y="303"/>
                  </a:lnTo>
                  <a:lnTo>
                    <a:pt x="24" y="307"/>
                  </a:lnTo>
                  <a:lnTo>
                    <a:pt x="20" y="310"/>
                  </a:lnTo>
                  <a:lnTo>
                    <a:pt x="17" y="311"/>
                  </a:lnTo>
                  <a:lnTo>
                    <a:pt x="16" y="313"/>
                  </a:lnTo>
                  <a:lnTo>
                    <a:pt x="16" y="317"/>
                  </a:lnTo>
                  <a:lnTo>
                    <a:pt x="14" y="320"/>
                  </a:lnTo>
                  <a:lnTo>
                    <a:pt x="14" y="321"/>
                  </a:lnTo>
                  <a:lnTo>
                    <a:pt x="13" y="320"/>
                  </a:lnTo>
                  <a:lnTo>
                    <a:pt x="13" y="317"/>
                  </a:lnTo>
                  <a:lnTo>
                    <a:pt x="14" y="307"/>
                  </a:lnTo>
                  <a:lnTo>
                    <a:pt x="14" y="305"/>
                  </a:lnTo>
                  <a:lnTo>
                    <a:pt x="13" y="305"/>
                  </a:lnTo>
                  <a:lnTo>
                    <a:pt x="10" y="307"/>
                  </a:lnTo>
                  <a:lnTo>
                    <a:pt x="9" y="307"/>
                  </a:lnTo>
                  <a:lnTo>
                    <a:pt x="7" y="307"/>
                  </a:lnTo>
                  <a:lnTo>
                    <a:pt x="7" y="304"/>
                  </a:lnTo>
                  <a:lnTo>
                    <a:pt x="4" y="301"/>
                  </a:lnTo>
                  <a:lnTo>
                    <a:pt x="1" y="300"/>
                  </a:lnTo>
                  <a:lnTo>
                    <a:pt x="1" y="303"/>
                  </a:lnTo>
                  <a:lnTo>
                    <a:pt x="0" y="310"/>
                  </a:lnTo>
                  <a:lnTo>
                    <a:pt x="1" y="313"/>
                  </a:lnTo>
                  <a:lnTo>
                    <a:pt x="1" y="313"/>
                  </a:lnTo>
                  <a:lnTo>
                    <a:pt x="4" y="313"/>
                  </a:lnTo>
                  <a:lnTo>
                    <a:pt x="6" y="314"/>
                  </a:lnTo>
                  <a:lnTo>
                    <a:pt x="7" y="316"/>
                  </a:lnTo>
                  <a:lnTo>
                    <a:pt x="9" y="316"/>
                  </a:lnTo>
                  <a:lnTo>
                    <a:pt x="10" y="317"/>
                  </a:lnTo>
                  <a:lnTo>
                    <a:pt x="9" y="323"/>
                  </a:lnTo>
                  <a:lnTo>
                    <a:pt x="9" y="327"/>
                  </a:lnTo>
                  <a:lnTo>
                    <a:pt x="13" y="330"/>
                  </a:lnTo>
                  <a:lnTo>
                    <a:pt x="16" y="333"/>
                  </a:lnTo>
                  <a:lnTo>
                    <a:pt x="16" y="334"/>
                  </a:lnTo>
                  <a:lnTo>
                    <a:pt x="16" y="340"/>
                  </a:lnTo>
                  <a:lnTo>
                    <a:pt x="14" y="343"/>
                  </a:lnTo>
                  <a:lnTo>
                    <a:pt x="16" y="346"/>
                  </a:lnTo>
                  <a:lnTo>
                    <a:pt x="17" y="344"/>
                  </a:lnTo>
                  <a:lnTo>
                    <a:pt x="19" y="343"/>
                  </a:lnTo>
                  <a:lnTo>
                    <a:pt x="20" y="343"/>
                  </a:lnTo>
                  <a:lnTo>
                    <a:pt x="20" y="346"/>
                  </a:lnTo>
                  <a:lnTo>
                    <a:pt x="21" y="350"/>
                  </a:lnTo>
                  <a:lnTo>
                    <a:pt x="24" y="350"/>
                  </a:lnTo>
                  <a:lnTo>
                    <a:pt x="26" y="350"/>
                  </a:lnTo>
                  <a:lnTo>
                    <a:pt x="27" y="348"/>
                  </a:lnTo>
                  <a:lnTo>
                    <a:pt x="29" y="346"/>
                  </a:lnTo>
                  <a:lnTo>
                    <a:pt x="30" y="346"/>
                  </a:lnTo>
                  <a:lnTo>
                    <a:pt x="32" y="346"/>
                  </a:lnTo>
                  <a:lnTo>
                    <a:pt x="30" y="351"/>
                  </a:lnTo>
                  <a:lnTo>
                    <a:pt x="32" y="357"/>
                  </a:lnTo>
                  <a:lnTo>
                    <a:pt x="33" y="361"/>
                  </a:lnTo>
                  <a:lnTo>
                    <a:pt x="33" y="363"/>
                  </a:lnTo>
                  <a:lnTo>
                    <a:pt x="33" y="366"/>
                  </a:lnTo>
                  <a:lnTo>
                    <a:pt x="32" y="367"/>
                  </a:lnTo>
                  <a:lnTo>
                    <a:pt x="32" y="370"/>
                  </a:lnTo>
                  <a:lnTo>
                    <a:pt x="32" y="373"/>
                  </a:lnTo>
                  <a:lnTo>
                    <a:pt x="34" y="374"/>
                  </a:lnTo>
                  <a:lnTo>
                    <a:pt x="37" y="379"/>
                  </a:lnTo>
                  <a:lnTo>
                    <a:pt x="39" y="379"/>
                  </a:lnTo>
                  <a:lnTo>
                    <a:pt x="40" y="376"/>
                  </a:lnTo>
                  <a:lnTo>
                    <a:pt x="39" y="374"/>
                  </a:lnTo>
                  <a:lnTo>
                    <a:pt x="34" y="373"/>
                  </a:lnTo>
                  <a:lnTo>
                    <a:pt x="34" y="370"/>
                  </a:lnTo>
                  <a:lnTo>
                    <a:pt x="34" y="369"/>
                  </a:lnTo>
                  <a:lnTo>
                    <a:pt x="34" y="367"/>
                  </a:lnTo>
                  <a:lnTo>
                    <a:pt x="36" y="369"/>
                  </a:lnTo>
                  <a:lnTo>
                    <a:pt x="37" y="370"/>
                  </a:lnTo>
                  <a:lnTo>
                    <a:pt x="39" y="364"/>
                  </a:lnTo>
                  <a:lnTo>
                    <a:pt x="36" y="358"/>
                  </a:lnTo>
                  <a:lnTo>
                    <a:pt x="34" y="354"/>
                  </a:lnTo>
                  <a:lnTo>
                    <a:pt x="37" y="354"/>
                  </a:lnTo>
                  <a:lnTo>
                    <a:pt x="39" y="356"/>
                  </a:lnTo>
                  <a:lnTo>
                    <a:pt x="42" y="354"/>
                  </a:lnTo>
                  <a:lnTo>
                    <a:pt x="43" y="350"/>
                  </a:lnTo>
                  <a:lnTo>
                    <a:pt x="46" y="346"/>
                  </a:lnTo>
                  <a:lnTo>
                    <a:pt x="47" y="346"/>
                  </a:lnTo>
                  <a:lnTo>
                    <a:pt x="47" y="347"/>
                  </a:lnTo>
                  <a:lnTo>
                    <a:pt x="47" y="350"/>
                  </a:lnTo>
                  <a:lnTo>
                    <a:pt x="44" y="354"/>
                  </a:lnTo>
                  <a:lnTo>
                    <a:pt x="43" y="357"/>
                  </a:lnTo>
                  <a:lnTo>
                    <a:pt x="44" y="361"/>
                  </a:lnTo>
                  <a:lnTo>
                    <a:pt x="46" y="363"/>
                  </a:lnTo>
                  <a:lnTo>
                    <a:pt x="44" y="366"/>
                  </a:lnTo>
                  <a:lnTo>
                    <a:pt x="43" y="367"/>
                  </a:lnTo>
                  <a:lnTo>
                    <a:pt x="42" y="369"/>
                  </a:lnTo>
                  <a:lnTo>
                    <a:pt x="40" y="371"/>
                  </a:lnTo>
                  <a:lnTo>
                    <a:pt x="42" y="377"/>
                  </a:lnTo>
                  <a:lnTo>
                    <a:pt x="43" y="380"/>
                  </a:lnTo>
                  <a:lnTo>
                    <a:pt x="46" y="383"/>
                  </a:lnTo>
                  <a:lnTo>
                    <a:pt x="44" y="387"/>
                  </a:lnTo>
                  <a:lnTo>
                    <a:pt x="43" y="393"/>
                  </a:lnTo>
                  <a:lnTo>
                    <a:pt x="42" y="399"/>
                  </a:lnTo>
                  <a:lnTo>
                    <a:pt x="44" y="403"/>
                  </a:lnTo>
                  <a:lnTo>
                    <a:pt x="46" y="404"/>
                  </a:lnTo>
                  <a:lnTo>
                    <a:pt x="49" y="404"/>
                  </a:lnTo>
                  <a:lnTo>
                    <a:pt x="50" y="404"/>
                  </a:lnTo>
                  <a:lnTo>
                    <a:pt x="52" y="404"/>
                  </a:lnTo>
                  <a:lnTo>
                    <a:pt x="53" y="404"/>
                  </a:lnTo>
                  <a:lnTo>
                    <a:pt x="56" y="403"/>
                  </a:lnTo>
                  <a:lnTo>
                    <a:pt x="59" y="400"/>
                  </a:lnTo>
                  <a:lnTo>
                    <a:pt x="59" y="397"/>
                  </a:lnTo>
                  <a:lnTo>
                    <a:pt x="57" y="394"/>
                  </a:lnTo>
                  <a:lnTo>
                    <a:pt x="59" y="393"/>
                  </a:lnTo>
                  <a:lnTo>
                    <a:pt x="62" y="391"/>
                  </a:lnTo>
                  <a:lnTo>
                    <a:pt x="64" y="391"/>
                  </a:lnTo>
                  <a:lnTo>
                    <a:pt x="66" y="393"/>
                  </a:lnTo>
                  <a:lnTo>
                    <a:pt x="66" y="396"/>
                  </a:lnTo>
                  <a:lnTo>
                    <a:pt x="66" y="401"/>
                  </a:lnTo>
                  <a:lnTo>
                    <a:pt x="69" y="403"/>
                  </a:lnTo>
                  <a:lnTo>
                    <a:pt x="69" y="400"/>
                  </a:lnTo>
                  <a:lnTo>
                    <a:pt x="67" y="391"/>
                  </a:lnTo>
                  <a:lnTo>
                    <a:pt x="66" y="389"/>
                  </a:lnTo>
                  <a:lnTo>
                    <a:pt x="63" y="386"/>
                  </a:lnTo>
                  <a:lnTo>
                    <a:pt x="63" y="383"/>
                  </a:lnTo>
                  <a:lnTo>
                    <a:pt x="62" y="380"/>
                  </a:lnTo>
                  <a:lnTo>
                    <a:pt x="57" y="374"/>
                  </a:lnTo>
                  <a:lnTo>
                    <a:pt x="57" y="370"/>
                  </a:lnTo>
                  <a:lnTo>
                    <a:pt x="57" y="369"/>
                  </a:lnTo>
                  <a:lnTo>
                    <a:pt x="59" y="367"/>
                  </a:lnTo>
                  <a:lnTo>
                    <a:pt x="60" y="370"/>
                  </a:lnTo>
                  <a:lnTo>
                    <a:pt x="60" y="373"/>
                  </a:lnTo>
                  <a:lnTo>
                    <a:pt x="62" y="376"/>
                  </a:lnTo>
                  <a:lnTo>
                    <a:pt x="66" y="380"/>
                  </a:lnTo>
                  <a:lnTo>
                    <a:pt x="67" y="387"/>
                  </a:lnTo>
                  <a:lnTo>
                    <a:pt x="70" y="390"/>
                  </a:lnTo>
                  <a:lnTo>
                    <a:pt x="73" y="390"/>
                  </a:lnTo>
                  <a:lnTo>
                    <a:pt x="76" y="389"/>
                  </a:lnTo>
                  <a:lnTo>
                    <a:pt x="77" y="389"/>
                  </a:lnTo>
                  <a:lnTo>
                    <a:pt x="77" y="389"/>
                  </a:lnTo>
                  <a:lnTo>
                    <a:pt x="79" y="390"/>
                  </a:lnTo>
                  <a:lnTo>
                    <a:pt x="77" y="393"/>
                  </a:lnTo>
                  <a:lnTo>
                    <a:pt x="76" y="396"/>
                  </a:lnTo>
                  <a:lnTo>
                    <a:pt x="76" y="397"/>
                  </a:lnTo>
                  <a:lnTo>
                    <a:pt x="79" y="401"/>
                  </a:lnTo>
                  <a:lnTo>
                    <a:pt x="79" y="406"/>
                  </a:lnTo>
                  <a:lnTo>
                    <a:pt x="79" y="411"/>
                  </a:lnTo>
                  <a:lnTo>
                    <a:pt x="80" y="413"/>
                  </a:lnTo>
                  <a:lnTo>
                    <a:pt x="80" y="411"/>
                  </a:lnTo>
                  <a:lnTo>
                    <a:pt x="80" y="404"/>
                  </a:lnTo>
                  <a:lnTo>
                    <a:pt x="80" y="399"/>
                  </a:lnTo>
                  <a:lnTo>
                    <a:pt x="82" y="397"/>
                  </a:lnTo>
                  <a:lnTo>
                    <a:pt x="83" y="397"/>
                  </a:lnTo>
                  <a:lnTo>
                    <a:pt x="83" y="401"/>
                  </a:lnTo>
                  <a:lnTo>
                    <a:pt x="82" y="414"/>
                  </a:lnTo>
                  <a:lnTo>
                    <a:pt x="82" y="417"/>
                  </a:lnTo>
                  <a:lnTo>
                    <a:pt x="80" y="417"/>
                  </a:lnTo>
                  <a:lnTo>
                    <a:pt x="79" y="417"/>
                  </a:lnTo>
                  <a:lnTo>
                    <a:pt x="76" y="416"/>
                  </a:lnTo>
                  <a:lnTo>
                    <a:pt x="76" y="413"/>
                  </a:lnTo>
                  <a:lnTo>
                    <a:pt x="76" y="410"/>
                  </a:lnTo>
                  <a:lnTo>
                    <a:pt x="76" y="409"/>
                  </a:lnTo>
                  <a:lnTo>
                    <a:pt x="73" y="409"/>
                  </a:lnTo>
                  <a:lnTo>
                    <a:pt x="73" y="411"/>
                  </a:lnTo>
                  <a:lnTo>
                    <a:pt x="73" y="416"/>
                  </a:lnTo>
                  <a:lnTo>
                    <a:pt x="74" y="419"/>
                  </a:lnTo>
                  <a:lnTo>
                    <a:pt x="77" y="420"/>
                  </a:lnTo>
                  <a:lnTo>
                    <a:pt x="79" y="421"/>
                  </a:lnTo>
                  <a:lnTo>
                    <a:pt x="77" y="424"/>
                  </a:lnTo>
                  <a:lnTo>
                    <a:pt x="77" y="426"/>
                  </a:lnTo>
                  <a:lnTo>
                    <a:pt x="77" y="427"/>
                  </a:lnTo>
                  <a:lnTo>
                    <a:pt x="80" y="426"/>
                  </a:lnTo>
                  <a:lnTo>
                    <a:pt x="82" y="427"/>
                  </a:lnTo>
                  <a:lnTo>
                    <a:pt x="82" y="430"/>
                  </a:lnTo>
                  <a:lnTo>
                    <a:pt x="83" y="430"/>
                  </a:lnTo>
                  <a:lnTo>
                    <a:pt x="85" y="429"/>
                  </a:lnTo>
                  <a:lnTo>
                    <a:pt x="86" y="427"/>
                  </a:lnTo>
                  <a:lnTo>
                    <a:pt x="85" y="420"/>
                  </a:lnTo>
                  <a:lnTo>
                    <a:pt x="85" y="416"/>
                  </a:lnTo>
                  <a:lnTo>
                    <a:pt x="85" y="413"/>
                  </a:lnTo>
                  <a:lnTo>
                    <a:pt x="85" y="410"/>
                  </a:lnTo>
                  <a:lnTo>
                    <a:pt x="86" y="411"/>
                  </a:lnTo>
                  <a:lnTo>
                    <a:pt x="89" y="414"/>
                  </a:lnTo>
                  <a:lnTo>
                    <a:pt x="90" y="423"/>
                  </a:lnTo>
                  <a:lnTo>
                    <a:pt x="92" y="429"/>
                  </a:lnTo>
                  <a:lnTo>
                    <a:pt x="92" y="432"/>
                  </a:lnTo>
                  <a:lnTo>
                    <a:pt x="93" y="432"/>
                  </a:lnTo>
                  <a:lnTo>
                    <a:pt x="95" y="430"/>
                  </a:lnTo>
                  <a:lnTo>
                    <a:pt x="93" y="426"/>
                  </a:lnTo>
                  <a:lnTo>
                    <a:pt x="92" y="421"/>
                  </a:lnTo>
                  <a:lnTo>
                    <a:pt x="93" y="420"/>
                  </a:lnTo>
                  <a:lnTo>
                    <a:pt x="96" y="420"/>
                  </a:lnTo>
                  <a:lnTo>
                    <a:pt x="97" y="423"/>
                  </a:lnTo>
                  <a:lnTo>
                    <a:pt x="96" y="423"/>
                  </a:lnTo>
                  <a:lnTo>
                    <a:pt x="96" y="424"/>
                  </a:lnTo>
                  <a:lnTo>
                    <a:pt x="95" y="427"/>
                  </a:lnTo>
                  <a:lnTo>
                    <a:pt x="97" y="430"/>
                  </a:lnTo>
                  <a:lnTo>
                    <a:pt x="99" y="437"/>
                  </a:lnTo>
                  <a:lnTo>
                    <a:pt x="105" y="443"/>
                  </a:lnTo>
                  <a:lnTo>
                    <a:pt x="109" y="446"/>
                  </a:lnTo>
                  <a:lnTo>
                    <a:pt x="110" y="446"/>
                  </a:lnTo>
                  <a:lnTo>
                    <a:pt x="112" y="434"/>
                  </a:lnTo>
                  <a:lnTo>
                    <a:pt x="113" y="430"/>
                  </a:lnTo>
                  <a:lnTo>
                    <a:pt x="112" y="429"/>
                  </a:lnTo>
                  <a:lnTo>
                    <a:pt x="109" y="429"/>
                  </a:lnTo>
                  <a:lnTo>
                    <a:pt x="107" y="429"/>
                  </a:lnTo>
                  <a:lnTo>
                    <a:pt x="107" y="430"/>
                  </a:lnTo>
                  <a:lnTo>
                    <a:pt x="107" y="433"/>
                  </a:lnTo>
                  <a:lnTo>
                    <a:pt x="105" y="434"/>
                  </a:lnTo>
                  <a:lnTo>
                    <a:pt x="103" y="434"/>
                  </a:lnTo>
                  <a:lnTo>
                    <a:pt x="100" y="429"/>
                  </a:lnTo>
                  <a:lnTo>
                    <a:pt x="100" y="427"/>
                  </a:lnTo>
                  <a:lnTo>
                    <a:pt x="103" y="427"/>
                  </a:lnTo>
                  <a:lnTo>
                    <a:pt x="105" y="427"/>
                  </a:lnTo>
                  <a:lnTo>
                    <a:pt x="105" y="426"/>
                  </a:lnTo>
                  <a:lnTo>
                    <a:pt x="103" y="423"/>
                  </a:lnTo>
                  <a:lnTo>
                    <a:pt x="103" y="420"/>
                  </a:lnTo>
                  <a:lnTo>
                    <a:pt x="103" y="420"/>
                  </a:lnTo>
                  <a:lnTo>
                    <a:pt x="106" y="420"/>
                  </a:lnTo>
                  <a:lnTo>
                    <a:pt x="109" y="423"/>
                  </a:lnTo>
                  <a:lnTo>
                    <a:pt x="110" y="423"/>
                  </a:lnTo>
                  <a:lnTo>
                    <a:pt x="109" y="417"/>
                  </a:lnTo>
                  <a:lnTo>
                    <a:pt x="110" y="416"/>
                  </a:lnTo>
                  <a:lnTo>
                    <a:pt x="112" y="416"/>
                  </a:lnTo>
                  <a:lnTo>
                    <a:pt x="113" y="423"/>
                  </a:lnTo>
                  <a:lnTo>
                    <a:pt x="115" y="424"/>
                  </a:lnTo>
                  <a:lnTo>
                    <a:pt x="117" y="424"/>
                  </a:lnTo>
                  <a:lnTo>
                    <a:pt x="119" y="424"/>
                  </a:lnTo>
                  <a:lnTo>
                    <a:pt x="122" y="423"/>
                  </a:lnTo>
                  <a:lnTo>
                    <a:pt x="125" y="424"/>
                  </a:lnTo>
                  <a:lnTo>
                    <a:pt x="125" y="427"/>
                  </a:lnTo>
                  <a:lnTo>
                    <a:pt x="125" y="429"/>
                  </a:lnTo>
                  <a:lnTo>
                    <a:pt x="123" y="429"/>
                  </a:lnTo>
                  <a:lnTo>
                    <a:pt x="120" y="427"/>
                  </a:lnTo>
                  <a:lnTo>
                    <a:pt x="119" y="429"/>
                  </a:lnTo>
                  <a:lnTo>
                    <a:pt x="119" y="430"/>
                  </a:lnTo>
                  <a:lnTo>
                    <a:pt x="117" y="433"/>
                  </a:lnTo>
                  <a:lnTo>
                    <a:pt x="116" y="434"/>
                  </a:lnTo>
                  <a:lnTo>
                    <a:pt x="115" y="436"/>
                  </a:lnTo>
                  <a:lnTo>
                    <a:pt x="115" y="437"/>
                  </a:lnTo>
                  <a:lnTo>
                    <a:pt x="115" y="439"/>
                  </a:lnTo>
                  <a:lnTo>
                    <a:pt x="115" y="442"/>
                  </a:lnTo>
                  <a:lnTo>
                    <a:pt x="116" y="442"/>
                  </a:lnTo>
                  <a:lnTo>
                    <a:pt x="117" y="440"/>
                  </a:lnTo>
                  <a:lnTo>
                    <a:pt x="117" y="439"/>
                  </a:lnTo>
                  <a:lnTo>
                    <a:pt x="119" y="437"/>
                  </a:lnTo>
                  <a:lnTo>
                    <a:pt x="119" y="439"/>
                  </a:lnTo>
                  <a:lnTo>
                    <a:pt x="119" y="442"/>
                  </a:lnTo>
                  <a:lnTo>
                    <a:pt x="125" y="456"/>
                  </a:lnTo>
                  <a:lnTo>
                    <a:pt x="130" y="466"/>
                  </a:lnTo>
                  <a:lnTo>
                    <a:pt x="133" y="469"/>
                  </a:lnTo>
                  <a:lnTo>
                    <a:pt x="136" y="470"/>
                  </a:lnTo>
                  <a:lnTo>
                    <a:pt x="139" y="472"/>
                  </a:lnTo>
                  <a:lnTo>
                    <a:pt x="140" y="472"/>
                  </a:lnTo>
                  <a:lnTo>
                    <a:pt x="140" y="470"/>
                  </a:lnTo>
                  <a:lnTo>
                    <a:pt x="139" y="467"/>
                  </a:lnTo>
                  <a:lnTo>
                    <a:pt x="139" y="464"/>
                  </a:lnTo>
                  <a:lnTo>
                    <a:pt x="139" y="463"/>
                  </a:lnTo>
                  <a:lnTo>
                    <a:pt x="136" y="460"/>
                  </a:lnTo>
                  <a:lnTo>
                    <a:pt x="132" y="457"/>
                  </a:lnTo>
                  <a:lnTo>
                    <a:pt x="127" y="450"/>
                  </a:lnTo>
                  <a:lnTo>
                    <a:pt x="126" y="446"/>
                  </a:lnTo>
                  <a:lnTo>
                    <a:pt x="127" y="439"/>
                  </a:lnTo>
                  <a:lnTo>
                    <a:pt x="127" y="437"/>
                  </a:lnTo>
                  <a:lnTo>
                    <a:pt x="129" y="437"/>
                  </a:lnTo>
                  <a:lnTo>
                    <a:pt x="130" y="440"/>
                  </a:lnTo>
                  <a:lnTo>
                    <a:pt x="130" y="443"/>
                  </a:lnTo>
                  <a:lnTo>
                    <a:pt x="130" y="447"/>
                  </a:lnTo>
                  <a:lnTo>
                    <a:pt x="133" y="449"/>
                  </a:lnTo>
                  <a:lnTo>
                    <a:pt x="137" y="450"/>
                  </a:lnTo>
                  <a:lnTo>
                    <a:pt x="137" y="454"/>
                  </a:lnTo>
                  <a:lnTo>
                    <a:pt x="142" y="460"/>
                  </a:lnTo>
                  <a:lnTo>
                    <a:pt x="145" y="466"/>
                  </a:lnTo>
                  <a:lnTo>
                    <a:pt x="146" y="470"/>
                  </a:lnTo>
                  <a:lnTo>
                    <a:pt x="148" y="472"/>
                  </a:lnTo>
                  <a:lnTo>
                    <a:pt x="149" y="472"/>
                  </a:lnTo>
                  <a:lnTo>
                    <a:pt x="155" y="470"/>
                  </a:lnTo>
                  <a:lnTo>
                    <a:pt x="162" y="464"/>
                  </a:lnTo>
                  <a:lnTo>
                    <a:pt x="163" y="462"/>
                  </a:lnTo>
                  <a:lnTo>
                    <a:pt x="163" y="456"/>
                  </a:lnTo>
                  <a:lnTo>
                    <a:pt x="165" y="454"/>
                  </a:lnTo>
                  <a:lnTo>
                    <a:pt x="165" y="456"/>
                  </a:lnTo>
                  <a:lnTo>
                    <a:pt x="168" y="462"/>
                  </a:lnTo>
                  <a:lnTo>
                    <a:pt x="169" y="464"/>
                  </a:lnTo>
                  <a:lnTo>
                    <a:pt x="170" y="464"/>
                  </a:lnTo>
                  <a:lnTo>
                    <a:pt x="170" y="460"/>
                  </a:lnTo>
                  <a:lnTo>
                    <a:pt x="170" y="453"/>
                  </a:lnTo>
                  <a:lnTo>
                    <a:pt x="170" y="446"/>
                  </a:lnTo>
                  <a:lnTo>
                    <a:pt x="170" y="446"/>
                  </a:lnTo>
                  <a:lnTo>
                    <a:pt x="168" y="444"/>
                  </a:lnTo>
                  <a:lnTo>
                    <a:pt x="166" y="443"/>
                  </a:lnTo>
                  <a:lnTo>
                    <a:pt x="165" y="440"/>
                  </a:lnTo>
                  <a:lnTo>
                    <a:pt x="165" y="436"/>
                  </a:lnTo>
                  <a:lnTo>
                    <a:pt x="163" y="434"/>
                  </a:lnTo>
                  <a:lnTo>
                    <a:pt x="160" y="432"/>
                  </a:lnTo>
                  <a:lnTo>
                    <a:pt x="158" y="430"/>
                  </a:lnTo>
                  <a:lnTo>
                    <a:pt x="158" y="429"/>
                  </a:lnTo>
                  <a:lnTo>
                    <a:pt x="158" y="426"/>
                  </a:lnTo>
                  <a:lnTo>
                    <a:pt x="158" y="411"/>
                  </a:lnTo>
                  <a:lnTo>
                    <a:pt x="158" y="386"/>
                  </a:lnTo>
                  <a:lnTo>
                    <a:pt x="158" y="374"/>
                  </a:lnTo>
                  <a:lnTo>
                    <a:pt x="155" y="364"/>
                  </a:lnTo>
                  <a:lnTo>
                    <a:pt x="156" y="357"/>
                  </a:lnTo>
                  <a:lnTo>
                    <a:pt x="159" y="343"/>
                  </a:lnTo>
                  <a:lnTo>
                    <a:pt x="165" y="326"/>
                  </a:lnTo>
                  <a:lnTo>
                    <a:pt x="172" y="308"/>
                  </a:lnTo>
                  <a:lnTo>
                    <a:pt x="173" y="298"/>
                  </a:lnTo>
                  <a:lnTo>
                    <a:pt x="175" y="291"/>
                  </a:lnTo>
                  <a:lnTo>
                    <a:pt x="179" y="281"/>
                  </a:lnTo>
                  <a:lnTo>
                    <a:pt x="186" y="263"/>
                  </a:lnTo>
                  <a:lnTo>
                    <a:pt x="192" y="254"/>
                  </a:lnTo>
                  <a:lnTo>
                    <a:pt x="195" y="248"/>
                  </a:lnTo>
                  <a:lnTo>
                    <a:pt x="196" y="247"/>
                  </a:lnTo>
                  <a:lnTo>
                    <a:pt x="195" y="245"/>
                  </a:lnTo>
                  <a:lnTo>
                    <a:pt x="195" y="242"/>
                  </a:lnTo>
                  <a:lnTo>
                    <a:pt x="196" y="242"/>
                  </a:lnTo>
                  <a:lnTo>
                    <a:pt x="196" y="242"/>
                  </a:lnTo>
                  <a:lnTo>
                    <a:pt x="198" y="244"/>
                  </a:lnTo>
                  <a:lnTo>
                    <a:pt x="199" y="244"/>
                  </a:lnTo>
                  <a:lnTo>
                    <a:pt x="199" y="242"/>
                  </a:lnTo>
                  <a:lnTo>
                    <a:pt x="199" y="240"/>
                  </a:lnTo>
                  <a:lnTo>
                    <a:pt x="198" y="235"/>
                  </a:lnTo>
                  <a:lnTo>
                    <a:pt x="195" y="234"/>
                  </a:lnTo>
                  <a:lnTo>
                    <a:pt x="192" y="232"/>
                  </a:lnTo>
                  <a:lnTo>
                    <a:pt x="192" y="231"/>
                  </a:lnTo>
                  <a:lnTo>
                    <a:pt x="192" y="228"/>
                  </a:lnTo>
                  <a:lnTo>
                    <a:pt x="195" y="228"/>
                  </a:lnTo>
                  <a:lnTo>
                    <a:pt x="196" y="228"/>
                  </a:lnTo>
                  <a:lnTo>
                    <a:pt x="198" y="231"/>
                  </a:lnTo>
                  <a:lnTo>
                    <a:pt x="198" y="234"/>
                  </a:lnTo>
                  <a:lnTo>
                    <a:pt x="201" y="234"/>
                  </a:lnTo>
                  <a:lnTo>
                    <a:pt x="201" y="232"/>
                  </a:lnTo>
                  <a:lnTo>
                    <a:pt x="201" y="230"/>
                  </a:lnTo>
                  <a:lnTo>
                    <a:pt x="203" y="228"/>
                  </a:lnTo>
                  <a:lnTo>
                    <a:pt x="209" y="225"/>
                  </a:lnTo>
                  <a:lnTo>
                    <a:pt x="211" y="224"/>
                  </a:lnTo>
                  <a:lnTo>
                    <a:pt x="211" y="221"/>
                  </a:lnTo>
                  <a:lnTo>
                    <a:pt x="211" y="218"/>
                  </a:lnTo>
                  <a:lnTo>
                    <a:pt x="212" y="215"/>
                  </a:lnTo>
                  <a:lnTo>
                    <a:pt x="218" y="211"/>
                  </a:lnTo>
                  <a:lnTo>
                    <a:pt x="222" y="211"/>
                  </a:lnTo>
                  <a:lnTo>
                    <a:pt x="226" y="211"/>
                  </a:lnTo>
                  <a:lnTo>
                    <a:pt x="229" y="210"/>
                  </a:lnTo>
                  <a:lnTo>
                    <a:pt x="231" y="207"/>
                  </a:lnTo>
                  <a:lnTo>
                    <a:pt x="232" y="204"/>
                  </a:lnTo>
                  <a:lnTo>
                    <a:pt x="235" y="201"/>
                  </a:lnTo>
                  <a:lnTo>
                    <a:pt x="236" y="200"/>
                  </a:lnTo>
                  <a:lnTo>
                    <a:pt x="236" y="197"/>
                  </a:lnTo>
                  <a:lnTo>
                    <a:pt x="235" y="191"/>
                  </a:lnTo>
                  <a:lnTo>
                    <a:pt x="235" y="188"/>
                  </a:lnTo>
                  <a:lnTo>
                    <a:pt x="236" y="185"/>
                  </a:lnTo>
                  <a:lnTo>
                    <a:pt x="239" y="185"/>
                  </a:lnTo>
                  <a:lnTo>
                    <a:pt x="246" y="182"/>
                  </a:lnTo>
                  <a:lnTo>
                    <a:pt x="252" y="175"/>
                  </a:lnTo>
                  <a:lnTo>
                    <a:pt x="254" y="174"/>
                  </a:lnTo>
                  <a:lnTo>
                    <a:pt x="254" y="171"/>
                  </a:lnTo>
                  <a:lnTo>
                    <a:pt x="249" y="169"/>
                  </a:lnTo>
                  <a:lnTo>
                    <a:pt x="246" y="167"/>
                  </a:lnTo>
                  <a:lnTo>
                    <a:pt x="245" y="164"/>
                  </a:lnTo>
                  <a:lnTo>
                    <a:pt x="245" y="162"/>
                  </a:lnTo>
                  <a:lnTo>
                    <a:pt x="246" y="162"/>
                  </a:lnTo>
                  <a:lnTo>
                    <a:pt x="248" y="165"/>
                  </a:lnTo>
                  <a:lnTo>
                    <a:pt x="254" y="167"/>
                  </a:lnTo>
                  <a:lnTo>
                    <a:pt x="256" y="169"/>
                  </a:lnTo>
                  <a:lnTo>
                    <a:pt x="259" y="169"/>
                  </a:lnTo>
                  <a:lnTo>
                    <a:pt x="262" y="168"/>
                  </a:lnTo>
                  <a:lnTo>
                    <a:pt x="264" y="164"/>
                  </a:lnTo>
                  <a:lnTo>
                    <a:pt x="264" y="161"/>
                  </a:lnTo>
                  <a:lnTo>
                    <a:pt x="262" y="157"/>
                  </a:lnTo>
                  <a:lnTo>
                    <a:pt x="262" y="152"/>
                  </a:lnTo>
                  <a:lnTo>
                    <a:pt x="262" y="151"/>
                  </a:lnTo>
                  <a:lnTo>
                    <a:pt x="264" y="151"/>
                  </a:lnTo>
                  <a:lnTo>
                    <a:pt x="265" y="154"/>
                  </a:lnTo>
                  <a:lnTo>
                    <a:pt x="266" y="157"/>
                  </a:lnTo>
                  <a:lnTo>
                    <a:pt x="265" y="159"/>
                  </a:lnTo>
                  <a:lnTo>
                    <a:pt x="265" y="161"/>
                  </a:lnTo>
                  <a:lnTo>
                    <a:pt x="268" y="162"/>
                  </a:lnTo>
                  <a:lnTo>
                    <a:pt x="271" y="162"/>
                  </a:lnTo>
                  <a:lnTo>
                    <a:pt x="274" y="159"/>
                  </a:lnTo>
                  <a:lnTo>
                    <a:pt x="276" y="158"/>
                  </a:lnTo>
                  <a:lnTo>
                    <a:pt x="282" y="157"/>
                  </a:lnTo>
                  <a:lnTo>
                    <a:pt x="284" y="154"/>
                  </a:lnTo>
                  <a:lnTo>
                    <a:pt x="284" y="151"/>
                  </a:lnTo>
                  <a:lnTo>
                    <a:pt x="286" y="149"/>
                  </a:lnTo>
                  <a:lnTo>
                    <a:pt x="286" y="151"/>
                  </a:lnTo>
                  <a:lnTo>
                    <a:pt x="291" y="154"/>
                  </a:lnTo>
                  <a:lnTo>
                    <a:pt x="292" y="157"/>
                  </a:lnTo>
                  <a:lnTo>
                    <a:pt x="294" y="157"/>
                  </a:lnTo>
                  <a:lnTo>
                    <a:pt x="296" y="154"/>
                  </a:lnTo>
                  <a:lnTo>
                    <a:pt x="299" y="144"/>
                  </a:lnTo>
                  <a:lnTo>
                    <a:pt x="298" y="142"/>
                  </a:lnTo>
                  <a:lnTo>
                    <a:pt x="294" y="138"/>
                  </a:lnTo>
                  <a:lnTo>
                    <a:pt x="291" y="136"/>
                  </a:lnTo>
                  <a:lnTo>
                    <a:pt x="291" y="134"/>
                  </a:lnTo>
                  <a:lnTo>
                    <a:pt x="291" y="132"/>
                  </a:lnTo>
                  <a:lnTo>
                    <a:pt x="294" y="132"/>
                  </a:lnTo>
                  <a:lnTo>
                    <a:pt x="294" y="135"/>
                  </a:lnTo>
                  <a:lnTo>
                    <a:pt x="298" y="139"/>
                  </a:lnTo>
                  <a:lnTo>
                    <a:pt x="301" y="139"/>
                  </a:lnTo>
                  <a:lnTo>
                    <a:pt x="302" y="138"/>
                  </a:lnTo>
                  <a:lnTo>
                    <a:pt x="302" y="135"/>
                  </a:lnTo>
                  <a:lnTo>
                    <a:pt x="304" y="135"/>
                  </a:lnTo>
                  <a:lnTo>
                    <a:pt x="305" y="135"/>
                  </a:lnTo>
                  <a:lnTo>
                    <a:pt x="305" y="138"/>
                  </a:lnTo>
                  <a:lnTo>
                    <a:pt x="306" y="141"/>
                  </a:lnTo>
                  <a:lnTo>
                    <a:pt x="309" y="144"/>
                  </a:lnTo>
                  <a:lnTo>
                    <a:pt x="314" y="145"/>
                  </a:lnTo>
                  <a:lnTo>
                    <a:pt x="317" y="145"/>
                  </a:lnTo>
                  <a:lnTo>
                    <a:pt x="325" y="138"/>
                  </a:lnTo>
                  <a:lnTo>
                    <a:pt x="329" y="134"/>
                  </a:lnTo>
                  <a:lnTo>
                    <a:pt x="334" y="131"/>
                  </a:lnTo>
                  <a:lnTo>
                    <a:pt x="335" y="129"/>
                  </a:lnTo>
                  <a:lnTo>
                    <a:pt x="337" y="126"/>
                  </a:lnTo>
                  <a:lnTo>
                    <a:pt x="335" y="124"/>
                  </a:lnTo>
                  <a:lnTo>
                    <a:pt x="332" y="122"/>
                  </a:lnTo>
                  <a:lnTo>
                    <a:pt x="329" y="122"/>
                  </a:lnTo>
                  <a:lnTo>
                    <a:pt x="327" y="124"/>
                  </a:lnTo>
                  <a:lnTo>
                    <a:pt x="324" y="121"/>
                  </a:lnTo>
                  <a:lnTo>
                    <a:pt x="321" y="121"/>
                  </a:lnTo>
                  <a:lnTo>
                    <a:pt x="319" y="121"/>
                  </a:lnTo>
                  <a:lnTo>
                    <a:pt x="318" y="119"/>
                  </a:lnTo>
                  <a:lnTo>
                    <a:pt x="317" y="116"/>
                  </a:lnTo>
                  <a:lnTo>
                    <a:pt x="315" y="114"/>
                  </a:lnTo>
                  <a:lnTo>
                    <a:pt x="315" y="112"/>
                  </a:lnTo>
                  <a:lnTo>
                    <a:pt x="317" y="114"/>
                  </a:lnTo>
                  <a:lnTo>
                    <a:pt x="322" y="116"/>
                  </a:lnTo>
                  <a:lnTo>
                    <a:pt x="327" y="119"/>
                  </a:lnTo>
                  <a:lnTo>
                    <a:pt x="329" y="119"/>
                  </a:lnTo>
                  <a:lnTo>
                    <a:pt x="331" y="118"/>
                  </a:lnTo>
                  <a:lnTo>
                    <a:pt x="334" y="118"/>
                  </a:lnTo>
                  <a:lnTo>
                    <a:pt x="338" y="121"/>
                  </a:lnTo>
                  <a:lnTo>
                    <a:pt x="341" y="125"/>
                  </a:lnTo>
                  <a:lnTo>
                    <a:pt x="344" y="125"/>
                  </a:lnTo>
                  <a:lnTo>
                    <a:pt x="347" y="124"/>
                  </a:lnTo>
                  <a:lnTo>
                    <a:pt x="349" y="122"/>
                  </a:lnTo>
                  <a:lnTo>
                    <a:pt x="352" y="124"/>
                  </a:lnTo>
                  <a:lnTo>
                    <a:pt x="352" y="122"/>
                  </a:lnTo>
                  <a:lnTo>
                    <a:pt x="354" y="121"/>
                  </a:lnTo>
                  <a:lnTo>
                    <a:pt x="351" y="118"/>
                  </a:lnTo>
                  <a:lnTo>
                    <a:pt x="349" y="115"/>
                  </a:lnTo>
                  <a:lnTo>
                    <a:pt x="347" y="112"/>
                  </a:lnTo>
                  <a:lnTo>
                    <a:pt x="342" y="111"/>
                  </a:lnTo>
                  <a:lnTo>
                    <a:pt x="339" y="106"/>
                  </a:lnTo>
                  <a:lnTo>
                    <a:pt x="337" y="105"/>
                  </a:lnTo>
                  <a:lnTo>
                    <a:pt x="337" y="104"/>
                  </a:lnTo>
                  <a:lnTo>
                    <a:pt x="338" y="104"/>
                  </a:lnTo>
                  <a:lnTo>
                    <a:pt x="341" y="105"/>
                  </a:lnTo>
                  <a:lnTo>
                    <a:pt x="345" y="106"/>
                  </a:lnTo>
                  <a:lnTo>
                    <a:pt x="348" y="109"/>
                  </a:lnTo>
                  <a:lnTo>
                    <a:pt x="351" y="111"/>
                  </a:lnTo>
                  <a:lnTo>
                    <a:pt x="355" y="111"/>
                  </a:lnTo>
                  <a:lnTo>
                    <a:pt x="359" y="112"/>
                  </a:lnTo>
                  <a:lnTo>
                    <a:pt x="361" y="114"/>
                  </a:lnTo>
                  <a:lnTo>
                    <a:pt x="364" y="115"/>
                  </a:lnTo>
                  <a:lnTo>
                    <a:pt x="368" y="114"/>
                  </a:lnTo>
                  <a:lnTo>
                    <a:pt x="372" y="109"/>
                  </a:lnTo>
                  <a:lnTo>
                    <a:pt x="372" y="106"/>
                  </a:lnTo>
                  <a:lnTo>
                    <a:pt x="372" y="104"/>
                  </a:lnTo>
                  <a:lnTo>
                    <a:pt x="372" y="95"/>
                  </a:lnTo>
                  <a:lnTo>
                    <a:pt x="370" y="89"/>
                  </a:lnTo>
                  <a:lnTo>
                    <a:pt x="365" y="85"/>
                  </a:lnTo>
                  <a:lnTo>
                    <a:pt x="362" y="82"/>
                  </a:lnTo>
                  <a:lnTo>
                    <a:pt x="359" y="82"/>
                  </a:lnTo>
                  <a:lnTo>
                    <a:pt x="355" y="82"/>
                  </a:lnTo>
                  <a:lnTo>
                    <a:pt x="354" y="81"/>
                  </a:lnTo>
                  <a:lnTo>
                    <a:pt x="355" y="79"/>
                  </a:lnTo>
                  <a:lnTo>
                    <a:pt x="358" y="79"/>
                  </a:lnTo>
                  <a:lnTo>
                    <a:pt x="359" y="78"/>
                  </a:lnTo>
                  <a:lnTo>
                    <a:pt x="358" y="75"/>
                  </a:lnTo>
                  <a:lnTo>
                    <a:pt x="357" y="72"/>
                  </a:lnTo>
                  <a:lnTo>
                    <a:pt x="357" y="69"/>
                  </a:lnTo>
                  <a:lnTo>
                    <a:pt x="357" y="66"/>
                  </a:lnTo>
                  <a:lnTo>
                    <a:pt x="354" y="62"/>
                  </a:lnTo>
                  <a:lnTo>
                    <a:pt x="347" y="59"/>
                  </a:lnTo>
                  <a:lnTo>
                    <a:pt x="344" y="58"/>
                  </a:lnTo>
                  <a:lnTo>
                    <a:pt x="341" y="55"/>
                  </a:lnTo>
                  <a:lnTo>
                    <a:pt x="341" y="51"/>
                  </a:lnTo>
                  <a:lnTo>
                    <a:pt x="341" y="42"/>
                  </a:lnTo>
                  <a:lnTo>
                    <a:pt x="339" y="35"/>
                  </a:lnTo>
                  <a:lnTo>
                    <a:pt x="338" y="28"/>
                  </a:lnTo>
                  <a:lnTo>
                    <a:pt x="334" y="23"/>
                  </a:lnTo>
                  <a:lnTo>
                    <a:pt x="327" y="22"/>
                  </a:lnTo>
                  <a:lnTo>
                    <a:pt x="318" y="22"/>
                  </a:lnTo>
                  <a:lnTo>
                    <a:pt x="309" y="20"/>
                  </a:lnTo>
                  <a:lnTo>
                    <a:pt x="306" y="22"/>
                  </a:lnTo>
                  <a:lnTo>
                    <a:pt x="304" y="25"/>
                  </a:lnTo>
                  <a:lnTo>
                    <a:pt x="304" y="26"/>
                  </a:lnTo>
                  <a:lnTo>
                    <a:pt x="304" y="28"/>
                  </a:lnTo>
                  <a:lnTo>
                    <a:pt x="301" y="26"/>
                  </a:lnTo>
                  <a:lnTo>
                    <a:pt x="301" y="23"/>
                  </a:lnTo>
                  <a:lnTo>
                    <a:pt x="298" y="23"/>
                  </a:lnTo>
                  <a:lnTo>
                    <a:pt x="294" y="22"/>
                  </a:lnTo>
                  <a:lnTo>
                    <a:pt x="291" y="20"/>
                  </a:lnTo>
                  <a:lnTo>
                    <a:pt x="285" y="10"/>
                  </a:lnTo>
                  <a:lnTo>
                    <a:pt x="281" y="6"/>
                  </a:lnTo>
                  <a:lnTo>
                    <a:pt x="276" y="5"/>
                  </a:lnTo>
                  <a:lnTo>
                    <a:pt x="275" y="5"/>
                  </a:lnTo>
                  <a:lnTo>
                    <a:pt x="271" y="6"/>
                  </a:lnTo>
                  <a:lnTo>
                    <a:pt x="268" y="8"/>
                  </a:lnTo>
                  <a:lnTo>
                    <a:pt x="266" y="8"/>
                  </a:lnTo>
                  <a:lnTo>
                    <a:pt x="264" y="8"/>
                  </a:lnTo>
                  <a:lnTo>
                    <a:pt x="262" y="3"/>
                  </a:lnTo>
                  <a:lnTo>
                    <a:pt x="261" y="2"/>
                  </a:lnTo>
                  <a:lnTo>
                    <a:pt x="258" y="0"/>
                  </a:lnTo>
                  <a:lnTo>
                    <a:pt x="251" y="2"/>
                  </a:lnTo>
                  <a:lnTo>
                    <a:pt x="242" y="8"/>
                  </a:lnTo>
                  <a:lnTo>
                    <a:pt x="235" y="12"/>
                  </a:lnTo>
                  <a:lnTo>
                    <a:pt x="232" y="13"/>
                  </a:lnTo>
                  <a:lnTo>
                    <a:pt x="231" y="16"/>
                  </a:lnTo>
                  <a:lnTo>
                    <a:pt x="232" y="19"/>
                  </a:lnTo>
                  <a:lnTo>
                    <a:pt x="232" y="23"/>
                  </a:lnTo>
                  <a:lnTo>
                    <a:pt x="231" y="26"/>
                  </a:lnTo>
                  <a:lnTo>
                    <a:pt x="231" y="29"/>
                  </a:lnTo>
                  <a:lnTo>
                    <a:pt x="225" y="25"/>
                  </a:lnTo>
                  <a:lnTo>
                    <a:pt x="221" y="25"/>
                  </a:lnTo>
                  <a:lnTo>
                    <a:pt x="218" y="25"/>
                  </a:lnTo>
                  <a:lnTo>
                    <a:pt x="213" y="28"/>
                  </a:lnTo>
                  <a:lnTo>
                    <a:pt x="213" y="32"/>
                  </a:lnTo>
                  <a:lnTo>
                    <a:pt x="213" y="33"/>
                  </a:lnTo>
                  <a:lnTo>
                    <a:pt x="216" y="38"/>
                  </a:lnTo>
                  <a:lnTo>
                    <a:pt x="218" y="39"/>
                  </a:lnTo>
                  <a:lnTo>
                    <a:pt x="216" y="42"/>
                  </a:lnTo>
                  <a:lnTo>
                    <a:pt x="216" y="45"/>
                  </a:lnTo>
                  <a:lnTo>
                    <a:pt x="215" y="43"/>
                  </a:lnTo>
                  <a:lnTo>
                    <a:pt x="213" y="39"/>
                  </a:lnTo>
                  <a:lnTo>
                    <a:pt x="211" y="33"/>
                  </a:lnTo>
                  <a:lnTo>
                    <a:pt x="209" y="31"/>
                  </a:lnTo>
                  <a:lnTo>
                    <a:pt x="203" y="29"/>
                  </a:lnTo>
                  <a:lnTo>
                    <a:pt x="196" y="28"/>
                  </a:lnTo>
                  <a:lnTo>
                    <a:pt x="188" y="26"/>
                  </a:lnTo>
                  <a:lnTo>
                    <a:pt x="183" y="26"/>
                  </a:lnTo>
                  <a:lnTo>
                    <a:pt x="179" y="29"/>
                  </a:lnTo>
                  <a:lnTo>
                    <a:pt x="172" y="33"/>
                  </a:lnTo>
                  <a:lnTo>
                    <a:pt x="166" y="36"/>
                  </a:lnTo>
                  <a:lnTo>
                    <a:pt x="163" y="42"/>
                  </a:lnTo>
                  <a:lnTo>
                    <a:pt x="163" y="45"/>
                  </a:lnTo>
                  <a:lnTo>
                    <a:pt x="165" y="48"/>
                  </a:lnTo>
                  <a:lnTo>
                    <a:pt x="169" y="52"/>
                  </a:lnTo>
                  <a:lnTo>
                    <a:pt x="170" y="53"/>
                  </a:lnTo>
                  <a:lnTo>
                    <a:pt x="172" y="56"/>
                  </a:lnTo>
                  <a:lnTo>
                    <a:pt x="176" y="58"/>
                  </a:lnTo>
                  <a:lnTo>
                    <a:pt x="180" y="59"/>
                  </a:lnTo>
                  <a:lnTo>
                    <a:pt x="183" y="61"/>
                  </a:lnTo>
                  <a:lnTo>
                    <a:pt x="185" y="65"/>
                  </a:lnTo>
                  <a:lnTo>
                    <a:pt x="183" y="66"/>
                  </a:lnTo>
                  <a:lnTo>
                    <a:pt x="183" y="66"/>
                  </a:lnTo>
                  <a:lnTo>
                    <a:pt x="182" y="65"/>
                  </a:lnTo>
                  <a:lnTo>
                    <a:pt x="179" y="62"/>
                  </a:lnTo>
                  <a:lnTo>
                    <a:pt x="176" y="62"/>
                  </a:lnTo>
                  <a:lnTo>
                    <a:pt x="173" y="62"/>
                  </a:lnTo>
                  <a:lnTo>
                    <a:pt x="172" y="61"/>
                  </a:lnTo>
                  <a:lnTo>
                    <a:pt x="170" y="59"/>
                  </a:lnTo>
                  <a:lnTo>
                    <a:pt x="168" y="56"/>
                  </a:lnTo>
                  <a:lnTo>
                    <a:pt x="165" y="56"/>
                  </a:lnTo>
                  <a:lnTo>
                    <a:pt x="163" y="58"/>
                  </a:lnTo>
                  <a:lnTo>
                    <a:pt x="163" y="59"/>
                  </a:lnTo>
                  <a:lnTo>
                    <a:pt x="168" y="62"/>
                  </a:lnTo>
                  <a:lnTo>
                    <a:pt x="169" y="63"/>
                  </a:lnTo>
                  <a:lnTo>
                    <a:pt x="169" y="65"/>
                  </a:lnTo>
                  <a:lnTo>
                    <a:pt x="166" y="66"/>
                  </a:lnTo>
                  <a:lnTo>
                    <a:pt x="158" y="66"/>
                  </a:lnTo>
                  <a:lnTo>
                    <a:pt x="156" y="68"/>
                  </a:lnTo>
                  <a:lnTo>
                    <a:pt x="158" y="69"/>
                  </a:lnTo>
                  <a:lnTo>
                    <a:pt x="159" y="71"/>
                  </a:lnTo>
                  <a:lnTo>
                    <a:pt x="165" y="71"/>
                  </a:lnTo>
                  <a:lnTo>
                    <a:pt x="169" y="71"/>
                  </a:lnTo>
                  <a:lnTo>
                    <a:pt x="175" y="72"/>
                  </a:lnTo>
                  <a:lnTo>
                    <a:pt x="178" y="75"/>
                  </a:lnTo>
                  <a:lnTo>
                    <a:pt x="179" y="79"/>
                  </a:lnTo>
                  <a:lnTo>
                    <a:pt x="178" y="81"/>
                  </a:lnTo>
                  <a:lnTo>
                    <a:pt x="176" y="81"/>
                  </a:lnTo>
                  <a:lnTo>
                    <a:pt x="175" y="78"/>
                  </a:lnTo>
                  <a:lnTo>
                    <a:pt x="172" y="75"/>
                  </a:lnTo>
                  <a:lnTo>
                    <a:pt x="168" y="73"/>
                  </a:lnTo>
                  <a:lnTo>
                    <a:pt x="166" y="73"/>
                  </a:lnTo>
                  <a:lnTo>
                    <a:pt x="163" y="76"/>
                  </a:lnTo>
                  <a:lnTo>
                    <a:pt x="162" y="78"/>
                  </a:lnTo>
                  <a:lnTo>
                    <a:pt x="159" y="78"/>
                  </a:lnTo>
                  <a:lnTo>
                    <a:pt x="155" y="76"/>
                  </a:lnTo>
                  <a:lnTo>
                    <a:pt x="152" y="76"/>
                  </a:lnTo>
                  <a:lnTo>
                    <a:pt x="149" y="76"/>
                  </a:lnTo>
                  <a:lnTo>
                    <a:pt x="149" y="79"/>
                  </a:lnTo>
                  <a:lnTo>
                    <a:pt x="149" y="82"/>
                  </a:lnTo>
                  <a:lnTo>
                    <a:pt x="149" y="83"/>
                  </a:lnTo>
                  <a:lnTo>
                    <a:pt x="149" y="86"/>
                  </a:lnTo>
                  <a:lnTo>
                    <a:pt x="148" y="86"/>
                  </a:lnTo>
                  <a:lnTo>
                    <a:pt x="148" y="83"/>
                  </a:lnTo>
                  <a:lnTo>
                    <a:pt x="146" y="83"/>
                  </a:lnTo>
                  <a:lnTo>
                    <a:pt x="143" y="83"/>
                  </a:lnTo>
                  <a:lnTo>
                    <a:pt x="142" y="88"/>
                  </a:lnTo>
                  <a:lnTo>
                    <a:pt x="139" y="89"/>
                  </a:lnTo>
                  <a:lnTo>
                    <a:pt x="137" y="91"/>
                  </a:lnTo>
                  <a:lnTo>
                    <a:pt x="137" y="92"/>
                  </a:lnTo>
                  <a:lnTo>
                    <a:pt x="137" y="95"/>
                  </a:lnTo>
                  <a:lnTo>
                    <a:pt x="140" y="99"/>
                  </a:lnTo>
                  <a:lnTo>
                    <a:pt x="142" y="101"/>
                  </a:lnTo>
                  <a:lnTo>
                    <a:pt x="140" y="101"/>
                  </a:lnTo>
                  <a:lnTo>
                    <a:pt x="135" y="98"/>
                  </a:lnTo>
                  <a:lnTo>
                    <a:pt x="135" y="92"/>
                  </a:lnTo>
                  <a:lnTo>
                    <a:pt x="135" y="88"/>
                  </a:lnTo>
                  <a:lnTo>
                    <a:pt x="133" y="86"/>
                  </a:lnTo>
                  <a:lnTo>
                    <a:pt x="132" y="86"/>
                  </a:lnTo>
                  <a:lnTo>
                    <a:pt x="132" y="88"/>
                  </a:lnTo>
                  <a:lnTo>
                    <a:pt x="132" y="91"/>
                  </a:lnTo>
                  <a:lnTo>
                    <a:pt x="133" y="95"/>
                  </a:lnTo>
                  <a:lnTo>
                    <a:pt x="132" y="98"/>
                  </a:lnTo>
                  <a:lnTo>
                    <a:pt x="132" y="98"/>
                  </a:lnTo>
                  <a:lnTo>
                    <a:pt x="129" y="98"/>
                  </a:lnTo>
                  <a:lnTo>
                    <a:pt x="127" y="98"/>
                  </a:lnTo>
                  <a:lnTo>
                    <a:pt x="125" y="98"/>
                  </a:lnTo>
                  <a:lnTo>
                    <a:pt x="123" y="99"/>
                  </a:lnTo>
                  <a:lnTo>
                    <a:pt x="123" y="102"/>
                  </a:lnTo>
                  <a:lnTo>
                    <a:pt x="122" y="102"/>
                  </a:lnTo>
                  <a:lnTo>
                    <a:pt x="119" y="101"/>
                  </a:lnTo>
                  <a:lnTo>
                    <a:pt x="120" y="96"/>
                  </a:lnTo>
                  <a:lnTo>
                    <a:pt x="119" y="94"/>
                  </a:lnTo>
                  <a:lnTo>
                    <a:pt x="117" y="94"/>
                  </a:lnTo>
                  <a:lnTo>
                    <a:pt x="116" y="94"/>
                  </a:lnTo>
                  <a:lnTo>
                    <a:pt x="116" y="98"/>
                  </a:lnTo>
                  <a:lnTo>
                    <a:pt x="115" y="101"/>
                  </a:lnTo>
                  <a:lnTo>
                    <a:pt x="113" y="105"/>
                  </a:lnTo>
                  <a:lnTo>
                    <a:pt x="109" y="109"/>
                  </a:lnTo>
                  <a:lnTo>
                    <a:pt x="107" y="111"/>
                  </a:lnTo>
                  <a:lnTo>
                    <a:pt x="107" y="112"/>
                  </a:lnTo>
                  <a:lnTo>
                    <a:pt x="106" y="114"/>
                  </a:lnTo>
                  <a:lnTo>
                    <a:pt x="105" y="114"/>
                  </a:lnTo>
                  <a:lnTo>
                    <a:pt x="103" y="112"/>
                  </a:lnTo>
                  <a:lnTo>
                    <a:pt x="105" y="109"/>
                  </a:lnTo>
                  <a:lnTo>
                    <a:pt x="103" y="109"/>
                  </a:lnTo>
                  <a:lnTo>
                    <a:pt x="97" y="114"/>
                  </a:lnTo>
                  <a:lnTo>
                    <a:pt x="96" y="118"/>
                  </a:lnTo>
                  <a:lnTo>
                    <a:pt x="95" y="121"/>
                  </a:lnTo>
                  <a:lnTo>
                    <a:pt x="92" y="122"/>
                  </a:lnTo>
                  <a:lnTo>
                    <a:pt x="89" y="122"/>
                  </a:lnTo>
                  <a:lnTo>
                    <a:pt x="89" y="119"/>
                  </a:lnTo>
                  <a:lnTo>
                    <a:pt x="89" y="118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0" y="112"/>
                  </a:lnTo>
                  <a:lnTo>
                    <a:pt x="86" y="112"/>
                  </a:lnTo>
                  <a:lnTo>
                    <a:pt x="86" y="109"/>
                  </a:lnTo>
                  <a:lnTo>
                    <a:pt x="89" y="109"/>
                  </a:lnTo>
                  <a:lnTo>
                    <a:pt x="92" y="108"/>
                  </a:lnTo>
                  <a:lnTo>
                    <a:pt x="93" y="106"/>
                  </a:lnTo>
                  <a:lnTo>
                    <a:pt x="92" y="104"/>
                  </a:lnTo>
                  <a:lnTo>
                    <a:pt x="90" y="104"/>
                  </a:lnTo>
                  <a:lnTo>
                    <a:pt x="85" y="105"/>
                  </a:lnTo>
                  <a:lnTo>
                    <a:pt x="82" y="106"/>
                  </a:lnTo>
                  <a:lnTo>
                    <a:pt x="80" y="108"/>
                  </a:lnTo>
                  <a:lnTo>
                    <a:pt x="80" y="106"/>
                  </a:lnTo>
                  <a:lnTo>
                    <a:pt x="82" y="104"/>
                  </a:lnTo>
                  <a:lnTo>
                    <a:pt x="83" y="101"/>
                  </a:lnTo>
                  <a:lnTo>
                    <a:pt x="82" y="98"/>
                  </a:lnTo>
                  <a:lnTo>
                    <a:pt x="80" y="96"/>
                  </a:lnTo>
                  <a:lnTo>
                    <a:pt x="82" y="94"/>
                  </a:lnTo>
                  <a:lnTo>
                    <a:pt x="82" y="91"/>
                  </a:lnTo>
                  <a:lnTo>
                    <a:pt x="80" y="89"/>
                  </a:lnTo>
                  <a:lnTo>
                    <a:pt x="79" y="89"/>
                  </a:lnTo>
                  <a:lnTo>
                    <a:pt x="73" y="92"/>
                  </a:lnTo>
                  <a:lnTo>
                    <a:pt x="67" y="91"/>
                  </a:lnTo>
                  <a:lnTo>
                    <a:pt x="62" y="92"/>
                  </a:lnTo>
                  <a:lnTo>
                    <a:pt x="57" y="94"/>
                  </a:lnTo>
                  <a:lnTo>
                    <a:pt x="47" y="99"/>
                  </a:lnTo>
                  <a:lnTo>
                    <a:pt x="33" y="108"/>
                  </a:lnTo>
                  <a:lnTo>
                    <a:pt x="27" y="114"/>
                  </a:lnTo>
                  <a:lnTo>
                    <a:pt x="23" y="118"/>
                  </a:lnTo>
                  <a:lnTo>
                    <a:pt x="21" y="121"/>
                  </a:lnTo>
                  <a:lnTo>
                    <a:pt x="20" y="124"/>
                  </a:lnTo>
                  <a:lnTo>
                    <a:pt x="20" y="129"/>
                  </a:lnTo>
                  <a:lnTo>
                    <a:pt x="20" y="132"/>
                  </a:lnTo>
                  <a:lnTo>
                    <a:pt x="16" y="134"/>
                  </a:lnTo>
                  <a:lnTo>
                    <a:pt x="14" y="136"/>
                  </a:lnTo>
                  <a:lnTo>
                    <a:pt x="13" y="141"/>
                  </a:lnTo>
                  <a:lnTo>
                    <a:pt x="11" y="145"/>
                  </a:lnTo>
                  <a:lnTo>
                    <a:pt x="9" y="148"/>
                  </a:lnTo>
                  <a:lnTo>
                    <a:pt x="6" y="152"/>
                  </a:lnTo>
                  <a:lnTo>
                    <a:pt x="4" y="157"/>
                  </a:lnTo>
                  <a:lnTo>
                    <a:pt x="7" y="164"/>
                  </a:lnTo>
                  <a:lnTo>
                    <a:pt x="9" y="169"/>
                  </a:lnTo>
                  <a:lnTo>
                    <a:pt x="11" y="175"/>
                  </a:lnTo>
                  <a:lnTo>
                    <a:pt x="14" y="181"/>
                  </a:lnTo>
                  <a:lnTo>
                    <a:pt x="16" y="182"/>
                  </a:lnTo>
                  <a:lnTo>
                    <a:pt x="19" y="182"/>
                  </a:lnTo>
                  <a:lnTo>
                    <a:pt x="20" y="187"/>
                  </a:lnTo>
                  <a:lnTo>
                    <a:pt x="24" y="189"/>
                  </a:lnTo>
                  <a:lnTo>
                    <a:pt x="24" y="184"/>
                  </a:lnTo>
                  <a:lnTo>
                    <a:pt x="24" y="181"/>
                  </a:lnTo>
                  <a:lnTo>
                    <a:pt x="27" y="178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7" y="174"/>
                  </a:lnTo>
                  <a:lnTo>
                    <a:pt x="36" y="177"/>
                  </a:lnTo>
                  <a:lnTo>
                    <a:pt x="32" y="184"/>
                  </a:lnTo>
                  <a:lnTo>
                    <a:pt x="30" y="188"/>
                  </a:lnTo>
                  <a:lnTo>
                    <a:pt x="29" y="197"/>
                  </a:lnTo>
                  <a:lnTo>
                    <a:pt x="27" y="201"/>
                  </a:lnTo>
                  <a:lnTo>
                    <a:pt x="26" y="202"/>
                  </a:lnTo>
                  <a:lnTo>
                    <a:pt x="26" y="204"/>
                  </a:lnTo>
                  <a:lnTo>
                    <a:pt x="27" y="205"/>
                  </a:lnTo>
                  <a:lnTo>
                    <a:pt x="32" y="201"/>
                  </a:lnTo>
                  <a:lnTo>
                    <a:pt x="33" y="197"/>
                  </a:lnTo>
                  <a:lnTo>
                    <a:pt x="33" y="189"/>
                  </a:lnTo>
                  <a:lnTo>
                    <a:pt x="34" y="185"/>
                  </a:lnTo>
                  <a:lnTo>
                    <a:pt x="36" y="185"/>
                  </a:lnTo>
                  <a:lnTo>
                    <a:pt x="39" y="185"/>
                  </a:lnTo>
                  <a:lnTo>
                    <a:pt x="43" y="184"/>
                  </a:lnTo>
                  <a:lnTo>
                    <a:pt x="46" y="181"/>
                  </a:lnTo>
                  <a:lnTo>
                    <a:pt x="50" y="174"/>
                  </a:lnTo>
                  <a:lnTo>
                    <a:pt x="54" y="168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7" y="168"/>
                  </a:lnTo>
                  <a:lnTo>
                    <a:pt x="57" y="169"/>
                  </a:lnTo>
                  <a:lnTo>
                    <a:pt x="54" y="174"/>
                  </a:lnTo>
                  <a:lnTo>
                    <a:pt x="49" y="179"/>
                  </a:lnTo>
                  <a:lnTo>
                    <a:pt x="47" y="184"/>
                  </a:lnTo>
                  <a:lnTo>
                    <a:pt x="47" y="189"/>
                  </a:lnTo>
                  <a:lnTo>
                    <a:pt x="47" y="192"/>
                  </a:lnTo>
                  <a:lnTo>
                    <a:pt x="44" y="195"/>
                  </a:lnTo>
                  <a:lnTo>
                    <a:pt x="43" y="197"/>
                  </a:lnTo>
                  <a:lnTo>
                    <a:pt x="40" y="197"/>
                  </a:lnTo>
                  <a:lnTo>
                    <a:pt x="37" y="197"/>
                  </a:lnTo>
                  <a:lnTo>
                    <a:pt x="34" y="198"/>
                  </a:lnTo>
                  <a:lnTo>
                    <a:pt x="33" y="198"/>
                  </a:lnTo>
                  <a:lnTo>
                    <a:pt x="33" y="201"/>
                  </a:lnTo>
                  <a:lnTo>
                    <a:pt x="34" y="201"/>
                  </a:lnTo>
                  <a:lnTo>
                    <a:pt x="37" y="201"/>
                  </a:lnTo>
                  <a:lnTo>
                    <a:pt x="39" y="201"/>
                  </a:lnTo>
                  <a:lnTo>
                    <a:pt x="40" y="202"/>
                  </a:lnTo>
                  <a:lnTo>
                    <a:pt x="40" y="204"/>
                  </a:lnTo>
                  <a:lnTo>
                    <a:pt x="40" y="210"/>
                  </a:lnTo>
                  <a:lnTo>
                    <a:pt x="42" y="211"/>
                  </a:lnTo>
                  <a:lnTo>
                    <a:pt x="44" y="210"/>
                  </a:lnTo>
                  <a:lnTo>
                    <a:pt x="47" y="208"/>
                  </a:lnTo>
                  <a:lnTo>
                    <a:pt x="47" y="210"/>
                  </a:lnTo>
                  <a:lnTo>
                    <a:pt x="47" y="212"/>
                  </a:lnTo>
                  <a:lnTo>
                    <a:pt x="46" y="215"/>
                  </a:lnTo>
                  <a:lnTo>
                    <a:pt x="43" y="215"/>
                  </a:lnTo>
                  <a:lnTo>
                    <a:pt x="42" y="215"/>
                  </a:lnTo>
                  <a:lnTo>
                    <a:pt x="40" y="217"/>
                  </a:lnTo>
                  <a:lnTo>
                    <a:pt x="40" y="220"/>
                  </a:lnTo>
                  <a:lnTo>
                    <a:pt x="40" y="222"/>
                  </a:lnTo>
                  <a:lnTo>
                    <a:pt x="42" y="222"/>
                  </a:lnTo>
                  <a:lnTo>
                    <a:pt x="44" y="222"/>
                  </a:lnTo>
                  <a:lnTo>
                    <a:pt x="46" y="220"/>
                  </a:lnTo>
                  <a:lnTo>
                    <a:pt x="47" y="215"/>
                  </a:lnTo>
                  <a:lnTo>
                    <a:pt x="49" y="214"/>
                  </a:lnTo>
                  <a:lnTo>
                    <a:pt x="50" y="214"/>
                  </a:lnTo>
                  <a:lnTo>
                    <a:pt x="50" y="215"/>
                  </a:lnTo>
                  <a:lnTo>
                    <a:pt x="50" y="217"/>
                  </a:lnTo>
                  <a:lnTo>
                    <a:pt x="50" y="220"/>
                  </a:lnTo>
                  <a:lnTo>
                    <a:pt x="52" y="221"/>
                  </a:lnTo>
                  <a:lnTo>
                    <a:pt x="53" y="221"/>
                  </a:lnTo>
                  <a:lnTo>
                    <a:pt x="53" y="220"/>
                  </a:lnTo>
                  <a:lnTo>
                    <a:pt x="53" y="217"/>
                  </a:lnTo>
                  <a:lnTo>
                    <a:pt x="53" y="215"/>
                  </a:lnTo>
                  <a:lnTo>
                    <a:pt x="54" y="214"/>
                  </a:lnTo>
                  <a:lnTo>
                    <a:pt x="56" y="212"/>
                  </a:lnTo>
                  <a:lnTo>
                    <a:pt x="56" y="211"/>
                  </a:lnTo>
                  <a:lnTo>
                    <a:pt x="57" y="211"/>
                  </a:lnTo>
                  <a:lnTo>
                    <a:pt x="57" y="212"/>
                  </a:lnTo>
                  <a:lnTo>
                    <a:pt x="56" y="215"/>
                  </a:lnTo>
                  <a:lnTo>
                    <a:pt x="54" y="220"/>
                  </a:lnTo>
                  <a:lnTo>
                    <a:pt x="54" y="224"/>
                  </a:lnTo>
                  <a:lnTo>
                    <a:pt x="56" y="224"/>
                  </a:lnTo>
                  <a:lnTo>
                    <a:pt x="57" y="222"/>
                  </a:lnTo>
                  <a:lnTo>
                    <a:pt x="60" y="220"/>
                  </a:lnTo>
                  <a:lnTo>
                    <a:pt x="64" y="218"/>
                  </a:lnTo>
                  <a:lnTo>
                    <a:pt x="69" y="217"/>
                  </a:lnTo>
                  <a:lnTo>
                    <a:pt x="73" y="217"/>
                  </a:lnTo>
                  <a:lnTo>
                    <a:pt x="74" y="218"/>
                  </a:lnTo>
                  <a:lnTo>
                    <a:pt x="76" y="220"/>
                  </a:lnTo>
                  <a:lnTo>
                    <a:pt x="76" y="222"/>
                  </a:lnTo>
                  <a:lnTo>
                    <a:pt x="73" y="222"/>
                  </a:lnTo>
                  <a:lnTo>
                    <a:pt x="70" y="222"/>
                  </a:lnTo>
                  <a:lnTo>
                    <a:pt x="69" y="225"/>
                  </a:lnTo>
                  <a:lnTo>
                    <a:pt x="67" y="225"/>
                  </a:lnTo>
                  <a:lnTo>
                    <a:pt x="66" y="227"/>
                  </a:lnTo>
                  <a:lnTo>
                    <a:pt x="62" y="227"/>
                  </a:lnTo>
                  <a:lnTo>
                    <a:pt x="60" y="228"/>
                  </a:lnTo>
                  <a:lnTo>
                    <a:pt x="59" y="230"/>
                  </a:lnTo>
                  <a:lnTo>
                    <a:pt x="59" y="232"/>
                  </a:lnTo>
                  <a:lnTo>
                    <a:pt x="59" y="23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0" name="Freeform 410"/>
            <p:cNvSpPr>
              <a:spLocks/>
            </p:cNvSpPr>
            <p:nvPr/>
          </p:nvSpPr>
          <p:spPr bwMode="auto">
            <a:xfrm>
              <a:off x="4205649" y="2808004"/>
              <a:ext cx="3663" cy="10583"/>
            </a:xfrm>
            <a:custGeom>
              <a:avLst/>
              <a:gdLst>
                <a:gd name="T0" fmla="*/ 6 w 6"/>
                <a:gd name="T1" fmla="*/ 8 h 14"/>
                <a:gd name="T2" fmla="*/ 6 w 6"/>
                <a:gd name="T3" fmla="*/ 4 h 14"/>
                <a:gd name="T4" fmla="*/ 4 w 6"/>
                <a:gd name="T5" fmla="*/ 3 h 14"/>
                <a:gd name="T6" fmla="*/ 3 w 6"/>
                <a:gd name="T7" fmla="*/ 0 h 14"/>
                <a:gd name="T8" fmla="*/ 1 w 6"/>
                <a:gd name="T9" fmla="*/ 0 h 14"/>
                <a:gd name="T10" fmla="*/ 1 w 6"/>
                <a:gd name="T11" fmla="*/ 1 h 14"/>
                <a:gd name="T12" fmla="*/ 0 w 6"/>
                <a:gd name="T13" fmla="*/ 10 h 14"/>
                <a:gd name="T14" fmla="*/ 1 w 6"/>
                <a:gd name="T15" fmla="*/ 14 h 14"/>
                <a:gd name="T16" fmla="*/ 1 w 6"/>
                <a:gd name="T17" fmla="*/ 14 h 14"/>
                <a:gd name="T18" fmla="*/ 3 w 6"/>
                <a:gd name="T19" fmla="*/ 14 h 14"/>
                <a:gd name="T20" fmla="*/ 4 w 6"/>
                <a:gd name="T21" fmla="*/ 11 h 14"/>
                <a:gd name="T22" fmla="*/ 6 w 6"/>
                <a:gd name="T23" fmla="*/ 8 h 14"/>
                <a:gd name="T24" fmla="*/ 6 w 6"/>
                <a:gd name="T25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14">
                  <a:moveTo>
                    <a:pt x="6" y="8"/>
                  </a:moveTo>
                  <a:lnTo>
                    <a:pt x="6" y="4"/>
                  </a:lnTo>
                  <a:lnTo>
                    <a:pt x="4" y="3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0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3" y="14"/>
                  </a:lnTo>
                  <a:lnTo>
                    <a:pt x="4" y="11"/>
                  </a:lnTo>
                  <a:lnTo>
                    <a:pt x="6" y="8"/>
                  </a:lnTo>
                  <a:lnTo>
                    <a:pt x="6" y="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1" name="Freeform 411"/>
            <p:cNvSpPr>
              <a:spLocks/>
            </p:cNvSpPr>
            <p:nvPr/>
          </p:nvSpPr>
          <p:spPr bwMode="auto">
            <a:xfrm>
              <a:off x="4359513" y="2520934"/>
              <a:ext cx="526312" cy="201081"/>
            </a:xfrm>
            <a:custGeom>
              <a:avLst/>
              <a:gdLst>
                <a:gd name="T0" fmla="*/ 75 w 862"/>
                <a:gd name="T1" fmla="*/ 193 h 304"/>
                <a:gd name="T2" fmla="*/ 47 w 862"/>
                <a:gd name="T3" fmla="*/ 180 h 304"/>
                <a:gd name="T4" fmla="*/ 44 w 862"/>
                <a:gd name="T5" fmla="*/ 147 h 304"/>
                <a:gd name="T6" fmla="*/ 92 w 862"/>
                <a:gd name="T7" fmla="*/ 137 h 304"/>
                <a:gd name="T8" fmla="*/ 149 w 862"/>
                <a:gd name="T9" fmla="*/ 176 h 304"/>
                <a:gd name="T10" fmla="*/ 138 w 862"/>
                <a:gd name="T11" fmla="*/ 117 h 304"/>
                <a:gd name="T12" fmla="*/ 162 w 862"/>
                <a:gd name="T13" fmla="*/ 132 h 304"/>
                <a:gd name="T14" fmla="*/ 188 w 862"/>
                <a:gd name="T15" fmla="*/ 117 h 304"/>
                <a:gd name="T16" fmla="*/ 202 w 862"/>
                <a:gd name="T17" fmla="*/ 125 h 304"/>
                <a:gd name="T18" fmla="*/ 188 w 862"/>
                <a:gd name="T19" fmla="*/ 87 h 304"/>
                <a:gd name="T20" fmla="*/ 228 w 862"/>
                <a:gd name="T21" fmla="*/ 96 h 304"/>
                <a:gd name="T22" fmla="*/ 239 w 862"/>
                <a:gd name="T23" fmla="*/ 93 h 304"/>
                <a:gd name="T24" fmla="*/ 262 w 862"/>
                <a:gd name="T25" fmla="*/ 72 h 304"/>
                <a:gd name="T26" fmla="*/ 245 w 862"/>
                <a:gd name="T27" fmla="*/ 51 h 304"/>
                <a:gd name="T28" fmla="*/ 269 w 862"/>
                <a:gd name="T29" fmla="*/ 20 h 304"/>
                <a:gd name="T30" fmla="*/ 271 w 862"/>
                <a:gd name="T31" fmla="*/ 46 h 304"/>
                <a:gd name="T32" fmla="*/ 305 w 862"/>
                <a:gd name="T33" fmla="*/ 21 h 304"/>
                <a:gd name="T34" fmla="*/ 342 w 862"/>
                <a:gd name="T35" fmla="*/ 47 h 304"/>
                <a:gd name="T36" fmla="*/ 382 w 862"/>
                <a:gd name="T37" fmla="*/ 23 h 304"/>
                <a:gd name="T38" fmla="*/ 418 w 862"/>
                <a:gd name="T39" fmla="*/ 9 h 304"/>
                <a:gd name="T40" fmla="*/ 455 w 862"/>
                <a:gd name="T41" fmla="*/ 7 h 304"/>
                <a:gd name="T42" fmla="*/ 493 w 862"/>
                <a:gd name="T43" fmla="*/ 6 h 304"/>
                <a:gd name="T44" fmla="*/ 501 w 862"/>
                <a:gd name="T45" fmla="*/ 29 h 304"/>
                <a:gd name="T46" fmla="*/ 526 w 862"/>
                <a:gd name="T47" fmla="*/ 13 h 304"/>
                <a:gd name="T48" fmla="*/ 561 w 862"/>
                <a:gd name="T49" fmla="*/ 7 h 304"/>
                <a:gd name="T50" fmla="*/ 589 w 862"/>
                <a:gd name="T51" fmla="*/ 30 h 304"/>
                <a:gd name="T52" fmla="*/ 603 w 862"/>
                <a:gd name="T53" fmla="*/ 43 h 304"/>
                <a:gd name="T54" fmla="*/ 647 w 862"/>
                <a:gd name="T55" fmla="*/ 47 h 304"/>
                <a:gd name="T56" fmla="*/ 672 w 862"/>
                <a:gd name="T57" fmla="*/ 59 h 304"/>
                <a:gd name="T58" fmla="*/ 695 w 862"/>
                <a:gd name="T59" fmla="*/ 51 h 304"/>
                <a:gd name="T60" fmla="*/ 735 w 862"/>
                <a:gd name="T61" fmla="*/ 66 h 304"/>
                <a:gd name="T62" fmla="*/ 762 w 862"/>
                <a:gd name="T63" fmla="*/ 31 h 304"/>
                <a:gd name="T64" fmla="*/ 802 w 862"/>
                <a:gd name="T65" fmla="*/ 23 h 304"/>
                <a:gd name="T66" fmla="*/ 855 w 862"/>
                <a:gd name="T67" fmla="*/ 43 h 304"/>
                <a:gd name="T68" fmla="*/ 856 w 862"/>
                <a:gd name="T69" fmla="*/ 87 h 304"/>
                <a:gd name="T70" fmla="*/ 834 w 862"/>
                <a:gd name="T71" fmla="*/ 119 h 304"/>
                <a:gd name="T72" fmla="*/ 795 w 862"/>
                <a:gd name="T73" fmla="*/ 145 h 304"/>
                <a:gd name="T74" fmla="*/ 722 w 862"/>
                <a:gd name="T75" fmla="*/ 153 h 304"/>
                <a:gd name="T76" fmla="*/ 652 w 862"/>
                <a:gd name="T77" fmla="*/ 149 h 304"/>
                <a:gd name="T78" fmla="*/ 577 w 862"/>
                <a:gd name="T79" fmla="*/ 152 h 304"/>
                <a:gd name="T80" fmla="*/ 551 w 862"/>
                <a:gd name="T81" fmla="*/ 143 h 304"/>
                <a:gd name="T82" fmla="*/ 484 w 862"/>
                <a:gd name="T83" fmla="*/ 140 h 304"/>
                <a:gd name="T84" fmla="*/ 466 w 862"/>
                <a:gd name="T85" fmla="*/ 139 h 304"/>
                <a:gd name="T86" fmla="*/ 413 w 862"/>
                <a:gd name="T87" fmla="*/ 163 h 304"/>
                <a:gd name="T88" fmla="*/ 385 w 862"/>
                <a:gd name="T89" fmla="*/ 137 h 304"/>
                <a:gd name="T90" fmla="*/ 397 w 862"/>
                <a:gd name="T91" fmla="*/ 180 h 304"/>
                <a:gd name="T92" fmla="*/ 354 w 862"/>
                <a:gd name="T93" fmla="*/ 183 h 304"/>
                <a:gd name="T94" fmla="*/ 338 w 862"/>
                <a:gd name="T95" fmla="*/ 203 h 304"/>
                <a:gd name="T96" fmla="*/ 322 w 862"/>
                <a:gd name="T97" fmla="*/ 183 h 304"/>
                <a:gd name="T98" fmla="*/ 289 w 862"/>
                <a:gd name="T99" fmla="*/ 183 h 304"/>
                <a:gd name="T100" fmla="*/ 266 w 862"/>
                <a:gd name="T101" fmla="*/ 223 h 304"/>
                <a:gd name="T102" fmla="*/ 244 w 862"/>
                <a:gd name="T103" fmla="*/ 225 h 304"/>
                <a:gd name="T104" fmla="*/ 226 w 862"/>
                <a:gd name="T105" fmla="*/ 236 h 304"/>
                <a:gd name="T106" fmla="*/ 213 w 862"/>
                <a:gd name="T107" fmla="*/ 202 h 304"/>
                <a:gd name="T108" fmla="*/ 176 w 862"/>
                <a:gd name="T109" fmla="*/ 259 h 304"/>
                <a:gd name="T110" fmla="*/ 169 w 862"/>
                <a:gd name="T111" fmla="*/ 262 h 304"/>
                <a:gd name="T112" fmla="*/ 133 w 862"/>
                <a:gd name="T113" fmla="*/ 255 h 304"/>
                <a:gd name="T114" fmla="*/ 102 w 862"/>
                <a:gd name="T115" fmla="*/ 292 h 304"/>
                <a:gd name="T116" fmla="*/ 82 w 862"/>
                <a:gd name="T117" fmla="*/ 255 h 304"/>
                <a:gd name="T118" fmla="*/ 50 w 862"/>
                <a:gd name="T119" fmla="*/ 242 h 304"/>
                <a:gd name="T120" fmla="*/ 1 w 862"/>
                <a:gd name="T121" fmla="*/ 21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2" h="304">
                  <a:moveTo>
                    <a:pt x="4" y="203"/>
                  </a:moveTo>
                  <a:lnTo>
                    <a:pt x="10" y="205"/>
                  </a:lnTo>
                  <a:lnTo>
                    <a:pt x="13" y="206"/>
                  </a:lnTo>
                  <a:lnTo>
                    <a:pt x="16" y="206"/>
                  </a:lnTo>
                  <a:lnTo>
                    <a:pt x="19" y="203"/>
                  </a:lnTo>
                  <a:lnTo>
                    <a:pt x="20" y="200"/>
                  </a:lnTo>
                  <a:lnTo>
                    <a:pt x="20" y="198"/>
                  </a:lnTo>
                  <a:lnTo>
                    <a:pt x="22" y="193"/>
                  </a:lnTo>
                  <a:lnTo>
                    <a:pt x="29" y="189"/>
                  </a:lnTo>
                  <a:lnTo>
                    <a:pt x="36" y="188"/>
                  </a:lnTo>
                  <a:lnTo>
                    <a:pt x="42" y="188"/>
                  </a:lnTo>
                  <a:lnTo>
                    <a:pt x="49" y="189"/>
                  </a:lnTo>
                  <a:lnTo>
                    <a:pt x="53" y="188"/>
                  </a:lnTo>
                  <a:lnTo>
                    <a:pt x="60" y="189"/>
                  </a:lnTo>
                  <a:lnTo>
                    <a:pt x="64" y="190"/>
                  </a:lnTo>
                  <a:lnTo>
                    <a:pt x="67" y="193"/>
                  </a:lnTo>
                  <a:lnTo>
                    <a:pt x="75" y="193"/>
                  </a:lnTo>
                  <a:lnTo>
                    <a:pt x="82" y="196"/>
                  </a:lnTo>
                  <a:lnTo>
                    <a:pt x="86" y="199"/>
                  </a:lnTo>
                  <a:lnTo>
                    <a:pt x="89" y="199"/>
                  </a:lnTo>
                  <a:lnTo>
                    <a:pt x="89" y="196"/>
                  </a:lnTo>
                  <a:lnTo>
                    <a:pt x="87" y="195"/>
                  </a:lnTo>
                  <a:lnTo>
                    <a:pt x="82" y="193"/>
                  </a:lnTo>
                  <a:lnTo>
                    <a:pt x="75" y="190"/>
                  </a:lnTo>
                  <a:lnTo>
                    <a:pt x="67" y="189"/>
                  </a:lnTo>
                  <a:lnTo>
                    <a:pt x="66" y="188"/>
                  </a:lnTo>
                  <a:lnTo>
                    <a:pt x="66" y="185"/>
                  </a:lnTo>
                  <a:lnTo>
                    <a:pt x="64" y="183"/>
                  </a:lnTo>
                  <a:lnTo>
                    <a:pt x="63" y="183"/>
                  </a:lnTo>
                  <a:lnTo>
                    <a:pt x="59" y="182"/>
                  </a:lnTo>
                  <a:lnTo>
                    <a:pt x="56" y="179"/>
                  </a:lnTo>
                  <a:lnTo>
                    <a:pt x="53" y="178"/>
                  </a:lnTo>
                  <a:lnTo>
                    <a:pt x="52" y="179"/>
                  </a:lnTo>
                  <a:lnTo>
                    <a:pt x="47" y="180"/>
                  </a:lnTo>
                  <a:lnTo>
                    <a:pt x="42" y="180"/>
                  </a:lnTo>
                  <a:lnTo>
                    <a:pt x="39" y="180"/>
                  </a:lnTo>
                  <a:lnTo>
                    <a:pt x="34" y="178"/>
                  </a:lnTo>
                  <a:lnTo>
                    <a:pt x="32" y="175"/>
                  </a:lnTo>
                  <a:lnTo>
                    <a:pt x="30" y="172"/>
                  </a:lnTo>
                  <a:lnTo>
                    <a:pt x="29" y="167"/>
                  </a:lnTo>
                  <a:lnTo>
                    <a:pt x="30" y="160"/>
                  </a:lnTo>
                  <a:lnTo>
                    <a:pt x="30" y="155"/>
                  </a:lnTo>
                  <a:lnTo>
                    <a:pt x="30" y="146"/>
                  </a:lnTo>
                  <a:lnTo>
                    <a:pt x="32" y="142"/>
                  </a:lnTo>
                  <a:lnTo>
                    <a:pt x="33" y="139"/>
                  </a:lnTo>
                  <a:lnTo>
                    <a:pt x="36" y="136"/>
                  </a:lnTo>
                  <a:lnTo>
                    <a:pt x="39" y="137"/>
                  </a:lnTo>
                  <a:lnTo>
                    <a:pt x="37" y="140"/>
                  </a:lnTo>
                  <a:lnTo>
                    <a:pt x="37" y="143"/>
                  </a:lnTo>
                  <a:lnTo>
                    <a:pt x="42" y="147"/>
                  </a:lnTo>
                  <a:lnTo>
                    <a:pt x="44" y="147"/>
                  </a:lnTo>
                  <a:lnTo>
                    <a:pt x="47" y="147"/>
                  </a:lnTo>
                  <a:lnTo>
                    <a:pt x="52" y="145"/>
                  </a:lnTo>
                  <a:lnTo>
                    <a:pt x="52" y="143"/>
                  </a:lnTo>
                  <a:lnTo>
                    <a:pt x="54" y="142"/>
                  </a:lnTo>
                  <a:lnTo>
                    <a:pt x="59" y="143"/>
                  </a:lnTo>
                  <a:lnTo>
                    <a:pt x="63" y="142"/>
                  </a:lnTo>
                  <a:lnTo>
                    <a:pt x="72" y="142"/>
                  </a:lnTo>
                  <a:lnTo>
                    <a:pt x="77" y="143"/>
                  </a:lnTo>
                  <a:lnTo>
                    <a:pt x="82" y="145"/>
                  </a:lnTo>
                  <a:lnTo>
                    <a:pt x="85" y="146"/>
                  </a:lnTo>
                  <a:lnTo>
                    <a:pt x="90" y="146"/>
                  </a:lnTo>
                  <a:lnTo>
                    <a:pt x="92" y="147"/>
                  </a:lnTo>
                  <a:lnTo>
                    <a:pt x="93" y="149"/>
                  </a:lnTo>
                  <a:lnTo>
                    <a:pt x="93" y="147"/>
                  </a:lnTo>
                  <a:lnTo>
                    <a:pt x="93" y="145"/>
                  </a:lnTo>
                  <a:lnTo>
                    <a:pt x="92" y="142"/>
                  </a:lnTo>
                  <a:lnTo>
                    <a:pt x="92" y="137"/>
                  </a:lnTo>
                  <a:lnTo>
                    <a:pt x="93" y="136"/>
                  </a:lnTo>
                  <a:lnTo>
                    <a:pt x="99" y="135"/>
                  </a:lnTo>
                  <a:lnTo>
                    <a:pt x="103" y="132"/>
                  </a:lnTo>
                  <a:lnTo>
                    <a:pt x="120" y="130"/>
                  </a:lnTo>
                  <a:lnTo>
                    <a:pt x="126" y="132"/>
                  </a:lnTo>
                  <a:lnTo>
                    <a:pt x="128" y="133"/>
                  </a:lnTo>
                  <a:lnTo>
                    <a:pt x="130" y="137"/>
                  </a:lnTo>
                  <a:lnTo>
                    <a:pt x="130" y="140"/>
                  </a:lnTo>
                  <a:lnTo>
                    <a:pt x="132" y="143"/>
                  </a:lnTo>
                  <a:lnTo>
                    <a:pt x="136" y="146"/>
                  </a:lnTo>
                  <a:lnTo>
                    <a:pt x="139" y="149"/>
                  </a:lnTo>
                  <a:lnTo>
                    <a:pt x="142" y="156"/>
                  </a:lnTo>
                  <a:lnTo>
                    <a:pt x="143" y="159"/>
                  </a:lnTo>
                  <a:lnTo>
                    <a:pt x="143" y="162"/>
                  </a:lnTo>
                  <a:lnTo>
                    <a:pt x="145" y="170"/>
                  </a:lnTo>
                  <a:lnTo>
                    <a:pt x="145" y="175"/>
                  </a:lnTo>
                  <a:lnTo>
                    <a:pt x="149" y="176"/>
                  </a:lnTo>
                  <a:lnTo>
                    <a:pt x="150" y="178"/>
                  </a:lnTo>
                  <a:lnTo>
                    <a:pt x="149" y="175"/>
                  </a:lnTo>
                  <a:lnTo>
                    <a:pt x="146" y="172"/>
                  </a:lnTo>
                  <a:lnTo>
                    <a:pt x="146" y="159"/>
                  </a:lnTo>
                  <a:lnTo>
                    <a:pt x="145" y="155"/>
                  </a:lnTo>
                  <a:lnTo>
                    <a:pt x="142" y="153"/>
                  </a:lnTo>
                  <a:lnTo>
                    <a:pt x="142" y="149"/>
                  </a:lnTo>
                  <a:lnTo>
                    <a:pt x="143" y="145"/>
                  </a:lnTo>
                  <a:lnTo>
                    <a:pt x="145" y="142"/>
                  </a:lnTo>
                  <a:lnTo>
                    <a:pt x="145" y="139"/>
                  </a:lnTo>
                  <a:lnTo>
                    <a:pt x="143" y="136"/>
                  </a:lnTo>
                  <a:lnTo>
                    <a:pt x="140" y="132"/>
                  </a:lnTo>
                  <a:lnTo>
                    <a:pt x="138" y="127"/>
                  </a:lnTo>
                  <a:lnTo>
                    <a:pt x="133" y="125"/>
                  </a:lnTo>
                  <a:lnTo>
                    <a:pt x="133" y="120"/>
                  </a:lnTo>
                  <a:lnTo>
                    <a:pt x="135" y="119"/>
                  </a:lnTo>
                  <a:lnTo>
                    <a:pt x="138" y="117"/>
                  </a:lnTo>
                  <a:lnTo>
                    <a:pt x="140" y="116"/>
                  </a:lnTo>
                  <a:lnTo>
                    <a:pt x="142" y="117"/>
                  </a:lnTo>
                  <a:lnTo>
                    <a:pt x="143" y="119"/>
                  </a:lnTo>
                  <a:lnTo>
                    <a:pt x="143" y="122"/>
                  </a:lnTo>
                  <a:lnTo>
                    <a:pt x="143" y="123"/>
                  </a:lnTo>
                  <a:lnTo>
                    <a:pt x="148" y="125"/>
                  </a:lnTo>
                  <a:lnTo>
                    <a:pt x="149" y="126"/>
                  </a:lnTo>
                  <a:lnTo>
                    <a:pt x="156" y="130"/>
                  </a:lnTo>
                  <a:lnTo>
                    <a:pt x="158" y="130"/>
                  </a:lnTo>
                  <a:lnTo>
                    <a:pt x="158" y="132"/>
                  </a:lnTo>
                  <a:lnTo>
                    <a:pt x="156" y="133"/>
                  </a:lnTo>
                  <a:lnTo>
                    <a:pt x="155" y="133"/>
                  </a:lnTo>
                  <a:lnTo>
                    <a:pt x="155" y="136"/>
                  </a:lnTo>
                  <a:lnTo>
                    <a:pt x="158" y="136"/>
                  </a:lnTo>
                  <a:lnTo>
                    <a:pt x="160" y="136"/>
                  </a:lnTo>
                  <a:lnTo>
                    <a:pt x="162" y="135"/>
                  </a:lnTo>
                  <a:lnTo>
                    <a:pt x="162" y="132"/>
                  </a:lnTo>
                  <a:lnTo>
                    <a:pt x="162" y="129"/>
                  </a:lnTo>
                  <a:lnTo>
                    <a:pt x="162" y="127"/>
                  </a:lnTo>
                  <a:lnTo>
                    <a:pt x="159" y="125"/>
                  </a:lnTo>
                  <a:lnTo>
                    <a:pt x="158" y="120"/>
                  </a:lnTo>
                  <a:lnTo>
                    <a:pt x="156" y="116"/>
                  </a:lnTo>
                  <a:lnTo>
                    <a:pt x="153" y="113"/>
                  </a:lnTo>
                  <a:lnTo>
                    <a:pt x="155" y="110"/>
                  </a:lnTo>
                  <a:lnTo>
                    <a:pt x="156" y="107"/>
                  </a:lnTo>
                  <a:lnTo>
                    <a:pt x="158" y="106"/>
                  </a:lnTo>
                  <a:lnTo>
                    <a:pt x="160" y="106"/>
                  </a:lnTo>
                  <a:lnTo>
                    <a:pt x="165" y="107"/>
                  </a:lnTo>
                  <a:lnTo>
                    <a:pt x="168" y="110"/>
                  </a:lnTo>
                  <a:lnTo>
                    <a:pt x="173" y="110"/>
                  </a:lnTo>
                  <a:lnTo>
                    <a:pt x="176" y="112"/>
                  </a:lnTo>
                  <a:lnTo>
                    <a:pt x="179" y="114"/>
                  </a:lnTo>
                  <a:lnTo>
                    <a:pt x="183" y="116"/>
                  </a:lnTo>
                  <a:lnTo>
                    <a:pt x="188" y="117"/>
                  </a:lnTo>
                  <a:lnTo>
                    <a:pt x="191" y="120"/>
                  </a:lnTo>
                  <a:lnTo>
                    <a:pt x="196" y="123"/>
                  </a:lnTo>
                  <a:lnTo>
                    <a:pt x="199" y="123"/>
                  </a:lnTo>
                  <a:lnTo>
                    <a:pt x="202" y="126"/>
                  </a:lnTo>
                  <a:lnTo>
                    <a:pt x="206" y="135"/>
                  </a:lnTo>
                  <a:lnTo>
                    <a:pt x="209" y="139"/>
                  </a:lnTo>
                  <a:lnTo>
                    <a:pt x="212" y="146"/>
                  </a:lnTo>
                  <a:lnTo>
                    <a:pt x="213" y="150"/>
                  </a:lnTo>
                  <a:lnTo>
                    <a:pt x="213" y="155"/>
                  </a:lnTo>
                  <a:lnTo>
                    <a:pt x="215" y="156"/>
                  </a:lnTo>
                  <a:lnTo>
                    <a:pt x="216" y="155"/>
                  </a:lnTo>
                  <a:lnTo>
                    <a:pt x="216" y="152"/>
                  </a:lnTo>
                  <a:lnTo>
                    <a:pt x="215" y="146"/>
                  </a:lnTo>
                  <a:lnTo>
                    <a:pt x="212" y="140"/>
                  </a:lnTo>
                  <a:lnTo>
                    <a:pt x="209" y="135"/>
                  </a:lnTo>
                  <a:lnTo>
                    <a:pt x="205" y="129"/>
                  </a:lnTo>
                  <a:lnTo>
                    <a:pt x="202" y="125"/>
                  </a:lnTo>
                  <a:lnTo>
                    <a:pt x="196" y="119"/>
                  </a:lnTo>
                  <a:lnTo>
                    <a:pt x="193" y="119"/>
                  </a:lnTo>
                  <a:lnTo>
                    <a:pt x="192" y="117"/>
                  </a:lnTo>
                  <a:lnTo>
                    <a:pt x="192" y="114"/>
                  </a:lnTo>
                  <a:lnTo>
                    <a:pt x="195" y="113"/>
                  </a:lnTo>
                  <a:lnTo>
                    <a:pt x="195" y="112"/>
                  </a:lnTo>
                  <a:lnTo>
                    <a:pt x="192" y="107"/>
                  </a:lnTo>
                  <a:lnTo>
                    <a:pt x="189" y="104"/>
                  </a:lnTo>
                  <a:lnTo>
                    <a:pt x="185" y="103"/>
                  </a:lnTo>
                  <a:lnTo>
                    <a:pt x="183" y="102"/>
                  </a:lnTo>
                  <a:lnTo>
                    <a:pt x="185" y="100"/>
                  </a:lnTo>
                  <a:lnTo>
                    <a:pt x="186" y="97"/>
                  </a:lnTo>
                  <a:lnTo>
                    <a:pt x="183" y="96"/>
                  </a:lnTo>
                  <a:lnTo>
                    <a:pt x="182" y="94"/>
                  </a:lnTo>
                  <a:lnTo>
                    <a:pt x="183" y="92"/>
                  </a:lnTo>
                  <a:lnTo>
                    <a:pt x="185" y="90"/>
                  </a:lnTo>
                  <a:lnTo>
                    <a:pt x="188" y="87"/>
                  </a:lnTo>
                  <a:lnTo>
                    <a:pt x="189" y="86"/>
                  </a:lnTo>
                  <a:lnTo>
                    <a:pt x="189" y="84"/>
                  </a:lnTo>
                  <a:lnTo>
                    <a:pt x="191" y="83"/>
                  </a:lnTo>
                  <a:lnTo>
                    <a:pt x="193" y="83"/>
                  </a:lnTo>
                  <a:lnTo>
                    <a:pt x="196" y="83"/>
                  </a:lnTo>
                  <a:lnTo>
                    <a:pt x="201" y="82"/>
                  </a:lnTo>
                  <a:lnTo>
                    <a:pt x="203" y="82"/>
                  </a:lnTo>
                  <a:lnTo>
                    <a:pt x="206" y="82"/>
                  </a:lnTo>
                  <a:lnTo>
                    <a:pt x="209" y="84"/>
                  </a:lnTo>
                  <a:lnTo>
                    <a:pt x="209" y="86"/>
                  </a:lnTo>
                  <a:lnTo>
                    <a:pt x="208" y="89"/>
                  </a:lnTo>
                  <a:lnTo>
                    <a:pt x="209" y="92"/>
                  </a:lnTo>
                  <a:lnTo>
                    <a:pt x="211" y="92"/>
                  </a:lnTo>
                  <a:lnTo>
                    <a:pt x="213" y="92"/>
                  </a:lnTo>
                  <a:lnTo>
                    <a:pt x="221" y="93"/>
                  </a:lnTo>
                  <a:lnTo>
                    <a:pt x="223" y="94"/>
                  </a:lnTo>
                  <a:lnTo>
                    <a:pt x="228" y="96"/>
                  </a:lnTo>
                  <a:lnTo>
                    <a:pt x="231" y="96"/>
                  </a:lnTo>
                  <a:lnTo>
                    <a:pt x="232" y="99"/>
                  </a:lnTo>
                  <a:lnTo>
                    <a:pt x="232" y="103"/>
                  </a:lnTo>
                  <a:lnTo>
                    <a:pt x="233" y="106"/>
                  </a:lnTo>
                  <a:lnTo>
                    <a:pt x="236" y="110"/>
                  </a:lnTo>
                  <a:lnTo>
                    <a:pt x="239" y="113"/>
                  </a:lnTo>
                  <a:lnTo>
                    <a:pt x="242" y="113"/>
                  </a:lnTo>
                  <a:lnTo>
                    <a:pt x="244" y="112"/>
                  </a:lnTo>
                  <a:lnTo>
                    <a:pt x="241" y="109"/>
                  </a:lnTo>
                  <a:lnTo>
                    <a:pt x="236" y="107"/>
                  </a:lnTo>
                  <a:lnTo>
                    <a:pt x="235" y="104"/>
                  </a:lnTo>
                  <a:lnTo>
                    <a:pt x="235" y="102"/>
                  </a:lnTo>
                  <a:lnTo>
                    <a:pt x="235" y="97"/>
                  </a:lnTo>
                  <a:lnTo>
                    <a:pt x="233" y="94"/>
                  </a:lnTo>
                  <a:lnTo>
                    <a:pt x="235" y="93"/>
                  </a:lnTo>
                  <a:lnTo>
                    <a:pt x="238" y="93"/>
                  </a:lnTo>
                  <a:lnTo>
                    <a:pt x="239" y="93"/>
                  </a:lnTo>
                  <a:lnTo>
                    <a:pt x="239" y="90"/>
                  </a:lnTo>
                  <a:lnTo>
                    <a:pt x="236" y="87"/>
                  </a:lnTo>
                  <a:lnTo>
                    <a:pt x="233" y="84"/>
                  </a:lnTo>
                  <a:lnTo>
                    <a:pt x="231" y="82"/>
                  </a:lnTo>
                  <a:lnTo>
                    <a:pt x="225" y="79"/>
                  </a:lnTo>
                  <a:lnTo>
                    <a:pt x="222" y="76"/>
                  </a:lnTo>
                  <a:lnTo>
                    <a:pt x="221" y="73"/>
                  </a:lnTo>
                  <a:lnTo>
                    <a:pt x="222" y="70"/>
                  </a:lnTo>
                  <a:lnTo>
                    <a:pt x="225" y="67"/>
                  </a:lnTo>
                  <a:lnTo>
                    <a:pt x="232" y="67"/>
                  </a:lnTo>
                  <a:lnTo>
                    <a:pt x="238" y="67"/>
                  </a:lnTo>
                  <a:lnTo>
                    <a:pt x="245" y="69"/>
                  </a:lnTo>
                  <a:lnTo>
                    <a:pt x="249" y="70"/>
                  </a:lnTo>
                  <a:lnTo>
                    <a:pt x="254" y="73"/>
                  </a:lnTo>
                  <a:lnTo>
                    <a:pt x="256" y="73"/>
                  </a:lnTo>
                  <a:lnTo>
                    <a:pt x="259" y="72"/>
                  </a:lnTo>
                  <a:lnTo>
                    <a:pt x="262" y="72"/>
                  </a:lnTo>
                  <a:lnTo>
                    <a:pt x="261" y="69"/>
                  </a:lnTo>
                  <a:lnTo>
                    <a:pt x="256" y="69"/>
                  </a:lnTo>
                  <a:lnTo>
                    <a:pt x="255" y="67"/>
                  </a:lnTo>
                  <a:lnTo>
                    <a:pt x="254" y="64"/>
                  </a:lnTo>
                  <a:lnTo>
                    <a:pt x="252" y="62"/>
                  </a:lnTo>
                  <a:lnTo>
                    <a:pt x="254" y="60"/>
                  </a:lnTo>
                  <a:lnTo>
                    <a:pt x="255" y="60"/>
                  </a:lnTo>
                  <a:lnTo>
                    <a:pt x="261" y="60"/>
                  </a:lnTo>
                  <a:lnTo>
                    <a:pt x="264" y="59"/>
                  </a:lnTo>
                  <a:lnTo>
                    <a:pt x="265" y="57"/>
                  </a:lnTo>
                  <a:lnTo>
                    <a:pt x="264" y="56"/>
                  </a:lnTo>
                  <a:lnTo>
                    <a:pt x="259" y="54"/>
                  </a:lnTo>
                  <a:lnTo>
                    <a:pt x="256" y="53"/>
                  </a:lnTo>
                  <a:lnTo>
                    <a:pt x="252" y="51"/>
                  </a:lnTo>
                  <a:lnTo>
                    <a:pt x="249" y="51"/>
                  </a:lnTo>
                  <a:lnTo>
                    <a:pt x="248" y="50"/>
                  </a:lnTo>
                  <a:lnTo>
                    <a:pt x="245" y="51"/>
                  </a:lnTo>
                  <a:lnTo>
                    <a:pt x="242" y="51"/>
                  </a:lnTo>
                  <a:lnTo>
                    <a:pt x="241" y="49"/>
                  </a:lnTo>
                  <a:lnTo>
                    <a:pt x="241" y="46"/>
                  </a:lnTo>
                  <a:lnTo>
                    <a:pt x="242" y="41"/>
                  </a:lnTo>
                  <a:lnTo>
                    <a:pt x="246" y="40"/>
                  </a:lnTo>
                  <a:lnTo>
                    <a:pt x="251" y="39"/>
                  </a:lnTo>
                  <a:lnTo>
                    <a:pt x="252" y="37"/>
                  </a:lnTo>
                  <a:lnTo>
                    <a:pt x="252" y="34"/>
                  </a:lnTo>
                  <a:lnTo>
                    <a:pt x="249" y="33"/>
                  </a:lnTo>
                  <a:lnTo>
                    <a:pt x="246" y="31"/>
                  </a:lnTo>
                  <a:lnTo>
                    <a:pt x="248" y="29"/>
                  </a:lnTo>
                  <a:lnTo>
                    <a:pt x="249" y="29"/>
                  </a:lnTo>
                  <a:lnTo>
                    <a:pt x="252" y="24"/>
                  </a:lnTo>
                  <a:lnTo>
                    <a:pt x="258" y="23"/>
                  </a:lnTo>
                  <a:lnTo>
                    <a:pt x="262" y="21"/>
                  </a:lnTo>
                  <a:lnTo>
                    <a:pt x="266" y="20"/>
                  </a:lnTo>
                  <a:lnTo>
                    <a:pt x="269" y="20"/>
                  </a:lnTo>
                  <a:lnTo>
                    <a:pt x="271" y="21"/>
                  </a:lnTo>
                  <a:lnTo>
                    <a:pt x="272" y="23"/>
                  </a:lnTo>
                  <a:lnTo>
                    <a:pt x="271" y="27"/>
                  </a:lnTo>
                  <a:lnTo>
                    <a:pt x="271" y="29"/>
                  </a:lnTo>
                  <a:lnTo>
                    <a:pt x="268" y="29"/>
                  </a:lnTo>
                  <a:lnTo>
                    <a:pt x="266" y="30"/>
                  </a:lnTo>
                  <a:lnTo>
                    <a:pt x="266" y="33"/>
                  </a:lnTo>
                  <a:lnTo>
                    <a:pt x="268" y="33"/>
                  </a:lnTo>
                  <a:lnTo>
                    <a:pt x="271" y="33"/>
                  </a:lnTo>
                  <a:lnTo>
                    <a:pt x="272" y="31"/>
                  </a:lnTo>
                  <a:lnTo>
                    <a:pt x="275" y="31"/>
                  </a:lnTo>
                  <a:lnTo>
                    <a:pt x="276" y="31"/>
                  </a:lnTo>
                  <a:lnTo>
                    <a:pt x="275" y="34"/>
                  </a:lnTo>
                  <a:lnTo>
                    <a:pt x="275" y="36"/>
                  </a:lnTo>
                  <a:lnTo>
                    <a:pt x="274" y="39"/>
                  </a:lnTo>
                  <a:lnTo>
                    <a:pt x="272" y="43"/>
                  </a:lnTo>
                  <a:lnTo>
                    <a:pt x="271" y="46"/>
                  </a:lnTo>
                  <a:lnTo>
                    <a:pt x="269" y="47"/>
                  </a:lnTo>
                  <a:lnTo>
                    <a:pt x="269" y="50"/>
                  </a:lnTo>
                  <a:lnTo>
                    <a:pt x="269" y="50"/>
                  </a:lnTo>
                  <a:lnTo>
                    <a:pt x="272" y="50"/>
                  </a:lnTo>
                  <a:lnTo>
                    <a:pt x="275" y="50"/>
                  </a:lnTo>
                  <a:lnTo>
                    <a:pt x="279" y="47"/>
                  </a:lnTo>
                  <a:lnTo>
                    <a:pt x="282" y="46"/>
                  </a:lnTo>
                  <a:lnTo>
                    <a:pt x="285" y="44"/>
                  </a:lnTo>
                  <a:lnTo>
                    <a:pt x="292" y="40"/>
                  </a:lnTo>
                  <a:lnTo>
                    <a:pt x="298" y="37"/>
                  </a:lnTo>
                  <a:lnTo>
                    <a:pt x="301" y="36"/>
                  </a:lnTo>
                  <a:lnTo>
                    <a:pt x="302" y="34"/>
                  </a:lnTo>
                  <a:lnTo>
                    <a:pt x="302" y="30"/>
                  </a:lnTo>
                  <a:lnTo>
                    <a:pt x="301" y="27"/>
                  </a:lnTo>
                  <a:lnTo>
                    <a:pt x="299" y="26"/>
                  </a:lnTo>
                  <a:lnTo>
                    <a:pt x="301" y="23"/>
                  </a:lnTo>
                  <a:lnTo>
                    <a:pt x="305" y="21"/>
                  </a:lnTo>
                  <a:lnTo>
                    <a:pt x="311" y="21"/>
                  </a:lnTo>
                  <a:lnTo>
                    <a:pt x="314" y="20"/>
                  </a:lnTo>
                  <a:lnTo>
                    <a:pt x="317" y="21"/>
                  </a:lnTo>
                  <a:lnTo>
                    <a:pt x="319" y="21"/>
                  </a:lnTo>
                  <a:lnTo>
                    <a:pt x="324" y="24"/>
                  </a:lnTo>
                  <a:lnTo>
                    <a:pt x="327" y="29"/>
                  </a:lnTo>
                  <a:lnTo>
                    <a:pt x="328" y="31"/>
                  </a:lnTo>
                  <a:lnTo>
                    <a:pt x="329" y="33"/>
                  </a:lnTo>
                  <a:lnTo>
                    <a:pt x="332" y="33"/>
                  </a:lnTo>
                  <a:lnTo>
                    <a:pt x="332" y="36"/>
                  </a:lnTo>
                  <a:lnTo>
                    <a:pt x="332" y="39"/>
                  </a:lnTo>
                  <a:lnTo>
                    <a:pt x="332" y="43"/>
                  </a:lnTo>
                  <a:lnTo>
                    <a:pt x="332" y="46"/>
                  </a:lnTo>
                  <a:lnTo>
                    <a:pt x="335" y="47"/>
                  </a:lnTo>
                  <a:lnTo>
                    <a:pt x="339" y="49"/>
                  </a:lnTo>
                  <a:lnTo>
                    <a:pt x="341" y="49"/>
                  </a:lnTo>
                  <a:lnTo>
                    <a:pt x="342" y="47"/>
                  </a:lnTo>
                  <a:lnTo>
                    <a:pt x="344" y="44"/>
                  </a:lnTo>
                  <a:lnTo>
                    <a:pt x="344" y="41"/>
                  </a:lnTo>
                  <a:lnTo>
                    <a:pt x="345" y="37"/>
                  </a:lnTo>
                  <a:lnTo>
                    <a:pt x="348" y="36"/>
                  </a:lnTo>
                  <a:lnTo>
                    <a:pt x="348" y="33"/>
                  </a:lnTo>
                  <a:lnTo>
                    <a:pt x="348" y="30"/>
                  </a:lnTo>
                  <a:lnTo>
                    <a:pt x="348" y="29"/>
                  </a:lnTo>
                  <a:lnTo>
                    <a:pt x="348" y="26"/>
                  </a:lnTo>
                  <a:lnTo>
                    <a:pt x="352" y="23"/>
                  </a:lnTo>
                  <a:lnTo>
                    <a:pt x="354" y="21"/>
                  </a:lnTo>
                  <a:lnTo>
                    <a:pt x="357" y="20"/>
                  </a:lnTo>
                  <a:lnTo>
                    <a:pt x="360" y="20"/>
                  </a:lnTo>
                  <a:lnTo>
                    <a:pt x="365" y="21"/>
                  </a:lnTo>
                  <a:lnTo>
                    <a:pt x="372" y="23"/>
                  </a:lnTo>
                  <a:lnTo>
                    <a:pt x="380" y="24"/>
                  </a:lnTo>
                  <a:lnTo>
                    <a:pt x="382" y="24"/>
                  </a:lnTo>
                  <a:lnTo>
                    <a:pt x="382" y="23"/>
                  </a:lnTo>
                  <a:lnTo>
                    <a:pt x="382" y="21"/>
                  </a:lnTo>
                  <a:lnTo>
                    <a:pt x="381" y="20"/>
                  </a:lnTo>
                  <a:lnTo>
                    <a:pt x="380" y="17"/>
                  </a:lnTo>
                  <a:lnTo>
                    <a:pt x="377" y="14"/>
                  </a:lnTo>
                  <a:lnTo>
                    <a:pt x="377" y="11"/>
                  </a:lnTo>
                  <a:lnTo>
                    <a:pt x="378" y="11"/>
                  </a:lnTo>
                  <a:lnTo>
                    <a:pt x="380" y="10"/>
                  </a:lnTo>
                  <a:lnTo>
                    <a:pt x="382" y="10"/>
                  </a:lnTo>
                  <a:lnTo>
                    <a:pt x="391" y="13"/>
                  </a:lnTo>
                  <a:lnTo>
                    <a:pt x="397" y="14"/>
                  </a:lnTo>
                  <a:lnTo>
                    <a:pt x="405" y="14"/>
                  </a:lnTo>
                  <a:lnTo>
                    <a:pt x="410" y="14"/>
                  </a:lnTo>
                  <a:lnTo>
                    <a:pt x="410" y="13"/>
                  </a:lnTo>
                  <a:lnTo>
                    <a:pt x="411" y="10"/>
                  </a:lnTo>
                  <a:lnTo>
                    <a:pt x="414" y="9"/>
                  </a:lnTo>
                  <a:lnTo>
                    <a:pt x="415" y="7"/>
                  </a:lnTo>
                  <a:lnTo>
                    <a:pt x="418" y="9"/>
                  </a:lnTo>
                  <a:lnTo>
                    <a:pt x="421" y="9"/>
                  </a:lnTo>
                  <a:lnTo>
                    <a:pt x="423" y="6"/>
                  </a:lnTo>
                  <a:lnTo>
                    <a:pt x="427" y="4"/>
                  </a:lnTo>
                  <a:lnTo>
                    <a:pt x="431" y="4"/>
                  </a:lnTo>
                  <a:lnTo>
                    <a:pt x="434" y="6"/>
                  </a:lnTo>
                  <a:lnTo>
                    <a:pt x="437" y="7"/>
                  </a:lnTo>
                  <a:lnTo>
                    <a:pt x="437" y="10"/>
                  </a:lnTo>
                  <a:lnTo>
                    <a:pt x="438" y="11"/>
                  </a:lnTo>
                  <a:lnTo>
                    <a:pt x="438" y="11"/>
                  </a:lnTo>
                  <a:lnTo>
                    <a:pt x="441" y="10"/>
                  </a:lnTo>
                  <a:lnTo>
                    <a:pt x="444" y="10"/>
                  </a:lnTo>
                  <a:lnTo>
                    <a:pt x="447" y="10"/>
                  </a:lnTo>
                  <a:lnTo>
                    <a:pt x="450" y="11"/>
                  </a:lnTo>
                  <a:lnTo>
                    <a:pt x="451" y="10"/>
                  </a:lnTo>
                  <a:lnTo>
                    <a:pt x="453" y="7"/>
                  </a:lnTo>
                  <a:lnTo>
                    <a:pt x="455" y="7"/>
                  </a:lnTo>
                  <a:lnTo>
                    <a:pt x="455" y="7"/>
                  </a:lnTo>
                  <a:lnTo>
                    <a:pt x="460" y="7"/>
                  </a:lnTo>
                  <a:lnTo>
                    <a:pt x="463" y="10"/>
                  </a:lnTo>
                  <a:lnTo>
                    <a:pt x="464" y="13"/>
                  </a:lnTo>
                  <a:lnTo>
                    <a:pt x="466" y="14"/>
                  </a:lnTo>
                  <a:lnTo>
                    <a:pt x="473" y="16"/>
                  </a:lnTo>
                  <a:lnTo>
                    <a:pt x="478" y="16"/>
                  </a:lnTo>
                  <a:lnTo>
                    <a:pt x="483" y="17"/>
                  </a:lnTo>
                  <a:lnTo>
                    <a:pt x="488" y="20"/>
                  </a:lnTo>
                  <a:lnTo>
                    <a:pt x="490" y="21"/>
                  </a:lnTo>
                  <a:lnTo>
                    <a:pt x="491" y="21"/>
                  </a:lnTo>
                  <a:lnTo>
                    <a:pt x="493" y="20"/>
                  </a:lnTo>
                  <a:lnTo>
                    <a:pt x="491" y="17"/>
                  </a:lnTo>
                  <a:lnTo>
                    <a:pt x="491" y="13"/>
                  </a:lnTo>
                  <a:lnTo>
                    <a:pt x="488" y="10"/>
                  </a:lnTo>
                  <a:lnTo>
                    <a:pt x="488" y="9"/>
                  </a:lnTo>
                  <a:lnTo>
                    <a:pt x="490" y="7"/>
                  </a:lnTo>
                  <a:lnTo>
                    <a:pt x="493" y="6"/>
                  </a:lnTo>
                  <a:lnTo>
                    <a:pt x="503" y="7"/>
                  </a:lnTo>
                  <a:lnTo>
                    <a:pt x="508" y="7"/>
                  </a:lnTo>
                  <a:lnTo>
                    <a:pt x="513" y="9"/>
                  </a:lnTo>
                  <a:lnTo>
                    <a:pt x="514" y="10"/>
                  </a:lnTo>
                  <a:lnTo>
                    <a:pt x="517" y="13"/>
                  </a:lnTo>
                  <a:lnTo>
                    <a:pt x="518" y="14"/>
                  </a:lnTo>
                  <a:lnTo>
                    <a:pt x="518" y="14"/>
                  </a:lnTo>
                  <a:lnTo>
                    <a:pt x="518" y="17"/>
                  </a:lnTo>
                  <a:lnTo>
                    <a:pt x="517" y="17"/>
                  </a:lnTo>
                  <a:lnTo>
                    <a:pt x="514" y="17"/>
                  </a:lnTo>
                  <a:lnTo>
                    <a:pt x="511" y="17"/>
                  </a:lnTo>
                  <a:lnTo>
                    <a:pt x="508" y="17"/>
                  </a:lnTo>
                  <a:lnTo>
                    <a:pt x="504" y="19"/>
                  </a:lnTo>
                  <a:lnTo>
                    <a:pt x="501" y="21"/>
                  </a:lnTo>
                  <a:lnTo>
                    <a:pt x="500" y="23"/>
                  </a:lnTo>
                  <a:lnTo>
                    <a:pt x="500" y="26"/>
                  </a:lnTo>
                  <a:lnTo>
                    <a:pt x="501" y="29"/>
                  </a:lnTo>
                  <a:lnTo>
                    <a:pt x="504" y="29"/>
                  </a:lnTo>
                  <a:lnTo>
                    <a:pt x="508" y="27"/>
                  </a:lnTo>
                  <a:lnTo>
                    <a:pt x="513" y="26"/>
                  </a:lnTo>
                  <a:lnTo>
                    <a:pt x="516" y="26"/>
                  </a:lnTo>
                  <a:lnTo>
                    <a:pt x="520" y="26"/>
                  </a:lnTo>
                  <a:lnTo>
                    <a:pt x="523" y="27"/>
                  </a:lnTo>
                  <a:lnTo>
                    <a:pt x="524" y="30"/>
                  </a:lnTo>
                  <a:lnTo>
                    <a:pt x="527" y="30"/>
                  </a:lnTo>
                  <a:lnTo>
                    <a:pt x="527" y="29"/>
                  </a:lnTo>
                  <a:lnTo>
                    <a:pt x="529" y="27"/>
                  </a:lnTo>
                  <a:lnTo>
                    <a:pt x="529" y="24"/>
                  </a:lnTo>
                  <a:lnTo>
                    <a:pt x="530" y="24"/>
                  </a:lnTo>
                  <a:lnTo>
                    <a:pt x="533" y="21"/>
                  </a:lnTo>
                  <a:lnTo>
                    <a:pt x="533" y="20"/>
                  </a:lnTo>
                  <a:lnTo>
                    <a:pt x="529" y="17"/>
                  </a:lnTo>
                  <a:lnTo>
                    <a:pt x="526" y="14"/>
                  </a:lnTo>
                  <a:lnTo>
                    <a:pt x="526" y="13"/>
                  </a:lnTo>
                  <a:lnTo>
                    <a:pt x="527" y="11"/>
                  </a:lnTo>
                  <a:lnTo>
                    <a:pt x="530" y="10"/>
                  </a:lnTo>
                  <a:lnTo>
                    <a:pt x="531" y="9"/>
                  </a:lnTo>
                  <a:lnTo>
                    <a:pt x="534" y="7"/>
                  </a:lnTo>
                  <a:lnTo>
                    <a:pt x="534" y="6"/>
                  </a:lnTo>
                  <a:lnTo>
                    <a:pt x="536" y="3"/>
                  </a:lnTo>
                  <a:lnTo>
                    <a:pt x="537" y="1"/>
                  </a:lnTo>
                  <a:lnTo>
                    <a:pt x="539" y="1"/>
                  </a:lnTo>
                  <a:lnTo>
                    <a:pt x="543" y="0"/>
                  </a:lnTo>
                  <a:lnTo>
                    <a:pt x="544" y="0"/>
                  </a:lnTo>
                  <a:lnTo>
                    <a:pt x="547" y="0"/>
                  </a:lnTo>
                  <a:lnTo>
                    <a:pt x="549" y="1"/>
                  </a:lnTo>
                  <a:lnTo>
                    <a:pt x="550" y="3"/>
                  </a:lnTo>
                  <a:lnTo>
                    <a:pt x="554" y="3"/>
                  </a:lnTo>
                  <a:lnTo>
                    <a:pt x="556" y="3"/>
                  </a:lnTo>
                  <a:lnTo>
                    <a:pt x="559" y="6"/>
                  </a:lnTo>
                  <a:lnTo>
                    <a:pt x="561" y="7"/>
                  </a:lnTo>
                  <a:lnTo>
                    <a:pt x="564" y="7"/>
                  </a:lnTo>
                  <a:lnTo>
                    <a:pt x="566" y="10"/>
                  </a:lnTo>
                  <a:lnTo>
                    <a:pt x="566" y="13"/>
                  </a:lnTo>
                  <a:lnTo>
                    <a:pt x="567" y="14"/>
                  </a:lnTo>
                  <a:lnTo>
                    <a:pt x="567" y="14"/>
                  </a:lnTo>
                  <a:lnTo>
                    <a:pt x="570" y="14"/>
                  </a:lnTo>
                  <a:lnTo>
                    <a:pt x="571" y="14"/>
                  </a:lnTo>
                  <a:lnTo>
                    <a:pt x="574" y="14"/>
                  </a:lnTo>
                  <a:lnTo>
                    <a:pt x="574" y="16"/>
                  </a:lnTo>
                  <a:lnTo>
                    <a:pt x="574" y="17"/>
                  </a:lnTo>
                  <a:lnTo>
                    <a:pt x="573" y="20"/>
                  </a:lnTo>
                  <a:lnTo>
                    <a:pt x="576" y="23"/>
                  </a:lnTo>
                  <a:lnTo>
                    <a:pt x="577" y="24"/>
                  </a:lnTo>
                  <a:lnTo>
                    <a:pt x="582" y="27"/>
                  </a:lnTo>
                  <a:lnTo>
                    <a:pt x="587" y="29"/>
                  </a:lnTo>
                  <a:lnTo>
                    <a:pt x="589" y="29"/>
                  </a:lnTo>
                  <a:lnTo>
                    <a:pt x="589" y="30"/>
                  </a:lnTo>
                  <a:lnTo>
                    <a:pt x="589" y="33"/>
                  </a:lnTo>
                  <a:lnTo>
                    <a:pt x="587" y="34"/>
                  </a:lnTo>
                  <a:lnTo>
                    <a:pt x="583" y="37"/>
                  </a:lnTo>
                  <a:lnTo>
                    <a:pt x="582" y="39"/>
                  </a:lnTo>
                  <a:lnTo>
                    <a:pt x="580" y="41"/>
                  </a:lnTo>
                  <a:lnTo>
                    <a:pt x="580" y="43"/>
                  </a:lnTo>
                  <a:lnTo>
                    <a:pt x="582" y="44"/>
                  </a:lnTo>
                  <a:lnTo>
                    <a:pt x="586" y="44"/>
                  </a:lnTo>
                  <a:lnTo>
                    <a:pt x="589" y="44"/>
                  </a:lnTo>
                  <a:lnTo>
                    <a:pt x="592" y="43"/>
                  </a:lnTo>
                  <a:lnTo>
                    <a:pt x="596" y="40"/>
                  </a:lnTo>
                  <a:lnTo>
                    <a:pt x="599" y="37"/>
                  </a:lnTo>
                  <a:lnTo>
                    <a:pt x="600" y="36"/>
                  </a:lnTo>
                  <a:lnTo>
                    <a:pt x="603" y="36"/>
                  </a:lnTo>
                  <a:lnTo>
                    <a:pt x="604" y="37"/>
                  </a:lnTo>
                  <a:lnTo>
                    <a:pt x="603" y="40"/>
                  </a:lnTo>
                  <a:lnTo>
                    <a:pt x="603" y="43"/>
                  </a:lnTo>
                  <a:lnTo>
                    <a:pt x="602" y="46"/>
                  </a:lnTo>
                  <a:lnTo>
                    <a:pt x="602" y="49"/>
                  </a:lnTo>
                  <a:lnTo>
                    <a:pt x="603" y="50"/>
                  </a:lnTo>
                  <a:lnTo>
                    <a:pt x="610" y="50"/>
                  </a:lnTo>
                  <a:lnTo>
                    <a:pt x="614" y="49"/>
                  </a:lnTo>
                  <a:lnTo>
                    <a:pt x="620" y="50"/>
                  </a:lnTo>
                  <a:lnTo>
                    <a:pt x="623" y="50"/>
                  </a:lnTo>
                  <a:lnTo>
                    <a:pt x="626" y="51"/>
                  </a:lnTo>
                  <a:lnTo>
                    <a:pt x="629" y="51"/>
                  </a:lnTo>
                  <a:lnTo>
                    <a:pt x="630" y="50"/>
                  </a:lnTo>
                  <a:lnTo>
                    <a:pt x="632" y="49"/>
                  </a:lnTo>
                  <a:lnTo>
                    <a:pt x="633" y="47"/>
                  </a:lnTo>
                  <a:lnTo>
                    <a:pt x="637" y="49"/>
                  </a:lnTo>
                  <a:lnTo>
                    <a:pt x="639" y="49"/>
                  </a:lnTo>
                  <a:lnTo>
                    <a:pt x="642" y="49"/>
                  </a:lnTo>
                  <a:lnTo>
                    <a:pt x="646" y="49"/>
                  </a:lnTo>
                  <a:lnTo>
                    <a:pt x="647" y="47"/>
                  </a:lnTo>
                  <a:lnTo>
                    <a:pt x="649" y="47"/>
                  </a:lnTo>
                  <a:lnTo>
                    <a:pt x="649" y="51"/>
                  </a:lnTo>
                  <a:lnTo>
                    <a:pt x="647" y="56"/>
                  </a:lnTo>
                  <a:lnTo>
                    <a:pt x="646" y="60"/>
                  </a:lnTo>
                  <a:lnTo>
                    <a:pt x="647" y="60"/>
                  </a:lnTo>
                  <a:lnTo>
                    <a:pt x="649" y="60"/>
                  </a:lnTo>
                  <a:lnTo>
                    <a:pt x="653" y="60"/>
                  </a:lnTo>
                  <a:lnTo>
                    <a:pt x="655" y="57"/>
                  </a:lnTo>
                  <a:lnTo>
                    <a:pt x="659" y="57"/>
                  </a:lnTo>
                  <a:lnTo>
                    <a:pt x="662" y="57"/>
                  </a:lnTo>
                  <a:lnTo>
                    <a:pt x="665" y="59"/>
                  </a:lnTo>
                  <a:lnTo>
                    <a:pt x="667" y="59"/>
                  </a:lnTo>
                  <a:lnTo>
                    <a:pt x="669" y="59"/>
                  </a:lnTo>
                  <a:lnTo>
                    <a:pt x="670" y="56"/>
                  </a:lnTo>
                  <a:lnTo>
                    <a:pt x="672" y="56"/>
                  </a:lnTo>
                  <a:lnTo>
                    <a:pt x="672" y="56"/>
                  </a:lnTo>
                  <a:lnTo>
                    <a:pt x="672" y="59"/>
                  </a:lnTo>
                  <a:lnTo>
                    <a:pt x="673" y="62"/>
                  </a:lnTo>
                  <a:lnTo>
                    <a:pt x="675" y="63"/>
                  </a:lnTo>
                  <a:lnTo>
                    <a:pt x="676" y="64"/>
                  </a:lnTo>
                  <a:lnTo>
                    <a:pt x="676" y="67"/>
                  </a:lnTo>
                  <a:lnTo>
                    <a:pt x="677" y="66"/>
                  </a:lnTo>
                  <a:lnTo>
                    <a:pt x="679" y="64"/>
                  </a:lnTo>
                  <a:lnTo>
                    <a:pt x="677" y="63"/>
                  </a:lnTo>
                  <a:lnTo>
                    <a:pt x="676" y="60"/>
                  </a:lnTo>
                  <a:lnTo>
                    <a:pt x="676" y="57"/>
                  </a:lnTo>
                  <a:lnTo>
                    <a:pt x="676" y="56"/>
                  </a:lnTo>
                  <a:lnTo>
                    <a:pt x="679" y="54"/>
                  </a:lnTo>
                  <a:lnTo>
                    <a:pt x="682" y="56"/>
                  </a:lnTo>
                  <a:lnTo>
                    <a:pt x="686" y="56"/>
                  </a:lnTo>
                  <a:lnTo>
                    <a:pt x="687" y="54"/>
                  </a:lnTo>
                  <a:lnTo>
                    <a:pt x="687" y="53"/>
                  </a:lnTo>
                  <a:lnTo>
                    <a:pt x="690" y="51"/>
                  </a:lnTo>
                  <a:lnTo>
                    <a:pt x="695" y="51"/>
                  </a:lnTo>
                  <a:lnTo>
                    <a:pt x="698" y="53"/>
                  </a:lnTo>
                  <a:lnTo>
                    <a:pt x="699" y="54"/>
                  </a:lnTo>
                  <a:lnTo>
                    <a:pt x="699" y="59"/>
                  </a:lnTo>
                  <a:lnTo>
                    <a:pt x="702" y="59"/>
                  </a:lnTo>
                  <a:lnTo>
                    <a:pt x="705" y="57"/>
                  </a:lnTo>
                  <a:lnTo>
                    <a:pt x="708" y="56"/>
                  </a:lnTo>
                  <a:lnTo>
                    <a:pt x="710" y="56"/>
                  </a:lnTo>
                  <a:lnTo>
                    <a:pt x="713" y="56"/>
                  </a:lnTo>
                  <a:lnTo>
                    <a:pt x="715" y="53"/>
                  </a:lnTo>
                  <a:lnTo>
                    <a:pt x="718" y="50"/>
                  </a:lnTo>
                  <a:lnTo>
                    <a:pt x="722" y="50"/>
                  </a:lnTo>
                  <a:lnTo>
                    <a:pt x="723" y="51"/>
                  </a:lnTo>
                  <a:lnTo>
                    <a:pt x="725" y="56"/>
                  </a:lnTo>
                  <a:lnTo>
                    <a:pt x="729" y="62"/>
                  </a:lnTo>
                  <a:lnTo>
                    <a:pt x="730" y="64"/>
                  </a:lnTo>
                  <a:lnTo>
                    <a:pt x="733" y="67"/>
                  </a:lnTo>
                  <a:lnTo>
                    <a:pt x="735" y="66"/>
                  </a:lnTo>
                  <a:lnTo>
                    <a:pt x="736" y="62"/>
                  </a:lnTo>
                  <a:lnTo>
                    <a:pt x="736" y="59"/>
                  </a:lnTo>
                  <a:lnTo>
                    <a:pt x="738" y="56"/>
                  </a:lnTo>
                  <a:lnTo>
                    <a:pt x="739" y="53"/>
                  </a:lnTo>
                  <a:lnTo>
                    <a:pt x="739" y="50"/>
                  </a:lnTo>
                  <a:lnTo>
                    <a:pt x="739" y="46"/>
                  </a:lnTo>
                  <a:lnTo>
                    <a:pt x="739" y="41"/>
                  </a:lnTo>
                  <a:lnTo>
                    <a:pt x="742" y="39"/>
                  </a:lnTo>
                  <a:lnTo>
                    <a:pt x="743" y="37"/>
                  </a:lnTo>
                  <a:lnTo>
                    <a:pt x="746" y="36"/>
                  </a:lnTo>
                  <a:lnTo>
                    <a:pt x="748" y="34"/>
                  </a:lnTo>
                  <a:lnTo>
                    <a:pt x="751" y="33"/>
                  </a:lnTo>
                  <a:lnTo>
                    <a:pt x="753" y="34"/>
                  </a:lnTo>
                  <a:lnTo>
                    <a:pt x="755" y="34"/>
                  </a:lnTo>
                  <a:lnTo>
                    <a:pt x="758" y="34"/>
                  </a:lnTo>
                  <a:lnTo>
                    <a:pt x="761" y="33"/>
                  </a:lnTo>
                  <a:lnTo>
                    <a:pt x="762" y="31"/>
                  </a:lnTo>
                  <a:lnTo>
                    <a:pt x="766" y="33"/>
                  </a:lnTo>
                  <a:lnTo>
                    <a:pt x="769" y="33"/>
                  </a:lnTo>
                  <a:lnTo>
                    <a:pt x="771" y="31"/>
                  </a:lnTo>
                  <a:lnTo>
                    <a:pt x="772" y="30"/>
                  </a:lnTo>
                  <a:lnTo>
                    <a:pt x="775" y="29"/>
                  </a:lnTo>
                  <a:lnTo>
                    <a:pt x="778" y="29"/>
                  </a:lnTo>
                  <a:lnTo>
                    <a:pt x="781" y="29"/>
                  </a:lnTo>
                  <a:lnTo>
                    <a:pt x="783" y="30"/>
                  </a:lnTo>
                  <a:lnTo>
                    <a:pt x="785" y="29"/>
                  </a:lnTo>
                  <a:lnTo>
                    <a:pt x="785" y="27"/>
                  </a:lnTo>
                  <a:lnTo>
                    <a:pt x="786" y="26"/>
                  </a:lnTo>
                  <a:lnTo>
                    <a:pt x="792" y="26"/>
                  </a:lnTo>
                  <a:lnTo>
                    <a:pt x="793" y="26"/>
                  </a:lnTo>
                  <a:lnTo>
                    <a:pt x="796" y="27"/>
                  </a:lnTo>
                  <a:lnTo>
                    <a:pt x="799" y="27"/>
                  </a:lnTo>
                  <a:lnTo>
                    <a:pt x="801" y="24"/>
                  </a:lnTo>
                  <a:lnTo>
                    <a:pt x="802" y="23"/>
                  </a:lnTo>
                  <a:lnTo>
                    <a:pt x="805" y="21"/>
                  </a:lnTo>
                  <a:lnTo>
                    <a:pt x="806" y="23"/>
                  </a:lnTo>
                  <a:lnTo>
                    <a:pt x="809" y="26"/>
                  </a:lnTo>
                  <a:lnTo>
                    <a:pt x="814" y="27"/>
                  </a:lnTo>
                  <a:lnTo>
                    <a:pt x="818" y="26"/>
                  </a:lnTo>
                  <a:lnTo>
                    <a:pt x="822" y="24"/>
                  </a:lnTo>
                  <a:lnTo>
                    <a:pt x="825" y="24"/>
                  </a:lnTo>
                  <a:lnTo>
                    <a:pt x="829" y="26"/>
                  </a:lnTo>
                  <a:lnTo>
                    <a:pt x="835" y="29"/>
                  </a:lnTo>
                  <a:lnTo>
                    <a:pt x="842" y="30"/>
                  </a:lnTo>
                  <a:lnTo>
                    <a:pt x="846" y="30"/>
                  </a:lnTo>
                  <a:lnTo>
                    <a:pt x="848" y="33"/>
                  </a:lnTo>
                  <a:lnTo>
                    <a:pt x="849" y="37"/>
                  </a:lnTo>
                  <a:lnTo>
                    <a:pt x="849" y="39"/>
                  </a:lnTo>
                  <a:lnTo>
                    <a:pt x="852" y="40"/>
                  </a:lnTo>
                  <a:lnTo>
                    <a:pt x="854" y="41"/>
                  </a:lnTo>
                  <a:lnTo>
                    <a:pt x="855" y="43"/>
                  </a:lnTo>
                  <a:lnTo>
                    <a:pt x="858" y="46"/>
                  </a:lnTo>
                  <a:lnTo>
                    <a:pt x="858" y="49"/>
                  </a:lnTo>
                  <a:lnTo>
                    <a:pt x="858" y="51"/>
                  </a:lnTo>
                  <a:lnTo>
                    <a:pt x="858" y="53"/>
                  </a:lnTo>
                  <a:lnTo>
                    <a:pt x="859" y="56"/>
                  </a:lnTo>
                  <a:lnTo>
                    <a:pt x="859" y="60"/>
                  </a:lnTo>
                  <a:lnTo>
                    <a:pt x="862" y="63"/>
                  </a:lnTo>
                  <a:lnTo>
                    <a:pt x="861" y="66"/>
                  </a:lnTo>
                  <a:lnTo>
                    <a:pt x="858" y="69"/>
                  </a:lnTo>
                  <a:lnTo>
                    <a:pt x="856" y="72"/>
                  </a:lnTo>
                  <a:lnTo>
                    <a:pt x="856" y="74"/>
                  </a:lnTo>
                  <a:lnTo>
                    <a:pt x="858" y="77"/>
                  </a:lnTo>
                  <a:lnTo>
                    <a:pt x="859" y="79"/>
                  </a:lnTo>
                  <a:lnTo>
                    <a:pt x="859" y="80"/>
                  </a:lnTo>
                  <a:lnTo>
                    <a:pt x="859" y="83"/>
                  </a:lnTo>
                  <a:lnTo>
                    <a:pt x="858" y="84"/>
                  </a:lnTo>
                  <a:lnTo>
                    <a:pt x="856" y="87"/>
                  </a:lnTo>
                  <a:lnTo>
                    <a:pt x="856" y="90"/>
                  </a:lnTo>
                  <a:lnTo>
                    <a:pt x="856" y="93"/>
                  </a:lnTo>
                  <a:lnTo>
                    <a:pt x="856" y="94"/>
                  </a:lnTo>
                  <a:lnTo>
                    <a:pt x="854" y="96"/>
                  </a:lnTo>
                  <a:lnTo>
                    <a:pt x="851" y="97"/>
                  </a:lnTo>
                  <a:lnTo>
                    <a:pt x="846" y="100"/>
                  </a:lnTo>
                  <a:lnTo>
                    <a:pt x="842" y="104"/>
                  </a:lnTo>
                  <a:lnTo>
                    <a:pt x="838" y="109"/>
                  </a:lnTo>
                  <a:lnTo>
                    <a:pt x="838" y="113"/>
                  </a:lnTo>
                  <a:lnTo>
                    <a:pt x="839" y="114"/>
                  </a:lnTo>
                  <a:lnTo>
                    <a:pt x="841" y="116"/>
                  </a:lnTo>
                  <a:lnTo>
                    <a:pt x="842" y="116"/>
                  </a:lnTo>
                  <a:lnTo>
                    <a:pt x="842" y="117"/>
                  </a:lnTo>
                  <a:lnTo>
                    <a:pt x="841" y="120"/>
                  </a:lnTo>
                  <a:lnTo>
                    <a:pt x="839" y="119"/>
                  </a:lnTo>
                  <a:lnTo>
                    <a:pt x="836" y="119"/>
                  </a:lnTo>
                  <a:lnTo>
                    <a:pt x="834" y="119"/>
                  </a:lnTo>
                  <a:lnTo>
                    <a:pt x="832" y="122"/>
                  </a:lnTo>
                  <a:lnTo>
                    <a:pt x="828" y="123"/>
                  </a:lnTo>
                  <a:lnTo>
                    <a:pt x="825" y="126"/>
                  </a:lnTo>
                  <a:lnTo>
                    <a:pt x="824" y="129"/>
                  </a:lnTo>
                  <a:lnTo>
                    <a:pt x="819" y="130"/>
                  </a:lnTo>
                  <a:lnTo>
                    <a:pt x="814" y="132"/>
                  </a:lnTo>
                  <a:lnTo>
                    <a:pt x="811" y="132"/>
                  </a:lnTo>
                  <a:lnTo>
                    <a:pt x="809" y="136"/>
                  </a:lnTo>
                  <a:lnTo>
                    <a:pt x="808" y="137"/>
                  </a:lnTo>
                  <a:lnTo>
                    <a:pt x="805" y="139"/>
                  </a:lnTo>
                  <a:lnTo>
                    <a:pt x="802" y="137"/>
                  </a:lnTo>
                  <a:lnTo>
                    <a:pt x="801" y="139"/>
                  </a:lnTo>
                  <a:lnTo>
                    <a:pt x="801" y="140"/>
                  </a:lnTo>
                  <a:lnTo>
                    <a:pt x="798" y="142"/>
                  </a:lnTo>
                  <a:lnTo>
                    <a:pt x="795" y="142"/>
                  </a:lnTo>
                  <a:lnTo>
                    <a:pt x="795" y="143"/>
                  </a:lnTo>
                  <a:lnTo>
                    <a:pt x="795" y="145"/>
                  </a:lnTo>
                  <a:lnTo>
                    <a:pt x="795" y="147"/>
                  </a:lnTo>
                  <a:lnTo>
                    <a:pt x="796" y="150"/>
                  </a:lnTo>
                  <a:lnTo>
                    <a:pt x="796" y="152"/>
                  </a:lnTo>
                  <a:lnTo>
                    <a:pt x="793" y="152"/>
                  </a:lnTo>
                  <a:lnTo>
                    <a:pt x="792" y="150"/>
                  </a:lnTo>
                  <a:lnTo>
                    <a:pt x="792" y="149"/>
                  </a:lnTo>
                  <a:lnTo>
                    <a:pt x="789" y="147"/>
                  </a:lnTo>
                  <a:lnTo>
                    <a:pt x="786" y="147"/>
                  </a:lnTo>
                  <a:lnTo>
                    <a:pt x="781" y="147"/>
                  </a:lnTo>
                  <a:lnTo>
                    <a:pt x="776" y="147"/>
                  </a:lnTo>
                  <a:lnTo>
                    <a:pt x="771" y="147"/>
                  </a:lnTo>
                  <a:lnTo>
                    <a:pt x="758" y="150"/>
                  </a:lnTo>
                  <a:lnTo>
                    <a:pt x="749" y="152"/>
                  </a:lnTo>
                  <a:lnTo>
                    <a:pt x="745" y="155"/>
                  </a:lnTo>
                  <a:lnTo>
                    <a:pt x="740" y="155"/>
                  </a:lnTo>
                  <a:lnTo>
                    <a:pt x="735" y="155"/>
                  </a:lnTo>
                  <a:lnTo>
                    <a:pt x="722" y="153"/>
                  </a:lnTo>
                  <a:lnTo>
                    <a:pt x="716" y="153"/>
                  </a:lnTo>
                  <a:lnTo>
                    <a:pt x="706" y="153"/>
                  </a:lnTo>
                  <a:lnTo>
                    <a:pt x="703" y="153"/>
                  </a:lnTo>
                  <a:lnTo>
                    <a:pt x="700" y="152"/>
                  </a:lnTo>
                  <a:lnTo>
                    <a:pt x="699" y="150"/>
                  </a:lnTo>
                  <a:lnTo>
                    <a:pt x="698" y="150"/>
                  </a:lnTo>
                  <a:lnTo>
                    <a:pt x="698" y="152"/>
                  </a:lnTo>
                  <a:lnTo>
                    <a:pt x="695" y="155"/>
                  </a:lnTo>
                  <a:lnTo>
                    <a:pt x="692" y="155"/>
                  </a:lnTo>
                  <a:lnTo>
                    <a:pt x="687" y="155"/>
                  </a:lnTo>
                  <a:lnTo>
                    <a:pt x="680" y="152"/>
                  </a:lnTo>
                  <a:lnTo>
                    <a:pt x="677" y="152"/>
                  </a:lnTo>
                  <a:lnTo>
                    <a:pt x="675" y="152"/>
                  </a:lnTo>
                  <a:lnTo>
                    <a:pt x="666" y="153"/>
                  </a:lnTo>
                  <a:lnTo>
                    <a:pt x="659" y="150"/>
                  </a:lnTo>
                  <a:lnTo>
                    <a:pt x="655" y="149"/>
                  </a:lnTo>
                  <a:lnTo>
                    <a:pt x="652" y="149"/>
                  </a:lnTo>
                  <a:lnTo>
                    <a:pt x="645" y="150"/>
                  </a:lnTo>
                  <a:lnTo>
                    <a:pt x="640" y="152"/>
                  </a:lnTo>
                  <a:lnTo>
                    <a:pt x="636" y="150"/>
                  </a:lnTo>
                  <a:lnTo>
                    <a:pt x="630" y="149"/>
                  </a:lnTo>
                  <a:lnTo>
                    <a:pt x="627" y="147"/>
                  </a:lnTo>
                  <a:lnTo>
                    <a:pt x="622" y="147"/>
                  </a:lnTo>
                  <a:lnTo>
                    <a:pt x="617" y="149"/>
                  </a:lnTo>
                  <a:lnTo>
                    <a:pt x="612" y="149"/>
                  </a:lnTo>
                  <a:lnTo>
                    <a:pt x="606" y="147"/>
                  </a:lnTo>
                  <a:lnTo>
                    <a:pt x="599" y="146"/>
                  </a:lnTo>
                  <a:lnTo>
                    <a:pt x="596" y="147"/>
                  </a:lnTo>
                  <a:lnTo>
                    <a:pt x="592" y="147"/>
                  </a:lnTo>
                  <a:lnTo>
                    <a:pt x="586" y="146"/>
                  </a:lnTo>
                  <a:lnTo>
                    <a:pt x="584" y="147"/>
                  </a:lnTo>
                  <a:lnTo>
                    <a:pt x="582" y="150"/>
                  </a:lnTo>
                  <a:lnTo>
                    <a:pt x="579" y="152"/>
                  </a:lnTo>
                  <a:lnTo>
                    <a:pt x="577" y="152"/>
                  </a:lnTo>
                  <a:lnTo>
                    <a:pt x="577" y="149"/>
                  </a:lnTo>
                  <a:lnTo>
                    <a:pt x="582" y="146"/>
                  </a:lnTo>
                  <a:lnTo>
                    <a:pt x="583" y="143"/>
                  </a:lnTo>
                  <a:lnTo>
                    <a:pt x="582" y="140"/>
                  </a:lnTo>
                  <a:lnTo>
                    <a:pt x="583" y="136"/>
                  </a:lnTo>
                  <a:lnTo>
                    <a:pt x="582" y="135"/>
                  </a:lnTo>
                  <a:lnTo>
                    <a:pt x="580" y="135"/>
                  </a:lnTo>
                  <a:lnTo>
                    <a:pt x="580" y="135"/>
                  </a:lnTo>
                  <a:lnTo>
                    <a:pt x="580" y="137"/>
                  </a:lnTo>
                  <a:lnTo>
                    <a:pt x="579" y="140"/>
                  </a:lnTo>
                  <a:lnTo>
                    <a:pt x="577" y="140"/>
                  </a:lnTo>
                  <a:lnTo>
                    <a:pt x="574" y="143"/>
                  </a:lnTo>
                  <a:lnTo>
                    <a:pt x="570" y="145"/>
                  </a:lnTo>
                  <a:lnTo>
                    <a:pt x="563" y="146"/>
                  </a:lnTo>
                  <a:lnTo>
                    <a:pt x="557" y="146"/>
                  </a:lnTo>
                  <a:lnTo>
                    <a:pt x="553" y="146"/>
                  </a:lnTo>
                  <a:lnTo>
                    <a:pt x="551" y="143"/>
                  </a:lnTo>
                  <a:lnTo>
                    <a:pt x="547" y="142"/>
                  </a:lnTo>
                  <a:lnTo>
                    <a:pt x="543" y="142"/>
                  </a:lnTo>
                  <a:lnTo>
                    <a:pt x="534" y="140"/>
                  </a:lnTo>
                  <a:lnTo>
                    <a:pt x="524" y="140"/>
                  </a:lnTo>
                  <a:lnTo>
                    <a:pt x="518" y="139"/>
                  </a:lnTo>
                  <a:lnTo>
                    <a:pt x="514" y="140"/>
                  </a:lnTo>
                  <a:lnTo>
                    <a:pt x="511" y="143"/>
                  </a:lnTo>
                  <a:lnTo>
                    <a:pt x="508" y="143"/>
                  </a:lnTo>
                  <a:lnTo>
                    <a:pt x="507" y="143"/>
                  </a:lnTo>
                  <a:lnTo>
                    <a:pt x="506" y="140"/>
                  </a:lnTo>
                  <a:lnTo>
                    <a:pt x="503" y="137"/>
                  </a:lnTo>
                  <a:lnTo>
                    <a:pt x="500" y="136"/>
                  </a:lnTo>
                  <a:lnTo>
                    <a:pt x="497" y="137"/>
                  </a:lnTo>
                  <a:lnTo>
                    <a:pt x="491" y="142"/>
                  </a:lnTo>
                  <a:lnTo>
                    <a:pt x="488" y="143"/>
                  </a:lnTo>
                  <a:lnTo>
                    <a:pt x="484" y="143"/>
                  </a:lnTo>
                  <a:lnTo>
                    <a:pt x="484" y="140"/>
                  </a:lnTo>
                  <a:lnTo>
                    <a:pt x="483" y="139"/>
                  </a:lnTo>
                  <a:lnTo>
                    <a:pt x="481" y="140"/>
                  </a:lnTo>
                  <a:lnTo>
                    <a:pt x="478" y="142"/>
                  </a:lnTo>
                  <a:lnTo>
                    <a:pt x="477" y="143"/>
                  </a:lnTo>
                  <a:lnTo>
                    <a:pt x="476" y="147"/>
                  </a:lnTo>
                  <a:lnTo>
                    <a:pt x="476" y="149"/>
                  </a:lnTo>
                  <a:lnTo>
                    <a:pt x="471" y="150"/>
                  </a:lnTo>
                  <a:lnTo>
                    <a:pt x="468" y="150"/>
                  </a:lnTo>
                  <a:lnTo>
                    <a:pt x="467" y="152"/>
                  </a:lnTo>
                  <a:lnTo>
                    <a:pt x="464" y="155"/>
                  </a:lnTo>
                  <a:lnTo>
                    <a:pt x="461" y="156"/>
                  </a:lnTo>
                  <a:lnTo>
                    <a:pt x="458" y="156"/>
                  </a:lnTo>
                  <a:lnTo>
                    <a:pt x="457" y="153"/>
                  </a:lnTo>
                  <a:lnTo>
                    <a:pt x="458" y="149"/>
                  </a:lnTo>
                  <a:lnTo>
                    <a:pt x="461" y="143"/>
                  </a:lnTo>
                  <a:lnTo>
                    <a:pt x="466" y="140"/>
                  </a:lnTo>
                  <a:lnTo>
                    <a:pt x="466" y="139"/>
                  </a:lnTo>
                  <a:lnTo>
                    <a:pt x="464" y="137"/>
                  </a:lnTo>
                  <a:lnTo>
                    <a:pt x="463" y="139"/>
                  </a:lnTo>
                  <a:lnTo>
                    <a:pt x="461" y="139"/>
                  </a:lnTo>
                  <a:lnTo>
                    <a:pt x="458" y="142"/>
                  </a:lnTo>
                  <a:lnTo>
                    <a:pt x="454" y="146"/>
                  </a:lnTo>
                  <a:lnTo>
                    <a:pt x="448" y="150"/>
                  </a:lnTo>
                  <a:lnTo>
                    <a:pt x="444" y="150"/>
                  </a:lnTo>
                  <a:lnTo>
                    <a:pt x="434" y="150"/>
                  </a:lnTo>
                  <a:lnTo>
                    <a:pt x="430" y="150"/>
                  </a:lnTo>
                  <a:lnTo>
                    <a:pt x="427" y="152"/>
                  </a:lnTo>
                  <a:lnTo>
                    <a:pt x="425" y="153"/>
                  </a:lnTo>
                  <a:lnTo>
                    <a:pt x="424" y="156"/>
                  </a:lnTo>
                  <a:lnTo>
                    <a:pt x="423" y="159"/>
                  </a:lnTo>
                  <a:lnTo>
                    <a:pt x="420" y="162"/>
                  </a:lnTo>
                  <a:lnTo>
                    <a:pt x="417" y="165"/>
                  </a:lnTo>
                  <a:lnTo>
                    <a:pt x="414" y="163"/>
                  </a:lnTo>
                  <a:lnTo>
                    <a:pt x="413" y="163"/>
                  </a:lnTo>
                  <a:lnTo>
                    <a:pt x="413" y="162"/>
                  </a:lnTo>
                  <a:lnTo>
                    <a:pt x="411" y="159"/>
                  </a:lnTo>
                  <a:lnTo>
                    <a:pt x="413" y="156"/>
                  </a:lnTo>
                  <a:lnTo>
                    <a:pt x="415" y="152"/>
                  </a:lnTo>
                  <a:lnTo>
                    <a:pt x="415" y="152"/>
                  </a:lnTo>
                  <a:lnTo>
                    <a:pt x="415" y="150"/>
                  </a:lnTo>
                  <a:lnTo>
                    <a:pt x="413" y="150"/>
                  </a:lnTo>
                  <a:lnTo>
                    <a:pt x="410" y="152"/>
                  </a:lnTo>
                  <a:lnTo>
                    <a:pt x="408" y="155"/>
                  </a:lnTo>
                  <a:lnTo>
                    <a:pt x="407" y="157"/>
                  </a:lnTo>
                  <a:lnTo>
                    <a:pt x="402" y="159"/>
                  </a:lnTo>
                  <a:lnTo>
                    <a:pt x="397" y="159"/>
                  </a:lnTo>
                  <a:lnTo>
                    <a:pt x="394" y="157"/>
                  </a:lnTo>
                  <a:lnTo>
                    <a:pt x="390" y="156"/>
                  </a:lnTo>
                  <a:lnTo>
                    <a:pt x="388" y="152"/>
                  </a:lnTo>
                  <a:lnTo>
                    <a:pt x="385" y="146"/>
                  </a:lnTo>
                  <a:lnTo>
                    <a:pt x="385" y="137"/>
                  </a:lnTo>
                  <a:lnTo>
                    <a:pt x="385" y="136"/>
                  </a:lnTo>
                  <a:lnTo>
                    <a:pt x="385" y="135"/>
                  </a:lnTo>
                  <a:lnTo>
                    <a:pt x="382" y="135"/>
                  </a:lnTo>
                  <a:lnTo>
                    <a:pt x="382" y="137"/>
                  </a:lnTo>
                  <a:lnTo>
                    <a:pt x="382" y="143"/>
                  </a:lnTo>
                  <a:lnTo>
                    <a:pt x="382" y="149"/>
                  </a:lnTo>
                  <a:lnTo>
                    <a:pt x="384" y="152"/>
                  </a:lnTo>
                  <a:lnTo>
                    <a:pt x="385" y="155"/>
                  </a:lnTo>
                  <a:lnTo>
                    <a:pt x="388" y="157"/>
                  </a:lnTo>
                  <a:lnTo>
                    <a:pt x="391" y="160"/>
                  </a:lnTo>
                  <a:lnTo>
                    <a:pt x="394" y="162"/>
                  </a:lnTo>
                  <a:lnTo>
                    <a:pt x="400" y="169"/>
                  </a:lnTo>
                  <a:lnTo>
                    <a:pt x="402" y="169"/>
                  </a:lnTo>
                  <a:lnTo>
                    <a:pt x="404" y="172"/>
                  </a:lnTo>
                  <a:lnTo>
                    <a:pt x="404" y="175"/>
                  </a:lnTo>
                  <a:lnTo>
                    <a:pt x="401" y="178"/>
                  </a:lnTo>
                  <a:lnTo>
                    <a:pt x="397" y="180"/>
                  </a:lnTo>
                  <a:lnTo>
                    <a:pt x="392" y="180"/>
                  </a:lnTo>
                  <a:lnTo>
                    <a:pt x="388" y="180"/>
                  </a:lnTo>
                  <a:lnTo>
                    <a:pt x="387" y="178"/>
                  </a:lnTo>
                  <a:lnTo>
                    <a:pt x="384" y="176"/>
                  </a:lnTo>
                  <a:lnTo>
                    <a:pt x="381" y="176"/>
                  </a:lnTo>
                  <a:lnTo>
                    <a:pt x="380" y="176"/>
                  </a:lnTo>
                  <a:lnTo>
                    <a:pt x="378" y="178"/>
                  </a:lnTo>
                  <a:lnTo>
                    <a:pt x="378" y="180"/>
                  </a:lnTo>
                  <a:lnTo>
                    <a:pt x="378" y="183"/>
                  </a:lnTo>
                  <a:lnTo>
                    <a:pt x="378" y="186"/>
                  </a:lnTo>
                  <a:lnTo>
                    <a:pt x="378" y="189"/>
                  </a:lnTo>
                  <a:lnTo>
                    <a:pt x="375" y="190"/>
                  </a:lnTo>
                  <a:lnTo>
                    <a:pt x="370" y="190"/>
                  </a:lnTo>
                  <a:lnTo>
                    <a:pt x="364" y="189"/>
                  </a:lnTo>
                  <a:lnTo>
                    <a:pt x="360" y="188"/>
                  </a:lnTo>
                  <a:lnTo>
                    <a:pt x="355" y="186"/>
                  </a:lnTo>
                  <a:lnTo>
                    <a:pt x="354" y="183"/>
                  </a:lnTo>
                  <a:lnTo>
                    <a:pt x="351" y="180"/>
                  </a:lnTo>
                  <a:lnTo>
                    <a:pt x="349" y="179"/>
                  </a:lnTo>
                  <a:lnTo>
                    <a:pt x="349" y="176"/>
                  </a:lnTo>
                  <a:lnTo>
                    <a:pt x="349" y="172"/>
                  </a:lnTo>
                  <a:lnTo>
                    <a:pt x="349" y="169"/>
                  </a:lnTo>
                  <a:lnTo>
                    <a:pt x="348" y="169"/>
                  </a:lnTo>
                  <a:lnTo>
                    <a:pt x="347" y="169"/>
                  </a:lnTo>
                  <a:lnTo>
                    <a:pt x="347" y="172"/>
                  </a:lnTo>
                  <a:lnTo>
                    <a:pt x="345" y="175"/>
                  </a:lnTo>
                  <a:lnTo>
                    <a:pt x="345" y="179"/>
                  </a:lnTo>
                  <a:lnTo>
                    <a:pt x="347" y="183"/>
                  </a:lnTo>
                  <a:lnTo>
                    <a:pt x="348" y="185"/>
                  </a:lnTo>
                  <a:lnTo>
                    <a:pt x="348" y="190"/>
                  </a:lnTo>
                  <a:lnTo>
                    <a:pt x="348" y="195"/>
                  </a:lnTo>
                  <a:lnTo>
                    <a:pt x="347" y="199"/>
                  </a:lnTo>
                  <a:lnTo>
                    <a:pt x="344" y="202"/>
                  </a:lnTo>
                  <a:lnTo>
                    <a:pt x="338" y="203"/>
                  </a:lnTo>
                  <a:lnTo>
                    <a:pt x="334" y="202"/>
                  </a:lnTo>
                  <a:lnTo>
                    <a:pt x="331" y="198"/>
                  </a:lnTo>
                  <a:lnTo>
                    <a:pt x="331" y="192"/>
                  </a:lnTo>
                  <a:lnTo>
                    <a:pt x="329" y="188"/>
                  </a:lnTo>
                  <a:lnTo>
                    <a:pt x="329" y="183"/>
                  </a:lnTo>
                  <a:lnTo>
                    <a:pt x="331" y="178"/>
                  </a:lnTo>
                  <a:lnTo>
                    <a:pt x="329" y="175"/>
                  </a:lnTo>
                  <a:lnTo>
                    <a:pt x="328" y="169"/>
                  </a:lnTo>
                  <a:lnTo>
                    <a:pt x="328" y="165"/>
                  </a:lnTo>
                  <a:lnTo>
                    <a:pt x="327" y="165"/>
                  </a:lnTo>
                  <a:lnTo>
                    <a:pt x="325" y="165"/>
                  </a:lnTo>
                  <a:lnTo>
                    <a:pt x="327" y="167"/>
                  </a:lnTo>
                  <a:lnTo>
                    <a:pt x="325" y="172"/>
                  </a:lnTo>
                  <a:lnTo>
                    <a:pt x="325" y="176"/>
                  </a:lnTo>
                  <a:lnTo>
                    <a:pt x="324" y="179"/>
                  </a:lnTo>
                  <a:lnTo>
                    <a:pt x="325" y="182"/>
                  </a:lnTo>
                  <a:lnTo>
                    <a:pt x="322" y="183"/>
                  </a:lnTo>
                  <a:lnTo>
                    <a:pt x="319" y="182"/>
                  </a:lnTo>
                  <a:lnTo>
                    <a:pt x="319" y="178"/>
                  </a:lnTo>
                  <a:lnTo>
                    <a:pt x="318" y="178"/>
                  </a:lnTo>
                  <a:lnTo>
                    <a:pt x="317" y="179"/>
                  </a:lnTo>
                  <a:lnTo>
                    <a:pt x="318" y="180"/>
                  </a:lnTo>
                  <a:lnTo>
                    <a:pt x="318" y="185"/>
                  </a:lnTo>
                  <a:lnTo>
                    <a:pt x="315" y="190"/>
                  </a:lnTo>
                  <a:lnTo>
                    <a:pt x="309" y="195"/>
                  </a:lnTo>
                  <a:lnTo>
                    <a:pt x="305" y="198"/>
                  </a:lnTo>
                  <a:lnTo>
                    <a:pt x="304" y="199"/>
                  </a:lnTo>
                  <a:lnTo>
                    <a:pt x="301" y="205"/>
                  </a:lnTo>
                  <a:lnTo>
                    <a:pt x="301" y="206"/>
                  </a:lnTo>
                  <a:lnTo>
                    <a:pt x="299" y="206"/>
                  </a:lnTo>
                  <a:lnTo>
                    <a:pt x="297" y="205"/>
                  </a:lnTo>
                  <a:lnTo>
                    <a:pt x="291" y="196"/>
                  </a:lnTo>
                  <a:lnTo>
                    <a:pt x="291" y="189"/>
                  </a:lnTo>
                  <a:lnTo>
                    <a:pt x="289" y="183"/>
                  </a:lnTo>
                  <a:lnTo>
                    <a:pt x="285" y="179"/>
                  </a:lnTo>
                  <a:lnTo>
                    <a:pt x="284" y="176"/>
                  </a:lnTo>
                  <a:lnTo>
                    <a:pt x="281" y="172"/>
                  </a:lnTo>
                  <a:lnTo>
                    <a:pt x="281" y="169"/>
                  </a:lnTo>
                  <a:lnTo>
                    <a:pt x="279" y="167"/>
                  </a:lnTo>
                  <a:lnTo>
                    <a:pt x="278" y="169"/>
                  </a:lnTo>
                  <a:lnTo>
                    <a:pt x="279" y="173"/>
                  </a:lnTo>
                  <a:lnTo>
                    <a:pt x="281" y="176"/>
                  </a:lnTo>
                  <a:lnTo>
                    <a:pt x="282" y="179"/>
                  </a:lnTo>
                  <a:lnTo>
                    <a:pt x="282" y="185"/>
                  </a:lnTo>
                  <a:lnTo>
                    <a:pt x="282" y="189"/>
                  </a:lnTo>
                  <a:lnTo>
                    <a:pt x="281" y="196"/>
                  </a:lnTo>
                  <a:lnTo>
                    <a:pt x="279" y="199"/>
                  </a:lnTo>
                  <a:lnTo>
                    <a:pt x="274" y="206"/>
                  </a:lnTo>
                  <a:lnTo>
                    <a:pt x="269" y="212"/>
                  </a:lnTo>
                  <a:lnTo>
                    <a:pt x="268" y="219"/>
                  </a:lnTo>
                  <a:lnTo>
                    <a:pt x="266" y="223"/>
                  </a:lnTo>
                  <a:lnTo>
                    <a:pt x="265" y="223"/>
                  </a:lnTo>
                  <a:lnTo>
                    <a:pt x="262" y="223"/>
                  </a:lnTo>
                  <a:lnTo>
                    <a:pt x="261" y="222"/>
                  </a:lnTo>
                  <a:lnTo>
                    <a:pt x="259" y="219"/>
                  </a:lnTo>
                  <a:lnTo>
                    <a:pt x="259" y="219"/>
                  </a:lnTo>
                  <a:lnTo>
                    <a:pt x="258" y="219"/>
                  </a:lnTo>
                  <a:lnTo>
                    <a:pt x="256" y="220"/>
                  </a:lnTo>
                  <a:lnTo>
                    <a:pt x="258" y="223"/>
                  </a:lnTo>
                  <a:lnTo>
                    <a:pt x="255" y="228"/>
                  </a:lnTo>
                  <a:lnTo>
                    <a:pt x="252" y="229"/>
                  </a:lnTo>
                  <a:lnTo>
                    <a:pt x="249" y="228"/>
                  </a:lnTo>
                  <a:lnTo>
                    <a:pt x="246" y="223"/>
                  </a:lnTo>
                  <a:lnTo>
                    <a:pt x="246" y="219"/>
                  </a:lnTo>
                  <a:lnTo>
                    <a:pt x="244" y="219"/>
                  </a:lnTo>
                  <a:lnTo>
                    <a:pt x="242" y="220"/>
                  </a:lnTo>
                  <a:lnTo>
                    <a:pt x="242" y="223"/>
                  </a:lnTo>
                  <a:lnTo>
                    <a:pt x="244" y="225"/>
                  </a:lnTo>
                  <a:lnTo>
                    <a:pt x="245" y="226"/>
                  </a:lnTo>
                  <a:lnTo>
                    <a:pt x="248" y="229"/>
                  </a:lnTo>
                  <a:lnTo>
                    <a:pt x="249" y="232"/>
                  </a:lnTo>
                  <a:lnTo>
                    <a:pt x="248" y="233"/>
                  </a:lnTo>
                  <a:lnTo>
                    <a:pt x="246" y="233"/>
                  </a:lnTo>
                  <a:lnTo>
                    <a:pt x="245" y="232"/>
                  </a:lnTo>
                  <a:lnTo>
                    <a:pt x="244" y="231"/>
                  </a:lnTo>
                  <a:lnTo>
                    <a:pt x="242" y="228"/>
                  </a:lnTo>
                  <a:lnTo>
                    <a:pt x="239" y="226"/>
                  </a:lnTo>
                  <a:lnTo>
                    <a:pt x="238" y="225"/>
                  </a:lnTo>
                  <a:lnTo>
                    <a:pt x="236" y="223"/>
                  </a:lnTo>
                  <a:lnTo>
                    <a:pt x="235" y="223"/>
                  </a:lnTo>
                  <a:lnTo>
                    <a:pt x="235" y="226"/>
                  </a:lnTo>
                  <a:lnTo>
                    <a:pt x="232" y="231"/>
                  </a:lnTo>
                  <a:lnTo>
                    <a:pt x="228" y="232"/>
                  </a:lnTo>
                  <a:lnTo>
                    <a:pt x="226" y="233"/>
                  </a:lnTo>
                  <a:lnTo>
                    <a:pt x="226" y="236"/>
                  </a:lnTo>
                  <a:lnTo>
                    <a:pt x="229" y="236"/>
                  </a:lnTo>
                  <a:lnTo>
                    <a:pt x="229" y="238"/>
                  </a:lnTo>
                  <a:lnTo>
                    <a:pt x="228" y="241"/>
                  </a:lnTo>
                  <a:lnTo>
                    <a:pt x="225" y="242"/>
                  </a:lnTo>
                  <a:lnTo>
                    <a:pt x="222" y="241"/>
                  </a:lnTo>
                  <a:lnTo>
                    <a:pt x="221" y="241"/>
                  </a:lnTo>
                  <a:lnTo>
                    <a:pt x="218" y="242"/>
                  </a:lnTo>
                  <a:lnTo>
                    <a:pt x="218" y="242"/>
                  </a:lnTo>
                  <a:lnTo>
                    <a:pt x="218" y="239"/>
                  </a:lnTo>
                  <a:lnTo>
                    <a:pt x="216" y="235"/>
                  </a:lnTo>
                  <a:lnTo>
                    <a:pt x="212" y="231"/>
                  </a:lnTo>
                  <a:lnTo>
                    <a:pt x="212" y="223"/>
                  </a:lnTo>
                  <a:lnTo>
                    <a:pt x="213" y="212"/>
                  </a:lnTo>
                  <a:lnTo>
                    <a:pt x="216" y="202"/>
                  </a:lnTo>
                  <a:lnTo>
                    <a:pt x="218" y="198"/>
                  </a:lnTo>
                  <a:lnTo>
                    <a:pt x="215" y="198"/>
                  </a:lnTo>
                  <a:lnTo>
                    <a:pt x="213" y="202"/>
                  </a:lnTo>
                  <a:lnTo>
                    <a:pt x="212" y="209"/>
                  </a:lnTo>
                  <a:lnTo>
                    <a:pt x="209" y="212"/>
                  </a:lnTo>
                  <a:lnTo>
                    <a:pt x="206" y="220"/>
                  </a:lnTo>
                  <a:lnTo>
                    <a:pt x="205" y="242"/>
                  </a:lnTo>
                  <a:lnTo>
                    <a:pt x="202" y="246"/>
                  </a:lnTo>
                  <a:lnTo>
                    <a:pt x="199" y="248"/>
                  </a:lnTo>
                  <a:lnTo>
                    <a:pt x="198" y="251"/>
                  </a:lnTo>
                  <a:lnTo>
                    <a:pt x="193" y="253"/>
                  </a:lnTo>
                  <a:lnTo>
                    <a:pt x="192" y="255"/>
                  </a:lnTo>
                  <a:lnTo>
                    <a:pt x="192" y="259"/>
                  </a:lnTo>
                  <a:lnTo>
                    <a:pt x="191" y="262"/>
                  </a:lnTo>
                  <a:lnTo>
                    <a:pt x="188" y="263"/>
                  </a:lnTo>
                  <a:lnTo>
                    <a:pt x="183" y="265"/>
                  </a:lnTo>
                  <a:lnTo>
                    <a:pt x="179" y="266"/>
                  </a:lnTo>
                  <a:lnTo>
                    <a:pt x="175" y="266"/>
                  </a:lnTo>
                  <a:lnTo>
                    <a:pt x="175" y="263"/>
                  </a:lnTo>
                  <a:lnTo>
                    <a:pt x="176" y="259"/>
                  </a:lnTo>
                  <a:lnTo>
                    <a:pt x="178" y="252"/>
                  </a:lnTo>
                  <a:lnTo>
                    <a:pt x="178" y="246"/>
                  </a:lnTo>
                  <a:lnTo>
                    <a:pt x="176" y="241"/>
                  </a:lnTo>
                  <a:lnTo>
                    <a:pt x="168" y="231"/>
                  </a:lnTo>
                  <a:lnTo>
                    <a:pt x="160" y="223"/>
                  </a:lnTo>
                  <a:lnTo>
                    <a:pt x="155" y="216"/>
                  </a:lnTo>
                  <a:lnTo>
                    <a:pt x="153" y="215"/>
                  </a:lnTo>
                  <a:lnTo>
                    <a:pt x="152" y="215"/>
                  </a:lnTo>
                  <a:lnTo>
                    <a:pt x="152" y="216"/>
                  </a:lnTo>
                  <a:lnTo>
                    <a:pt x="153" y="219"/>
                  </a:lnTo>
                  <a:lnTo>
                    <a:pt x="156" y="223"/>
                  </a:lnTo>
                  <a:lnTo>
                    <a:pt x="163" y="232"/>
                  </a:lnTo>
                  <a:lnTo>
                    <a:pt x="169" y="239"/>
                  </a:lnTo>
                  <a:lnTo>
                    <a:pt x="172" y="249"/>
                  </a:lnTo>
                  <a:lnTo>
                    <a:pt x="173" y="253"/>
                  </a:lnTo>
                  <a:lnTo>
                    <a:pt x="172" y="258"/>
                  </a:lnTo>
                  <a:lnTo>
                    <a:pt x="169" y="262"/>
                  </a:lnTo>
                  <a:lnTo>
                    <a:pt x="168" y="269"/>
                  </a:lnTo>
                  <a:lnTo>
                    <a:pt x="166" y="276"/>
                  </a:lnTo>
                  <a:lnTo>
                    <a:pt x="163" y="279"/>
                  </a:lnTo>
                  <a:lnTo>
                    <a:pt x="156" y="278"/>
                  </a:lnTo>
                  <a:lnTo>
                    <a:pt x="150" y="276"/>
                  </a:lnTo>
                  <a:lnTo>
                    <a:pt x="148" y="276"/>
                  </a:lnTo>
                  <a:lnTo>
                    <a:pt x="142" y="276"/>
                  </a:lnTo>
                  <a:lnTo>
                    <a:pt x="139" y="272"/>
                  </a:lnTo>
                  <a:lnTo>
                    <a:pt x="136" y="265"/>
                  </a:lnTo>
                  <a:lnTo>
                    <a:pt x="136" y="258"/>
                  </a:lnTo>
                  <a:lnTo>
                    <a:pt x="138" y="245"/>
                  </a:lnTo>
                  <a:lnTo>
                    <a:pt x="136" y="239"/>
                  </a:lnTo>
                  <a:lnTo>
                    <a:pt x="135" y="238"/>
                  </a:lnTo>
                  <a:lnTo>
                    <a:pt x="133" y="241"/>
                  </a:lnTo>
                  <a:lnTo>
                    <a:pt x="135" y="245"/>
                  </a:lnTo>
                  <a:lnTo>
                    <a:pt x="133" y="251"/>
                  </a:lnTo>
                  <a:lnTo>
                    <a:pt x="133" y="255"/>
                  </a:lnTo>
                  <a:lnTo>
                    <a:pt x="133" y="256"/>
                  </a:lnTo>
                  <a:lnTo>
                    <a:pt x="130" y="256"/>
                  </a:lnTo>
                  <a:lnTo>
                    <a:pt x="130" y="258"/>
                  </a:lnTo>
                  <a:lnTo>
                    <a:pt x="130" y="261"/>
                  </a:lnTo>
                  <a:lnTo>
                    <a:pt x="133" y="263"/>
                  </a:lnTo>
                  <a:lnTo>
                    <a:pt x="135" y="269"/>
                  </a:lnTo>
                  <a:lnTo>
                    <a:pt x="135" y="273"/>
                  </a:lnTo>
                  <a:lnTo>
                    <a:pt x="135" y="282"/>
                  </a:lnTo>
                  <a:lnTo>
                    <a:pt x="133" y="286"/>
                  </a:lnTo>
                  <a:lnTo>
                    <a:pt x="129" y="289"/>
                  </a:lnTo>
                  <a:lnTo>
                    <a:pt x="122" y="292"/>
                  </a:lnTo>
                  <a:lnTo>
                    <a:pt x="115" y="298"/>
                  </a:lnTo>
                  <a:lnTo>
                    <a:pt x="107" y="299"/>
                  </a:lnTo>
                  <a:lnTo>
                    <a:pt x="103" y="301"/>
                  </a:lnTo>
                  <a:lnTo>
                    <a:pt x="103" y="299"/>
                  </a:lnTo>
                  <a:lnTo>
                    <a:pt x="103" y="295"/>
                  </a:lnTo>
                  <a:lnTo>
                    <a:pt x="102" y="292"/>
                  </a:lnTo>
                  <a:lnTo>
                    <a:pt x="100" y="294"/>
                  </a:lnTo>
                  <a:lnTo>
                    <a:pt x="99" y="298"/>
                  </a:lnTo>
                  <a:lnTo>
                    <a:pt x="96" y="299"/>
                  </a:lnTo>
                  <a:lnTo>
                    <a:pt x="95" y="299"/>
                  </a:lnTo>
                  <a:lnTo>
                    <a:pt x="93" y="302"/>
                  </a:lnTo>
                  <a:lnTo>
                    <a:pt x="86" y="304"/>
                  </a:lnTo>
                  <a:lnTo>
                    <a:pt x="85" y="299"/>
                  </a:lnTo>
                  <a:lnTo>
                    <a:pt x="80" y="289"/>
                  </a:lnTo>
                  <a:lnTo>
                    <a:pt x="76" y="286"/>
                  </a:lnTo>
                  <a:lnTo>
                    <a:pt x="73" y="283"/>
                  </a:lnTo>
                  <a:lnTo>
                    <a:pt x="72" y="281"/>
                  </a:lnTo>
                  <a:lnTo>
                    <a:pt x="70" y="278"/>
                  </a:lnTo>
                  <a:lnTo>
                    <a:pt x="73" y="272"/>
                  </a:lnTo>
                  <a:lnTo>
                    <a:pt x="76" y="268"/>
                  </a:lnTo>
                  <a:lnTo>
                    <a:pt x="79" y="263"/>
                  </a:lnTo>
                  <a:lnTo>
                    <a:pt x="82" y="259"/>
                  </a:lnTo>
                  <a:lnTo>
                    <a:pt x="82" y="255"/>
                  </a:lnTo>
                  <a:lnTo>
                    <a:pt x="80" y="253"/>
                  </a:lnTo>
                  <a:lnTo>
                    <a:pt x="79" y="255"/>
                  </a:lnTo>
                  <a:lnTo>
                    <a:pt x="79" y="258"/>
                  </a:lnTo>
                  <a:lnTo>
                    <a:pt x="77" y="261"/>
                  </a:lnTo>
                  <a:lnTo>
                    <a:pt x="76" y="263"/>
                  </a:lnTo>
                  <a:lnTo>
                    <a:pt x="72" y="269"/>
                  </a:lnTo>
                  <a:lnTo>
                    <a:pt x="69" y="273"/>
                  </a:lnTo>
                  <a:lnTo>
                    <a:pt x="66" y="273"/>
                  </a:lnTo>
                  <a:lnTo>
                    <a:pt x="66" y="273"/>
                  </a:lnTo>
                  <a:lnTo>
                    <a:pt x="66" y="269"/>
                  </a:lnTo>
                  <a:lnTo>
                    <a:pt x="66" y="266"/>
                  </a:lnTo>
                  <a:lnTo>
                    <a:pt x="63" y="262"/>
                  </a:lnTo>
                  <a:lnTo>
                    <a:pt x="59" y="258"/>
                  </a:lnTo>
                  <a:lnTo>
                    <a:pt x="53" y="253"/>
                  </a:lnTo>
                  <a:lnTo>
                    <a:pt x="50" y="252"/>
                  </a:lnTo>
                  <a:lnTo>
                    <a:pt x="49" y="248"/>
                  </a:lnTo>
                  <a:lnTo>
                    <a:pt x="50" y="242"/>
                  </a:lnTo>
                  <a:lnTo>
                    <a:pt x="49" y="235"/>
                  </a:lnTo>
                  <a:lnTo>
                    <a:pt x="47" y="231"/>
                  </a:lnTo>
                  <a:lnTo>
                    <a:pt x="46" y="226"/>
                  </a:lnTo>
                  <a:lnTo>
                    <a:pt x="43" y="223"/>
                  </a:lnTo>
                  <a:lnTo>
                    <a:pt x="40" y="220"/>
                  </a:lnTo>
                  <a:lnTo>
                    <a:pt x="37" y="220"/>
                  </a:lnTo>
                  <a:lnTo>
                    <a:pt x="33" y="219"/>
                  </a:lnTo>
                  <a:lnTo>
                    <a:pt x="29" y="219"/>
                  </a:lnTo>
                  <a:lnTo>
                    <a:pt x="26" y="219"/>
                  </a:lnTo>
                  <a:lnTo>
                    <a:pt x="23" y="218"/>
                  </a:lnTo>
                  <a:lnTo>
                    <a:pt x="19" y="218"/>
                  </a:lnTo>
                  <a:lnTo>
                    <a:pt x="16" y="216"/>
                  </a:lnTo>
                  <a:lnTo>
                    <a:pt x="13" y="218"/>
                  </a:lnTo>
                  <a:lnTo>
                    <a:pt x="9" y="219"/>
                  </a:lnTo>
                  <a:lnTo>
                    <a:pt x="6" y="219"/>
                  </a:lnTo>
                  <a:lnTo>
                    <a:pt x="4" y="218"/>
                  </a:lnTo>
                  <a:lnTo>
                    <a:pt x="1" y="213"/>
                  </a:lnTo>
                  <a:lnTo>
                    <a:pt x="1" y="210"/>
                  </a:lnTo>
                  <a:lnTo>
                    <a:pt x="0" y="208"/>
                  </a:lnTo>
                  <a:lnTo>
                    <a:pt x="1" y="205"/>
                  </a:lnTo>
                  <a:lnTo>
                    <a:pt x="4" y="203"/>
                  </a:lnTo>
                  <a:lnTo>
                    <a:pt x="4" y="20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2" name="Freeform 412"/>
            <p:cNvSpPr>
              <a:spLocks/>
            </p:cNvSpPr>
            <p:nvPr/>
          </p:nvSpPr>
          <p:spPr bwMode="auto">
            <a:xfrm>
              <a:off x="7789701" y="4160012"/>
              <a:ext cx="2442" cy="2646"/>
            </a:xfrm>
            <a:custGeom>
              <a:avLst/>
              <a:gdLst>
                <a:gd name="T0" fmla="*/ 1 w 4"/>
                <a:gd name="T1" fmla="*/ 4 h 4"/>
                <a:gd name="T2" fmla="*/ 4 w 4"/>
                <a:gd name="T3" fmla="*/ 2 h 4"/>
                <a:gd name="T4" fmla="*/ 4 w 4"/>
                <a:gd name="T5" fmla="*/ 0 h 4"/>
                <a:gd name="T6" fmla="*/ 1 w 4"/>
                <a:gd name="T7" fmla="*/ 0 h 4"/>
                <a:gd name="T8" fmla="*/ 0 w 4"/>
                <a:gd name="T9" fmla="*/ 0 h 4"/>
                <a:gd name="T10" fmla="*/ 0 w 4"/>
                <a:gd name="T11" fmla="*/ 2 h 4"/>
                <a:gd name="T12" fmla="*/ 1 w 4"/>
                <a:gd name="T13" fmla="*/ 4 h 4"/>
                <a:gd name="T14" fmla="*/ 1 w 4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1" y="4"/>
                  </a:moveTo>
                  <a:lnTo>
                    <a:pt x="4" y="2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1" y="4"/>
                  </a:lnTo>
                  <a:lnTo>
                    <a:pt x="1" y="4"/>
                  </a:lnTo>
                  <a:close/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3" name="Freeform 413"/>
            <p:cNvSpPr>
              <a:spLocks/>
            </p:cNvSpPr>
            <p:nvPr/>
          </p:nvSpPr>
          <p:spPr bwMode="auto">
            <a:xfrm>
              <a:off x="8374629" y="3072585"/>
              <a:ext cx="39077" cy="101864"/>
            </a:xfrm>
            <a:custGeom>
              <a:avLst/>
              <a:gdLst>
                <a:gd name="T0" fmla="*/ 1 w 63"/>
                <a:gd name="T1" fmla="*/ 89 h 155"/>
                <a:gd name="T2" fmla="*/ 3 w 63"/>
                <a:gd name="T3" fmla="*/ 80 h 155"/>
                <a:gd name="T4" fmla="*/ 5 w 63"/>
                <a:gd name="T5" fmla="*/ 73 h 155"/>
                <a:gd name="T6" fmla="*/ 10 w 63"/>
                <a:gd name="T7" fmla="*/ 72 h 155"/>
                <a:gd name="T8" fmla="*/ 11 w 63"/>
                <a:gd name="T9" fmla="*/ 79 h 155"/>
                <a:gd name="T10" fmla="*/ 15 w 63"/>
                <a:gd name="T11" fmla="*/ 92 h 155"/>
                <a:gd name="T12" fmla="*/ 30 w 63"/>
                <a:gd name="T13" fmla="*/ 102 h 155"/>
                <a:gd name="T14" fmla="*/ 33 w 63"/>
                <a:gd name="T15" fmla="*/ 112 h 155"/>
                <a:gd name="T16" fmla="*/ 44 w 63"/>
                <a:gd name="T17" fmla="*/ 129 h 155"/>
                <a:gd name="T18" fmla="*/ 46 w 63"/>
                <a:gd name="T19" fmla="*/ 142 h 155"/>
                <a:gd name="T20" fmla="*/ 44 w 63"/>
                <a:gd name="T21" fmla="*/ 148 h 155"/>
                <a:gd name="T22" fmla="*/ 50 w 63"/>
                <a:gd name="T23" fmla="*/ 149 h 155"/>
                <a:gd name="T24" fmla="*/ 57 w 63"/>
                <a:gd name="T25" fmla="*/ 155 h 155"/>
                <a:gd name="T26" fmla="*/ 61 w 63"/>
                <a:gd name="T27" fmla="*/ 153 h 155"/>
                <a:gd name="T28" fmla="*/ 57 w 63"/>
                <a:gd name="T29" fmla="*/ 143 h 155"/>
                <a:gd name="T30" fmla="*/ 50 w 63"/>
                <a:gd name="T31" fmla="*/ 133 h 155"/>
                <a:gd name="T32" fmla="*/ 50 w 63"/>
                <a:gd name="T33" fmla="*/ 117 h 155"/>
                <a:gd name="T34" fmla="*/ 47 w 63"/>
                <a:gd name="T35" fmla="*/ 107 h 155"/>
                <a:gd name="T36" fmla="*/ 47 w 63"/>
                <a:gd name="T37" fmla="*/ 82 h 155"/>
                <a:gd name="T38" fmla="*/ 47 w 63"/>
                <a:gd name="T39" fmla="*/ 67 h 155"/>
                <a:gd name="T40" fmla="*/ 51 w 63"/>
                <a:gd name="T41" fmla="*/ 63 h 155"/>
                <a:gd name="T42" fmla="*/ 50 w 63"/>
                <a:gd name="T43" fmla="*/ 54 h 155"/>
                <a:gd name="T44" fmla="*/ 51 w 63"/>
                <a:gd name="T45" fmla="*/ 46 h 155"/>
                <a:gd name="T46" fmla="*/ 57 w 63"/>
                <a:gd name="T47" fmla="*/ 37 h 155"/>
                <a:gd name="T48" fmla="*/ 61 w 63"/>
                <a:gd name="T49" fmla="*/ 29 h 155"/>
                <a:gd name="T50" fmla="*/ 54 w 63"/>
                <a:gd name="T51" fmla="*/ 20 h 155"/>
                <a:gd name="T52" fmla="*/ 47 w 63"/>
                <a:gd name="T53" fmla="*/ 11 h 155"/>
                <a:gd name="T54" fmla="*/ 34 w 63"/>
                <a:gd name="T55" fmla="*/ 9 h 155"/>
                <a:gd name="T56" fmla="*/ 21 w 63"/>
                <a:gd name="T57" fmla="*/ 4 h 155"/>
                <a:gd name="T58" fmla="*/ 11 w 63"/>
                <a:gd name="T59" fmla="*/ 4 h 155"/>
                <a:gd name="T60" fmla="*/ 10 w 63"/>
                <a:gd name="T61" fmla="*/ 0 h 155"/>
                <a:gd name="T62" fmla="*/ 7 w 63"/>
                <a:gd name="T63" fmla="*/ 1 h 155"/>
                <a:gd name="T64" fmla="*/ 5 w 63"/>
                <a:gd name="T65" fmla="*/ 9 h 155"/>
                <a:gd name="T66" fmla="*/ 7 w 63"/>
                <a:gd name="T67" fmla="*/ 16 h 155"/>
                <a:gd name="T68" fmla="*/ 10 w 63"/>
                <a:gd name="T69" fmla="*/ 24 h 155"/>
                <a:gd name="T70" fmla="*/ 11 w 63"/>
                <a:gd name="T71" fmla="*/ 36 h 155"/>
                <a:gd name="T72" fmla="*/ 10 w 63"/>
                <a:gd name="T73" fmla="*/ 46 h 155"/>
                <a:gd name="T74" fmla="*/ 7 w 63"/>
                <a:gd name="T75" fmla="*/ 62 h 155"/>
                <a:gd name="T76" fmla="*/ 1 w 63"/>
                <a:gd name="T77" fmla="*/ 76 h 155"/>
                <a:gd name="T78" fmla="*/ 0 w 63"/>
                <a:gd name="T79" fmla="*/ 86 h 155"/>
                <a:gd name="T80" fmla="*/ 1 w 63"/>
                <a:gd name="T81" fmla="*/ 89 h 155"/>
                <a:gd name="T82" fmla="*/ 1 w 63"/>
                <a:gd name="T83" fmla="*/ 8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3" h="155">
                  <a:moveTo>
                    <a:pt x="1" y="89"/>
                  </a:moveTo>
                  <a:lnTo>
                    <a:pt x="1" y="89"/>
                  </a:lnTo>
                  <a:lnTo>
                    <a:pt x="1" y="86"/>
                  </a:lnTo>
                  <a:lnTo>
                    <a:pt x="3" y="80"/>
                  </a:lnTo>
                  <a:lnTo>
                    <a:pt x="4" y="77"/>
                  </a:lnTo>
                  <a:lnTo>
                    <a:pt x="5" y="73"/>
                  </a:lnTo>
                  <a:lnTo>
                    <a:pt x="7" y="72"/>
                  </a:lnTo>
                  <a:lnTo>
                    <a:pt x="10" y="72"/>
                  </a:lnTo>
                  <a:lnTo>
                    <a:pt x="10" y="75"/>
                  </a:lnTo>
                  <a:lnTo>
                    <a:pt x="11" y="79"/>
                  </a:lnTo>
                  <a:lnTo>
                    <a:pt x="13" y="87"/>
                  </a:lnTo>
                  <a:lnTo>
                    <a:pt x="15" y="92"/>
                  </a:lnTo>
                  <a:lnTo>
                    <a:pt x="23" y="96"/>
                  </a:lnTo>
                  <a:lnTo>
                    <a:pt x="30" y="102"/>
                  </a:lnTo>
                  <a:lnTo>
                    <a:pt x="31" y="105"/>
                  </a:lnTo>
                  <a:lnTo>
                    <a:pt x="33" y="112"/>
                  </a:lnTo>
                  <a:lnTo>
                    <a:pt x="40" y="120"/>
                  </a:lnTo>
                  <a:lnTo>
                    <a:pt x="44" y="129"/>
                  </a:lnTo>
                  <a:lnTo>
                    <a:pt x="46" y="135"/>
                  </a:lnTo>
                  <a:lnTo>
                    <a:pt x="46" y="142"/>
                  </a:lnTo>
                  <a:lnTo>
                    <a:pt x="44" y="146"/>
                  </a:lnTo>
                  <a:lnTo>
                    <a:pt x="44" y="148"/>
                  </a:lnTo>
                  <a:lnTo>
                    <a:pt x="47" y="149"/>
                  </a:lnTo>
                  <a:lnTo>
                    <a:pt x="50" y="149"/>
                  </a:lnTo>
                  <a:lnTo>
                    <a:pt x="54" y="150"/>
                  </a:lnTo>
                  <a:lnTo>
                    <a:pt x="57" y="155"/>
                  </a:lnTo>
                  <a:lnTo>
                    <a:pt x="57" y="155"/>
                  </a:lnTo>
                  <a:lnTo>
                    <a:pt x="61" y="153"/>
                  </a:lnTo>
                  <a:lnTo>
                    <a:pt x="61" y="152"/>
                  </a:lnTo>
                  <a:lnTo>
                    <a:pt x="57" y="143"/>
                  </a:lnTo>
                  <a:lnTo>
                    <a:pt x="53" y="138"/>
                  </a:lnTo>
                  <a:lnTo>
                    <a:pt x="50" y="133"/>
                  </a:lnTo>
                  <a:lnTo>
                    <a:pt x="51" y="126"/>
                  </a:lnTo>
                  <a:lnTo>
                    <a:pt x="50" y="117"/>
                  </a:lnTo>
                  <a:lnTo>
                    <a:pt x="50" y="112"/>
                  </a:lnTo>
                  <a:lnTo>
                    <a:pt x="47" y="107"/>
                  </a:lnTo>
                  <a:lnTo>
                    <a:pt x="48" y="100"/>
                  </a:lnTo>
                  <a:lnTo>
                    <a:pt x="47" y="82"/>
                  </a:lnTo>
                  <a:lnTo>
                    <a:pt x="47" y="73"/>
                  </a:lnTo>
                  <a:lnTo>
                    <a:pt x="47" y="67"/>
                  </a:lnTo>
                  <a:lnTo>
                    <a:pt x="51" y="64"/>
                  </a:lnTo>
                  <a:lnTo>
                    <a:pt x="51" y="63"/>
                  </a:lnTo>
                  <a:lnTo>
                    <a:pt x="51" y="57"/>
                  </a:lnTo>
                  <a:lnTo>
                    <a:pt x="50" y="54"/>
                  </a:lnTo>
                  <a:lnTo>
                    <a:pt x="51" y="52"/>
                  </a:lnTo>
                  <a:lnTo>
                    <a:pt x="51" y="46"/>
                  </a:lnTo>
                  <a:lnTo>
                    <a:pt x="56" y="43"/>
                  </a:lnTo>
                  <a:lnTo>
                    <a:pt x="57" y="37"/>
                  </a:lnTo>
                  <a:lnTo>
                    <a:pt x="63" y="32"/>
                  </a:lnTo>
                  <a:lnTo>
                    <a:pt x="61" y="29"/>
                  </a:lnTo>
                  <a:lnTo>
                    <a:pt x="58" y="24"/>
                  </a:lnTo>
                  <a:lnTo>
                    <a:pt x="54" y="20"/>
                  </a:lnTo>
                  <a:lnTo>
                    <a:pt x="50" y="19"/>
                  </a:lnTo>
                  <a:lnTo>
                    <a:pt x="47" y="11"/>
                  </a:lnTo>
                  <a:lnTo>
                    <a:pt x="43" y="9"/>
                  </a:lnTo>
                  <a:lnTo>
                    <a:pt x="34" y="9"/>
                  </a:lnTo>
                  <a:lnTo>
                    <a:pt x="25" y="9"/>
                  </a:lnTo>
                  <a:lnTo>
                    <a:pt x="21" y="4"/>
                  </a:lnTo>
                  <a:lnTo>
                    <a:pt x="15" y="4"/>
                  </a:lnTo>
                  <a:lnTo>
                    <a:pt x="11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1"/>
                  </a:lnTo>
                  <a:lnTo>
                    <a:pt x="7" y="1"/>
                  </a:lnTo>
                  <a:lnTo>
                    <a:pt x="5" y="9"/>
                  </a:lnTo>
                  <a:lnTo>
                    <a:pt x="7" y="10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4"/>
                  </a:lnTo>
                  <a:lnTo>
                    <a:pt x="11" y="32"/>
                  </a:lnTo>
                  <a:lnTo>
                    <a:pt x="11" y="36"/>
                  </a:lnTo>
                  <a:lnTo>
                    <a:pt x="10" y="42"/>
                  </a:lnTo>
                  <a:lnTo>
                    <a:pt x="10" y="46"/>
                  </a:lnTo>
                  <a:lnTo>
                    <a:pt x="8" y="53"/>
                  </a:lnTo>
                  <a:lnTo>
                    <a:pt x="7" y="62"/>
                  </a:lnTo>
                  <a:lnTo>
                    <a:pt x="3" y="70"/>
                  </a:lnTo>
                  <a:lnTo>
                    <a:pt x="1" y="76"/>
                  </a:lnTo>
                  <a:lnTo>
                    <a:pt x="0" y="80"/>
                  </a:lnTo>
                  <a:lnTo>
                    <a:pt x="0" y="86"/>
                  </a:lnTo>
                  <a:lnTo>
                    <a:pt x="0" y="87"/>
                  </a:lnTo>
                  <a:lnTo>
                    <a:pt x="1" y="89"/>
                  </a:lnTo>
                  <a:lnTo>
                    <a:pt x="1" y="89"/>
                  </a:lnTo>
                  <a:lnTo>
                    <a:pt x="1" y="8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4" name="Freeform 414"/>
            <p:cNvSpPr>
              <a:spLocks/>
            </p:cNvSpPr>
            <p:nvPr/>
          </p:nvSpPr>
          <p:spPr bwMode="auto">
            <a:xfrm>
              <a:off x="8374629" y="3072585"/>
              <a:ext cx="39077" cy="101864"/>
            </a:xfrm>
            <a:custGeom>
              <a:avLst/>
              <a:gdLst>
                <a:gd name="T0" fmla="*/ 1 w 63"/>
                <a:gd name="T1" fmla="*/ 89 h 155"/>
                <a:gd name="T2" fmla="*/ 3 w 63"/>
                <a:gd name="T3" fmla="*/ 80 h 155"/>
                <a:gd name="T4" fmla="*/ 5 w 63"/>
                <a:gd name="T5" fmla="*/ 73 h 155"/>
                <a:gd name="T6" fmla="*/ 10 w 63"/>
                <a:gd name="T7" fmla="*/ 72 h 155"/>
                <a:gd name="T8" fmla="*/ 11 w 63"/>
                <a:gd name="T9" fmla="*/ 79 h 155"/>
                <a:gd name="T10" fmla="*/ 15 w 63"/>
                <a:gd name="T11" fmla="*/ 92 h 155"/>
                <a:gd name="T12" fmla="*/ 30 w 63"/>
                <a:gd name="T13" fmla="*/ 102 h 155"/>
                <a:gd name="T14" fmla="*/ 33 w 63"/>
                <a:gd name="T15" fmla="*/ 112 h 155"/>
                <a:gd name="T16" fmla="*/ 44 w 63"/>
                <a:gd name="T17" fmla="*/ 129 h 155"/>
                <a:gd name="T18" fmla="*/ 46 w 63"/>
                <a:gd name="T19" fmla="*/ 142 h 155"/>
                <a:gd name="T20" fmla="*/ 44 w 63"/>
                <a:gd name="T21" fmla="*/ 148 h 155"/>
                <a:gd name="T22" fmla="*/ 50 w 63"/>
                <a:gd name="T23" fmla="*/ 149 h 155"/>
                <a:gd name="T24" fmla="*/ 57 w 63"/>
                <a:gd name="T25" fmla="*/ 155 h 155"/>
                <a:gd name="T26" fmla="*/ 61 w 63"/>
                <a:gd name="T27" fmla="*/ 153 h 155"/>
                <a:gd name="T28" fmla="*/ 57 w 63"/>
                <a:gd name="T29" fmla="*/ 143 h 155"/>
                <a:gd name="T30" fmla="*/ 50 w 63"/>
                <a:gd name="T31" fmla="*/ 133 h 155"/>
                <a:gd name="T32" fmla="*/ 50 w 63"/>
                <a:gd name="T33" fmla="*/ 117 h 155"/>
                <a:gd name="T34" fmla="*/ 47 w 63"/>
                <a:gd name="T35" fmla="*/ 107 h 155"/>
                <a:gd name="T36" fmla="*/ 47 w 63"/>
                <a:gd name="T37" fmla="*/ 82 h 155"/>
                <a:gd name="T38" fmla="*/ 47 w 63"/>
                <a:gd name="T39" fmla="*/ 67 h 155"/>
                <a:gd name="T40" fmla="*/ 51 w 63"/>
                <a:gd name="T41" fmla="*/ 63 h 155"/>
                <a:gd name="T42" fmla="*/ 50 w 63"/>
                <a:gd name="T43" fmla="*/ 54 h 155"/>
                <a:gd name="T44" fmla="*/ 51 w 63"/>
                <a:gd name="T45" fmla="*/ 46 h 155"/>
                <a:gd name="T46" fmla="*/ 57 w 63"/>
                <a:gd name="T47" fmla="*/ 37 h 155"/>
                <a:gd name="T48" fmla="*/ 61 w 63"/>
                <a:gd name="T49" fmla="*/ 29 h 155"/>
                <a:gd name="T50" fmla="*/ 54 w 63"/>
                <a:gd name="T51" fmla="*/ 20 h 155"/>
                <a:gd name="T52" fmla="*/ 47 w 63"/>
                <a:gd name="T53" fmla="*/ 11 h 155"/>
                <a:gd name="T54" fmla="*/ 34 w 63"/>
                <a:gd name="T55" fmla="*/ 9 h 155"/>
                <a:gd name="T56" fmla="*/ 21 w 63"/>
                <a:gd name="T57" fmla="*/ 4 h 155"/>
                <a:gd name="T58" fmla="*/ 11 w 63"/>
                <a:gd name="T59" fmla="*/ 4 h 155"/>
                <a:gd name="T60" fmla="*/ 10 w 63"/>
                <a:gd name="T61" fmla="*/ 0 h 155"/>
                <a:gd name="T62" fmla="*/ 7 w 63"/>
                <a:gd name="T63" fmla="*/ 1 h 155"/>
                <a:gd name="T64" fmla="*/ 5 w 63"/>
                <a:gd name="T65" fmla="*/ 9 h 155"/>
                <a:gd name="T66" fmla="*/ 7 w 63"/>
                <a:gd name="T67" fmla="*/ 16 h 155"/>
                <a:gd name="T68" fmla="*/ 10 w 63"/>
                <a:gd name="T69" fmla="*/ 24 h 155"/>
                <a:gd name="T70" fmla="*/ 11 w 63"/>
                <a:gd name="T71" fmla="*/ 36 h 155"/>
                <a:gd name="T72" fmla="*/ 10 w 63"/>
                <a:gd name="T73" fmla="*/ 46 h 155"/>
                <a:gd name="T74" fmla="*/ 7 w 63"/>
                <a:gd name="T75" fmla="*/ 62 h 155"/>
                <a:gd name="T76" fmla="*/ 1 w 63"/>
                <a:gd name="T77" fmla="*/ 76 h 155"/>
                <a:gd name="T78" fmla="*/ 0 w 63"/>
                <a:gd name="T79" fmla="*/ 86 h 155"/>
                <a:gd name="T80" fmla="*/ 1 w 63"/>
                <a:gd name="T81" fmla="*/ 89 h 155"/>
                <a:gd name="T82" fmla="*/ 1 w 63"/>
                <a:gd name="T83" fmla="*/ 8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3" h="155">
                  <a:moveTo>
                    <a:pt x="1" y="89"/>
                  </a:moveTo>
                  <a:lnTo>
                    <a:pt x="1" y="89"/>
                  </a:lnTo>
                  <a:lnTo>
                    <a:pt x="1" y="86"/>
                  </a:lnTo>
                  <a:lnTo>
                    <a:pt x="3" y="80"/>
                  </a:lnTo>
                  <a:lnTo>
                    <a:pt x="4" y="77"/>
                  </a:lnTo>
                  <a:lnTo>
                    <a:pt x="5" y="73"/>
                  </a:lnTo>
                  <a:lnTo>
                    <a:pt x="7" y="72"/>
                  </a:lnTo>
                  <a:lnTo>
                    <a:pt x="10" y="72"/>
                  </a:lnTo>
                  <a:lnTo>
                    <a:pt x="10" y="75"/>
                  </a:lnTo>
                  <a:lnTo>
                    <a:pt x="11" y="79"/>
                  </a:lnTo>
                  <a:lnTo>
                    <a:pt x="13" y="87"/>
                  </a:lnTo>
                  <a:lnTo>
                    <a:pt x="15" y="92"/>
                  </a:lnTo>
                  <a:lnTo>
                    <a:pt x="23" y="96"/>
                  </a:lnTo>
                  <a:lnTo>
                    <a:pt x="30" y="102"/>
                  </a:lnTo>
                  <a:lnTo>
                    <a:pt x="31" y="105"/>
                  </a:lnTo>
                  <a:lnTo>
                    <a:pt x="33" y="112"/>
                  </a:lnTo>
                  <a:lnTo>
                    <a:pt x="40" y="120"/>
                  </a:lnTo>
                  <a:lnTo>
                    <a:pt x="44" y="129"/>
                  </a:lnTo>
                  <a:lnTo>
                    <a:pt x="46" y="135"/>
                  </a:lnTo>
                  <a:lnTo>
                    <a:pt x="46" y="142"/>
                  </a:lnTo>
                  <a:lnTo>
                    <a:pt x="44" y="146"/>
                  </a:lnTo>
                  <a:lnTo>
                    <a:pt x="44" y="148"/>
                  </a:lnTo>
                  <a:lnTo>
                    <a:pt x="47" y="149"/>
                  </a:lnTo>
                  <a:lnTo>
                    <a:pt x="50" y="149"/>
                  </a:lnTo>
                  <a:lnTo>
                    <a:pt x="54" y="150"/>
                  </a:lnTo>
                  <a:lnTo>
                    <a:pt x="57" y="155"/>
                  </a:lnTo>
                  <a:lnTo>
                    <a:pt x="57" y="155"/>
                  </a:lnTo>
                  <a:lnTo>
                    <a:pt x="61" y="153"/>
                  </a:lnTo>
                  <a:lnTo>
                    <a:pt x="61" y="152"/>
                  </a:lnTo>
                  <a:lnTo>
                    <a:pt x="57" y="143"/>
                  </a:lnTo>
                  <a:lnTo>
                    <a:pt x="53" y="138"/>
                  </a:lnTo>
                  <a:lnTo>
                    <a:pt x="50" y="133"/>
                  </a:lnTo>
                  <a:lnTo>
                    <a:pt x="51" y="126"/>
                  </a:lnTo>
                  <a:lnTo>
                    <a:pt x="50" y="117"/>
                  </a:lnTo>
                  <a:lnTo>
                    <a:pt x="50" y="112"/>
                  </a:lnTo>
                  <a:lnTo>
                    <a:pt x="47" y="107"/>
                  </a:lnTo>
                  <a:lnTo>
                    <a:pt x="48" y="100"/>
                  </a:lnTo>
                  <a:lnTo>
                    <a:pt x="47" y="82"/>
                  </a:lnTo>
                  <a:lnTo>
                    <a:pt x="47" y="73"/>
                  </a:lnTo>
                  <a:lnTo>
                    <a:pt x="47" y="67"/>
                  </a:lnTo>
                  <a:lnTo>
                    <a:pt x="51" y="64"/>
                  </a:lnTo>
                  <a:lnTo>
                    <a:pt x="51" y="63"/>
                  </a:lnTo>
                  <a:lnTo>
                    <a:pt x="51" y="57"/>
                  </a:lnTo>
                  <a:lnTo>
                    <a:pt x="50" y="54"/>
                  </a:lnTo>
                  <a:lnTo>
                    <a:pt x="51" y="52"/>
                  </a:lnTo>
                  <a:lnTo>
                    <a:pt x="51" y="46"/>
                  </a:lnTo>
                  <a:lnTo>
                    <a:pt x="56" y="43"/>
                  </a:lnTo>
                  <a:lnTo>
                    <a:pt x="57" y="37"/>
                  </a:lnTo>
                  <a:lnTo>
                    <a:pt x="63" y="32"/>
                  </a:lnTo>
                  <a:lnTo>
                    <a:pt x="61" y="29"/>
                  </a:lnTo>
                  <a:lnTo>
                    <a:pt x="58" y="24"/>
                  </a:lnTo>
                  <a:lnTo>
                    <a:pt x="54" y="20"/>
                  </a:lnTo>
                  <a:lnTo>
                    <a:pt x="50" y="19"/>
                  </a:lnTo>
                  <a:lnTo>
                    <a:pt x="47" y="11"/>
                  </a:lnTo>
                  <a:lnTo>
                    <a:pt x="43" y="9"/>
                  </a:lnTo>
                  <a:lnTo>
                    <a:pt x="34" y="9"/>
                  </a:lnTo>
                  <a:lnTo>
                    <a:pt x="25" y="9"/>
                  </a:lnTo>
                  <a:lnTo>
                    <a:pt x="21" y="4"/>
                  </a:lnTo>
                  <a:lnTo>
                    <a:pt x="15" y="4"/>
                  </a:lnTo>
                  <a:lnTo>
                    <a:pt x="11" y="4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7" y="1"/>
                  </a:lnTo>
                  <a:lnTo>
                    <a:pt x="7" y="1"/>
                  </a:lnTo>
                  <a:lnTo>
                    <a:pt x="5" y="9"/>
                  </a:lnTo>
                  <a:lnTo>
                    <a:pt x="7" y="10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4"/>
                  </a:lnTo>
                  <a:lnTo>
                    <a:pt x="11" y="32"/>
                  </a:lnTo>
                  <a:lnTo>
                    <a:pt x="11" y="36"/>
                  </a:lnTo>
                  <a:lnTo>
                    <a:pt x="10" y="42"/>
                  </a:lnTo>
                  <a:lnTo>
                    <a:pt x="10" y="46"/>
                  </a:lnTo>
                  <a:lnTo>
                    <a:pt x="8" y="53"/>
                  </a:lnTo>
                  <a:lnTo>
                    <a:pt x="7" y="62"/>
                  </a:lnTo>
                  <a:lnTo>
                    <a:pt x="3" y="70"/>
                  </a:lnTo>
                  <a:lnTo>
                    <a:pt x="1" y="76"/>
                  </a:lnTo>
                  <a:lnTo>
                    <a:pt x="0" y="80"/>
                  </a:lnTo>
                  <a:lnTo>
                    <a:pt x="0" y="86"/>
                  </a:lnTo>
                  <a:lnTo>
                    <a:pt x="0" y="87"/>
                  </a:lnTo>
                  <a:lnTo>
                    <a:pt x="1" y="89"/>
                  </a:lnTo>
                  <a:lnTo>
                    <a:pt x="1" y="89"/>
                  </a:lnTo>
                  <a:lnTo>
                    <a:pt x="1" y="8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6" name="Freeform 415"/>
            <p:cNvSpPr>
              <a:spLocks/>
            </p:cNvSpPr>
            <p:nvPr/>
          </p:nvSpPr>
          <p:spPr bwMode="auto">
            <a:xfrm>
              <a:off x="8248851" y="1614745"/>
              <a:ext cx="7327" cy="5292"/>
            </a:xfrm>
            <a:custGeom>
              <a:avLst/>
              <a:gdLst>
                <a:gd name="T0" fmla="*/ 6 w 13"/>
                <a:gd name="T1" fmla="*/ 0 h 9"/>
                <a:gd name="T2" fmla="*/ 1 w 13"/>
                <a:gd name="T3" fmla="*/ 0 h 9"/>
                <a:gd name="T4" fmla="*/ 0 w 13"/>
                <a:gd name="T5" fmla="*/ 2 h 9"/>
                <a:gd name="T6" fmla="*/ 0 w 13"/>
                <a:gd name="T7" fmla="*/ 5 h 9"/>
                <a:gd name="T8" fmla="*/ 3 w 13"/>
                <a:gd name="T9" fmla="*/ 7 h 9"/>
                <a:gd name="T10" fmla="*/ 7 w 13"/>
                <a:gd name="T11" fmla="*/ 9 h 9"/>
                <a:gd name="T12" fmla="*/ 11 w 13"/>
                <a:gd name="T13" fmla="*/ 9 h 9"/>
                <a:gd name="T14" fmla="*/ 13 w 13"/>
                <a:gd name="T15" fmla="*/ 7 h 9"/>
                <a:gd name="T16" fmla="*/ 13 w 13"/>
                <a:gd name="T17" fmla="*/ 5 h 9"/>
                <a:gd name="T18" fmla="*/ 13 w 13"/>
                <a:gd name="T19" fmla="*/ 3 h 9"/>
                <a:gd name="T20" fmla="*/ 9 w 13"/>
                <a:gd name="T21" fmla="*/ 2 h 9"/>
                <a:gd name="T22" fmla="*/ 6 w 13"/>
                <a:gd name="T23" fmla="*/ 0 h 9"/>
                <a:gd name="T24" fmla="*/ 6 w 13"/>
                <a:gd name="T2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9">
                  <a:moveTo>
                    <a:pt x="6" y="0"/>
                  </a:moveTo>
                  <a:lnTo>
                    <a:pt x="1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3" y="7"/>
                  </a:lnTo>
                  <a:lnTo>
                    <a:pt x="7" y="9"/>
                  </a:lnTo>
                  <a:lnTo>
                    <a:pt x="11" y="9"/>
                  </a:lnTo>
                  <a:lnTo>
                    <a:pt x="13" y="7"/>
                  </a:lnTo>
                  <a:lnTo>
                    <a:pt x="13" y="5"/>
                  </a:lnTo>
                  <a:lnTo>
                    <a:pt x="13" y="3"/>
                  </a:lnTo>
                  <a:lnTo>
                    <a:pt x="9" y="2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7" name="Freeform 416"/>
            <p:cNvSpPr>
              <a:spLocks/>
            </p:cNvSpPr>
            <p:nvPr/>
          </p:nvSpPr>
          <p:spPr bwMode="auto">
            <a:xfrm>
              <a:off x="8248851" y="1614745"/>
              <a:ext cx="7327" cy="5292"/>
            </a:xfrm>
            <a:custGeom>
              <a:avLst/>
              <a:gdLst>
                <a:gd name="T0" fmla="*/ 6 w 13"/>
                <a:gd name="T1" fmla="*/ 0 h 9"/>
                <a:gd name="T2" fmla="*/ 1 w 13"/>
                <a:gd name="T3" fmla="*/ 0 h 9"/>
                <a:gd name="T4" fmla="*/ 0 w 13"/>
                <a:gd name="T5" fmla="*/ 2 h 9"/>
                <a:gd name="T6" fmla="*/ 0 w 13"/>
                <a:gd name="T7" fmla="*/ 5 h 9"/>
                <a:gd name="T8" fmla="*/ 3 w 13"/>
                <a:gd name="T9" fmla="*/ 7 h 9"/>
                <a:gd name="T10" fmla="*/ 7 w 13"/>
                <a:gd name="T11" fmla="*/ 9 h 9"/>
                <a:gd name="T12" fmla="*/ 11 w 13"/>
                <a:gd name="T13" fmla="*/ 9 h 9"/>
                <a:gd name="T14" fmla="*/ 13 w 13"/>
                <a:gd name="T15" fmla="*/ 7 h 9"/>
                <a:gd name="T16" fmla="*/ 13 w 13"/>
                <a:gd name="T17" fmla="*/ 5 h 9"/>
                <a:gd name="T18" fmla="*/ 13 w 13"/>
                <a:gd name="T19" fmla="*/ 3 h 9"/>
                <a:gd name="T20" fmla="*/ 9 w 13"/>
                <a:gd name="T21" fmla="*/ 2 h 9"/>
                <a:gd name="T22" fmla="*/ 6 w 13"/>
                <a:gd name="T23" fmla="*/ 0 h 9"/>
                <a:gd name="T24" fmla="*/ 6 w 13"/>
                <a:gd name="T2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9">
                  <a:moveTo>
                    <a:pt x="6" y="0"/>
                  </a:moveTo>
                  <a:lnTo>
                    <a:pt x="1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3" y="7"/>
                  </a:lnTo>
                  <a:lnTo>
                    <a:pt x="7" y="9"/>
                  </a:lnTo>
                  <a:lnTo>
                    <a:pt x="11" y="9"/>
                  </a:lnTo>
                  <a:lnTo>
                    <a:pt x="13" y="7"/>
                  </a:lnTo>
                  <a:lnTo>
                    <a:pt x="13" y="5"/>
                  </a:lnTo>
                  <a:lnTo>
                    <a:pt x="13" y="3"/>
                  </a:lnTo>
                  <a:lnTo>
                    <a:pt x="9" y="2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70" name="Freeform 419"/>
            <p:cNvSpPr>
              <a:spLocks/>
            </p:cNvSpPr>
            <p:nvPr/>
          </p:nvSpPr>
          <p:spPr bwMode="auto">
            <a:xfrm>
              <a:off x="8312350" y="5124410"/>
              <a:ext cx="7327" cy="7937"/>
            </a:xfrm>
            <a:custGeom>
              <a:avLst/>
              <a:gdLst>
                <a:gd name="T0" fmla="*/ 9 w 11"/>
                <a:gd name="T1" fmla="*/ 13 h 13"/>
                <a:gd name="T2" fmla="*/ 10 w 11"/>
                <a:gd name="T3" fmla="*/ 13 h 13"/>
                <a:gd name="T4" fmla="*/ 11 w 11"/>
                <a:gd name="T5" fmla="*/ 12 h 13"/>
                <a:gd name="T6" fmla="*/ 11 w 11"/>
                <a:gd name="T7" fmla="*/ 9 h 13"/>
                <a:gd name="T8" fmla="*/ 11 w 11"/>
                <a:gd name="T9" fmla="*/ 4 h 13"/>
                <a:gd name="T10" fmla="*/ 9 w 11"/>
                <a:gd name="T11" fmla="*/ 2 h 13"/>
                <a:gd name="T12" fmla="*/ 4 w 11"/>
                <a:gd name="T13" fmla="*/ 0 h 13"/>
                <a:gd name="T14" fmla="*/ 1 w 11"/>
                <a:gd name="T15" fmla="*/ 0 h 13"/>
                <a:gd name="T16" fmla="*/ 0 w 11"/>
                <a:gd name="T17" fmla="*/ 2 h 13"/>
                <a:gd name="T18" fmla="*/ 0 w 11"/>
                <a:gd name="T19" fmla="*/ 3 h 13"/>
                <a:gd name="T20" fmla="*/ 1 w 11"/>
                <a:gd name="T21" fmla="*/ 7 h 13"/>
                <a:gd name="T22" fmla="*/ 4 w 11"/>
                <a:gd name="T23" fmla="*/ 12 h 13"/>
                <a:gd name="T24" fmla="*/ 9 w 11"/>
                <a:gd name="T25" fmla="*/ 13 h 13"/>
                <a:gd name="T26" fmla="*/ 9 w 11"/>
                <a:gd name="T2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3">
                  <a:moveTo>
                    <a:pt x="9" y="13"/>
                  </a:moveTo>
                  <a:lnTo>
                    <a:pt x="10" y="13"/>
                  </a:lnTo>
                  <a:lnTo>
                    <a:pt x="11" y="12"/>
                  </a:lnTo>
                  <a:lnTo>
                    <a:pt x="11" y="9"/>
                  </a:lnTo>
                  <a:lnTo>
                    <a:pt x="11" y="4"/>
                  </a:lnTo>
                  <a:lnTo>
                    <a:pt x="9" y="2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7"/>
                  </a:lnTo>
                  <a:lnTo>
                    <a:pt x="4" y="12"/>
                  </a:lnTo>
                  <a:lnTo>
                    <a:pt x="9" y="13"/>
                  </a:lnTo>
                  <a:lnTo>
                    <a:pt x="9" y="13"/>
                  </a:lnTo>
                  <a:close/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71" name="Freeform 420"/>
            <p:cNvSpPr>
              <a:spLocks/>
            </p:cNvSpPr>
            <p:nvPr/>
          </p:nvSpPr>
          <p:spPr bwMode="auto">
            <a:xfrm>
              <a:off x="4274033" y="3010409"/>
              <a:ext cx="1221" cy="1323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1 h 3"/>
                <a:gd name="T4" fmla="*/ 3 w 3"/>
                <a:gd name="T5" fmla="*/ 3 h 3"/>
                <a:gd name="T6" fmla="*/ 1 w 3"/>
                <a:gd name="T7" fmla="*/ 3 h 3"/>
                <a:gd name="T8" fmla="*/ 0 w 3"/>
                <a:gd name="T9" fmla="*/ 3 h 3"/>
                <a:gd name="T10" fmla="*/ 0 w 3"/>
                <a:gd name="T11" fmla="*/ 3 h 3"/>
                <a:gd name="T12" fmla="*/ 0 w 3"/>
                <a:gd name="T13" fmla="*/ 1 h 3"/>
                <a:gd name="T14" fmla="*/ 0 w 3"/>
                <a:gd name="T15" fmla="*/ 0 h 3"/>
                <a:gd name="T16" fmla="*/ 3 w 3"/>
                <a:gd name="T17" fmla="*/ 1 h 3"/>
                <a:gd name="T18" fmla="*/ 3 w 3"/>
                <a:gd name="T1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lnTo>
                    <a:pt x="3" y="1"/>
                  </a:lnTo>
                  <a:lnTo>
                    <a:pt x="3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0"/>
                  </a:lnTo>
                  <a:lnTo>
                    <a:pt x="3" y="1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72" name="Freeform 421"/>
            <p:cNvSpPr>
              <a:spLocks/>
            </p:cNvSpPr>
            <p:nvPr/>
          </p:nvSpPr>
          <p:spPr bwMode="auto">
            <a:xfrm>
              <a:off x="4293571" y="3005117"/>
              <a:ext cx="4885" cy="3969"/>
            </a:xfrm>
            <a:custGeom>
              <a:avLst/>
              <a:gdLst>
                <a:gd name="T0" fmla="*/ 7 w 7"/>
                <a:gd name="T1" fmla="*/ 1 h 4"/>
                <a:gd name="T2" fmla="*/ 5 w 7"/>
                <a:gd name="T3" fmla="*/ 3 h 4"/>
                <a:gd name="T4" fmla="*/ 5 w 7"/>
                <a:gd name="T5" fmla="*/ 3 h 4"/>
                <a:gd name="T6" fmla="*/ 4 w 7"/>
                <a:gd name="T7" fmla="*/ 4 h 4"/>
                <a:gd name="T8" fmla="*/ 1 w 7"/>
                <a:gd name="T9" fmla="*/ 3 h 4"/>
                <a:gd name="T10" fmla="*/ 0 w 7"/>
                <a:gd name="T11" fmla="*/ 3 h 4"/>
                <a:gd name="T12" fmla="*/ 0 w 7"/>
                <a:gd name="T13" fmla="*/ 1 h 4"/>
                <a:gd name="T14" fmla="*/ 0 w 7"/>
                <a:gd name="T15" fmla="*/ 1 h 4"/>
                <a:gd name="T16" fmla="*/ 0 w 7"/>
                <a:gd name="T17" fmla="*/ 0 h 4"/>
                <a:gd name="T18" fmla="*/ 2 w 7"/>
                <a:gd name="T19" fmla="*/ 0 h 4"/>
                <a:gd name="T20" fmla="*/ 4 w 7"/>
                <a:gd name="T21" fmla="*/ 0 h 4"/>
                <a:gd name="T22" fmla="*/ 7 w 7"/>
                <a:gd name="T23" fmla="*/ 1 h 4"/>
                <a:gd name="T24" fmla="*/ 7 w 7"/>
                <a:gd name="T2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" h="4">
                  <a:moveTo>
                    <a:pt x="7" y="1"/>
                  </a:moveTo>
                  <a:lnTo>
                    <a:pt x="5" y="3"/>
                  </a:lnTo>
                  <a:lnTo>
                    <a:pt x="5" y="3"/>
                  </a:lnTo>
                  <a:lnTo>
                    <a:pt x="4" y="4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7" y="1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73" name="Freeform 422"/>
            <p:cNvSpPr>
              <a:spLocks/>
            </p:cNvSpPr>
            <p:nvPr/>
          </p:nvSpPr>
          <p:spPr bwMode="auto">
            <a:xfrm>
              <a:off x="4281360" y="3005117"/>
              <a:ext cx="1221" cy="3969"/>
            </a:xfrm>
            <a:custGeom>
              <a:avLst/>
              <a:gdLst>
                <a:gd name="T0" fmla="*/ 3 w 3"/>
                <a:gd name="T1" fmla="*/ 3 h 4"/>
                <a:gd name="T2" fmla="*/ 3 w 3"/>
                <a:gd name="T3" fmla="*/ 4 h 4"/>
                <a:gd name="T4" fmla="*/ 3 w 3"/>
                <a:gd name="T5" fmla="*/ 4 h 4"/>
                <a:gd name="T6" fmla="*/ 2 w 3"/>
                <a:gd name="T7" fmla="*/ 4 h 4"/>
                <a:gd name="T8" fmla="*/ 2 w 3"/>
                <a:gd name="T9" fmla="*/ 4 h 4"/>
                <a:gd name="T10" fmla="*/ 0 w 3"/>
                <a:gd name="T11" fmla="*/ 3 h 4"/>
                <a:gd name="T12" fmla="*/ 0 w 3"/>
                <a:gd name="T13" fmla="*/ 1 h 4"/>
                <a:gd name="T14" fmla="*/ 0 w 3"/>
                <a:gd name="T15" fmla="*/ 1 h 4"/>
                <a:gd name="T16" fmla="*/ 2 w 3"/>
                <a:gd name="T17" fmla="*/ 0 h 4"/>
                <a:gd name="T18" fmla="*/ 3 w 3"/>
                <a:gd name="T19" fmla="*/ 1 h 4"/>
                <a:gd name="T20" fmla="*/ 3 w 3"/>
                <a:gd name="T21" fmla="*/ 3 h 4"/>
                <a:gd name="T22" fmla="*/ 3 w 3"/>
                <a:gd name="T2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4">
                  <a:moveTo>
                    <a:pt x="3" y="3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3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0"/>
                  </a:lnTo>
                  <a:lnTo>
                    <a:pt x="3" y="1"/>
                  </a:lnTo>
                  <a:lnTo>
                    <a:pt x="3" y="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74" name="Freeform 423"/>
            <p:cNvSpPr>
              <a:spLocks/>
            </p:cNvSpPr>
            <p:nvPr/>
          </p:nvSpPr>
          <p:spPr bwMode="auto">
            <a:xfrm>
              <a:off x="4270369" y="3010409"/>
              <a:ext cx="43961" cy="101864"/>
            </a:xfrm>
            <a:custGeom>
              <a:avLst/>
              <a:gdLst>
                <a:gd name="T0" fmla="*/ 37 w 72"/>
                <a:gd name="T1" fmla="*/ 150 h 153"/>
                <a:gd name="T2" fmla="*/ 36 w 72"/>
                <a:gd name="T3" fmla="*/ 142 h 153"/>
                <a:gd name="T4" fmla="*/ 29 w 72"/>
                <a:gd name="T5" fmla="*/ 140 h 153"/>
                <a:gd name="T6" fmla="*/ 21 w 72"/>
                <a:gd name="T7" fmla="*/ 139 h 153"/>
                <a:gd name="T8" fmla="*/ 21 w 72"/>
                <a:gd name="T9" fmla="*/ 139 h 153"/>
                <a:gd name="T10" fmla="*/ 13 w 72"/>
                <a:gd name="T11" fmla="*/ 123 h 153"/>
                <a:gd name="T12" fmla="*/ 17 w 72"/>
                <a:gd name="T13" fmla="*/ 117 h 153"/>
                <a:gd name="T14" fmla="*/ 20 w 72"/>
                <a:gd name="T15" fmla="*/ 115 h 153"/>
                <a:gd name="T16" fmla="*/ 21 w 72"/>
                <a:gd name="T17" fmla="*/ 117 h 153"/>
                <a:gd name="T18" fmla="*/ 26 w 72"/>
                <a:gd name="T19" fmla="*/ 115 h 153"/>
                <a:gd name="T20" fmla="*/ 21 w 72"/>
                <a:gd name="T21" fmla="*/ 97 h 153"/>
                <a:gd name="T22" fmla="*/ 10 w 72"/>
                <a:gd name="T23" fmla="*/ 80 h 153"/>
                <a:gd name="T24" fmla="*/ 6 w 72"/>
                <a:gd name="T25" fmla="*/ 76 h 153"/>
                <a:gd name="T26" fmla="*/ 7 w 72"/>
                <a:gd name="T27" fmla="*/ 89 h 153"/>
                <a:gd name="T28" fmla="*/ 4 w 72"/>
                <a:gd name="T29" fmla="*/ 90 h 153"/>
                <a:gd name="T30" fmla="*/ 1 w 72"/>
                <a:gd name="T31" fmla="*/ 84 h 153"/>
                <a:gd name="T32" fmla="*/ 1 w 72"/>
                <a:gd name="T33" fmla="*/ 64 h 153"/>
                <a:gd name="T34" fmla="*/ 3 w 72"/>
                <a:gd name="T35" fmla="*/ 36 h 153"/>
                <a:gd name="T36" fmla="*/ 10 w 72"/>
                <a:gd name="T37" fmla="*/ 31 h 153"/>
                <a:gd name="T38" fmla="*/ 9 w 72"/>
                <a:gd name="T39" fmla="*/ 29 h 153"/>
                <a:gd name="T40" fmla="*/ 7 w 72"/>
                <a:gd name="T41" fmla="*/ 29 h 153"/>
                <a:gd name="T42" fmla="*/ 4 w 72"/>
                <a:gd name="T43" fmla="*/ 24 h 153"/>
                <a:gd name="T44" fmla="*/ 7 w 72"/>
                <a:gd name="T45" fmla="*/ 16 h 153"/>
                <a:gd name="T46" fmla="*/ 9 w 72"/>
                <a:gd name="T47" fmla="*/ 11 h 153"/>
                <a:gd name="T48" fmla="*/ 11 w 72"/>
                <a:gd name="T49" fmla="*/ 11 h 153"/>
                <a:gd name="T50" fmla="*/ 16 w 72"/>
                <a:gd name="T51" fmla="*/ 17 h 153"/>
                <a:gd name="T52" fmla="*/ 23 w 72"/>
                <a:gd name="T53" fmla="*/ 33 h 153"/>
                <a:gd name="T54" fmla="*/ 24 w 72"/>
                <a:gd name="T55" fmla="*/ 29 h 153"/>
                <a:gd name="T56" fmla="*/ 19 w 72"/>
                <a:gd name="T57" fmla="*/ 10 h 153"/>
                <a:gd name="T58" fmla="*/ 23 w 72"/>
                <a:gd name="T59" fmla="*/ 4 h 153"/>
                <a:gd name="T60" fmla="*/ 24 w 72"/>
                <a:gd name="T61" fmla="*/ 4 h 153"/>
                <a:gd name="T62" fmla="*/ 27 w 72"/>
                <a:gd name="T63" fmla="*/ 9 h 153"/>
                <a:gd name="T64" fmla="*/ 36 w 72"/>
                <a:gd name="T65" fmla="*/ 7 h 153"/>
                <a:gd name="T66" fmla="*/ 43 w 72"/>
                <a:gd name="T67" fmla="*/ 0 h 153"/>
                <a:gd name="T68" fmla="*/ 47 w 72"/>
                <a:gd name="T69" fmla="*/ 3 h 153"/>
                <a:gd name="T70" fmla="*/ 49 w 72"/>
                <a:gd name="T71" fmla="*/ 4 h 153"/>
                <a:gd name="T72" fmla="*/ 57 w 72"/>
                <a:gd name="T73" fmla="*/ 4 h 153"/>
                <a:gd name="T74" fmla="*/ 60 w 72"/>
                <a:gd name="T75" fmla="*/ 6 h 153"/>
                <a:gd name="T76" fmla="*/ 60 w 72"/>
                <a:gd name="T77" fmla="*/ 7 h 153"/>
                <a:gd name="T78" fmla="*/ 60 w 72"/>
                <a:gd name="T79" fmla="*/ 51 h 153"/>
                <a:gd name="T80" fmla="*/ 63 w 72"/>
                <a:gd name="T81" fmla="*/ 67 h 153"/>
                <a:gd name="T82" fmla="*/ 64 w 72"/>
                <a:gd name="T83" fmla="*/ 83 h 153"/>
                <a:gd name="T84" fmla="*/ 69 w 72"/>
                <a:gd name="T85" fmla="*/ 87 h 153"/>
                <a:gd name="T86" fmla="*/ 69 w 72"/>
                <a:gd name="T87" fmla="*/ 107 h 153"/>
                <a:gd name="T88" fmla="*/ 72 w 72"/>
                <a:gd name="T89" fmla="*/ 127 h 153"/>
                <a:gd name="T90" fmla="*/ 67 w 72"/>
                <a:gd name="T91" fmla="*/ 139 h 153"/>
                <a:gd name="T92" fmla="*/ 59 w 72"/>
                <a:gd name="T93" fmla="*/ 146 h 153"/>
                <a:gd name="T94" fmla="*/ 56 w 72"/>
                <a:gd name="T95" fmla="*/ 153 h 153"/>
                <a:gd name="T96" fmla="*/ 53 w 72"/>
                <a:gd name="T97" fmla="*/ 153 h 153"/>
                <a:gd name="T98" fmla="*/ 50 w 72"/>
                <a:gd name="T99" fmla="*/ 147 h 153"/>
                <a:gd name="T100" fmla="*/ 47 w 72"/>
                <a:gd name="T101" fmla="*/ 150 h 153"/>
                <a:gd name="T102" fmla="*/ 39 w 72"/>
                <a:gd name="T103" fmla="*/ 15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" h="153">
                  <a:moveTo>
                    <a:pt x="39" y="152"/>
                  </a:moveTo>
                  <a:lnTo>
                    <a:pt x="37" y="150"/>
                  </a:lnTo>
                  <a:lnTo>
                    <a:pt x="37" y="150"/>
                  </a:lnTo>
                  <a:lnTo>
                    <a:pt x="37" y="150"/>
                  </a:lnTo>
                  <a:lnTo>
                    <a:pt x="36" y="146"/>
                  </a:lnTo>
                  <a:lnTo>
                    <a:pt x="36" y="142"/>
                  </a:lnTo>
                  <a:lnTo>
                    <a:pt x="33" y="140"/>
                  </a:lnTo>
                  <a:lnTo>
                    <a:pt x="30" y="140"/>
                  </a:lnTo>
                  <a:lnTo>
                    <a:pt x="29" y="140"/>
                  </a:lnTo>
                  <a:lnTo>
                    <a:pt x="26" y="140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17" y="135"/>
                  </a:lnTo>
                  <a:lnTo>
                    <a:pt x="11" y="123"/>
                  </a:lnTo>
                  <a:lnTo>
                    <a:pt x="13" y="123"/>
                  </a:lnTo>
                  <a:lnTo>
                    <a:pt x="16" y="122"/>
                  </a:lnTo>
                  <a:lnTo>
                    <a:pt x="17" y="119"/>
                  </a:lnTo>
                  <a:lnTo>
                    <a:pt x="17" y="117"/>
                  </a:lnTo>
                  <a:lnTo>
                    <a:pt x="17" y="115"/>
                  </a:lnTo>
                  <a:lnTo>
                    <a:pt x="19" y="113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1" y="117"/>
                  </a:lnTo>
                  <a:lnTo>
                    <a:pt x="23" y="117"/>
                  </a:lnTo>
                  <a:lnTo>
                    <a:pt x="24" y="116"/>
                  </a:lnTo>
                  <a:lnTo>
                    <a:pt x="26" y="115"/>
                  </a:lnTo>
                  <a:lnTo>
                    <a:pt x="26" y="110"/>
                  </a:lnTo>
                  <a:lnTo>
                    <a:pt x="24" y="103"/>
                  </a:lnTo>
                  <a:lnTo>
                    <a:pt x="21" y="97"/>
                  </a:lnTo>
                  <a:lnTo>
                    <a:pt x="16" y="93"/>
                  </a:lnTo>
                  <a:lnTo>
                    <a:pt x="11" y="87"/>
                  </a:lnTo>
                  <a:lnTo>
                    <a:pt x="10" y="80"/>
                  </a:lnTo>
                  <a:lnTo>
                    <a:pt x="9" y="74"/>
                  </a:lnTo>
                  <a:lnTo>
                    <a:pt x="7" y="74"/>
                  </a:lnTo>
                  <a:lnTo>
                    <a:pt x="6" y="76"/>
                  </a:lnTo>
                  <a:lnTo>
                    <a:pt x="6" y="80"/>
                  </a:lnTo>
                  <a:lnTo>
                    <a:pt x="7" y="86"/>
                  </a:lnTo>
                  <a:lnTo>
                    <a:pt x="7" y="89"/>
                  </a:lnTo>
                  <a:lnTo>
                    <a:pt x="6" y="90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3" y="87"/>
                  </a:lnTo>
                  <a:lnTo>
                    <a:pt x="1" y="84"/>
                  </a:lnTo>
                  <a:lnTo>
                    <a:pt x="1" y="79"/>
                  </a:lnTo>
                  <a:lnTo>
                    <a:pt x="1" y="73"/>
                  </a:lnTo>
                  <a:lnTo>
                    <a:pt x="1" y="64"/>
                  </a:lnTo>
                  <a:lnTo>
                    <a:pt x="0" y="54"/>
                  </a:lnTo>
                  <a:lnTo>
                    <a:pt x="1" y="41"/>
                  </a:lnTo>
                  <a:lnTo>
                    <a:pt x="3" y="36"/>
                  </a:lnTo>
                  <a:lnTo>
                    <a:pt x="4" y="34"/>
                  </a:lnTo>
                  <a:lnTo>
                    <a:pt x="9" y="33"/>
                  </a:lnTo>
                  <a:lnTo>
                    <a:pt x="10" y="31"/>
                  </a:lnTo>
                  <a:lnTo>
                    <a:pt x="10" y="30"/>
                  </a:lnTo>
                  <a:lnTo>
                    <a:pt x="10" y="29"/>
                  </a:lnTo>
                  <a:lnTo>
                    <a:pt x="9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4"/>
                  </a:lnTo>
                  <a:lnTo>
                    <a:pt x="4" y="21"/>
                  </a:lnTo>
                  <a:lnTo>
                    <a:pt x="6" y="19"/>
                  </a:lnTo>
                  <a:lnTo>
                    <a:pt x="7" y="16"/>
                  </a:lnTo>
                  <a:lnTo>
                    <a:pt x="7" y="13"/>
                  </a:lnTo>
                  <a:lnTo>
                    <a:pt x="7" y="11"/>
                  </a:lnTo>
                  <a:lnTo>
                    <a:pt x="9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6" y="17"/>
                  </a:lnTo>
                  <a:lnTo>
                    <a:pt x="19" y="29"/>
                  </a:lnTo>
                  <a:lnTo>
                    <a:pt x="21" y="33"/>
                  </a:lnTo>
                  <a:lnTo>
                    <a:pt x="23" y="33"/>
                  </a:lnTo>
                  <a:lnTo>
                    <a:pt x="24" y="33"/>
                  </a:lnTo>
                  <a:lnTo>
                    <a:pt x="24" y="31"/>
                  </a:lnTo>
                  <a:lnTo>
                    <a:pt x="24" y="29"/>
                  </a:lnTo>
                  <a:lnTo>
                    <a:pt x="23" y="23"/>
                  </a:lnTo>
                  <a:lnTo>
                    <a:pt x="20" y="14"/>
                  </a:lnTo>
                  <a:lnTo>
                    <a:pt x="19" y="10"/>
                  </a:lnTo>
                  <a:lnTo>
                    <a:pt x="20" y="6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7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30" y="7"/>
                  </a:lnTo>
                  <a:lnTo>
                    <a:pt x="33" y="7"/>
                  </a:lnTo>
                  <a:lnTo>
                    <a:pt x="36" y="7"/>
                  </a:lnTo>
                  <a:lnTo>
                    <a:pt x="37" y="6"/>
                  </a:lnTo>
                  <a:lnTo>
                    <a:pt x="40" y="1"/>
                  </a:lnTo>
                  <a:lnTo>
                    <a:pt x="43" y="0"/>
                  </a:lnTo>
                  <a:lnTo>
                    <a:pt x="44" y="1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53" y="6"/>
                  </a:lnTo>
                  <a:lnTo>
                    <a:pt x="54" y="4"/>
                  </a:lnTo>
                  <a:lnTo>
                    <a:pt x="57" y="4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7"/>
                  </a:lnTo>
                  <a:lnTo>
                    <a:pt x="62" y="11"/>
                  </a:lnTo>
                  <a:lnTo>
                    <a:pt x="62" y="37"/>
                  </a:lnTo>
                  <a:lnTo>
                    <a:pt x="60" y="51"/>
                  </a:lnTo>
                  <a:lnTo>
                    <a:pt x="60" y="56"/>
                  </a:lnTo>
                  <a:lnTo>
                    <a:pt x="62" y="62"/>
                  </a:lnTo>
                  <a:lnTo>
                    <a:pt x="63" y="67"/>
                  </a:lnTo>
                  <a:lnTo>
                    <a:pt x="63" y="74"/>
                  </a:lnTo>
                  <a:lnTo>
                    <a:pt x="63" y="79"/>
                  </a:lnTo>
                  <a:lnTo>
                    <a:pt x="64" y="83"/>
                  </a:lnTo>
                  <a:lnTo>
                    <a:pt x="67" y="86"/>
                  </a:lnTo>
                  <a:lnTo>
                    <a:pt x="69" y="87"/>
                  </a:lnTo>
                  <a:lnTo>
                    <a:pt x="69" y="87"/>
                  </a:lnTo>
                  <a:lnTo>
                    <a:pt x="69" y="92"/>
                  </a:lnTo>
                  <a:lnTo>
                    <a:pt x="69" y="100"/>
                  </a:lnTo>
                  <a:lnTo>
                    <a:pt x="69" y="107"/>
                  </a:lnTo>
                  <a:lnTo>
                    <a:pt x="70" y="116"/>
                  </a:lnTo>
                  <a:lnTo>
                    <a:pt x="72" y="123"/>
                  </a:lnTo>
                  <a:lnTo>
                    <a:pt x="72" y="127"/>
                  </a:lnTo>
                  <a:lnTo>
                    <a:pt x="69" y="129"/>
                  </a:lnTo>
                  <a:lnTo>
                    <a:pt x="67" y="132"/>
                  </a:lnTo>
                  <a:lnTo>
                    <a:pt x="67" y="139"/>
                  </a:lnTo>
                  <a:lnTo>
                    <a:pt x="66" y="143"/>
                  </a:lnTo>
                  <a:lnTo>
                    <a:pt x="64" y="145"/>
                  </a:lnTo>
                  <a:lnTo>
                    <a:pt x="59" y="146"/>
                  </a:lnTo>
                  <a:lnTo>
                    <a:pt x="57" y="147"/>
                  </a:lnTo>
                  <a:lnTo>
                    <a:pt x="56" y="150"/>
                  </a:lnTo>
                  <a:lnTo>
                    <a:pt x="56" y="153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3" y="152"/>
                  </a:lnTo>
                  <a:lnTo>
                    <a:pt x="52" y="149"/>
                  </a:lnTo>
                  <a:lnTo>
                    <a:pt x="50" y="147"/>
                  </a:lnTo>
                  <a:lnTo>
                    <a:pt x="49" y="149"/>
                  </a:lnTo>
                  <a:lnTo>
                    <a:pt x="49" y="150"/>
                  </a:lnTo>
                  <a:lnTo>
                    <a:pt x="47" y="150"/>
                  </a:lnTo>
                  <a:lnTo>
                    <a:pt x="46" y="150"/>
                  </a:lnTo>
                  <a:lnTo>
                    <a:pt x="43" y="152"/>
                  </a:lnTo>
                  <a:lnTo>
                    <a:pt x="39" y="152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75" name="Freeform 424"/>
            <p:cNvSpPr>
              <a:spLocks/>
            </p:cNvSpPr>
            <p:nvPr/>
          </p:nvSpPr>
          <p:spPr bwMode="auto">
            <a:xfrm>
              <a:off x="4270369" y="3010409"/>
              <a:ext cx="43961" cy="101864"/>
            </a:xfrm>
            <a:custGeom>
              <a:avLst/>
              <a:gdLst>
                <a:gd name="T0" fmla="*/ 37 w 72"/>
                <a:gd name="T1" fmla="*/ 150 h 153"/>
                <a:gd name="T2" fmla="*/ 36 w 72"/>
                <a:gd name="T3" fmla="*/ 142 h 153"/>
                <a:gd name="T4" fmla="*/ 29 w 72"/>
                <a:gd name="T5" fmla="*/ 140 h 153"/>
                <a:gd name="T6" fmla="*/ 21 w 72"/>
                <a:gd name="T7" fmla="*/ 139 h 153"/>
                <a:gd name="T8" fmla="*/ 21 w 72"/>
                <a:gd name="T9" fmla="*/ 139 h 153"/>
                <a:gd name="T10" fmla="*/ 13 w 72"/>
                <a:gd name="T11" fmla="*/ 123 h 153"/>
                <a:gd name="T12" fmla="*/ 17 w 72"/>
                <a:gd name="T13" fmla="*/ 117 h 153"/>
                <a:gd name="T14" fmla="*/ 20 w 72"/>
                <a:gd name="T15" fmla="*/ 115 h 153"/>
                <a:gd name="T16" fmla="*/ 21 w 72"/>
                <a:gd name="T17" fmla="*/ 117 h 153"/>
                <a:gd name="T18" fmla="*/ 26 w 72"/>
                <a:gd name="T19" fmla="*/ 115 h 153"/>
                <a:gd name="T20" fmla="*/ 21 w 72"/>
                <a:gd name="T21" fmla="*/ 97 h 153"/>
                <a:gd name="T22" fmla="*/ 10 w 72"/>
                <a:gd name="T23" fmla="*/ 80 h 153"/>
                <a:gd name="T24" fmla="*/ 6 w 72"/>
                <a:gd name="T25" fmla="*/ 76 h 153"/>
                <a:gd name="T26" fmla="*/ 7 w 72"/>
                <a:gd name="T27" fmla="*/ 89 h 153"/>
                <a:gd name="T28" fmla="*/ 4 w 72"/>
                <a:gd name="T29" fmla="*/ 90 h 153"/>
                <a:gd name="T30" fmla="*/ 1 w 72"/>
                <a:gd name="T31" fmla="*/ 84 h 153"/>
                <a:gd name="T32" fmla="*/ 1 w 72"/>
                <a:gd name="T33" fmla="*/ 64 h 153"/>
                <a:gd name="T34" fmla="*/ 3 w 72"/>
                <a:gd name="T35" fmla="*/ 36 h 153"/>
                <a:gd name="T36" fmla="*/ 10 w 72"/>
                <a:gd name="T37" fmla="*/ 31 h 153"/>
                <a:gd name="T38" fmla="*/ 9 w 72"/>
                <a:gd name="T39" fmla="*/ 29 h 153"/>
                <a:gd name="T40" fmla="*/ 7 w 72"/>
                <a:gd name="T41" fmla="*/ 29 h 153"/>
                <a:gd name="T42" fmla="*/ 4 w 72"/>
                <a:gd name="T43" fmla="*/ 24 h 153"/>
                <a:gd name="T44" fmla="*/ 7 w 72"/>
                <a:gd name="T45" fmla="*/ 16 h 153"/>
                <a:gd name="T46" fmla="*/ 9 w 72"/>
                <a:gd name="T47" fmla="*/ 11 h 153"/>
                <a:gd name="T48" fmla="*/ 11 w 72"/>
                <a:gd name="T49" fmla="*/ 11 h 153"/>
                <a:gd name="T50" fmla="*/ 16 w 72"/>
                <a:gd name="T51" fmla="*/ 17 h 153"/>
                <a:gd name="T52" fmla="*/ 23 w 72"/>
                <a:gd name="T53" fmla="*/ 33 h 153"/>
                <a:gd name="T54" fmla="*/ 24 w 72"/>
                <a:gd name="T55" fmla="*/ 29 h 153"/>
                <a:gd name="T56" fmla="*/ 19 w 72"/>
                <a:gd name="T57" fmla="*/ 10 h 153"/>
                <a:gd name="T58" fmla="*/ 23 w 72"/>
                <a:gd name="T59" fmla="*/ 4 h 153"/>
                <a:gd name="T60" fmla="*/ 24 w 72"/>
                <a:gd name="T61" fmla="*/ 4 h 153"/>
                <a:gd name="T62" fmla="*/ 27 w 72"/>
                <a:gd name="T63" fmla="*/ 9 h 153"/>
                <a:gd name="T64" fmla="*/ 36 w 72"/>
                <a:gd name="T65" fmla="*/ 7 h 153"/>
                <a:gd name="T66" fmla="*/ 43 w 72"/>
                <a:gd name="T67" fmla="*/ 0 h 153"/>
                <a:gd name="T68" fmla="*/ 47 w 72"/>
                <a:gd name="T69" fmla="*/ 3 h 153"/>
                <a:gd name="T70" fmla="*/ 49 w 72"/>
                <a:gd name="T71" fmla="*/ 4 h 153"/>
                <a:gd name="T72" fmla="*/ 57 w 72"/>
                <a:gd name="T73" fmla="*/ 4 h 153"/>
                <a:gd name="T74" fmla="*/ 60 w 72"/>
                <a:gd name="T75" fmla="*/ 6 h 153"/>
                <a:gd name="T76" fmla="*/ 60 w 72"/>
                <a:gd name="T77" fmla="*/ 7 h 153"/>
                <a:gd name="T78" fmla="*/ 60 w 72"/>
                <a:gd name="T79" fmla="*/ 51 h 153"/>
                <a:gd name="T80" fmla="*/ 63 w 72"/>
                <a:gd name="T81" fmla="*/ 67 h 153"/>
                <a:gd name="T82" fmla="*/ 64 w 72"/>
                <a:gd name="T83" fmla="*/ 83 h 153"/>
                <a:gd name="T84" fmla="*/ 69 w 72"/>
                <a:gd name="T85" fmla="*/ 87 h 153"/>
                <a:gd name="T86" fmla="*/ 69 w 72"/>
                <a:gd name="T87" fmla="*/ 107 h 153"/>
                <a:gd name="T88" fmla="*/ 72 w 72"/>
                <a:gd name="T89" fmla="*/ 127 h 153"/>
                <a:gd name="T90" fmla="*/ 67 w 72"/>
                <a:gd name="T91" fmla="*/ 139 h 153"/>
                <a:gd name="T92" fmla="*/ 59 w 72"/>
                <a:gd name="T93" fmla="*/ 146 h 153"/>
                <a:gd name="T94" fmla="*/ 56 w 72"/>
                <a:gd name="T95" fmla="*/ 153 h 153"/>
                <a:gd name="T96" fmla="*/ 53 w 72"/>
                <a:gd name="T97" fmla="*/ 153 h 153"/>
                <a:gd name="T98" fmla="*/ 50 w 72"/>
                <a:gd name="T99" fmla="*/ 147 h 153"/>
                <a:gd name="T100" fmla="*/ 47 w 72"/>
                <a:gd name="T101" fmla="*/ 150 h 153"/>
                <a:gd name="T102" fmla="*/ 39 w 72"/>
                <a:gd name="T103" fmla="*/ 152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" h="153">
                  <a:moveTo>
                    <a:pt x="39" y="152"/>
                  </a:moveTo>
                  <a:lnTo>
                    <a:pt x="37" y="150"/>
                  </a:lnTo>
                  <a:lnTo>
                    <a:pt x="37" y="150"/>
                  </a:lnTo>
                  <a:lnTo>
                    <a:pt x="37" y="150"/>
                  </a:lnTo>
                  <a:lnTo>
                    <a:pt x="36" y="146"/>
                  </a:lnTo>
                  <a:lnTo>
                    <a:pt x="36" y="142"/>
                  </a:lnTo>
                  <a:lnTo>
                    <a:pt x="33" y="140"/>
                  </a:lnTo>
                  <a:lnTo>
                    <a:pt x="30" y="140"/>
                  </a:lnTo>
                  <a:lnTo>
                    <a:pt x="29" y="140"/>
                  </a:lnTo>
                  <a:lnTo>
                    <a:pt x="26" y="140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17" y="135"/>
                  </a:lnTo>
                  <a:lnTo>
                    <a:pt x="11" y="123"/>
                  </a:lnTo>
                  <a:lnTo>
                    <a:pt x="13" y="123"/>
                  </a:lnTo>
                  <a:lnTo>
                    <a:pt x="16" y="122"/>
                  </a:lnTo>
                  <a:lnTo>
                    <a:pt x="17" y="119"/>
                  </a:lnTo>
                  <a:lnTo>
                    <a:pt x="17" y="117"/>
                  </a:lnTo>
                  <a:lnTo>
                    <a:pt x="17" y="115"/>
                  </a:lnTo>
                  <a:lnTo>
                    <a:pt x="19" y="113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1" y="117"/>
                  </a:lnTo>
                  <a:lnTo>
                    <a:pt x="23" y="117"/>
                  </a:lnTo>
                  <a:lnTo>
                    <a:pt x="24" y="116"/>
                  </a:lnTo>
                  <a:lnTo>
                    <a:pt x="26" y="115"/>
                  </a:lnTo>
                  <a:lnTo>
                    <a:pt x="26" y="110"/>
                  </a:lnTo>
                  <a:lnTo>
                    <a:pt x="24" y="103"/>
                  </a:lnTo>
                  <a:lnTo>
                    <a:pt x="21" y="97"/>
                  </a:lnTo>
                  <a:lnTo>
                    <a:pt x="16" y="93"/>
                  </a:lnTo>
                  <a:lnTo>
                    <a:pt x="11" y="87"/>
                  </a:lnTo>
                  <a:lnTo>
                    <a:pt x="10" y="80"/>
                  </a:lnTo>
                  <a:lnTo>
                    <a:pt x="9" y="74"/>
                  </a:lnTo>
                  <a:lnTo>
                    <a:pt x="7" y="74"/>
                  </a:lnTo>
                  <a:lnTo>
                    <a:pt x="6" y="76"/>
                  </a:lnTo>
                  <a:lnTo>
                    <a:pt x="6" y="80"/>
                  </a:lnTo>
                  <a:lnTo>
                    <a:pt x="7" y="86"/>
                  </a:lnTo>
                  <a:lnTo>
                    <a:pt x="7" y="89"/>
                  </a:lnTo>
                  <a:lnTo>
                    <a:pt x="6" y="90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3" y="87"/>
                  </a:lnTo>
                  <a:lnTo>
                    <a:pt x="1" y="84"/>
                  </a:lnTo>
                  <a:lnTo>
                    <a:pt x="1" y="79"/>
                  </a:lnTo>
                  <a:lnTo>
                    <a:pt x="1" y="73"/>
                  </a:lnTo>
                  <a:lnTo>
                    <a:pt x="1" y="64"/>
                  </a:lnTo>
                  <a:lnTo>
                    <a:pt x="0" y="54"/>
                  </a:lnTo>
                  <a:lnTo>
                    <a:pt x="1" y="41"/>
                  </a:lnTo>
                  <a:lnTo>
                    <a:pt x="3" y="36"/>
                  </a:lnTo>
                  <a:lnTo>
                    <a:pt x="4" y="34"/>
                  </a:lnTo>
                  <a:lnTo>
                    <a:pt x="9" y="33"/>
                  </a:lnTo>
                  <a:lnTo>
                    <a:pt x="10" y="31"/>
                  </a:lnTo>
                  <a:lnTo>
                    <a:pt x="10" y="30"/>
                  </a:lnTo>
                  <a:lnTo>
                    <a:pt x="10" y="29"/>
                  </a:lnTo>
                  <a:lnTo>
                    <a:pt x="9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4"/>
                  </a:lnTo>
                  <a:lnTo>
                    <a:pt x="4" y="21"/>
                  </a:lnTo>
                  <a:lnTo>
                    <a:pt x="6" y="19"/>
                  </a:lnTo>
                  <a:lnTo>
                    <a:pt x="7" y="16"/>
                  </a:lnTo>
                  <a:lnTo>
                    <a:pt x="7" y="13"/>
                  </a:lnTo>
                  <a:lnTo>
                    <a:pt x="7" y="11"/>
                  </a:lnTo>
                  <a:lnTo>
                    <a:pt x="9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6" y="17"/>
                  </a:lnTo>
                  <a:lnTo>
                    <a:pt x="19" y="29"/>
                  </a:lnTo>
                  <a:lnTo>
                    <a:pt x="21" y="33"/>
                  </a:lnTo>
                  <a:lnTo>
                    <a:pt x="23" y="33"/>
                  </a:lnTo>
                  <a:lnTo>
                    <a:pt x="24" y="33"/>
                  </a:lnTo>
                  <a:lnTo>
                    <a:pt x="24" y="31"/>
                  </a:lnTo>
                  <a:lnTo>
                    <a:pt x="24" y="29"/>
                  </a:lnTo>
                  <a:lnTo>
                    <a:pt x="23" y="23"/>
                  </a:lnTo>
                  <a:lnTo>
                    <a:pt x="20" y="14"/>
                  </a:lnTo>
                  <a:lnTo>
                    <a:pt x="19" y="10"/>
                  </a:lnTo>
                  <a:lnTo>
                    <a:pt x="20" y="6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7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30" y="7"/>
                  </a:lnTo>
                  <a:lnTo>
                    <a:pt x="33" y="7"/>
                  </a:lnTo>
                  <a:lnTo>
                    <a:pt x="36" y="7"/>
                  </a:lnTo>
                  <a:lnTo>
                    <a:pt x="37" y="6"/>
                  </a:lnTo>
                  <a:lnTo>
                    <a:pt x="40" y="1"/>
                  </a:lnTo>
                  <a:lnTo>
                    <a:pt x="43" y="0"/>
                  </a:lnTo>
                  <a:lnTo>
                    <a:pt x="44" y="1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53" y="6"/>
                  </a:lnTo>
                  <a:lnTo>
                    <a:pt x="54" y="4"/>
                  </a:lnTo>
                  <a:lnTo>
                    <a:pt x="57" y="4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7"/>
                  </a:lnTo>
                  <a:lnTo>
                    <a:pt x="62" y="11"/>
                  </a:lnTo>
                  <a:lnTo>
                    <a:pt x="62" y="37"/>
                  </a:lnTo>
                  <a:lnTo>
                    <a:pt x="60" y="51"/>
                  </a:lnTo>
                  <a:lnTo>
                    <a:pt x="60" y="56"/>
                  </a:lnTo>
                  <a:lnTo>
                    <a:pt x="62" y="62"/>
                  </a:lnTo>
                  <a:lnTo>
                    <a:pt x="63" y="67"/>
                  </a:lnTo>
                  <a:lnTo>
                    <a:pt x="63" y="74"/>
                  </a:lnTo>
                  <a:lnTo>
                    <a:pt x="63" y="79"/>
                  </a:lnTo>
                  <a:lnTo>
                    <a:pt x="64" y="83"/>
                  </a:lnTo>
                  <a:lnTo>
                    <a:pt x="67" y="86"/>
                  </a:lnTo>
                  <a:lnTo>
                    <a:pt x="69" y="87"/>
                  </a:lnTo>
                  <a:lnTo>
                    <a:pt x="69" y="87"/>
                  </a:lnTo>
                  <a:lnTo>
                    <a:pt x="69" y="92"/>
                  </a:lnTo>
                  <a:lnTo>
                    <a:pt x="69" y="100"/>
                  </a:lnTo>
                  <a:lnTo>
                    <a:pt x="69" y="107"/>
                  </a:lnTo>
                  <a:lnTo>
                    <a:pt x="70" y="116"/>
                  </a:lnTo>
                  <a:lnTo>
                    <a:pt x="72" y="123"/>
                  </a:lnTo>
                  <a:lnTo>
                    <a:pt x="72" y="127"/>
                  </a:lnTo>
                  <a:lnTo>
                    <a:pt x="69" y="129"/>
                  </a:lnTo>
                  <a:lnTo>
                    <a:pt x="67" y="132"/>
                  </a:lnTo>
                  <a:lnTo>
                    <a:pt x="67" y="139"/>
                  </a:lnTo>
                  <a:lnTo>
                    <a:pt x="66" y="143"/>
                  </a:lnTo>
                  <a:lnTo>
                    <a:pt x="64" y="145"/>
                  </a:lnTo>
                  <a:lnTo>
                    <a:pt x="59" y="146"/>
                  </a:lnTo>
                  <a:lnTo>
                    <a:pt x="57" y="147"/>
                  </a:lnTo>
                  <a:lnTo>
                    <a:pt x="56" y="150"/>
                  </a:lnTo>
                  <a:lnTo>
                    <a:pt x="56" y="153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3" y="152"/>
                  </a:lnTo>
                  <a:lnTo>
                    <a:pt x="52" y="149"/>
                  </a:lnTo>
                  <a:lnTo>
                    <a:pt x="50" y="147"/>
                  </a:lnTo>
                  <a:lnTo>
                    <a:pt x="49" y="149"/>
                  </a:lnTo>
                  <a:lnTo>
                    <a:pt x="49" y="150"/>
                  </a:lnTo>
                  <a:lnTo>
                    <a:pt x="47" y="150"/>
                  </a:lnTo>
                  <a:lnTo>
                    <a:pt x="46" y="150"/>
                  </a:lnTo>
                  <a:lnTo>
                    <a:pt x="43" y="152"/>
                  </a:lnTo>
                  <a:lnTo>
                    <a:pt x="39" y="152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76" name="Freeform 425"/>
            <p:cNvSpPr>
              <a:spLocks/>
            </p:cNvSpPr>
            <p:nvPr/>
          </p:nvSpPr>
          <p:spPr bwMode="auto">
            <a:xfrm>
              <a:off x="4274033" y="3010409"/>
              <a:ext cx="1221" cy="1323"/>
            </a:xfrm>
            <a:custGeom>
              <a:avLst/>
              <a:gdLst>
                <a:gd name="T0" fmla="*/ 3 w 3"/>
                <a:gd name="T1" fmla="*/ 1 h 3"/>
                <a:gd name="T2" fmla="*/ 0 w 3"/>
                <a:gd name="T3" fmla="*/ 0 h 3"/>
                <a:gd name="T4" fmla="*/ 0 w 3"/>
                <a:gd name="T5" fmla="*/ 1 h 3"/>
                <a:gd name="T6" fmla="*/ 0 w 3"/>
                <a:gd name="T7" fmla="*/ 3 h 3"/>
                <a:gd name="T8" fmla="*/ 0 w 3"/>
                <a:gd name="T9" fmla="*/ 3 h 3"/>
                <a:gd name="T10" fmla="*/ 1 w 3"/>
                <a:gd name="T11" fmla="*/ 3 h 3"/>
                <a:gd name="T12" fmla="*/ 3 w 3"/>
                <a:gd name="T13" fmla="*/ 3 h 3"/>
                <a:gd name="T14" fmla="*/ 3 w 3"/>
                <a:gd name="T15" fmla="*/ 1 h 3"/>
                <a:gd name="T16" fmla="*/ 3 w 3"/>
                <a:gd name="T17" fmla="*/ 1 h 3"/>
                <a:gd name="T18" fmla="*/ 3 w 3"/>
                <a:gd name="T1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3" y="3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77" name="Freeform 426"/>
            <p:cNvSpPr>
              <a:spLocks/>
            </p:cNvSpPr>
            <p:nvPr/>
          </p:nvSpPr>
          <p:spPr bwMode="auto">
            <a:xfrm>
              <a:off x="4293571" y="3005117"/>
              <a:ext cx="4885" cy="3969"/>
            </a:xfrm>
            <a:custGeom>
              <a:avLst/>
              <a:gdLst>
                <a:gd name="T0" fmla="*/ 7 w 7"/>
                <a:gd name="T1" fmla="*/ 1 h 4"/>
                <a:gd name="T2" fmla="*/ 4 w 7"/>
                <a:gd name="T3" fmla="*/ 0 h 4"/>
                <a:gd name="T4" fmla="*/ 2 w 7"/>
                <a:gd name="T5" fmla="*/ 0 h 4"/>
                <a:gd name="T6" fmla="*/ 0 w 7"/>
                <a:gd name="T7" fmla="*/ 0 h 4"/>
                <a:gd name="T8" fmla="*/ 0 w 7"/>
                <a:gd name="T9" fmla="*/ 1 h 4"/>
                <a:gd name="T10" fmla="*/ 0 w 7"/>
                <a:gd name="T11" fmla="*/ 1 h 4"/>
                <a:gd name="T12" fmla="*/ 0 w 7"/>
                <a:gd name="T13" fmla="*/ 3 h 4"/>
                <a:gd name="T14" fmla="*/ 1 w 7"/>
                <a:gd name="T15" fmla="*/ 3 h 4"/>
                <a:gd name="T16" fmla="*/ 4 w 7"/>
                <a:gd name="T17" fmla="*/ 4 h 4"/>
                <a:gd name="T18" fmla="*/ 5 w 7"/>
                <a:gd name="T19" fmla="*/ 3 h 4"/>
                <a:gd name="T20" fmla="*/ 5 w 7"/>
                <a:gd name="T21" fmla="*/ 3 h 4"/>
                <a:gd name="T22" fmla="*/ 7 w 7"/>
                <a:gd name="T23" fmla="*/ 1 h 4"/>
                <a:gd name="T24" fmla="*/ 7 w 7"/>
                <a:gd name="T2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" h="4">
                  <a:moveTo>
                    <a:pt x="7" y="1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3"/>
                  </a:lnTo>
                  <a:lnTo>
                    <a:pt x="1" y="3"/>
                  </a:lnTo>
                  <a:lnTo>
                    <a:pt x="4" y="4"/>
                  </a:lnTo>
                  <a:lnTo>
                    <a:pt x="5" y="3"/>
                  </a:lnTo>
                  <a:lnTo>
                    <a:pt x="5" y="3"/>
                  </a:lnTo>
                  <a:lnTo>
                    <a:pt x="7" y="1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78" name="Freeform 427"/>
            <p:cNvSpPr>
              <a:spLocks/>
            </p:cNvSpPr>
            <p:nvPr/>
          </p:nvSpPr>
          <p:spPr bwMode="auto">
            <a:xfrm>
              <a:off x="4281360" y="3005117"/>
              <a:ext cx="1221" cy="3969"/>
            </a:xfrm>
            <a:custGeom>
              <a:avLst/>
              <a:gdLst>
                <a:gd name="T0" fmla="*/ 3 w 3"/>
                <a:gd name="T1" fmla="*/ 3 h 4"/>
                <a:gd name="T2" fmla="*/ 3 w 3"/>
                <a:gd name="T3" fmla="*/ 1 h 4"/>
                <a:gd name="T4" fmla="*/ 2 w 3"/>
                <a:gd name="T5" fmla="*/ 0 h 4"/>
                <a:gd name="T6" fmla="*/ 0 w 3"/>
                <a:gd name="T7" fmla="*/ 1 h 4"/>
                <a:gd name="T8" fmla="*/ 0 w 3"/>
                <a:gd name="T9" fmla="*/ 1 h 4"/>
                <a:gd name="T10" fmla="*/ 0 w 3"/>
                <a:gd name="T11" fmla="*/ 3 h 4"/>
                <a:gd name="T12" fmla="*/ 2 w 3"/>
                <a:gd name="T13" fmla="*/ 4 h 4"/>
                <a:gd name="T14" fmla="*/ 2 w 3"/>
                <a:gd name="T15" fmla="*/ 4 h 4"/>
                <a:gd name="T16" fmla="*/ 3 w 3"/>
                <a:gd name="T17" fmla="*/ 4 h 4"/>
                <a:gd name="T18" fmla="*/ 3 w 3"/>
                <a:gd name="T19" fmla="*/ 4 h 4"/>
                <a:gd name="T20" fmla="*/ 3 w 3"/>
                <a:gd name="T21" fmla="*/ 3 h 4"/>
                <a:gd name="T22" fmla="*/ 3 w 3"/>
                <a:gd name="T2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4">
                  <a:moveTo>
                    <a:pt x="3" y="3"/>
                  </a:moveTo>
                  <a:lnTo>
                    <a:pt x="3" y="1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79" name="Freeform 428"/>
            <p:cNvSpPr>
              <a:spLocks/>
            </p:cNvSpPr>
            <p:nvPr/>
          </p:nvSpPr>
          <p:spPr bwMode="auto">
            <a:xfrm>
              <a:off x="4293571" y="3108304"/>
              <a:ext cx="8548" cy="2646"/>
            </a:xfrm>
            <a:custGeom>
              <a:avLst/>
              <a:gdLst>
                <a:gd name="T0" fmla="*/ 0 w 14"/>
                <a:gd name="T1" fmla="*/ 5 h 5"/>
                <a:gd name="T2" fmla="*/ 4 w 14"/>
                <a:gd name="T3" fmla="*/ 5 h 5"/>
                <a:gd name="T4" fmla="*/ 7 w 14"/>
                <a:gd name="T5" fmla="*/ 3 h 5"/>
                <a:gd name="T6" fmla="*/ 8 w 14"/>
                <a:gd name="T7" fmla="*/ 3 h 5"/>
                <a:gd name="T8" fmla="*/ 10 w 14"/>
                <a:gd name="T9" fmla="*/ 3 h 5"/>
                <a:gd name="T10" fmla="*/ 10 w 14"/>
                <a:gd name="T11" fmla="*/ 2 h 5"/>
                <a:gd name="T12" fmla="*/ 11 w 14"/>
                <a:gd name="T13" fmla="*/ 0 h 5"/>
                <a:gd name="T14" fmla="*/ 13 w 14"/>
                <a:gd name="T15" fmla="*/ 2 h 5"/>
                <a:gd name="T16" fmla="*/ 14 w 14"/>
                <a:gd name="T17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5">
                  <a:moveTo>
                    <a:pt x="0" y="5"/>
                  </a:moveTo>
                  <a:lnTo>
                    <a:pt x="4" y="5"/>
                  </a:lnTo>
                  <a:lnTo>
                    <a:pt x="7" y="3"/>
                  </a:lnTo>
                  <a:lnTo>
                    <a:pt x="8" y="3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1" y="0"/>
                  </a:lnTo>
                  <a:lnTo>
                    <a:pt x="13" y="2"/>
                  </a:lnTo>
                  <a:lnTo>
                    <a:pt x="14" y="3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80" name="Freeform 429"/>
            <p:cNvSpPr>
              <a:spLocks/>
            </p:cNvSpPr>
            <p:nvPr/>
          </p:nvSpPr>
          <p:spPr bwMode="auto">
            <a:xfrm>
              <a:off x="4305783" y="3100366"/>
              <a:ext cx="6106" cy="7937"/>
            </a:xfrm>
            <a:custGeom>
              <a:avLst/>
              <a:gdLst>
                <a:gd name="T0" fmla="*/ 0 w 10"/>
                <a:gd name="T1" fmla="*/ 11 h 11"/>
                <a:gd name="T2" fmla="*/ 2 w 10"/>
                <a:gd name="T3" fmla="*/ 10 h 11"/>
                <a:gd name="T4" fmla="*/ 7 w 10"/>
                <a:gd name="T5" fmla="*/ 9 h 11"/>
                <a:gd name="T6" fmla="*/ 9 w 10"/>
                <a:gd name="T7" fmla="*/ 7 h 11"/>
                <a:gd name="T8" fmla="*/ 10 w 10"/>
                <a:gd name="T9" fmla="*/ 3 h 11"/>
                <a:gd name="T10" fmla="*/ 10 w 10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11">
                  <a:moveTo>
                    <a:pt x="0" y="11"/>
                  </a:moveTo>
                  <a:lnTo>
                    <a:pt x="2" y="10"/>
                  </a:lnTo>
                  <a:lnTo>
                    <a:pt x="7" y="9"/>
                  </a:lnTo>
                  <a:lnTo>
                    <a:pt x="9" y="7"/>
                  </a:lnTo>
                  <a:lnTo>
                    <a:pt x="10" y="3"/>
                  </a:lnTo>
                  <a:lnTo>
                    <a:pt x="1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81" name="Freeform 430"/>
            <p:cNvSpPr>
              <a:spLocks/>
            </p:cNvSpPr>
            <p:nvPr/>
          </p:nvSpPr>
          <p:spPr bwMode="auto">
            <a:xfrm>
              <a:off x="4311888" y="3081846"/>
              <a:ext cx="2442" cy="11906"/>
            </a:xfrm>
            <a:custGeom>
              <a:avLst/>
              <a:gdLst>
                <a:gd name="T0" fmla="*/ 3 w 3"/>
                <a:gd name="T1" fmla="*/ 17 h 17"/>
                <a:gd name="T2" fmla="*/ 3 w 3"/>
                <a:gd name="T3" fmla="*/ 14 h 17"/>
                <a:gd name="T4" fmla="*/ 1 w 3"/>
                <a:gd name="T5" fmla="*/ 7 h 17"/>
                <a:gd name="T6" fmla="*/ 0 w 3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7">
                  <a:moveTo>
                    <a:pt x="3" y="17"/>
                  </a:moveTo>
                  <a:lnTo>
                    <a:pt x="3" y="14"/>
                  </a:lnTo>
                  <a:lnTo>
                    <a:pt x="1" y="7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82" name="Freeform 431"/>
            <p:cNvSpPr>
              <a:spLocks/>
            </p:cNvSpPr>
            <p:nvPr/>
          </p:nvSpPr>
          <p:spPr bwMode="auto">
            <a:xfrm>
              <a:off x="4309446" y="3064648"/>
              <a:ext cx="2442" cy="10583"/>
            </a:xfrm>
            <a:custGeom>
              <a:avLst/>
              <a:gdLst>
                <a:gd name="T0" fmla="*/ 5 w 5"/>
                <a:gd name="T1" fmla="*/ 15 h 15"/>
                <a:gd name="T2" fmla="*/ 5 w 5"/>
                <a:gd name="T3" fmla="*/ 10 h 15"/>
                <a:gd name="T4" fmla="*/ 5 w 5"/>
                <a:gd name="T5" fmla="*/ 5 h 15"/>
                <a:gd name="T6" fmla="*/ 5 w 5"/>
                <a:gd name="T7" fmla="*/ 5 h 15"/>
                <a:gd name="T8" fmla="*/ 3 w 5"/>
                <a:gd name="T9" fmla="*/ 4 h 15"/>
                <a:gd name="T10" fmla="*/ 0 w 5"/>
                <a:gd name="T11" fmla="*/ 1 h 15"/>
                <a:gd name="T12" fmla="*/ 0 w 5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5">
                  <a:moveTo>
                    <a:pt x="5" y="15"/>
                  </a:moveTo>
                  <a:lnTo>
                    <a:pt x="5" y="10"/>
                  </a:lnTo>
                  <a:lnTo>
                    <a:pt x="5" y="5"/>
                  </a:lnTo>
                  <a:lnTo>
                    <a:pt x="5" y="5"/>
                  </a:lnTo>
                  <a:lnTo>
                    <a:pt x="3" y="4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83" name="Freeform 432"/>
            <p:cNvSpPr>
              <a:spLocks/>
            </p:cNvSpPr>
            <p:nvPr/>
          </p:nvSpPr>
          <p:spPr bwMode="auto">
            <a:xfrm>
              <a:off x="4307004" y="3046127"/>
              <a:ext cx="1221" cy="10583"/>
            </a:xfrm>
            <a:custGeom>
              <a:avLst/>
              <a:gdLst>
                <a:gd name="T0" fmla="*/ 3 w 3"/>
                <a:gd name="T1" fmla="*/ 16 h 16"/>
                <a:gd name="T2" fmla="*/ 3 w 3"/>
                <a:gd name="T3" fmla="*/ 13 h 16"/>
                <a:gd name="T4" fmla="*/ 2 w 3"/>
                <a:gd name="T5" fmla="*/ 8 h 16"/>
                <a:gd name="T6" fmla="*/ 0 w 3"/>
                <a:gd name="T7" fmla="*/ 2 h 16"/>
                <a:gd name="T8" fmla="*/ 0 w 3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6">
                  <a:moveTo>
                    <a:pt x="3" y="16"/>
                  </a:moveTo>
                  <a:lnTo>
                    <a:pt x="3" y="13"/>
                  </a:lnTo>
                  <a:lnTo>
                    <a:pt x="2" y="8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84" name="Freeform 433"/>
            <p:cNvSpPr>
              <a:spLocks/>
            </p:cNvSpPr>
            <p:nvPr/>
          </p:nvSpPr>
          <p:spPr bwMode="auto">
            <a:xfrm>
              <a:off x="4308225" y="3027607"/>
              <a:ext cx="0" cy="10583"/>
            </a:xfrm>
            <a:custGeom>
              <a:avLst/>
              <a:gdLst>
                <a:gd name="T0" fmla="*/ 17 h 17"/>
                <a:gd name="T1" fmla="*/ 11 h 17"/>
                <a:gd name="T2" fmla="*/ 0 h 1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7">
                  <a:moveTo>
                    <a:pt x="0" y="17"/>
                  </a:moveTo>
                  <a:lnTo>
                    <a:pt x="0" y="11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85" name="Freeform 434"/>
            <p:cNvSpPr>
              <a:spLocks/>
            </p:cNvSpPr>
            <p:nvPr/>
          </p:nvSpPr>
          <p:spPr bwMode="auto">
            <a:xfrm>
              <a:off x="4307004" y="3014378"/>
              <a:ext cx="1221" cy="5292"/>
            </a:xfrm>
            <a:custGeom>
              <a:avLst/>
              <a:gdLst>
                <a:gd name="T0" fmla="*/ 2 w 2"/>
                <a:gd name="T1" fmla="*/ 8 h 8"/>
                <a:gd name="T2" fmla="*/ 2 w 2"/>
                <a:gd name="T3" fmla="*/ 5 h 8"/>
                <a:gd name="T4" fmla="*/ 0 w 2"/>
                <a:gd name="T5" fmla="*/ 1 h 8"/>
                <a:gd name="T6" fmla="*/ 0 w 2"/>
                <a:gd name="T7" fmla="*/ 0 h 8"/>
                <a:gd name="T8" fmla="*/ 0 w 2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8">
                  <a:moveTo>
                    <a:pt x="2" y="8"/>
                  </a:moveTo>
                  <a:lnTo>
                    <a:pt x="2" y="5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86" name="Freeform 435"/>
            <p:cNvSpPr>
              <a:spLocks/>
            </p:cNvSpPr>
            <p:nvPr/>
          </p:nvSpPr>
          <p:spPr bwMode="auto">
            <a:xfrm>
              <a:off x="4270369" y="3010409"/>
              <a:ext cx="36634" cy="100541"/>
            </a:xfrm>
            <a:custGeom>
              <a:avLst/>
              <a:gdLst>
                <a:gd name="T0" fmla="*/ 60 w 60"/>
                <a:gd name="T1" fmla="*/ 6 h 152"/>
                <a:gd name="T2" fmla="*/ 54 w 60"/>
                <a:gd name="T3" fmla="*/ 4 h 152"/>
                <a:gd name="T4" fmla="*/ 49 w 60"/>
                <a:gd name="T5" fmla="*/ 4 h 152"/>
                <a:gd name="T6" fmla="*/ 47 w 60"/>
                <a:gd name="T7" fmla="*/ 3 h 152"/>
                <a:gd name="T8" fmla="*/ 47 w 60"/>
                <a:gd name="T9" fmla="*/ 3 h 152"/>
                <a:gd name="T10" fmla="*/ 43 w 60"/>
                <a:gd name="T11" fmla="*/ 0 h 152"/>
                <a:gd name="T12" fmla="*/ 37 w 60"/>
                <a:gd name="T13" fmla="*/ 6 h 152"/>
                <a:gd name="T14" fmla="*/ 33 w 60"/>
                <a:gd name="T15" fmla="*/ 7 h 152"/>
                <a:gd name="T16" fmla="*/ 27 w 60"/>
                <a:gd name="T17" fmla="*/ 9 h 152"/>
                <a:gd name="T18" fmla="*/ 24 w 60"/>
                <a:gd name="T19" fmla="*/ 7 h 152"/>
                <a:gd name="T20" fmla="*/ 24 w 60"/>
                <a:gd name="T21" fmla="*/ 4 h 152"/>
                <a:gd name="T22" fmla="*/ 23 w 60"/>
                <a:gd name="T23" fmla="*/ 4 h 152"/>
                <a:gd name="T24" fmla="*/ 20 w 60"/>
                <a:gd name="T25" fmla="*/ 6 h 152"/>
                <a:gd name="T26" fmla="*/ 20 w 60"/>
                <a:gd name="T27" fmla="*/ 14 h 152"/>
                <a:gd name="T28" fmla="*/ 24 w 60"/>
                <a:gd name="T29" fmla="*/ 29 h 152"/>
                <a:gd name="T30" fmla="*/ 24 w 60"/>
                <a:gd name="T31" fmla="*/ 33 h 152"/>
                <a:gd name="T32" fmla="*/ 21 w 60"/>
                <a:gd name="T33" fmla="*/ 33 h 152"/>
                <a:gd name="T34" fmla="*/ 16 w 60"/>
                <a:gd name="T35" fmla="*/ 17 h 152"/>
                <a:gd name="T36" fmla="*/ 14 w 60"/>
                <a:gd name="T37" fmla="*/ 14 h 152"/>
                <a:gd name="T38" fmla="*/ 11 w 60"/>
                <a:gd name="T39" fmla="*/ 11 h 152"/>
                <a:gd name="T40" fmla="*/ 9 w 60"/>
                <a:gd name="T41" fmla="*/ 11 h 152"/>
                <a:gd name="T42" fmla="*/ 7 w 60"/>
                <a:gd name="T43" fmla="*/ 13 h 152"/>
                <a:gd name="T44" fmla="*/ 6 w 60"/>
                <a:gd name="T45" fmla="*/ 19 h 152"/>
                <a:gd name="T46" fmla="*/ 4 w 60"/>
                <a:gd name="T47" fmla="*/ 24 h 152"/>
                <a:gd name="T48" fmla="*/ 4 w 60"/>
                <a:gd name="T49" fmla="*/ 27 h 152"/>
                <a:gd name="T50" fmla="*/ 7 w 60"/>
                <a:gd name="T51" fmla="*/ 29 h 152"/>
                <a:gd name="T52" fmla="*/ 9 w 60"/>
                <a:gd name="T53" fmla="*/ 29 h 152"/>
                <a:gd name="T54" fmla="*/ 10 w 60"/>
                <a:gd name="T55" fmla="*/ 30 h 152"/>
                <a:gd name="T56" fmla="*/ 9 w 60"/>
                <a:gd name="T57" fmla="*/ 33 h 152"/>
                <a:gd name="T58" fmla="*/ 3 w 60"/>
                <a:gd name="T59" fmla="*/ 36 h 152"/>
                <a:gd name="T60" fmla="*/ 0 w 60"/>
                <a:gd name="T61" fmla="*/ 54 h 152"/>
                <a:gd name="T62" fmla="*/ 1 w 60"/>
                <a:gd name="T63" fmla="*/ 73 h 152"/>
                <a:gd name="T64" fmla="*/ 1 w 60"/>
                <a:gd name="T65" fmla="*/ 84 h 152"/>
                <a:gd name="T66" fmla="*/ 4 w 60"/>
                <a:gd name="T67" fmla="*/ 90 h 152"/>
                <a:gd name="T68" fmla="*/ 4 w 60"/>
                <a:gd name="T69" fmla="*/ 90 h 152"/>
                <a:gd name="T70" fmla="*/ 7 w 60"/>
                <a:gd name="T71" fmla="*/ 89 h 152"/>
                <a:gd name="T72" fmla="*/ 6 w 60"/>
                <a:gd name="T73" fmla="*/ 80 h 152"/>
                <a:gd name="T74" fmla="*/ 7 w 60"/>
                <a:gd name="T75" fmla="*/ 74 h 152"/>
                <a:gd name="T76" fmla="*/ 10 w 60"/>
                <a:gd name="T77" fmla="*/ 80 h 152"/>
                <a:gd name="T78" fmla="*/ 16 w 60"/>
                <a:gd name="T79" fmla="*/ 93 h 152"/>
                <a:gd name="T80" fmla="*/ 24 w 60"/>
                <a:gd name="T81" fmla="*/ 103 h 152"/>
                <a:gd name="T82" fmla="*/ 26 w 60"/>
                <a:gd name="T83" fmla="*/ 115 h 152"/>
                <a:gd name="T84" fmla="*/ 23 w 60"/>
                <a:gd name="T85" fmla="*/ 117 h 152"/>
                <a:gd name="T86" fmla="*/ 20 w 60"/>
                <a:gd name="T87" fmla="*/ 115 h 152"/>
                <a:gd name="T88" fmla="*/ 20 w 60"/>
                <a:gd name="T89" fmla="*/ 115 h 152"/>
                <a:gd name="T90" fmla="*/ 17 w 60"/>
                <a:gd name="T91" fmla="*/ 115 h 152"/>
                <a:gd name="T92" fmla="*/ 17 w 60"/>
                <a:gd name="T93" fmla="*/ 119 h 152"/>
                <a:gd name="T94" fmla="*/ 13 w 60"/>
                <a:gd name="T95" fmla="*/ 123 h 152"/>
                <a:gd name="T96" fmla="*/ 17 w 60"/>
                <a:gd name="T97" fmla="*/ 135 h 152"/>
                <a:gd name="T98" fmla="*/ 21 w 60"/>
                <a:gd name="T99" fmla="*/ 139 h 152"/>
                <a:gd name="T100" fmla="*/ 21 w 60"/>
                <a:gd name="T101" fmla="*/ 139 h 152"/>
                <a:gd name="T102" fmla="*/ 26 w 60"/>
                <a:gd name="T103" fmla="*/ 140 h 152"/>
                <a:gd name="T104" fmla="*/ 30 w 60"/>
                <a:gd name="T105" fmla="*/ 140 h 152"/>
                <a:gd name="T106" fmla="*/ 36 w 60"/>
                <a:gd name="T107" fmla="*/ 142 h 152"/>
                <a:gd name="T108" fmla="*/ 37 w 60"/>
                <a:gd name="T109" fmla="*/ 150 h 152"/>
                <a:gd name="T110" fmla="*/ 37 w 60"/>
                <a:gd name="T111" fmla="*/ 150 h 152"/>
                <a:gd name="T112" fmla="*/ 60 w 60"/>
                <a:gd name="T113" fmla="*/ 6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0" h="152">
                  <a:moveTo>
                    <a:pt x="60" y="6"/>
                  </a:moveTo>
                  <a:lnTo>
                    <a:pt x="60" y="6"/>
                  </a:lnTo>
                  <a:lnTo>
                    <a:pt x="57" y="4"/>
                  </a:lnTo>
                  <a:lnTo>
                    <a:pt x="54" y="4"/>
                  </a:lnTo>
                  <a:lnTo>
                    <a:pt x="53" y="6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4" y="1"/>
                  </a:lnTo>
                  <a:lnTo>
                    <a:pt x="43" y="0"/>
                  </a:lnTo>
                  <a:lnTo>
                    <a:pt x="40" y="1"/>
                  </a:lnTo>
                  <a:lnTo>
                    <a:pt x="37" y="6"/>
                  </a:lnTo>
                  <a:lnTo>
                    <a:pt x="36" y="7"/>
                  </a:lnTo>
                  <a:lnTo>
                    <a:pt x="33" y="7"/>
                  </a:lnTo>
                  <a:lnTo>
                    <a:pt x="30" y="7"/>
                  </a:lnTo>
                  <a:lnTo>
                    <a:pt x="27" y="9"/>
                  </a:lnTo>
                  <a:lnTo>
                    <a:pt x="26" y="9"/>
                  </a:lnTo>
                  <a:lnTo>
                    <a:pt x="24" y="7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20" y="6"/>
                  </a:lnTo>
                  <a:lnTo>
                    <a:pt x="19" y="10"/>
                  </a:lnTo>
                  <a:lnTo>
                    <a:pt x="20" y="14"/>
                  </a:lnTo>
                  <a:lnTo>
                    <a:pt x="23" y="23"/>
                  </a:lnTo>
                  <a:lnTo>
                    <a:pt x="24" y="29"/>
                  </a:lnTo>
                  <a:lnTo>
                    <a:pt x="24" y="31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1" y="33"/>
                  </a:lnTo>
                  <a:lnTo>
                    <a:pt x="19" y="29"/>
                  </a:lnTo>
                  <a:lnTo>
                    <a:pt x="16" y="17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9" y="11"/>
                  </a:lnTo>
                  <a:lnTo>
                    <a:pt x="7" y="11"/>
                  </a:lnTo>
                  <a:lnTo>
                    <a:pt x="7" y="13"/>
                  </a:lnTo>
                  <a:lnTo>
                    <a:pt x="7" y="16"/>
                  </a:lnTo>
                  <a:lnTo>
                    <a:pt x="6" y="19"/>
                  </a:lnTo>
                  <a:lnTo>
                    <a:pt x="4" y="21"/>
                  </a:lnTo>
                  <a:lnTo>
                    <a:pt x="4" y="24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9" y="29"/>
                  </a:lnTo>
                  <a:lnTo>
                    <a:pt x="10" y="29"/>
                  </a:lnTo>
                  <a:lnTo>
                    <a:pt x="10" y="30"/>
                  </a:lnTo>
                  <a:lnTo>
                    <a:pt x="10" y="31"/>
                  </a:lnTo>
                  <a:lnTo>
                    <a:pt x="9" y="33"/>
                  </a:lnTo>
                  <a:lnTo>
                    <a:pt x="4" y="34"/>
                  </a:lnTo>
                  <a:lnTo>
                    <a:pt x="3" y="36"/>
                  </a:lnTo>
                  <a:lnTo>
                    <a:pt x="1" y="41"/>
                  </a:lnTo>
                  <a:lnTo>
                    <a:pt x="0" y="54"/>
                  </a:lnTo>
                  <a:lnTo>
                    <a:pt x="1" y="64"/>
                  </a:lnTo>
                  <a:lnTo>
                    <a:pt x="1" y="73"/>
                  </a:lnTo>
                  <a:lnTo>
                    <a:pt x="1" y="79"/>
                  </a:lnTo>
                  <a:lnTo>
                    <a:pt x="1" y="84"/>
                  </a:lnTo>
                  <a:lnTo>
                    <a:pt x="3" y="87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6" y="90"/>
                  </a:lnTo>
                  <a:lnTo>
                    <a:pt x="7" y="89"/>
                  </a:lnTo>
                  <a:lnTo>
                    <a:pt x="7" y="86"/>
                  </a:lnTo>
                  <a:lnTo>
                    <a:pt x="6" y="80"/>
                  </a:lnTo>
                  <a:lnTo>
                    <a:pt x="6" y="76"/>
                  </a:lnTo>
                  <a:lnTo>
                    <a:pt x="7" y="74"/>
                  </a:lnTo>
                  <a:lnTo>
                    <a:pt x="9" y="74"/>
                  </a:lnTo>
                  <a:lnTo>
                    <a:pt x="10" y="80"/>
                  </a:lnTo>
                  <a:lnTo>
                    <a:pt x="11" y="87"/>
                  </a:lnTo>
                  <a:lnTo>
                    <a:pt x="16" y="93"/>
                  </a:lnTo>
                  <a:lnTo>
                    <a:pt x="21" y="97"/>
                  </a:lnTo>
                  <a:lnTo>
                    <a:pt x="24" y="103"/>
                  </a:lnTo>
                  <a:lnTo>
                    <a:pt x="26" y="110"/>
                  </a:lnTo>
                  <a:lnTo>
                    <a:pt x="26" y="115"/>
                  </a:lnTo>
                  <a:lnTo>
                    <a:pt x="24" y="116"/>
                  </a:lnTo>
                  <a:lnTo>
                    <a:pt x="23" y="117"/>
                  </a:lnTo>
                  <a:lnTo>
                    <a:pt x="21" y="117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19" y="113"/>
                  </a:lnTo>
                  <a:lnTo>
                    <a:pt x="17" y="115"/>
                  </a:lnTo>
                  <a:lnTo>
                    <a:pt x="17" y="117"/>
                  </a:lnTo>
                  <a:lnTo>
                    <a:pt x="17" y="119"/>
                  </a:lnTo>
                  <a:lnTo>
                    <a:pt x="16" y="122"/>
                  </a:lnTo>
                  <a:lnTo>
                    <a:pt x="13" y="123"/>
                  </a:lnTo>
                  <a:lnTo>
                    <a:pt x="11" y="123"/>
                  </a:lnTo>
                  <a:lnTo>
                    <a:pt x="17" y="135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6" y="140"/>
                  </a:lnTo>
                  <a:lnTo>
                    <a:pt x="29" y="140"/>
                  </a:lnTo>
                  <a:lnTo>
                    <a:pt x="30" y="140"/>
                  </a:lnTo>
                  <a:lnTo>
                    <a:pt x="33" y="140"/>
                  </a:lnTo>
                  <a:lnTo>
                    <a:pt x="36" y="142"/>
                  </a:lnTo>
                  <a:lnTo>
                    <a:pt x="36" y="146"/>
                  </a:lnTo>
                  <a:lnTo>
                    <a:pt x="37" y="150"/>
                  </a:lnTo>
                  <a:lnTo>
                    <a:pt x="37" y="150"/>
                  </a:lnTo>
                  <a:lnTo>
                    <a:pt x="37" y="150"/>
                  </a:lnTo>
                  <a:lnTo>
                    <a:pt x="39" y="152"/>
                  </a:lnTo>
                  <a:lnTo>
                    <a:pt x="60" y="6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87" name="Freeform 436"/>
            <p:cNvSpPr>
              <a:spLocks/>
            </p:cNvSpPr>
            <p:nvPr/>
          </p:nvSpPr>
          <p:spPr bwMode="auto">
            <a:xfrm>
              <a:off x="4270369" y="3010409"/>
              <a:ext cx="36634" cy="100541"/>
            </a:xfrm>
            <a:custGeom>
              <a:avLst/>
              <a:gdLst>
                <a:gd name="T0" fmla="*/ 60 w 60"/>
                <a:gd name="T1" fmla="*/ 6 h 152"/>
                <a:gd name="T2" fmla="*/ 54 w 60"/>
                <a:gd name="T3" fmla="*/ 4 h 152"/>
                <a:gd name="T4" fmla="*/ 49 w 60"/>
                <a:gd name="T5" fmla="*/ 4 h 152"/>
                <a:gd name="T6" fmla="*/ 47 w 60"/>
                <a:gd name="T7" fmla="*/ 3 h 152"/>
                <a:gd name="T8" fmla="*/ 47 w 60"/>
                <a:gd name="T9" fmla="*/ 3 h 152"/>
                <a:gd name="T10" fmla="*/ 43 w 60"/>
                <a:gd name="T11" fmla="*/ 0 h 152"/>
                <a:gd name="T12" fmla="*/ 37 w 60"/>
                <a:gd name="T13" fmla="*/ 6 h 152"/>
                <a:gd name="T14" fmla="*/ 33 w 60"/>
                <a:gd name="T15" fmla="*/ 7 h 152"/>
                <a:gd name="T16" fmla="*/ 27 w 60"/>
                <a:gd name="T17" fmla="*/ 9 h 152"/>
                <a:gd name="T18" fmla="*/ 24 w 60"/>
                <a:gd name="T19" fmla="*/ 7 h 152"/>
                <a:gd name="T20" fmla="*/ 24 w 60"/>
                <a:gd name="T21" fmla="*/ 4 h 152"/>
                <a:gd name="T22" fmla="*/ 23 w 60"/>
                <a:gd name="T23" fmla="*/ 4 h 152"/>
                <a:gd name="T24" fmla="*/ 20 w 60"/>
                <a:gd name="T25" fmla="*/ 6 h 152"/>
                <a:gd name="T26" fmla="*/ 20 w 60"/>
                <a:gd name="T27" fmla="*/ 14 h 152"/>
                <a:gd name="T28" fmla="*/ 24 w 60"/>
                <a:gd name="T29" fmla="*/ 29 h 152"/>
                <a:gd name="T30" fmla="*/ 24 w 60"/>
                <a:gd name="T31" fmla="*/ 33 h 152"/>
                <a:gd name="T32" fmla="*/ 21 w 60"/>
                <a:gd name="T33" fmla="*/ 33 h 152"/>
                <a:gd name="T34" fmla="*/ 16 w 60"/>
                <a:gd name="T35" fmla="*/ 17 h 152"/>
                <a:gd name="T36" fmla="*/ 14 w 60"/>
                <a:gd name="T37" fmla="*/ 14 h 152"/>
                <a:gd name="T38" fmla="*/ 11 w 60"/>
                <a:gd name="T39" fmla="*/ 11 h 152"/>
                <a:gd name="T40" fmla="*/ 9 w 60"/>
                <a:gd name="T41" fmla="*/ 11 h 152"/>
                <a:gd name="T42" fmla="*/ 7 w 60"/>
                <a:gd name="T43" fmla="*/ 13 h 152"/>
                <a:gd name="T44" fmla="*/ 6 w 60"/>
                <a:gd name="T45" fmla="*/ 19 h 152"/>
                <a:gd name="T46" fmla="*/ 4 w 60"/>
                <a:gd name="T47" fmla="*/ 24 h 152"/>
                <a:gd name="T48" fmla="*/ 4 w 60"/>
                <a:gd name="T49" fmla="*/ 27 h 152"/>
                <a:gd name="T50" fmla="*/ 7 w 60"/>
                <a:gd name="T51" fmla="*/ 29 h 152"/>
                <a:gd name="T52" fmla="*/ 9 w 60"/>
                <a:gd name="T53" fmla="*/ 29 h 152"/>
                <a:gd name="T54" fmla="*/ 10 w 60"/>
                <a:gd name="T55" fmla="*/ 30 h 152"/>
                <a:gd name="T56" fmla="*/ 9 w 60"/>
                <a:gd name="T57" fmla="*/ 33 h 152"/>
                <a:gd name="T58" fmla="*/ 3 w 60"/>
                <a:gd name="T59" fmla="*/ 36 h 152"/>
                <a:gd name="T60" fmla="*/ 0 w 60"/>
                <a:gd name="T61" fmla="*/ 54 h 152"/>
                <a:gd name="T62" fmla="*/ 1 w 60"/>
                <a:gd name="T63" fmla="*/ 73 h 152"/>
                <a:gd name="T64" fmla="*/ 1 w 60"/>
                <a:gd name="T65" fmla="*/ 84 h 152"/>
                <a:gd name="T66" fmla="*/ 4 w 60"/>
                <a:gd name="T67" fmla="*/ 90 h 152"/>
                <a:gd name="T68" fmla="*/ 4 w 60"/>
                <a:gd name="T69" fmla="*/ 90 h 152"/>
                <a:gd name="T70" fmla="*/ 7 w 60"/>
                <a:gd name="T71" fmla="*/ 89 h 152"/>
                <a:gd name="T72" fmla="*/ 6 w 60"/>
                <a:gd name="T73" fmla="*/ 80 h 152"/>
                <a:gd name="T74" fmla="*/ 7 w 60"/>
                <a:gd name="T75" fmla="*/ 74 h 152"/>
                <a:gd name="T76" fmla="*/ 10 w 60"/>
                <a:gd name="T77" fmla="*/ 80 h 152"/>
                <a:gd name="T78" fmla="*/ 16 w 60"/>
                <a:gd name="T79" fmla="*/ 93 h 152"/>
                <a:gd name="T80" fmla="*/ 24 w 60"/>
                <a:gd name="T81" fmla="*/ 103 h 152"/>
                <a:gd name="T82" fmla="*/ 26 w 60"/>
                <a:gd name="T83" fmla="*/ 115 h 152"/>
                <a:gd name="T84" fmla="*/ 23 w 60"/>
                <a:gd name="T85" fmla="*/ 117 h 152"/>
                <a:gd name="T86" fmla="*/ 20 w 60"/>
                <a:gd name="T87" fmla="*/ 115 h 152"/>
                <a:gd name="T88" fmla="*/ 20 w 60"/>
                <a:gd name="T89" fmla="*/ 115 h 152"/>
                <a:gd name="T90" fmla="*/ 17 w 60"/>
                <a:gd name="T91" fmla="*/ 115 h 152"/>
                <a:gd name="T92" fmla="*/ 17 w 60"/>
                <a:gd name="T93" fmla="*/ 119 h 152"/>
                <a:gd name="T94" fmla="*/ 13 w 60"/>
                <a:gd name="T95" fmla="*/ 123 h 152"/>
                <a:gd name="T96" fmla="*/ 17 w 60"/>
                <a:gd name="T97" fmla="*/ 135 h 152"/>
                <a:gd name="T98" fmla="*/ 21 w 60"/>
                <a:gd name="T99" fmla="*/ 139 h 152"/>
                <a:gd name="T100" fmla="*/ 21 w 60"/>
                <a:gd name="T101" fmla="*/ 139 h 152"/>
                <a:gd name="T102" fmla="*/ 26 w 60"/>
                <a:gd name="T103" fmla="*/ 140 h 152"/>
                <a:gd name="T104" fmla="*/ 30 w 60"/>
                <a:gd name="T105" fmla="*/ 140 h 152"/>
                <a:gd name="T106" fmla="*/ 36 w 60"/>
                <a:gd name="T107" fmla="*/ 142 h 152"/>
                <a:gd name="T108" fmla="*/ 37 w 60"/>
                <a:gd name="T109" fmla="*/ 150 h 152"/>
                <a:gd name="T110" fmla="*/ 37 w 60"/>
                <a:gd name="T111" fmla="*/ 15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0" h="152">
                  <a:moveTo>
                    <a:pt x="60" y="6"/>
                  </a:moveTo>
                  <a:lnTo>
                    <a:pt x="60" y="6"/>
                  </a:lnTo>
                  <a:lnTo>
                    <a:pt x="57" y="4"/>
                  </a:lnTo>
                  <a:lnTo>
                    <a:pt x="54" y="4"/>
                  </a:lnTo>
                  <a:lnTo>
                    <a:pt x="53" y="6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4" y="1"/>
                  </a:lnTo>
                  <a:lnTo>
                    <a:pt x="43" y="0"/>
                  </a:lnTo>
                  <a:lnTo>
                    <a:pt x="40" y="1"/>
                  </a:lnTo>
                  <a:lnTo>
                    <a:pt x="37" y="6"/>
                  </a:lnTo>
                  <a:lnTo>
                    <a:pt x="36" y="7"/>
                  </a:lnTo>
                  <a:lnTo>
                    <a:pt x="33" y="7"/>
                  </a:lnTo>
                  <a:lnTo>
                    <a:pt x="30" y="7"/>
                  </a:lnTo>
                  <a:lnTo>
                    <a:pt x="27" y="9"/>
                  </a:lnTo>
                  <a:lnTo>
                    <a:pt x="26" y="9"/>
                  </a:lnTo>
                  <a:lnTo>
                    <a:pt x="24" y="7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20" y="6"/>
                  </a:lnTo>
                  <a:lnTo>
                    <a:pt x="19" y="10"/>
                  </a:lnTo>
                  <a:lnTo>
                    <a:pt x="20" y="14"/>
                  </a:lnTo>
                  <a:lnTo>
                    <a:pt x="23" y="23"/>
                  </a:lnTo>
                  <a:lnTo>
                    <a:pt x="24" y="29"/>
                  </a:lnTo>
                  <a:lnTo>
                    <a:pt x="24" y="31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1" y="33"/>
                  </a:lnTo>
                  <a:lnTo>
                    <a:pt x="19" y="29"/>
                  </a:lnTo>
                  <a:lnTo>
                    <a:pt x="16" y="17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9" y="11"/>
                  </a:lnTo>
                  <a:lnTo>
                    <a:pt x="7" y="11"/>
                  </a:lnTo>
                  <a:lnTo>
                    <a:pt x="7" y="13"/>
                  </a:lnTo>
                  <a:lnTo>
                    <a:pt x="7" y="16"/>
                  </a:lnTo>
                  <a:lnTo>
                    <a:pt x="6" y="19"/>
                  </a:lnTo>
                  <a:lnTo>
                    <a:pt x="4" y="21"/>
                  </a:lnTo>
                  <a:lnTo>
                    <a:pt x="4" y="24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9" y="29"/>
                  </a:lnTo>
                  <a:lnTo>
                    <a:pt x="10" y="29"/>
                  </a:lnTo>
                  <a:lnTo>
                    <a:pt x="10" y="30"/>
                  </a:lnTo>
                  <a:lnTo>
                    <a:pt x="10" y="31"/>
                  </a:lnTo>
                  <a:lnTo>
                    <a:pt x="9" y="33"/>
                  </a:lnTo>
                  <a:lnTo>
                    <a:pt x="4" y="34"/>
                  </a:lnTo>
                  <a:lnTo>
                    <a:pt x="3" y="36"/>
                  </a:lnTo>
                  <a:lnTo>
                    <a:pt x="1" y="41"/>
                  </a:lnTo>
                  <a:lnTo>
                    <a:pt x="0" y="54"/>
                  </a:lnTo>
                  <a:lnTo>
                    <a:pt x="1" y="64"/>
                  </a:lnTo>
                  <a:lnTo>
                    <a:pt x="1" y="73"/>
                  </a:lnTo>
                  <a:lnTo>
                    <a:pt x="1" y="79"/>
                  </a:lnTo>
                  <a:lnTo>
                    <a:pt x="1" y="84"/>
                  </a:lnTo>
                  <a:lnTo>
                    <a:pt x="3" y="87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6" y="90"/>
                  </a:lnTo>
                  <a:lnTo>
                    <a:pt x="7" y="89"/>
                  </a:lnTo>
                  <a:lnTo>
                    <a:pt x="7" y="86"/>
                  </a:lnTo>
                  <a:lnTo>
                    <a:pt x="6" y="80"/>
                  </a:lnTo>
                  <a:lnTo>
                    <a:pt x="6" y="76"/>
                  </a:lnTo>
                  <a:lnTo>
                    <a:pt x="7" y="74"/>
                  </a:lnTo>
                  <a:lnTo>
                    <a:pt x="9" y="74"/>
                  </a:lnTo>
                  <a:lnTo>
                    <a:pt x="10" y="80"/>
                  </a:lnTo>
                  <a:lnTo>
                    <a:pt x="11" y="87"/>
                  </a:lnTo>
                  <a:lnTo>
                    <a:pt x="16" y="93"/>
                  </a:lnTo>
                  <a:lnTo>
                    <a:pt x="21" y="97"/>
                  </a:lnTo>
                  <a:lnTo>
                    <a:pt x="24" y="103"/>
                  </a:lnTo>
                  <a:lnTo>
                    <a:pt x="26" y="110"/>
                  </a:lnTo>
                  <a:lnTo>
                    <a:pt x="26" y="115"/>
                  </a:lnTo>
                  <a:lnTo>
                    <a:pt x="24" y="116"/>
                  </a:lnTo>
                  <a:lnTo>
                    <a:pt x="23" y="117"/>
                  </a:lnTo>
                  <a:lnTo>
                    <a:pt x="21" y="117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19" y="113"/>
                  </a:lnTo>
                  <a:lnTo>
                    <a:pt x="17" y="115"/>
                  </a:lnTo>
                  <a:lnTo>
                    <a:pt x="17" y="117"/>
                  </a:lnTo>
                  <a:lnTo>
                    <a:pt x="17" y="119"/>
                  </a:lnTo>
                  <a:lnTo>
                    <a:pt x="16" y="122"/>
                  </a:lnTo>
                  <a:lnTo>
                    <a:pt x="13" y="123"/>
                  </a:lnTo>
                  <a:lnTo>
                    <a:pt x="11" y="123"/>
                  </a:lnTo>
                  <a:lnTo>
                    <a:pt x="17" y="135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6" y="140"/>
                  </a:lnTo>
                  <a:lnTo>
                    <a:pt x="29" y="140"/>
                  </a:lnTo>
                  <a:lnTo>
                    <a:pt x="30" y="140"/>
                  </a:lnTo>
                  <a:lnTo>
                    <a:pt x="33" y="140"/>
                  </a:lnTo>
                  <a:lnTo>
                    <a:pt x="36" y="142"/>
                  </a:lnTo>
                  <a:lnTo>
                    <a:pt x="36" y="146"/>
                  </a:lnTo>
                  <a:lnTo>
                    <a:pt x="37" y="150"/>
                  </a:lnTo>
                  <a:lnTo>
                    <a:pt x="37" y="150"/>
                  </a:lnTo>
                  <a:lnTo>
                    <a:pt x="37" y="150"/>
                  </a:lnTo>
                  <a:lnTo>
                    <a:pt x="39" y="152"/>
                  </a:lnTo>
                </a:path>
              </a:pathLst>
            </a:custGeom>
            <a:noFill/>
            <a:ln w="4763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88" name="Freeform 437"/>
            <p:cNvSpPr>
              <a:spLocks/>
            </p:cNvSpPr>
            <p:nvPr/>
          </p:nvSpPr>
          <p:spPr bwMode="auto">
            <a:xfrm>
              <a:off x="4281360" y="3005117"/>
              <a:ext cx="1221" cy="3969"/>
            </a:xfrm>
            <a:custGeom>
              <a:avLst/>
              <a:gdLst>
                <a:gd name="T0" fmla="*/ 2 w 3"/>
                <a:gd name="T1" fmla="*/ 4 h 4"/>
                <a:gd name="T2" fmla="*/ 2 w 3"/>
                <a:gd name="T3" fmla="*/ 4 h 4"/>
                <a:gd name="T4" fmla="*/ 3 w 3"/>
                <a:gd name="T5" fmla="*/ 4 h 4"/>
                <a:gd name="T6" fmla="*/ 3 w 3"/>
                <a:gd name="T7" fmla="*/ 4 h 4"/>
                <a:gd name="T8" fmla="*/ 3 w 3"/>
                <a:gd name="T9" fmla="*/ 3 h 4"/>
                <a:gd name="T10" fmla="*/ 3 w 3"/>
                <a:gd name="T11" fmla="*/ 1 h 4"/>
                <a:gd name="T12" fmla="*/ 2 w 3"/>
                <a:gd name="T13" fmla="*/ 0 h 4"/>
                <a:gd name="T14" fmla="*/ 0 w 3"/>
                <a:gd name="T15" fmla="*/ 0 h 4"/>
                <a:gd name="T16" fmla="*/ 0 w 3"/>
                <a:gd name="T17" fmla="*/ 1 h 4"/>
                <a:gd name="T18" fmla="*/ 0 w 3"/>
                <a:gd name="T19" fmla="*/ 3 h 4"/>
                <a:gd name="T20" fmla="*/ 2 w 3"/>
                <a:gd name="T2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" h="4">
                  <a:moveTo>
                    <a:pt x="2" y="4"/>
                  </a:move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89" name="Freeform 438"/>
            <p:cNvSpPr>
              <a:spLocks/>
            </p:cNvSpPr>
            <p:nvPr/>
          </p:nvSpPr>
          <p:spPr bwMode="auto">
            <a:xfrm>
              <a:off x="4270369" y="3010409"/>
              <a:ext cx="43961" cy="101864"/>
            </a:xfrm>
            <a:custGeom>
              <a:avLst/>
              <a:gdLst>
                <a:gd name="T0" fmla="*/ 67 w 72"/>
                <a:gd name="T1" fmla="*/ 92 h 153"/>
                <a:gd name="T2" fmla="*/ 66 w 72"/>
                <a:gd name="T3" fmla="*/ 86 h 153"/>
                <a:gd name="T4" fmla="*/ 63 w 72"/>
                <a:gd name="T5" fmla="*/ 74 h 153"/>
                <a:gd name="T6" fmla="*/ 60 w 72"/>
                <a:gd name="T7" fmla="*/ 56 h 153"/>
                <a:gd name="T8" fmla="*/ 62 w 72"/>
                <a:gd name="T9" fmla="*/ 11 h 153"/>
                <a:gd name="T10" fmla="*/ 60 w 72"/>
                <a:gd name="T11" fmla="*/ 6 h 153"/>
                <a:gd name="T12" fmla="*/ 54 w 72"/>
                <a:gd name="T13" fmla="*/ 4 h 153"/>
                <a:gd name="T14" fmla="*/ 47 w 72"/>
                <a:gd name="T15" fmla="*/ 1 h 153"/>
                <a:gd name="T16" fmla="*/ 44 w 72"/>
                <a:gd name="T17" fmla="*/ 0 h 153"/>
                <a:gd name="T18" fmla="*/ 37 w 72"/>
                <a:gd name="T19" fmla="*/ 6 h 153"/>
                <a:gd name="T20" fmla="*/ 30 w 72"/>
                <a:gd name="T21" fmla="*/ 7 h 153"/>
                <a:gd name="T22" fmla="*/ 24 w 72"/>
                <a:gd name="T23" fmla="*/ 7 h 153"/>
                <a:gd name="T24" fmla="*/ 24 w 72"/>
                <a:gd name="T25" fmla="*/ 4 h 153"/>
                <a:gd name="T26" fmla="*/ 20 w 72"/>
                <a:gd name="T27" fmla="*/ 6 h 153"/>
                <a:gd name="T28" fmla="*/ 23 w 72"/>
                <a:gd name="T29" fmla="*/ 23 h 153"/>
                <a:gd name="T30" fmla="*/ 24 w 72"/>
                <a:gd name="T31" fmla="*/ 33 h 153"/>
                <a:gd name="T32" fmla="*/ 19 w 72"/>
                <a:gd name="T33" fmla="*/ 29 h 153"/>
                <a:gd name="T34" fmla="*/ 14 w 72"/>
                <a:gd name="T35" fmla="*/ 14 h 153"/>
                <a:gd name="T36" fmla="*/ 11 w 72"/>
                <a:gd name="T37" fmla="*/ 11 h 153"/>
                <a:gd name="T38" fmla="*/ 7 w 72"/>
                <a:gd name="T39" fmla="*/ 13 h 153"/>
                <a:gd name="T40" fmla="*/ 4 w 72"/>
                <a:gd name="T41" fmla="*/ 21 h 153"/>
                <a:gd name="T42" fmla="*/ 4 w 72"/>
                <a:gd name="T43" fmla="*/ 27 h 153"/>
                <a:gd name="T44" fmla="*/ 7 w 72"/>
                <a:gd name="T45" fmla="*/ 29 h 153"/>
                <a:gd name="T46" fmla="*/ 10 w 72"/>
                <a:gd name="T47" fmla="*/ 30 h 153"/>
                <a:gd name="T48" fmla="*/ 4 w 72"/>
                <a:gd name="T49" fmla="*/ 34 h 153"/>
                <a:gd name="T50" fmla="*/ 0 w 72"/>
                <a:gd name="T51" fmla="*/ 54 h 153"/>
                <a:gd name="T52" fmla="*/ 1 w 72"/>
                <a:gd name="T53" fmla="*/ 77 h 153"/>
                <a:gd name="T54" fmla="*/ 4 w 72"/>
                <a:gd name="T55" fmla="*/ 90 h 153"/>
                <a:gd name="T56" fmla="*/ 6 w 72"/>
                <a:gd name="T57" fmla="*/ 89 h 153"/>
                <a:gd name="T58" fmla="*/ 6 w 72"/>
                <a:gd name="T59" fmla="*/ 80 h 153"/>
                <a:gd name="T60" fmla="*/ 9 w 72"/>
                <a:gd name="T61" fmla="*/ 74 h 153"/>
                <a:gd name="T62" fmla="*/ 16 w 72"/>
                <a:gd name="T63" fmla="*/ 92 h 153"/>
                <a:gd name="T64" fmla="*/ 26 w 72"/>
                <a:gd name="T65" fmla="*/ 110 h 153"/>
                <a:gd name="T66" fmla="*/ 23 w 72"/>
                <a:gd name="T67" fmla="*/ 117 h 153"/>
                <a:gd name="T68" fmla="*/ 20 w 72"/>
                <a:gd name="T69" fmla="*/ 115 h 153"/>
                <a:gd name="T70" fmla="*/ 17 w 72"/>
                <a:gd name="T71" fmla="*/ 117 h 153"/>
                <a:gd name="T72" fmla="*/ 13 w 72"/>
                <a:gd name="T73" fmla="*/ 123 h 153"/>
                <a:gd name="T74" fmla="*/ 21 w 72"/>
                <a:gd name="T75" fmla="*/ 139 h 153"/>
                <a:gd name="T76" fmla="*/ 26 w 72"/>
                <a:gd name="T77" fmla="*/ 140 h 153"/>
                <a:gd name="T78" fmla="*/ 33 w 72"/>
                <a:gd name="T79" fmla="*/ 140 h 153"/>
                <a:gd name="T80" fmla="*/ 37 w 72"/>
                <a:gd name="T81" fmla="*/ 150 h 153"/>
                <a:gd name="T82" fmla="*/ 39 w 72"/>
                <a:gd name="T83" fmla="*/ 152 h 153"/>
                <a:gd name="T84" fmla="*/ 47 w 72"/>
                <a:gd name="T85" fmla="*/ 150 h 153"/>
                <a:gd name="T86" fmla="*/ 50 w 72"/>
                <a:gd name="T87" fmla="*/ 147 h 153"/>
                <a:gd name="T88" fmla="*/ 53 w 72"/>
                <a:gd name="T89" fmla="*/ 153 h 153"/>
                <a:gd name="T90" fmla="*/ 56 w 72"/>
                <a:gd name="T91" fmla="*/ 153 h 153"/>
                <a:gd name="T92" fmla="*/ 59 w 72"/>
                <a:gd name="T93" fmla="*/ 146 h 153"/>
                <a:gd name="T94" fmla="*/ 67 w 72"/>
                <a:gd name="T95" fmla="*/ 139 h 153"/>
                <a:gd name="T96" fmla="*/ 72 w 72"/>
                <a:gd name="T97" fmla="*/ 127 h 153"/>
                <a:gd name="T98" fmla="*/ 69 w 72"/>
                <a:gd name="T99" fmla="*/ 107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2" h="153">
                  <a:moveTo>
                    <a:pt x="69" y="107"/>
                  </a:moveTo>
                  <a:lnTo>
                    <a:pt x="67" y="100"/>
                  </a:lnTo>
                  <a:lnTo>
                    <a:pt x="67" y="92"/>
                  </a:lnTo>
                  <a:lnTo>
                    <a:pt x="69" y="87"/>
                  </a:lnTo>
                  <a:lnTo>
                    <a:pt x="69" y="87"/>
                  </a:lnTo>
                  <a:lnTo>
                    <a:pt x="66" y="86"/>
                  </a:lnTo>
                  <a:lnTo>
                    <a:pt x="64" y="83"/>
                  </a:lnTo>
                  <a:lnTo>
                    <a:pt x="63" y="79"/>
                  </a:lnTo>
                  <a:lnTo>
                    <a:pt x="63" y="74"/>
                  </a:lnTo>
                  <a:lnTo>
                    <a:pt x="63" y="67"/>
                  </a:lnTo>
                  <a:lnTo>
                    <a:pt x="62" y="62"/>
                  </a:lnTo>
                  <a:lnTo>
                    <a:pt x="60" y="56"/>
                  </a:lnTo>
                  <a:lnTo>
                    <a:pt x="60" y="51"/>
                  </a:lnTo>
                  <a:lnTo>
                    <a:pt x="62" y="37"/>
                  </a:lnTo>
                  <a:lnTo>
                    <a:pt x="62" y="11"/>
                  </a:lnTo>
                  <a:lnTo>
                    <a:pt x="60" y="7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57" y="4"/>
                  </a:lnTo>
                  <a:lnTo>
                    <a:pt x="54" y="4"/>
                  </a:lnTo>
                  <a:lnTo>
                    <a:pt x="53" y="6"/>
                  </a:lnTo>
                  <a:lnTo>
                    <a:pt x="49" y="4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4" y="0"/>
                  </a:lnTo>
                  <a:lnTo>
                    <a:pt x="43" y="0"/>
                  </a:lnTo>
                  <a:lnTo>
                    <a:pt x="40" y="1"/>
                  </a:lnTo>
                  <a:lnTo>
                    <a:pt x="37" y="6"/>
                  </a:lnTo>
                  <a:lnTo>
                    <a:pt x="36" y="6"/>
                  </a:lnTo>
                  <a:lnTo>
                    <a:pt x="33" y="7"/>
                  </a:lnTo>
                  <a:lnTo>
                    <a:pt x="30" y="7"/>
                  </a:lnTo>
                  <a:lnTo>
                    <a:pt x="27" y="9"/>
                  </a:lnTo>
                  <a:lnTo>
                    <a:pt x="26" y="9"/>
                  </a:lnTo>
                  <a:lnTo>
                    <a:pt x="24" y="7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20" y="6"/>
                  </a:lnTo>
                  <a:lnTo>
                    <a:pt x="19" y="10"/>
                  </a:lnTo>
                  <a:lnTo>
                    <a:pt x="20" y="14"/>
                  </a:lnTo>
                  <a:lnTo>
                    <a:pt x="23" y="23"/>
                  </a:lnTo>
                  <a:lnTo>
                    <a:pt x="24" y="29"/>
                  </a:lnTo>
                  <a:lnTo>
                    <a:pt x="24" y="30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0" y="33"/>
                  </a:lnTo>
                  <a:lnTo>
                    <a:pt x="19" y="29"/>
                  </a:lnTo>
                  <a:lnTo>
                    <a:pt x="16" y="17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9" y="11"/>
                  </a:lnTo>
                  <a:lnTo>
                    <a:pt x="7" y="11"/>
                  </a:lnTo>
                  <a:lnTo>
                    <a:pt x="7" y="13"/>
                  </a:lnTo>
                  <a:lnTo>
                    <a:pt x="7" y="16"/>
                  </a:lnTo>
                  <a:lnTo>
                    <a:pt x="6" y="17"/>
                  </a:lnTo>
                  <a:lnTo>
                    <a:pt x="4" y="21"/>
                  </a:lnTo>
                  <a:lnTo>
                    <a:pt x="4" y="24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9" y="29"/>
                  </a:lnTo>
                  <a:lnTo>
                    <a:pt x="10" y="29"/>
                  </a:lnTo>
                  <a:lnTo>
                    <a:pt x="10" y="30"/>
                  </a:lnTo>
                  <a:lnTo>
                    <a:pt x="10" y="31"/>
                  </a:lnTo>
                  <a:lnTo>
                    <a:pt x="9" y="33"/>
                  </a:lnTo>
                  <a:lnTo>
                    <a:pt x="4" y="34"/>
                  </a:lnTo>
                  <a:lnTo>
                    <a:pt x="3" y="36"/>
                  </a:lnTo>
                  <a:lnTo>
                    <a:pt x="1" y="41"/>
                  </a:lnTo>
                  <a:lnTo>
                    <a:pt x="0" y="54"/>
                  </a:lnTo>
                  <a:lnTo>
                    <a:pt x="1" y="64"/>
                  </a:lnTo>
                  <a:lnTo>
                    <a:pt x="1" y="73"/>
                  </a:lnTo>
                  <a:lnTo>
                    <a:pt x="1" y="77"/>
                  </a:lnTo>
                  <a:lnTo>
                    <a:pt x="1" y="84"/>
                  </a:lnTo>
                  <a:lnTo>
                    <a:pt x="3" y="87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6" y="89"/>
                  </a:lnTo>
                  <a:lnTo>
                    <a:pt x="7" y="89"/>
                  </a:lnTo>
                  <a:lnTo>
                    <a:pt x="7" y="86"/>
                  </a:lnTo>
                  <a:lnTo>
                    <a:pt x="6" y="80"/>
                  </a:lnTo>
                  <a:lnTo>
                    <a:pt x="6" y="74"/>
                  </a:lnTo>
                  <a:lnTo>
                    <a:pt x="7" y="74"/>
                  </a:lnTo>
                  <a:lnTo>
                    <a:pt x="9" y="74"/>
                  </a:lnTo>
                  <a:lnTo>
                    <a:pt x="10" y="80"/>
                  </a:lnTo>
                  <a:lnTo>
                    <a:pt x="11" y="87"/>
                  </a:lnTo>
                  <a:lnTo>
                    <a:pt x="16" y="92"/>
                  </a:lnTo>
                  <a:lnTo>
                    <a:pt x="21" y="97"/>
                  </a:lnTo>
                  <a:lnTo>
                    <a:pt x="24" y="103"/>
                  </a:lnTo>
                  <a:lnTo>
                    <a:pt x="26" y="110"/>
                  </a:lnTo>
                  <a:lnTo>
                    <a:pt x="24" y="115"/>
                  </a:lnTo>
                  <a:lnTo>
                    <a:pt x="24" y="116"/>
                  </a:lnTo>
                  <a:lnTo>
                    <a:pt x="23" y="117"/>
                  </a:lnTo>
                  <a:lnTo>
                    <a:pt x="21" y="117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19" y="113"/>
                  </a:lnTo>
                  <a:lnTo>
                    <a:pt x="17" y="115"/>
                  </a:lnTo>
                  <a:lnTo>
                    <a:pt x="17" y="117"/>
                  </a:lnTo>
                  <a:lnTo>
                    <a:pt x="17" y="119"/>
                  </a:lnTo>
                  <a:lnTo>
                    <a:pt x="16" y="122"/>
                  </a:lnTo>
                  <a:lnTo>
                    <a:pt x="13" y="123"/>
                  </a:lnTo>
                  <a:lnTo>
                    <a:pt x="11" y="123"/>
                  </a:lnTo>
                  <a:lnTo>
                    <a:pt x="17" y="135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6" y="140"/>
                  </a:lnTo>
                  <a:lnTo>
                    <a:pt x="29" y="140"/>
                  </a:lnTo>
                  <a:lnTo>
                    <a:pt x="30" y="140"/>
                  </a:lnTo>
                  <a:lnTo>
                    <a:pt x="33" y="140"/>
                  </a:lnTo>
                  <a:lnTo>
                    <a:pt x="36" y="142"/>
                  </a:lnTo>
                  <a:lnTo>
                    <a:pt x="36" y="146"/>
                  </a:lnTo>
                  <a:lnTo>
                    <a:pt x="37" y="150"/>
                  </a:lnTo>
                  <a:lnTo>
                    <a:pt x="37" y="150"/>
                  </a:lnTo>
                  <a:lnTo>
                    <a:pt x="37" y="150"/>
                  </a:lnTo>
                  <a:lnTo>
                    <a:pt x="39" y="152"/>
                  </a:lnTo>
                  <a:lnTo>
                    <a:pt x="43" y="152"/>
                  </a:lnTo>
                  <a:lnTo>
                    <a:pt x="46" y="150"/>
                  </a:lnTo>
                  <a:lnTo>
                    <a:pt x="47" y="150"/>
                  </a:lnTo>
                  <a:lnTo>
                    <a:pt x="49" y="150"/>
                  </a:lnTo>
                  <a:lnTo>
                    <a:pt x="49" y="149"/>
                  </a:lnTo>
                  <a:lnTo>
                    <a:pt x="50" y="147"/>
                  </a:lnTo>
                  <a:lnTo>
                    <a:pt x="52" y="147"/>
                  </a:lnTo>
                  <a:lnTo>
                    <a:pt x="53" y="152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3" y="153"/>
                  </a:lnTo>
                  <a:lnTo>
                    <a:pt x="56" y="153"/>
                  </a:lnTo>
                  <a:lnTo>
                    <a:pt x="56" y="150"/>
                  </a:lnTo>
                  <a:lnTo>
                    <a:pt x="57" y="147"/>
                  </a:lnTo>
                  <a:lnTo>
                    <a:pt x="59" y="146"/>
                  </a:lnTo>
                  <a:lnTo>
                    <a:pt x="64" y="145"/>
                  </a:lnTo>
                  <a:lnTo>
                    <a:pt x="66" y="143"/>
                  </a:lnTo>
                  <a:lnTo>
                    <a:pt x="67" y="139"/>
                  </a:lnTo>
                  <a:lnTo>
                    <a:pt x="67" y="132"/>
                  </a:lnTo>
                  <a:lnTo>
                    <a:pt x="69" y="129"/>
                  </a:lnTo>
                  <a:lnTo>
                    <a:pt x="72" y="127"/>
                  </a:lnTo>
                  <a:lnTo>
                    <a:pt x="72" y="123"/>
                  </a:lnTo>
                  <a:lnTo>
                    <a:pt x="70" y="116"/>
                  </a:lnTo>
                  <a:lnTo>
                    <a:pt x="69" y="10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90" name="Freeform 439"/>
            <p:cNvSpPr>
              <a:spLocks/>
            </p:cNvSpPr>
            <p:nvPr/>
          </p:nvSpPr>
          <p:spPr bwMode="auto">
            <a:xfrm>
              <a:off x="4293571" y="3005117"/>
              <a:ext cx="4885" cy="2646"/>
            </a:xfrm>
            <a:custGeom>
              <a:avLst/>
              <a:gdLst>
                <a:gd name="T0" fmla="*/ 0 w 7"/>
                <a:gd name="T1" fmla="*/ 3 h 3"/>
                <a:gd name="T2" fmla="*/ 1 w 7"/>
                <a:gd name="T3" fmla="*/ 3 h 3"/>
                <a:gd name="T4" fmla="*/ 4 w 7"/>
                <a:gd name="T5" fmla="*/ 3 h 3"/>
                <a:gd name="T6" fmla="*/ 5 w 7"/>
                <a:gd name="T7" fmla="*/ 3 h 3"/>
                <a:gd name="T8" fmla="*/ 5 w 7"/>
                <a:gd name="T9" fmla="*/ 3 h 3"/>
                <a:gd name="T10" fmla="*/ 7 w 7"/>
                <a:gd name="T11" fmla="*/ 1 h 3"/>
                <a:gd name="T12" fmla="*/ 4 w 7"/>
                <a:gd name="T13" fmla="*/ 0 h 3"/>
                <a:gd name="T14" fmla="*/ 1 w 7"/>
                <a:gd name="T15" fmla="*/ 0 h 3"/>
                <a:gd name="T16" fmla="*/ 0 w 7"/>
                <a:gd name="T17" fmla="*/ 0 h 3"/>
                <a:gd name="T18" fmla="*/ 0 w 7"/>
                <a:gd name="T19" fmla="*/ 1 h 3"/>
                <a:gd name="T20" fmla="*/ 0 w 7"/>
                <a:gd name="T21" fmla="*/ 1 h 3"/>
                <a:gd name="T22" fmla="*/ 0 w 7"/>
                <a:gd name="T2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3">
                  <a:moveTo>
                    <a:pt x="0" y="3"/>
                  </a:moveTo>
                  <a:lnTo>
                    <a:pt x="1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7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91" name="Freeform 440"/>
            <p:cNvSpPr>
              <a:spLocks/>
            </p:cNvSpPr>
            <p:nvPr/>
          </p:nvSpPr>
          <p:spPr bwMode="auto">
            <a:xfrm>
              <a:off x="4272812" y="3010409"/>
              <a:ext cx="2442" cy="1323"/>
            </a:xfrm>
            <a:custGeom>
              <a:avLst/>
              <a:gdLst>
                <a:gd name="T0" fmla="*/ 2 w 5"/>
                <a:gd name="T1" fmla="*/ 3 h 3"/>
                <a:gd name="T2" fmla="*/ 3 w 5"/>
                <a:gd name="T3" fmla="*/ 3 h 3"/>
                <a:gd name="T4" fmla="*/ 5 w 5"/>
                <a:gd name="T5" fmla="*/ 3 h 3"/>
                <a:gd name="T6" fmla="*/ 5 w 5"/>
                <a:gd name="T7" fmla="*/ 1 h 3"/>
                <a:gd name="T8" fmla="*/ 5 w 5"/>
                <a:gd name="T9" fmla="*/ 0 h 3"/>
                <a:gd name="T10" fmla="*/ 2 w 5"/>
                <a:gd name="T11" fmla="*/ 0 h 3"/>
                <a:gd name="T12" fmla="*/ 0 w 5"/>
                <a:gd name="T13" fmla="*/ 1 h 3"/>
                <a:gd name="T14" fmla="*/ 2 w 5"/>
                <a:gd name="T15" fmla="*/ 1 h 3"/>
                <a:gd name="T16" fmla="*/ 2 w 5"/>
                <a:gd name="T1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">
                  <a:moveTo>
                    <a:pt x="2" y="3"/>
                  </a:moveTo>
                  <a:lnTo>
                    <a:pt x="3" y="3"/>
                  </a:lnTo>
                  <a:lnTo>
                    <a:pt x="5" y="3"/>
                  </a:lnTo>
                  <a:lnTo>
                    <a:pt x="5" y="1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2" y="1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92" name="Freeform 441"/>
            <p:cNvSpPr>
              <a:spLocks/>
            </p:cNvSpPr>
            <p:nvPr/>
          </p:nvSpPr>
          <p:spPr bwMode="auto">
            <a:xfrm>
              <a:off x="8740971" y="3223396"/>
              <a:ext cx="79374" cy="29104"/>
            </a:xfrm>
            <a:custGeom>
              <a:avLst/>
              <a:gdLst>
                <a:gd name="T0" fmla="*/ 22 w 131"/>
                <a:gd name="T1" fmla="*/ 4 h 45"/>
                <a:gd name="T2" fmla="*/ 13 w 131"/>
                <a:gd name="T3" fmla="*/ 10 h 45"/>
                <a:gd name="T4" fmla="*/ 3 w 131"/>
                <a:gd name="T5" fmla="*/ 27 h 45"/>
                <a:gd name="T6" fmla="*/ 2 w 131"/>
                <a:gd name="T7" fmla="*/ 39 h 45"/>
                <a:gd name="T8" fmla="*/ 0 w 131"/>
                <a:gd name="T9" fmla="*/ 45 h 45"/>
                <a:gd name="T10" fmla="*/ 2 w 131"/>
                <a:gd name="T11" fmla="*/ 45 h 45"/>
                <a:gd name="T12" fmla="*/ 3 w 131"/>
                <a:gd name="T13" fmla="*/ 43 h 45"/>
                <a:gd name="T14" fmla="*/ 12 w 131"/>
                <a:gd name="T15" fmla="*/ 39 h 45"/>
                <a:gd name="T16" fmla="*/ 19 w 131"/>
                <a:gd name="T17" fmla="*/ 35 h 45"/>
                <a:gd name="T18" fmla="*/ 29 w 131"/>
                <a:gd name="T19" fmla="*/ 35 h 45"/>
                <a:gd name="T20" fmla="*/ 33 w 131"/>
                <a:gd name="T21" fmla="*/ 35 h 45"/>
                <a:gd name="T22" fmla="*/ 38 w 131"/>
                <a:gd name="T23" fmla="*/ 33 h 45"/>
                <a:gd name="T24" fmla="*/ 45 w 131"/>
                <a:gd name="T25" fmla="*/ 37 h 45"/>
                <a:gd name="T26" fmla="*/ 55 w 131"/>
                <a:gd name="T27" fmla="*/ 39 h 45"/>
                <a:gd name="T28" fmla="*/ 55 w 131"/>
                <a:gd name="T29" fmla="*/ 39 h 45"/>
                <a:gd name="T30" fmla="*/ 62 w 131"/>
                <a:gd name="T31" fmla="*/ 39 h 45"/>
                <a:gd name="T32" fmla="*/ 73 w 131"/>
                <a:gd name="T33" fmla="*/ 39 h 45"/>
                <a:gd name="T34" fmla="*/ 76 w 131"/>
                <a:gd name="T35" fmla="*/ 39 h 45"/>
                <a:gd name="T36" fmla="*/ 81 w 131"/>
                <a:gd name="T37" fmla="*/ 36 h 45"/>
                <a:gd name="T38" fmla="*/ 86 w 131"/>
                <a:gd name="T39" fmla="*/ 37 h 45"/>
                <a:gd name="T40" fmla="*/ 91 w 131"/>
                <a:gd name="T41" fmla="*/ 37 h 45"/>
                <a:gd name="T42" fmla="*/ 96 w 131"/>
                <a:gd name="T43" fmla="*/ 37 h 45"/>
                <a:gd name="T44" fmla="*/ 102 w 131"/>
                <a:gd name="T45" fmla="*/ 32 h 45"/>
                <a:gd name="T46" fmla="*/ 111 w 131"/>
                <a:gd name="T47" fmla="*/ 27 h 45"/>
                <a:gd name="T48" fmla="*/ 122 w 131"/>
                <a:gd name="T49" fmla="*/ 27 h 45"/>
                <a:gd name="T50" fmla="*/ 122 w 131"/>
                <a:gd name="T51" fmla="*/ 27 h 45"/>
                <a:gd name="T52" fmla="*/ 126 w 131"/>
                <a:gd name="T53" fmla="*/ 26 h 45"/>
                <a:gd name="T54" fmla="*/ 129 w 131"/>
                <a:gd name="T55" fmla="*/ 26 h 45"/>
                <a:gd name="T56" fmla="*/ 131 w 131"/>
                <a:gd name="T57" fmla="*/ 23 h 45"/>
                <a:gd name="T58" fmla="*/ 121 w 131"/>
                <a:gd name="T59" fmla="*/ 16 h 45"/>
                <a:gd name="T60" fmla="*/ 106 w 131"/>
                <a:gd name="T61" fmla="*/ 12 h 45"/>
                <a:gd name="T62" fmla="*/ 101 w 131"/>
                <a:gd name="T63" fmla="*/ 12 h 45"/>
                <a:gd name="T64" fmla="*/ 99 w 131"/>
                <a:gd name="T65" fmla="*/ 12 h 45"/>
                <a:gd name="T66" fmla="*/ 93 w 131"/>
                <a:gd name="T67" fmla="*/ 13 h 45"/>
                <a:gd name="T68" fmla="*/ 85 w 131"/>
                <a:gd name="T69" fmla="*/ 15 h 45"/>
                <a:gd name="T70" fmla="*/ 76 w 131"/>
                <a:gd name="T71" fmla="*/ 16 h 45"/>
                <a:gd name="T72" fmla="*/ 63 w 131"/>
                <a:gd name="T73" fmla="*/ 15 h 45"/>
                <a:gd name="T74" fmla="*/ 60 w 131"/>
                <a:gd name="T75" fmla="*/ 15 h 45"/>
                <a:gd name="T76" fmla="*/ 55 w 131"/>
                <a:gd name="T77" fmla="*/ 15 h 45"/>
                <a:gd name="T78" fmla="*/ 53 w 131"/>
                <a:gd name="T79" fmla="*/ 15 h 45"/>
                <a:gd name="T80" fmla="*/ 39 w 131"/>
                <a:gd name="T81" fmla="*/ 15 h 45"/>
                <a:gd name="T82" fmla="*/ 32 w 131"/>
                <a:gd name="T83" fmla="*/ 7 h 45"/>
                <a:gd name="T84" fmla="*/ 25 w 131"/>
                <a:gd name="T85" fmla="*/ 0 h 45"/>
                <a:gd name="T86" fmla="*/ 25 w 131"/>
                <a:gd name="T87" fmla="*/ 0 h 45"/>
                <a:gd name="T88" fmla="*/ 22 w 131"/>
                <a:gd name="T8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31" h="45">
                  <a:moveTo>
                    <a:pt x="22" y="0"/>
                  </a:moveTo>
                  <a:lnTo>
                    <a:pt x="22" y="4"/>
                  </a:lnTo>
                  <a:lnTo>
                    <a:pt x="18" y="9"/>
                  </a:lnTo>
                  <a:lnTo>
                    <a:pt x="13" y="10"/>
                  </a:lnTo>
                  <a:lnTo>
                    <a:pt x="7" y="17"/>
                  </a:lnTo>
                  <a:lnTo>
                    <a:pt x="3" y="27"/>
                  </a:lnTo>
                  <a:lnTo>
                    <a:pt x="2" y="33"/>
                  </a:lnTo>
                  <a:lnTo>
                    <a:pt x="2" y="39"/>
                  </a:lnTo>
                  <a:lnTo>
                    <a:pt x="0" y="43"/>
                  </a:lnTo>
                  <a:lnTo>
                    <a:pt x="0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3" y="43"/>
                  </a:lnTo>
                  <a:lnTo>
                    <a:pt x="7" y="40"/>
                  </a:lnTo>
                  <a:lnTo>
                    <a:pt x="12" y="39"/>
                  </a:lnTo>
                  <a:lnTo>
                    <a:pt x="15" y="36"/>
                  </a:lnTo>
                  <a:lnTo>
                    <a:pt x="19" y="35"/>
                  </a:lnTo>
                  <a:lnTo>
                    <a:pt x="25" y="32"/>
                  </a:lnTo>
                  <a:lnTo>
                    <a:pt x="29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8" y="33"/>
                  </a:lnTo>
                  <a:lnTo>
                    <a:pt x="40" y="33"/>
                  </a:lnTo>
                  <a:lnTo>
                    <a:pt x="45" y="37"/>
                  </a:lnTo>
                  <a:lnTo>
                    <a:pt x="48" y="39"/>
                  </a:lnTo>
                  <a:lnTo>
                    <a:pt x="55" y="39"/>
                  </a:lnTo>
                  <a:lnTo>
                    <a:pt x="55" y="39"/>
                  </a:lnTo>
                  <a:lnTo>
                    <a:pt x="55" y="39"/>
                  </a:lnTo>
                  <a:lnTo>
                    <a:pt x="56" y="39"/>
                  </a:lnTo>
                  <a:lnTo>
                    <a:pt x="62" y="39"/>
                  </a:lnTo>
                  <a:lnTo>
                    <a:pt x="68" y="39"/>
                  </a:lnTo>
                  <a:lnTo>
                    <a:pt x="73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8" y="39"/>
                  </a:lnTo>
                  <a:lnTo>
                    <a:pt x="81" y="36"/>
                  </a:lnTo>
                  <a:lnTo>
                    <a:pt x="83" y="37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96" y="37"/>
                  </a:lnTo>
                  <a:lnTo>
                    <a:pt x="98" y="35"/>
                  </a:lnTo>
                  <a:lnTo>
                    <a:pt x="102" y="32"/>
                  </a:lnTo>
                  <a:lnTo>
                    <a:pt x="105" y="29"/>
                  </a:lnTo>
                  <a:lnTo>
                    <a:pt x="111" y="27"/>
                  </a:lnTo>
                  <a:lnTo>
                    <a:pt x="116" y="27"/>
                  </a:lnTo>
                  <a:lnTo>
                    <a:pt x="122" y="27"/>
                  </a:lnTo>
                  <a:lnTo>
                    <a:pt x="122" y="27"/>
                  </a:lnTo>
                  <a:lnTo>
                    <a:pt x="122" y="27"/>
                  </a:lnTo>
                  <a:lnTo>
                    <a:pt x="124" y="27"/>
                  </a:lnTo>
                  <a:lnTo>
                    <a:pt x="126" y="26"/>
                  </a:lnTo>
                  <a:lnTo>
                    <a:pt x="129" y="26"/>
                  </a:lnTo>
                  <a:lnTo>
                    <a:pt x="129" y="26"/>
                  </a:lnTo>
                  <a:lnTo>
                    <a:pt x="129" y="26"/>
                  </a:lnTo>
                  <a:lnTo>
                    <a:pt x="131" y="23"/>
                  </a:lnTo>
                  <a:lnTo>
                    <a:pt x="129" y="20"/>
                  </a:lnTo>
                  <a:lnTo>
                    <a:pt x="121" y="16"/>
                  </a:lnTo>
                  <a:lnTo>
                    <a:pt x="113" y="13"/>
                  </a:lnTo>
                  <a:lnTo>
                    <a:pt x="106" y="12"/>
                  </a:lnTo>
                  <a:lnTo>
                    <a:pt x="101" y="12"/>
                  </a:lnTo>
                  <a:lnTo>
                    <a:pt x="101" y="12"/>
                  </a:lnTo>
                  <a:lnTo>
                    <a:pt x="101" y="12"/>
                  </a:lnTo>
                  <a:lnTo>
                    <a:pt x="99" y="12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85" y="15"/>
                  </a:lnTo>
                  <a:lnTo>
                    <a:pt x="85" y="15"/>
                  </a:lnTo>
                  <a:lnTo>
                    <a:pt x="85" y="15"/>
                  </a:lnTo>
                  <a:lnTo>
                    <a:pt x="76" y="16"/>
                  </a:lnTo>
                  <a:lnTo>
                    <a:pt x="69" y="16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0" y="15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3" y="15"/>
                  </a:lnTo>
                  <a:lnTo>
                    <a:pt x="49" y="15"/>
                  </a:lnTo>
                  <a:lnTo>
                    <a:pt x="39" y="15"/>
                  </a:lnTo>
                  <a:lnTo>
                    <a:pt x="33" y="12"/>
                  </a:lnTo>
                  <a:lnTo>
                    <a:pt x="32" y="7"/>
                  </a:lnTo>
                  <a:lnTo>
                    <a:pt x="29" y="2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2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93" name="Freeform 442"/>
            <p:cNvSpPr>
              <a:spLocks/>
            </p:cNvSpPr>
            <p:nvPr/>
          </p:nvSpPr>
          <p:spPr bwMode="auto">
            <a:xfrm>
              <a:off x="8827672" y="3171803"/>
              <a:ext cx="48846" cy="18521"/>
            </a:xfrm>
            <a:custGeom>
              <a:avLst/>
              <a:gdLst>
                <a:gd name="T0" fmla="*/ 14 w 80"/>
                <a:gd name="T1" fmla="*/ 28 h 29"/>
                <a:gd name="T2" fmla="*/ 22 w 80"/>
                <a:gd name="T3" fmla="*/ 28 h 29"/>
                <a:gd name="T4" fmla="*/ 30 w 80"/>
                <a:gd name="T5" fmla="*/ 23 h 29"/>
                <a:gd name="T6" fmla="*/ 33 w 80"/>
                <a:gd name="T7" fmla="*/ 23 h 29"/>
                <a:gd name="T8" fmla="*/ 39 w 80"/>
                <a:gd name="T9" fmla="*/ 20 h 29"/>
                <a:gd name="T10" fmla="*/ 43 w 80"/>
                <a:gd name="T11" fmla="*/ 20 h 29"/>
                <a:gd name="T12" fmla="*/ 53 w 80"/>
                <a:gd name="T13" fmla="*/ 15 h 29"/>
                <a:gd name="T14" fmla="*/ 60 w 80"/>
                <a:gd name="T15" fmla="*/ 15 h 29"/>
                <a:gd name="T16" fmla="*/ 65 w 80"/>
                <a:gd name="T17" fmla="*/ 12 h 29"/>
                <a:gd name="T18" fmla="*/ 72 w 80"/>
                <a:gd name="T19" fmla="*/ 9 h 29"/>
                <a:gd name="T20" fmla="*/ 75 w 80"/>
                <a:gd name="T21" fmla="*/ 8 h 29"/>
                <a:gd name="T22" fmla="*/ 80 w 80"/>
                <a:gd name="T23" fmla="*/ 3 h 29"/>
                <a:gd name="T24" fmla="*/ 79 w 80"/>
                <a:gd name="T25" fmla="*/ 2 h 29"/>
                <a:gd name="T26" fmla="*/ 73 w 80"/>
                <a:gd name="T27" fmla="*/ 2 h 29"/>
                <a:gd name="T28" fmla="*/ 69 w 80"/>
                <a:gd name="T29" fmla="*/ 5 h 29"/>
                <a:gd name="T30" fmla="*/ 60 w 80"/>
                <a:gd name="T31" fmla="*/ 5 h 29"/>
                <a:gd name="T32" fmla="*/ 55 w 80"/>
                <a:gd name="T33" fmla="*/ 0 h 29"/>
                <a:gd name="T34" fmla="*/ 55 w 80"/>
                <a:gd name="T35" fmla="*/ 0 h 29"/>
                <a:gd name="T36" fmla="*/ 55 w 80"/>
                <a:gd name="T37" fmla="*/ 3 h 29"/>
                <a:gd name="T38" fmla="*/ 52 w 80"/>
                <a:gd name="T39" fmla="*/ 5 h 29"/>
                <a:gd name="T40" fmla="*/ 47 w 80"/>
                <a:gd name="T41" fmla="*/ 5 h 29"/>
                <a:gd name="T42" fmla="*/ 45 w 80"/>
                <a:gd name="T43" fmla="*/ 8 h 29"/>
                <a:gd name="T44" fmla="*/ 39 w 80"/>
                <a:gd name="T45" fmla="*/ 12 h 29"/>
                <a:gd name="T46" fmla="*/ 36 w 80"/>
                <a:gd name="T47" fmla="*/ 9 h 29"/>
                <a:gd name="T48" fmla="*/ 30 w 80"/>
                <a:gd name="T49" fmla="*/ 8 h 29"/>
                <a:gd name="T50" fmla="*/ 30 w 80"/>
                <a:gd name="T51" fmla="*/ 8 h 29"/>
                <a:gd name="T52" fmla="*/ 29 w 80"/>
                <a:gd name="T53" fmla="*/ 13 h 29"/>
                <a:gd name="T54" fmla="*/ 26 w 80"/>
                <a:gd name="T55" fmla="*/ 12 h 29"/>
                <a:gd name="T56" fmla="*/ 24 w 80"/>
                <a:gd name="T57" fmla="*/ 13 h 29"/>
                <a:gd name="T58" fmla="*/ 16 w 80"/>
                <a:gd name="T59" fmla="*/ 22 h 29"/>
                <a:gd name="T60" fmla="*/ 13 w 80"/>
                <a:gd name="T61" fmla="*/ 19 h 29"/>
                <a:gd name="T62" fmla="*/ 13 w 80"/>
                <a:gd name="T63" fmla="*/ 19 h 29"/>
                <a:gd name="T64" fmla="*/ 10 w 80"/>
                <a:gd name="T65" fmla="*/ 22 h 29"/>
                <a:gd name="T66" fmla="*/ 0 w 80"/>
                <a:gd name="T67" fmla="*/ 23 h 29"/>
                <a:gd name="T68" fmla="*/ 3 w 80"/>
                <a:gd name="T69" fmla="*/ 28 h 29"/>
                <a:gd name="T70" fmla="*/ 10 w 80"/>
                <a:gd name="T71" fmla="*/ 29 h 29"/>
                <a:gd name="T72" fmla="*/ 10 w 80"/>
                <a:gd name="T7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0" h="29">
                  <a:moveTo>
                    <a:pt x="10" y="29"/>
                  </a:moveTo>
                  <a:lnTo>
                    <a:pt x="14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30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9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6" y="20"/>
                  </a:lnTo>
                  <a:lnTo>
                    <a:pt x="53" y="15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5" y="12"/>
                  </a:lnTo>
                  <a:lnTo>
                    <a:pt x="67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80" y="3"/>
                  </a:lnTo>
                  <a:lnTo>
                    <a:pt x="80" y="2"/>
                  </a:lnTo>
                  <a:lnTo>
                    <a:pt x="79" y="2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69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3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2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2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5" y="8"/>
                  </a:lnTo>
                  <a:lnTo>
                    <a:pt x="40" y="10"/>
                  </a:lnTo>
                  <a:lnTo>
                    <a:pt x="39" y="12"/>
                  </a:lnTo>
                  <a:lnTo>
                    <a:pt x="36" y="10"/>
                  </a:lnTo>
                  <a:lnTo>
                    <a:pt x="36" y="9"/>
                  </a:lnTo>
                  <a:lnTo>
                    <a:pt x="33" y="9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29" y="10"/>
                  </a:lnTo>
                  <a:lnTo>
                    <a:pt x="29" y="13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4" y="13"/>
                  </a:lnTo>
                  <a:lnTo>
                    <a:pt x="17" y="20"/>
                  </a:lnTo>
                  <a:lnTo>
                    <a:pt x="16" y="22"/>
                  </a:lnTo>
                  <a:lnTo>
                    <a:pt x="16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10" y="22"/>
                  </a:lnTo>
                  <a:lnTo>
                    <a:pt x="4" y="23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3" y="28"/>
                  </a:lnTo>
                  <a:lnTo>
                    <a:pt x="9" y="28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94" name="Freeform 443"/>
            <p:cNvSpPr>
              <a:spLocks/>
            </p:cNvSpPr>
            <p:nvPr/>
          </p:nvSpPr>
          <p:spPr bwMode="auto">
            <a:xfrm>
              <a:off x="8740971" y="3223396"/>
              <a:ext cx="79374" cy="29104"/>
            </a:xfrm>
            <a:custGeom>
              <a:avLst/>
              <a:gdLst>
                <a:gd name="T0" fmla="*/ 25 w 131"/>
                <a:gd name="T1" fmla="*/ 0 h 45"/>
                <a:gd name="T2" fmla="*/ 25 w 131"/>
                <a:gd name="T3" fmla="*/ 0 h 45"/>
                <a:gd name="T4" fmla="*/ 32 w 131"/>
                <a:gd name="T5" fmla="*/ 7 h 45"/>
                <a:gd name="T6" fmla="*/ 39 w 131"/>
                <a:gd name="T7" fmla="*/ 15 h 45"/>
                <a:gd name="T8" fmla="*/ 53 w 131"/>
                <a:gd name="T9" fmla="*/ 15 h 45"/>
                <a:gd name="T10" fmla="*/ 55 w 131"/>
                <a:gd name="T11" fmla="*/ 15 h 45"/>
                <a:gd name="T12" fmla="*/ 60 w 131"/>
                <a:gd name="T13" fmla="*/ 15 h 45"/>
                <a:gd name="T14" fmla="*/ 63 w 131"/>
                <a:gd name="T15" fmla="*/ 15 h 45"/>
                <a:gd name="T16" fmla="*/ 76 w 131"/>
                <a:gd name="T17" fmla="*/ 16 h 45"/>
                <a:gd name="T18" fmla="*/ 85 w 131"/>
                <a:gd name="T19" fmla="*/ 15 h 45"/>
                <a:gd name="T20" fmla="*/ 93 w 131"/>
                <a:gd name="T21" fmla="*/ 13 h 45"/>
                <a:gd name="T22" fmla="*/ 99 w 131"/>
                <a:gd name="T23" fmla="*/ 12 h 45"/>
                <a:gd name="T24" fmla="*/ 101 w 131"/>
                <a:gd name="T25" fmla="*/ 12 h 45"/>
                <a:gd name="T26" fmla="*/ 106 w 131"/>
                <a:gd name="T27" fmla="*/ 12 h 45"/>
                <a:gd name="T28" fmla="*/ 121 w 131"/>
                <a:gd name="T29" fmla="*/ 16 h 45"/>
                <a:gd name="T30" fmla="*/ 131 w 131"/>
                <a:gd name="T31" fmla="*/ 23 h 45"/>
                <a:gd name="T32" fmla="*/ 129 w 131"/>
                <a:gd name="T33" fmla="*/ 26 h 45"/>
                <a:gd name="T34" fmla="*/ 126 w 131"/>
                <a:gd name="T35" fmla="*/ 26 h 45"/>
                <a:gd name="T36" fmla="*/ 122 w 131"/>
                <a:gd name="T37" fmla="*/ 27 h 45"/>
                <a:gd name="T38" fmla="*/ 122 w 131"/>
                <a:gd name="T39" fmla="*/ 27 h 45"/>
                <a:gd name="T40" fmla="*/ 111 w 131"/>
                <a:gd name="T41" fmla="*/ 27 h 45"/>
                <a:gd name="T42" fmla="*/ 102 w 131"/>
                <a:gd name="T43" fmla="*/ 32 h 45"/>
                <a:gd name="T44" fmla="*/ 96 w 131"/>
                <a:gd name="T45" fmla="*/ 37 h 45"/>
                <a:gd name="T46" fmla="*/ 91 w 131"/>
                <a:gd name="T47" fmla="*/ 37 h 45"/>
                <a:gd name="T48" fmla="*/ 86 w 131"/>
                <a:gd name="T49" fmla="*/ 37 h 45"/>
                <a:gd name="T50" fmla="*/ 81 w 131"/>
                <a:gd name="T51" fmla="*/ 36 h 45"/>
                <a:gd name="T52" fmla="*/ 76 w 131"/>
                <a:gd name="T53" fmla="*/ 39 h 45"/>
                <a:gd name="T54" fmla="*/ 73 w 131"/>
                <a:gd name="T55" fmla="*/ 39 h 45"/>
                <a:gd name="T56" fmla="*/ 62 w 131"/>
                <a:gd name="T57" fmla="*/ 39 h 45"/>
                <a:gd name="T58" fmla="*/ 55 w 131"/>
                <a:gd name="T59" fmla="*/ 39 h 45"/>
                <a:gd name="T60" fmla="*/ 55 w 131"/>
                <a:gd name="T61" fmla="*/ 39 h 45"/>
                <a:gd name="T62" fmla="*/ 45 w 131"/>
                <a:gd name="T63" fmla="*/ 37 h 45"/>
                <a:gd name="T64" fmla="*/ 38 w 131"/>
                <a:gd name="T65" fmla="*/ 33 h 45"/>
                <a:gd name="T66" fmla="*/ 33 w 131"/>
                <a:gd name="T67" fmla="*/ 35 h 45"/>
                <a:gd name="T68" fmla="*/ 29 w 131"/>
                <a:gd name="T69" fmla="*/ 35 h 45"/>
                <a:gd name="T70" fmla="*/ 19 w 131"/>
                <a:gd name="T71" fmla="*/ 35 h 45"/>
                <a:gd name="T72" fmla="*/ 12 w 131"/>
                <a:gd name="T73" fmla="*/ 39 h 45"/>
                <a:gd name="T74" fmla="*/ 3 w 131"/>
                <a:gd name="T75" fmla="*/ 43 h 45"/>
                <a:gd name="T76" fmla="*/ 2 w 131"/>
                <a:gd name="T77" fmla="*/ 45 h 45"/>
                <a:gd name="T78" fmla="*/ 0 w 131"/>
                <a:gd name="T79" fmla="*/ 45 h 45"/>
                <a:gd name="T80" fmla="*/ 2 w 131"/>
                <a:gd name="T81" fmla="*/ 39 h 45"/>
                <a:gd name="T82" fmla="*/ 3 w 131"/>
                <a:gd name="T83" fmla="*/ 27 h 45"/>
                <a:gd name="T84" fmla="*/ 13 w 131"/>
                <a:gd name="T85" fmla="*/ 10 h 45"/>
                <a:gd name="T86" fmla="*/ 22 w 131"/>
                <a:gd name="T87" fmla="*/ 4 h 45"/>
                <a:gd name="T88" fmla="*/ 22 w 131"/>
                <a:gd name="T8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31" h="45">
                  <a:moveTo>
                    <a:pt x="22" y="0"/>
                  </a:move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9" y="2"/>
                  </a:lnTo>
                  <a:lnTo>
                    <a:pt x="32" y="7"/>
                  </a:lnTo>
                  <a:lnTo>
                    <a:pt x="33" y="12"/>
                  </a:lnTo>
                  <a:lnTo>
                    <a:pt x="39" y="15"/>
                  </a:lnTo>
                  <a:lnTo>
                    <a:pt x="49" y="15"/>
                  </a:lnTo>
                  <a:lnTo>
                    <a:pt x="53" y="15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60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9" y="16"/>
                  </a:lnTo>
                  <a:lnTo>
                    <a:pt x="76" y="16"/>
                  </a:lnTo>
                  <a:lnTo>
                    <a:pt x="85" y="15"/>
                  </a:lnTo>
                  <a:lnTo>
                    <a:pt x="85" y="15"/>
                  </a:lnTo>
                  <a:lnTo>
                    <a:pt x="85" y="15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9" y="12"/>
                  </a:lnTo>
                  <a:lnTo>
                    <a:pt x="101" y="12"/>
                  </a:lnTo>
                  <a:lnTo>
                    <a:pt x="101" y="12"/>
                  </a:lnTo>
                  <a:lnTo>
                    <a:pt x="101" y="12"/>
                  </a:lnTo>
                  <a:lnTo>
                    <a:pt x="106" y="12"/>
                  </a:lnTo>
                  <a:lnTo>
                    <a:pt x="113" y="13"/>
                  </a:lnTo>
                  <a:lnTo>
                    <a:pt x="121" y="16"/>
                  </a:lnTo>
                  <a:lnTo>
                    <a:pt x="129" y="20"/>
                  </a:lnTo>
                  <a:lnTo>
                    <a:pt x="131" y="23"/>
                  </a:lnTo>
                  <a:lnTo>
                    <a:pt x="129" y="26"/>
                  </a:lnTo>
                  <a:lnTo>
                    <a:pt x="129" y="26"/>
                  </a:lnTo>
                  <a:lnTo>
                    <a:pt x="129" y="26"/>
                  </a:lnTo>
                  <a:lnTo>
                    <a:pt x="126" y="26"/>
                  </a:lnTo>
                  <a:lnTo>
                    <a:pt x="124" y="27"/>
                  </a:lnTo>
                  <a:lnTo>
                    <a:pt x="122" y="27"/>
                  </a:lnTo>
                  <a:lnTo>
                    <a:pt x="122" y="27"/>
                  </a:lnTo>
                  <a:lnTo>
                    <a:pt x="122" y="27"/>
                  </a:lnTo>
                  <a:lnTo>
                    <a:pt x="116" y="27"/>
                  </a:lnTo>
                  <a:lnTo>
                    <a:pt x="111" y="27"/>
                  </a:lnTo>
                  <a:lnTo>
                    <a:pt x="105" y="29"/>
                  </a:lnTo>
                  <a:lnTo>
                    <a:pt x="102" y="32"/>
                  </a:lnTo>
                  <a:lnTo>
                    <a:pt x="98" y="35"/>
                  </a:lnTo>
                  <a:lnTo>
                    <a:pt x="96" y="37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3" y="37"/>
                  </a:lnTo>
                  <a:lnTo>
                    <a:pt x="81" y="36"/>
                  </a:lnTo>
                  <a:lnTo>
                    <a:pt x="78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3" y="39"/>
                  </a:lnTo>
                  <a:lnTo>
                    <a:pt x="68" y="39"/>
                  </a:lnTo>
                  <a:lnTo>
                    <a:pt x="62" y="39"/>
                  </a:lnTo>
                  <a:lnTo>
                    <a:pt x="56" y="39"/>
                  </a:lnTo>
                  <a:lnTo>
                    <a:pt x="55" y="39"/>
                  </a:lnTo>
                  <a:lnTo>
                    <a:pt x="55" y="39"/>
                  </a:lnTo>
                  <a:lnTo>
                    <a:pt x="55" y="39"/>
                  </a:lnTo>
                  <a:lnTo>
                    <a:pt x="48" y="39"/>
                  </a:lnTo>
                  <a:lnTo>
                    <a:pt x="45" y="37"/>
                  </a:lnTo>
                  <a:lnTo>
                    <a:pt x="40" y="33"/>
                  </a:lnTo>
                  <a:lnTo>
                    <a:pt x="38" y="33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29" y="35"/>
                  </a:lnTo>
                  <a:lnTo>
                    <a:pt x="25" y="32"/>
                  </a:lnTo>
                  <a:lnTo>
                    <a:pt x="19" y="35"/>
                  </a:lnTo>
                  <a:lnTo>
                    <a:pt x="15" y="36"/>
                  </a:lnTo>
                  <a:lnTo>
                    <a:pt x="12" y="39"/>
                  </a:lnTo>
                  <a:lnTo>
                    <a:pt x="7" y="40"/>
                  </a:lnTo>
                  <a:lnTo>
                    <a:pt x="3" y="43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0" y="45"/>
                  </a:lnTo>
                  <a:lnTo>
                    <a:pt x="0" y="43"/>
                  </a:lnTo>
                  <a:lnTo>
                    <a:pt x="2" y="39"/>
                  </a:lnTo>
                  <a:lnTo>
                    <a:pt x="2" y="33"/>
                  </a:lnTo>
                  <a:lnTo>
                    <a:pt x="3" y="27"/>
                  </a:lnTo>
                  <a:lnTo>
                    <a:pt x="7" y="17"/>
                  </a:lnTo>
                  <a:lnTo>
                    <a:pt x="13" y="10"/>
                  </a:lnTo>
                  <a:lnTo>
                    <a:pt x="18" y="9"/>
                  </a:lnTo>
                  <a:lnTo>
                    <a:pt x="22" y="4"/>
                  </a:lnTo>
                  <a:lnTo>
                    <a:pt x="22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95" name="Freeform 444"/>
            <p:cNvSpPr>
              <a:spLocks/>
            </p:cNvSpPr>
            <p:nvPr/>
          </p:nvSpPr>
          <p:spPr bwMode="auto">
            <a:xfrm>
              <a:off x="8827672" y="3171803"/>
              <a:ext cx="48846" cy="18521"/>
            </a:xfrm>
            <a:custGeom>
              <a:avLst/>
              <a:gdLst>
                <a:gd name="T0" fmla="*/ 14 w 80"/>
                <a:gd name="T1" fmla="*/ 28 h 29"/>
                <a:gd name="T2" fmla="*/ 22 w 80"/>
                <a:gd name="T3" fmla="*/ 28 h 29"/>
                <a:gd name="T4" fmla="*/ 30 w 80"/>
                <a:gd name="T5" fmla="*/ 23 h 29"/>
                <a:gd name="T6" fmla="*/ 33 w 80"/>
                <a:gd name="T7" fmla="*/ 23 h 29"/>
                <a:gd name="T8" fmla="*/ 39 w 80"/>
                <a:gd name="T9" fmla="*/ 20 h 29"/>
                <a:gd name="T10" fmla="*/ 43 w 80"/>
                <a:gd name="T11" fmla="*/ 20 h 29"/>
                <a:gd name="T12" fmla="*/ 53 w 80"/>
                <a:gd name="T13" fmla="*/ 15 h 29"/>
                <a:gd name="T14" fmla="*/ 60 w 80"/>
                <a:gd name="T15" fmla="*/ 15 h 29"/>
                <a:gd name="T16" fmla="*/ 65 w 80"/>
                <a:gd name="T17" fmla="*/ 12 h 29"/>
                <a:gd name="T18" fmla="*/ 72 w 80"/>
                <a:gd name="T19" fmla="*/ 9 h 29"/>
                <a:gd name="T20" fmla="*/ 75 w 80"/>
                <a:gd name="T21" fmla="*/ 8 h 29"/>
                <a:gd name="T22" fmla="*/ 80 w 80"/>
                <a:gd name="T23" fmla="*/ 3 h 29"/>
                <a:gd name="T24" fmla="*/ 79 w 80"/>
                <a:gd name="T25" fmla="*/ 2 h 29"/>
                <a:gd name="T26" fmla="*/ 73 w 80"/>
                <a:gd name="T27" fmla="*/ 2 h 29"/>
                <a:gd name="T28" fmla="*/ 69 w 80"/>
                <a:gd name="T29" fmla="*/ 5 h 29"/>
                <a:gd name="T30" fmla="*/ 60 w 80"/>
                <a:gd name="T31" fmla="*/ 5 h 29"/>
                <a:gd name="T32" fmla="*/ 55 w 80"/>
                <a:gd name="T33" fmla="*/ 0 h 29"/>
                <a:gd name="T34" fmla="*/ 55 w 80"/>
                <a:gd name="T35" fmla="*/ 0 h 29"/>
                <a:gd name="T36" fmla="*/ 55 w 80"/>
                <a:gd name="T37" fmla="*/ 3 h 29"/>
                <a:gd name="T38" fmla="*/ 52 w 80"/>
                <a:gd name="T39" fmla="*/ 5 h 29"/>
                <a:gd name="T40" fmla="*/ 47 w 80"/>
                <a:gd name="T41" fmla="*/ 5 h 29"/>
                <a:gd name="T42" fmla="*/ 45 w 80"/>
                <a:gd name="T43" fmla="*/ 8 h 29"/>
                <a:gd name="T44" fmla="*/ 39 w 80"/>
                <a:gd name="T45" fmla="*/ 12 h 29"/>
                <a:gd name="T46" fmla="*/ 36 w 80"/>
                <a:gd name="T47" fmla="*/ 9 h 29"/>
                <a:gd name="T48" fmla="*/ 30 w 80"/>
                <a:gd name="T49" fmla="*/ 8 h 29"/>
                <a:gd name="T50" fmla="*/ 30 w 80"/>
                <a:gd name="T51" fmla="*/ 8 h 29"/>
                <a:gd name="T52" fmla="*/ 29 w 80"/>
                <a:gd name="T53" fmla="*/ 13 h 29"/>
                <a:gd name="T54" fmla="*/ 26 w 80"/>
                <a:gd name="T55" fmla="*/ 12 h 29"/>
                <a:gd name="T56" fmla="*/ 24 w 80"/>
                <a:gd name="T57" fmla="*/ 13 h 29"/>
                <a:gd name="T58" fmla="*/ 16 w 80"/>
                <a:gd name="T59" fmla="*/ 22 h 29"/>
                <a:gd name="T60" fmla="*/ 13 w 80"/>
                <a:gd name="T61" fmla="*/ 19 h 29"/>
                <a:gd name="T62" fmla="*/ 13 w 80"/>
                <a:gd name="T63" fmla="*/ 19 h 29"/>
                <a:gd name="T64" fmla="*/ 10 w 80"/>
                <a:gd name="T65" fmla="*/ 22 h 29"/>
                <a:gd name="T66" fmla="*/ 0 w 80"/>
                <a:gd name="T67" fmla="*/ 23 h 29"/>
                <a:gd name="T68" fmla="*/ 3 w 80"/>
                <a:gd name="T69" fmla="*/ 28 h 29"/>
                <a:gd name="T70" fmla="*/ 10 w 80"/>
                <a:gd name="T71" fmla="*/ 29 h 29"/>
                <a:gd name="T72" fmla="*/ 10 w 80"/>
                <a:gd name="T7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0" h="29">
                  <a:moveTo>
                    <a:pt x="10" y="29"/>
                  </a:moveTo>
                  <a:lnTo>
                    <a:pt x="14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30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9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6" y="20"/>
                  </a:lnTo>
                  <a:lnTo>
                    <a:pt x="53" y="15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5" y="12"/>
                  </a:lnTo>
                  <a:lnTo>
                    <a:pt x="67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80" y="3"/>
                  </a:lnTo>
                  <a:lnTo>
                    <a:pt x="80" y="2"/>
                  </a:lnTo>
                  <a:lnTo>
                    <a:pt x="79" y="2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69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3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2"/>
                  </a:lnTo>
                  <a:lnTo>
                    <a:pt x="55" y="3"/>
                  </a:lnTo>
                  <a:lnTo>
                    <a:pt x="55" y="5"/>
                  </a:lnTo>
                  <a:lnTo>
                    <a:pt x="52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5" y="8"/>
                  </a:lnTo>
                  <a:lnTo>
                    <a:pt x="40" y="10"/>
                  </a:lnTo>
                  <a:lnTo>
                    <a:pt x="39" y="12"/>
                  </a:lnTo>
                  <a:lnTo>
                    <a:pt x="36" y="10"/>
                  </a:lnTo>
                  <a:lnTo>
                    <a:pt x="36" y="9"/>
                  </a:lnTo>
                  <a:lnTo>
                    <a:pt x="33" y="9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29" y="10"/>
                  </a:lnTo>
                  <a:lnTo>
                    <a:pt x="29" y="13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4" y="13"/>
                  </a:lnTo>
                  <a:lnTo>
                    <a:pt x="17" y="20"/>
                  </a:lnTo>
                  <a:lnTo>
                    <a:pt x="16" y="22"/>
                  </a:lnTo>
                  <a:lnTo>
                    <a:pt x="16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10" y="22"/>
                  </a:lnTo>
                  <a:lnTo>
                    <a:pt x="4" y="23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3" y="28"/>
                  </a:lnTo>
                  <a:lnTo>
                    <a:pt x="9" y="28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96" name="Freeform 445"/>
            <p:cNvSpPr>
              <a:spLocks/>
            </p:cNvSpPr>
            <p:nvPr/>
          </p:nvSpPr>
          <p:spPr bwMode="auto">
            <a:xfrm>
              <a:off x="6834768" y="2428331"/>
              <a:ext cx="1221" cy="1323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0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97" name="Freeform 446"/>
            <p:cNvSpPr>
              <a:spLocks/>
            </p:cNvSpPr>
            <p:nvPr/>
          </p:nvSpPr>
          <p:spPr bwMode="auto">
            <a:xfrm>
              <a:off x="6834768" y="2428331"/>
              <a:ext cx="1221" cy="1323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0" y="1"/>
                  </a:lnTo>
                  <a:lnTo>
                    <a:pt x="1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98" name="Freeform 447"/>
            <p:cNvSpPr>
              <a:spLocks/>
            </p:cNvSpPr>
            <p:nvPr/>
          </p:nvSpPr>
          <p:spPr bwMode="auto">
            <a:xfrm>
              <a:off x="6695558" y="2682329"/>
              <a:ext cx="103797" cy="93926"/>
            </a:xfrm>
            <a:custGeom>
              <a:avLst/>
              <a:gdLst>
                <a:gd name="T0" fmla="*/ 124 w 169"/>
                <a:gd name="T1" fmla="*/ 10 h 142"/>
                <a:gd name="T2" fmla="*/ 143 w 169"/>
                <a:gd name="T3" fmla="*/ 23 h 142"/>
                <a:gd name="T4" fmla="*/ 145 w 169"/>
                <a:gd name="T5" fmla="*/ 30 h 142"/>
                <a:gd name="T6" fmla="*/ 153 w 169"/>
                <a:gd name="T7" fmla="*/ 40 h 142"/>
                <a:gd name="T8" fmla="*/ 162 w 169"/>
                <a:gd name="T9" fmla="*/ 49 h 142"/>
                <a:gd name="T10" fmla="*/ 169 w 169"/>
                <a:gd name="T11" fmla="*/ 52 h 142"/>
                <a:gd name="T12" fmla="*/ 162 w 169"/>
                <a:gd name="T13" fmla="*/ 56 h 142"/>
                <a:gd name="T14" fmla="*/ 159 w 169"/>
                <a:gd name="T15" fmla="*/ 68 h 142"/>
                <a:gd name="T16" fmla="*/ 140 w 169"/>
                <a:gd name="T17" fmla="*/ 73 h 142"/>
                <a:gd name="T18" fmla="*/ 129 w 169"/>
                <a:gd name="T19" fmla="*/ 78 h 142"/>
                <a:gd name="T20" fmla="*/ 124 w 169"/>
                <a:gd name="T21" fmla="*/ 86 h 142"/>
                <a:gd name="T22" fmla="*/ 114 w 169"/>
                <a:gd name="T23" fmla="*/ 88 h 142"/>
                <a:gd name="T24" fmla="*/ 103 w 169"/>
                <a:gd name="T25" fmla="*/ 93 h 142"/>
                <a:gd name="T26" fmla="*/ 94 w 169"/>
                <a:gd name="T27" fmla="*/ 95 h 142"/>
                <a:gd name="T28" fmla="*/ 90 w 169"/>
                <a:gd name="T29" fmla="*/ 96 h 142"/>
                <a:gd name="T30" fmla="*/ 77 w 169"/>
                <a:gd name="T31" fmla="*/ 101 h 142"/>
                <a:gd name="T32" fmla="*/ 44 w 169"/>
                <a:gd name="T33" fmla="*/ 105 h 142"/>
                <a:gd name="T34" fmla="*/ 29 w 169"/>
                <a:gd name="T35" fmla="*/ 115 h 142"/>
                <a:gd name="T36" fmla="*/ 24 w 169"/>
                <a:gd name="T37" fmla="*/ 125 h 142"/>
                <a:gd name="T38" fmla="*/ 17 w 169"/>
                <a:gd name="T39" fmla="*/ 134 h 142"/>
                <a:gd name="T40" fmla="*/ 8 w 169"/>
                <a:gd name="T41" fmla="*/ 142 h 142"/>
                <a:gd name="T42" fmla="*/ 3 w 169"/>
                <a:gd name="T43" fmla="*/ 136 h 142"/>
                <a:gd name="T44" fmla="*/ 0 w 169"/>
                <a:gd name="T45" fmla="*/ 131 h 142"/>
                <a:gd name="T46" fmla="*/ 7 w 169"/>
                <a:gd name="T47" fmla="*/ 122 h 142"/>
                <a:gd name="T48" fmla="*/ 13 w 169"/>
                <a:gd name="T49" fmla="*/ 118 h 142"/>
                <a:gd name="T50" fmla="*/ 20 w 169"/>
                <a:gd name="T51" fmla="*/ 112 h 142"/>
                <a:gd name="T52" fmla="*/ 21 w 169"/>
                <a:gd name="T53" fmla="*/ 95 h 142"/>
                <a:gd name="T54" fmla="*/ 20 w 169"/>
                <a:gd name="T55" fmla="*/ 85 h 142"/>
                <a:gd name="T56" fmla="*/ 16 w 169"/>
                <a:gd name="T57" fmla="*/ 65 h 142"/>
                <a:gd name="T58" fmla="*/ 14 w 169"/>
                <a:gd name="T59" fmla="*/ 62 h 142"/>
                <a:gd name="T60" fmla="*/ 7 w 169"/>
                <a:gd name="T61" fmla="*/ 49 h 142"/>
                <a:gd name="T62" fmla="*/ 11 w 169"/>
                <a:gd name="T63" fmla="*/ 32 h 142"/>
                <a:gd name="T64" fmla="*/ 17 w 169"/>
                <a:gd name="T65" fmla="*/ 33 h 142"/>
                <a:gd name="T66" fmla="*/ 21 w 169"/>
                <a:gd name="T67" fmla="*/ 29 h 142"/>
                <a:gd name="T68" fmla="*/ 23 w 169"/>
                <a:gd name="T69" fmla="*/ 19 h 142"/>
                <a:gd name="T70" fmla="*/ 33 w 169"/>
                <a:gd name="T71" fmla="*/ 6 h 142"/>
                <a:gd name="T72" fmla="*/ 44 w 169"/>
                <a:gd name="T73" fmla="*/ 2 h 142"/>
                <a:gd name="T74" fmla="*/ 59 w 169"/>
                <a:gd name="T75" fmla="*/ 0 h 142"/>
                <a:gd name="T76" fmla="*/ 79 w 169"/>
                <a:gd name="T77" fmla="*/ 3 h 142"/>
                <a:gd name="T78" fmla="*/ 99 w 169"/>
                <a:gd name="T79" fmla="*/ 5 h 142"/>
                <a:gd name="T80" fmla="*/ 114 w 169"/>
                <a:gd name="T81" fmla="*/ 8 h 142"/>
                <a:gd name="T82" fmla="*/ 114 w 169"/>
                <a:gd name="T83" fmla="*/ 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9" h="142">
                  <a:moveTo>
                    <a:pt x="114" y="8"/>
                  </a:moveTo>
                  <a:lnTo>
                    <a:pt x="124" y="10"/>
                  </a:lnTo>
                  <a:lnTo>
                    <a:pt x="137" y="16"/>
                  </a:lnTo>
                  <a:lnTo>
                    <a:pt x="143" y="23"/>
                  </a:lnTo>
                  <a:lnTo>
                    <a:pt x="143" y="28"/>
                  </a:lnTo>
                  <a:lnTo>
                    <a:pt x="145" y="30"/>
                  </a:lnTo>
                  <a:lnTo>
                    <a:pt x="147" y="36"/>
                  </a:lnTo>
                  <a:lnTo>
                    <a:pt x="153" y="40"/>
                  </a:lnTo>
                  <a:lnTo>
                    <a:pt x="157" y="48"/>
                  </a:lnTo>
                  <a:lnTo>
                    <a:pt x="162" y="49"/>
                  </a:lnTo>
                  <a:lnTo>
                    <a:pt x="166" y="51"/>
                  </a:lnTo>
                  <a:lnTo>
                    <a:pt x="169" y="52"/>
                  </a:lnTo>
                  <a:lnTo>
                    <a:pt x="169" y="55"/>
                  </a:lnTo>
                  <a:lnTo>
                    <a:pt x="162" y="56"/>
                  </a:lnTo>
                  <a:lnTo>
                    <a:pt x="160" y="61"/>
                  </a:lnTo>
                  <a:lnTo>
                    <a:pt x="159" y="68"/>
                  </a:lnTo>
                  <a:lnTo>
                    <a:pt x="152" y="71"/>
                  </a:lnTo>
                  <a:lnTo>
                    <a:pt x="140" y="73"/>
                  </a:lnTo>
                  <a:lnTo>
                    <a:pt x="132" y="75"/>
                  </a:lnTo>
                  <a:lnTo>
                    <a:pt x="129" y="78"/>
                  </a:lnTo>
                  <a:lnTo>
                    <a:pt x="124" y="83"/>
                  </a:lnTo>
                  <a:lnTo>
                    <a:pt x="124" y="86"/>
                  </a:lnTo>
                  <a:lnTo>
                    <a:pt x="122" y="88"/>
                  </a:lnTo>
                  <a:lnTo>
                    <a:pt x="114" y="88"/>
                  </a:lnTo>
                  <a:lnTo>
                    <a:pt x="109" y="91"/>
                  </a:lnTo>
                  <a:lnTo>
                    <a:pt x="103" y="93"/>
                  </a:lnTo>
                  <a:lnTo>
                    <a:pt x="97" y="95"/>
                  </a:lnTo>
                  <a:lnTo>
                    <a:pt x="94" y="95"/>
                  </a:lnTo>
                  <a:lnTo>
                    <a:pt x="90" y="95"/>
                  </a:lnTo>
                  <a:lnTo>
                    <a:pt x="90" y="96"/>
                  </a:lnTo>
                  <a:lnTo>
                    <a:pt x="90" y="99"/>
                  </a:lnTo>
                  <a:lnTo>
                    <a:pt x="77" y="101"/>
                  </a:lnTo>
                  <a:lnTo>
                    <a:pt x="57" y="104"/>
                  </a:lnTo>
                  <a:lnTo>
                    <a:pt x="44" y="105"/>
                  </a:lnTo>
                  <a:lnTo>
                    <a:pt x="31" y="111"/>
                  </a:lnTo>
                  <a:lnTo>
                    <a:pt x="29" y="115"/>
                  </a:lnTo>
                  <a:lnTo>
                    <a:pt x="26" y="121"/>
                  </a:lnTo>
                  <a:lnTo>
                    <a:pt x="24" y="125"/>
                  </a:lnTo>
                  <a:lnTo>
                    <a:pt x="21" y="128"/>
                  </a:lnTo>
                  <a:lnTo>
                    <a:pt x="17" y="134"/>
                  </a:lnTo>
                  <a:lnTo>
                    <a:pt x="14" y="139"/>
                  </a:lnTo>
                  <a:lnTo>
                    <a:pt x="8" y="142"/>
                  </a:lnTo>
                  <a:lnTo>
                    <a:pt x="7" y="141"/>
                  </a:lnTo>
                  <a:lnTo>
                    <a:pt x="3" y="136"/>
                  </a:lnTo>
                  <a:lnTo>
                    <a:pt x="0" y="132"/>
                  </a:lnTo>
                  <a:lnTo>
                    <a:pt x="0" y="131"/>
                  </a:lnTo>
                  <a:lnTo>
                    <a:pt x="1" y="126"/>
                  </a:lnTo>
                  <a:lnTo>
                    <a:pt x="7" y="122"/>
                  </a:lnTo>
                  <a:lnTo>
                    <a:pt x="10" y="122"/>
                  </a:lnTo>
                  <a:lnTo>
                    <a:pt x="13" y="118"/>
                  </a:lnTo>
                  <a:lnTo>
                    <a:pt x="18" y="115"/>
                  </a:lnTo>
                  <a:lnTo>
                    <a:pt x="20" y="112"/>
                  </a:lnTo>
                  <a:lnTo>
                    <a:pt x="21" y="105"/>
                  </a:lnTo>
                  <a:lnTo>
                    <a:pt x="21" y="95"/>
                  </a:lnTo>
                  <a:lnTo>
                    <a:pt x="23" y="92"/>
                  </a:lnTo>
                  <a:lnTo>
                    <a:pt x="20" y="85"/>
                  </a:lnTo>
                  <a:lnTo>
                    <a:pt x="17" y="73"/>
                  </a:lnTo>
                  <a:lnTo>
                    <a:pt x="16" y="65"/>
                  </a:lnTo>
                  <a:lnTo>
                    <a:pt x="16" y="62"/>
                  </a:lnTo>
                  <a:lnTo>
                    <a:pt x="14" y="62"/>
                  </a:lnTo>
                  <a:lnTo>
                    <a:pt x="10" y="58"/>
                  </a:lnTo>
                  <a:lnTo>
                    <a:pt x="7" y="49"/>
                  </a:lnTo>
                  <a:lnTo>
                    <a:pt x="8" y="40"/>
                  </a:lnTo>
                  <a:lnTo>
                    <a:pt x="11" y="32"/>
                  </a:lnTo>
                  <a:lnTo>
                    <a:pt x="14" y="32"/>
                  </a:lnTo>
                  <a:lnTo>
                    <a:pt x="17" y="33"/>
                  </a:lnTo>
                  <a:lnTo>
                    <a:pt x="18" y="30"/>
                  </a:lnTo>
                  <a:lnTo>
                    <a:pt x="21" y="29"/>
                  </a:lnTo>
                  <a:lnTo>
                    <a:pt x="21" y="23"/>
                  </a:lnTo>
                  <a:lnTo>
                    <a:pt x="23" y="19"/>
                  </a:lnTo>
                  <a:lnTo>
                    <a:pt x="27" y="18"/>
                  </a:lnTo>
                  <a:lnTo>
                    <a:pt x="33" y="6"/>
                  </a:lnTo>
                  <a:lnTo>
                    <a:pt x="40" y="3"/>
                  </a:lnTo>
                  <a:lnTo>
                    <a:pt x="44" y="2"/>
                  </a:lnTo>
                  <a:lnTo>
                    <a:pt x="51" y="3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79" y="3"/>
                  </a:lnTo>
                  <a:lnTo>
                    <a:pt x="93" y="5"/>
                  </a:lnTo>
                  <a:lnTo>
                    <a:pt x="99" y="5"/>
                  </a:lnTo>
                  <a:lnTo>
                    <a:pt x="102" y="5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99" name="Freeform 448"/>
            <p:cNvSpPr>
              <a:spLocks/>
            </p:cNvSpPr>
            <p:nvPr/>
          </p:nvSpPr>
          <p:spPr bwMode="auto">
            <a:xfrm>
              <a:off x="6658924" y="2671745"/>
              <a:ext cx="31750" cy="42333"/>
            </a:xfrm>
            <a:custGeom>
              <a:avLst/>
              <a:gdLst>
                <a:gd name="T0" fmla="*/ 44 w 51"/>
                <a:gd name="T1" fmla="*/ 65 h 65"/>
                <a:gd name="T2" fmla="*/ 44 w 51"/>
                <a:gd name="T3" fmla="*/ 65 h 65"/>
                <a:gd name="T4" fmla="*/ 41 w 51"/>
                <a:gd name="T5" fmla="*/ 65 h 65"/>
                <a:gd name="T6" fmla="*/ 36 w 51"/>
                <a:gd name="T7" fmla="*/ 65 h 65"/>
                <a:gd name="T8" fmla="*/ 31 w 51"/>
                <a:gd name="T9" fmla="*/ 65 h 65"/>
                <a:gd name="T10" fmla="*/ 28 w 51"/>
                <a:gd name="T11" fmla="*/ 65 h 65"/>
                <a:gd name="T12" fmla="*/ 25 w 51"/>
                <a:gd name="T13" fmla="*/ 62 h 65"/>
                <a:gd name="T14" fmla="*/ 23 w 51"/>
                <a:gd name="T15" fmla="*/ 57 h 65"/>
                <a:gd name="T16" fmla="*/ 20 w 51"/>
                <a:gd name="T17" fmla="*/ 53 h 65"/>
                <a:gd name="T18" fmla="*/ 15 w 51"/>
                <a:gd name="T19" fmla="*/ 52 h 65"/>
                <a:gd name="T20" fmla="*/ 11 w 51"/>
                <a:gd name="T21" fmla="*/ 49 h 65"/>
                <a:gd name="T22" fmla="*/ 8 w 51"/>
                <a:gd name="T23" fmla="*/ 45 h 65"/>
                <a:gd name="T24" fmla="*/ 7 w 51"/>
                <a:gd name="T25" fmla="*/ 37 h 65"/>
                <a:gd name="T26" fmla="*/ 4 w 51"/>
                <a:gd name="T27" fmla="*/ 35 h 65"/>
                <a:gd name="T28" fmla="*/ 1 w 51"/>
                <a:gd name="T29" fmla="*/ 33 h 65"/>
                <a:gd name="T30" fmla="*/ 0 w 51"/>
                <a:gd name="T31" fmla="*/ 30 h 65"/>
                <a:gd name="T32" fmla="*/ 0 w 51"/>
                <a:gd name="T33" fmla="*/ 23 h 65"/>
                <a:gd name="T34" fmla="*/ 1 w 51"/>
                <a:gd name="T35" fmla="*/ 16 h 65"/>
                <a:gd name="T36" fmla="*/ 3 w 51"/>
                <a:gd name="T37" fmla="*/ 12 h 65"/>
                <a:gd name="T38" fmla="*/ 3 w 51"/>
                <a:gd name="T39" fmla="*/ 12 h 65"/>
                <a:gd name="T40" fmla="*/ 3 w 51"/>
                <a:gd name="T41" fmla="*/ 12 h 65"/>
                <a:gd name="T42" fmla="*/ 7 w 51"/>
                <a:gd name="T43" fmla="*/ 9 h 65"/>
                <a:gd name="T44" fmla="*/ 7 w 51"/>
                <a:gd name="T45" fmla="*/ 9 h 65"/>
                <a:gd name="T46" fmla="*/ 7 w 51"/>
                <a:gd name="T47" fmla="*/ 9 h 65"/>
                <a:gd name="T48" fmla="*/ 7 w 51"/>
                <a:gd name="T49" fmla="*/ 9 h 65"/>
                <a:gd name="T50" fmla="*/ 15 w 51"/>
                <a:gd name="T51" fmla="*/ 5 h 65"/>
                <a:gd name="T52" fmla="*/ 27 w 51"/>
                <a:gd name="T53" fmla="*/ 0 h 65"/>
                <a:gd name="T54" fmla="*/ 34 w 51"/>
                <a:gd name="T55" fmla="*/ 6 h 65"/>
                <a:gd name="T56" fmla="*/ 38 w 51"/>
                <a:gd name="T57" fmla="*/ 12 h 65"/>
                <a:gd name="T58" fmla="*/ 40 w 51"/>
                <a:gd name="T59" fmla="*/ 17 h 65"/>
                <a:gd name="T60" fmla="*/ 46 w 51"/>
                <a:gd name="T61" fmla="*/ 25 h 65"/>
                <a:gd name="T62" fmla="*/ 51 w 51"/>
                <a:gd name="T63" fmla="*/ 36 h 65"/>
                <a:gd name="T64" fmla="*/ 50 w 51"/>
                <a:gd name="T65" fmla="*/ 42 h 65"/>
                <a:gd name="T66" fmla="*/ 46 w 51"/>
                <a:gd name="T67" fmla="*/ 47 h 65"/>
                <a:gd name="T68" fmla="*/ 43 w 51"/>
                <a:gd name="T69" fmla="*/ 53 h 65"/>
                <a:gd name="T70" fmla="*/ 41 w 51"/>
                <a:gd name="T71" fmla="*/ 59 h 65"/>
                <a:gd name="T72" fmla="*/ 38 w 51"/>
                <a:gd name="T73" fmla="*/ 62 h 65"/>
                <a:gd name="T74" fmla="*/ 40 w 51"/>
                <a:gd name="T75" fmla="*/ 63 h 65"/>
                <a:gd name="T76" fmla="*/ 41 w 51"/>
                <a:gd name="T77" fmla="*/ 63 h 65"/>
                <a:gd name="T78" fmla="*/ 43 w 51"/>
                <a:gd name="T79" fmla="*/ 60 h 65"/>
                <a:gd name="T80" fmla="*/ 43 w 51"/>
                <a:gd name="T81" fmla="*/ 60 h 65"/>
                <a:gd name="T82" fmla="*/ 43 w 51"/>
                <a:gd name="T83" fmla="*/ 60 h 65"/>
                <a:gd name="T84" fmla="*/ 46 w 51"/>
                <a:gd name="T85" fmla="*/ 59 h 65"/>
                <a:gd name="T86" fmla="*/ 48 w 51"/>
                <a:gd name="T87" fmla="*/ 60 h 65"/>
                <a:gd name="T88" fmla="*/ 47 w 51"/>
                <a:gd name="T89" fmla="*/ 63 h 65"/>
                <a:gd name="T90" fmla="*/ 44 w 51"/>
                <a:gd name="T91" fmla="*/ 65 h 65"/>
                <a:gd name="T92" fmla="*/ 44 w 51"/>
                <a:gd name="T9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1" h="65">
                  <a:moveTo>
                    <a:pt x="44" y="65"/>
                  </a:moveTo>
                  <a:lnTo>
                    <a:pt x="44" y="65"/>
                  </a:lnTo>
                  <a:lnTo>
                    <a:pt x="41" y="65"/>
                  </a:lnTo>
                  <a:lnTo>
                    <a:pt x="36" y="65"/>
                  </a:lnTo>
                  <a:lnTo>
                    <a:pt x="31" y="65"/>
                  </a:lnTo>
                  <a:lnTo>
                    <a:pt x="28" y="65"/>
                  </a:lnTo>
                  <a:lnTo>
                    <a:pt x="25" y="62"/>
                  </a:lnTo>
                  <a:lnTo>
                    <a:pt x="23" y="57"/>
                  </a:lnTo>
                  <a:lnTo>
                    <a:pt x="20" y="53"/>
                  </a:lnTo>
                  <a:lnTo>
                    <a:pt x="15" y="52"/>
                  </a:lnTo>
                  <a:lnTo>
                    <a:pt x="11" y="49"/>
                  </a:lnTo>
                  <a:lnTo>
                    <a:pt x="8" y="45"/>
                  </a:lnTo>
                  <a:lnTo>
                    <a:pt x="7" y="37"/>
                  </a:lnTo>
                  <a:lnTo>
                    <a:pt x="4" y="35"/>
                  </a:lnTo>
                  <a:lnTo>
                    <a:pt x="1" y="33"/>
                  </a:lnTo>
                  <a:lnTo>
                    <a:pt x="0" y="30"/>
                  </a:lnTo>
                  <a:lnTo>
                    <a:pt x="0" y="23"/>
                  </a:lnTo>
                  <a:lnTo>
                    <a:pt x="1" y="16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15" y="5"/>
                  </a:lnTo>
                  <a:lnTo>
                    <a:pt x="27" y="0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40" y="17"/>
                  </a:lnTo>
                  <a:lnTo>
                    <a:pt x="46" y="25"/>
                  </a:lnTo>
                  <a:lnTo>
                    <a:pt x="51" y="36"/>
                  </a:lnTo>
                  <a:lnTo>
                    <a:pt x="50" y="42"/>
                  </a:lnTo>
                  <a:lnTo>
                    <a:pt x="46" y="47"/>
                  </a:lnTo>
                  <a:lnTo>
                    <a:pt x="43" y="53"/>
                  </a:lnTo>
                  <a:lnTo>
                    <a:pt x="41" y="59"/>
                  </a:lnTo>
                  <a:lnTo>
                    <a:pt x="38" y="62"/>
                  </a:lnTo>
                  <a:lnTo>
                    <a:pt x="40" y="63"/>
                  </a:lnTo>
                  <a:lnTo>
                    <a:pt x="41" y="63"/>
                  </a:lnTo>
                  <a:lnTo>
                    <a:pt x="43" y="60"/>
                  </a:lnTo>
                  <a:lnTo>
                    <a:pt x="43" y="60"/>
                  </a:lnTo>
                  <a:lnTo>
                    <a:pt x="43" y="60"/>
                  </a:lnTo>
                  <a:lnTo>
                    <a:pt x="46" y="59"/>
                  </a:lnTo>
                  <a:lnTo>
                    <a:pt x="48" y="60"/>
                  </a:lnTo>
                  <a:lnTo>
                    <a:pt x="47" y="63"/>
                  </a:lnTo>
                  <a:lnTo>
                    <a:pt x="44" y="65"/>
                  </a:lnTo>
                  <a:lnTo>
                    <a:pt x="44" y="6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00" name="Freeform 449"/>
            <p:cNvSpPr>
              <a:spLocks/>
            </p:cNvSpPr>
            <p:nvPr/>
          </p:nvSpPr>
          <p:spPr bwMode="auto">
            <a:xfrm>
              <a:off x="6465983" y="2604277"/>
              <a:ext cx="30529" cy="52916"/>
            </a:xfrm>
            <a:custGeom>
              <a:avLst/>
              <a:gdLst>
                <a:gd name="T0" fmla="*/ 47 w 50"/>
                <a:gd name="T1" fmla="*/ 67 h 79"/>
                <a:gd name="T2" fmla="*/ 46 w 50"/>
                <a:gd name="T3" fmla="*/ 72 h 79"/>
                <a:gd name="T4" fmla="*/ 46 w 50"/>
                <a:gd name="T5" fmla="*/ 72 h 79"/>
                <a:gd name="T6" fmla="*/ 46 w 50"/>
                <a:gd name="T7" fmla="*/ 72 h 79"/>
                <a:gd name="T8" fmla="*/ 43 w 50"/>
                <a:gd name="T9" fmla="*/ 73 h 79"/>
                <a:gd name="T10" fmla="*/ 42 w 50"/>
                <a:gd name="T11" fmla="*/ 74 h 79"/>
                <a:gd name="T12" fmla="*/ 42 w 50"/>
                <a:gd name="T13" fmla="*/ 77 h 79"/>
                <a:gd name="T14" fmla="*/ 42 w 50"/>
                <a:gd name="T15" fmla="*/ 77 h 79"/>
                <a:gd name="T16" fmla="*/ 42 w 50"/>
                <a:gd name="T17" fmla="*/ 77 h 79"/>
                <a:gd name="T18" fmla="*/ 39 w 50"/>
                <a:gd name="T19" fmla="*/ 79 h 79"/>
                <a:gd name="T20" fmla="*/ 36 w 50"/>
                <a:gd name="T21" fmla="*/ 77 h 79"/>
                <a:gd name="T22" fmla="*/ 33 w 50"/>
                <a:gd name="T23" fmla="*/ 72 h 79"/>
                <a:gd name="T24" fmla="*/ 29 w 50"/>
                <a:gd name="T25" fmla="*/ 66 h 79"/>
                <a:gd name="T26" fmla="*/ 27 w 50"/>
                <a:gd name="T27" fmla="*/ 57 h 79"/>
                <a:gd name="T28" fmla="*/ 26 w 50"/>
                <a:gd name="T29" fmla="*/ 49 h 79"/>
                <a:gd name="T30" fmla="*/ 22 w 50"/>
                <a:gd name="T31" fmla="*/ 41 h 79"/>
                <a:gd name="T32" fmla="*/ 17 w 50"/>
                <a:gd name="T33" fmla="*/ 36 h 79"/>
                <a:gd name="T34" fmla="*/ 15 w 50"/>
                <a:gd name="T35" fmla="*/ 30 h 79"/>
                <a:gd name="T36" fmla="*/ 12 w 50"/>
                <a:gd name="T37" fmla="*/ 24 h 79"/>
                <a:gd name="T38" fmla="*/ 9 w 50"/>
                <a:gd name="T39" fmla="*/ 17 h 79"/>
                <a:gd name="T40" fmla="*/ 7 w 50"/>
                <a:gd name="T41" fmla="*/ 13 h 79"/>
                <a:gd name="T42" fmla="*/ 4 w 50"/>
                <a:gd name="T43" fmla="*/ 9 h 79"/>
                <a:gd name="T44" fmla="*/ 0 w 50"/>
                <a:gd name="T45" fmla="*/ 6 h 79"/>
                <a:gd name="T46" fmla="*/ 0 w 50"/>
                <a:gd name="T47" fmla="*/ 0 h 79"/>
                <a:gd name="T48" fmla="*/ 0 w 50"/>
                <a:gd name="T49" fmla="*/ 0 h 79"/>
                <a:gd name="T50" fmla="*/ 0 w 50"/>
                <a:gd name="T51" fmla="*/ 0 h 79"/>
                <a:gd name="T52" fmla="*/ 3 w 50"/>
                <a:gd name="T53" fmla="*/ 1 h 79"/>
                <a:gd name="T54" fmla="*/ 6 w 50"/>
                <a:gd name="T55" fmla="*/ 4 h 79"/>
                <a:gd name="T56" fmla="*/ 15 w 50"/>
                <a:gd name="T57" fmla="*/ 14 h 79"/>
                <a:gd name="T58" fmla="*/ 22 w 50"/>
                <a:gd name="T59" fmla="*/ 17 h 79"/>
                <a:gd name="T60" fmla="*/ 30 w 50"/>
                <a:gd name="T61" fmla="*/ 24 h 79"/>
                <a:gd name="T62" fmla="*/ 36 w 50"/>
                <a:gd name="T63" fmla="*/ 24 h 79"/>
                <a:gd name="T64" fmla="*/ 40 w 50"/>
                <a:gd name="T65" fmla="*/ 26 h 79"/>
                <a:gd name="T66" fmla="*/ 42 w 50"/>
                <a:gd name="T67" fmla="*/ 27 h 79"/>
                <a:gd name="T68" fmla="*/ 42 w 50"/>
                <a:gd name="T69" fmla="*/ 31 h 79"/>
                <a:gd name="T70" fmla="*/ 43 w 50"/>
                <a:gd name="T71" fmla="*/ 41 h 79"/>
                <a:gd name="T72" fmla="*/ 42 w 50"/>
                <a:gd name="T73" fmla="*/ 47 h 79"/>
                <a:gd name="T74" fmla="*/ 45 w 50"/>
                <a:gd name="T75" fmla="*/ 53 h 79"/>
                <a:gd name="T76" fmla="*/ 49 w 50"/>
                <a:gd name="T77" fmla="*/ 56 h 79"/>
                <a:gd name="T78" fmla="*/ 50 w 50"/>
                <a:gd name="T79" fmla="*/ 57 h 79"/>
                <a:gd name="T80" fmla="*/ 50 w 50"/>
                <a:gd name="T81" fmla="*/ 64 h 79"/>
                <a:gd name="T82" fmla="*/ 47 w 50"/>
                <a:gd name="T83" fmla="*/ 67 h 79"/>
                <a:gd name="T84" fmla="*/ 47 w 50"/>
                <a:gd name="T85" fmla="*/ 6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" h="79">
                  <a:moveTo>
                    <a:pt x="47" y="67"/>
                  </a:moveTo>
                  <a:lnTo>
                    <a:pt x="46" y="72"/>
                  </a:lnTo>
                  <a:lnTo>
                    <a:pt x="46" y="72"/>
                  </a:lnTo>
                  <a:lnTo>
                    <a:pt x="46" y="72"/>
                  </a:lnTo>
                  <a:lnTo>
                    <a:pt x="43" y="73"/>
                  </a:lnTo>
                  <a:lnTo>
                    <a:pt x="42" y="74"/>
                  </a:lnTo>
                  <a:lnTo>
                    <a:pt x="42" y="77"/>
                  </a:lnTo>
                  <a:lnTo>
                    <a:pt x="42" y="77"/>
                  </a:lnTo>
                  <a:lnTo>
                    <a:pt x="42" y="77"/>
                  </a:lnTo>
                  <a:lnTo>
                    <a:pt x="39" y="79"/>
                  </a:lnTo>
                  <a:lnTo>
                    <a:pt x="36" y="77"/>
                  </a:lnTo>
                  <a:lnTo>
                    <a:pt x="33" y="72"/>
                  </a:lnTo>
                  <a:lnTo>
                    <a:pt x="29" y="66"/>
                  </a:lnTo>
                  <a:lnTo>
                    <a:pt x="27" y="57"/>
                  </a:lnTo>
                  <a:lnTo>
                    <a:pt x="26" y="49"/>
                  </a:lnTo>
                  <a:lnTo>
                    <a:pt x="22" y="41"/>
                  </a:lnTo>
                  <a:lnTo>
                    <a:pt x="17" y="36"/>
                  </a:lnTo>
                  <a:lnTo>
                    <a:pt x="15" y="30"/>
                  </a:lnTo>
                  <a:lnTo>
                    <a:pt x="12" y="24"/>
                  </a:lnTo>
                  <a:lnTo>
                    <a:pt x="9" y="17"/>
                  </a:lnTo>
                  <a:lnTo>
                    <a:pt x="7" y="13"/>
                  </a:lnTo>
                  <a:lnTo>
                    <a:pt x="4" y="9"/>
                  </a:ln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1"/>
                  </a:lnTo>
                  <a:lnTo>
                    <a:pt x="6" y="4"/>
                  </a:lnTo>
                  <a:lnTo>
                    <a:pt x="15" y="14"/>
                  </a:lnTo>
                  <a:lnTo>
                    <a:pt x="22" y="17"/>
                  </a:lnTo>
                  <a:lnTo>
                    <a:pt x="30" y="24"/>
                  </a:lnTo>
                  <a:lnTo>
                    <a:pt x="36" y="24"/>
                  </a:lnTo>
                  <a:lnTo>
                    <a:pt x="40" y="26"/>
                  </a:lnTo>
                  <a:lnTo>
                    <a:pt x="42" y="27"/>
                  </a:lnTo>
                  <a:lnTo>
                    <a:pt x="42" y="31"/>
                  </a:lnTo>
                  <a:lnTo>
                    <a:pt x="43" y="41"/>
                  </a:lnTo>
                  <a:lnTo>
                    <a:pt x="42" y="47"/>
                  </a:lnTo>
                  <a:lnTo>
                    <a:pt x="45" y="53"/>
                  </a:lnTo>
                  <a:lnTo>
                    <a:pt x="49" y="56"/>
                  </a:lnTo>
                  <a:lnTo>
                    <a:pt x="50" y="57"/>
                  </a:lnTo>
                  <a:lnTo>
                    <a:pt x="50" y="64"/>
                  </a:lnTo>
                  <a:lnTo>
                    <a:pt x="47" y="67"/>
                  </a:lnTo>
                  <a:lnTo>
                    <a:pt x="47" y="6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01" name="Freeform 450"/>
            <p:cNvSpPr>
              <a:spLocks/>
            </p:cNvSpPr>
            <p:nvPr/>
          </p:nvSpPr>
          <p:spPr bwMode="auto">
            <a:xfrm>
              <a:off x="6706548" y="2409810"/>
              <a:ext cx="130662" cy="84666"/>
            </a:xfrm>
            <a:custGeom>
              <a:avLst/>
              <a:gdLst>
                <a:gd name="T0" fmla="*/ 193 w 215"/>
                <a:gd name="T1" fmla="*/ 92 h 127"/>
                <a:gd name="T2" fmla="*/ 183 w 215"/>
                <a:gd name="T3" fmla="*/ 100 h 127"/>
                <a:gd name="T4" fmla="*/ 160 w 215"/>
                <a:gd name="T5" fmla="*/ 120 h 127"/>
                <a:gd name="T6" fmla="*/ 146 w 215"/>
                <a:gd name="T7" fmla="*/ 123 h 127"/>
                <a:gd name="T8" fmla="*/ 122 w 215"/>
                <a:gd name="T9" fmla="*/ 120 h 127"/>
                <a:gd name="T10" fmla="*/ 96 w 215"/>
                <a:gd name="T11" fmla="*/ 122 h 127"/>
                <a:gd name="T12" fmla="*/ 72 w 215"/>
                <a:gd name="T13" fmla="*/ 125 h 127"/>
                <a:gd name="T14" fmla="*/ 46 w 215"/>
                <a:gd name="T15" fmla="*/ 126 h 127"/>
                <a:gd name="T16" fmla="*/ 29 w 215"/>
                <a:gd name="T17" fmla="*/ 126 h 127"/>
                <a:gd name="T18" fmla="*/ 22 w 215"/>
                <a:gd name="T19" fmla="*/ 109 h 127"/>
                <a:gd name="T20" fmla="*/ 12 w 215"/>
                <a:gd name="T21" fmla="*/ 99 h 127"/>
                <a:gd name="T22" fmla="*/ 3 w 215"/>
                <a:gd name="T23" fmla="*/ 79 h 127"/>
                <a:gd name="T24" fmla="*/ 0 w 215"/>
                <a:gd name="T25" fmla="*/ 69 h 127"/>
                <a:gd name="T26" fmla="*/ 6 w 215"/>
                <a:gd name="T27" fmla="*/ 69 h 127"/>
                <a:gd name="T28" fmla="*/ 19 w 215"/>
                <a:gd name="T29" fmla="*/ 72 h 127"/>
                <a:gd name="T30" fmla="*/ 23 w 215"/>
                <a:gd name="T31" fmla="*/ 86 h 127"/>
                <a:gd name="T32" fmla="*/ 37 w 215"/>
                <a:gd name="T33" fmla="*/ 89 h 127"/>
                <a:gd name="T34" fmla="*/ 47 w 215"/>
                <a:gd name="T35" fmla="*/ 89 h 127"/>
                <a:gd name="T36" fmla="*/ 53 w 215"/>
                <a:gd name="T37" fmla="*/ 83 h 127"/>
                <a:gd name="T38" fmla="*/ 53 w 215"/>
                <a:gd name="T39" fmla="*/ 79 h 127"/>
                <a:gd name="T40" fmla="*/ 56 w 215"/>
                <a:gd name="T41" fmla="*/ 76 h 127"/>
                <a:gd name="T42" fmla="*/ 50 w 215"/>
                <a:gd name="T43" fmla="*/ 77 h 127"/>
                <a:gd name="T44" fmla="*/ 46 w 215"/>
                <a:gd name="T45" fmla="*/ 79 h 127"/>
                <a:gd name="T46" fmla="*/ 47 w 215"/>
                <a:gd name="T47" fmla="*/ 70 h 127"/>
                <a:gd name="T48" fmla="*/ 54 w 215"/>
                <a:gd name="T49" fmla="*/ 72 h 127"/>
                <a:gd name="T50" fmla="*/ 52 w 215"/>
                <a:gd name="T51" fmla="*/ 67 h 127"/>
                <a:gd name="T52" fmla="*/ 49 w 215"/>
                <a:gd name="T53" fmla="*/ 64 h 127"/>
                <a:gd name="T54" fmla="*/ 52 w 215"/>
                <a:gd name="T55" fmla="*/ 57 h 127"/>
                <a:gd name="T56" fmla="*/ 56 w 215"/>
                <a:gd name="T57" fmla="*/ 54 h 127"/>
                <a:gd name="T58" fmla="*/ 73 w 215"/>
                <a:gd name="T59" fmla="*/ 50 h 127"/>
                <a:gd name="T60" fmla="*/ 80 w 215"/>
                <a:gd name="T61" fmla="*/ 40 h 127"/>
                <a:gd name="T62" fmla="*/ 85 w 215"/>
                <a:gd name="T63" fmla="*/ 39 h 127"/>
                <a:gd name="T64" fmla="*/ 96 w 215"/>
                <a:gd name="T65" fmla="*/ 47 h 127"/>
                <a:gd name="T66" fmla="*/ 102 w 215"/>
                <a:gd name="T67" fmla="*/ 51 h 127"/>
                <a:gd name="T68" fmla="*/ 105 w 215"/>
                <a:gd name="T69" fmla="*/ 57 h 127"/>
                <a:gd name="T70" fmla="*/ 112 w 215"/>
                <a:gd name="T71" fmla="*/ 56 h 127"/>
                <a:gd name="T72" fmla="*/ 120 w 215"/>
                <a:gd name="T73" fmla="*/ 44 h 127"/>
                <a:gd name="T74" fmla="*/ 125 w 215"/>
                <a:gd name="T75" fmla="*/ 41 h 127"/>
                <a:gd name="T76" fmla="*/ 128 w 215"/>
                <a:gd name="T77" fmla="*/ 30 h 127"/>
                <a:gd name="T78" fmla="*/ 140 w 215"/>
                <a:gd name="T79" fmla="*/ 23 h 127"/>
                <a:gd name="T80" fmla="*/ 146 w 215"/>
                <a:gd name="T81" fmla="*/ 20 h 127"/>
                <a:gd name="T82" fmla="*/ 160 w 215"/>
                <a:gd name="T83" fmla="*/ 13 h 127"/>
                <a:gd name="T84" fmla="*/ 176 w 215"/>
                <a:gd name="T85" fmla="*/ 16 h 127"/>
                <a:gd name="T86" fmla="*/ 188 w 215"/>
                <a:gd name="T87" fmla="*/ 16 h 127"/>
                <a:gd name="T88" fmla="*/ 188 w 215"/>
                <a:gd name="T89" fmla="*/ 7 h 127"/>
                <a:gd name="T90" fmla="*/ 188 w 215"/>
                <a:gd name="T91" fmla="*/ 1 h 127"/>
                <a:gd name="T92" fmla="*/ 196 w 215"/>
                <a:gd name="T93" fmla="*/ 1 h 127"/>
                <a:gd name="T94" fmla="*/ 202 w 215"/>
                <a:gd name="T95" fmla="*/ 20 h 127"/>
                <a:gd name="T96" fmla="*/ 211 w 215"/>
                <a:gd name="T97" fmla="*/ 30 h 127"/>
                <a:gd name="T98" fmla="*/ 215 w 215"/>
                <a:gd name="T99" fmla="*/ 41 h 127"/>
                <a:gd name="T100" fmla="*/ 203 w 215"/>
                <a:gd name="T101" fmla="*/ 63 h 127"/>
                <a:gd name="T102" fmla="*/ 199 w 215"/>
                <a:gd name="T103" fmla="*/ 8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5" h="127">
                  <a:moveTo>
                    <a:pt x="199" y="87"/>
                  </a:moveTo>
                  <a:lnTo>
                    <a:pt x="199" y="87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83" y="100"/>
                  </a:lnTo>
                  <a:lnTo>
                    <a:pt x="183" y="100"/>
                  </a:lnTo>
                  <a:lnTo>
                    <a:pt x="168" y="113"/>
                  </a:lnTo>
                  <a:lnTo>
                    <a:pt x="168" y="113"/>
                  </a:lnTo>
                  <a:lnTo>
                    <a:pt x="160" y="120"/>
                  </a:lnTo>
                  <a:lnTo>
                    <a:pt x="160" y="120"/>
                  </a:lnTo>
                  <a:lnTo>
                    <a:pt x="160" y="120"/>
                  </a:lnTo>
                  <a:lnTo>
                    <a:pt x="146" y="123"/>
                  </a:lnTo>
                  <a:lnTo>
                    <a:pt x="135" y="123"/>
                  </a:lnTo>
                  <a:lnTo>
                    <a:pt x="129" y="120"/>
                  </a:lnTo>
                  <a:lnTo>
                    <a:pt x="122" y="120"/>
                  </a:lnTo>
                  <a:lnTo>
                    <a:pt x="113" y="119"/>
                  </a:lnTo>
                  <a:lnTo>
                    <a:pt x="106" y="119"/>
                  </a:lnTo>
                  <a:lnTo>
                    <a:pt x="96" y="122"/>
                  </a:lnTo>
                  <a:lnTo>
                    <a:pt x="87" y="125"/>
                  </a:lnTo>
                  <a:lnTo>
                    <a:pt x="82" y="125"/>
                  </a:lnTo>
                  <a:lnTo>
                    <a:pt x="72" y="125"/>
                  </a:lnTo>
                  <a:lnTo>
                    <a:pt x="63" y="125"/>
                  </a:lnTo>
                  <a:lnTo>
                    <a:pt x="54" y="126"/>
                  </a:lnTo>
                  <a:lnTo>
                    <a:pt x="46" y="126"/>
                  </a:lnTo>
                  <a:lnTo>
                    <a:pt x="40" y="126"/>
                  </a:lnTo>
                  <a:lnTo>
                    <a:pt x="34" y="127"/>
                  </a:lnTo>
                  <a:lnTo>
                    <a:pt x="29" y="126"/>
                  </a:lnTo>
                  <a:lnTo>
                    <a:pt x="26" y="122"/>
                  </a:lnTo>
                  <a:lnTo>
                    <a:pt x="26" y="116"/>
                  </a:lnTo>
                  <a:lnTo>
                    <a:pt x="22" y="109"/>
                  </a:lnTo>
                  <a:lnTo>
                    <a:pt x="19" y="107"/>
                  </a:lnTo>
                  <a:lnTo>
                    <a:pt x="13" y="106"/>
                  </a:lnTo>
                  <a:lnTo>
                    <a:pt x="12" y="99"/>
                  </a:lnTo>
                  <a:lnTo>
                    <a:pt x="10" y="92"/>
                  </a:lnTo>
                  <a:lnTo>
                    <a:pt x="7" y="83"/>
                  </a:lnTo>
                  <a:lnTo>
                    <a:pt x="3" y="79"/>
                  </a:lnTo>
                  <a:lnTo>
                    <a:pt x="0" y="72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3" y="69"/>
                  </a:lnTo>
                  <a:lnTo>
                    <a:pt x="6" y="69"/>
                  </a:lnTo>
                  <a:lnTo>
                    <a:pt x="10" y="69"/>
                  </a:lnTo>
                  <a:lnTo>
                    <a:pt x="14" y="69"/>
                  </a:lnTo>
                  <a:lnTo>
                    <a:pt x="19" y="72"/>
                  </a:lnTo>
                  <a:lnTo>
                    <a:pt x="20" y="79"/>
                  </a:lnTo>
                  <a:lnTo>
                    <a:pt x="19" y="83"/>
                  </a:lnTo>
                  <a:lnTo>
                    <a:pt x="23" y="86"/>
                  </a:lnTo>
                  <a:lnTo>
                    <a:pt x="27" y="86"/>
                  </a:lnTo>
                  <a:lnTo>
                    <a:pt x="30" y="86"/>
                  </a:lnTo>
                  <a:lnTo>
                    <a:pt x="37" y="89"/>
                  </a:lnTo>
                  <a:lnTo>
                    <a:pt x="42" y="90"/>
                  </a:lnTo>
                  <a:lnTo>
                    <a:pt x="47" y="89"/>
                  </a:lnTo>
                  <a:lnTo>
                    <a:pt x="47" y="89"/>
                  </a:lnTo>
                  <a:lnTo>
                    <a:pt x="50" y="86"/>
                  </a:lnTo>
                  <a:lnTo>
                    <a:pt x="50" y="86"/>
                  </a:lnTo>
                  <a:lnTo>
                    <a:pt x="53" y="83"/>
                  </a:lnTo>
                  <a:lnTo>
                    <a:pt x="53" y="80"/>
                  </a:lnTo>
                  <a:lnTo>
                    <a:pt x="53" y="79"/>
                  </a:lnTo>
                  <a:lnTo>
                    <a:pt x="53" y="79"/>
                  </a:lnTo>
                  <a:lnTo>
                    <a:pt x="53" y="79"/>
                  </a:lnTo>
                  <a:lnTo>
                    <a:pt x="54" y="77"/>
                  </a:lnTo>
                  <a:lnTo>
                    <a:pt x="56" y="76"/>
                  </a:lnTo>
                  <a:lnTo>
                    <a:pt x="53" y="74"/>
                  </a:lnTo>
                  <a:lnTo>
                    <a:pt x="52" y="74"/>
                  </a:lnTo>
                  <a:lnTo>
                    <a:pt x="50" y="77"/>
                  </a:lnTo>
                  <a:lnTo>
                    <a:pt x="50" y="77"/>
                  </a:lnTo>
                  <a:lnTo>
                    <a:pt x="50" y="77"/>
                  </a:lnTo>
                  <a:lnTo>
                    <a:pt x="46" y="79"/>
                  </a:lnTo>
                  <a:lnTo>
                    <a:pt x="46" y="74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52" y="70"/>
                  </a:lnTo>
                  <a:lnTo>
                    <a:pt x="54" y="72"/>
                  </a:lnTo>
                  <a:lnTo>
                    <a:pt x="54" y="70"/>
                  </a:lnTo>
                  <a:lnTo>
                    <a:pt x="54" y="69"/>
                  </a:lnTo>
                  <a:lnTo>
                    <a:pt x="52" y="67"/>
                  </a:lnTo>
                  <a:lnTo>
                    <a:pt x="47" y="67"/>
                  </a:lnTo>
                  <a:lnTo>
                    <a:pt x="47" y="66"/>
                  </a:lnTo>
                  <a:lnTo>
                    <a:pt x="49" y="64"/>
                  </a:lnTo>
                  <a:lnTo>
                    <a:pt x="50" y="63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6" y="54"/>
                  </a:lnTo>
                  <a:lnTo>
                    <a:pt x="62" y="53"/>
                  </a:lnTo>
                  <a:lnTo>
                    <a:pt x="70" y="51"/>
                  </a:lnTo>
                  <a:lnTo>
                    <a:pt x="73" y="50"/>
                  </a:lnTo>
                  <a:lnTo>
                    <a:pt x="76" y="47"/>
                  </a:lnTo>
                  <a:lnTo>
                    <a:pt x="77" y="41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5" y="39"/>
                  </a:lnTo>
                  <a:lnTo>
                    <a:pt x="90" y="40"/>
                  </a:lnTo>
                  <a:lnTo>
                    <a:pt x="92" y="40"/>
                  </a:lnTo>
                  <a:lnTo>
                    <a:pt x="96" y="47"/>
                  </a:lnTo>
                  <a:lnTo>
                    <a:pt x="97" y="49"/>
                  </a:lnTo>
                  <a:lnTo>
                    <a:pt x="100" y="50"/>
                  </a:lnTo>
                  <a:lnTo>
                    <a:pt x="102" y="51"/>
                  </a:lnTo>
                  <a:lnTo>
                    <a:pt x="102" y="56"/>
                  </a:lnTo>
                  <a:lnTo>
                    <a:pt x="103" y="57"/>
                  </a:lnTo>
                  <a:lnTo>
                    <a:pt x="105" y="57"/>
                  </a:lnTo>
                  <a:lnTo>
                    <a:pt x="106" y="56"/>
                  </a:lnTo>
                  <a:lnTo>
                    <a:pt x="107" y="57"/>
                  </a:lnTo>
                  <a:lnTo>
                    <a:pt x="112" y="56"/>
                  </a:lnTo>
                  <a:lnTo>
                    <a:pt x="117" y="51"/>
                  </a:lnTo>
                  <a:lnTo>
                    <a:pt x="120" y="44"/>
                  </a:lnTo>
                  <a:lnTo>
                    <a:pt x="120" y="44"/>
                  </a:lnTo>
                  <a:lnTo>
                    <a:pt x="120" y="44"/>
                  </a:lnTo>
                  <a:lnTo>
                    <a:pt x="125" y="43"/>
                  </a:lnTo>
                  <a:lnTo>
                    <a:pt x="125" y="41"/>
                  </a:lnTo>
                  <a:lnTo>
                    <a:pt x="126" y="36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33" y="26"/>
                  </a:lnTo>
                  <a:lnTo>
                    <a:pt x="140" y="23"/>
                  </a:lnTo>
                  <a:lnTo>
                    <a:pt x="146" y="23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52" y="19"/>
                  </a:lnTo>
                  <a:lnTo>
                    <a:pt x="160" y="13"/>
                  </a:lnTo>
                  <a:lnTo>
                    <a:pt x="160" y="13"/>
                  </a:lnTo>
                  <a:lnTo>
                    <a:pt x="165" y="13"/>
                  </a:lnTo>
                  <a:lnTo>
                    <a:pt x="176" y="16"/>
                  </a:lnTo>
                  <a:lnTo>
                    <a:pt x="183" y="14"/>
                  </a:lnTo>
                  <a:lnTo>
                    <a:pt x="186" y="14"/>
                  </a:lnTo>
                  <a:lnTo>
                    <a:pt x="188" y="16"/>
                  </a:lnTo>
                  <a:lnTo>
                    <a:pt x="189" y="13"/>
                  </a:lnTo>
                  <a:lnTo>
                    <a:pt x="186" y="11"/>
                  </a:lnTo>
                  <a:lnTo>
                    <a:pt x="188" y="7"/>
                  </a:lnTo>
                  <a:lnTo>
                    <a:pt x="188" y="6"/>
                  </a:lnTo>
                  <a:lnTo>
                    <a:pt x="188" y="1"/>
                  </a:lnTo>
                  <a:lnTo>
                    <a:pt x="188" y="1"/>
                  </a:lnTo>
                  <a:lnTo>
                    <a:pt x="188" y="1"/>
                  </a:lnTo>
                  <a:lnTo>
                    <a:pt x="193" y="0"/>
                  </a:lnTo>
                  <a:lnTo>
                    <a:pt x="196" y="1"/>
                  </a:lnTo>
                  <a:lnTo>
                    <a:pt x="198" y="9"/>
                  </a:lnTo>
                  <a:lnTo>
                    <a:pt x="201" y="13"/>
                  </a:lnTo>
                  <a:lnTo>
                    <a:pt x="202" y="20"/>
                  </a:lnTo>
                  <a:lnTo>
                    <a:pt x="203" y="23"/>
                  </a:lnTo>
                  <a:lnTo>
                    <a:pt x="208" y="29"/>
                  </a:lnTo>
                  <a:lnTo>
                    <a:pt x="211" y="30"/>
                  </a:lnTo>
                  <a:lnTo>
                    <a:pt x="211" y="30"/>
                  </a:lnTo>
                  <a:lnTo>
                    <a:pt x="215" y="37"/>
                  </a:lnTo>
                  <a:lnTo>
                    <a:pt x="215" y="41"/>
                  </a:lnTo>
                  <a:lnTo>
                    <a:pt x="212" y="44"/>
                  </a:lnTo>
                  <a:lnTo>
                    <a:pt x="208" y="56"/>
                  </a:lnTo>
                  <a:lnTo>
                    <a:pt x="203" y="63"/>
                  </a:lnTo>
                  <a:lnTo>
                    <a:pt x="202" y="72"/>
                  </a:lnTo>
                  <a:lnTo>
                    <a:pt x="202" y="82"/>
                  </a:lnTo>
                  <a:lnTo>
                    <a:pt x="199" y="87"/>
                  </a:lnTo>
                  <a:lnTo>
                    <a:pt x="199" y="87"/>
                  </a:lnTo>
                  <a:lnTo>
                    <a:pt x="199" y="8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02" name="Freeform 451"/>
            <p:cNvSpPr>
              <a:spLocks/>
            </p:cNvSpPr>
            <p:nvPr/>
          </p:nvSpPr>
          <p:spPr bwMode="auto">
            <a:xfrm>
              <a:off x="6545357" y="2764349"/>
              <a:ext cx="39077" cy="23812"/>
            </a:xfrm>
            <a:custGeom>
              <a:avLst/>
              <a:gdLst>
                <a:gd name="T0" fmla="*/ 11 w 64"/>
                <a:gd name="T1" fmla="*/ 1 h 34"/>
                <a:gd name="T2" fmla="*/ 15 w 64"/>
                <a:gd name="T3" fmla="*/ 4 h 34"/>
                <a:gd name="T4" fmla="*/ 27 w 64"/>
                <a:gd name="T5" fmla="*/ 7 h 34"/>
                <a:gd name="T6" fmla="*/ 34 w 64"/>
                <a:gd name="T7" fmla="*/ 7 h 34"/>
                <a:gd name="T8" fmla="*/ 41 w 64"/>
                <a:gd name="T9" fmla="*/ 9 h 34"/>
                <a:gd name="T10" fmla="*/ 45 w 64"/>
                <a:gd name="T11" fmla="*/ 14 h 34"/>
                <a:gd name="T12" fmla="*/ 50 w 64"/>
                <a:gd name="T13" fmla="*/ 16 h 34"/>
                <a:gd name="T14" fmla="*/ 55 w 64"/>
                <a:gd name="T15" fmla="*/ 17 h 34"/>
                <a:gd name="T16" fmla="*/ 60 w 64"/>
                <a:gd name="T17" fmla="*/ 20 h 34"/>
                <a:gd name="T18" fmla="*/ 61 w 64"/>
                <a:gd name="T19" fmla="*/ 26 h 34"/>
                <a:gd name="T20" fmla="*/ 64 w 64"/>
                <a:gd name="T21" fmla="*/ 32 h 34"/>
                <a:gd name="T22" fmla="*/ 63 w 64"/>
                <a:gd name="T23" fmla="*/ 33 h 34"/>
                <a:gd name="T24" fmla="*/ 63 w 64"/>
                <a:gd name="T25" fmla="*/ 33 h 34"/>
                <a:gd name="T26" fmla="*/ 63 w 64"/>
                <a:gd name="T27" fmla="*/ 33 h 34"/>
                <a:gd name="T28" fmla="*/ 57 w 64"/>
                <a:gd name="T29" fmla="*/ 34 h 34"/>
                <a:gd name="T30" fmla="*/ 50 w 64"/>
                <a:gd name="T31" fmla="*/ 30 h 34"/>
                <a:gd name="T32" fmla="*/ 40 w 64"/>
                <a:gd name="T33" fmla="*/ 26 h 34"/>
                <a:gd name="T34" fmla="*/ 31 w 64"/>
                <a:gd name="T35" fmla="*/ 24 h 34"/>
                <a:gd name="T36" fmla="*/ 25 w 64"/>
                <a:gd name="T37" fmla="*/ 19 h 34"/>
                <a:gd name="T38" fmla="*/ 20 w 64"/>
                <a:gd name="T39" fmla="*/ 14 h 34"/>
                <a:gd name="T40" fmla="*/ 11 w 64"/>
                <a:gd name="T41" fmla="*/ 14 h 34"/>
                <a:gd name="T42" fmla="*/ 5 w 64"/>
                <a:gd name="T43" fmla="*/ 13 h 34"/>
                <a:gd name="T44" fmla="*/ 1 w 64"/>
                <a:gd name="T45" fmla="*/ 6 h 34"/>
                <a:gd name="T46" fmla="*/ 0 w 64"/>
                <a:gd name="T47" fmla="*/ 1 h 34"/>
                <a:gd name="T48" fmla="*/ 0 w 64"/>
                <a:gd name="T49" fmla="*/ 1 h 34"/>
                <a:gd name="T50" fmla="*/ 0 w 64"/>
                <a:gd name="T51" fmla="*/ 1 h 34"/>
                <a:gd name="T52" fmla="*/ 7 w 64"/>
                <a:gd name="T53" fmla="*/ 0 h 34"/>
                <a:gd name="T54" fmla="*/ 11 w 64"/>
                <a:gd name="T55" fmla="*/ 1 h 34"/>
                <a:gd name="T56" fmla="*/ 11 w 64"/>
                <a:gd name="T57" fmla="*/ 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4" h="34">
                  <a:moveTo>
                    <a:pt x="11" y="1"/>
                  </a:moveTo>
                  <a:lnTo>
                    <a:pt x="15" y="4"/>
                  </a:lnTo>
                  <a:lnTo>
                    <a:pt x="27" y="7"/>
                  </a:lnTo>
                  <a:lnTo>
                    <a:pt x="34" y="7"/>
                  </a:lnTo>
                  <a:lnTo>
                    <a:pt x="41" y="9"/>
                  </a:lnTo>
                  <a:lnTo>
                    <a:pt x="45" y="14"/>
                  </a:lnTo>
                  <a:lnTo>
                    <a:pt x="50" y="16"/>
                  </a:lnTo>
                  <a:lnTo>
                    <a:pt x="55" y="17"/>
                  </a:lnTo>
                  <a:lnTo>
                    <a:pt x="60" y="20"/>
                  </a:lnTo>
                  <a:lnTo>
                    <a:pt x="61" y="26"/>
                  </a:lnTo>
                  <a:lnTo>
                    <a:pt x="64" y="32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57" y="34"/>
                  </a:lnTo>
                  <a:lnTo>
                    <a:pt x="50" y="30"/>
                  </a:lnTo>
                  <a:lnTo>
                    <a:pt x="40" y="26"/>
                  </a:lnTo>
                  <a:lnTo>
                    <a:pt x="31" y="24"/>
                  </a:lnTo>
                  <a:lnTo>
                    <a:pt x="25" y="19"/>
                  </a:lnTo>
                  <a:lnTo>
                    <a:pt x="20" y="14"/>
                  </a:lnTo>
                  <a:lnTo>
                    <a:pt x="11" y="14"/>
                  </a:lnTo>
                  <a:lnTo>
                    <a:pt x="5" y="13"/>
                  </a:lnTo>
                  <a:lnTo>
                    <a:pt x="1" y="6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7" y="0"/>
                  </a:lnTo>
                  <a:lnTo>
                    <a:pt x="11" y="1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03" name="Freeform 452"/>
            <p:cNvSpPr>
              <a:spLocks/>
            </p:cNvSpPr>
            <p:nvPr/>
          </p:nvSpPr>
          <p:spPr bwMode="auto">
            <a:xfrm>
              <a:off x="6539252" y="2494476"/>
              <a:ext cx="3663" cy="3969"/>
            </a:xfrm>
            <a:custGeom>
              <a:avLst/>
              <a:gdLst>
                <a:gd name="T0" fmla="*/ 2 w 6"/>
                <a:gd name="T1" fmla="*/ 0 h 6"/>
                <a:gd name="T2" fmla="*/ 0 w 6"/>
                <a:gd name="T3" fmla="*/ 1 h 6"/>
                <a:gd name="T4" fmla="*/ 3 w 6"/>
                <a:gd name="T5" fmla="*/ 6 h 6"/>
                <a:gd name="T6" fmla="*/ 5 w 6"/>
                <a:gd name="T7" fmla="*/ 6 h 6"/>
                <a:gd name="T8" fmla="*/ 6 w 6"/>
                <a:gd name="T9" fmla="*/ 3 h 6"/>
                <a:gd name="T10" fmla="*/ 6 w 6"/>
                <a:gd name="T11" fmla="*/ 0 h 6"/>
                <a:gd name="T12" fmla="*/ 3 w 6"/>
                <a:gd name="T13" fmla="*/ 0 h 6"/>
                <a:gd name="T14" fmla="*/ 2 w 6"/>
                <a:gd name="T15" fmla="*/ 0 h 6"/>
                <a:gd name="T16" fmla="*/ 2 w 6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lnTo>
                    <a:pt x="0" y="1"/>
                  </a:lnTo>
                  <a:lnTo>
                    <a:pt x="3" y="6"/>
                  </a:lnTo>
                  <a:lnTo>
                    <a:pt x="5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04" name="Freeform 453"/>
            <p:cNvSpPr>
              <a:spLocks/>
            </p:cNvSpPr>
            <p:nvPr/>
          </p:nvSpPr>
          <p:spPr bwMode="auto">
            <a:xfrm>
              <a:off x="6563675" y="2498445"/>
              <a:ext cx="6106" cy="11906"/>
            </a:xfrm>
            <a:custGeom>
              <a:avLst/>
              <a:gdLst>
                <a:gd name="T0" fmla="*/ 7 w 10"/>
                <a:gd name="T1" fmla="*/ 4 h 17"/>
                <a:gd name="T2" fmla="*/ 4 w 10"/>
                <a:gd name="T3" fmla="*/ 0 h 17"/>
                <a:gd name="T4" fmla="*/ 3 w 10"/>
                <a:gd name="T5" fmla="*/ 0 h 17"/>
                <a:gd name="T6" fmla="*/ 2 w 10"/>
                <a:gd name="T7" fmla="*/ 1 h 17"/>
                <a:gd name="T8" fmla="*/ 0 w 10"/>
                <a:gd name="T9" fmla="*/ 7 h 17"/>
                <a:gd name="T10" fmla="*/ 2 w 10"/>
                <a:gd name="T11" fmla="*/ 11 h 17"/>
                <a:gd name="T12" fmla="*/ 6 w 10"/>
                <a:gd name="T13" fmla="*/ 14 h 17"/>
                <a:gd name="T14" fmla="*/ 7 w 10"/>
                <a:gd name="T15" fmla="*/ 17 h 17"/>
                <a:gd name="T16" fmla="*/ 7 w 10"/>
                <a:gd name="T17" fmla="*/ 12 h 17"/>
                <a:gd name="T18" fmla="*/ 10 w 10"/>
                <a:gd name="T19" fmla="*/ 10 h 17"/>
                <a:gd name="T20" fmla="*/ 10 w 10"/>
                <a:gd name="T21" fmla="*/ 8 h 17"/>
                <a:gd name="T22" fmla="*/ 9 w 10"/>
                <a:gd name="T23" fmla="*/ 5 h 17"/>
                <a:gd name="T24" fmla="*/ 7 w 10"/>
                <a:gd name="T25" fmla="*/ 4 h 17"/>
                <a:gd name="T26" fmla="*/ 7 w 10"/>
                <a:gd name="T27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17">
                  <a:moveTo>
                    <a:pt x="7" y="4"/>
                  </a:moveTo>
                  <a:lnTo>
                    <a:pt x="4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7"/>
                  </a:lnTo>
                  <a:lnTo>
                    <a:pt x="2" y="11"/>
                  </a:lnTo>
                  <a:lnTo>
                    <a:pt x="6" y="14"/>
                  </a:lnTo>
                  <a:lnTo>
                    <a:pt x="7" y="17"/>
                  </a:lnTo>
                  <a:lnTo>
                    <a:pt x="7" y="12"/>
                  </a:lnTo>
                  <a:lnTo>
                    <a:pt x="10" y="10"/>
                  </a:lnTo>
                  <a:lnTo>
                    <a:pt x="10" y="8"/>
                  </a:lnTo>
                  <a:lnTo>
                    <a:pt x="9" y="5"/>
                  </a:lnTo>
                  <a:lnTo>
                    <a:pt x="7" y="4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05" name="Freeform 454"/>
            <p:cNvSpPr>
              <a:spLocks/>
            </p:cNvSpPr>
            <p:nvPr/>
          </p:nvSpPr>
          <p:spPr bwMode="auto">
            <a:xfrm>
              <a:off x="6569780" y="2499768"/>
              <a:ext cx="4885" cy="3969"/>
            </a:xfrm>
            <a:custGeom>
              <a:avLst/>
              <a:gdLst>
                <a:gd name="T0" fmla="*/ 0 w 7"/>
                <a:gd name="T1" fmla="*/ 0 h 6"/>
                <a:gd name="T2" fmla="*/ 0 w 7"/>
                <a:gd name="T3" fmla="*/ 3 h 6"/>
                <a:gd name="T4" fmla="*/ 0 w 7"/>
                <a:gd name="T5" fmla="*/ 4 h 6"/>
                <a:gd name="T6" fmla="*/ 2 w 7"/>
                <a:gd name="T7" fmla="*/ 6 h 6"/>
                <a:gd name="T8" fmla="*/ 4 w 7"/>
                <a:gd name="T9" fmla="*/ 6 h 6"/>
                <a:gd name="T10" fmla="*/ 5 w 7"/>
                <a:gd name="T11" fmla="*/ 4 h 6"/>
                <a:gd name="T12" fmla="*/ 7 w 7"/>
                <a:gd name="T13" fmla="*/ 3 h 6"/>
                <a:gd name="T14" fmla="*/ 5 w 7"/>
                <a:gd name="T15" fmla="*/ 1 h 6"/>
                <a:gd name="T16" fmla="*/ 0 w 7"/>
                <a:gd name="T17" fmla="*/ 0 h 6"/>
                <a:gd name="T18" fmla="*/ 0 w 7"/>
                <a:gd name="T1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6">
                  <a:moveTo>
                    <a:pt x="0" y="0"/>
                  </a:moveTo>
                  <a:lnTo>
                    <a:pt x="0" y="3"/>
                  </a:lnTo>
                  <a:lnTo>
                    <a:pt x="0" y="4"/>
                  </a:lnTo>
                  <a:lnTo>
                    <a:pt x="2" y="6"/>
                  </a:lnTo>
                  <a:lnTo>
                    <a:pt x="4" y="6"/>
                  </a:lnTo>
                  <a:lnTo>
                    <a:pt x="5" y="4"/>
                  </a:lnTo>
                  <a:lnTo>
                    <a:pt x="7" y="3"/>
                  </a:lnTo>
                  <a:lnTo>
                    <a:pt x="5" y="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06" name="Freeform 455"/>
            <p:cNvSpPr>
              <a:spLocks/>
            </p:cNvSpPr>
            <p:nvPr/>
          </p:nvSpPr>
          <p:spPr bwMode="auto">
            <a:xfrm>
              <a:off x="6518492" y="2522257"/>
              <a:ext cx="2442" cy="2646"/>
            </a:xfrm>
            <a:custGeom>
              <a:avLst/>
              <a:gdLst>
                <a:gd name="T0" fmla="*/ 4 w 4"/>
                <a:gd name="T1" fmla="*/ 0 h 5"/>
                <a:gd name="T2" fmla="*/ 4 w 4"/>
                <a:gd name="T3" fmla="*/ 2 h 5"/>
                <a:gd name="T4" fmla="*/ 3 w 4"/>
                <a:gd name="T5" fmla="*/ 3 h 5"/>
                <a:gd name="T6" fmla="*/ 2 w 4"/>
                <a:gd name="T7" fmla="*/ 5 h 5"/>
                <a:gd name="T8" fmla="*/ 0 w 4"/>
                <a:gd name="T9" fmla="*/ 3 h 5"/>
                <a:gd name="T10" fmla="*/ 0 w 4"/>
                <a:gd name="T11" fmla="*/ 2 h 5"/>
                <a:gd name="T12" fmla="*/ 2 w 4"/>
                <a:gd name="T13" fmla="*/ 0 h 5"/>
                <a:gd name="T14" fmla="*/ 4 w 4"/>
                <a:gd name="T15" fmla="*/ 0 h 5"/>
                <a:gd name="T16" fmla="*/ 4 w 4"/>
                <a:gd name="T1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lnTo>
                    <a:pt x="4" y="2"/>
                  </a:lnTo>
                  <a:lnTo>
                    <a:pt x="3" y="3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07" name="Freeform 456"/>
            <p:cNvSpPr>
              <a:spLocks/>
            </p:cNvSpPr>
            <p:nvPr/>
          </p:nvSpPr>
          <p:spPr bwMode="auto">
            <a:xfrm>
              <a:off x="6580771" y="2546069"/>
              <a:ext cx="7327" cy="5292"/>
            </a:xfrm>
            <a:custGeom>
              <a:avLst/>
              <a:gdLst>
                <a:gd name="T0" fmla="*/ 7 w 11"/>
                <a:gd name="T1" fmla="*/ 3 h 9"/>
                <a:gd name="T2" fmla="*/ 10 w 11"/>
                <a:gd name="T3" fmla="*/ 3 h 9"/>
                <a:gd name="T4" fmla="*/ 11 w 11"/>
                <a:gd name="T5" fmla="*/ 3 h 9"/>
                <a:gd name="T6" fmla="*/ 11 w 11"/>
                <a:gd name="T7" fmla="*/ 4 h 9"/>
                <a:gd name="T8" fmla="*/ 10 w 11"/>
                <a:gd name="T9" fmla="*/ 6 h 9"/>
                <a:gd name="T10" fmla="*/ 8 w 11"/>
                <a:gd name="T11" fmla="*/ 9 h 9"/>
                <a:gd name="T12" fmla="*/ 6 w 11"/>
                <a:gd name="T13" fmla="*/ 9 h 9"/>
                <a:gd name="T14" fmla="*/ 4 w 11"/>
                <a:gd name="T15" fmla="*/ 6 h 9"/>
                <a:gd name="T16" fmla="*/ 3 w 11"/>
                <a:gd name="T17" fmla="*/ 4 h 9"/>
                <a:gd name="T18" fmla="*/ 0 w 11"/>
                <a:gd name="T19" fmla="*/ 3 h 9"/>
                <a:gd name="T20" fmla="*/ 0 w 11"/>
                <a:gd name="T21" fmla="*/ 0 h 9"/>
                <a:gd name="T22" fmla="*/ 3 w 11"/>
                <a:gd name="T23" fmla="*/ 0 h 9"/>
                <a:gd name="T24" fmla="*/ 7 w 11"/>
                <a:gd name="T25" fmla="*/ 3 h 9"/>
                <a:gd name="T26" fmla="*/ 7 w 11"/>
                <a:gd name="T2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9">
                  <a:moveTo>
                    <a:pt x="7" y="3"/>
                  </a:moveTo>
                  <a:lnTo>
                    <a:pt x="10" y="3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0" y="6"/>
                  </a:lnTo>
                  <a:lnTo>
                    <a:pt x="8" y="9"/>
                  </a:lnTo>
                  <a:lnTo>
                    <a:pt x="6" y="9"/>
                  </a:lnTo>
                  <a:lnTo>
                    <a:pt x="4" y="6"/>
                  </a:lnTo>
                  <a:lnTo>
                    <a:pt x="3" y="4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lnTo>
                    <a:pt x="7" y="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08" name="Freeform 457"/>
            <p:cNvSpPr>
              <a:spLocks/>
            </p:cNvSpPr>
            <p:nvPr/>
          </p:nvSpPr>
          <p:spPr bwMode="auto">
            <a:xfrm>
              <a:off x="6511165" y="2587080"/>
              <a:ext cx="2442" cy="3969"/>
            </a:xfrm>
            <a:custGeom>
              <a:avLst/>
              <a:gdLst>
                <a:gd name="T0" fmla="*/ 1 w 4"/>
                <a:gd name="T1" fmla="*/ 1 h 7"/>
                <a:gd name="T2" fmla="*/ 3 w 4"/>
                <a:gd name="T3" fmla="*/ 0 h 7"/>
                <a:gd name="T4" fmla="*/ 3 w 4"/>
                <a:gd name="T5" fmla="*/ 3 h 7"/>
                <a:gd name="T6" fmla="*/ 4 w 4"/>
                <a:gd name="T7" fmla="*/ 3 h 7"/>
                <a:gd name="T8" fmla="*/ 3 w 4"/>
                <a:gd name="T9" fmla="*/ 5 h 7"/>
                <a:gd name="T10" fmla="*/ 1 w 4"/>
                <a:gd name="T11" fmla="*/ 7 h 7"/>
                <a:gd name="T12" fmla="*/ 0 w 4"/>
                <a:gd name="T13" fmla="*/ 7 h 7"/>
                <a:gd name="T14" fmla="*/ 0 w 4"/>
                <a:gd name="T15" fmla="*/ 4 h 7"/>
                <a:gd name="T16" fmla="*/ 1 w 4"/>
                <a:gd name="T17" fmla="*/ 3 h 7"/>
                <a:gd name="T18" fmla="*/ 1 w 4"/>
                <a:gd name="T19" fmla="*/ 1 h 7"/>
                <a:gd name="T20" fmla="*/ 1 w 4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7">
                  <a:moveTo>
                    <a:pt x="1" y="1"/>
                  </a:moveTo>
                  <a:lnTo>
                    <a:pt x="3" y="0"/>
                  </a:lnTo>
                  <a:lnTo>
                    <a:pt x="3" y="3"/>
                  </a:lnTo>
                  <a:lnTo>
                    <a:pt x="4" y="3"/>
                  </a:lnTo>
                  <a:lnTo>
                    <a:pt x="3" y="5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4"/>
                  </a:lnTo>
                  <a:lnTo>
                    <a:pt x="1" y="3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09" name="Freeform 458"/>
            <p:cNvSpPr>
              <a:spLocks/>
            </p:cNvSpPr>
            <p:nvPr/>
          </p:nvSpPr>
          <p:spPr bwMode="auto">
            <a:xfrm>
              <a:off x="6616184" y="2641319"/>
              <a:ext cx="2442" cy="2646"/>
            </a:xfrm>
            <a:custGeom>
              <a:avLst/>
              <a:gdLst>
                <a:gd name="T0" fmla="*/ 2 w 4"/>
                <a:gd name="T1" fmla="*/ 5 h 5"/>
                <a:gd name="T2" fmla="*/ 0 w 4"/>
                <a:gd name="T3" fmla="*/ 5 h 5"/>
                <a:gd name="T4" fmla="*/ 0 w 4"/>
                <a:gd name="T5" fmla="*/ 3 h 5"/>
                <a:gd name="T6" fmla="*/ 1 w 4"/>
                <a:gd name="T7" fmla="*/ 2 h 5"/>
                <a:gd name="T8" fmla="*/ 2 w 4"/>
                <a:gd name="T9" fmla="*/ 0 h 5"/>
                <a:gd name="T10" fmla="*/ 2 w 4"/>
                <a:gd name="T11" fmla="*/ 0 h 5"/>
                <a:gd name="T12" fmla="*/ 4 w 4"/>
                <a:gd name="T13" fmla="*/ 2 h 5"/>
                <a:gd name="T14" fmla="*/ 4 w 4"/>
                <a:gd name="T15" fmla="*/ 5 h 5"/>
                <a:gd name="T16" fmla="*/ 2 w 4"/>
                <a:gd name="T17" fmla="*/ 5 h 5"/>
                <a:gd name="T18" fmla="*/ 2 w 4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5">
                  <a:moveTo>
                    <a:pt x="2" y="5"/>
                  </a:moveTo>
                  <a:lnTo>
                    <a:pt x="0" y="5"/>
                  </a:lnTo>
                  <a:lnTo>
                    <a:pt x="0" y="3"/>
                  </a:lnTo>
                  <a:lnTo>
                    <a:pt x="1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4" y="2"/>
                  </a:lnTo>
                  <a:lnTo>
                    <a:pt x="4" y="5"/>
                  </a:lnTo>
                  <a:lnTo>
                    <a:pt x="2" y="5"/>
                  </a:lnTo>
                  <a:lnTo>
                    <a:pt x="2" y="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10" name="Freeform 459"/>
            <p:cNvSpPr>
              <a:spLocks/>
            </p:cNvSpPr>
            <p:nvPr/>
          </p:nvSpPr>
          <p:spPr bwMode="auto">
            <a:xfrm>
              <a:off x="6649155" y="2596340"/>
              <a:ext cx="3663" cy="2646"/>
            </a:xfrm>
            <a:custGeom>
              <a:avLst/>
              <a:gdLst>
                <a:gd name="T0" fmla="*/ 6 w 6"/>
                <a:gd name="T1" fmla="*/ 0 h 4"/>
                <a:gd name="T2" fmla="*/ 4 w 6"/>
                <a:gd name="T3" fmla="*/ 1 h 4"/>
                <a:gd name="T4" fmla="*/ 4 w 6"/>
                <a:gd name="T5" fmla="*/ 3 h 4"/>
                <a:gd name="T6" fmla="*/ 3 w 6"/>
                <a:gd name="T7" fmla="*/ 4 h 4"/>
                <a:gd name="T8" fmla="*/ 1 w 6"/>
                <a:gd name="T9" fmla="*/ 4 h 4"/>
                <a:gd name="T10" fmla="*/ 0 w 6"/>
                <a:gd name="T11" fmla="*/ 4 h 4"/>
                <a:gd name="T12" fmla="*/ 0 w 6"/>
                <a:gd name="T13" fmla="*/ 3 h 4"/>
                <a:gd name="T14" fmla="*/ 0 w 6"/>
                <a:gd name="T15" fmla="*/ 1 h 4"/>
                <a:gd name="T16" fmla="*/ 3 w 6"/>
                <a:gd name="T17" fmla="*/ 0 h 4"/>
                <a:gd name="T18" fmla="*/ 6 w 6"/>
                <a:gd name="T19" fmla="*/ 0 h 4"/>
                <a:gd name="T20" fmla="*/ 6 w 6"/>
                <a:gd name="T2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lnTo>
                    <a:pt x="4" y="1"/>
                  </a:lnTo>
                  <a:lnTo>
                    <a:pt x="4" y="3"/>
                  </a:lnTo>
                  <a:lnTo>
                    <a:pt x="3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1"/>
                  </a:lnTo>
                  <a:lnTo>
                    <a:pt x="3" y="0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11" name="Freeform 460"/>
            <p:cNvSpPr>
              <a:spLocks/>
            </p:cNvSpPr>
            <p:nvPr/>
          </p:nvSpPr>
          <p:spPr bwMode="auto">
            <a:xfrm>
              <a:off x="6671135" y="2305301"/>
              <a:ext cx="14654" cy="27781"/>
            </a:xfrm>
            <a:custGeom>
              <a:avLst/>
              <a:gdLst>
                <a:gd name="T0" fmla="*/ 1 w 23"/>
                <a:gd name="T1" fmla="*/ 19 h 42"/>
                <a:gd name="T2" fmla="*/ 4 w 23"/>
                <a:gd name="T3" fmla="*/ 15 h 42"/>
                <a:gd name="T4" fmla="*/ 5 w 23"/>
                <a:gd name="T5" fmla="*/ 13 h 42"/>
                <a:gd name="T6" fmla="*/ 7 w 23"/>
                <a:gd name="T7" fmla="*/ 9 h 42"/>
                <a:gd name="T8" fmla="*/ 11 w 23"/>
                <a:gd name="T9" fmla="*/ 6 h 42"/>
                <a:gd name="T10" fmla="*/ 11 w 23"/>
                <a:gd name="T11" fmla="*/ 2 h 42"/>
                <a:gd name="T12" fmla="*/ 13 w 23"/>
                <a:gd name="T13" fmla="*/ 0 h 42"/>
                <a:gd name="T14" fmla="*/ 16 w 23"/>
                <a:gd name="T15" fmla="*/ 0 h 42"/>
                <a:gd name="T16" fmla="*/ 16 w 23"/>
                <a:gd name="T17" fmla="*/ 3 h 42"/>
                <a:gd name="T18" fmla="*/ 16 w 23"/>
                <a:gd name="T19" fmla="*/ 6 h 42"/>
                <a:gd name="T20" fmla="*/ 16 w 23"/>
                <a:gd name="T21" fmla="*/ 12 h 42"/>
                <a:gd name="T22" fmla="*/ 18 w 23"/>
                <a:gd name="T23" fmla="*/ 16 h 42"/>
                <a:gd name="T24" fmla="*/ 21 w 23"/>
                <a:gd name="T25" fmla="*/ 16 h 42"/>
                <a:gd name="T26" fmla="*/ 23 w 23"/>
                <a:gd name="T27" fmla="*/ 18 h 42"/>
                <a:gd name="T28" fmla="*/ 23 w 23"/>
                <a:gd name="T29" fmla="*/ 19 h 42"/>
                <a:gd name="T30" fmla="*/ 21 w 23"/>
                <a:gd name="T31" fmla="*/ 20 h 42"/>
                <a:gd name="T32" fmla="*/ 18 w 23"/>
                <a:gd name="T33" fmla="*/ 23 h 42"/>
                <a:gd name="T34" fmla="*/ 14 w 23"/>
                <a:gd name="T35" fmla="*/ 26 h 42"/>
                <a:gd name="T36" fmla="*/ 11 w 23"/>
                <a:gd name="T37" fmla="*/ 29 h 42"/>
                <a:gd name="T38" fmla="*/ 8 w 23"/>
                <a:gd name="T39" fmla="*/ 32 h 42"/>
                <a:gd name="T40" fmla="*/ 7 w 23"/>
                <a:gd name="T41" fmla="*/ 38 h 42"/>
                <a:gd name="T42" fmla="*/ 4 w 23"/>
                <a:gd name="T43" fmla="*/ 40 h 42"/>
                <a:gd name="T44" fmla="*/ 1 w 23"/>
                <a:gd name="T45" fmla="*/ 42 h 42"/>
                <a:gd name="T46" fmla="*/ 0 w 23"/>
                <a:gd name="T47" fmla="*/ 40 h 42"/>
                <a:gd name="T48" fmla="*/ 1 w 23"/>
                <a:gd name="T49" fmla="*/ 35 h 42"/>
                <a:gd name="T50" fmla="*/ 1 w 23"/>
                <a:gd name="T51" fmla="*/ 29 h 42"/>
                <a:gd name="T52" fmla="*/ 3 w 23"/>
                <a:gd name="T53" fmla="*/ 25 h 42"/>
                <a:gd name="T54" fmla="*/ 0 w 23"/>
                <a:gd name="T55" fmla="*/ 23 h 42"/>
                <a:gd name="T56" fmla="*/ 1 w 23"/>
                <a:gd name="T57" fmla="*/ 19 h 42"/>
                <a:gd name="T58" fmla="*/ 1 w 23"/>
                <a:gd name="T59" fmla="*/ 1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" h="42">
                  <a:moveTo>
                    <a:pt x="1" y="19"/>
                  </a:moveTo>
                  <a:lnTo>
                    <a:pt x="4" y="15"/>
                  </a:lnTo>
                  <a:lnTo>
                    <a:pt x="5" y="13"/>
                  </a:lnTo>
                  <a:lnTo>
                    <a:pt x="7" y="9"/>
                  </a:lnTo>
                  <a:lnTo>
                    <a:pt x="11" y="6"/>
                  </a:lnTo>
                  <a:lnTo>
                    <a:pt x="11" y="2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6"/>
                  </a:lnTo>
                  <a:lnTo>
                    <a:pt x="16" y="12"/>
                  </a:lnTo>
                  <a:lnTo>
                    <a:pt x="18" y="16"/>
                  </a:lnTo>
                  <a:lnTo>
                    <a:pt x="21" y="16"/>
                  </a:lnTo>
                  <a:lnTo>
                    <a:pt x="23" y="18"/>
                  </a:lnTo>
                  <a:lnTo>
                    <a:pt x="23" y="19"/>
                  </a:lnTo>
                  <a:lnTo>
                    <a:pt x="21" y="20"/>
                  </a:lnTo>
                  <a:lnTo>
                    <a:pt x="18" y="23"/>
                  </a:lnTo>
                  <a:lnTo>
                    <a:pt x="14" y="26"/>
                  </a:lnTo>
                  <a:lnTo>
                    <a:pt x="11" y="29"/>
                  </a:lnTo>
                  <a:lnTo>
                    <a:pt x="8" y="32"/>
                  </a:lnTo>
                  <a:lnTo>
                    <a:pt x="7" y="38"/>
                  </a:lnTo>
                  <a:lnTo>
                    <a:pt x="4" y="40"/>
                  </a:lnTo>
                  <a:lnTo>
                    <a:pt x="1" y="42"/>
                  </a:lnTo>
                  <a:lnTo>
                    <a:pt x="0" y="40"/>
                  </a:lnTo>
                  <a:lnTo>
                    <a:pt x="1" y="35"/>
                  </a:lnTo>
                  <a:lnTo>
                    <a:pt x="1" y="29"/>
                  </a:lnTo>
                  <a:lnTo>
                    <a:pt x="3" y="25"/>
                  </a:lnTo>
                  <a:lnTo>
                    <a:pt x="0" y="23"/>
                  </a:lnTo>
                  <a:lnTo>
                    <a:pt x="1" y="19"/>
                  </a:lnTo>
                  <a:lnTo>
                    <a:pt x="1" y="1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12" name="Freeform 461"/>
            <p:cNvSpPr>
              <a:spLocks/>
            </p:cNvSpPr>
            <p:nvPr/>
          </p:nvSpPr>
          <p:spPr bwMode="auto">
            <a:xfrm>
              <a:off x="6501396" y="2478601"/>
              <a:ext cx="197825" cy="195790"/>
            </a:xfrm>
            <a:custGeom>
              <a:avLst/>
              <a:gdLst>
                <a:gd name="T0" fmla="*/ 35 w 324"/>
                <a:gd name="T1" fmla="*/ 243 h 296"/>
                <a:gd name="T2" fmla="*/ 53 w 324"/>
                <a:gd name="T3" fmla="*/ 230 h 296"/>
                <a:gd name="T4" fmla="*/ 39 w 324"/>
                <a:gd name="T5" fmla="*/ 230 h 296"/>
                <a:gd name="T6" fmla="*/ 36 w 324"/>
                <a:gd name="T7" fmla="*/ 215 h 296"/>
                <a:gd name="T8" fmla="*/ 29 w 324"/>
                <a:gd name="T9" fmla="*/ 198 h 296"/>
                <a:gd name="T10" fmla="*/ 26 w 324"/>
                <a:gd name="T11" fmla="*/ 210 h 296"/>
                <a:gd name="T12" fmla="*/ 15 w 324"/>
                <a:gd name="T13" fmla="*/ 187 h 296"/>
                <a:gd name="T14" fmla="*/ 15 w 324"/>
                <a:gd name="T15" fmla="*/ 171 h 296"/>
                <a:gd name="T16" fmla="*/ 31 w 324"/>
                <a:gd name="T17" fmla="*/ 165 h 296"/>
                <a:gd name="T18" fmla="*/ 3 w 324"/>
                <a:gd name="T19" fmla="*/ 152 h 296"/>
                <a:gd name="T20" fmla="*/ 15 w 324"/>
                <a:gd name="T21" fmla="*/ 119 h 296"/>
                <a:gd name="T22" fmla="*/ 11 w 324"/>
                <a:gd name="T23" fmla="*/ 114 h 296"/>
                <a:gd name="T24" fmla="*/ 16 w 324"/>
                <a:gd name="T25" fmla="*/ 84 h 296"/>
                <a:gd name="T26" fmla="*/ 49 w 324"/>
                <a:gd name="T27" fmla="*/ 84 h 296"/>
                <a:gd name="T28" fmla="*/ 84 w 324"/>
                <a:gd name="T29" fmla="*/ 85 h 296"/>
                <a:gd name="T30" fmla="*/ 105 w 324"/>
                <a:gd name="T31" fmla="*/ 101 h 296"/>
                <a:gd name="T32" fmla="*/ 111 w 324"/>
                <a:gd name="T33" fmla="*/ 95 h 296"/>
                <a:gd name="T34" fmla="*/ 135 w 324"/>
                <a:gd name="T35" fmla="*/ 115 h 296"/>
                <a:gd name="T36" fmla="*/ 149 w 324"/>
                <a:gd name="T37" fmla="*/ 111 h 296"/>
                <a:gd name="T38" fmla="*/ 154 w 324"/>
                <a:gd name="T39" fmla="*/ 98 h 296"/>
                <a:gd name="T40" fmla="*/ 141 w 324"/>
                <a:gd name="T41" fmla="*/ 91 h 296"/>
                <a:gd name="T42" fmla="*/ 118 w 324"/>
                <a:gd name="T43" fmla="*/ 62 h 296"/>
                <a:gd name="T44" fmla="*/ 122 w 324"/>
                <a:gd name="T45" fmla="*/ 39 h 296"/>
                <a:gd name="T46" fmla="*/ 127 w 324"/>
                <a:gd name="T47" fmla="*/ 32 h 296"/>
                <a:gd name="T48" fmla="*/ 109 w 324"/>
                <a:gd name="T49" fmla="*/ 19 h 296"/>
                <a:gd name="T50" fmla="*/ 142 w 324"/>
                <a:gd name="T51" fmla="*/ 22 h 296"/>
                <a:gd name="T52" fmla="*/ 191 w 324"/>
                <a:gd name="T53" fmla="*/ 31 h 296"/>
                <a:gd name="T54" fmla="*/ 210 w 324"/>
                <a:gd name="T55" fmla="*/ 15 h 296"/>
                <a:gd name="T56" fmla="*/ 257 w 324"/>
                <a:gd name="T57" fmla="*/ 6 h 296"/>
                <a:gd name="T58" fmla="*/ 310 w 324"/>
                <a:gd name="T59" fmla="*/ 3 h 296"/>
                <a:gd name="T60" fmla="*/ 301 w 324"/>
                <a:gd name="T61" fmla="*/ 32 h 296"/>
                <a:gd name="T62" fmla="*/ 318 w 324"/>
                <a:gd name="T63" fmla="*/ 55 h 296"/>
                <a:gd name="T64" fmla="*/ 317 w 324"/>
                <a:gd name="T65" fmla="*/ 104 h 296"/>
                <a:gd name="T66" fmla="*/ 294 w 324"/>
                <a:gd name="T67" fmla="*/ 115 h 296"/>
                <a:gd name="T68" fmla="*/ 260 w 324"/>
                <a:gd name="T69" fmla="*/ 116 h 296"/>
                <a:gd name="T70" fmla="*/ 227 w 324"/>
                <a:gd name="T71" fmla="*/ 95 h 296"/>
                <a:gd name="T72" fmla="*/ 221 w 324"/>
                <a:gd name="T73" fmla="*/ 65 h 296"/>
                <a:gd name="T74" fmla="*/ 202 w 324"/>
                <a:gd name="T75" fmla="*/ 48 h 296"/>
                <a:gd name="T76" fmla="*/ 190 w 324"/>
                <a:gd name="T77" fmla="*/ 63 h 296"/>
                <a:gd name="T78" fmla="*/ 182 w 324"/>
                <a:gd name="T79" fmla="*/ 72 h 296"/>
                <a:gd name="T80" fmla="*/ 185 w 324"/>
                <a:gd name="T81" fmla="*/ 81 h 296"/>
                <a:gd name="T82" fmla="*/ 211 w 324"/>
                <a:gd name="T83" fmla="*/ 99 h 296"/>
                <a:gd name="T84" fmla="*/ 258 w 324"/>
                <a:gd name="T85" fmla="*/ 132 h 296"/>
                <a:gd name="T86" fmla="*/ 293 w 324"/>
                <a:gd name="T87" fmla="*/ 127 h 296"/>
                <a:gd name="T88" fmla="*/ 307 w 324"/>
                <a:gd name="T89" fmla="*/ 145 h 296"/>
                <a:gd name="T90" fmla="*/ 293 w 324"/>
                <a:gd name="T91" fmla="*/ 159 h 296"/>
                <a:gd name="T92" fmla="*/ 288 w 324"/>
                <a:gd name="T93" fmla="*/ 167 h 296"/>
                <a:gd name="T94" fmla="*/ 257 w 324"/>
                <a:gd name="T95" fmla="*/ 178 h 296"/>
                <a:gd name="T96" fmla="*/ 261 w 324"/>
                <a:gd name="T97" fmla="*/ 167 h 296"/>
                <a:gd name="T98" fmla="*/ 251 w 324"/>
                <a:gd name="T99" fmla="*/ 165 h 296"/>
                <a:gd name="T100" fmla="*/ 201 w 324"/>
                <a:gd name="T101" fmla="*/ 244 h 296"/>
                <a:gd name="T102" fmla="*/ 190 w 324"/>
                <a:gd name="T103" fmla="*/ 234 h 296"/>
                <a:gd name="T104" fmla="*/ 178 w 324"/>
                <a:gd name="T105" fmla="*/ 230 h 296"/>
                <a:gd name="T106" fmla="*/ 180 w 324"/>
                <a:gd name="T107" fmla="*/ 248 h 296"/>
                <a:gd name="T108" fmla="*/ 187 w 324"/>
                <a:gd name="T109" fmla="*/ 281 h 296"/>
                <a:gd name="T110" fmla="*/ 131 w 324"/>
                <a:gd name="T111" fmla="*/ 294 h 296"/>
                <a:gd name="T112" fmla="*/ 71 w 324"/>
                <a:gd name="T113" fmla="*/ 27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4" h="296">
                  <a:moveTo>
                    <a:pt x="71" y="270"/>
                  </a:moveTo>
                  <a:lnTo>
                    <a:pt x="59" y="264"/>
                  </a:lnTo>
                  <a:lnTo>
                    <a:pt x="53" y="261"/>
                  </a:lnTo>
                  <a:lnTo>
                    <a:pt x="46" y="257"/>
                  </a:lnTo>
                  <a:lnTo>
                    <a:pt x="42" y="253"/>
                  </a:lnTo>
                  <a:lnTo>
                    <a:pt x="41" y="247"/>
                  </a:lnTo>
                  <a:lnTo>
                    <a:pt x="36" y="244"/>
                  </a:lnTo>
                  <a:lnTo>
                    <a:pt x="35" y="243"/>
                  </a:lnTo>
                  <a:lnTo>
                    <a:pt x="36" y="238"/>
                  </a:lnTo>
                  <a:lnTo>
                    <a:pt x="38" y="232"/>
                  </a:lnTo>
                  <a:lnTo>
                    <a:pt x="41" y="232"/>
                  </a:lnTo>
                  <a:lnTo>
                    <a:pt x="45" y="237"/>
                  </a:lnTo>
                  <a:lnTo>
                    <a:pt x="46" y="238"/>
                  </a:lnTo>
                  <a:lnTo>
                    <a:pt x="51" y="237"/>
                  </a:lnTo>
                  <a:lnTo>
                    <a:pt x="52" y="234"/>
                  </a:lnTo>
                  <a:lnTo>
                    <a:pt x="53" y="230"/>
                  </a:lnTo>
                  <a:lnTo>
                    <a:pt x="53" y="227"/>
                  </a:lnTo>
                  <a:lnTo>
                    <a:pt x="49" y="222"/>
                  </a:lnTo>
                  <a:lnTo>
                    <a:pt x="46" y="221"/>
                  </a:lnTo>
                  <a:lnTo>
                    <a:pt x="43" y="221"/>
                  </a:lnTo>
                  <a:lnTo>
                    <a:pt x="43" y="224"/>
                  </a:lnTo>
                  <a:lnTo>
                    <a:pt x="43" y="230"/>
                  </a:lnTo>
                  <a:lnTo>
                    <a:pt x="41" y="230"/>
                  </a:lnTo>
                  <a:lnTo>
                    <a:pt x="39" y="230"/>
                  </a:lnTo>
                  <a:lnTo>
                    <a:pt x="38" y="227"/>
                  </a:lnTo>
                  <a:lnTo>
                    <a:pt x="36" y="225"/>
                  </a:lnTo>
                  <a:lnTo>
                    <a:pt x="36" y="220"/>
                  </a:lnTo>
                  <a:lnTo>
                    <a:pt x="39" y="220"/>
                  </a:lnTo>
                  <a:lnTo>
                    <a:pt x="42" y="218"/>
                  </a:lnTo>
                  <a:lnTo>
                    <a:pt x="41" y="215"/>
                  </a:lnTo>
                  <a:lnTo>
                    <a:pt x="39" y="215"/>
                  </a:lnTo>
                  <a:lnTo>
                    <a:pt x="36" y="215"/>
                  </a:lnTo>
                  <a:lnTo>
                    <a:pt x="35" y="212"/>
                  </a:lnTo>
                  <a:lnTo>
                    <a:pt x="32" y="210"/>
                  </a:lnTo>
                  <a:lnTo>
                    <a:pt x="29" y="205"/>
                  </a:lnTo>
                  <a:lnTo>
                    <a:pt x="26" y="204"/>
                  </a:lnTo>
                  <a:lnTo>
                    <a:pt x="25" y="201"/>
                  </a:lnTo>
                  <a:lnTo>
                    <a:pt x="25" y="198"/>
                  </a:lnTo>
                  <a:lnTo>
                    <a:pt x="25" y="198"/>
                  </a:lnTo>
                  <a:lnTo>
                    <a:pt x="29" y="198"/>
                  </a:lnTo>
                  <a:lnTo>
                    <a:pt x="28" y="195"/>
                  </a:lnTo>
                  <a:lnTo>
                    <a:pt x="25" y="195"/>
                  </a:lnTo>
                  <a:lnTo>
                    <a:pt x="23" y="192"/>
                  </a:lnTo>
                  <a:lnTo>
                    <a:pt x="21" y="192"/>
                  </a:lnTo>
                  <a:lnTo>
                    <a:pt x="21" y="198"/>
                  </a:lnTo>
                  <a:lnTo>
                    <a:pt x="19" y="202"/>
                  </a:lnTo>
                  <a:lnTo>
                    <a:pt x="23" y="204"/>
                  </a:lnTo>
                  <a:lnTo>
                    <a:pt x="26" y="210"/>
                  </a:lnTo>
                  <a:lnTo>
                    <a:pt x="26" y="211"/>
                  </a:lnTo>
                  <a:lnTo>
                    <a:pt x="23" y="211"/>
                  </a:lnTo>
                  <a:lnTo>
                    <a:pt x="21" y="208"/>
                  </a:lnTo>
                  <a:lnTo>
                    <a:pt x="15" y="207"/>
                  </a:lnTo>
                  <a:lnTo>
                    <a:pt x="16" y="201"/>
                  </a:lnTo>
                  <a:lnTo>
                    <a:pt x="18" y="192"/>
                  </a:lnTo>
                  <a:lnTo>
                    <a:pt x="18" y="188"/>
                  </a:lnTo>
                  <a:lnTo>
                    <a:pt x="15" y="187"/>
                  </a:lnTo>
                  <a:lnTo>
                    <a:pt x="13" y="185"/>
                  </a:lnTo>
                  <a:lnTo>
                    <a:pt x="11" y="185"/>
                  </a:lnTo>
                  <a:lnTo>
                    <a:pt x="9" y="184"/>
                  </a:lnTo>
                  <a:lnTo>
                    <a:pt x="9" y="179"/>
                  </a:lnTo>
                  <a:lnTo>
                    <a:pt x="9" y="175"/>
                  </a:lnTo>
                  <a:lnTo>
                    <a:pt x="11" y="172"/>
                  </a:lnTo>
                  <a:lnTo>
                    <a:pt x="13" y="171"/>
                  </a:lnTo>
                  <a:lnTo>
                    <a:pt x="15" y="171"/>
                  </a:lnTo>
                  <a:lnTo>
                    <a:pt x="18" y="172"/>
                  </a:lnTo>
                  <a:lnTo>
                    <a:pt x="19" y="174"/>
                  </a:lnTo>
                  <a:lnTo>
                    <a:pt x="22" y="172"/>
                  </a:lnTo>
                  <a:lnTo>
                    <a:pt x="22" y="171"/>
                  </a:lnTo>
                  <a:lnTo>
                    <a:pt x="23" y="168"/>
                  </a:lnTo>
                  <a:lnTo>
                    <a:pt x="26" y="167"/>
                  </a:lnTo>
                  <a:lnTo>
                    <a:pt x="31" y="168"/>
                  </a:lnTo>
                  <a:lnTo>
                    <a:pt x="31" y="165"/>
                  </a:lnTo>
                  <a:lnTo>
                    <a:pt x="26" y="162"/>
                  </a:lnTo>
                  <a:lnTo>
                    <a:pt x="22" y="161"/>
                  </a:lnTo>
                  <a:lnTo>
                    <a:pt x="18" y="161"/>
                  </a:lnTo>
                  <a:lnTo>
                    <a:pt x="13" y="158"/>
                  </a:lnTo>
                  <a:lnTo>
                    <a:pt x="11" y="158"/>
                  </a:lnTo>
                  <a:lnTo>
                    <a:pt x="9" y="159"/>
                  </a:lnTo>
                  <a:lnTo>
                    <a:pt x="8" y="157"/>
                  </a:lnTo>
                  <a:lnTo>
                    <a:pt x="3" y="152"/>
                  </a:lnTo>
                  <a:lnTo>
                    <a:pt x="0" y="148"/>
                  </a:lnTo>
                  <a:lnTo>
                    <a:pt x="2" y="144"/>
                  </a:lnTo>
                  <a:lnTo>
                    <a:pt x="2" y="134"/>
                  </a:lnTo>
                  <a:lnTo>
                    <a:pt x="2" y="131"/>
                  </a:lnTo>
                  <a:lnTo>
                    <a:pt x="5" y="129"/>
                  </a:lnTo>
                  <a:lnTo>
                    <a:pt x="11" y="128"/>
                  </a:lnTo>
                  <a:lnTo>
                    <a:pt x="15" y="124"/>
                  </a:lnTo>
                  <a:lnTo>
                    <a:pt x="15" y="119"/>
                  </a:lnTo>
                  <a:lnTo>
                    <a:pt x="16" y="114"/>
                  </a:lnTo>
                  <a:lnTo>
                    <a:pt x="15" y="109"/>
                  </a:lnTo>
                  <a:lnTo>
                    <a:pt x="13" y="109"/>
                  </a:lnTo>
                  <a:lnTo>
                    <a:pt x="13" y="115"/>
                  </a:lnTo>
                  <a:lnTo>
                    <a:pt x="12" y="121"/>
                  </a:lnTo>
                  <a:lnTo>
                    <a:pt x="9" y="124"/>
                  </a:lnTo>
                  <a:lnTo>
                    <a:pt x="9" y="121"/>
                  </a:lnTo>
                  <a:lnTo>
                    <a:pt x="11" y="114"/>
                  </a:lnTo>
                  <a:lnTo>
                    <a:pt x="9" y="106"/>
                  </a:lnTo>
                  <a:lnTo>
                    <a:pt x="12" y="99"/>
                  </a:lnTo>
                  <a:lnTo>
                    <a:pt x="13" y="98"/>
                  </a:lnTo>
                  <a:lnTo>
                    <a:pt x="16" y="98"/>
                  </a:lnTo>
                  <a:lnTo>
                    <a:pt x="23" y="105"/>
                  </a:lnTo>
                  <a:lnTo>
                    <a:pt x="21" y="98"/>
                  </a:lnTo>
                  <a:lnTo>
                    <a:pt x="16" y="89"/>
                  </a:lnTo>
                  <a:lnTo>
                    <a:pt x="16" y="84"/>
                  </a:lnTo>
                  <a:lnTo>
                    <a:pt x="25" y="72"/>
                  </a:lnTo>
                  <a:lnTo>
                    <a:pt x="29" y="71"/>
                  </a:lnTo>
                  <a:lnTo>
                    <a:pt x="32" y="74"/>
                  </a:lnTo>
                  <a:lnTo>
                    <a:pt x="32" y="75"/>
                  </a:lnTo>
                  <a:lnTo>
                    <a:pt x="38" y="81"/>
                  </a:lnTo>
                  <a:lnTo>
                    <a:pt x="43" y="82"/>
                  </a:lnTo>
                  <a:lnTo>
                    <a:pt x="46" y="84"/>
                  </a:lnTo>
                  <a:lnTo>
                    <a:pt x="49" y="84"/>
                  </a:lnTo>
                  <a:lnTo>
                    <a:pt x="53" y="82"/>
                  </a:lnTo>
                  <a:lnTo>
                    <a:pt x="58" y="82"/>
                  </a:lnTo>
                  <a:lnTo>
                    <a:pt x="63" y="85"/>
                  </a:lnTo>
                  <a:lnTo>
                    <a:pt x="68" y="86"/>
                  </a:lnTo>
                  <a:lnTo>
                    <a:pt x="71" y="86"/>
                  </a:lnTo>
                  <a:lnTo>
                    <a:pt x="75" y="85"/>
                  </a:lnTo>
                  <a:lnTo>
                    <a:pt x="81" y="84"/>
                  </a:lnTo>
                  <a:lnTo>
                    <a:pt x="84" y="85"/>
                  </a:lnTo>
                  <a:lnTo>
                    <a:pt x="88" y="88"/>
                  </a:lnTo>
                  <a:lnTo>
                    <a:pt x="86" y="92"/>
                  </a:lnTo>
                  <a:lnTo>
                    <a:pt x="86" y="96"/>
                  </a:lnTo>
                  <a:lnTo>
                    <a:pt x="91" y="96"/>
                  </a:lnTo>
                  <a:lnTo>
                    <a:pt x="94" y="96"/>
                  </a:lnTo>
                  <a:lnTo>
                    <a:pt x="99" y="99"/>
                  </a:lnTo>
                  <a:lnTo>
                    <a:pt x="101" y="101"/>
                  </a:lnTo>
                  <a:lnTo>
                    <a:pt x="105" y="101"/>
                  </a:lnTo>
                  <a:lnTo>
                    <a:pt x="105" y="101"/>
                  </a:lnTo>
                  <a:lnTo>
                    <a:pt x="108" y="104"/>
                  </a:lnTo>
                  <a:lnTo>
                    <a:pt x="109" y="104"/>
                  </a:lnTo>
                  <a:lnTo>
                    <a:pt x="109" y="102"/>
                  </a:lnTo>
                  <a:lnTo>
                    <a:pt x="109" y="99"/>
                  </a:lnTo>
                  <a:lnTo>
                    <a:pt x="108" y="96"/>
                  </a:lnTo>
                  <a:lnTo>
                    <a:pt x="109" y="95"/>
                  </a:lnTo>
                  <a:lnTo>
                    <a:pt x="111" y="95"/>
                  </a:lnTo>
                  <a:lnTo>
                    <a:pt x="118" y="94"/>
                  </a:lnTo>
                  <a:lnTo>
                    <a:pt x="121" y="95"/>
                  </a:lnTo>
                  <a:lnTo>
                    <a:pt x="122" y="98"/>
                  </a:lnTo>
                  <a:lnTo>
                    <a:pt x="125" y="98"/>
                  </a:lnTo>
                  <a:lnTo>
                    <a:pt x="127" y="99"/>
                  </a:lnTo>
                  <a:lnTo>
                    <a:pt x="129" y="106"/>
                  </a:lnTo>
                  <a:lnTo>
                    <a:pt x="132" y="114"/>
                  </a:lnTo>
                  <a:lnTo>
                    <a:pt x="135" y="115"/>
                  </a:lnTo>
                  <a:lnTo>
                    <a:pt x="138" y="115"/>
                  </a:lnTo>
                  <a:lnTo>
                    <a:pt x="139" y="114"/>
                  </a:lnTo>
                  <a:lnTo>
                    <a:pt x="141" y="114"/>
                  </a:lnTo>
                  <a:lnTo>
                    <a:pt x="145" y="114"/>
                  </a:lnTo>
                  <a:lnTo>
                    <a:pt x="145" y="111"/>
                  </a:lnTo>
                  <a:lnTo>
                    <a:pt x="147" y="109"/>
                  </a:lnTo>
                  <a:lnTo>
                    <a:pt x="147" y="109"/>
                  </a:lnTo>
                  <a:lnTo>
                    <a:pt x="149" y="111"/>
                  </a:lnTo>
                  <a:lnTo>
                    <a:pt x="152" y="111"/>
                  </a:lnTo>
                  <a:lnTo>
                    <a:pt x="155" y="111"/>
                  </a:lnTo>
                  <a:lnTo>
                    <a:pt x="155" y="108"/>
                  </a:lnTo>
                  <a:lnTo>
                    <a:pt x="151" y="108"/>
                  </a:lnTo>
                  <a:lnTo>
                    <a:pt x="152" y="105"/>
                  </a:lnTo>
                  <a:lnTo>
                    <a:pt x="155" y="101"/>
                  </a:lnTo>
                  <a:lnTo>
                    <a:pt x="155" y="98"/>
                  </a:lnTo>
                  <a:lnTo>
                    <a:pt x="154" y="98"/>
                  </a:lnTo>
                  <a:lnTo>
                    <a:pt x="149" y="101"/>
                  </a:lnTo>
                  <a:lnTo>
                    <a:pt x="148" y="99"/>
                  </a:lnTo>
                  <a:lnTo>
                    <a:pt x="148" y="96"/>
                  </a:lnTo>
                  <a:lnTo>
                    <a:pt x="149" y="95"/>
                  </a:lnTo>
                  <a:lnTo>
                    <a:pt x="148" y="95"/>
                  </a:lnTo>
                  <a:lnTo>
                    <a:pt x="147" y="94"/>
                  </a:lnTo>
                  <a:lnTo>
                    <a:pt x="144" y="91"/>
                  </a:lnTo>
                  <a:lnTo>
                    <a:pt x="141" y="91"/>
                  </a:lnTo>
                  <a:lnTo>
                    <a:pt x="139" y="94"/>
                  </a:lnTo>
                  <a:lnTo>
                    <a:pt x="138" y="92"/>
                  </a:lnTo>
                  <a:lnTo>
                    <a:pt x="137" y="85"/>
                  </a:lnTo>
                  <a:lnTo>
                    <a:pt x="132" y="81"/>
                  </a:lnTo>
                  <a:lnTo>
                    <a:pt x="129" y="78"/>
                  </a:lnTo>
                  <a:lnTo>
                    <a:pt x="128" y="74"/>
                  </a:lnTo>
                  <a:lnTo>
                    <a:pt x="124" y="66"/>
                  </a:lnTo>
                  <a:lnTo>
                    <a:pt x="118" y="62"/>
                  </a:lnTo>
                  <a:lnTo>
                    <a:pt x="115" y="53"/>
                  </a:lnTo>
                  <a:lnTo>
                    <a:pt x="112" y="49"/>
                  </a:lnTo>
                  <a:lnTo>
                    <a:pt x="112" y="46"/>
                  </a:lnTo>
                  <a:lnTo>
                    <a:pt x="114" y="45"/>
                  </a:lnTo>
                  <a:lnTo>
                    <a:pt x="116" y="43"/>
                  </a:lnTo>
                  <a:lnTo>
                    <a:pt x="116" y="42"/>
                  </a:lnTo>
                  <a:lnTo>
                    <a:pt x="118" y="41"/>
                  </a:lnTo>
                  <a:lnTo>
                    <a:pt x="122" y="39"/>
                  </a:lnTo>
                  <a:lnTo>
                    <a:pt x="127" y="41"/>
                  </a:lnTo>
                  <a:lnTo>
                    <a:pt x="128" y="39"/>
                  </a:lnTo>
                  <a:lnTo>
                    <a:pt x="129" y="38"/>
                  </a:lnTo>
                  <a:lnTo>
                    <a:pt x="134" y="38"/>
                  </a:lnTo>
                  <a:lnTo>
                    <a:pt x="137" y="38"/>
                  </a:lnTo>
                  <a:lnTo>
                    <a:pt x="137" y="35"/>
                  </a:lnTo>
                  <a:lnTo>
                    <a:pt x="131" y="33"/>
                  </a:lnTo>
                  <a:lnTo>
                    <a:pt x="127" y="32"/>
                  </a:lnTo>
                  <a:lnTo>
                    <a:pt x="125" y="28"/>
                  </a:lnTo>
                  <a:lnTo>
                    <a:pt x="121" y="28"/>
                  </a:lnTo>
                  <a:lnTo>
                    <a:pt x="118" y="25"/>
                  </a:lnTo>
                  <a:lnTo>
                    <a:pt x="116" y="22"/>
                  </a:lnTo>
                  <a:lnTo>
                    <a:pt x="115" y="21"/>
                  </a:lnTo>
                  <a:lnTo>
                    <a:pt x="112" y="22"/>
                  </a:lnTo>
                  <a:lnTo>
                    <a:pt x="108" y="22"/>
                  </a:lnTo>
                  <a:lnTo>
                    <a:pt x="109" y="19"/>
                  </a:lnTo>
                  <a:lnTo>
                    <a:pt x="112" y="18"/>
                  </a:lnTo>
                  <a:lnTo>
                    <a:pt x="116" y="19"/>
                  </a:lnTo>
                  <a:lnTo>
                    <a:pt x="122" y="21"/>
                  </a:lnTo>
                  <a:lnTo>
                    <a:pt x="125" y="19"/>
                  </a:lnTo>
                  <a:lnTo>
                    <a:pt x="128" y="18"/>
                  </a:lnTo>
                  <a:lnTo>
                    <a:pt x="132" y="18"/>
                  </a:lnTo>
                  <a:lnTo>
                    <a:pt x="138" y="21"/>
                  </a:lnTo>
                  <a:lnTo>
                    <a:pt x="142" y="22"/>
                  </a:lnTo>
                  <a:lnTo>
                    <a:pt x="147" y="23"/>
                  </a:lnTo>
                  <a:lnTo>
                    <a:pt x="151" y="26"/>
                  </a:lnTo>
                  <a:lnTo>
                    <a:pt x="157" y="25"/>
                  </a:lnTo>
                  <a:lnTo>
                    <a:pt x="164" y="25"/>
                  </a:lnTo>
                  <a:lnTo>
                    <a:pt x="167" y="29"/>
                  </a:lnTo>
                  <a:lnTo>
                    <a:pt x="175" y="32"/>
                  </a:lnTo>
                  <a:lnTo>
                    <a:pt x="185" y="33"/>
                  </a:lnTo>
                  <a:lnTo>
                    <a:pt x="191" y="31"/>
                  </a:lnTo>
                  <a:lnTo>
                    <a:pt x="197" y="31"/>
                  </a:lnTo>
                  <a:lnTo>
                    <a:pt x="205" y="31"/>
                  </a:lnTo>
                  <a:lnTo>
                    <a:pt x="207" y="29"/>
                  </a:lnTo>
                  <a:lnTo>
                    <a:pt x="207" y="23"/>
                  </a:lnTo>
                  <a:lnTo>
                    <a:pt x="210" y="22"/>
                  </a:lnTo>
                  <a:lnTo>
                    <a:pt x="212" y="21"/>
                  </a:lnTo>
                  <a:lnTo>
                    <a:pt x="211" y="18"/>
                  </a:lnTo>
                  <a:lnTo>
                    <a:pt x="210" y="15"/>
                  </a:lnTo>
                  <a:lnTo>
                    <a:pt x="214" y="9"/>
                  </a:lnTo>
                  <a:lnTo>
                    <a:pt x="221" y="8"/>
                  </a:lnTo>
                  <a:lnTo>
                    <a:pt x="228" y="8"/>
                  </a:lnTo>
                  <a:lnTo>
                    <a:pt x="231" y="5"/>
                  </a:lnTo>
                  <a:lnTo>
                    <a:pt x="240" y="3"/>
                  </a:lnTo>
                  <a:lnTo>
                    <a:pt x="247" y="6"/>
                  </a:lnTo>
                  <a:lnTo>
                    <a:pt x="254" y="6"/>
                  </a:lnTo>
                  <a:lnTo>
                    <a:pt x="257" y="6"/>
                  </a:lnTo>
                  <a:lnTo>
                    <a:pt x="263" y="0"/>
                  </a:lnTo>
                  <a:lnTo>
                    <a:pt x="268" y="0"/>
                  </a:lnTo>
                  <a:lnTo>
                    <a:pt x="275" y="3"/>
                  </a:lnTo>
                  <a:lnTo>
                    <a:pt x="280" y="3"/>
                  </a:lnTo>
                  <a:lnTo>
                    <a:pt x="288" y="0"/>
                  </a:lnTo>
                  <a:lnTo>
                    <a:pt x="293" y="0"/>
                  </a:lnTo>
                  <a:lnTo>
                    <a:pt x="304" y="0"/>
                  </a:lnTo>
                  <a:lnTo>
                    <a:pt x="310" y="3"/>
                  </a:lnTo>
                  <a:lnTo>
                    <a:pt x="313" y="6"/>
                  </a:lnTo>
                  <a:lnTo>
                    <a:pt x="311" y="8"/>
                  </a:lnTo>
                  <a:lnTo>
                    <a:pt x="306" y="10"/>
                  </a:lnTo>
                  <a:lnTo>
                    <a:pt x="304" y="18"/>
                  </a:lnTo>
                  <a:lnTo>
                    <a:pt x="303" y="22"/>
                  </a:lnTo>
                  <a:lnTo>
                    <a:pt x="303" y="23"/>
                  </a:lnTo>
                  <a:lnTo>
                    <a:pt x="301" y="28"/>
                  </a:lnTo>
                  <a:lnTo>
                    <a:pt x="301" y="32"/>
                  </a:lnTo>
                  <a:lnTo>
                    <a:pt x="301" y="36"/>
                  </a:lnTo>
                  <a:lnTo>
                    <a:pt x="301" y="39"/>
                  </a:lnTo>
                  <a:lnTo>
                    <a:pt x="304" y="42"/>
                  </a:lnTo>
                  <a:lnTo>
                    <a:pt x="307" y="46"/>
                  </a:lnTo>
                  <a:lnTo>
                    <a:pt x="313" y="48"/>
                  </a:lnTo>
                  <a:lnTo>
                    <a:pt x="321" y="48"/>
                  </a:lnTo>
                  <a:lnTo>
                    <a:pt x="321" y="49"/>
                  </a:lnTo>
                  <a:lnTo>
                    <a:pt x="318" y="55"/>
                  </a:lnTo>
                  <a:lnTo>
                    <a:pt x="318" y="58"/>
                  </a:lnTo>
                  <a:lnTo>
                    <a:pt x="323" y="65"/>
                  </a:lnTo>
                  <a:lnTo>
                    <a:pt x="324" y="68"/>
                  </a:lnTo>
                  <a:lnTo>
                    <a:pt x="324" y="75"/>
                  </a:lnTo>
                  <a:lnTo>
                    <a:pt x="324" y="86"/>
                  </a:lnTo>
                  <a:lnTo>
                    <a:pt x="324" y="95"/>
                  </a:lnTo>
                  <a:lnTo>
                    <a:pt x="323" y="98"/>
                  </a:lnTo>
                  <a:lnTo>
                    <a:pt x="317" y="104"/>
                  </a:lnTo>
                  <a:lnTo>
                    <a:pt x="316" y="106"/>
                  </a:lnTo>
                  <a:lnTo>
                    <a:pt x="316" y="109"/>
                  </a:lnTo>
                  <a:lnTo>
                    <a:pt x="313" y="109"/>
                  </a:lnTo>
                  <a:lnTo>
                    <a:pt x="311" y="109"/>
                  </a:lnTo>
                  <a:lnTo>
                    <a:pt x="306" y="108"/>
                  </a:lnTo>
                  <a:lnTo>
                    <a:pt x="301" y="111"/>
                  </a:lnTo>
                  <a:lnTo>
                    <a:pt x="298" y="112"/>
                  </a:lnTo>
                  <a:lnTo>
                    <a:pt x="294" y="115"/>
                  </a:lnTo>
                  <a:lnTo>
                    <a:pt x="296" y="119"/>
                  </a:lnTo>
                  <a:lnTo>
                    <a:pt x="290" y="121"/>
                  </a:lnTo>
                  <a:lnTo>
                    <a:pt x="283" y="119"/>
                  </a:lnTo>
                  <a:lnTo>
                    <a:pt x="275" y="122"/>
                  </a:lnTo>
                  <a:lnTo>
                    <a:pt x="271" y="121"/>
                  </a:lnTo>
                  <a:lnTo>
                    <a:pt x="268" y="122"/>
                  </a:lnTo>
                  <a:lnTo>
                    <a:pt x="265" y="121"/>
                  </a:lnTo>
                  <a:lnTo>
                    <a:pt x="260" y="116"/>
                  </a:lnTo>
                  <a:lnTo>
                    <a:pt x="257" y="115"/>
                  </a:lnTo>
                  <a:lnTo>
                    <a:pt x="254" y="115"/>
                  </a:lnTo>
                  <a:lnTo>
                    <a:pt x="250" y="114"/>
                  </a:lnTo>
                  <a:lnTo>
                    <a:pt x="247" y="111"/>
                  </a:lnTo>
                  <a:lnTo>
                    <a:pt x="243" y="108"/>
                  </a:lnTo>
                  <a:lnTo>
                    <a:pt x="237" y="106"/>
                  </a:lnTo>
                  <a:lnTo>
                    <a:pt x="230" y="102"/>
                  </a:lnTo>
                  <a:lnTo>
                    <a:pt x="227" y="95"/>
                  </a:lnTo>
                  <a:lnTo>
                    <a:pt x="224" y="89"/>
                  </a:lnTo>
                  <a:lnTo>
                    <a:pt x="222" y="86"/>
                  </a:lnTo>
                  <a:lnTo>
                    <a:pt x="222" y="84"/>
                  </a:lnTo>
                  <a:lnTo>
                    <a:pt x="222" y="81"/>
                  </a:lnTo>
                  <a:lnTo>
                    <a:pt x="221" y="78"/>
                  </a:lnTo>
                  <a:lnTo>
                    <a:pt x="221" y="74"/>
                  </a:lnTo>
                  <a:lnTo>
                    <a:pt x="222" y="69"/>
                  </a:lnTo>
                  <a:lnTo>
                    <a:pt x="221" y="65"/>
                  </a:lnTo>
                  <a:lnTo>
                    <a:pt x="222" y="62"/>
                  </a:lnTo>
                  <a:lnTo>
                    <a:pt x="222" y="58"/>
                  </a:lnTo>
                  <a:lnTo>
                    <a:pt x="220" y="52"/>
                  </a:lnTo>
                  <a:lnTo>
                    <a:pt x="218" y="46"/>
                  </a:lnTo>
                  <a:lnTo>
                    <a:pt x="212" y="45"/>
                  </a:lnTo>
                  <a:lnTo>
                    <a:pt x="208" y="43"/>
                  </a:lnTo>
                  <a:lnTo>
                    <a:pt x="207" y="45"/>
                  </a:lnTo>
                  <a:lnTo>
                    <a:pt x="202" y="48"/>
                  </a:lnTo>
                  <a:lnTo>
                    <a:pt x="197" y="51"/>
                  </a:lnTo>
                  <a:lnTo>
                    <a:pt x="195" y="53"/>
                  </a:lnTo>
                  <a:lnTo>
                    <a:pt x="194" y="56"/>
                  </a:lnTo>
                  <a:lnTo>
                    <a:pt x="190" y="56"/>
                  </a:lnTo>
                  <a:lnTo>
                    <a:pt x="187" y="56"/>
                  </a:lnTo>
                  <a:lnTo>
                    <a:pt x="187" y="59"/>
                  </a:lnTo>
                  <a:lnTo>
                    <a:pt x="188" y="63"/>
                  </a:lnTo>
                  <a:lnTo>
                    <a:pt x="190" y="63"/>
                  </a:lnTo>
                  <a:lnTo>
                    <a:pt x="190" y="59"/>
                  </a:lnTo>
                  <a:lnTo>
                    <a:pt x="192" y="59"/>
                  </a:lnTo>
                  <a:lnTo>
                    <a:pt x="194" y="59"/>
                  </a:lnTo>
                  <a:lnTo>
                    <a:pt x="195" y="61"/>
                  </a:lnTo>
                  <a:lnTo>
                    <a:pt x="195" y="65"/>
                  </a:lnTo>
                  <a:lnTo>
                    <a:pt x="194" y="68"/>
                  </a:lnTo>
                  <a:lnTo>
                    <a:pt x="185" y="69"/>
                  </a:lnTo>
                  <a:lnTo>
                    <a:pt x="182" y="72"/>
                  </a:lnTo>
                  <a:lnTo>
                    <a:pt x="182" y="75"/>
                  </a:lnTo>
                  <a:lnTo>
                    <a:pt x="185" y="75"/>
                  </a:lnTo>
                  <a:lnTo>
                    <a:pt x="188" y="72"/>
                  </a:lnTo>
                  <a:lnTo>
                    <a:pt x="192" y="72"/>
                  </a:lnTo>
                  <a:lnTo>
                    <a:pt x="195" y="72"/>
                  </a:lnTo>
                  <a:lnTo>
                    <a:pt x="195" y="75"/>
                  </a:lnTo>
                  <a:lnTo>
                    <a:pt x="191" y="79"/>
                  </a:lnTo>
                  <a:lnTo>
                    <a:pt x="185" y="81"/>
                  </a:lnTo>
                  <a:lnTo>
                    <a:pt x="185" y="82"/>
                  </a:lnTo>
                  <a:lnTo>
                    <a:pt x="190" y="81"/>
                  </a:lnTo>
                  <a:lnTo>
                    <a:pt x="194" y="81"/>
                  </a:lnTo>
                  <a:lnTo>
                    <a:pt x="198" y="81"/>
                  </a:lnTo>
                  <a:lnTo>
                    <a:pt x="198" y="86"/>
                  </a:lnTo>
                  <a:lnTo>
                    <a:pt x="198" y="92"/>
                  </a:lnTo>
                  <a:lnTo>
                    <a:pt x="204" y="94"/>
                  </a:lnTo>
                  <a:lnTo>
                    <a:pt x="211" y="99"/>
                  </a:lnTo>
                  <a:lnTo>
                    <a:pt x="215" y="106"/>
                  </a:lnTo>
                  <a:lnTo>
                    <a:pt x="224" y="114"/>
                  </a:lnTo>
                  <a:lnTo>
                    <a:pt x="225" y="116"/>
                  </a:lnTo>
                  <a:lnTo>
                    <a:pt x="232" y="118"/>
                  </a:lnTo>
                  <a:lnTo>
                    <a:pt x="240" y="121"/>
                  </a:lnTo>
                  <a:lnTo>
                    <a:pt x="244" y="127"/>
                  </a:lnTo>
                  <a:lnTo>
                    <a:pt x="253" y="128"/>
                  </a:lnTo>
                  <a:lnTo>
                    <a:pt x="258" y="132"/>
                  </a:lnTo>
                  <a:lnTo>
                    <a:pt x="265" y="135"/>
                  </a:lnTo>
                  <a:lnTo>
                    <a:pt x="270" y="135"/>
                  </a:lnTo>
                  <a:lnTo>
                    <a:pt x="273" y="129"/>
                  </a:lnTo>
                  <a:lnTo>
                    <a:pt x="275" y="128"/>
                  </a:lnTo>
                  <a:lnTo>
                    <a:pt x="281" y="128"/>
                  </a:lnTo>
                  <a:lnTo>
                    <a:pt x="284" y="128"/>
                  </a:lnTo>
                  <a:lnTo>
                    <a:pt x="288" y="125"/>
                  </a:lnTo>
                  <a:lnTo>
                    <a:pt x="293" y="127"/>
                  </a:lnTo>
                  <a:lnTo>
                    <a:pt x="297" y="127"/>
                  </a:lnTo>
                  <a:lnTo>
                    <a:pt x="301" y="125"/>
                  </a:lnTo>
                  <a:lnTo>
                    <a:pt x="304" y="124"/>
                  </a:lnTo>
                  <a:lnTo>
                    <a:pt x="308" y="127"/>
                  </a:lnTo>
                  <a:lnTo>
                    <a:pt x="313" y="131"/>
                  </a:lnTo>
                  <a:lnTo>
                    <a:pt x="313" y="135"/>
                  </a:lnTo>
                  <a:lnTo>
                    <a:pt x="313" y="139"/>
                  </a:lnTo>
                  <a:lnTo>
                    <a:pt x="307" y="145"/>
                  </a:lnTo>
                  <a:lnTo>
                    <a:pt x="303" y="147"/>
                  </a:lnTo>
                  <a:lnTo>
                    <a:pt x="301" y="149"/>
                  </a:lnTo>
                  <a:lnTo>
                    <a:pt x="301" y="151"/>
                  </a:lnTo>
                  <a:lnTo>
                    <a:pt x="298" y="154"/>
                  </a:lnTo>
                  <a:lnTo>
                    <a:pt x="296" y="154"/>
                  </a:lnTo>
                  <a:lnTo>
                    <a:pt x="296" y="155"/>
                  </a:lnTo>
                  <a:lnTo>
                    <a:pt x="294" y="158"/>
                  </a:lnTo>
                  <a:lnTo>
                    <a:pt x="293" y="159"/>
                  </a:lnTo>
                  <a:lnTo>
                    <a:pt x="290" y="158"/>
                  </a:lnTo>
                  <a:lnTo>
                    <a:pt x="287" y="158"/>
                  </a:lnTo>
                  <a:lnTo>
                    <a:pt x="285" y="161"/>
                  </a:lnTo>
                  <a:lnTo>
                    <a:pt x="285" y="164"/>
                  </a:lnTo>
                  <a:lnTo>
                    <a:pt x="285" y="167"/>
                  </a:lnTo>
                  <a:lnTo>
                    <a:pt x="285" y="169"/>
                  </a:lnTo>
                  <a:lnTo>
                    <a:pt x="288" y="169"/>
                  </a:lnTo>
                  <a:lnTo>
                    <a:pt x="288" y="167"/>
                  </a:lnTo>
                  <a:lnTo>
                    <a:pt x="291" y="165"/>
                  </a:lnTo>
                  <a:lnTo>
                    <a:pt x="291" y="168"/>
                  </a:lnTo>
                  <a:lnTo>
                    <a:pt x="291" y="172"/>
                  </a:lnTo>
                  <a:lnTo>
                    <a:pt x="288" y="177"/>
                  </a:lnTo>
                  <a:lnTo>
                    <a:pt x="285" y="179"/>
                  </a:lnTo>
                  <a:lnTo>
                    <a:pt x="280" y="181"/>
                  </a:lnTo>
                  <a:lnTo>
                    <a:pt x="270" y="178"/>
                  </a:lnTo>
                  <a:lnTo>
                    <a:pt x="257" y="178"/>
                  </a:lnTo>
                  <a:lnTo>
                    <a:pt x="251" y="178"/>
                  </a:lnTo>
                  <a:lnTo>
                    <a:pt x="250" y="177"/>
                  </a:lnTo>
                  <a:lnTo>
                    <a:pt x="251" y="177"/>
                  </a:lnTo>
                  <a:lnTo>
                    <a:pt x="255" y="177"/>
                  </a:lnTo>
                  <a:lnTo>
                    <a:pt x="255" y="174"/>
                  </a:lnTo>
                  <a:lnTo>
                    <a:pt x="253" y="171"/>
                  </a:lnTo>
                  <a:lnTo>
                    <a:pt x="255" y="167"/>
                  </a:lnTo>
                  <a:lnTo>
                    <a:pt x="261" y="167"/>
                  </a:lnTo>
                  <a:lnTo>
                    <a:pt x="268" y="167"/>
                  </a:lnTo>
                  <a:lnTo>
                    <a:pt x="270" y="167"/>
                  </a:lnTo>
                  <a:lnTo>
                    <a:pt x="265" y="164"/>
                  </a:lnTo>
                  <a:lnTo>
                    <a:pt x="261" y="162"/>
                  </a:lnTo>
                  <a:lnTo>
                    <a:pt x="257" y="161"/>
                  </a:lnTo>
                  <a:lnTo>
                    <a:pt x="257" y="158"/>
                  </a:lnTo>
                  <a:lnTo>
                    <a:pt x="255" y="161"/>
                  </a:lnTo>
                  <a:lnTo>
                    <a:pt x="251" y="165"/>
                  </a:lnTo>
                  <a:lnTo>
                    <a:pt x="247" y="168"/>
                  </a:lnTo>
                  <a:lnTo>
                    <a:pt x="244" y="171"/>
                  </a:lnTo>
                  <a:lnTo>
                    <a:pt x="243" y="177"/>
                  </a:lnTo>
                  <a:lnTo>
                    <a:pt x="240" y="182"/>
                  </a:lnTo>
                  <a:lnTo>
                    <a:pt x="240" y="190"/>
                  </a:lnTo>
                  <a:lnTo>
                    <a:pt x="221" y="211"/>
                  </a:lnTo>
                  <a:lnTo>
                    <a:pt x="208" y="231"/>
                  </a:lnTo>
                  <a:lnTo>
                    <a:pt x="201" y="244"/>
                  </a:lnTo>
                  <a:lnTo>
                    <a:pt x="197" y="247"/>
                  </a:lnTo>
                  <a:lnTo>
                    <a:pt x="195" y="245"/>
                  </a:lnTo>
                  <a:lnTo>
                    <a:pt x="195" y="244"/>
                  </a:lnTo>
                  <a:lnTo>
                    <a:pt x="198" y="243"/>
                  </a:lnTo>
                  <a:lnTo>
                    <a:pt x="198" y="240"/>
                  </a:lnTo>
                  <a:lnTo>
                    <a:pt x="195" y="237"/>
                  </a:lnTo>
                  <a:lnTo>
                    <a:pt x="192" y="235"/>
                  </a:lnTo>
                  <a:lnTo>
                    <a:pt x="190" y="234"/>
                  </a:lnTo>
                  <a:lnTo>
                    <a:pt x="190" y="232"/>
                  </a:lnTo>
                  <a:lnTo>
                    <a:pt x="187" y="231"/>
                  </a:lnTo>
                  <a:lnTo>
                    <a:pt x="185" y="231"/>
                  </a:lnTo>
                  <a:lnTo>
                    <a:pt x="182" y="230"/>
                  </a:lnTo>
                  <a:lnTo>
                    <a:pt x="182" y="227"/>
                  </a:lnTo>
                  <a:lnTo>
                    <a:pt x="181" y="225"/>
                  </a:lnTo>
                  <a:lnTo>
                    <a:pt x="181" y="228"/>
                  </a:lnTo>
                  <a:lnTo>
                    <a:pt x="178" y="230"/>
                  </a:lnTo>
                  <a:lnTo>
                    <a:pt x="177" y="230"/>
                  </a:lnTo>
                  <a:lnTo>
                    <a:pt x="174" y="230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9" y="237"/>
                  </a:lnTo>
                  <a:lnTo>
                    <a:pt x="171" y="241"/>
                  </a:lnTo>
                  <a:lnTo>
                    <a:pt x="175" y="247"/>
                  </a:lnTo>
                  <a:lnTo>
                    <a:pt x="180" y="248"/>
                  </a:lnTo>
                  <a:lnTo>
                    <a:pt x="180" y="244"/>
                  </a:lnTo>
                  <a:lnTo>
                    <a:pt x="180" y="241"/>
                  </a:lnTo>
                  <a:lnTo>
                    <a:pt x="182" y="244"/>
                  </a:lnTo>
                  <a:lnTo>
                    <a:pt x="181" y="251"/>
                  </a:lnTo>
                  <a:lnTo>
                    <a:pt x="182" y="254"/>
                  </a:lnTo>
                  <a:lnTo>
                    <a:pt x="187" y="261"/>
                  </a:lnTo>
                  <a:lnTo>
                    <a:pt x="188" y="273"/>
                  </a:lnTo>
                  <a:lnTo>
                    <a:pt x="187" y="281"/>
                  </a:lnTo>
                  <a:lnTo>
                    <a:pt x="185" y="287"/>
                  </a:lnTo>
                  <a:lnTo>
                    <a:pt x="181" y="291"/>
                  </a:lnTo>
                  <a:lnTo>
                    <a:pt x="169" y="290"/>
                  </a:lnTo>
                  <a:lnTo>
                    <a:pt x="158" y="288"/>
                  </a:lnTo>
                  <a:lnTo>
                    <a:pt x="149" y="290"/>
                  </a:lnTo>
                  <a:lnTo>
                    <a:pt x="141" y="293"/>
                  </a:lnTo>
                  <a:lnTo>
                    <a:pt x="135" y="296"/>
                  </a:lnTo>
                  <a:lnTo>
                    <a:pt x="131" y="294"/>
                  </a:lnTo>
                  <a:lnTo>
                    <a:pt x="125" y="290"/>
                  </a:lnTo>
                  <a:lnTo>
                    <a:pt x="119" y="287"/>
                  </a:lnTo>
                  <a:lnTo>
                    <a:pt x="111" y="284"/>
                  </a:lnTo>
                  <a:lnTo>
                    <a:pt x="109" y="277"/>
                  </a:lnTo>
                  <a:lnTo>
                    <a:pt x="105" y="275"/>
                  </a:lnTo>
                  <a:lnTo>
                    <a:pt x="95" y="274"/>
                  </a:lnTo>
                  <a:lnTo>
                    <a:pt x="88" y="274"/>
                  </a:lnTo>
                  <a:lnTo>
                    <a:pt x="71" y="27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13" name="Freeform 462"/>
            <p:cNvSpPr>
              <a:spLocks/>
            </p:cNvSpPr>
            <p:nvPr/>
          </p:nvSpPr>
          <p:spPr bwMode="auto">
            <a:xfrm>
              <a:off x="6607636" y="2531518"/>
              <a:ext cx="7327" cy="6615"/>
            </a:xfrm>
            <a:custGeom>
              <a:avLst/>
              <a:gdLst>
                <a:gd name="T0" fmla="*/ 9 w 12"/>
                <a:gd name="T1" fmla="*/ 12 h 12"/>
                <a:gd name="T2" fmla="*/ 6 w 12"/>
                <a:gd name="T3" fmla="*/ 9 h 12"/>
                <a:gd name="T4" fmla="*/ 6 w 12"/>
                <a:gd name="T5" fmla="*/ 9 h 12"/>
                <a:gd name="T6" fmla="*/ 3 w 12"/>
                <a:gd name="T7" fmla="*/ 9 h 12"/>
                <a:gd name="T8" fmla="*/ 2 w 12"/>
                <a:gd name="T9" fmla="*/ 9 h 12"/>
                <a:gd name="T10" fmla="*/ 2 w 12"/>
                <a:gd name="T11" fmla="*/ 6 h 12"/>
                <a:gd name="T12" fmla="*/ 0 w 12"/>
                <a:gd name="T13" fmla="*/ 3 h 12"/>
                <a:gd name="T14" fmla="*/ 6 w 12"/>
                <a:gd name="T15" fmla="*/ 3 h 12"/>
                <a:gd name="T16" fmla="*/ 7 w 12"/>
                <a:gd name="T17" fmla="*/ 0 h 12"/>
                <a:gd name="T18" fmla="*/ 10 w 12"/>
                <a:gd name="T19" fmla="*/ 3 h 12"/>
                <a:gd name="T20" fmla="*/ 10 w 12"/>
                <a:gd name="T21" fmla="*/ 3 h 12"/>
                <a:gd name="T22" fmla="*/ 12 w 12"/>
                <a:gd name="T23" fmla="*/ 6 h 12"/>
                <a:gd name="T24" fmla="*/ 12 w 12"/>
                <a:gd name="T25" fmla="*/ 7 h 12"/>
                <a:gd name="T26" fmla="*/ 9 w 12"/>
                <a:gd name="T27" fmla="*/ 9 h 12"/>
                <a:gd name="T28" fmla="*/ 9 w 12"/>
                <a:gd name="T29" fmla="*/ 10 h 12"/>
                <a:gd name="T30" fmla="*/ 9 w 12"/>
                <a:gd name="T3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" h="12">
                  <a:moveTo>
                    <a:pt x="9" y="12"/>
                  </a:moveTo>
                  <a:lnTo>
                    <a:pt x="6" y="9"/>
                  </a:lnTo>
                  <a:lnTo>
                    <a:pt x="6" y="9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6"/>
                  </a:lnTo>
                  <a:lnTo>
                    <a:pt x="0" y="3"/>
                  </a:lnTo>
                  <a:lnTo>
                    <a:pt x="6" y="3"/>
                  </a:lnTo>
                  <a:lnTo>
                    <a:pt x="7" y="0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2" y="6"/>
                  </a:lnTo>
                  <a:lnTo>
                    <a:pt x="12" y="7"/>
                  </a:lnTo>
                  <a:lnTo>
                    <a:pt x="9" y="9"/>
                  </a:lnTo>
                  <a:lnTo>
                    <a:pt x="9" y="10"/>
                  </a:lnTo>
                  <a:lnTo>
                    <a:pt x="9" y="1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14" name="Freeform 463"/>
            <p:cNvSpPr>
              <a:spLocks/>
            </p:cNvSpPr>
            <p:nvPr/>
          </p:nvSpPr>
          <p:spPr bwMode="auto">
            <a:xfrm>
              <a:off x="5458541" y="2444206"/>
              <a:ext cx="7327" cy="7937"/>
            </a:xfrm>
            <a:custGeom>
              <a:avLst/>
              <a:gdLst>
                <a:gd name="T0" fmla="*/ 12 w 12"/>
                <a:gd name="T1" fmla="*/ 6 h 11"/>
                <a:gd name="T2" fmla="*/ 12 w 12"/>
                <a:gd name="T3" fmla="*/ 3 h 11"/>
                <a:gd name="T4" fmla="*/ 9 w 12"/>
                <a:gd name="T5" fmla="*/ 0 h 11"/>
                <a:gd name="T6" fmla="*/ 9 w 12"/>
                <a:gd name="T7" fmla="*/ 0 h 11"/>
                <a:gd name="T8" fmla="*/ 7 w 12"/>
                <a:gd name="T9" fmla="*/ 0 h 11"/>
                <a:gd name="T10" fmla="*/ 6 w 12"/>
                <a:gd name="T11" fmla="*/ 1 h 11"/>
                <a:gd name="T12" fmla="*/ 5 w 12"/>
                <a:gd name="T13" fmla="*/ 1 h 11"/>
                <a:gd name="T14" fmla="*/ 5 w 12"/>
                <a:gd name="T15" fmla="*/ 0 h 11"/>
                <a:gd name="T16" fmla="*/ 3 w 12"/>
                <a:gd name="T17" fmla="*/ 0 h 11"/>
                <a:gd name="T18" fmla="*/ 2 w 12"/>
                <a:gd name="T19" fmla="*/ 0 h 11"/>
                <a:gd name="T20" fmla="*/ 2 w 12"/>
                <a:gd name="T21" fmla="*/ 1 h 11"/>
                <a:gd name="T22" fmla="*/ 0 w 12"/>
                <a:gd name="T23" fmla="*/ 3 h 11"/>
                <a:gd name="T24" fmla="*/ 0 w 12"/>
                <a:gd name="T25" fmla="*/ 4 h 11"/>
                <a:gd name="T26" fmla="*/ 0 w 12"/>
                <a:gd name="T27" fmla="*/ 7 h 11"/>
                <a:gd name="T28" fmla="*/ 2 w 12"/>
                <a:gd name="T29" fmla="*/ 10 h 11"/>
                <a:gd name="T30" fmla="*/ 5 w 12"/>
                <a:gd name="T31" fmla="*/ 11 h 11"/>
                <a:gd name="T32" fmla="*/ 7 w 12"/>
                <a:gd name="T33" fmla="*/ 11 h 11"/>
                <a:gd name="T34" fmla="*/ 10 w 12"/>
                <a:gd name="T35" fmla="*/ 10 h 11"/>
                <a:gd name="T36" fmla="*/ 10 w 12"/>
                <a:gd name="T37" fmla="*/ 9 h 11"/>
                <a:gd name="T38" fmla="*/ 12 w 12"/>
                <a:gd name="T39" fmla="*/ 6 h 11"/>
                <a:gd name="T40" fmla="*/ 12 w 12"/>
                <a:gd name="T41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" h="11">
                  <a:moveTo>
                    <a:pt x="12" y="6"/>
                  </a:moveTo>
                  <a:lnTo>
                    <a:pt x="12" y="3"/>
                  </a:lnTo>
                  <a:lnTo>
                    <a:pt x="9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6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7"/>
                  </a:lnTo>
                  <a:lnTo>
                    <a:pt x="2" y="10"/>
                  </a:lnTo>
                  <a:lnTo>
                    <a:pt x="5" y="11"/>
                  </a:lnTo>
                  <a:lnTo>
                    <a:pt x="7" y="11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2" y="6"/>
                  </a:lnTo>
                  <a:lnTo>
                    <a:pt x="12" y="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15" name="Freeform 464"/>
            <p:cNvSpPr>
              <a:spLocks/>
            </p:cNvSpPr>
            <p:nvPr/>
          </p:nvSpPr>
          <p:spPr bwMode="auto">
            <a:xfrm>
              <a:off x="5432897" y="2404519"/>
              <a:ext cx="14654" cy="13229"/>
            </a:xfrm>
            <a:custGeom>
              <a:avLst/>
              <a:gdLst>
                <a:gd name="T0" fmla="*/ 13 w 25"/>
                <a:gd name="T1" fmla="*/ 5 h 20"/>
                <a:gd name="T2" fmla="*/ 8 w 25"/>
                <a:gd name="T3" fmla="*/ 3 h 20"/>
                <a:gd name="T4" fmla="*/ 3 w 25"/>
                <a:gd name="T5" fmla="*/ 1 h 20"/>
                <a:gd name="T6" fmla="*/ 2 w 25"/>
                <a:gd name="T7" fmla="*/ 0 h 20"/>
                <a:gd name="T8" fmla="*/ 2 w 25"/>
                <a:gd name="T9" fmla="*/ 3 h 20"/>
                <a:gd name="T10" fmla="*/ 0 w 25"/>
                <a:gd name="T11" fmla="*/ 4 h 20"/>
                <a:gd name="T12" fmla="*/ 2 w 25"/>
                <a:gd name="T13" fmla="*/ 8 h 20"/>
                <a:gd name="T14" fmla="*/ 8 w 25"/>
                <a:gd name="T15" fmla="*/ 14 h 20"/>
                <a:gd name="T16" fmla="*/ 12 w 25"/>
                <a:gd name="T17" fmla="*/ 18 h 20"/>
                <a:gd name="T18" fmla="*/ 18 w 25"/>
                <a:gd name="T19" fmla="*/ 20 h 20"/>
                <a:gd name="T20" fmla="*/ 22 w 25"/>
                <a:gd name="T21" fmla="*/ 20 h 20"/>
                <a:gd name="T22" fmla="*/ 23 w 25"/>
                <a:gd name="T23" fmla="*/ 18 h 20"/>
                <a:gd name="T24" fmla="*/ 25 w 25"/>
                <a:gd name="T25" fmla="*/ 17 h 20"/>
                <a:gd name="T26" fmla="*/ 25 w 25"/>
                <a:gd name="T27" fmla="*/ 16 h 20"/>
                <a:gd name="T28" fmla="*/ 23 w 25"/>
                <a:gd name="T29" fmla="*/ 16 h 20"/>
                <a:gd name="T30" fmla="*/ 22 w 25"/>
                <a:gd name="T31" fmla="*/ 14 h 20"/>
                <a:gd name="T32" fmla="*/ 22 w 25"/>
                <a:gd name="T33" fmla="*/ 13 h 20"/>
                <a:gd name="T34" fmla="*/ 23 w 25"/>
                <a:gd name="T35" fmla="*/ 11 h 20"/>
                <a:gd name="T36" fmla="*/ 22 w 25"/>
                <a:gd name="T37" fmla="*/ 11 h 20"/>
                <a:gd name="T38" fmla="*/ 20 w 25"/>
                <a:gd name="T39" fmla="*/ 10 h 20"/>
                <a:gd name="T40" fmla="*/ 20 w 25"/>
                <a:gd name="T41" fmla="*/ 8 h 20"/>
                <a:gd name="T42" fmla="*/ 23 w 25"/>
                <a:gd name="T43" fmla="*/ 7 h 20"/>
                <a:gd name="T44" fmla="*/ 20 w 25"/>
                <a:gd name="T45" fmla="*/ 5 h 20"/>
                <a:gd name="T46" fmla="*/ 16 w 25"/>
                <a:gd name="T47" fmla="*/ 5 h 20"/>
                <a:gd name="T48" fmla="*/ 13 w 25"/>
                <a:gd name="T49" fmla="*/ 5 h 20"/>
                <a:gd name="T50" fmla="*/ 13 w 25"/>
                <a:gd name="T51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" h="20">
                  <a:moveTo>
                    <a:pt x="13" y="5"/>
                  </a:moveTo>
                  <a:lnTo>
                    <a:pt x="8" y="3"/>
                  </a:lnTo>
                  <a:lnTo>
                    <a:pt x="3" y="1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4"/>
                  </a:lnTo>
                  <a:lnTo>
                    <a:pt x="2" y="8"/>
                  </a:lnTo>
                  <a:lnTo>
                    <a:pt x="8" y="14"/>
                  </a:lnTo>
                  <a:lnTo>
                    <a:pt x="12" y="18"/>
                  </a:lnTo>
                  <a:lnTo>
                    <a:pt x="18" y="20"/>
                  </a:lnTo>
                  <a:lnTo>
                    <a:pt x="22" y="20"/>
                  </a:lnTo>
                  <a:lnTo>
                    <a:pt x="23" y="18"/>
                  </a:lnTo>
                  <a:lnTo>
                    <a:pt x="25" y="17"/>
                  </a:lnTo>
                  <a:lnTo>
                    <a:pt x="25" y="16"/>
                  </a:lnTo>
                  <a:lnTo>
                    <a:pt x="23" y="16"/>
                  </a:lnTo>
                  <a:lnTo>
                    <a:pt x="22" y="14"/>
                  </a:lnTo>
                  <a:lnTo>
                    <a:pt x="22" y="13"/>
                  </a:lnTo>
                  <a:lnTo>
                    <a:pt x="23" y="11"/>
                  </a:lnTo>
                  <a:lnTo>
                    <a:pt x="22" y="11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23" y="7"/>
                  </a:lnTo>
                  <a:lnTo>
                    <a:pt x="20" y="5"/>
                  </a:lnTo>
                  <a:lnTo>
                    <a:pt x="16" y="5"/>
                  </a:lnTo>
                  <a:lnTo>
                    <a:pt x="13" y="5"/>
                  </a:lnTo>
                  <a:lnTo>
                    <a:pt x="13" y="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16" name="Freeform 465"/>
            <p:cNvSpPr>
              <a:spLocks/>
            </p:cNvSpPr>
            <p:nvPr/>
          </p:nvSpPr>
          <p:spPr bwMode="auto">
            <a:xfrm>
              <a:off x="5601414" y="2452143"/>
              <a:ext cx="3663" cy="5292"/>
            </a:xfrm>
            <a:custGeom>
              <a:avLst/>
              <a:gdLst>
                <a:gd name="T0" fmla="*/ 4 w 5"/>
                <a:gd name="T1" fmla="*/ 6 h 9"/>
                <a:gd name="T2" fmla="*/ 5 w 5"/>
                <a:gd name="T3" fmla="*/ 5 h 9"/>
                <a:gd name="T4" fmla="*/ 5 w 5"/>
                <a:gd name="T5" fmla="*/ 3 h 9"/>
                <a:gd name="T6" fmla="*/ 5 w 5"/>
                <a:gd name="T7" fmla="*/ 2 h 9"/>
                <a:gd name="T8" fmla="*/ 5 w 5"/>
                <a:gd name="T9" fmla="*/ 2 h 9"/>
                <a:gd name="T10" fmla="*/ 4 w 5"/>
                <a:gd name="T11" fmla="*/ 0 h 9"/>
                <a:gd name="T12" fmla="*/ 3 w 5"/>
                <a:gd name="T13" fmla="*/ 2 h 9"/>
                <a:gd name="T14" fmla="*/ 3 w 5"/>
                <a:gd name="T15" fmla="*/ 0 h 9"/>
                <a:gd name="T16" fmla="*/ 0 w 5"/>
                <a:gd name="T17" fmla="*/ 0 h 9"/>
                <a:gd name="T18" fmla="*/ 0 w 5"/>
                <a:gd name="T19" fmla="*/ 2 h 9"/>
                <a:gd name="T20" fmla="*/ 0 w 5"/>
                <a:gd name="T21" fmla="*/ 6 h 9"/>
                <a:gd name="T22" fmla="*/ 0 w 5"/>
                <a:gd name="T23" fmla="*/ 8 h 9"/>
                <a:gd name="T24" fmla="*/ 1 w 5"/>
                <a:gd name="T25" fmla="*/ 9 h 9"/>
                <a:gd name="T26" fmla="*/ 3 w 5"/>
                <a:gd name="T27" fmla="*/ 8 h 9"/>
                <a:gd name="T28" fmla="*/ 4 w 5"/>
                <a:gd name="T29" fmla="*/ 6 h 9"/>
                <a:gd name="T30" fmla="*/ 4 w 5"/>
                <a:gd name="T31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" h="9">
                  <a:moveTo>
                    <a:pt x="4" y="6"/>
                  </a:moveTo>
                  <a:lnTo>
                    <a:pt x="5" y="5"/>
                  </a:lnTo>
                  <a:lnTo>
                    <a:pt x="5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0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1" y="9"/>
                  </a:lnTo>
                  <a:lnTo>
                    <a:pt x="3" y="8"/>
                  </a:lnTo>
                  <a:lnTo>
                    <a:pt x="4" y="6"/>
                  </a:lnTo>
                  <a:lnTo>
                    <a:pt x="4" y="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17" name="Freeform 466"/>
            <p:cNvSpPr>
              <a:spLocks/>
            </p:cNvSpPr>
            <p:nvPr/>
          </p:nvSpPr>
          <p:spPr bwMode="auto">
            <a:xfrm>
              <a:off x="5602636" y="2421717"/>
              <a:ext cx="6106" cy="14552"/>
            </a:xfrm>
            <a:custGeom>
              <a:avLst/>
              <a:gdLst>
                <a:gd name="T0" fmla="*/ 3 w 12"/>
                <a:gd name="T1" fmla="*/ 3 h 23"/>
                <a:gd name="T2" fmla="*/ 3 w 12"/>
                <a:gd name="T3" fmla="*/ 10 h 23"/>
                <a:gd name="T4" fmla="*/ 2 w 12"/>
                <a:gd name="T5" fmla="*/ 13 h 23"/>
                <a:gd name="T6" fmla="*/ 0 w 12"/>
                <a:gd name="T7" fmla="*/ 17 h 23"/>
                <a:gd name="T8" fmla="*/ 0 w 12"/>
                <a:gd name="T9" fmla="*/ 19 h 23"/>
                <a:gd name="T10" fmla="*/ 0 w 12"/>
                <a:gd name="T11" fmla="*/ 22 h 23"/>
                <a:gd name="T12" fmla="*/ 0 w 12"/>
                <a:gd name="T13" fmla="*/ 23 h 23"/>
                <a:gd name="T14" fmla="*/ 2 w 12"/>
                <a:gd name="T15" fmla="*/ 23 h 23"/>
                <a:gd name="T16" fmla="*/ 3 w 12"/>
                <a:gd name="T17" fmla="*/ 20 h 23"/>
                <a:gd name="T18" fmla="*/ 3 w 12"/>
                <a:gd name="T19" fmla="*/ 17 h 23"/>
                <a:gd name="T20" fmla="*/ 3 w 12"/>
                <a:gd name="T21" fmla="*/ 14 h 23"/>
                <a:gd name="T22" fmla="*/ 4 w 12"/>
                <a:gd name="T23" fmla="*/ 13 h 23"/>
                <a:gd name="T24" fmla="*/ 6 w 12"/>
                <a:gd name="T25" fmla="*/ 13 h 23"/>
                <a:gd name="T26" fmla="*/ 9 w 12"/>
                <a:gd name="T27" fmla="*/ 13 h 23"/>
                <a:gd name="T28" fmla="*/ 10 w 12"/>
                <a:gd name="T29" fmla="*/ 12 h 23"/>
                <a:gd name="T30" fmla="*/ 12 w 12"/>
                <a:gd name="T31" fmla="*/ 10 h 23"/>
                <a:gd name="T32" fmla="*/ 12 w 12"/>
                <a:gd name="T33" fmla="*/ 10 h 23"/>
                <a:gd name="T34" fmla="*/ 12 w 12"/>
                <a:gd name="T35" fmla="*/ 9 h 23"/>
                <a:gd name="T36" fmla="*/ 10 w 12"/>
                <a:gd name="T37" fmla="*/ 7 h 23"/>
                <a:gd name="T38" fmla="*/ 9 w 12"/>
                <a:gd name="T39" fmla="*/ 7 h 23"/>
                <a:gd name="T40" fmla="*/ 6 w 12"/>
                <a:gd name="T41" fmla="*/ 7 h 23"/>
                <a:gd name="T42" fmla="*/ 6 w 12"/>
                <a:gd name="T43" fmla="*/ 4 h 23"/>
                <a:gd name="T44" fmla="*/ 6 w 12"/>
                <a:gd name="T45" fmla="*/ 2 h 23"/>
                <a:gd name="T46" fmla="*/ 4 w 12"/>
                <a:gd name="T47" fmla="*/ 2 h 23"/>
                <a:gd name="T48" fmla="*/ 3 w 12"/>
                <a:gd name="T49" fmla="*/ 0 h 23"/>
                <a:gd name="T50" fmla="*/ 3 w 12"/>
                <a:gd name="T51" fmla="*/ 2 h 23"/>
                <a:gd name="T52" fmla="*/ 3 w 12"/>
                <a:gd name="T53" fmla="*/ 3 h 23"/>
                <a:gd name="T54" fmla="*/ 3 w 12"/>
                <a:gd name="T55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" h="23">
                  <a:moveTo>
                    <a:pt x="3" y="3"/>
                  </a:moveTo>
                  <a:lnTo>
                    <a:pt x="3" y="10"/>
                  </a:lnTo>
                  <a:lnTo>
                    <a:pt x="2" y="13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2" y="23"/>
                  </a:lnTo>
                  <a:lnTo>
                    <a:pt x="3" y="20"/>
                  </a:lnTo>
                  <a:lnTo>
                    <a:pt x="3" y="17"/>
                  </a:lnTo>
                  <a:lnTo>
                    <a:pt x="3" y="14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9" y="13"/>
                  </a:lnTo>
                  <a:lnTo>
                    <a:pt x="10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9"/>
                  </a:lnTo>
                  <a:lnTo>
                    <a:pt x="10" y="7"/>
                  </a:lnTo>
                  <a:lnTo>
                    <a:pt x="9" y="7"/>
                  </a:lnTo>
                  <a:lnTo>
                    <a:pt x="6" y="7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18" name="Freeform 467"/>
            <p:cNvSpPr>
              <a:spLocks/>
            </p:cNvSpPr>
            <p:nvPr/>
          </p:nvSpPr>
          <p:spPr bwMode="auto">
            <a:xfrm>
              <a:off x="5597751" y="2475956"/>
              <a:ext cx="1221" cy="2646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0 h 3"/>
                <a:gd name="T4" fmla="*/ 0 w 3"/>
                <a:gd name="T5" fmla="*/ 2 h 3"/>
                <a:gd name="T6" fmla="*/ 0 w 3"/>
                <a:gd name="T7" fmla="*/ 3 h 3"/>
                <a:gd name="T8" fmla="*/ 3 w 3"/>
                <a:gd name="T9" fmla="*/ 3 h 3"/>
                <a:gd name="T10" fmla="*/ 3 w 3"/>
                <a:gd name="T11" fmla="*/ 2 h 3"/>
                <a:gd name="T12" fmla="*/ 3 w 3"/>
                <a:gd name="T13" fmla="*/ 2 h 3"/>
                <a:gd name="T14" fmla="*/ 1 w 3"/>
                <a:gd name="T15" fmla="*/ 0 h 3"/>
                <a:gd name="T16" fmla="*/ 1 w 3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19" name="Freeform 468"/>
            <p:cNvSpPr>
              <a:spLocks/>
            </p:cNvSpPr>
            <p:nvPr/>
          </p:nvSpPr>
          <p:spPr bwMode="auto">
            <a:xfrm>
              <a:off x="5495175" y="2233864"/>
              <a:ext cx="23202" cy="21166"/>
            </a:xfrm>
            <a:custGeom>
              <a:avLst/>
              <a:gdLst>
                <a:gd name="T0" fmla="*/ 28 w 38"/>
                <a:gd name="T1" fmla="*/ 31 h 32"/>
                <a:gd name="T2" fmla="*/ 23 w 38"/>
                <a:gd name="T3" fmla="*/ 32 h 32"/>
                <a:gd name="T4" fmla="*/ 18 w 38"/>
                <a:gd name="T5" fmla="*/ 31 h 32"/>
                <a:gd name="T6" fmla="*/ 15 w 38"/>
                <a:gd name="T7" fmla="*/ 30 h 32"/>
                <a:gd name="T8" fmla="*/ 9 w 38"/>
                <a:gd name="T9" fmla="*/ 25 h 32"/>
                <a:gd name="T10" fmla="*/ 3 w 38"/>
                <a:gd name="T11" fmla="*/ 21 h 32"/>
                <a:gd name="T12" fmla="*/ 2 w 38"/>
                <a:gd name="T13" fmla="*/ 18 h 32"/>
                <a:gd name="T14" fmla="*/ 0 w 38"/>
                <a:gd name="T15" fmla="*/ 14 h 32"/>
                <a:gd name="T16" fmla="*/ 0 w 38"/>
                <a:gd name="T17" fmla="*/ 10 h 32"/>
                <a:gd name="T18" fmla="*/ 2 w 38"/>
                <a:gd name="T19" fmla="*/ 5 h 32"/>
                <a:gd name="T20" fmla="*/ 6 w 38"/>
                <a:gd name="T21" fmla="*/ 2 h 32"/>
                <a:gd name="T22" fmla="*/ 10 w 38"/>
                <a:gd name="T23" fmla="*/ 1 h 32"/>
                <a:gd name="T24" fmla="*/ 26 w 38"/>
                <a:gd name="T25" fmla="*/ 0 h 32"/>
                <a:gd name="T26" fmla="*/ 31 w 38"/>
                <a:gd name="T27" fmla="*/ 2 h 32"/>
                <a:gd name="T28" fmla="*/ 33 w 38"/>
                <a:gd name="T29" fmla="*/ 5 h 32"/>
                <a:gd name="T30" fmla="*/ 36 w 38"/>
                <a:gd name="T31" fmla="*/ 7 h 32"/>
                <a:gd name="T32" fmla="*/ 36 w 38"/>
                <a:gd name="T33" fmla="*/ 10 h 32"/>
                <a:gd name="T34" fmla="*/ 38 w 38"/>
                <a:gd name="T35" fmla="*/ 14 h 32"/>
                <a:gd name="T36" fmla="*/ 38 w 38"/>
                <a:gd name="T37" fmla="*/ 18 h 32"/>
                <a:gd name="T38" fmla="*/ 36 w 38"/>
                <a:gd name="T39" fmla="*/ 22 h 32"/>
                <a:gd name="T40" fmla="*/ 31 w 38"/>
                <a:gd name="T41" fmla="*/ 30 h 32"/>
                <a:gd name="T42" fmla="*/ 28 w 38"/>
                <a:gd name="T43" fmla="*/ 31 h 32"/>
                <a:gd name="T44" fmla="*/ 28 w 38"/>
                <a:gd name="T45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8" h="32">
                  <a:moveTo>
                    <a:pt x="28" y="31"/>
                  </a:moveTo>
                  <a:lnTo>
                    <a:pt x="23" y="32"/>
                  </a:lnTo>
                  <a:lnTo>
                    <a:pt x="18" y="31"/>
                  </a:lnTo>
                  <a:lnTo>
                    <a:pt x="15" y="30"/>
                  </a:lnTo>
                  <a:lnTo>
                    <a:pt x="9" y="25"/>
                  </a:lnTo>
                  <a:lnTo>
                    <a:pt x="3" y="21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2" y="5"/>
                  </a:lnTo>
                  <a:lnTo>
                    <a:pt x="6" y="2"/>
                  </a:lnTo>
                  <a:lnTo>
                    <a:pt x="10" y="1"/>
                  </a:lnTo>
                  <a:lnTo>
                    <a:pt x="26" y="0"/>
                  </a:lnTo>
                  <a:lnTo>
                    <a:pt x="31" y="2"/>
                  </a:lnTo>
                  <a:lnTo>
                    <a:pt x="33" y="5"/>
                  </a:lnTo>
                  <a:lnTo>
                    <a:pt x="36" y="7"/>
                  </a:lnTo>
                  <a:lnTo>
                    <a:pt x="36" y="10"/>
                  </a:lnTo>
                  <a:lnTo>
                    <a:pt x="38" y="14"/>
                  </a:lnTo>
                  <a:lnTo>
                    <a:pt x="38" y="18"/>
                  </a:lnTo>
                  <a:lnTo>
                    <a:pt x="36" y="22"/>
                  </a:lnTo>
                  <a:lnTo>
                    <a:pt x="31" y="30"/>
                  </a:lnTo>
                  <a:lnTo>
                    <a:pt x="28" y="31"/>
                  </a:lnTo>
                  <a:lnTo>
                    <a:pt x="28" y="3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20" name="Freeform 469"/>
            <p:cNvSpPr>
              <a:spLocks/>
            </p:cNvSpPr>
            <p:nvPr/>
          </p:nvSpPr>
          <p:spPr bwMode="auto">
            <a:xfrm>
              <a:off x="5556232" y="2581788"/>
              <a:ext cx="2442" cy="1323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0 w 3"/>
                <a:gd name="T5" fmla="*/ 2 h 3"/>
                <a:gd name="T6" fmla="*/ 1 w 3"/>
                <a:gd name="T7" fmla="*/ 3 h 3"/>
                <a:gd name="T8" fmla="*/ 3 w 3"/>
                <a:gd name="T9" fmla="*/ 3 h 3"/>
                <a:gd name="T10" fmla="*/ 3 w 3"/>
                <a:gd name="T11" fmla="*/ 3 h 3"/>
                <a:gd name="T12" fmla="*/ 3 w 3"/>
                <a:gd name="T13" fmla="*/ 2 h 3"/>
                <a:gd name="T14" fmla="*/ 1 w 3"/>
                <a:gd name="T15" fmla="*/ 0 h 3"/>
                <a:gd name="T16" fmla="*/ 1 w 3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21" name="Freeform 470"/>
            <p:cNvSpPr>
              <a:spLocks/>
            </p:cNvSpPr>
            <p:nvPr/>
          </p:nvSpPr>
          <p:spPr bwMode="auto">
            <a:xfrm>
              <a:off x="5559896" y="2579142"/>
              <a:ext cx="2442" cy="2646"/>
            </a:xfrm>
            <a:custGeom>
              <a:avLst/>
              <a:gdLst>
                <a:gd name="T0" fmla="*/ 4 w 4"/>
                <a:gd name="T1" fmla="*/ 0 h 3"/>
                <a:gd name="T2" fmla="*/ 3 w 4"/>
                <a:gd name="T3" fmla="*/ 0 h 3"/>
                <a:gd name="T4" fmla="*/ 1 w 4"/>
                <a:gd name="T5" fmla="*/ 0 h 3"/>
                <a:gd name="T6" fmla="*/ 0 w 4"/>
                <a:gd name="T7" fmla="*/ 2 h 3"/>
                <a:gd name="T8" fmla="*/ 1 w 4"/>
                <a:gd name="T9" fmla="*/ 3 h 3"/>
                <a:gd name="T10" fmla="*/ 3 w 4"/>
                <a:gd name="T11" fmla="*/ 3 h 3"/>
                <a:gd name="T12" fmla="*/ 4 w 4"/>
                <a:gd name="T13" fmla="*/ 3 h 3"/>
                <a:gd name="T14" fmla="*/ 4 w 4"/>
                <a:gd name="T15" fmla="*/ 2 h 3"/>
                <a:gd name="T16" fmla="*/ 4 w 4"/>
                <a:gd name="T17" fmla="*/ 0 h 3"/>
                <a:gd name="T18" fmla="*/ 4 w 4"/>
                <a:gd name="T1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1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22" name="Freeform 471"/>
            <p:cNvSpPr>
              <a:spLocks/>
            </p:cNvSpPr>
            <p:nvPr/>
          </p:nvSpPr>
          <p:spPr bwMode="auto">
            <a:xfrm>
              <a:off x="5574549" y="2544747"/>
              <a:ext cx="2442" cy="5292"/>
            </a:xfrm>
            <a:custGeom>
              <a:avLst/>
              <a:gdLst>
                <a:gd name="T0" fmla="*/ 3 w 3"/>
                <a:gd name="T1" fmla="*/ 5 h 9"/>
                <a:gd name="T2" fmla="*/ 3 w 3"/>
                <a:gd name="T3" fmla="*/ 3 h 9"/>
                <a:gd name="T4" fmla="*/ 3 w 3"/>
                <a:gd name="T5" fmla="*/ 0 h 9"/>
                <a:gd name="T6" fmla="*/ 0 w 3"/>
                <a:gd name="T7" fmla="*/ 0 h 9"/>
                <a:gd name="T8" fmla="*/ 0 w 3"/>
                <a:gd name="T9" fmla="*/ 2 h 9"/>
                <a:gd name="T10" fmla="*/ 0 w 3"/>
                <a:gd name="T11" fmla="*/ 5 h 9"/>
                <a:gd name="T12" fmla="*/ 0 w 3"/>
                <a:gd name="T13" fmla="*/ 7 h 9"/>
                <a:gd name="T14" fmla="*/ 0 w 3"/>
                <a:gd name="T15" fmla="*/ 9 h 9"/>
                <a:gd name="T16" fmla="*/ 1 w 3"/>
                <a:gd name="T17" fmla="*/ 9 h 9"/>
                <a:gd name="T18" fmla="*/ 1 w 3"/>
                <a:gd name="T19" fmla="*/ 9 h 9"/>
                <a:gd name="T20" fmla="*/ 3 w 3"/>
                <a:gd name="T21" fmla="*/ 6 h 9"/>
                <a:gd name="T22" fmla="*/ 3 w 3"/>
                <a:gd name="T23" fmla="*/ 5 h 9"/>
                <a:gd name="T24" fmla="*/ 3 w 3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9">
                  <a:moveTo>
                    <a:pt x="3" y="5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3" y="6"/>
                  </a:lnTo>
                  <a:lnTo>
                    <a:pt x="3" y="5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23" name="Freeform 472"/>
            <p:cNvSpPr>
              <a:spLocks/>
            </p:cNvSpPr>
            <p:nvPr/>
          </p:nvSpPr>
          <p:spPr bwMode="auto">
            <a:xfrm>
              <a:off x="5574549" y="2551361"/>
              <a:ext cx="3663" cy="3969"/>
            </a:xfrm>
            <a:custGeom>
              <a:avLst/>
              <a:gdLst>
                <a:gd name="T0" fmla="*/ 3 w 4"/>
                <a:gd name="T1" fmla="*/ 0 h 4"/>
                <a:gd name="T2" fmla="*/ 1 w 4"/>
                <a:gd name="T3" fmla="*/ 0 h 4"/>
                <a:gd name="T4" fmla="*/ 0 w 4"/>
                <a:gd name="T5" fmla="*/ 0 h 4"/>
                <a:gd name="T6" fmla="*/ 0 w 4"/>
                <a:gd name="T7" fmla="*/ 1 h 4"/>
                <a:gd name="T8" fmla="*/ 0 w 4"/>
                <a:gd name="T9" fmla="*/ 3 h 4"/>
                <a:gd name="T10" fmla="*/ 1 w 4"/>
                <a:gd name="T11" fmla="*/ 3 h 4"/>
                <a:gd name="T12" fmla="*/ 3 w 4"/>
                <a:gd name="T13" fmla="*/ 4 h 4"/>
                <a:gd name="T14" fmla="*/ 4 w 4"/>
                <a:gd name="T15" fmla="*/ 3 h 4"/>
                <a:gd name="T16" fmla="*/ 4 w 4"/>
                <a:gd name="T17" fmla="*/ 3 h 4"/>
                <a:gd name="T18" fmla="*/ 4 w 4"/>
                <a:gd name="T19" fmla="*/ 0 h 4"/>
                <a:gd name="T20" fmla="*/ 3 w 4"/>
                <a:gd name="T21" fmla="*/ 0 h 4"/>
                <a:gd name="T22" fmla="*/ 3 w 4"/>
                <a:gd name="T2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1" y="3"/>
                  </a:lnTo>
                  <a:lnTo>
                    <a:pt x="3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24" name="Freeform 473"/>
            <p:cNvSpPr>
              <a:spLocks/>
            </p:cNvSpPr>
            <p:nvPr/>
          </p:nvSpPr>
          <p:spPr bwMode="auto">
            <a:xfrm>
              <a:off x="5573328" y="2557976"/>
              <a:ext cx="2442" cy="2646"/>
            </a:xfrm>
            <a:custGeom>
              <a:avLst/>
              <a:gdLst>
                <a:gd name="T0" fmla="*/ 4 w 4"/>
                <a:gd name="T1" fmla="*/ 1 h 3"/>
                <a:gd name="T2" fmla="*/ 4 w 4"/>
                <a:gd name="T3" fmla="*/ 0 h 3"/>
                <a:gd name="T4" fmla="*/ 3 w 4"/>
                <a:gd name="T5" fmla="*/ 0 h 3"/>
                <a:gd name="T6" fmla="*/ 1 w 4"/>
                <a:gd name="T7" fmla="*/ 0 h 3"/>
                <a:gd name="T8" fmla="*/ 0 w 4"/>
                <a:gd name="T9" fmla="*/ 1 h 3"/>
                <a:gd name="T10" fmla="*/ 1 w 4"/>
                <a:gd name="T11" fmla="*/ 3 h 3"/>
                <a:gd name="T12" fmla="*/ 3 w 4"/>
                <a:gd name="T13" fmla="*/ 3 h 3"/>
                <a:gd name="T14" fmla="*/ 4 w 4"/>
                <a:gd name="T15" fmla="*/ 1 h 3"/>
                <a:gd name="T16" fmla="*/ 4 w 4"/>
                <a:gd name="T1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3">
                  <a:moveTo>
                    <a:pt x="4" y="1"/>
                  </a:moveTo>
                  <a:lnTo>
                    <a:pt x="4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1" y="3"/>
                  </a:lnTo>
                  <a:lnTo>
                    <a:pt x="3" y="3"/>
                  </a:ln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25" name="Freeform 474"/>
            <p:cNvSpPr>
              <a:spLocks/>
            </p:cNvSpPr>
            <p:nvPr/>
          </p:nvSpPr>
          <p:spPr bwMode="auto">
            <a:xfrm>
              <a:off x="5575770" y="2561944"/>
              <a:ext cx="2442" cy="1323"/>
            </a:xfrm>
            <a:custGeom>
              <a:avLst/>
              <a:gdLst>
                <a:gd name="T0" fmla="*/ 5 w 5"/>
                <a:gd name="T1" fmla="*/ 2 h 3"/>
                <a:gd name="T2" fmla="*/ 5 w 5"/>
                <a:gd name="T3" fmla="*/ 2 h 3"/>
                <a:gd name="T4" fmla="*/ 2 w 5"/>
                <a:gd name="T5" fmla="*/ 0 h 3"/>
                <a:gd name="T6" fmla="*/ 2 w 5"/>
                <a:gd name="T7" fmla="*/ 0 h 3"/>
                <a:gd name="T8" fmla="*/ 0 w 5"/>
                <a:gd name="T9" fmla="*/ 2 h 3"/>
                <a:gd name="T10" fmla="*/ 0 w 5"/>
                <a:gd name="T11" fmla="*/ 3 h 3"/>
                <a:gd name="T12" fmla="*/ 3 w 5"/>
                <a:gd name="T13" fmla="*/ 3 h 3"/>
                <a:gd name="T14" fmla="*/ 5 w 5"/>
                <a:gd name="T15" fmla="*/ 2 h 3"/>
                <a:gd name="T16" fmla="*/ 5 w 5"/>
                <a:gd name="T1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">
                  <a:moveTo>
                    <a:pt x="5" y="2"/>
                  </a:moveTo>
                  <a:lnTo>
                    <a:pt x="5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3" y="3"/>
                  </a:lnTo>
                  <a:lnTo>
                    <a:pt x="5" y="2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26" name="Freeform 475"/>
            <p:cNvSpPr>
              <a:spLocks/>
            </p:cNvSpPr>
            <p:nvPr/>
          </p:nvSpPr>
          <p:spPr bwMode="auto">
            <a:xfrm>
              <a:off x="5573328" y="2527549"/>
              <a:ext cx="3663" cy="3969"/>
            </a:xfrm>
            <a:custGeom>
              <a:avLst/>
              <a:gdLst>
                <a:gd name="T0" fmla="*/ 4 w 6"/>
                <a:gd name="T1" fmla="*/ 4 h 4"/>
                <a:gd name="T2" fmla="*/ 6 w 6"/>
                <a:gd name="T3" fmla="*/ 4 h 4"/>
                <a:gd name="T4" fmla="*/ 6 w 6"/>
                <a:gd name="T5" fmla="*/ 3 h 4"/>
                <a:gd name="T6" fmla="*/ 6 w 6"/>
                <a:gd name="T7" fmla="*/ 1 h 4"/>
                <a:gd name="T8" fmla="*/ 3 w 6"/>
                <a:gd name="T9" fmla="*/ 1 h 4"/>
                <a:gd name="T10" fmla="*/ 3 w 6"/>
                <a:gd name="T11" fmla="*/ 0 h 4"/>
                <a:gd name="T12" fmla="*/ 1 w 6"/>
                <a:gd name="T13" fmla="*/ 0 h 4"/>
                <a:gd name="T14" fmla="*/ 0 w 6"/>
                <a:gd name="T15" fmla="*/ 1 h 4"/>
                <a:gd name="T16" fmla="*/ 0 w 6"/>
                <a:gd name="T17" fmla="*/ 3 h 4"/>
                <a:gd name="T18" fmla="*/ 0 w 6"/>
                <a:gd name="T19" fmla="*/ 4 h 4"/>
                <a:gd name="T20" fmla="*/ 0 w 6"/>
                <a:gd name="T21" fmla="*/ 4 h 4"/>
                <a:gd name="T22" fmla="*/ 4 w 6"/>
                <a:gd name="T23" fmla="*/ 4 h 4"/>
                <a:gd name="T24" fmla="*/ 4 w 6"/>
                <a:gd name="T2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4">
                  <a:moveTo>
                    <a:pt x="4" y="4"/>
                  </a:moveTo>
                  <a:lnTo>
                    <a:pt x="6" y="4"/>
                  </a:lnTo>
                  <a:lnTo>
                    <a:pt x="6" y="3"/>
                  </a:lnTo>
                  <a:lnTo>
                    <a:pt x="6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27" name="Freeform 476"/>
            <p:cNvSpPr>
              <a:spLocks/>
            </p:cNvSpPr>
            <p:nvPr/>
          </p:nvSpPr>
          <p:spPr bwMode="auto">
            <a:xfrm>
              <a:off x="5463425" y="2588402"/>
              <a:ext cx="3663" cy="7937"/>
            </a:xfrm>
            <a:custGeom>
              <a:avLst/>
              <a:gdLst>
                <a:gd name="T0" fmla="*/ 2 w 6"/>
                <a:gd name="T1" fmla="*/ 1 h 11"/>
                <a:gd name="T2" fmla="*/ 0 w 6"/>
                <a:gd name="T3" fmla="*/ 5 h 11"/>
                <a:gd name="T4" fmla="*/ 0 w 6"/>
                <a:gd name="T5" fmla="*/ 10 h 11"/>
                <a:gd name="T6" fmla="*/ 3 w 6"/>
                <a:gd name="T7" fmla="*/ 11 h 11"/>
                <a:gd name="T8" fmla="*/ 6 w 6"/>
                <a:gd name="T9" fmla="*/ 10 h 11"/>
                <a:gd name="T10" fmla="*/ 6 w 6"/>
                <a:gd name="T11" fmla="*/ 8 h 11"/>
                <a:gd name="T12" fmla="*/ 6 w 6"/>
                <a:gd name="T13" fmla="*/ 5 h 11"/>
                <a:gd name="T14" fmla="*/ 6 w 6"/>
                <a:gd name="T15" fmla="*/ 1 h 11"/>
                <a:gd name="T16" fmla="*/ 5 w 6"/>
                <a:gd name="T17" fmla="*/ 1 h 11"/>
                <a:gd name="T18" fmla="*/ 3 w 6"/>
                <a:gd name="T19" fmla="*/ 0 h 11"/>
                <a:gd name="T20" fmla="*/ 2 w 6"/>
                <a:gd name="T21" fmla="*/ 0 h 11"/>
                <a:gd name="T22" fmla="*/ 2 w 6"/>
                <a:gd name="T23" fmla="*/ 1 h 11"/>
                <a:gd name="T24" fmla="*/ 2 w 6"/>
                <a:gd name="T2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11">
                  <a:moveTo>
                    <a:pt x="2" y="1"/>
                  </a:moveTo>
                  <a:lnTo>
                    <a:pt x="0" y="5"/>
                  </a:lnTo>
                  <a:lnTo>
                    <a:pt x="0" y="10"/>
                  </a:lnTo>
                  <a:lnTo>
                    <a:pt x="3" y="11"/>
                  </a:lnTo>
                  <a:lnTo>
                    <a:pt x="6" y="10"/>
                  </a:lnTo>
                  <a:lnTo>
                    <a:pt x="6" y="8"/>
                  </a:lnTo>
                  <a:lnTo>
                    <a:pt x="6" y="5"/>
                  </a:lnTo>
                  <a:lnTo>
                    <a:pt x="6" y="1"/>
                  </a:lnTo>
                  <a:lnTo>
                    <a:pt x="5" y="1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28" name="Freeform 477"/>
            <p:cNvSpPr>
              <a:spLocks/>
            </p:cNvSpPr>
            <p:nvPr/>
          </p:nvSpPr>
          <p:spPr bwMode="auto">
            <a:xfrm>
              <a:off x="5446329" y="2478601"/>
              <a:ext cx="10990" cy="9260"/>
            </a:xfrm>
            <a:custGeom>
              <a:avLst/>
              <a:gdLst>
                <a:gd name="T0" fmla="*/ 12 w 19"/>
                <a:gd name="T1" fmla="*/ 9 h 15"/>
                <a:gd name="T2" fmla="*/ 7 w 19"/>
                <a:gd name="T3" fmla="*/ 5 h 15"/>
                <a:gd name="T4" fmla="*/ 3 w 19"/>
                <a:gd name="T5" fmla="*/ 0 h 15"/>
                <a:gd name="T6" fmla="*/ 2 w 19"/>
                <a:gd name="T7" fmla="*/ 0 h 15"/>
                <a:gd name="T8" fmla="*/ 0 w 19"/>
                <a:gd name="T9" fmla="*/ 2 h 15"/>
                <a:gd name="T10" fmla="*/ 3 w 19"/>
                <a:gd name="T11" fmla="*/ 6 h 15"/>
                <a:gd name="T12" fmla="*/ 10 w 19"/>
                <a:gd name="T13" fmla="*/ 10 h 15"/>
                <a:gd name="T14" fmla="*/ 13 w 19"/>
                <a:gd name="T15" fmla="*/ 13 h 15"/>
                <a:gd name="T16" fmla="*/ 16 w 19"/>
                <a:gd name="T17" fmla="*/ 13 h 15"/>
                <a:gd name="T18" fmla="*/ 17 w 19"/>
                <a:gd name="T19" fmla="*/ 15 h 15"/>
                <a:gd name="T20" fmla="*/ 19 w 19"/>
                <a:gd name="T21" fmla="*/ 13 h 15"/>
                <a:gd name="T22" fmla="*/ 16 w 19"/>
                <a:gd name="T23" fmla="*/ 12 h 15"/>
                <a:gd name="T24" fmla="*/ 13 w 19"/>
                <a:gd name="T25" fmla="*/ 9 h 15"/>
                <a:gd name="T26" fmla="*/ 12 w 19"/>
                <a:gd name="T27" fmla="*/ 9 h 15"/>
                <a:gd name="T28" fmla="*/ 12 w 19"/>
                <a:gd name="T29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5">
                  <a:moveTo>
                    <a:pt x="12" y="9"/>
                  </a:moveTo>
                  <a:lnTo>
                    <a:pt x="7" y="5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10" y="10"/>
                  </a:lnTo>
                  <a:lnTo>
                    <a:pt x="13" y="13"/>
                  </a:lnTo>
                  <a:lnTo>
                    <a:pt x="16" y="13"/>
                  </a:lnTo>
                  <a:lnTo>
                    <a:pt x="17" y="15"/>
                  </a:lnTo>
                  <a:lnTo>
                    <a:pt x="19" y="13"/>
                  </a:lnTo>
                  <a:lnTo>
                    <a:pt x="16" y="12"/>
                  </a:lnTo>
                  <a:lnTo>
                    <a:pt x="13" y="9"/>
                  </a:lnTo>
                  <a:lnTo>
                    <a:pt x="12" y="9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29" name="Freeform 478"/>
            <p:cNvSpPr>
              <a:spLocks/>
            </p:cNvSpPr>
            <p:nvPr/>
          </p:nvSpPr>
          <p:spPr bwMode="auto">
            <a:xfrm>
              <a:off x="5337648" y="2694235"/>
              <a:ext cx="8548" cy="21166"/>
            </a:xfrm>
            <a:custGeom>
              <a:avLst/>
              <a:gdLst>
                <a:gd name="T0" fmla="*/ 2 w 16"/>
                <a:gd name="T1" fmla="*/ 7 h 31"/>
                <a:gd name="T2" fmla="*/ 0 w 16"/>
                <a:gd name="T3" fmla="*/ 14 h 31"/>
                <a:gd name="T4" fmla="*/ 0 w 16"/>
                <a:gd name="T5" fmla="*/ 18 h 31"/>
                <a:gd name="T6" fmla="*/ 2 w 16"/>
                <a:gd name="T7" fmla="*/ 22 h 31"/>
                <a:gd name="T8" fmla="*/ 5 w 16"/>
                <a:gd name="T9" fmla="*/ 25 h 31"/>
                <a:gd name="T10" fmla="*/ 9 w 16"/>
                <a:gd name="T11" fmla="*/ 30 h 31"/>
                <a:gd name="T12" fmla="*/ 12 w 16"/>
                <a:gd name="T13" fmla="*/ 31 h 31"/>
                <a:gd name="T14" fmla="*/ 15 w 16"/>
                <a:gd name="T15" fmla="*/ 31 h 31"/>
                <a:gd name="T16" fmla="*/ 16 w 16"/>
                <a:gd name="T17" fmla="*/ 30 h 31"/>
                <a:gd name="T18" fmla="*/ 16 w 16"/>
                <a:gd name="T19" fmla="*/ 28 h 31"/>
                <a:gd name="T20" fmla="*/ 13 w 16"/>
                <a:gd name="T21" fmla="*/ 28 h 31"/>
                <a:gd name="T22" fmla="*/ 10 w 16"/>
                <a:gd name="T23" fmla="*/ 28 h 31"/>
                <a:gd name="T24" fmla="*/ 6 w 16"/>
                <a:gd name="T25" fmla="*/ 25 h 31"/>
                <a:gd name="T26" fmla="*/ 5 w 16"/>
                <a:gd name="T27" fmla="*/ 22 h 31"/>
                <a:gd name="T28" fmla="*/ 5 w 16"/>
                <a:gd name="T29" fmla="*/ 21 h 31"/>
                <a:gd name="T30" fmla="*/ 3 w 16"/>
                <a:gd name="T31" fmla="*/ 17 h 31"/>
                <a:gd name="T32" fmla="*/ 2 w 16"/>
                <a:gd name="T33" fmla="*/ 15 h 31"/>
                <a:gd name="T34" fmla="*/ 3 w 16"/>
                <a:gd name="T35" fmla="*/ 14 h 31"/>
                <a:gd name="T36" fmla="*/ 3 w 16"/>
                <a:gd name="T37" fmla="*/ 14 h 31"/>
                <a:gd name="T38" fmla="*/ 5 w 16"/>
                <a:gd name="T39" fmla="*/ 15 h 31"/>
                <a:gd name="T40" fmla="*/ 7 w 16"/>
                <a:gd name="T41" fmla="*/ 15 h 31"/>
                <a:gd name="T42" fmla="*/ 9 w 16"/>
                <a:gd name="T43" fmla="*/ 14 h 31"/>
                <a:gd name="T44" fmla="*/ 9 w 16"/>
                <a:gd name="T45" fmla="*/ 12 h 31"/>
                <a:gd name="T46" fmla="*/ 9 w 16"/>
                <a:gd name="T47" fmla="*/ 10 h 31"/>
                <a:gd name="T48" fmla="*/ 9 w 16"/>
                <a:gd name="T49" fmla="*/ 8 h 31"/>
                <a:gd name="T50" fmla="*/ 6 w 16"/>
                <a:gd name="T51" fmla="*/ 7 h 31"/>
                <a:gd name="T52" fmla="*/ 5 w 16"/>
                <a:gd name="T53" fmla="*/ 7 h 31"/>
                <a:gd name="T54" fmla="*/ 5 w 16"/>
                <a:gd name="T55" fmla="*/ 5 h 31"/>
                <a:gd name="T56" fmla="*/ 7 w 16"/>
                <a:gd name="T57" fmla="*/ 4 h 31"/>
                <a:gd name="T58" fmla="*/ 12 w 16"/>
                <a:gd name="T59" fmla="*/ 5 h 31"/>
                <a:gd name="T60" fmla="*/ 13 w 16"/>
                <a:gd name="T61" fmla="*/ 4 h 31"/>
                <a:gd name="T62" fmla="*/ 15 w 16"/>
                <a:gd name="T63" fmla="*/ 2 h 31"/>
                <a:gd name="T64" fmla="*/ 12 w 16"/>
                <a:gd name="T65" fmla="*/ 1 h 31"/>
                <a:gd name="T66" fmla="*/ 9 w 16"/>
                <a:gd name="T67" fmla="*/ 0 h 31"/>
                <a:gd name="T68" fmla="*/ 5 w 16"/>
                <a:gd name="T69" fmla="*/ 1 h 31"/>
                <a:gd name="T70" fmla="*/ 3 w 16"/>
                <a:gd name="T71" fmla="*/ 4 h 31"/>
                <a:gd name="T72" fmla="*/ 2 w 16"/>
                <a:gd name="T73" fmla="*/ 7 h 31"/>
                <a:gd name="T74" fmla="*/ 2 w 16"/>
                <a:gd name="T75" fmla="*/ 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" h="31">
                  <a:moveTo>
                    <a:pt x="2" y="7"/>
                  </a:moveTo>
                  <a:lnTo>
                    <a:pt x="0" y="14"/>
                  </a:lnTo>
                  <a:lnTo>
                    <a:pt x="0" y="18"/>
                  </a:lnTo>
                  <a:lnTo>
                    <a:pt x="2" y="22"/>
                  </a:lnTo>
                  <a:lnTo>
                    <a:pt x="5" y="25"/>
                  </a:lnTo>
                  <a:lnTo>
                    <a:pt x="9" y="30"/>
                  </a:lnTo>
                  <a:lnTo>
                    <a:pt x="12" y="31"/>
                  </a:lnTo>
                  <a:lnTo>
                    <a:pt x="15" y="31"/>
                  </a:lnTo>
                  <a:lnTo>
                    <a:pt x="16" y="30"/>
                  </a:lnTo>
                  <a:lnTo>
                    <a:pt x="16" y="28"/>
                  </a:lnTo>
                  <a:lnTo>
                    <a:pt x="13" y="28"/>
                  </a:lnTo>
                  <a:lnTo>
                    <a:pt x="10" y="28"/>
                  </a:lnTo>
                  <a:lnTo>
                    <a:pt x="6" y="25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3" y="17"/>
                  </a:lnTo>
                  <a:lnTo>
                    <a:pt x="2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5" y="15"/>
                  </a:lnTo>
                  <a:lnTo>
                    <a:pt x="7" y="15"/>
                  </a:lnTo>
                  <a:lnTo>
                    <a:pt x="9" y="14"/>
                  </a:lnTo>
                  <a:lnTo>
                    <a:pt x="9" y="12"/>
                  </a:lnTo>
                  <a:lnTo>
                    <a:pt x="9" y="10"/>
                  </a:lnTo>
                  <a:lnTo>
                    <a:pt x="9" y="8"/>
                  </a:lnTo>
                  <a:lnTo>
                    <a:pt x="6" y="7"/>
                  </a:lnTo>
                  <a:lnTo>
                    <a:pt x="5" y="7"/>
                  </a:lnTo>
                  <a:lnTo>
                    <a:pt x="5" y="5"/>
                  </a:lnTo>
                  <a:lnTo>
                    <a:pt x="7" y="4"/>
                  </a:lnTo>
                  <a:lnTo>
                    <a:pt x="12" y="5"/>
                  </a:lnTo>
                  <a:lnTo>
                    <a:pt x="13" y="4"/>
                  </a:lnTo>
                  <a:lnTo>
                    <a:pt x="15" y="2"/>
                  </a:lnTo>
                  <a:lnTo>
                    <a:pt x="12" y="1"/>
                  </a:lnTo>
                  <a:lnTo>
                    <a:pt x="9" y="0"/>
                  </a:lnTo>
                  <a:lnTo>
                    <a:pt x="5" y="1"/>
                  </a:lnTo>
                  <a:lnTo>
                    <a:pt x="3" y="4"/>
                  </a:lnTo>
                  <a:lnTo>
                    <a:pt x="2" y="7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30" name="Freeform 479"/>
            <p:cNvSpPr>
              <a:spLocks/>
            </p:cNvSpPr>
            <p:nvPr/>
          </p:nvSpPr>
          <p:spPr bwMode="auto">
            <a:xfrm>
              <a:off x="5202101" y="2613538"/>
              <a:ext cx="9769" cy="10583"/>
            </a:xfrm>
            <a:custGeom>
              <a:avLst/>
              <a:gdLst>
                <a:gd name="T0" fmla="*/ 5 w 15"/>
                <a:gd name="T1" fmla="*/ 8 h 16"/>
                <a:gd name="T2" fmla="*/ 4 w 15"/>
                <a:gd name="T3" fmla="*/ 6 h 16"/>
                <a:gd name="T4" fmla="*/ 4 w 15"/>
                <a:gd name="T5" fmla="*/ 1 h 16"/>
                <a:gd name="T6" fmla="*/ 5 w 15"/>
                <a:gd name="T7" fmla="*/ 1 h 16"/>
                <a:gd name="T8" fmla="*/ 4 w 15"/>
                <a:gd name="T9" fmla="*/ 0 h 16"/>
                <a:gd name="T10" fmla="*/ 3 w 15"/>
                <a:gd name="T11" fmla="*/ 0 h 16"/>
                <a:gd name="T12" fmla="*/ 1 w 15"/>
                <a:gd name="T13" fmla="*/ 0 h 16"/>
                <a:gd name="T14" fmla="*/ 1 w 15"/>
                <a:gd name="T15" fmla="*/ 3 h 16"/>
                <a:gd name="T16" fmla="*/ 0 w 15"/>
                <a:gd name="T17" fmla="*/ 6 h 16"/>
                <a:gd name="T18" fmla="*/ 1 w 15"/>
                <a:gd name="T19" fmla="*/ 8 h 16"/>
                <a:gd name="T20" fmla="*/ 3 w 15"/>
                <a:gd name="T21" fmla="*/ 11 h 16"/>
                <a:gd name="T22" fmla="*/ 4 w 15"/>
                <a:gd name="T23" fmla="*/ 14 h 16"/>
                <a:gd name="T24" fmla="*/ 8 w 15"/>
                <a:gd name="T25" fmla="*/ 16 h 16"/>
                <a:gd name="T26" fmla="*/ 13 w 15"/>
                <a:gd name="T27" fmla="*/ 16 h 16"/>
                <a:gd name="T28" fmla="*/ 14 w 15"/>
                <a:gd name="T29" fmla="*/ 16 h 16"/>
                <a:gd name="T30" fmla="*/ 15 w 15"/>
                <a:gd name="T31" fmla="*/ 14 h 16"/>
                <a:gd name="T32" fmla="*/ 15 w 15"/>
                <a:gd name="T33" fmla="*/ 13 h 16"/>
                <a:gd name="T34" fmla="*/ 15 w 15"/>
                <a:gd name="T35" fmla="*/ 8 h 16"/>
                <a:gd name="T36" fmla="*/ 13 w 15"/>
                <a:gd name="T37" fmla="*/ 4 h 16"/>
                <a:gd name="T38" fmla="*/ 13 w 15"/>
                <a:gd name="T39" fmla="*/ 3 h 16"/>
                <a:gd name="T40" fmla="*/ 11 w 15"/>
                <a:gd name="T41" fmla="*/ 3 h 16"/>
                <a:gd name="T42" fmla="*/ 10 w 15"/>
                <a:gd name="T43" fmla="*/ 3 h 16"/>
                <a:gd name="T44" fmla="*/ 10 w 15"/>
                <a:gd name="T45" fmla="*/ 4 h 16"/>
                <a:gd name="T46" fmla="*/ 10 w 15"/>
                <a:gd name="T47" fmla="*/ 6 h 16"/>
                <a:gd name="T48" fmla="*/ 11 w 15"/>
                <a:gd name="T49" fmla="*/ 8 h 16"/>
                <a:gd name="T50" fmla="*/ 13 w 15"/>
                <a:gd name="T51" fmla="*/ 10 h 16"/>
                <a:gd name="T52" fmla="*/ 13 w 15"/>
                <a:gd name="T53" fmla="*/ 13 h 16"/>
                <a:gd name="T54" fmla="*/ 10 w 15"/>
                <a:gd name="T55" fmla="*/ 13 h 16"/>
                <a:gd name="T56" fmla="*/ 8 w 15"/>
                <a:gd name="T57" fmla="*/ 11 h 16"/>
                <a:gd name="T58" fmla="*/ 5 w 15"/>
                <a:gd name="T59" fmla="*/ 8 h 16"/>
                <a:gd name="T60" fmla="*/ 5 w 15"/>
                <a:gd name="T6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" h="16">
                  <a:moveTo>
                    <a:pt x="5" y="8"/>
                  </a:moveTo>
                  <a:lnTo>
                    <a:pt x="4" y="6"/>
                  </a:lnTo>
                  <a:lnTo>
                    <a:pt x="4" y="1"/>
                  </a:lnTo>
                  <a:lnTo>
                    <a:pt x="5" y="1"/>
                  </a:lnTo>
                  <a:lnTo>
                    <a:pt x="4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3"/>
                  </a:lnTo>
                  <a:lnTo>
                    <a:pt x="0" y="6"/>
                  </a:lnTo>
                  <a:lnTo>
                    <a:pt x="1" y="8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8" y="16"/>
                  </a:lnTo>
                  <a:lnTo>
                    <a:pt x="13" y="16"/>
                  </a:lnTo>
                  <a:lnTo>
                    <a:pt x="14" y="16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8"/>
                  </a:lnTo>
                  <a:lnTo>
                    <a:pt x="13" y="4"/>
                  </a:lnTo>
                  <a:lnTo>
                    <a:pt x="13" y="3"/>
                  </a:lnTo>
                  <a:lnTo>
                    <a:pt x="11" y="3"/>
                  </a:lnTo>
                  <a:lnTo>
                    <a:pt x="10" y="3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11" y="8"/>
                  </a:lnTo>
                  <a:lnTo>
                    <a:pt x="13" y="10"/>
                  </a:lnTo>
                  <a:lnTo>
                    <a:pt x="13" y="13"/>
                  </a:lnTo>
                  <a:lnTo>
                    <a:pt x="10" y="13"/>
                  </a:lnTo>
                  <a:lnTo>
                    <a:pt x="8" y="11"/>
                  </a:lnTo>
                  <a:lnTo>
                    <a:pt x="5" y="8"/>
                  </a:lnTo>
                  <a:lnTo>
                    <a:pt x="5" y="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31" name="Freeform 480"/>
            <p:cNvSpPr>
              <a:spLocks/>
            </p:cNvSpPr>
            <p:nvPr/>
          </p:nvSpPr>
          <p:spPr bwMode="auto">
            <a:xfrm>
              <a:off x="5111736" y="2985274"/>
              <a:ext cx="12211" cy="11906"/>
            </a:xfrm>
            <a:custGeom>
              <a:avLst/>
              <a:gdLst>
                <a:gd name="T0" fmla="*/ 14 w 20"/>
                <a:gd name="T1" fmla="*/ 3 h 19"/>
                <a:gd name="T2" fmla="*/ 13 w 20"/>
                <a:gd name="T3" fmla="*/ 0 h 19"/>
                <a:gd name="T4" fmla="*/ 10 w 20"/>
                <a:gd name="T5" fmla="*/ 0 h 19"/>
                <a:gd name="T6" fmla="*/ 5 w 20"/>
                <a:gd name="T7" fmla="*/ 2 h 19"/>
                <a:gd name="T8" fmla="*/ 0 w 20"/>
                <a:gd name="T9" fmla="*/ 7 h 19"/>
                <a:gd name="T10" fmla="*/ 0 w 20"/>
                <a:gd name="T11" fmla="*/ 10 h 19"/>
                <a:gd name="T12" fmla="*/ 0 w 20"/>
                <a:gd name="T13" fmla="*/ 13 h 19"/>
                <a:gd name="T14" fmla="*/ 4 w 20"/>
                <a:gd name="T15" fmla="*/ 13 h 19"/>
                <a:gd name="T16" fmla="*/ 7 w 20"/>
                <a:gd name="T17" fmla="*/ 17 h 19"/>
                <a:gd name="T18" fmla="*/ 8 w 20"/>
                <a:gd name="T19" fmla="*/ 19 h 19"/>
                <a:gd name="T20" fmla="*/ 11 w 20"/>
                <a:gd name="T21" fmla="*/ 17 h 19"/>
                <a:gd name="T22" fmla="*/ 14 w 20"/>
                <a:gd name="T23" fmla="*/ 16 h 19"/>
                <a:gd name="T24" fmla="*/ 18 w 20"/>
                <a:gd name="T25" fmla="*/ 13 h 19"/>
                <a:gd name="T26" fmla="*/ 20 w 20"/>
                <a:gd name="T27" fmla="*/ 12 h 19"/>
                <a:gd name="T28" fmla="*/ 20 w 20"/>
                <a:gd name="T29" fmla="*/ 9 h 19"/>
                <a:gd name="T30" fmla="*/ 18 w 20"/>
                <a:gd name="T31" fmla="*/ 9 h 19"/>
                <a:gd name="T32" fmla="*/ 17 w 20"/>
                <a:gd name="T33" fmla="*/ 7 h 19"/>
                <a:gd name="T34" fmla="*/ 15 w 20"/>
                <a:gd name="T35" fmla="*/ 6 h 19"/>
                <a:gd name="T36" fmla="*/ 14 w 20"/>
                <a:gd name="T37" fmla="*/ 3 h 19"/>
                <a:gd name="T38" fmla="*/ 14 w 20"/>
                <a:gd name="T39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19">
                  <a:moveTo>
                    <a:pt x="14" y="3"/>
                  </a:moveTo>
                  <a:lnTo>
                    <a:pt x="13" y="0"/>
                  </a:lnTo>
                  <a:lnTo>
                    <a:pt x="10" y="0"/>
                  </a:lnTo>
                  <a:lnTo>
                    <a:pt x="5" y="2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8" y="19"/>
                  </a:lnTo>
                  <a:lnTo>
                    <a:pt x="11" y="17"/>
                  </a:lnTo>
                  <a:lnTo>
                    <a:pt x="14" y="16"/>
                  </a:lnTo>
                  <a:lnTo>
                    <a:pt x="18" y="13"/>
                  </a:lnTo>
                  <a:lnTo>
                    <a:pt x="20" y="12"/>
                  </a:lnTo>
                  <a:lnTo>
                    <a:pt x="20" y="9"/>
                  </a:lnTo>
                  <a:lnTo>
                    <a:pt x="18" y="9"/>
                  </a:lnTo>
                  <a:lnTo>
                    <a:pt x="17" y="7"/>
                  </a:lnTo>
                  <a:lnTo>
                    <a:pt x="15" y="6"/>
                  </a:lnTo>
                  <a:lnTo>
                    <a:pt x="14" y="3"/>
                  </a:lnTo>
                  <a:lnTo>
                    <a:pt x="14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32" name="Freeform 481"/>
            <p:cNvSpPr>
              <a:spLocks/>
            </p:cNvSpPr>
            <p:nvPr/>
          </p:nvSpPr>
          <p:spPr bwMode="auto">
            <a:xfrm>
              <a:off x="5127611" y="2991888"/>
              <a:ext cx="18317" cy="10583"/>
            </a:xfrm>
            <a:custGeom>
              <a:avLst/>
              <a:gdLst>
                <a:gd name="T0" fmla="*/ 21 w 30"/>
                <a:gd name="T1" fmla="*/ 3 h 16"/>
                <a:gd name="T2" fmla="*/ 18 w 30"/>
                <a:gd name="T3" fmla="*/ 0 h 16"/>
                <a:gd name="T4" fmla="*/ 12 w 30"/>
                <a:gd name="T5" fmla="*/ 0 h 16"/>
                <a:gd name="T6" fmla="*/ 5 w 30"/>
                <a:gd name="T7" fmla="*/ 0 h 16"/>
                <a:gd name="T8" fmla="*/ 1 w 30"/>
                <a:gd name="T9" fmla="*/ 2 h 16"/>
                <a:gd name="T10" fmla="*/ 0 w 30"/>
                <a:gd name="T11" fmla="*/ 3 h 16"/>
                <a:gd name="T12" fmla="*/ 0 w 30"/>
                <a:gd name="T13" fmla="*/ 5 h 16"/>
                <a:gd name="T14" fmla="*/ 0 w 30"/>
                <a:gd name="T15" fmla="*/ 6 h 16"/>
                <a:gd name="T16" fmla="*/ 2 w 30"/>
                <a:gd name="T17" fmla="*/ 5 h 16"/>
                <a:gd name="T18" fmla="*/ 4 w 30"/>
                <a:gd name="T19" fmla="*/ 5 h 16"/>
                <a:gd name="T20" fmla="*/ 7 w 30"/>
                <a:gd name="T21" fmla="*/ 7 h 16"/>
                <a:gd name="T22" fmla="*/ 11 w 30"/>
                <a:gd name="T23" fmla="*/ 13 h 16"/>
                <a:gd name="T24" fmla="*/ 12 w 30"/>
                <a:gd name="T25" fmla="*/ 16 h 16"/>
                <a:gd name="T26" fmla="*/ 14 w 30"/>
                <a:gd name="T27" fmla="*/ 16 h 16"/>
                <a:gd name="T28" fmla="*/ 17 w 30"/>
                <a:gd name="T29" fmla="*/ 16 h 16"/>
                <a:gd name="T30" fmla="*/ 17 w 30"/>
                <a:gd name="T31" fmla="*/ 16 h 16"/>
                <a:gd name="T32" fmla="*/ 17 w 30"/>
                <a:gd name="T33" fmla="*/ 12 h 16"/>
                <a:gd name="T34" fmla="*/ 17 w 30"/>
                <a:gd name="T35" fmla="*/ 9 h 16"/>
                <a:gd name="T36" fmla="*/ 18 w 30"/>
                <a:gd name="T37" fmla="*/ 7 h 16"/>
                <a:gd name="T38" fmla="*/ 18 w 30"/>
                <a:gd name="T39" fmla="*/ 7 h 16"/>
                <a:gd name="T40" fmla="*/ 21 w 30"/>
                <a:gd name="T41" fmla="*/ 9 h 16"/>
                <a:gd name="T42" fmla="*/ 25 w 30"/>
                <a:gd name="T43" fmla="*/ 13 h 16"/>
                <a:gd name="T44" fmla="*/ 28 w 30"/>
                <a:gd name="T45" fmla="*/ 15 h 16"/>
                <a:gd name="T46" fmla="*/ 28 w 30"/>
                <a:gd name="T47" fmla="*/ 15 h 16"/>
                <a:gd name="T48" fmla="*/ 30 w 30"/>
                <a:gd name="T49" fmla="*/ 13 h 16"/>
                <a:gd name="T50" fmla="*/ 30 w 30"/>
                <a:gd name="T51" fmla="*/ 10 h 16"/>
                <a:gd name="T52" fmla="*/ 27 w 30"/>
                <a:gd name="T53" fmla="*/ 7 h 16"/>
                <a:gd name="T54" fmla="*/ 21 w 30"/>
                <a:gd name="T55" fmla="*/ 3 h 16"/>
                <a:gd name="T56" fmla="*/ 21 w 30"/>
                <a:gd name="T57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" h="16">
                  <a:moveTo>
                    <a:pt x="21" y="3"/>
                  </a:moveTo>
                  <a:lnTo>
                    <a:pt x="18" y="0"/>
                  </a:lnTo>
                  <a:lnTo>
                    <a:pt x="12" y="0"/>
                  </a:lnTo>
                  <a:lnTo>
                    <a:pt x="5" y="0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6"/>
                  </a:lnTo>
                  <a:lnTo>
                    <a:pt x="2" y="5"/>
                  </a:lnTo>
                  <a:lnTo>
                    <a:pt x="4" y="5"/>
                  </a:lnTo>
                  <a:lnTo>
                    <a:pt x="7" y="7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2"/>
                  </a:lnTo>
                  <a:lnTo>
                    <a:pt x="17" y="9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21" y="9"/>
                  </a:lnTo>
                  <a:lnTo>
                    <a:pt x="25" y="13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30" y="13"/>
                  </a:lnTo>
                  <a:lnTo>
                    <a:pt x="30" y="10"/>
                  </a:lnTo>
                  <a:lnTo>
                    <a:pt x="27" y="7"/>
                  </a:lnTo>
                  <a:lnTo>
                    <a:pt x="21" y="3"/>
                  </a:lnTo>
                  <a:lnTo>
                    <a:pt x="21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33" name="Freeform 482"/>
            <p:cNvSpPr>
              <a:spLocks/>
            </p:cNvSpPr>
            <p:nvPr/>
          </p:nvSpPr>
          <p:spPr bwMode="auto">
            <a:xfrm>
              <a:off x="5149592" y="3009086"/>
              <a:ext cx="15875" cy="9260"/>
            </a:xfrm>
            <a:custGeom>
              <a:avLst/>
              <a:gdLst>
                <a:gd name="T0" fmla="*/ 7 w 24"/>
                <a:gd name="T1" fmla="*/ 7 h 16"/>
                <a:gd name="T2" fmla="*/ 13 w 24"/>
                <a:gd name="T3" fmla="*/ 13 h 16"/>
                <a:gd name="T4" fmla="*/ 17 w 24"/>
                <a:gd name="T5" fmla="*/ 14 h 16"/>
                <a:gd name="T6" fmla="*/ 20 w 24"/>
                <a:gd name="T7" fmla="*/ 16 h 16"/>
                <a:gd name="T8" fmla="*/ 23 w 24"/>
                <a:gd name="T9" fmla="*/ 16 h 16"/>
                <a:gd name="T10" fmla="*/ 23 w 24"/>
                <a:gd name="T11" fmla="*/ 14 h 16"/>
                <a:gd name="T12" fmla="*/ 23 w 24"/>
                <a:gd name="T13" fmla="*/ 12 h 16"/>
                <a:gd name="T14" fmla="*/ 21 w 24"/>
                <a:gd name="T15" fmla="*/ 10 h 16"/>
                <a:gd name="T16" fmla="*/ 20 w 24"/>
                <a:gd name="T17" fmla="*/ 9 h 16"/>
                <a:gd name="T18" fmla="*/ 20 w 24"/>
                <a:gd name="T19" fmla="*/ 7 h 16"/>
                <a:gd name="T20" fmla="*/ 20 w 24"/>
                <a:gd name="T21" fmla="*/ 6 h 16"/>
                <a:gd name="T22" fmla="*/ 23 w 24"/>
                <a:gd name="T23" fmla="*/ 6 h 16"/>
                <a:gd name="T24" fmla="*/ 24 w 24"/>
                <a:gd name="T25" fmla="*/ 6 h 16"/>
                <a:gd name="T26" fmla="*/ 24 w 24"/>
                <a:gd name="T27" fmla="*/ 4 h 16"/>
                <a:gd name="T28" fmla="*/ 24 w 24"/>
                <a:gd name="T29" fmla="*/ 3 h 16"/>
                <a:gd name="T30" fmla="*/ 23 w 24"/>
                <a:gd name="T31" fmla="*/ 3 h 16"/>
                <a:gd name="T32" fmla="*/ 21 w 24"/>
                <a:gd name="T33" fmla="*/ 3 h 16"/>
                <a:gd name="T34" fmla="*/ 18 w 24"/>
                <a:gd name="T35" fmla="*/ 4 h 16"/>
                <a:gd name="T36" fmla="*/ 17 w 24"/>
                <a:gd name="T37" fmla="*/ 7 h 16"/>
                <a:gd name="T38" fmla="*/ 14 w 24"/>
                <a:gd name="T39" fmla="*/ 6 h 16"/>
                <a:gd name="T40" fmla="*/ 11 w 24"/>
                <a:gd name="T41" fmla="*/ 4 h 16"/>
                <a:gd name="T42" fmla="*/ 8 w 24"/>
                <a:gd name="T43" fmla="*/ 2 h 16"/>
                <a:gd name="T44" fmla="*/ 5 w 24"/>
                <a:gd name="T45" fmla="*/ 0 h 16"/>
                <a:gd name="T46" fmla="*/ 3 w 24"/>
                <a:gd name="T47" fmla="*/ 0 h 16"/>
                <a:gd name="T48" fmla="*/ 0 w 24"/>
                <a:gd name="T49" fmla="*/ 0 h 16"/>
                <a:gd name="T50" fmla="*/ 0 w 24"/>
                <a:gd name="T51" fmla="*/ 2 h 16"/>
                <a:gd name="T52" fmla="*/ 0 w 24"/>
                <a:gd name="T53" fmla="*/ 3 h 16"/>
                <a:gd name="T54" fmla="*/ 1 w 24"/>
                <a:gd name="T55" fmla="*/ 4 h 16"/>
                <a:gd name="T56" fmla="*/ 4 w 24"/>
                <a:gd name="T57" fmla="*/ 6 h 16"/>
                <a:gd name="T58" fmla="*/ 5 w 24"/>
                <a:gd name="T59" fmla="*/ 6 h 16"/>
                <a:gd name="T60" fmla="*/ 7 w 24"/>
                <a:gd name="T61" fmla="*/ 7 h 16"/>
                <a:gd name="T62" fmla="*/ 7 w 24"/>
                <a:gd name="T63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" h="16">
                  <a:moveTo>
                    <a:pt x="7" y="7"/>
                  </a:moveTo>
                  <a:lnTo>
                    <a:pt x="13" y="13"/>
                  </a:lnTo>
                  <a:lnTo>
                    <a:pt x="17" y="14"/>
                  </a:lnTo>
                  <a:lnTo>
                    <a:pt x="20" y="16"/>
                  </a:lnTo>
                  <a:lnTo>
                    <a:pt x="23" y="16"/>
                  </a:lnTo>
                  <a:lnTo>
                    <a:pt x="23" y="14"/>
                  </a:lnTo>
                  <a:lnTo>
                    <a:pt x="23" y="12"/>
                  </a:lnTo>
                  <a:lnTo>
                    <a:pt x="21" y="10"/>
                  </a:lnTo>
                  <a:lnTo>
                    <a:pt x="20" y="9"/>
                  </a:lnTo>
                  <a:lnTo>
                    <a:pt x="20" y="7"/>
                  </a:lnTo>
                  <a:lnTo>
                    <a:pt x="20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3" y="3"/>
                  </a:lnTo>
                  <a:lnTo>
                    <a:pt x="21" y="3"/>
                  </a:lnTo>
                  <a:lnTo>
                    <a:pt x="18" y="4"/>
                  </a:lnTo>
                  <a:lnTo>
                    <a:pt x="17" y="7"/>
                  </a:lnTo>
                  <a:lnTo>
                    <a:pt x="14" y="6"/>
                  </a:lnTo>
                  <a:lnTo>
                    <a:pt x="11" y="4"/>
                  </a:lnTo>
                  <a:lnTo>
                    <a:pt x="8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4"/>
                  </a:lnTo>
                  <a:lnTo>
                    <a:pt x="4" y="6"/>
                  </a:lnTo>
                  <a:lnTo>
                    <a:pt x="5" y="6"/>
                  </a:lnTo>
                  <a:lnTo>
                    <a:pt x="7" y="7"/>
                  </a:lnTo>
                  <a:lnTo>
                    <a:pt x="7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34" name="Freeform 483"/>
            <p:cNvSpPr>
              <a:spLocks/>
            </p:cNvSpPr>
            <p:nvPr/>
          </p:nvSpPr>
          <p:spPr bwMode="auto">
            <a:xfrm>
              <a:off x="5547684" y="2752443"/>
              <a:ext cx="4885" cy="9260"/>
            </a:xfrm>
            <a:custGeom>
              <a:avLst/>
              <a:gdLst>
                <a:gd name="T0" fmla="*/ 9 w 9"/>
                <a:gd name="T1" fmla="*/ 5 h 13"/>
                <a:gd name="T2" fmla="*/ 9 w 9"/>
                <a:gd name="T3" fmla="*/ 3 h 13"/>
                <a:gd name="T4" fmla="*/ 9 w 9"/>
                <a:gd name="T5" fmla="*/ 2 h 13"/>
                <a:gd name="T6" fmla="*/ 8 w 9"/>
                <a:gd name="T7" fmla="*/ 2 h 13"/>
                <a:gd name="T8" fmla="*/ 5 w 9"/>
                <a:gd name="T9" fmla="*/ 2 h 13"/>
                <a:gd name="T10" fmla="*/ 2 w 9"/>
                <a:gd name="T11" fmla="*/ 0 h 13"/>
                <a:gd name="T12" fmla="*/ 0 w 9"/>
                <a:gd name="T13" fmla="*/ 2 h 13"/>
                <a:gd name="T14" fmla="*/ 0 w 9"/>
                <a:gd name="T15" fmla="*/ 3 h 13"/>
                <a:gd name="T16" fmla="*/ 3 w 9"/>
                <a:gd name="T17" fmla="*/ 9 h 13"/>
                <a:gd name="T18" fmla="*/ 6 w 9"/>
                <a:gd name="T19" fmla="*/ 12 h 13"/>
                <a:gd name="T20" fmla="*/ 8 w 9"/>
                <a:gd name="T21" fmla="*/ 13 h 13"/>
                <a:gd name="T22" fmla="*/ 8 w 9"/>
                <a:gd name="T23" fmla="*/ 12 h 13"/>
                <a:gd name="T24" fmla="*/ 9 w 9"/>
                <a:gd name="T25" fmla="*/ 10 h 13"/>
                <a:gd name="T26" fmla="*/ 8 w 9"/>
                <a:gd name="T27" fmla="*/ 8 h 13"/>
                <a:gd name="T28" fmla="*/ 6 w 9"/>
                <a:gd name="T29" fmla="*/ 6 h 13"/>
                <a:gd name="T30" fmla="*/ 9 w 9"/>
                <a:gd name="T31" fmla="*/ 5 h 13"/>
                <a:gd name="T32" fmla="*/ 9 w 9"/>
                <a:gd name="T3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" h="13">
                  <a:moveTo>
                    <a:pt x="9" y="5"/>
                  </a:moveTo>
                  <a:lnTo>
                    <a:pt x="9" y="3"/>
                  </a:lnTo>
                  <a:lnTo>
                    <a:pt x="9" y="2"/>
                  </a:lnTo>
                  <a:lnTo>
                    <a:pt x="8" y="2"/>
                  </a:lnTo>
                  <a:lnTo>
                    <a:pt x="5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3" y="9"/>
                  </a:lnTo>
                  <a:lnTo>
                    <a:pt x="6" y="12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9" y="10"/>
                  </a:lnTo>
                  <a:lnTo>
                    <a:pt x="8" y="8"/>
                  </a:lnTo>
                  <a:lnTo>
                    <a:pt x="6" y="6"/>
                  </a:lnTo>
                  <a:lnTo>
                    <a:pt x="9" y="5"/>
                  </a:lnTo>
                  <a:lnTo>
                    <a:pt x="9" y="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35" name="Freeform 484"/>
            <p:cNvSpPr>
              <a:spLocks/>
            </p:cNvSpPr>
            <p:nvPr/>
          </p:nvSpPr>
          <p:spPr bwMode="auto">
            <a:xfrm>
              <a:off x="5491512" y="2711432"/>
              <a:ext cx="30529" cy="30427"/>
            </a:xfrm>
            <a:custGeom>
              <a:avLst/>
              <a:gdLst>
                <a:gd name="T0" fmla="*/ 46 w 52"/>
                <a:gd name="T1" fmla="*/ 18 h 44"/>
                <a:gd name="T2" fmla="*/ 50 w 52"/>
                <a:gd name="T3" fmla="*/ 14 h 44"/>
                <a:gd name="T4" fmla="*/ 52 w 52"/>
                <a:gd name="T5" fmla="*/ 11 h 44"/>
                <a:gd name="T6" fmla="*/ 50 w 52"/>
                <a:gd name="T7" fmla="*/ 8 h 44"/>
                <a:gd name="T8" fmla="*/ 50 w 52"/>
                <a:gd name="T9" fmla="*/ 8 h 44"/>
                <a:gd name="T10" fmla="*/ 49 w 52"/>
                <a:gd name="T11" fmla="*/ 7 h 44"/>
                <a:gd name="T12" fmla="*/ 49 w 52"/>
                <a:gd name="T13" fmla="*/ 6 h 44"/>
                <a:gd name="T14" fmla="*/ 49 w 52"/>
                <a:gd name="T15" fmla="*/ 3 h 44"/>
                <a:gd name="T16" fmla="*/ 49 w 52"/>
                <a:gd name="T17" fmla="*/ 1 h 44"/>
                <a:gd name="T18" fmla="*/ 46 w 52"/>
                <a:gd name="T19" fmla="*/ 0 h 44"/>
                <a:gd name="T20" fmla="*/ 45 w 52"/>
                <a:gd name="T21" fmla="*/ 0 h 44"/>
                <a:gd name="T22" fmla="*/ 40 w 52"/>
                <a:gd name="T23" fmla="*/ 4 h 44"/>
                <a:gd name="T24" fmla="*/ 36 w 52"/>
                <a:gd name="T25" fmla="*/ 8 h 44"/>
                <a:gd name="T26" fmla="*/ 28 w 52"/>
                <a:gd name="T27" fmla="*/ 13 h 44"/>
                <a:gd name="T28" fmla="*/ 22 w 52"/>
                <a:gd name="T29" fmla="*/ 16 h 44"/>
                <a:gd name="T30" fmla="*/ 19 w 52"/>
                <a:gd name="T31" fmla="*/ 17 h 44"/>
                <a:gd name="T32" fmla="*/ 12 w 52"/>
                <a:gd name="T33" fmla="*/ 20 h 44"/>
                <a:gd name="T34" fmla="*/ 7 w 52"/>
                <a:gd name="T35" fmla="*/ 21 h 44"/>
                <a:gd name="T36" fmla="*/ 5 w 52"/>
                <a:gd name="T37" fmla="*/ 24 h 44"/>
                <a:gd name="T38" fmla="*/ 3 w 52"/>
                <a:gd name="T39" fmla="*/ 27 h 44"/>
                <a:gd name="T40" fmla="*/ 0 w 52"/>
                <a:gd name="T41" fmla="*/ 30 h 44"/>
                <a:gd name="T42" fmla="*/ 0 w 52"/>
                <a:gd name="T43" fmla="*/ 31 h 44"/>
                <a:gd name="T44" fmla="*/ 0 w 52"/>
                <a:gd name="T45" fmla="*/ 33 h 44"/>
                <a:gd name="T46" fmla="*/ 2 w 52"/>
                <a:gd name="T47" fmla="*/ 33 h 44"/>
                <a:gd name="T48" fmla="*/ 3 w 52"/>
                <a:gd name="T49" fmla="*/ 33 h 44"/>
                <a:gd name="T50" fmla="*/ 6 w 52"/>
                <a:gd name="T51" fmla="*/ 31 h 44"/>
                <a:gd name="T52" fmla="*/ 10 w 52"/>
                <a:gd name="T53" fmla="*/ 31 h 44"/>
                <a:gd name="T54" fmla="*/ 12 w 52"/>
                <a:gd name="T55" fmla="*/ 31 h 44"/>
                <a:gd name="T56" fmla="*/ 17 w 52"/>
                <a:gd name="T57" fmla="*/ 30 h 44"/>
                <a:gd name="T58" fmla="*/ 20 w 52"/>
                <a:gd name="T59" fmla="*/ 28 h 44"/>
                <a:gd name="T60" fmla="*/ 25 w 52"/>
                <a:gd name="T61" fmla="*/ 26 h 44"/>
                <a:gd name="T62" fmla="*/ 28 w 52"/>
                <a:gd name="T63" fmla="*/ 27 h 44"/>
                <a:gd name="T64" fmla="*/ 29 w 52"/>
                <a:gd name="T65" fmla="*/ 27 h 44"/>
                <a:gd name="T66" fmla="*/ 29 w 52"/>
                <a:gd name="T67" fmla="*/ 28 h 44"/>
                <a:gd name="T68" fmla="*/ 28 w 52"/>
                <a:gd name="T69" fmla="*/ 30 h 44"/>
                <a:gd name="T70" fmla="*/ 25 w 52"/>
                <a:gd name="T71" fmla="*/ 34 h 44"/>
                <a:gd name="T72" fmla="*/ 23 w 52"/>
                <a:gd name="T73" fmla="*/ 34 h 44"/>
                <a:gd name="T74" fmla="*/ 22 w 52"/>
                <a:gd name="T75" fmla="*/ 33 h 44"/>
                <a:gd name="T76" fmla="*/ 20 w 52"/>
                <a:gd name="T77" fmla="*/ 33 h 44"/>
                <a:gd name="T78" fmla="*/ 20 w 52"/>
                <a:gd name="T79" fmla="*/ 34 h 44"/>
                <a:gd name="T80" fmla="*/ 20 w 52"/>
                <a:gd name="T81" fmla="*/ 34 h 44"/>
                <a:gd name="T82" fmla="*/ 19 w 52"/>
                <a:gd name="T83" fmla="*/ 37 h 44"/>
                <a:gd name="T84" fmla="*/ 19 w 52"/>
                <a:gd name="T85" fmla="*/ 38 h 44"/>
                <a:gd name="T86" fmla="*/ 16 w 52"/>
                <a:gd name="T87" fmla="*/ 41 h 44"/>
                <a:gd name="T88" fmla="*/ 15 w 52"/>
                <a:gd name="T89" fmla="*/ 43 h 44"/>
                <a:gd name="T90" fmla="*/ 16 w 52"/>
                <a:gd name="T91" fmla="*/ 44 h 44"/>
                <a:gd name="T92" fmla="*/ 19 w 52"/>
                <a:gd name="T93" fmla="*/ 44 h 44"/>
                <a:gd name="T94" fmla="*/ 26 w 52"/>
                <a:gd name="T95" fmla="*/ 37 h 44"/>
                <a:gd name="T96" fmla="*/ 32 w 52"/>
                <a:gd name="T97" fmla="*/ 30 h 44"/>
                <a:gd name="T98" fmla="*/ 32 w 52"/>
                <a:gd name="T99" fmla="*/ 30 h 44"/>
                <a:gd name="T100" fmla="*/ 33 w 52"/>
                <a:gd name="T101" fmla="*/ 30 h 44"/>
                <a:gd name="T102" fmla="*/ 33 w 52"/>
                <a:gd name="T103" fmla="*/ 33 h 44"/>
                <a:gd name="T104" fmla="*/ 36 w 52"/>
                <a:gd name="T105" fmla="*/ 33 h 44"/>
                <a:gd name="T106" fmla="*/ 36 w 52"/>
                <a:gd name="T107" fmla="*/ 31 h 44"/>
                <a:gd name="T108" fmla="*/ 36 w 52"/>
                <a:gd name="T109" fmla="*/ 30 h 44"/>
                <a:gd name="T110" fmla="*/ 36 w 52"/>
                <a:gd name="T111" fmla="*/ 28 h 44"/>
                <a:gd name="T112" fmla="*/ 36 w 52"/>
                <a:gd name="T113" fmla="*/ 27 h 44"/>
                <a:gd name="T114" fmla="*/ 39 w 52"/>
                <a:gd name="T115" fmla="*/ 24 h 44"/>
                <a:gd name="T116" fmla="*/ 43 w 52"/>
                <a:gd name="T117" fmla="*/ 21 h 44"/>
                <a:gd name="T118" fmla="*/ 46 w 52"/>
                <a:gd name="T119" fmla="*/ 18 h 44"/>
                <a:gd name="T120" fmla="*/ 46 w 52"/>
                <a:gd name="T121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2" h="44">
                  <a:moveTo>
                    <a:pt x="46" y="18"/>
                  </a:moveTo>
                  <a:lnTo>
                    <a:pt x="50" y="14"/>
                  </a:lnTo>
                  <a:lnTo>
                    <a:pt x="52" y="11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49" y="7"/>
                  </a:lnTo>
                  <a:lnTo>
                    <a:pt x="49" y="6"/>
                  </a:lnTo>
                  <a:lnTo>
                    <a:pt x="49" y="3"/>
                  </a:lnTo>
                  <a:lnTo>
                    <a:pt x="49" y="1"/>
                  </a:lnTo>
                  <a:lnTo>
                    <a:pt x="46" y="0"/>
                  </a:lnTo>
                  <a:lnTo>
                    <a:pt x="45" y="0"/>
                  </a:lnTo>
                  <a:lnTo>
                    <a:pt x="40" y="4"/>
                  </a:lnTo>
                  <a:lnTo>
                    <a:pt x="36" y="8"/>
                  </a:lnTo>
                  <a:lnTo>
                    <a:pt x="28" y="13"/>
                  </a:lnTo>
                  <a:lnTo>
                    <a:pt x="22" y="16"/>
                  </a:lnTo>
                  <a:lnTo>
                    <a:pt x="19" y="17"/>
                  </a:lnTo>
                  <a:lnTo>
                    <a:pt x="12" y="20"/>
                  </a:lnTo>
                  <a:lnTo>
                    <a:pt x="7" y="21"/>
                  </a:lnTo>
                  <a:lnTo>
                    <a:pt x="5" y="24"/>
                  </a:lnTo>
                  <a:lnTo>
                    <a:pt x="3" y="27"/>
                  </a:lnTo>
                  <a:lnTo>
                    <a:pt x="0" y="30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2" y="33"/>
                  </a:lnTo>
                  <a:lnTo>
                    <a:pt x="3" y="33"/>
                  </a:lnTo>
                  <a:lnTo>
                    <a:pt x="6" y="31"/>
                  </a:lnTo>
                  <a:lnTo>
                    <a:pt x="10" y="31"/>
                  </a:lnTo>
                  <a:lnTo>
                    <a:pt x="12" y="31"/>
                  </a:lnTo>
                  <a:lnTo>
                    <a:pt x="17" y="30"/>
                  </a:lnTo>
                  <a:lnTo>
                    <a:pt x="20" y="28"/>
                  </a:lnTo>
                  <a:lnTo>
                    <a:pt x="25" y="26"/>
                  </a:lnTo>
                  <a:lnTo>
                    <a:pt x="28" y="27"/>
                  </a:lnTo>
                  <a:lnTo>
                    <a:pt x="29" y="27"/>
                  </a:lnTo>
                  <a:lnTo>
                    <a:pt x="29" y="28"/>
                  </a:lnTo>
                  <a:lnTo>
                    <a:pt x="28" y="30"/>
                  </a:lnTo>
                  <a:lnTo>
                    <a:pt x="25" y="34"/>
                  </a:lnTo>
                  <a:lnTo>
                    <a:pt x="23" y="34"/>
                  </a:lnTo>
                  <a:lnTo>
                    <a:pt x="22" y="33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19" y="37"/>
                  </a:lnTo>
                  <a:lnTo>
                    <a:pt x="19" y="38"/>
                  </a:lnTo>
                  <a:lnTo>
                    <a:pt x="16" y="41"/>
                  </a:lnTo>
                  <a:lnTo>
                    <a:pt x="15" y="43"/>
                  </a:lnTo>
                  <a:lnTo>
                    <a:pt x="16" y="44"/>
                  </a:lnTo>
                  <a:lnTo>
                    <a:pt x="19" y="44"/>
                  </a:lnTo>
                  <a:lnTo>
                    <a:pt x="26" y="37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3" y="30"/>
                  </a:lnTo>
                  <a:lnTo>
                    <a:pt x="33" y="33"/>
                  </a:lnTo>
                  <a:lnTo>
                    <a:pt x="36" y="33"/>
                  </a:lnTo>
                  <a:lnTo>
                    <a:pt x="36" y="31"/>
                  </a:lnTo>
                  <a:lnTo>
                    <a:pt x="36" y="30"/>
                  </a:lnTo>
                  <a:lnTo>
                    <a:pt x="36" y="28"/>
                  </a:lnTo>
                  <a:lnTo>
                    <a:pt x="36" y="27"/>
                  </a:lnTo>
                  <a:lnTo>
                    <a:pt x="39" y="24"/>
                  </a:lnTo>
                  <a:lnTo>
                    <a:pt x="43" y="21"/>
                  </a:lnTo>
                  <a:lnTo>
                    <a:pt x="46" y="18"/>
                  </a:lnTo>
                  <a:lnTo>
                    <a:pt x="46" y="1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36" name="Freeform 485"/>
            <p:cNvSpPr>
              <a:spLocks/>
            </p:cNvSpPr>
            <p:nvPr/>
          </p:nvSpPr>
          <p:spPr bwMode="auto">
            <a:xfrm>
              <a:off x="5503723" y="2741859"/>
              <a:ext cx="12211" cy="3969"/>
            </a:xfrm>
            <a:custGeom>
              <a:avLst/>
              <a:gdLst>
                <a:gd name="T0" fmla="*/ 15 w 22"/>
                <a:gd name="T1" fmla="*/ 0 h 7"/>
                <a:gd name="T2" fmla="*/ 9 w 22"/>
                <a:gd name="T3" fmla="*/ 2 h 7"/>
                <a:gd name="T4" fmla="*/ 5 w 22"/>
                <a:gd name="T5" fmla="*/ 0 h 7"/>
                <a:gd name="T6" fmla="*/ 2 w 22"/>
                <a:gd name="T7" fmla="*/ 2 h 7"/>
                <a:gd name="T8" fmla="*/ 0 w 22"/>
                <a:gd name="T9" fmla="*/ 3 h 7"/>
                <a:gd name="T10" fmla="*/ 0 w 22"/>
                <a:gd name="T11" fmla="*/ 4 h 7"/>
                <a:gd name="T12" fmla="*/ 2 w 22"/>
                <a:gd name="T13" fmla="*/ 6 h 7"/>
                <a:gd name="T14" fmla="*/ 5 w 22"/>
                <a:gd name="T15" fmla="*/ 4 h 7"/>
                <a:gd name="T16" fmla="*/ 8 w 22"/>
                <a:gd name="T17" fmla="*/ 6 h 7"/>
                <a:gd name="T18" fmla="*/ 9 w 22"/>
                <a:gd name="T19" fmla="*/ 7 h 7"/>
                <a:gd name="T20" fmla="*/ 12 w 22"/>
                <a:gd name="T21" fmla="*/ 7 h 7"/>
                <a:gd name="T22" fmla="*/ 15 w 22"/>
                <a:gd name="T23" fmla="*/ 7 h 7"/>
                <a:gd name="T24" fmla="*/ 20 w 22"/>
                <a:gd name="T25" fmla="*/ 6 h 7"/>
                <a:gd name="T26" fmla="*/ 20 w 22"/>
                <a:gd name="T27" fmla="*/ 4 h 7"/>
                <a:gd name="T28" fmla="*/ 22 w 22"/>
                <a:gd name="T29" fmla="*/ 3 h 7"/>
                <a:gd name="T30" fmla="*/ 22 w 22"/>
                <a:gd name="T31" fmla="*/ 2 h 7"/>
                <a:gd name="T32" fmla="*/ 20 w 22"/>
                <a:gd name="T33" fmla="*/ 2 h 7"/>
                <a:gd name="T34" fmla="*/ 18 w 22"/>
                <a:gd name="T35" fmla="*/ 0 h 7"/>
                <a:gd name="T36" fmla="*/ 16 w 22"/>
                <a:gd name="T37" fmla="*/ 0 h 7"/>
                <a:gd name="T38" fmla="*/ 15 w 22"/>
                <a:gd name="T39" fmla="*/ 0 h 7"/>
                <a:gd name="T40" fmla="*/ 15 w 22"/>
                <a:gd name="T4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" h="7">
                  <a:moveTo>
                    <a:pt x="15" y="0"/>
                  </a:moveTo>
                  <a:lnTo>
                    <a:pt x="9" y="2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4"/>
                  </a:lnTo>
                  <a:lnTo>
                    <a:pt x="2" y="6"/>
                  </a:lnTo>
                  <a:lnTo>
                    <a:pt x="5" y="4"/>
                  </a:lnTo>
                  <a:lnTo>
                    <a:pt x="8" y="6"/>
                  </a:lnTo>
                  <a:lnTo>
                    <a:pt x="9" y="7"/>
                  </a:lnTo>
                  <a:lnTo>
                    <a:pt x="12" y="7"/>
                  </a:lnTo>
                  <a:lnTo>
                    <a:pt x="15" y="7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37" name="Freeform 486"/>
            <p:cNvSpPr>
              <a:spLocks/>
            </p:cNvSpPr>
            <p:nvPr/>
          </p:nvSpPr>
          <p:spPr bwMode="auto">
            <a:xfrm>
              <a:off x="5500060" y="2744505"/>
              <a:ext cx="3663" cy="3969"/>
            </a:xfrm>
            <a:custGeom>
              <a:avLst/>
              <a:gdLst>
                <a:gd name="T0" fmla="*/ 2 w 5"/>
                <a:gd name="T1" fmla="*/ 0 h 4"/>
                <a:gd name="T2" fmla="*/ 1 w 5"/>
                <a:gd name="T3" fmla="*/ 1 h 4"/>
                <a:gd name="T4" fmla="*/ 0 w 5"/>
                <a:gd name="T5" fmla="*/ 3 h 4"/>
                <a:gd name="T6" fmla="*/ 0 w 5"/>
                <a:gd name="T7" fmla="*/ 4 h 4"/>
                <a:gd name="T8" fmla="*/ 1 w 5"/>
                <a:gd name="T9" fmla="*/ 4 h 4"/>
                <a:gd name="T10" fmla="*/ 2 w 5"/>
                <a:gd name="T11" fmla="*/ 4 h 4"/>
                <a:gd name="T12" fmla="*/ 5 w 5"/>
                <a:gd name="T13" fmla="*/ 4 h 4"/>
                <a:gd name="T14" fmla="*/ 5 w 5"/>
                <a:gd name="T15" fmla="*/ 3 h 4"/>
                <a:gd name="T16" fmla="*/ 5 w 5"/>
                <a:gd name="T17" fmla="*/ 1 h 4"/>
                <a:gd name="T18" fmla="*/ 5 w 5"/>
                <a:gd name="T19" fmla="*/ 0 h 4"/>
                <a:gd name="T20" fmla="*/ 2 w 5"/>
                <a:gd name="T21" fmla="*/ 0 h 4"/>
                <a:gd name="T22" fmla="*/ 2 w 5"/>
                <a:gd name="T2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1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5" y="4"/>
                  </a:lnTo>
                  <a:lnTo>
                    <a:pt x="5" y="3"/>
                  </a:lnTo>
                  <a:lnTo>
                    <a:pt x="5" y="1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38" name="Freeform 487"/>
            <p:cNvSpPr>
              <a:spLocks/>
            </p:cNvSpPr>
            <p:nvPr/>
          </p:nvSpPr>
          <p:spPr bwMode="auto">
            <a:xfrm>
              <a:off x="5537915" y="2766994"/>
              <a:ext cx="6106" cy="15875"/>
            </a:xfrm>
            <a:custGeom>
              <a:avLst/>
              <a:gdLst>
                <a:gd name="T0" fmla="*/ 7 w 12"/>
                <a:gd name="T1" fmla="*/ 10 h 24"/>
                <a:gd name="T2" fmla="*/ 6 w 12"/>
                <a:gd name="T3" fmla="*/ 7 h 24"/>
                <a:gd name="T4" fmla="*/ 6 w 12"/>
                <a:gd name="T5" fmla="*/ 3 h 24"/>
                <a:gd name="T6" fmla="*/ 6 w 12"/>
                <a:gd name="T7" fmla="*/ 1 h 24"/>
                <a:gd name="T8" fmla="*/ 5 w 12"/>
                <a:gd name="T9" fmla="*/ 0 h 24"/>
                <a:gd name="T10" fmla="*/ 3 w 12"/>
                <a:gd name="T11" fmla="*/ 0 h 24"/>
                <a:gd name="T12" fmla="*/ 3 w 12"/>
                <a:gd name="T13" fmla="*/ 1 h 24"/>
                <a:gd name="T14" fmla="*/ 3 w 12"/>
                <a:gd name="T15" fmla="*/ 3 h 24"/>
                <a:gd name="T16" fmla="*/ 3 w 12"/>
                <a:gd name="T17" fmla="*/ 4 h 24"/>
                <a:gd name="T18" fmla="*/ 2 w 12"/>
                <a:gd name="T19" fmla="*/ 6 h 24"/>
                <a:gd name="T20" fmla="*/ 0 w 12"/>
                <a:gd name="T21" fmla="*/ 6 h 24"/>
                <a:gd name="T22" fmla="*/ 0 w 12"/>
                <a:gd name="T23" fmla="*/ 7 h 24"/>
                <a:gd name="T24" fmla="*/ 0 w 12"/>
                <a:gd name="T25" fmla="*/ 7 h 24"/>
                <a:gd name="T26" fmla="*/ 3 w 12"/>
                <a:gd name="T27" fmla="*/ 8 h 24"/>
                <a:gd name="T28" fmla="*/ 3 w 12"/>
                <a:gd name="T29" fmla="*/ 11 h 24"/>
                <a:gd name="T30" fmla="*/ 3 w 12"/>
                <a:gd name="T31" fmla="*/ 13 h 24"/>
                <a:gd name="T32" fmla="*/ 3 w 12"/>
                <a:gd name="T33" fmla="*/ 16 h 24"/>
                <a:gd name="T34" fmla="*/ 2 w 12"/>
                <a:gd name="T35" fmla="*/ 18 h 24"/>
                <a:gd name="T36" fmla="*/ 0 w 12"/>
                <a:gd name="T37" fmla="*/ 20 h 24"/>
                <a:gd name="T38" fmla="*/ 0 w 12"/>
                <a:gd name="T39" fmla="*/ 21 h 24"/>
                <a:gd name="T40" fmla="*/ 3 w 12"/>
                <a:gd name="T41" fmla="*/ 21 h 24"/>
                <a:gd name="T42" fmla="*/ 5 w 12"/>
                <a:gd name="T43" fmla="*/ 21 h 24"/>
                <a:gd name="T44" fmla="*/ 7 w 12"/>
                <a:gd name="T45" fmla="*/ 21 h 24"/>
                <a:gd name="T46" fmla="*/ 9 w 12"/>
                <a:gd name="T47" fmla="*/ 23 h 24"/>
                <a:gd name="T48" fmla="*/ 12 w 12"/>
                <a:gd name="T49" fmla="*/ 24 h 24"/>
                <a:gd name="T50" fmla="*/ 12 w 12"/>
                <a:gd name="T51" fmla="*/ 23 h 24"/>
                <a:gd name="T52" fmla="*/ 12 w 12"/>
                <a:gd name="T53" fmla="*/ 21 h 24"/>
                <a:gd name="T54" fmla="*/ 10 w 12"/>
                <a:gd name="T55" fmla="*/ 20 h 24"/>
                <a:gd name="T56" fmla="*/ 7 w 12"/>
                <a:gd name="T57" fmla="*/ 20 h 24"/>
                <a:gd name="T58" fmla="*/ 7 w 12"/>
                <a:gd name="T59" fmla="*/ 17 h 24"/>
                <a:gd name="T60" fmla="*/ 7 w 12"/>
                <a:gd name="T61" fmla="*/ 16 h 24"/>
                <a:gd name="T62" fmla="*/ 7 w 12"/>
                <a:gd name="T63" fmla="*/ 14 h 24"/>
                <a:gd name="T64" fmla="*/ 7 w 12"/>
                <a:gd name="T65" fmla="*/ 13 h 24"/>
                <a:gd name="T66" fmla="*/ 7 w 12"/>
                <a:gd name="T67" fmla="*/ 10 h 24"/>
                <a:gd name="T68" fmla="*/ 7 w 12"/>
                <a:gd name="T69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" h="24">
                  <a:moveTo>
                    <a:pt x="7" y="10"/>
                  </a:moveTo>
                  <a:lnTo>
                    <a:pt x="6" y="7"/>
                  </a:lnTo>
                  <a:lnTo>
                    <a:pt x="6" y="3"/>
                  </a:lnTo>
                  <a:lnTo>
                    <a:pt x="6" y="1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3"/>
                  </a:lnTo>
                  <a:lnTo>
                    <a:pt x="3" y="4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8"/>
                  </a:lnTo>
                  <a:lnTo>
                    <a:pt x="3" y="11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1"/>
                  </a:lnTo>
                  <a:lnTo>
                    <a:pt x="3" y="21"/>
                  </a:lnTo>
                  <a:lnTo>
                    <a:pt x="5" y="21"/>
                  </a:lnTo>
                  <a:lnTo>
                    <a:pt x="7" y="21"/>
                  </a:lnTo>
                  <a:lnTo>
                    <a:pt x="9" y="23"/>
                  </a:lnTo>
                  <a:lnTo>
                    <a:pt x="12" y="24"/>
                  </a:lnTo>
                  <a:lnTo>
                    <a:pt x="12" y="23"/>
                  </a:lnTo>
                  <a:lnTo>
                    <a:pt x="12" y="21"/>
                  </a:lnTo>
                  <a:lnTo>
                    <a:pt x="10" y="20"/>
                  </a:lnTo>
                  <a:lnTo>
                    <a:pt x="7" y="20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0"/>
                  </a:lnTo>
                  <a:lnTo>
                    <a:pt x="7" y="1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39" name="Freeform 488"/>
            <p:cNvSpPr>
              <a:spLocks/>
            </p:cNvSpPr>
            <p:nvPr/>
          </p:nvSpPr>
          <p:spPr bwMode="auto">
            <a:xfrm>
              <a:off x="5534252" y="2757734"/>
              <a:ext cx="12211" cy="6615"/>
            </a:xfrm>
            <a:custGeom>
              <a:avLst/>
              <a:gdLst>
                <a:gd name="T0" fmla="*/ 14 w 19"/>
                <a:gd name="T1" fmla="*/ 0 h 10"/>
                <a:gd name="T2" fmla="*/ 10 w 19"/>
                <a:gd name="T3" fmla="*/ 0 h 10"/>
                <a:gd name="T4" fmla="*/ 9 w 19"/>
                <a:gd name="T5" fmla="*/ 0 h 10"/>
                <a:gd name="T6" fmla="*/ 4 w 19"/>
                <a:gd name="T7" fmla="*/ 1 h 10"/>
                <a:gd name="T8" fmla="*/ 3 w 19"/>
                <a:gd name="T9" fmla="*/ 3 h 10"/>
                <a:gd name="T10" fmla="*/ 0 w 19"/>
                <a:gd name="T11" fmla="*/ 3 h 10"/>
                <a:gd name="T12" fmla="*/ 0 w 19"/>
                <a:gd name="T13" fmla="*/ 4 h 10"/>
                <a:gd name="T14" fmla="*/ 0 w 19"/>
                <a:gd name="T15" fmla="*/ 6 h 10"/>
                <a:gd name="T16" fmla="*/ 0 w 19"/>
                <a:gd name="T17" fmla="*/ 7 h 10"/>
                <a:gd name="T18" fmla="*/ 3 w 19"/>
                <a:gd name="T19" fmla="*/ 7 h 10"/>
                <a:gd name="T20" fmla="*/ 9 w 19"/>
                <a:gd name="T21" fmla="*/ 6 h 10"/>
                <a:gd name="T22" fmla="*/ 9 w 19"/>
                <a:gd name="T23" fmla="*/ 6 h 10"/>
                <a:gd name="T24" fmla="*/ 10 w 19"/>
                <a:gd name="T25" fmla="*/ 9 h 10"/>
                <a:gd name="T26" fmla="*/ 10 w 19"/>
                <a:gd name="T27" fmla="*/ 10 h 10"/>
                <a:gd name="T28" fmla="*/ 11 w 19"/>
                <a:gd name="T29" fmla="*/ 10 h 10"/>
                <a:gd name="T30" fmla="*/ 11 w 19"/>
                <a:gd name="T31" fmla="*/ 10 h 10"/>
                <a:gd name="T32" fmla="*/ 13 w 19"/>
                <a:gd name="T33" fmla="*/ 7 h 10"/>
                <a:gd name="T34" fmla="*/ 13 w 19"/>
                <a:gd name="T35" fmla="*/ 6 h 10"/>
                <a:gd name="T36" fmla="*/ 14 w 19"/>
                <a:gd name="T37" fmla="*/ 6 h 10"/>
                <a:gd name="T38" fmla="*/ 16 w 19"/>
                <a:gd name="T39" fmla="*/ 6 h 10"/>
                <a:gd name="T40" fmla="*/ 17 w 19"/>
                <a:gd name="T41" fmla="*/ 7 h 10"/>
                <a:gd name="T42" fmla="*/ 19 w 19"/>
                <a:gd name="T43" fmla="*/ 7 h 10"/>
                <a:gd name="T44" fmla="*/ 19 w 19"/>
                <a:gd name="T45" fmla="*/ 4 h 10"/>
                <a:gd name="T46" fmla="*/ 19 w 19"/>
                <a:gd name="T47" fmla="*/ 3 h 10"/>
                <a:gd name="T48" fmla="*/ 19 w 19"/>
                <a:gd name="T49" fmla="*/ 1 h 10"/>
                <a:gd name="T50" fmla="*/ 14 w 19"/>
                <a:gd name="T51" fmla="*/ 0 h 10"/>
                <a:gd name="T52" fmla="*/ 14 w 19"/>
                <a:gd name="T5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" h="10">
                  <a:moveTo>
                    <a:pt x="14" y="0"/>
                  </a:moveTo>
                  <a:lnTo>
                    <a:pt x="10" y="0"/>
                  </a:lnTo>
                  <a:lnTo>
                    <a:pt x="9" y="0"/>
                  </a:lnTo>
                  <a:lnTo>
                    <a:pt x="4" y="1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3" y="7"/>
                  </a:lnTo>
                  <a:lnTo>
                    <a:pt x="9" y="6"/>
                  </a:lnTo>
                  <a:lnTo>
                    <a:pt x="9" y="6"/>
                  </a:lnTo>
                  <a:lnTo>
                    <a:pt x="10" y="9"/>
                  </a:lnTo>
                  <a:lnTo>
                    <a:pt x="10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3" y="7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7" y="7"/>
                  </a:lnTo>
                  <a:lnTo>
                    <a:pt x="19" y="7"/>
                  </a:lnTo>
                  <a:lnTo>
                    <a:pt x="19" y="4"/>
                  </a:lnTo>
                  <a:lnTo>
                    <a:pt x="19" y="3"/>
                  </a:lnTo>
                  <a:lnTo>
                    <a:pt x="19" y="1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40" name="Freeform 489"/>
            <p:cNvSpPr>
              <a:spLocks/>
            </p:cNvSpPr>
            <p:nvPr/>
          </p:nvSpPr>
          <p:spPr bwMode="auto">
            <a:xfrm>
              <a:off x="5497617" y="2760380"/>
              <a:ext cx="4885" cy="5292"/>
            </a:xfrm>
            <a:custGeom>
              <a:avLst/>
              <a:gdLst>
                <a:gd name="T0" fmla="*/ 3 w 7"/>
                <a:gd name="T1" fmla="*/ 0 h 8"/>
                <a:gd name="T2" fmla="*/ 0 w 7"/>
                <a:gd name="T3" fmla="*/ 1 h 8"/>
                <a:gd name="T4" fmla="*/ 0 w 7"/>
                <a:gd name="T5" fmla="*/ 4 h 8"/>
                <a:gd name="T6" fmla="*/ 0 w 7"/>
                <a:gd name="T7" fmla="*/ 6 h 8"/>
                <a:gd name="T8" fmla="*/ 0 w 7"/>
                <a:gd name="T9" fmla="*/ 7 h 8"/>
                <a:gd name="T10" fmla="*/ 1 w 7"/>
                <a:gd name="T11" fmla="*/ 8 h 8"/>
                <a:gd name="T12" fmla="*/ 4 w 7"/>
                <a:gd name="T13" fmla="*/ 8 h 8"/>
                <a:gd name="T14" fmla="*/ 7 w 7"/>
                <a:gd name="T15" fmla="*/ 8 h 8"/>
                <a:gd name="T16" fmla="*/ 7 w 7"/>
                <a:gd name="T17" fmla="*/ 6 h 8"/>
                <a:gd name="T18" fmla="*/ 7 w 7"/>
                <a:gd name="T19" fmla="*/ 3 h 8"/>
                <a:gd name="T20" fmla="*/ 7 w 7"/>
                <a:gd name="T21" fmla="*/ 1 h 8"/>
                <a:gd name="T22" fmla="*/ 5 w 7"/>
                <a:gd name="T23" fmla="*/ 1 h 8"/>
                <a:gd name="T24" fmla="*/ 3 w 7"/>
                <a:gd name="T25" fmla="*/ 0 h 8"/>
                <a:gd name="T26" fmla="*/ 3 w 7"/>
                <a:gd name="T2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" h="8">
                  <a:moveTo>
                    <a:pt x="3" y="0"/>
                  </a:moveTo>
                  <a:lnTo>
                    <a:pt x="0" y="1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8"/>
                  </a:lnTo>
                  <a:lnTo>
                    <a:pt x="4" y="8"/>
                  </a:lnTo>
                  <a:lnTo>
                    <a:pt x="7" y="8"/>
                  </a:lnTo>
                  <a:lnTo>
                    <a:pt x="7" y="6"/>
                  </a:lnTo>
                  <a:lnTo>
                    <a:pt x="7" y="3"/>
                  </a:lnTo>
                  <a:lnTo>
                    <a:pt x="7" y="1"/>
                  </a:lnTo>
                  <a:lnTo>
                    <a:pt x="5" y="1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41" name="Freeform 490"/>
            <p:cNvSpPr>
              <a:spLocks/>
            </p:cNvSpPr>
            <p:nvPr/>
          </p:nvSpPr>
          <p:spPr bwMode="auto">
            <a:xfrm>
              <a:off x="5491512" y="2766994"/>
              <a:ext cx="12211" cy="7937"/>
            </a:xfrm>
            <a:custGeom>
              <a:avLst/>
              <a:gdLst>
                <a:gd name="T0" fmla="*/ 7 w 18"/>
                <a:gd name="T1" fmla="*/ 0 h 11"/>
                <a:gd name="T2" fmla="*/ 3 w 18"/>
                <a:gd name="T3" fmla="*/ 0 h 11"/>
                <a:gd name="T4" fmla="*/ 1 w 18"/>
                <a:gd name="T5" fmla="*/ 0 h 11"/>
                <a:gd name="T6" fmla="*/ 0 w 18"/>
                <a:gd name="T7" fmla="*/ 3 h 11"/>
                <a:gd name="T8" fmla="*/ 1 w 18"/>
                <a:gd name="T9" fmla="*/ 6 h 11"/>
                <a:gd name="T10" fmla="*/ 1 w 18"/>
                <a:gd name="T11" fmla="*/ 7 h 11"/>
                <a:gd name="T12" fmla="*/ 3 w 18"/>
                <a:gd name="T13" fmla="*/ 8 h 11"/>
                <a:gd name="T14" fmla="*/ 4 w 18"/>
                <a:gd name="T15" fmla="*/ 10 h 11"/>
                <a:gd name="T16" fmla="*/ 7 w 18"/>
                <a:gd name="T17" fmla="*/ 10 h 11"/>
                <a:gd name="T18" fmla="*/ 8 w 18"/>
                <a:gd name="T19" fmla="*/ 11 h 11"/>
                <a:gd name="T20" fmla="*/ 11 w 18"/>
                <a:gd name="T21" fmla="*/ 10 h 11"/>
                <a:gd name="T22" fmla="*/ 14 w 18"/>
                <a:gd name="T23" fmla="*/ 7 h 11"/>
                <a:gd name="T24" fmla="*/ 18 w 18"/>
                <a:gd name="T25" fmla="*/ 6 h 11"/>
                <a:gd name="T26" fmla="*/ 18 w 18"/>
                <a:gd name="T27" fmla="*/ 4 h 11"/>
                <a:gd name="T28" fmla="*/ 18 w 18"/>
                <a:gd name="T29" fmla="*/ 3 h 11"/>
                <a:gd name="T30" fmla="*/ 15 w 18"/>
                <a:gd name="T31" fmla="*/ 3 h 11"/>
                <a:gd name="T32" fmla="*/ 13 w 18"/>
                <a:gd name="T33" fmla="*/ 1 h 11"/>
                <a:gd name="T34" fmla="*/ 11 w 18"/>
                <a:gd name="T35" fmla="*/ 3 h 11"/>
                <a:gd name="T36" fmla="*/ 10 w 18"/>
                <a:gd name="T37" fmla="*/ 4 h 11"/>
                <a:gd name="T38" fmla="*/ 10 w 18"/>
                <a:gd name="T39" fmla="*/ 6 h 11"/>
                <a:gd name="T40" fmla="*/ 8 w 18"/>
                <a:gd name="T41" fmla="*/ 6 h 11"/>
                <a:gd name="T42" fmla="*/ 7 w 18"/>
                <a:gd name="T43" fmla="*/ 6 h 11"/>
                <a:gd name="T44" fmla="*/ 5 w 18"/>
                <a:gd name="T45" fmla="*/ 4 h 11"/>
                <a:gd name="T46" fmla="*/ 5 w 18"/>
                <a:gd name="T47" fmla="*/ 3 h 11"/>
                <a:gd name="T48" fmla="*/ 7 w 18"/>
                <a:gd name="T49" fmla="*/ 0 h 11"/>
                <a:gd name="T50" fmla="*/ 7 w 18"/>
                <a:gd name="T5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" h="11">
                  <a:moveTo>
                    <a:pt x="7" y="0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3"/>
                  </a:lnTo>
                  <a:lnTo>
                    <a:pt x="1" y="6"/>
                  </a:lnTo>
                  <a:lnTo>
                    <a:pt x="1" y="7"/>
                  </a:lnTo>
                  <a:lnTo>
                    <a:pt x="3" y="8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8" y="11"/>
                  </a:lnTo>
                  <a:lnTo>
                    <a:pt x="11" y="10"/>
                  </a:lnTo>
                  <a:lnTo>
                    <a:pt x="14" y="7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8" y="3"/>
                  </a:lnTo>
                  <a:lnTo>
                    <a:pt x="15" y="3"/>
                  </a:lnTo>
                  <a:lnTo>
                    <a:pt x="13" y="1"/>
                  </a:lnTo>
                  <a:lnTo>
                    <a:pt x="11" y="3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8" y="6"/>
                  </a:lnTo>
                  <a:lnTo>
                    <a:pt x="7" y="6"/>
                  </a:lnTo>
                  <a:lnTo>
                    <a:pt x="5" y="4"/>
                  </a:lnTo>
                  <a:lnTo>
                    <a:pt x="5" y="3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42" name="Freeform 491"/>
            <p:cNvSpPr>
              <a:spLocks/>
            </p:cNvSpPr>
            <p:nvPr/>
          </p:nvSpPr>
          <p:spPr bwMode="auto">
            <a:xfrm>
              <a:off x="5476858" y="2765672"/>
              <a:ext cx="14654" cy="9260"/>
            </a:xfrm>
            <a:custGeom>
              <a:avLst/>
              <a:gdLst>
                <a:gd name="T0" fmla="*/ 18 w 23"/>
                <a:gd name="T1" fmla="*/ 3 h 13"/>
                <a:gd name="T2" fmla="*/ 16 w 23"/>
                <a:gd name="T3" fmla="*/ 0 h 13"/>
                <a:gd name="T4" fmla="*/ 15 w 23"/>
                <a:gd name="T5" fmla="*/ 0 h 13"/>
                <a:gd name="T6" fmla="*/ 13 w 23"/>
                <a:gd name="T7" fmla="*/ 0 h 13"/>
                <a:gd name="T8" fmla="*/ 12 w 23"/>
                <a:gd name="T9" fmla="*/ 2 h 13"/>
                <a:gd name="T10" fmla="*/ 12 w 23"/>
                <a:gd name="T11" fmla="*/ 5 h 13"/>
                <a:gd name="T12" fmla="*/ 9 w 23"/>
                <a:gd name="T13" fmla="*/ 5 h 13"/>
                <a:gd name="T14" fmla="*/ 8 w 23"/>
                <a:gd name="T15" fmla="*/ 5 h 13"/>
                <a:gd name="T16" fmla="*/ 6 w 23"/>
                <a:gd name="T17" fmla="*/ 6 h 13"/>
                <a:gd name="T18" fmla="*/ 3 w 23"/>
                <a:gd name="T19" fmla="*/ 8 h 13"/>
                <a:gd name="T20" fmla="*/ 2 w 23"/>
                <a:gd name="T21" fmla="*/ 9 h 13"/>
                <a:gd name="T22" fmla="*/ 0 w 23"/>
                <a:gd name="T23" fmla="*/ 10 h 13"/>
                <a:gd name="T24" fmla="*/ 0 w 23"/>
                <a:gd name="T25" fmla="*/ 12 h 13"/>
                <a:gd name="T26" fmla="*/ 2 w 23"/>
                <a:gd name="T27" fmla="*/ 13 h 13"/>
                <a:gd name="T28" fmla="*/ 5 w 23"/>
                <a:gd name="T29" fmla="*/ 12 h 13"/>
                <a:gd name="T30" fmla="*/ 6 w 23"/>
                <a:gd name="T31" fmla="*/ 12 h 13"/>
                <a:gd name="T32" fmla="*/ 9 w 23"/>
                <a:gd name="T33" fmla="*/ 10 h 13"/>
                <a:gd name="T34" fmla="*/ 13 w 23"/>
                <a:gd name="T35" fmla="*/ 12 h 13"/>
                <a:gd name="T36" fmla="*/ 18 w 23"/>
                <a:gd name="T37" fmla="*/ 13 h 13"/>
                <a:gd name="T38" fmla="*/ 20 w 23"/>
                <a:gd name="T39" fmla="*/ 13 h 13"/>
                <a:gd name="T40" fmla="*/ 23 w 23"/>
                <a:gd name="T41" fmla="*/ 12 h 13"/>
                <a:gd name="T42" fmla="*/ 23 w 23"/>
                <a:gd name="T43" fmla="*/ 10 h 13"/>
                <a:gd name="T44" fmla="*/ 23 w 23"/>
                <a:gd name="T45" fmla="*/ 9 h 13"/>
                <a:gd name="T46" fmla="*/ 20 w 23"/>
                <a:gd name="T47" fmla="*/ 8 h 13"/>
                <a:gd name="T48" fmla="*/ 19 w 23"/>
                <a:gd name="T49" fmla="*/ 8 h 13"/>
                <a:gd name="T50" fmla="*/ 18 w 23"/>
                <a:gd name="T51" fmla="*/ 6 h 13"/>
                <a:gd name="T52" fmla="*/ 18 w 23"/>
                <a:gd name="T53" fmla="*/ 3 h 13"/>
                <a:gd name="T54" fmla="*/ 18 w 23"/>
                <a:gd name="T5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" h="13">
                  <a:moveTo>
                    <a:pt x="18" y="3"/>
                  </a:moveTo>
                  <a:lnTo>
                    <a:pt x="1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2" y="2"/>
                  </a:lnTo>
                  <a:lnTo>
                    <a:pt x="12" y="5"/>
                  </a:lnTo>
                  <a:lnTo>
                    <a:pt x="9" y="5"/>
                  </a:lnTo>
                  <a:lnTo>
                    <a:pt x="8" y="5"/>
                  </a:lnTo>
                  <a:lnTo>
                    <a:pt x="6" y="6"/>
                  </a:lnTo>
                  <a:lnTo>
                    <a:pt x="3" y="8"/>
                  </a:lnTo>
                  <a:lnTo>
                    <a:pt x="2" y="9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2" y="13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9" y="10"/>
                  </a:lnTo>
                  <a:lnTo>
                    <a:pt x="13" y="12"/>
                  </a:lnTo>
                  <a:lnTo>
                    <a:pt x="18" y="13"/>
                  </a:lnTo>
                  <a:lnTo>
                    <a:pt x="20" y="13"/>
                  </a:lnTo>
                  <a:lnTo>
                    <a:pt x="23" y="12"/>
                  </a:lnTo>
                  <a:lnTo>
                    <a:pt x="23" y="10"/>
                  </a:lnTo>
                  <a:lnTo>
                    <a:pt x="23" y="9"/>
                  </a:lnTo>
                  <a:lnTo>
                    <a:pt x="20" y="8"/>
                  </a:lnTo>
                  <a:lnTo>
                    <a:pt x="19" y="8"/>
                  </a:lnTo>
                  <a:lnTo>
                    <a:pt x="18" y="6"/>
                  </a:lnTo>
                  <a:lnTo>
                    <a:pt x="18" y="3"/>
                  </a:lnTo>
                  <a:lnTo>
                    <a:pt x="18" y="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43" name="Freeform 492"/>
            <p:cNvSpPr>
              <a:spLocks/>
            </p:cNvSpPr>
            <p:nvPr/>
          </p:nvSpPr>
          <p:spPr bwMode="auto">
            <a:xfrm>
              <a:off x="5503723" y="2768317"/>
              <a:ext cx="13433" cy="10583"/>
            </a:xfrm>
            <a:custGeom>
              <a:avLst/>
              <a:gdLst>
                <a:gd name="T0" fmla="*/ 23 w 23"/>
                <a:gd name="T1" fmla="*/ 0 h 17"/>
                <a:gd name="T2" fmla="*/ 20 w 23"/>
                <a:gd name="T3" fmla="*/ 0 h 17"/>
                <a:gd name="T4" fmla="*/ 18 w 23"/>
                <a:gd name="T5" fmla="*/ 0 h 17"/>
                <a:gd name="T6" fmla="*/ 13 w 23"/>
                <a:gd name="T7" fmla="*/ 0 h 17"/>
                <a:gd name="T8" fmla="*/ 12 w 23"/>
                <a:gd name="T9" fmla="*/ 0 h 17"/>
                <a:gd name="T10" fmla="*/ 10 w 23"/>
                <a:gd name="T11" fmla="*/ 5 h 17"/>
                <a:gd name="T12" fmla="*/ 10 w 23"/>
                <a:gd name="T13" fmla="*/ 7 h 17"/>
                <a:gd name="T14" fmla="*/ 9 w 23"/>
                <a:gd name="T15" fmla="*/ 9 h 17"/>
                <a:gd name="T16" fmla="*/ 6 w 23"/>
                <a:gd name="T17" fmla="*/ 9 h 17"/>
                <a:gd name="T18" fmla="*/ 6 w 23"/>
                <a:gd name="T19" fmla="*/ 7 h 17"/>
                <a:gd name="T20" fmla="*/ 6 w 23"/>
                <a:gd name="T21" fmla="*/ 6 h 17"/>
                <a:gd name="T22" fmla="*/ 5 w 23"/>
                <a:gd name="T23" fmla="*/ 6 h 17"/>
                <a:gd name="T24" fmla="*/ 3 w 23"/>
                <a:gd name="T25" fmla="*/ 7 h 17"/>
                <a:gd name="T26" fmla="*/ 2 w 23"/>
                <a:gd name="T27" fmla="*/ 10 h 17"/>
                <a:gd name="T28" fmla="*/ 2 w 23"/>
                <a:gd name="T29" fmla="*/ 12 h 17"/>
                <a:gd name="T30" fmla="*/ 2 w 23"/>
                <a:gd name="T31" fmla="*/ 13 h 17"/>
                <a:gd name="T32" fmla="*/ 0 w 23"/>
                <a:gd name="T33" fmla="*/ 15 h 17"/>
                <a:gd name="T34" fmla="*/ 0 w 23"/>
                <a:gd name="T35" fmla="*/ 16 h 17"/>
                <a:gd name="T36" fmla="*/ 2 w 23"/>
                <a:gd name="T37" fmla="*/ 17 h 17"/>
                <a:gd name="T38" fmla="*/ 3 w 23"/>
                <a:gd name="T39" fmla="*/ 16 h 17"/>
                <a:gd name="T40" fmla="*/ 6 w 23"/>
                <a:gd name="T41" fmla="*/ 15 h 17"/>
                <a:gd name="T42" fmla="*/ 9 w 23"/>
                <a:gd name="T43" fmla="*/ 13 h 17"/>
                <a:gd name="T44" fmla="*/ 10 w 23"/>
                <a:gd name="T45" fmla="*/ 15 h 17"/>
                <a:gd name="T46" fmla="*/ 10 w 23"/>
                <a:gd name="T47" fmla="*/ 16 h 17"/>
                <a:gd name="T48" fmla="*/ 13 w 23"/>
                <a:gd name="T49" fmla="*/ 17 h 17"/>
                <a:gd name="T50" fmla="*/ 15 w 23"/>
                <a:gd name="T51" fmla="*/ 17 h 17"/>
                <a:gd name="T52" fmla="*/ 16 w 23"/>
                <a:gd name="T53" fmla="*/ 15 h 17"/>
                <a:gd name="T54" fmla="*/ 18 w 23"/>
                <a:gd name="T55" fmla="*/ 12 h 17"/>
                <a:gd name="T56" fmla="*/ 16 w 23"/>
                <a:gd name="T57" fmla="*/ 9 h 17"/>
                <a:gd name="T58" fmla="*/ 18 w 23"/>
                <a:gd name="T59" fmla="*/ 7 h 17"/>
                <a:gd name="T60" fmla="*/ 19 w 23"/>
                <a:gd name="T61" fmla="*/ 6 h 17"/>
                <a:gd name="T62" fmla="*/ 20 w 23"/>
                <a:gd name="T63" fmla="*/ 6 h 17"/>
                <a:gd name="T64" fmla="*/ 22 w 23"/>
                <a:gd name="T65" fmla="*/ 5 h 17"/>
                <a:gd name="T66" fmla="*/ 23 w 23"/>
                <a:gd name="T67" fmla="*/ 3 h 17"/>
                <a:gd name="T68" fmla="*/ 23 w 23"/>
                <a:gd name="T69" fmla="*/ 2 h 17"/>
                <a:gd name="T70" fmla="*/ 23 w 23"/>
                <a:gd name="T71" fmla="*/ 0 h 17"/>
                <a:gd name="T72" fmla="*/ 23 w 23"/>
                <a:gd name="T7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3" h="17">
                  <a:moveTo>
                    <a:pt x="23" y="0"/>
                  </a:moveTo>
                  <a:lnTo>
                    <a:pt x="20" y="0"/>
                  </a:lnTo>
                  <a:lnTo>
                    <a:pt x="18" y="0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0" y="5"/>
                  </a:lnTo>
                  <a:lnTo>
                    <a:pt x="10" y="7"/>
                  </a:lnTo>
                  <a:lnTo>
                    <a:pt x="9" y="9"/>
                  </a:lnTo>
                  <a:lnTo>
                    <a:pt x="6" y="9"/>
                  </a:lnTo>
                  <a:lnTo>
                    <a:pt x="6" y="7"/>
                  </a:lnTo>
                  <a:lnTo>
                    <a:pt x="6" y="6"/>
                  </a:lnTo>
                  <a:lnTo>
                    <a:pt x="5" y="6"/>
                  </a:lnTo>
                  <a:lnTo>
                    <a:pt x="3" y="7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2" y="13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2" y="17"/>
                  </a:lnTo>
                  <a:lnTo>
                    <a:pt x="3" y="16"/>
                  </a:lnTo>
                  <a:lnTo>
                    <a:pt x="6" y="15"/>
                  </a:lnTo>
                  <a:lnTo>
                    <a:pt x="9" y="13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3" y="17"/>
                  </a:lnTo>
                  <a:lnTo>
                    <a:pt x="15" y="17"/>
                  </a:lnTo>
                  <a:lnTo>
                    <a:pt x="16" y="15"/>
                  </a:lnTo>
                  <a:lnTo>
                    <a:pt x="18" y="12"/>
                  </a:lnTo>
                  <a:lnTo>
                    <a:pt x="16" y="9"/>
                  </a:lnTo>
                  <a:lnTo>
                    <a:pt x="18" y="7"/>
                  </a:lnTo>
                  <a:lnTo>
                    <a:pt x="19" y="6"/>
                  </a:lnTo>
                  <a:lnTo>
                    <a:pt x="20" y="6"/>
                  </a:lnTo>
                  <a:lnTo>
                    <a:pt x="22" y="5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3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44" name="Freeform 493"/>
            <p:cNvSpPr>
              <a:spLocks/>
            </p:cNvSpPr>
            <p:nvPr/>
          </p:nvSpPr>
          <p:spPr bwMode="auto">
            <a:xfrm>
              <a:off x="5454877" y="2774932"/>
              <a:ext cx="12211" cy="5292"/>
            </a:xfrm>
            <a:custGeom>
              <a:avLst/>
              <a:gdLst>
                <a:gd name="T0" fmla="*/ 14 w 20"/>
                <a:gd name="T1" fmla="*/ 3 h 9"/>
                <a:gd name="T2" fmla="*/ 12 w 20"/>
                <a:gd name="T3" fmla="*/ 3 h 9"/>
                <a:gd name="T4" fmla="*/ 7 w 20"/>
                <a:gd name="T5" fmla="*/ 2 h 9"/>
                <a:gd name="T6" fmla="*/ 6 w 20"/>
                <a:gd name="T7" fmla="*/ 0 h 9"/>
                <a:gd name="T8" fmla="*/ 2 w 20"/>
                <a:gd name="T9" fmla="*/ 0 h 9"/>
                <a:gd name="T10" fmla="*/ 0 w 20"/>
                <a:gd name="T11" fmla="*/ 0 h 9"/>
                <a:gd name="T12" fmla="*/ 0 w 20"/>
                <a:gd name="T13" fmla="*/ 2 h 9"/>
                <a:gd name="T14" fmla="*/ 0 w 20"/>
                <a:gd name="T15" fmla="*/ 5 h 9"/>
                <a:gd name="T16" fmla="*/ 2 w 20"/>
                <a:gd name="T17" fmla="*/ 5 h 9"/>
                <a:gd name="T18" fmla="*/ 4 w 20"/>
                <a:gd name="T19" fmla="*/ 5 h 9"/>
                <a:gd name="T20" fmla="*/ 7 w 20"/>
                <a:gd name="T21" fmla="*/ 6 h 9"/>
                <a:gd name="T22" fmla="*/ 7 w 20"/>
                <a:gd name="T23" fmla="*/ 7 h 9"/>
                <a:gd name="T24" fmla="*/ 9 w 20"/>
                <a:gd name="T25" fmla="*/ 7 h 9"/>
                <a:gd name="T26" fmla="*/ 10 w 20"/>
                <a:gd name="T27" fmla="*/ 7 h 9"/>
                <a:gd name="T28" fmla="*/ 13 w 20"/>
                <a:gd name="T29" fmla="*/ 6 h 9"/>
                <a:gd name="T30" fmla="*/ 16 w 20"/>
                <a:gd name="T31" fmla="*/ 7 h 9"/>
                <a:gd name="T32" fmla="*/ 17 w 20"/>
                <a:gd name="T33" fmla="*/ 9 h 9"/>
                <a:gd name="T34" fmla="*/ 19 w 20"/>
                <a:gd name="T35" fmla="*/ 9 h 9"/>
                <a:gd name="T36" fmla="*/ 20 w 20"/>
                <a:gd name="T37" fmla="*/ 7 h 9"/>
                <a:gd name="T38" fmla="*/ 19 w 20"/>
                <a:gd name="T39" fmla="*/ 6 h 9"/>
                <a:gd name="T40" fmla="*/ 17 w 20"/>
                <a:gd name="T41" fmla="*/ 6 h 9"/>
                <a:gd name="T42" fmla="*/ 14 w 20"/>
                <a:gd name="T43" fmla="*/ 3 h 9"/>
                <a:gd name="T44" fmla="*/ 14 w 20"/>
                <a:gd name="T4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9">
                  <a:moveTo>
                    <a:pt x="14" y="3"/>
                  </a:moveTo>
                  <a:lnTo>
                    <a:pt x="12" y="3"/>
                  </a:lnTo>
                  <a:lnTo>
                    <a:pt x="7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5"/>
                  </a:lnTo>
                  <a:lnTo>
                    <a:pt x="4" y="5"/>
                  </a:lnTo>
                  <a:lnTo>
                    <a:pt x="7" y="6"/>
                  </a:lnTo>
                  <a:lnTo>
                    <a:pt x="7" y="7"/>
                  </a:lnTo>
                  <a:lnTo>
                    <a:pt x="9" y="7"/>
                  </a:lnTo>
                  <a:lnTo>
                    <a:pt x="10" y="7"/>
                  </a:lnTo>
                  <a:lnTo>
                    <a:pt x="13" y="6"/>
                  </a:lnTo>
                  <a:lnTo>
                    <a:pt x="16" y="7"/>
                  </a:lnTo>
                  <a:lnTo>
                    <a:pt x="17" y="9"/>
                  </a:lnTo>
                  <a:lnTo>
                    <a:pt x="19" y="9"/>
                  </a:lnTo>
                  <a:lnTo>
                    <a:pt x="20" y="7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4" y="3"/>
                  </a:lnTo>
                  <a:lnTo>
                    <a:pt x="14" y="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45" name="Freeform 494"/>
            <p:cNvSpPr>
              <a:spLocks/>
            </p:cNvSpPr>
            <p:nvPr/>
          </p:nvSpPr>
          <p:spPr bwMode="auto">
            <a:xfrm>
              <a:off x="5467089" y="2757734"/>
              <a:ext cx="2442" cy="5292"/>
            </a:xfrm>
            <a:custGeom>
              <a:avLst/>
              <a:gdLst>
                <a:gd name="T0" fmla="*/ 2 w 6"/>
                <a:gd name="T1" fmla="*/ 0 h 8"/>
                <a:gd name="T2" fmla="*/ 0 w 6"/>
                <a:gd name="T3" fmla="*/ 2 h 8"/>
                <a:gd name="T4" fmla="*/ 2 w 6"/>
                <a:gd name="T5" fmla="*/ 7 h 8"/>
                <a:gd name="T6" fmla="*/ 4 w 6"/>
                <a:gd name="T7" fmla="*/ 8 h 8"/>
                <a:gd name="T8" fmla="*/ 4 w 6"/>
                <a:gd name="T9" fmla="*/ 8 h 8"/>
                <a:gd name="T10" fmla="*/ 6 w 6"/>
                <a:gd name="T11" fmla="*/ 5 h 8"/>
                <a:gd name="T12" fmla="*/ 4 w 6"/>
                <a:gd name="T13" fmla="*/ 2 h 8"/>
                <a:gd name="T14" fmla="*/ 3 w 6"/>
                <a:gd name="T15" fmla="*/ 1 h 8"/>
                <a:gd name="T16" fmla="*/ 3 w 6"/>
                <a:gd name="T17" fmla="*/ 0 h 8"/>
                <a:gd name="T18" fmla="*/ 2 w 6"/>
                <a:gd name="T19" fmla="*/ 0 h 8"/>
                <a:gd name="T20" fmla="*/ 2 w 6"/>
                <a:gd name="T2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8">
                  <a:moveTo>
                    <a:pt x="2" y="0"/>
                  </a:moveTo>
                  <a:lnTo>
                    <a:pt x="0" y="2"/>
                  </a:lnTo>
                  <a:lnTo>
                    <a:pt x="2" y="7"/>
                  </a:lnTo>
                  <a:lnTo>
                    <a:pt x="4" y="8"/>
                  </a:lnTo>
                  <a:lnTo>
                    <a:pt x="4" y="8"/>
                  </a:lnTo>
                  <a:lnTo>
                    <a:pt x="6" y="5"/>
                  </a:lnTo>
                  <a:lnTo>
                    <a:pt x="4" y="2"/>
                  </a:lnTo>
                  <a:lnTo>
                    <a:pt x="3" y="1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46" name="Freeform 495"/>
            <p:cNvSpPr>
              <a:spLocks/>
            </p:cNvSpPr>
            <p:nvPr/>
          </p:nvSpPr>
          <p:spPr bwMode="auto">
            <a:xfrm>
              <a:off x="5463425" y="2768317"/>
              <a:ext cx="6106" cy="3969"/>
            </a:xfrm>
            <a:custGeom>
              <a:avLst/>
              <a:gdLst>
                <a:gd name="T0" fmla="*/ 8 w 10"/>
                <a:gd name="T1" fmla="*/ 3 h 5"/>
                <a:gd name="T2" fmla="*/ 8 w 10"/>
                <a:gd name="T3" fmla="*/ 0 h 5"/>
                <a:gd name="T4" fmla="*/ 5 w 10"/>
                <a:gd name="T5" fmla="*/ 1 h 5"/>
                <a:gd name="T6" fmla="*/ 3 w 10"/>
                <a:gd name="T7" fmla="*/ 1 h 5"/>
                <a:gd name="T8" fmla="*/ 2 w 10"/>
                <a:gd name="T9" fmla="*/ 1 h 5"/>
                <a:gd name="T10" fmla="*/ 0 w 10"/>
                <a:gd name="T11" fmla="*/ 4 h 5"/>
                <a:gd name="T12" fmla="*/ 2 w 10"/>
                <a:gd name="T13" fmla="*/ 4 h 5"/>
                <a:gd name="T14" fmla="*/ 5 w 10"/>
                <a:gd name="T15" fmla="*/ 5 h 5"/>
                <a:gd name="T16" fmla="*/ 8 w 10"/>
                <a:gd name="T17" fmla="*/ 5 h 5"/>
                <a:gd name="T18" fmla="*/ 9 w 10"/>
                <a:gd name="T19" fmla="*/ 5 h 5"/>
                <a:gd name="T20" fmla="*/ 10 w 10"/>
                <a:gd name="T21" fmla="*/ 5 h 5"/>
                <a:gd name="T22" fmla="*/ 10 w 10"/>
                <a:gd name="T23" fmla="*/ 3 h 5"/>
                <a:gd name="T24" fmla="*/ 9 w 10"/>
                <a:gd name="T25" fmla="*/ 3 h 5"/>
                <a:gd name="T26" fmla="*/ 8 w 10"/>
                <a:gd name="T27" fmla="*/ 3 h 5"/>
                <a:gd name="T28" fmla="*/ 8 w 10"/>
                <a:gd name="T2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" h="5">
                  <a:moveTo>
                    <a:pt x="8" y="3"/>
                  </a:moveTo>
                  <a:lnTo>
                    <a:pt x="8" y="0"/>
                  </a:lnTo>
                  <a:lnTo>
                    <a:pt x="5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4"/>
                  </a:lnTo>
                  <a:lnTo>
                    <a:pt x="2" y="4"/>
                  </a:lnTo>
                  <a:lnTo>
                    <a:pt x="5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47" name="Freeform 496"/>
            <p:cNvSpPr>
              <a:spLocks/>
            </p:cNvSpPr>
            <p:nvPr/>
          </p:nvSpPr>
          <p:spPr bwMode="auto">
            <a:xfrm>
              <a:off x="5470752" y="2768317"/>
              <a:ext cx="4885" cy="5292"/>
            </a:xfrm>
            <a:custGeom>
              <a:avLst/>
              <a:gdLst>
                <a:gd name="T0" fmla="*/ 6 w 9"/>
                <a:gd name="T1" fmla="*/ 0 h 7"/>
                <a:gd name="T2" fmla="*/ 5 w 9"/>
                <a:gd name="T3" fmla="*/ 1 h 7"/>
                <a:gd name="T4" fmla="*/ 2 w 9"/>
                <a:gd name="T5" fmla="*/ 3 h 7"/>
                <a:gd name="T6" fmla="*/ 0 w 9"/>
                <a:gd name="T7" fmla="*/ 5 h 7"/>
                <a:gd name="T8" fmla="*/ 2 w 9"/>
                <a:gd name="T9" fmla="*/ 7 h 7"/>
                <a:gd name="T10" fmla="*/ 3 w 9"/>
                <a:gd name="T11" fmla="*/ 7 h 7"/>
                <a:gd name="T12" fmla="*/ 6 w 9"/>
                <a:gd name="T13" fmla="*/ 5 h 7"/>
                <a:gd name="T14" fmla="*/ 8 w 9"/>
                <a:gd name="T15" fmla="*/ 4 h 7"/>
                <a:gd name="T16" fmla="*/ 8 w 9"/>
                <a:gd name="T17" fmla="*/ 3 h 7"/>
                <a:gd name="T18" fmla="*/ 9 w 9"/>
                <a:gd name="T19" fmla="*/ 1 h 7"/>
                <a:gd name="T20" fmla="*/ 6 w 9"/>
                <a:gd name="T21" fmla="*/ 0 h 7"/>
                <a:gd name="T22" fmla="*/ 6 w 9"/>
                <a:gd name="T2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7">
                  <a:moveTo>
                    <a:pt x="6" y="0"/>
                  </a:moveTo>
                  <a:lnTo>
                    <a:pt x="5" y="1"/>
                  </a:lnTo>
                  <a:lnTo>
                    <a:pt x="2" y="3"/>
                  </a:lnTo>
                  <a:lnTo>
                    <a:pt x="0" y="5"/>
                  </a:lnTo>
                  <a:lnTo>
                    <a:pt x="2" y="7"/>
                  </a:lnTo>
                  <a:lnTo>
                    <a:pt x="3" y="7"/>
                  </a:lnTo>
                  <a:lnTo>
                    <a:pt x="6" y="5"/>
                  </a:lnTo>
                  <a:lnTo>
                    <a:pt x="8" y="4"/>
                  </a:lnTo>
                  <a:lnTo>
                    <a:pt x="8" y="3"/>
                  </a:lnTo>
                  <a:lnTo>
                    <a:pt x="9" y="1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48" name="Freeform 497"/>
            <p:cNvSpPr>
              <a:spLocks/>
            </p:cNvSpPr>
            <p:nvPr/>
          </p:nvSpPr>
          <p:spPr bwMode="auto">
            <a:xfrm>
              <a:off x="5489069" y="2781546"/>
              <a:ext cx="3663" cy="6615"/>
            </a:xfrm>
            <a:custGeom>
              <a:avLst/>
              <a:gdLst>
                <a:gd name="T0" fmla="*/ 4 w 7"/>
                <a:gd name="T1" fmla="*/ 0 h 10"/>
                <a:gd name="T2" fmla="*/ 0 w 7"/>
                <a:gd name="T3" fmla="*/ 5 h 10"/>
                <a:gd name="T4" fmla="*/ 0 w 7"/>
                <a:gd name="T5" fmla="*/ 8 h 10"/>
                <a:gd name="T6" fmla="*/ 0 w 7"/>
                <a:gd name="T7" fmla="*/ 10 h 10"/>
                <a:gd name="T8" fmla="*/ 1 w 7"/>
                <a:gd name="T9" fmla="*/ 10 h 10"/>
                <a:gd name="T10" fmla="*/ 3 w 7"/>
                <a:gd name="T11" fmla="*/ 10 h 10"/>
                <a:gd name="T12" fmla="*/ 6 w 7"/>
                <a:gd name="T13" fmla="*/ 8 h 10"/>
                <a:gd name="T14" fmla="*/ 7 w 7"/>
                <a:gd name="T15" fmla="*/ 6 h 10"/>
                <a:gd name="T16" fmla="*/ 7 w 7"/>
                <a:gd name="T17" fmla="*/ 3 h 10"/>
                <a:gd name="T18" fmla="*/ 7 w 7"/>
                <a:gd name="T19" fmla="*/ 2 h 10"/>
                <a:gd name="T20" fmla="*/ 6 w 7"/>
                <a:gd name="T21" fmla="*/ 0 h 10"/>
                <a:gd name="T22" fmla="*/ 4 w 7"/>
                <a:gd name="T23" fmla="*/ 0 h 10"/>
                <a:gd name="T24" fmla="*/ 4 w 7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" h="10">
                  <a:moveTo>
                    <a:pt x="4" y="0"/>
                  </a:moveTo>
                  <a:lnTo>
                    <a:pt x="0" y="5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3" y="10"/>
                  </a:lnTo>
                  <a:lnTo>
                    <a:pt x="6" y="8"/>
                  </a:lnTo>
                  <a:lnTo>
                    <a:pt x="7" y="6"/>
                  </a:lnTo>
                  <a:lnTo>
                    <a:pt x="7" y="3"/>
                  </a:lnTo>
                  <a:lnTo>
                    <a:pt x="7" y="2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49" name="Freeform 498"/>
            <p:cNvSpPr>
              <a:spLocks/>
            </p:cNvSpPr>
            <p:nvPr/>
          </p:nvSpPr>
          <p:spPr bwMode="auto">
            <a:xfrm>
              <a:off x="5479300" y="2792130"/>
              <a:ext cx="4885" cy="6615"/>
            </a:xfrm>
            <a:custGeom>
              <a:avLst/>
              <a:gdLst>
                <a:gd name="T0" fmla="*/ 9 w 9"/>
                <a:gd name="T1" fmla="*/ 0 h 12"/>
                <a:gd name="T2" fmla="*/ 6 w 9"/>
                <a:gd name="T3" fmla="*/ 2 h 12"/>
                <a:gd name="T4" fmla="*/ 5 w 9"/>
                <a:gd name="T5" fmla="*/ 2 h 12"/>
                <a:gd name="T6" fmla="*/ 3 w 9"/>
                <a:gd name="T7" fmla="*/ 3 h 12"/>
                <a:gd name="T8" fmla="*/ 2 w 9"/>
                <a:gd name="T9" fmla="*/ 4 h 12"/>
                <a:gd name="T10" fmla="*/ 0 w 9"/>
                <a:gd name="T11" fmla="*/ 7 h 12"/>
                <a:gd name="T12" fmla="*/ 0 w 9"/>
                <a:gd name="T13" fmla="*/ 9 h 12"/>
                <a:gd name="T14" fmla="*/ 0 w 9"/>
                <a:gd name="T15" fmla="*/ 10 h 12"/>
                <a:gd name="T16" fmla="*/ 2 w 9"/>
                <a:gd name="T17" fmla="*/ 12 h 12"/>
                <a:gd name="T18" fmla="*/ 3 w 9"/>
                <a:gd name="T19" fmla="*/ 10 h 12"/>
                <a:gd name="T20" fmla="*/ 5 w 9"/>
                <a:gd name="T21" fmla="*/ 9 h 12"/>
                <a:gd name="T22" fmla="*/ 6 w 9"/>
                <a:gd name="T23" fmla="*/ 9 h 12"/>
                <a:gd name="T24" fmla="*/ 7 w 9"/>
                <a:gd name="T25" fmla="*/ 6 h 12"/>
                <a:gd name="T26" fmla="*/ 7 w 9"/>
                <a:gd name="T27" fmla="*/ 3 h 12"/>
                <a:gd name="T28" fmla="*/ 9 w 9"/>
                <a:gd name="T29" fmla="*/ 2 h 12"/>
                <a:gd name="T30" fmla="*/ 9 w 9"/>
                <a:gd name="T31" fmla="*/ 0 h 12"/>
                <a:gd name="T32" fmla="*/ 9 w 9"/>
                <a:gd name="T3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" h="12">
                  <a:moveTo>
                    <a:pt x="9" y="0"/>
                  </a:moveTo>
                  <a:lnTo>
                    <a:pt x="6" y="2"/>
                  </a:lnTo>
                  <a:lnTo>
                    <a:pt x="5" y="2"/>
                  </a:lnTo>
                  <a:lnTo>
                    <a:pt x="3" y="3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3" y="10"/>
                  </a:lnTo>
                  <a:lnTo>
                    <a:pt x="5" y="9"/>
                  </a:lnTo>
                  <a:lnTo>
                    <a:pt x="6" y="9"/>
                  </a:lnTo>
                  <a:lnTo>
                    <a:pt x="7" y="6"/>
                  </a:lnTo>
                  <a:lnTo>
                    <a:pt x="7" y="3"/>
                  </a:lnTo>
                  <a:lnTo>
                    <a:pt x="9" y="2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50" name="Freeform 499"/>
            <p:cNvSpPr>
              <a:spLocks/>
            </p:cNvSpPr>
            <p:nvPr/>
          </p:nvSpPr>
          <p:spPr bwMode="auto">
            <a:xfrm>
              <a:off x="5507387" y="2781546"/>
              <a:ext cx="6106" cy="3969"/>
            </a:xfrm>
            <a:custGeom>
              <a:avLst/>
              <a:gdLst>
                <a:gd name="T0" fmla="*/ 5 w 8"/>
                <a:gd name="T1" fmla="*/ 0 h 6"/>
                <a:gd name="T2" fmla="*/ 2 w 8"/>
                <a:gd name="T3" fmla="*/ 0 h 6"/>
                <a:gd name="T4" fmla="*/ 0 w 8"/>
                <a:gd name="T5" fmla="*/ 3 h 6"/>
                <a:gd name="T6" fmla="*/ 0 w 8"/>
                <a:gd name="T7" fmla="*/ 5 h 6"/>
                <a:gd name="T8" fmla="*/ 0 w 8"/>
                <a:gd name="T9" fmla="*/ 6 h 6"/>
                <a:gd name="T10" fmla="*/ 2 w 8"/>
                <a:gd name="T11" fmla="*/ 6 h 6"/>
                <a:gd name="T12" fmla="*/ 2 w 8"/>
                <a:gd name="T13" fmla="*/ 6 h 6"/>
                <a:gd name="T14" fmla="*/ 5 w 8"/>
                <a:gd name="T15" fmla="*/ 5 h 6"/>
                <a:gd name="T16" fmla="*/ 7 w 8"/>
                <a:gd name="T17" fmla="*/ 3 h 6"/>
                <a:gd name="T18" fmla="*/ 8 w 8"/>
                <a:gd name="T19" fmla="*/ 0 h 6"/>
                <a:gd name="T20" fmla="*/ 5 w 8"/>
                <a:gd name="T21" fmla="*/ 0 h 6"/>
                <a:gd name="T22" fmla="*/ 5 w 8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6">
                  <a:moveTo>
                    <a:pt x="5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5" y="5"/>
                  </a:lnTo>
                  <a:lnTo>
                    <a:pt x="7" y="3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51" name="Freeform 500"/>
            <p:cNvSpPr>
              <a:spLocks/>
            </p:cNvSpPr>
            <p:nvPr/>
          </p:nvSpPr>
          <p:spPr bwMode="auto">
            <a:xfrm>
              <a:off x="5465868" y="2764349"/>
              <a:ext cx="3663" cy="2646"/>
            </a:xfrm>
            <a:custGeom>
              <a:avLst/>
              <a:gdLst>
                <a:gd name="T0" fmla="*/ 0 w 5"/>
                <a:gd name="T1" fmla="*/ 1 h 4"/>
                <a:gd name="T2" fmla="*/ 1 w 5"/>
                <a:gd name="T3" fmla="*/ 2 h 4"/>
                <a:gd name="T4" fmla="*/ 3 w 5"/>
                <a:gd name="T5" fmla="*/ 4 h 4"/>
                <a:gd name="T6" fmla="*/ 5 w 5"/>
                <a:gd name="T7" fmla="*/ 4 h 4"/>
                <a:gd name="T8" fmla="*/ 5 w 5"/>
                <a:gd name="T9" fmla="*/ 2 h 4"/>
                <a:gd name="T10" fmla="*/ 5 w 5"/>
                <a:gd name="T11" fmla="*/ 1 h 4"/>
                <a:gd name="T12" fmla="*/ 1 w 5"/>
                <a:gd name="T13" fmla="*/ 0 h 4"/>
                <a:gd name="T14" fmla="*/ 0 w 5"/>
                <a:gd name="T15" fmla="*/ 0 h 4"/>
                <a:gd name="T16" fmla="*/ 0 w 5"/>
                <a:gd name="T17" fmla="*/ 1 h 4"/>
                <a:gd name="T18" fmla="*/ 0 w 5"/>
                <a:gd name="T1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4">
                  <a:moveTo>
                    <a:pt x="0" y="1"/>
                  </a:moveTo>
                  <a:lnTo>
                    <a:pt x="1" y="2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52" name="Freeform 501"/>
            <p:cNvSpPr>
              <a:spLocks/>
            </p:cNvSpPr>
            <p:nvPr/>
          </p:nvSpPr>
          <p:spPr bwMode="auto">
            <a:xfrm>
              <a:off x="5368176" y="2700849"/>
              <a:ext cx="6106" cy="3969"/>
            </a:xfrm>
            <a:custGeom>
              <a:avLst/>
              <a:gdLst>
                <a:gd name="T0" fmla="*/ 10 w 12"/>
                <a:gd name="T1" fmla="*/ 2 h 7"/>
                <a:gd name="T2" fmla="*/ 8 w 12"/>
                <a:gd name="T3" fmla="*/ 1 h 7"/>
                <a:gd name="T4" fmla="*/ 5 w 12"/>
                <a:gd name="T5" fmla="*/ 0 h 7"/>
                <a:gd name="T6" fmla="*/ 2 w 12"/>
                <a:gd name="T7" fmla="*/ 0 h 7"/>
                <a:gd name="T8" fmla="*/ 0 w 12"/>
                <a:gd name="T9" fmla="*/ 0 h 7"/>
                <a:gd name="T10" fmla="*/ 2 w 12"/>
                <a:gd name="T11" fmla="*/ 2 h 7"/>
                <a:gd name="T12" fmla="*/ 5 w 12"/>
                <a:gd name="T13" fmla="*/ 5 h 7"/>
                <a:gd name="T14" fmla="*/ 8 w 12"/>
                <a:gd name="T15" fmla="*/ 7 h 7"/>
                <a:gd name="T16" fmla="*/ 12 w 12"/>
                <a:gd name="T17" fmla="*/ 7 h 7"/>
                <a:gd name="T18" fmla="*/ 12 w 12"/>
                <a:gd name="T19" fmla="*/ 4 h 7"/>
                <a:gd name="T20" fmla="*/ 10 w 12"/>
                <a:gd name="T21" fmla="*/ 2 h 7"/>
                <a:gd name="T22" fmla="*/ 10 w 12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7">
                  <a:moveTo>
                    <a:pt x="10" y="2"/>
                  </a:moveTo>
                  <a:lnTo>
                    <a:pt x="8" y="1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5" y="5"/>
                  </a:lnTo>
                  <a:lnTo>
                    <a:pt x="8" y="7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10" y="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53" name="Freeform 502"/>
            <p:cNvSpPr>
              <a:spLocks/>
            </p:cNvSpPr>
            <p:nvPr/>
          </p:nvSpPr>
          <p:spPr bwMode="auto">
            <a:xfrm>
              <a:off x="5386493" y="2681006"/>
              <a:ext cx="4885" cy="6615"/>
            </a:xfrm>
            <a:custGeom>
              <a:avLst/>
              <a:gdLst>
                <a:gd name="T0" fmla="*/ 9 w 9"/>
                <a:gd name="T1" fmla="*/ 7 h 10"/>
                <a:gd name="T2" fmla="*/ 8 w 9"/>
                <a:gd name="T3" fmla="*/ 0 h 10"/>
                <a:gd name="T4" fmla="*/ 6 w 9"/>
                <a:gd name="T5" fmla="*/ 0 h 10"/>
                <a:gd name="T6" fmla="*/ 3 w 9"/>
                <a:gd name="T7" fmla="*/ 3 h 10"/>
                <a:gd name="T8" fmla="*/ 2 w 9"/>
                <a:gd name="T9" fmla="*/ 3 h 10"/>
                <a:gd name="T10" fmla="*/ 0 w 9"/>
                <a:gd name="T11" fmla="*/ 6 h 10"/>
                <a:gd name="T12" fmla="*/ 2 w 9"/>
                <a:gd name="T13" fmla="*/ 7 h 10"/>
                <a:gd name="T14" fmla="*/ 5 w 9"/>
                <a:gd name="T15" fmla="*/ 9 h 10"/>
                <a:gd name="T16" fmla="*/ 8 w 9"/>
                <a:gd name="T17" fmla="*/ 10 h 10"/>
                <a:gd name="T18" fmla="*/ 9 w 9"/>
                <a:gd name="T19" fmla="*/ 9 h 10"/>
                <a:gd name="T20" fmla="*/ 9 w 9"/>
                <a:gd name="T21" fmla="*/ 7 h 10"/>
                <a:gd name="T22" fmla="*/ 9 w 9"/>
                <a:gd name="T2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0">
                  <a:moveTo>
                    <a:pt x="9" y="7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3" y="3"/>
                  </a:lnTo>
                  <a:lnTo>
                    <a:pt x="2" y="3"/>
                  </a:lnTo>
                  <a:lnTo>
                    <a:pt x="0" y="6"/>
                  </a:lnTo>
                  <a:lnTo>
                    <a:pt x="2" y="7"/>
                  </a:lnTo>
                  <a:lnTo>
                    <a:pt x="5" y="9"/>
                  </a:lnTo>
                  <a:lnTo>
                    <a:pt x="8" y="10"/>
                  </a:lnTo>
                  <a:lnTo>
                    <a:pt x="9" y="9"/>
                  </a:lnTo>
                  <a:lnTo>
                    <a:pt x="9" y="7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54" name="Freeform 503"/>
            <p:cNvSpPr>
              <a:spLocks/>
            </p:cNvSpPr>
            <p:nvPr/>
          </p:nvSpPr>
          <p:spPr bwMode="auto">
            <a:xfrm>
              <a:off x="5418243" y="2647933"/>
              <a:ext cx="6106" cy="6615"/>
            </a:xfrm>
            <a:custGeom>
              <a:avLst/>
              <a:gdLst>
                <a:gd name="T0" fmla="*/ 9 w 9"/>
                <a:gd name="T1" fmla="*/ 8 h 10"/>
                <a:gd name="T2" fmla="*/ 8 w 9"/>
                <a:gd name="T3" fmla="*/ 2 h 10"/>
                <a:gd name="T4" fmla="*/ 6 w 9"/>
                <a:gd name="T5" fmla="*/ 0 h 10"/>
                <a:gd name="T6" fmla="*/ 2 w 9"/>
                <a:gd name="T7" fmla="*/ 0 h 10"/>
                <a:gd name="T8" fmla="*/ 0 w 9"/>
                <a:gd name="T9" fmla="*/ 3 h 10"/>
                <a:gd name="T10" fmla="*/ 0 w 9"/>
                <a:gd name="T11" fmla="*/ 6 h 10"/>
                <a:gd name="T12" fmla="*/ 3 w 9"/>
                <a:gd name="T13" fmla="*/ 9 h 10"/>
                <a:gd name="T14" fmla="*/ 5 w 9"/>
                <a:gd name="T15" fmla="*/ 10 h 10"/>
                <a:gd name="T16" fmla="*/ 5 w 9"/>
                <a:gd name="T17" fmla="*/ 10 h 10"/>
                <a:gd name="T18" fmla="*/ 9 w 9"/>
                <a:gd name="T19" fmla="*/ 9 h 10"/>
                <a:gd name="T20" fmla="*/ 9 w 9"/>
                <a:gd name="T21" fmla="*/ 8 h 10"/>
                <a:gd name="T22" fmla="*/ 9 w 9"/>
                <a:gd name="T2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0">
                  <a:moveTo>
                    <a:pt x="9" y="8"/>
                  </a:moveTo>
                  <a:lnTo>
                    <a:pt x="8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9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9" y="9"/>
                  </a:lnTo>
                  <a:lnTo>
                    <a:pt x="9" y="8"/>
                  </a:lnTo>
                  <a:lnTo>
                    <a:pt x="9" y="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55" name="Freeform 504"/>
            <p:cNvSpPr>
              <a:spLocks/>
            </p:cNvSpPr>
            <p:nvPr/>
          </p:nvSpPr>
          <p:spPr bwMode="auto">
            <a:xfrm>
              <a:off x="5446329" y="2232541"/>
              <a:ext cx="119672" cy="150811"/>
            </a:xfrm>
            <a:custGeom>
              <a:avLst/>
              <a:gdLst>
                <a:gd name="T0" fmla="*/ 161 w 196"/>
                <a:gd name="T1" fmla="*/ 56 h 228"/>
                <a:gd name="T2" fmla="*/ 161 w 196"/>
                <a:gd name="T3" fmla="*/ 49 h 228"/>
                <a:gd name="T4" fmla="*/ 158 w 196"/>
                <a:gd name="T5" fmla="*/ 34 h 228"/>
                <a:gd name="T6" fmla="*/ 151 w 196"/>
                <a:gd name="T7" fmla="*/ 26 h 228"/>
                <a:gd name="T8" fmla="*/ 148 w 196"/>
                <a:gd name="T9" fmla="*/ 14 h 228"/>
                <a:gd name="T10" fmla="*/ 146 w 196"/>
                <a:gd name="T11" fmla="*/ 7 h 228"/>
                <a:gd name="T12" fmla="*/ 129 w 196"/>
                <a:gd name="T13" fmla="*/ 3 h 228"/>
                <a:gd name="T14" fmla="*/ 125 w 196"/>
                <a:gd name="T15" fmla="*/ 12 h 228"/>
                <a:gd name="T16" fmla="*/ 123 w 196"/>
                <a:gd name="T17" fmla="*/ 17 h 228"/>
                <a:gd name="T18" fmla="*/ 102 w 196"/>
                <a:gd name="T19" fmla="*/ 36 h 228"/>
                <a:gd name="T20" fmla="*/ 90 w 196"/>
                <a:gd name="T21" fmla="*/ 43 h 228"/>
                <a:gd name="T22" fmla="*/ 80 w 196"/>
                <a:gd name="T23" fmla="*/ 44 h 228"/>
                <a:gd name="T24" fmla="*/ 76 w 196"/>
                <a:gd name="T25" fmla="*/ 46 h 228"/>
                <a:gd name="T26" fmla="*/ 66 w 196"/>
                <a:gd name="T27" fmla="*/ 53 h 228"/>
                <a:gd name="T28" fmla="*/ 60 w 196"/>
                <a:gd name="T29" fmla="*/ 67 h 228"/>
                <a:gd name="T30" fmla="*/ 46 w 196"/>
                <a:gd name="T31" fmla="*/ 86 h 228"/>
                <a:gd name="T32" fmla="*/ 53 w 196"/>
                <a:gd name="T33" fmla="*/ 96 h 228"/>
                <a:gd name="T34" fmla="*/ 66 w 196"/>
                <a:gd name="T35" fmla="*/ 86 h 228"/>
                <a:gd name="T36" fmla="*/ 49 w 196"/>
                <a:gd name="T37" fmla="*/ 113 h 228"/>
                <a:gd name="T38" fmla="*/ 46 w 196"/>
                <a:gd name="T39" fmla="*/ 140 h 228"/>
                <a:gd name="T40" fmla="*/ 26 w 196"/>
                <a:gd name="T41" fmla="*/ 145 h 228"/>
                <a:gd name="T42" fmla="*/ 19 w 196"/>
                <a:gd name="T43" fmla="*/ 150 h 228"/>
                <a:gd name="T44" fmla="*/ 39 w 196"/>
                <a:gd name="T45" fmla="*/ 159 h 228"/>
                <a:gd name="T46" fmla="*/ 25 w 196"/>
                <a:gd name="T47" fmla="*/ 158 h 228"/>
                <a:gd name="T48" fmla="*/ 9 w 196"/>
                <a:gd name="T49" fmla="*/ 161 h 228"/>
                <a:gd name="T50" fmla="*/ 2 w 196"/>
                <a:gd name="T51" fmla="*/ 175 h 228"/>
                <a:gd name="T52" fmla="*/ 9 w 196"/>
                <a:gd name="T53" fmla="*/ 169 h 228"/>
                <a:gd name="T54" fmla="*/ 16 w 196"/>
                <a:gd name="T55" fmla="*/ 175 h 228"/>
                <a:gd name="T56" fmla="*/ 40 w 196"/>
                <a:gd name="T57" fmla="*/ 172 h 228"/>
                <a:gd name="T58" fmla="*/ 55 w 196"/>
                <a:gd name="T59" fmla="*/ 178 h 228"/>
                <a:gd name="T60" fmla="*/ 56 w 196"/>
                <a:gd name="T61" fmla="*/ 183 h 228"/>
                <a:gd name="T62" fmla="*/ 40 w 196"/>
                <a:gd name="T63" fmla="*/ 176 h 228"/>
                <a:gd name="T64" fmla="*/ 23 w 196"/>
                <a:gd name="T65" fmla="*/ 178 h 228"/>
                <a:gd name="T66" fmla="*/ 40 w 196"/>
                <a:gd name="T67" fmla="*/ 198 h 228"/>
                <a:gd name="T68" fmla="*/ 26 w 196"/>
                <a:gd name="T69" fmla="*/ 191 h 228"/>
                <a:gd name="T70" fmla="*/ 17 w 196"/>
                <a:gd name="T71" fmla="*/ 192 h 228"/>
                <a:gd name="T72" fmla="*/ 53 w 196"/>
                <a:gd name="T73" fmla="*/ 219 h 228"/>
                <a:gd name="T74" fmla="*/ 66 w 196"/>
                <a:gd name="T75" fmla="*/ 225 h 228"/>
                <a:gd name="T76" fmla="*/ 93 w 196"/>
                <a:gd name="T77" fmla="*/ 209 h 228"/>
                <a:gd name="T78" fmla="*/ 102 w 196"/>
                <a:gd name="T79" fmla="*/ 205 h 228"/>
                <a:gd name="T80" fmla="*/ 118 w 196"/>
                <a:gd name="T81" fmla="*/ 199 h 228"/>
                <a:gd name="T82" fmla="*/ 159 w 196"/>
                <a:gd name="T83" fmla="*/ 193 h 228"/>
                <a:gd name="T84" fmla="*/ 172 w 196"/>
                <a:gd name="T85" fmla="*/ 192 h 228"/>
                <a:gd name="T86" fmla="*/ 176 w 196"/>
                <a:gd name="T87" fmla="*/ 185 h 228"/>
                <a:gd name="T88" fmla="*/ 174 w 196"/>
                <a:gd name="T89" fmla="*/ 171 h 228"/>
                <a:gd name="T90" fmla="*/ 172 w 196"/>
                <a:gd name="T91" fmla="*/ 142 h 228"/>
                <a:gd name="T92" fmla="*/ 174 w 196"/>
                <a:gd name="T93" fmla="*/ 120 h 228"/>
                <a:gd name="T94" fmla="*/ 182 w 196"/>
                <a:gd name="T95" fmla="*/ 120 h 228"/>
                <a:gd name="T96" fmla="*/ 191 w 196"/>
                <a:gd name="T97" fmla="*/ 115 h 228"/>
                <a:gd name="T98" fmla="*/ 195 w 196"/>
                <a:gd name="T99" fmla="*/ 106 h 228"/>
                <a:gd name="T100" fmla="*/ 194 w 196"/>
                <a:gd name="T101" fmla="*/ 100 h 228"/>
                <a:gd name="T102" fmla="*/ 192 w 196"/>
                <a:gd name="T103" fmla="*/ 93 h 228"/>
                <a:gd name="T104" fmla="*/ 189 w 196"/>
                <a:gd name="T105" fmla="*/ 89 h 228"/>
                <a:gd name="T106" fmla="*/ 179 w 196"/>
                <a:gd name="T107" fmla="*/ 85 h 228"/>
                <a:gd name="T108" fmla="*/ 171 w 196"/>
                <a:gd name="T109" fmla="*/ 7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6" h="228">
                  <a:moveTo>
                    <a:pt x="171" y="72"/>
                  </a:moveTo>
                  <a:lnTo>
                    <a:pt x="166" y="66"/>
                  </a:lnTo>
                  <a:lnTo>
                    <a:pt x="164" y="65"/>
                  </a:lnTo>
                  <a:lnTo>
                    <a:pt x="162" y="60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2" y="55"/>
                  </a:lnTo>
                  <a:lnTo>
                    <a:pt x="165" y="55"/>
                  </a:lnTo>
                  <a:lnTo>
                    <a:pt x="165" y="53"/>
                  </a:lnTo>
                  <a:lnTo>
                    <a:pt x="164" y="52"/>
                  </a:lnTo>
                  <a:lnTo>
                    <a:pt x="161" y="52"/>
                  </a:lnTo>
                  <a:lnTo>
                    <a:pt x="161" y="49"/>
                  </a:lnTo>
                  <a:lnTo>
                    <a:pt x="161" y="46"/>
                  </a:lnTo>
                  <a:lnTo>
                    <a:pt x="161" y="44"/>
                  </a:lnTo>
                  <a:lnTo>
                    <a:pt x="158" y="43"/>
                  </a:lnTo>
                  <a:lnTo>
                    <a:pt x="158" y="40"/>
                  </a:lnTo>
                  <a:lnTo>
                    <a:pt x="158" y="36"/>
                  </a:lnTo>
                  <a:lnTo>
                    <a:pt x="158" y="34"/>
                  </a:lnTo>
                  <a:lnTo>
                    <a:pt x="156" y="33"/>
                  </a:lnTo>
                  <a:lnTo>
                    <a:pt x="154" y="33"/>
                  </a:lnTo>
                  <a:lnTo>
                    <a:pt x="152" y="29"/>
                  </a:lnTo>
                  <a:lnTo>
                    <a:pt x="152" y="27"/>
                  </a:lnTo>
                  <a:lnTo>
                    <a:pt x="151" y="27"/>
                  </a:lnTo>
                  <a:lnTo>
                    <a:pt x="151" y="26"/>
                  </a:lnTo>
                  <a:lnTo>
                    <a:pt x="152" y="24"/>
                  </a:lnTo>
                  <a:lnTo>
                    <a:pt x="152" y="22"/>
                  </a:lnTo>
                  <a:lnTo>
                    <a:pt x="151" y="19"/>
                  </a:lnTo>
                  <a:lnTo>
                    <a:pt x="151" y="16"/>
                  </a:lnTo>
                  <a:lnTo>
                    <a:pt x="148" y="14"/>
                  </a:lnTo>
                  <a:lnTo>
                    <a:pt x="148" y="14"/>
                  </a:lnTo>
                  <a:lnTo>
                    <a:pt x="145" y="16"/>
                  </a:lnTo>
                  <a:lnTo>
                    <a:pt x="142" y="16"/>
                  </a:lnTo>
                  <a:lnTo>
                    <a:pt x="142" y="13"/>
                  </a:lnTo>
                  <a:lnTo>
                    <a:pt x="143" y="12"/>
                  </a:lnTo>
                  <a:lnTo>
                    <a:pt x="145" y="9"/>
                  </a:lnTo>
                  <a:lnTo>
                    <a:pt x="146" y="7"/>
                  </a:lnTo>
                  <a:lnTo>
                    <a:pt x="143" y="7"/>
                  </a:lnTo>
                  <a:lnTo>
                    <a:pt x="141" y="4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2" y="0"/>
                  </a:lnTo>
                  <a:lnTo>
                    <a:pt x="129" y="3"/>
                  </a:lnTo>
                  <a:lnTo>
                    <a:pt x="123" y="3"/>
                  </a:lnTo>
                  <a:lnTo>
                    <a:pt x="121" y="4"/>
                  </a:lnTo>
                  <a:lnTo>
                    <a:pt x="121" y="6"/>
                  </a:lnTo>
                  <a:lnTo>
                    <a:pt x="121" y="7"/>
                  </a:lnTo>
                  <a:lnTo>
                    <a:pt x="122" y="10"/>
                  </a:lnTo>
                  <a:lnTo>
                    <a:pt x="125" y="12"/>
                  </a:lnTo>
                  <a:lnTo>
                    <a:pt x="131" y="12"/>
                  </a:lnTo>
                  <a:lnTo>
                    <a:pt x="133" y="12"/>
                  </a:lnTo>
                  <a:lnTo>
                    <a:pt x="133" y="14"/>
                  </a:lnTo>
                  <a:lnTo>
                    <a:pt x="131" y="14"/>
                  </a:lnTo>
                  <a:lnTo>
                    <a:pt x="125" y="16"/>
                  </a:lnTo>
                  <a:lnTo>
                    <a:pt x="123" y="17"/>
                  </a:lnTo>
                  <a:lnTo>
                    <a:pt x="119" y="24"/>
                  </a:lnTo>
                  <a:lnTo>
                    <a:pt x="118" y="27"/>
                  </a:lnTo>
                  <a:lnTo>
                    <a:pt x="116" y="30"/>
                  </a:lnTo>
                  <a:lnTo>
                    <a:pt x="113" y="32"/>
                  </a:lnTo>
                  <a:lnTo>
                    <a:pt x="108" y="34"/>
                  </a:lnTo>
                  <a:lnTo>
                    <a:pt x="102" y="36"/>
                  </a:lnTo>
                  <a:lnTo>
                    <a:pt x="98" y="37"/>
                  </a:lnTo>
                  <a:lnTo>
                    <a:pt x="98" y="39"/>
                  </a:lnTo>
                  <a:lnTo>
                    <a:pt x="96" y="42"/>
                  </a:lnTo>
                  <a:lnTo>
                    <a:pt x="95" y="43"/>
                  </a:lnTo>
                  <a:lnTo>
                    <a:pt x="93" y="44"/>
                  </a:lnTo>
                  <a:lnTo>
                    <a:pt x="90" y="43"/>
                  </a:lnTo>
                  <a:lnTo>
                    <a:pt x="88" y="43"/>
                  </a:lnTo>
                  <a:lnTo>
                    <a:pt x="86" y="44"/>
                  </a:lnTo>
                  <a:lnTo>
                    <a:pt x="85" y="46"/>
                  </a:lnTo>
                  <a:lnTo>
                    <a:pt x="83" y="44"/>
                  </a:lnTo>
                  <a:lnTo>
                    <a:pt x="80" y="43"/>
                  </a:lnTo>
                  <a:lnTo>
                    <a:pt x="80" y="44"/>
                  </a:lnTo>
                  <a:lnTo>
                    <a:pt x="80" y="46"/>
                  </a:lnTo>
                  <a:lnTo>
                    <a:pt x="82" y="49"/>
                  </a:lnTo>
                  <a:lnTo>
                    <a:pt x="82" y="50"/>
                  </a:lnTo>
                  <a:lnTo>
                    <a:pt x="80" y="49"/>
                  </a:lnTo>
                  <a:lnTo>
                    <a:pt x="78" y="49"/>
                  </a:lnTo>
                  <a:lnTo>
                    <a:pt x="76" y="46"/>
                  </a:lnTo>
                  <a:lnTo>
                    <a:pt x="75" y="46"/>
                  </a:lnTo>
                  <a:lnTo>
                    <a:pt x="72" y="47"/>
                  </a:lnTo>
                  <a:lnTo>
                    <a:pt x="72" y="49"/>
                  </a:lnTo>
                  <a:lnTo>
                    <a:pt x="70" y="52"/>
                  </a:lnTo>
                  <a:lnTo>
                    <a:pt x="69" y="53"/>
                  </a:lnTo>
                  <a:lnTo>
                    <a:pt x="66" y="53"/>
                  </a:lnTo>
                  <a:lnTo>
                    <a:pt x="63" y="53"/>
                  </a:lnTo>
                  <a:lnTo>
                    <a:pt x="62" y="55"/>
                  </a:lnTo>
                  <a:lnTo>
                    <a:pt x="62" y="57"/>
                  </a:lnTo>
                  <a:lnTo>
                    <a:pt x="63" y="60"/>
                  </a:lnTo>
                  <a:lnTo>
                    <a:pt x="62" y="63"/>
                  </a:lnTo>
                  <a:lnTo>
                    <a:pt x="60" y="67"/>
                  </a:lnTo>
                  <a:lnTo>
                    <a:pt x="56" y="70"/>
                  </a:lnTo>
                  <a:lnTo>
                    <a:pt x="53" y="72"/>
                  </a:lnTo>
                  <a:lnTo>
                    <a:pt x="53" y="73"/>
                  </a:lnTo>
                  <a:lnTo>
                    <a:pt x="53" y="76"/>
                  </a:lnTo>
                  <a:lnTo>
                    <a:pt x="52" y="79"/>
                  </a:lnTo>
                  <a:lnTo>
                    <a:pt x="46" y="86"/>
                  </a:lnTo>
                  <a:lnTo>
                    <a:pt x="43" y="92"/>
                  </a:lnTo>
                  <a:lnTo>
                    <a:pt x="42" y="95"/>
                  </a:lnTo>
                  <a:lnTo>
                    <a:pt x="42" y="96"/>
                  </a:lnTo>
                  <a:lnTo>
                    <a:pt x="45" y="97"/>
                  </a:lnTo>
                  <a:lnTo>
                    <a:pt x="48" y="96"/>
                  </a:lnTo>
                  <a:lnTo>
                    <a:pt x="53" y="96"/>
                  </a:lnTo>
                  <a:lnTo>
                    <a:pt x="58" y="95"/>
                  </a:lnTo>
                  <a:lnTo>
                    <a:pt x="60" y="92"/>
                  </a:lnTo>
                  <a:lnTo>
                    <a:pt x="62" y="89"/>
                  </a:lnTo>
                  <a:lnTo>
                    <a:pt x="63" y="86"/>
                  </a:lnTo>
                  <a:lnTo>
                    <a:pt x="65" y="86"/>
                  </a:lnTo>
                  <a:lnTo>
                    <a:pt x="66" y="86"/>
                  </a:lnTo>
                  <a:lnTo>
                    <a:pt x="68" y="89"/>
                  </a:lnTo>
                  <a:lnTo>
                    <a:pt x="66" y="90"/>
                  </a:lnTo>
                  <a:lnTo>
                    <a:pt x="66" y="93"/>
                  </a:lnTo>
                  <a:lnTo>
                    <a:pt x="59" y="102"/>
                  </a:lnTo>
                  <a:lnTo>
                    <a:pt x="55" y="106"/>
                  </a:lnTo>
                  <a:lnTo>
                    <a:pt x="49" y="113"/>
                  </a:lnTo>
                  <a:lnTo>
                    <a:pt x="48" y="118"/>
                  </a:lnTo>
                  <a:lnTo>
                    <a:pt x="46" y="123"/>
                  </a:lnTo>
                  <a:lnTo>
                    <a:pt x="46" y="128"/>
                  </a:lnTo>
                  <a:lnTo>
                    <a:pt x="46" y="136"/>
                  </a:lnTo>
                  <a:lnTo>
                    <a:pt x="46" y="138"/>
                  </a:lnTo>
                  <a:lnTo>
                    <a:pt x="46" y="140"/>
                  </a:lnTo>
                  <a:lnTo>
                    <a:pt x="43" y="140"/>
                  </a:lnTo>
                  <a:lnTo>
                    <a:pt x="36" y="140"/>
                  </a:lnTo>
                  <a:lnTo>
                    <a:pt x="33" y="140"/>
                  </a:lnTo>
                  <a:lnTo>
                    <a:pt x="30" y="140"/>
                  </a:lnTo>
                  <a:lnTo>
                    <a:pt x="29" y="143"/>
                  </a:lnTo>
                  <a:lnTo>
                    <a:pt x="26" y="145"/>
                  </a:lnTo>
                  <a:lnTo>
                    <a:pt x="23" y="145"/>
                  </a:lnTo>
                  <a:lnTo>
                    <a:pt x="19" y="145"/>
                  </a:lnTo>
                  <a:lnTo>
                    <a:pt x="19" y="145"/>
                  </a:lnTo>
                  <a:lnTo>
                    <a:pt x="17" y="146"/>
                  </a:lnTo>
                  <a:lnTo>
                    <a:pt x="17" y="149"/>
                  </a:lnTo>
                  <a:lnTo>
                    <a:pt x="19" y="150"/>
                  </a:lnTo>
                  <a:lnTo>
                    <a:pt x="23" y="152"/>
                  </a:lnTo>
                  <a:lnTo>
                    <a:pt x="25" y="153"/>
                  </a:lnTo>
                  <a:lnTo>
                    <a:pt x="27" y="156"/>
                  </a:lnTo>
                  <a:lnTo>
                    <a:pt x="32" y="156"/>
                  </a:lnTo>
                  <a:lnTo>
                    <a:pt x="37" y="158"/>
                  </a:lnTo>
                  <a:lnTo>
                    <a:pt x="39" y="159"/>
                  </a:lnTo>
                  <a:lnTo>
                    <a:pt x="39" y="161"/>
                  </a:lnTo>
                  <a:lnTo>
                    <a:pt x="37" y="161"/>
                  </a:lnTo>
                  <a:lnTo>
                    <a:pt x="36" y="161"/>
                  </a:lnTo>
                  <a:lnTo>
                    <a:pt x="32" y="159"/>
                  </a:lnTo>
                  <a:lnTo>
                    <a:pt x="26" y="158"/>
                  </a:lnTo>
                  <a:lnTo>
                    <a:pt x="25" y="158"/>
                  </a:lnTo>
                  <a:lnTo>
                    <a:pt x="22" y="156"/>
                  </a:lnTo>
                  <a:lnTo>
                    <a:pt x="20" y="156"/>
                  </a:lnTo>
                  <a:lnTo>
                    <a:pt x="17" y="158"/>
                  </a:lnTo>
                  <a:lnTo>
                    <a:pt x="15" y="159"/>
                  </a:lnTo>
                  <a:lnTo>
                    <a:pt x="12" y="158"/>
                  </a:lnTo>
                  <a:lnTo>
                    <a:pt x="9" y="161"/>
                  </a:lnTo>
                  <a:lnTo>
                    <a:pt x="6" y="162"/>
                  </a:lnTo>
                  <a:lnTo>
                    <a:pt x="5" y="165"/>
                  </a:lnTo>
                  <a:lnTo>
                    <a:pt x="3" y="168"/>
                  </a:lnTo>
                  <a:lnTo>
                    <a:pt x="0" y="171"/>
                  </a:lnTo>
                  <a:lnTo>
                    <a:pt x="0" y="172"/>
                  </a:lnTo>
                  <a:lnTo>
                    <a:pt x="2" y="175"/>
                  </a:lnTo>
                  <a:lnTo>
                    <a:pt x="3" y="175"/>
                  </a:lnTo>
                  <a:lnTo>
                    <a:pt x="5" y="173"/>
                  </a:lnTo>
                  <a:lnTo>
                    <a:pt x="6" y="172"/>
                  </a:lnTo>
                  <a:lnTo>
                    <a:pt x="6" y="169"/>
                  </a:lnTo>
                  <a:lnTo>
                    <a:pt x="7" y="168"/>
                  </a:lnTo>
                  <a:lnTo>
                    <a:pt x="9" y="169"/>
                  </a:lnTo>
                  <a:lnTo>
                    <a:pt x="9" y="169"/>
                  </a:lnTo>
                  <a:lnTo>
                    <a:pt x="7" y="171"/>
                  </a:lnTo>
                  <a:lnTo>
                    <a:pt x="7" y="173"/>
                  </a:lnTo>
                  <a:lnTo>
                    <a:pt x="9" y="173"/>
                  </a:lnTo>
                  <a:lnTo>
                    <a:pt x="12" y="175"/>
                  </a:lnTo>
                  <a:lnTo>
                    <a:pt x="16" y="175"/>
                  </a:lnTo>
                  <a:lnTo>
                    <a:pt x="22" y="175"/>
                  </a:lnTo>
                  <a:lnTo>
                    <a:pt x="26" y="175"/>
                  </a:lnTo>
                  <a:lnTo>
                    <a:pt x="32" y="173"/>
                  </a:lnTo>
                  <a:lnTo>
                    <a:pt x="36" y="173"/>
                  </a:lnTo>
                  <a:lnTo>
                    <a:pt x="39" y="173"/>
                  </a:lnTo>
                  <a:lnTo>
                    <a:pt x="40" y="172"/>
                  </a:lnTo>
                  <a:lnTo>
                    <a:pt x="42" y="171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8" y="172"/>
                  </a:lnTo>
                  <a:lnTo>
                    <a:pt x="52" y="176"/>
                  </a:lnTo>
                  <a:lnTo>
                    <a:pt x="55" y="178"/>
                  </a:lnTo>
                  <a:lnTo>
                    <a:pt x="58" y="179"/>
                  </a:lnTo>
                  <a:lnTo>
                    <a:pt x="56" y="181"/>
                  </a:lnTo>
                  <a:lnTo>
                    <a:pt x="58" y="183"/>
                  </a:lnTo>
                  <a:lnTo>
                    <a:pt x="59" y="183"/>
                  </a:lnTo>
                  <a:lnTo>
                    <a:pt x="59" y="185"/>
                  </a:lnTo>
                  <a:lnTo>
                    <a:pt x="56" y="183"/>
                  </a:lnTo>
                  <a:lnTo>
                    <a:pt x="53" y="182"/>
                  </a:lnTo>
                  <a:lnTo>
                    <a:pt x="50" y="181"/>
                  </a:lnTo>
                  <a:lnTo>
                    <a:pt x="48" y="178"/>
                  </a:lnTo>
                  <a:lnTo>
                    <a:pt x="46" y="176"/>
                  </a:lnTo>
                  <a:lnTo>
                    <a:pt x="43" y="175"/>
                  </a:lnTo>
                  <a:lnTo>
                    <a:pt x="40" y="176"/>
                  </a:lnTo>
                  <a:lnTo>
                    <a:pt x="36" y="176"/>
                  </a:lnTo>
                  <a:lnTo>
                    <a:pt x="33" y="176"/>
                  </a:lnTo>
                  <a:lnTo>
                    <a:pt x="30" y="178"/>
                  </a:lnTo>
                  <a:lnTo>
                    <a:pt x="27" y="178"/>
                  </a:lnTo>
                  <a:lnTo>
                    <a:pt x="25" y="176"/>
                  </a:lnTo>
                  <a:lnTo>
                    <a:pt x="23" y="178"/>
                  </a:lnTo>
                  <a:lnTo>
                    <a:pt x="22" y="181"/>
                  </a:lnTo>
                  <a:lnTo>
                    <a:pt x="26" y="185"/>
                  </a:lnTo>
                  <a:lnTo>
                    <a:pt x="33" y="189"/>
                  </a:lnTo>
                  <a:lnTo>
                    <a:pt x="40" y="195"/>
                  </a:lnTo>
                  <a:lnTo>
                    <a:pt x="42" y="196"/>
                  </a:lnTo>
                  <a:lnTo>
                    <a:pt x="40" y="198"/>
                  </a:lnTo>
                  <a:lnTo>
                    <a:pt x="39" y="198"/>
                  </a:lnTo>
                  <a:lnTo>
                    <a:pt x="35" y="195"/>
                  </a:lnTo>
                  <a:lnTo>
                    <a:pt x="29" y="191"/>
                  </a:lnTo>
                  <a:lnTo>
                    <a:pt x="27" y="189"/>
                  </a:lnTo>
                  <a:lnTo>
                    <a:pt x="26" y="188"/>
                  </a:lnTo>
                  <a:lnTo>
                    <a:pt x="26" y="191"/>
                  </a:lnTo>
                  <a:lnTo>
                    <a:pt x="26" y="192"/>
                  </a:lnTo>
                  <a:lnTo>
                    <a:pt x="25" y="193"/>
                  </a:lnTo>
                  <a:lnTo>
                    <a:pt x="23" y="191"/>
                  </a:lnTo>
                  <a:lnTo>
                    <a:pt x="20" y="191"/>
                  </a:lnTo>
                  <a:lnTo>
                    <a:pt x="19" y="191"/>
                  </a:lnTo>
                  <a:lnTo>
                    <a:pt x="17" y="192"/>
                  </a:lnTo>
                  <a:lnTo>
                    <a:pt x="17" y="195"/>
                  </a:lnTo>
                  <a:lnTo>
                    <a:pt x="23" y="198"/>
                  </a:lnTo>
                  <a:lnTo>
                    <a:pt x="32" y="199"/>
                  </a:lnTo>
                  <a:lnTo>
                    <a:pt x="36" y="202"/>
                  </a:lnTo>
                  <a:lnTo>
                    <a:pt x="45" y="209"/>
                  </a:lnTo>
                  <a:lnTo>
                    <a:pt x="53" y="219"/>
                  </a:lnTo>
                  <a:lnTo>
                    <a:pt x="56" y="224"/>
                  </a:lnTo>
                  <a:lnTo>
                    <a:pt x="59" y="226"/>
                  </a:lnTo>
                  <a:lnTo>
                    <a:pt x="60" y="228"/>
                  </a:lnTo>
                  <a:lnTo>
                    <a:pt x="63" y="228"/>
                  </a:lnTo>
                  <a:lnTo>
                    <a:pt x="65" y="226"/>
                  </a:lnTo>
                  <a:lnTo>
                    <a:pt x="66" y="225"/>
                  </a:lnTo>
                  <a:lnTo>
                    <a:pt x="69" y="224"/>
                  </a:lnTo>
                  <a:lnTo>
                    <a:pt x="78" y="221"/>
                  </a:lnTo>
                  <a:lnTo>
                    <a:pt x="82" y="218"/>
                  </a:lnTo>
                  <a:lnTo>
                    <a:pt x="86" y="215"/>
                  </a:lnTo>
                  <a:lnTo>
                    <a:pt x="90" y="209"/>
                  </a:lnTo>
                  <a:lnTo>
                    <a:pt x="93" y="209"/>
                  </a:lnTo>
                  <a:lnTo>
                    <a:pt x="95" y="211"/>
                  </a:lnTo>
                  <a:lnTo>
                    <a:pt x="96" y="211"/>
                  </a:lnTo>
                  <a:lnTo>
                    <a:pt x="98" y="208"/>
                  </a:lnTo>
                  <a:lnTo>
                    <a:pt x="96" y="206"/>
                  </a:lnTo>
                  <a:lnTo>
                    <a:pt x="99" y="203"/>
                  </a:lnTo>
                  <a:lnTo>
                    <a:pt x="102" y="205"/>
                  </a:lnTo>
                  <a:lnTo>
                    <a:pt x="105" y="205"/>
                  </a:lnTo>
                  <a:lnTo>
                    <a:pt x="108" y="203"/>
                  </a:lnTo>
                  <a:lnTo>
                    <a:pt x="112" y="201"/>
                  </a:lnTo>
                  <a:lnTo>
                    <a:pt x="115" y="201"/>
                  </a:lnTo>
                  <a:lnTo>
                    <a:pt x="116" y="201"/>
                  </a:lnTo>
                  <a:lnTo>
                    <a:pt x="118" y="199"/>
                  </a:lnTo>
                  <a:lnTo>
                    <a:pt x="122" y="196"/>
                  </a:lnTo>
                  <a:lnTo>
                    <a:pt x="129" y="195"/>
                  </a:lnTo>
                  <a:lnTo>
                    <a:pt x="135" y="195"/>
                  </a:lnTo>
                  <a:lnTo>
                    <a:pt x="143" y="196"/>
                  </a:lnTo>
                  <a:lnTo>
                    <a:pt x="154" y="196"/>
                  </a:lnTo>
                  <a:lnTo>
                    <a:pt x="159" y="193"/>
                  </a:lnTo>
                  <a:lnTo>
                    <a:pt x="162" y="195"/>
                  </a:lnTo>
                  <a:lnTo>
                    <a:pt x="166" y="195"/>
                  </a:lnTo>
                  <a:lnTo>
                    <a:pt x="169" y="196"/>
                  </a:lnTo>
                  <a:lnTo>
                    <a:pt x="169" y="195"/>
                  </a:lnTo>
                  <a:lnTo>
                    <a:pt x="171" y="193"/>
                  </a:lnTo>
                  <a:lnTo>
                    <a:pt x="172" y="192"/>
                  </a:lnTo>
                  <a:lnTo>
                    <a:pt x="174" y="192"/>
                  </a:lnTo>
                  <a:lnTo>
                    <a:pt x="174" y="193"/>
                  </a:lnTo>
                  <a:lnTo>
                    <a:pt x="175" y="193"/>
                  </a:lnTo>
                  <a:lnTo>
                    <a:pt x="175" y="192"/>
                  </a:lnTo>
                  <a:lnTo>
                    <a:pt x="175" y="188"/>
                  </a:lnTo>
                  <a:lnTo>
                    <a:pt x="176" y="185"/>
                  </a:lnTo>
                  <a:lnTo>
                    <a:pt x="179" y="181"/>
                  </a:lnTo>
                  <a:lnTo>
                    <a:pt x="179" y="178"/>
                  </a:lnTo>
                  <a:lnTo>
                    <a:pt x="179" y="175"/>
                  </a:lnTo>
                  <a:lnTo>
                    <a:pt x="178" y="173"/>
                  </a:lnTo>
                  <a:lnTo>
                    <a:pt x="175" y="173"/>
                  </a:lnTo>
                  <a:lnTo>
                    <a:pt x="174" y="171"/>
                  </a:lnTo>
                  <a:lnTo>
                    <a:pt x="174" y="169"/>
                  </a:lnTo>
                  <a:lnTo>
                    <a:pt x="174" y="159"/>
                  </a:lnTo>
                  <a:lnTo>
                    <a:pt x="172" y="153"/>
                  </a:lnTo>
                  <a:lnTo>
                    <a:pt x="172" y="149"/>
                  </a:lnTo>
                  <a:lnTo>
                    <a:pt x="172" y="145"/>
                  </a:lnTo>
                  <a:lnTo>
                    <a:pt x="172" y="142"/>
                  </a:lnTo>
                  <a:lnTo>
                    <a:pt x="171" y="138"/>
                  </a:lnTo>
                  <a:lnTo>
                    <a:pt x="172" y="133"/>
                  </a:lnTo>
                  <a:lnTo>
                    <a:pt x="172" y="129"/>
                  </a:lnTo>
                  <a:lnTo>
                    <a:pt x="174" y="126"/>
                  </a:lnTo>
                  <a:lnTo>
                    <a:pt x="175" y="125"/>
                  </a:lnTo>
                  <a:lnTo>
                    <a:pt x="174" y="120"/>
                  </a:lnTo>
                  <a:lnTo>
                    <a:pt x="174" y="120"/>
                  </a:lnTo>
                  <a:lnTo>
                    <a:pt x="175" y="119"/>
                  </a:lnTo>
                  <a:lnTo>
                    <a:pt x="176" y="119"/>
                  </a:lnTo>
                  <a:lnTo>
                    <a:pt x="178" y="120"/>
                  </a:lnTo>
                  <a:lnTo>
                    <a:pt x="182" y="122"/>
                  </a:lnTo>
                  <a:lnTo>
                    <a:pt x="182" y="120"/>
                  </a:lnTo>
                  <a:lnTo>
                    <a:pt x="184" y="119"/>
                  </a:lnTo>
                  <a:lnTo>
                    <a:pt x="184" y="116"/>
                  </a:lnTo>
                  <a:lnTo>
                    <a:pt x="185" y="116"/>
                  </a:lnTo>
                  <a:lnTo>
                    <a:pt x="188" y="116"/>
                  </a:lnTo>
                  <a:lnTo>
                    <a:pt x="189" y="116"/>
                  </a:lnTo>
                  <a:lnTo>
                    <a:pt x="191" y="115"/>
                  </a:lnTo>
                  <a:lnTo>
                    <a:pt x="191" y="113"/>
                  </a:lnTo>
                  <a:lnTo>
                    <a:pt x="192" y="113"/>
                  </a:lnTo>
                  <a:lnTo>
                    <a:pt x="195" y="113"/>
                  </a:lnTo>
                  <a:lnTo>
                    <a:pt x="195" y="112"/>
                  </a:lnTo>
                  <a:lnTo>
                    <a:pt x="196" y="110"/>
                  </a:lnTo>
                  <a:lnTo>
                    <a:pt x="195" y="106"/>
                  </a:lnTo>
                  <a:lnTo>
                    <a:pt x="192" y="106"/>
                  </a:lnTo>
                  <a:lnTo>
                    <a:pt x="191" y="106"/>
                  </a:lnTo>
                  <a:lnTo>
                    <a:pt x="191" y="105"/>
                  </a:lnTo>
                  <a:lnTo>
                    <a:pt x="191" y="103"/>
                  </a:lnTo>
                  <a:lnTo>
                    <a:pt x="194" y="102"/>
                  </a:lnTo>
                  <a:lnTo>
                    <a:pt x="194" y="100"/>
                  </a:lnTo>
                  <a:lnTo>
                    <a:pt x="194" y="99"/>
                  </a:lnTo>
                  <a:lnTo>
                    <a:pt x="192" y="99"/>
                  </a:lnTo>
                  <a:lnTo>
                    <a:pt x="192" y="97"/>
                  </a:lnTo>
                  <a:lnTo>
                    <a:pt x="194" y="96"/>
                  </a:lnTo>
                  <a:lnTo>
                    <a:pt x="194" y="95"/>
                  </a:lnTo>
                  <a:lnTo>
                    <a:pt x="192" y="93"/>
                  </a:lnTo>
                  <a:lnTo>
                    <a:pt x="192" y="92"/>
                  </a:lnTo>
                  <a:lnTo>
                    <a:pt x="192" y="90"/>
                  </a:lnTo>
                  <a:lnTo>
                    <a:pt x="195" y="89"/>
                  </a:lnTo>
                  <a:lnTo>
                    <a:pt x="195" y="87"/>
                  </a:lnTo>
                  <a:lnTo>
                    <a:pt x="192" y="87"/>
                  </a:lnTo>
                  <a:lnTo>
                    <a:pt x="189" y="89"/>
                  </a:lnTo>
                  <a:lnTo>
                    <a:pt x="188" y="87"/>
                  </a:lnTo>
                  <a:lnTo>
                    <a:pt x="186" y="87"/>
                  </a:lnTo>
                  <a:lnTo>
                    <a:pt x="185" y="87"/>
                  </a:lnTo>
                  <a:lnTo>
                    <a:pt x="182" y="86"/>
                  </a:lnTo>
                  <a:lnTo>
                    <a:pt x="179" y="86"/>
                  </a:lnTo>
                  <a:lnTo>
                    <a:pt x="179" y="85"/>
                  </a:lnTo>
                  <a:lnTo>
                    <a:pt x="179" y="83"/>
                  </a:lnTo>
                  <a:lnTo>
                    <a:pt x="179" y="82"/>
                  </a:lnTo>
                  <a:lnTo>
                    <a:pt x="176" y="77"/>
                  </a:lnTo>
                  <a:lnTo>
                    <a:pt x="174" y="75"/>
                  </a:lnTo>
                  <a:lnTo>
                    <a:pt x="171" y="72"/>
                  </a:lnTo>
                  <a:lnTo>
                    <a:pt x="171" y="7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56" name="Freeform 505"/>
            <p:cNvSpPr>
              <a:spLocks/>
            </p:cNvSpPr>
            <p:nvPr/>
          </p:nvSpPr>
          <p:spPr bwMode="auto">
            <a:xfrm>
              <a:off x="5432897" y="2370123"/>
              <a:ext cx="52509" cy="47625"/>
            </a:xfrm>
            <a:custGeom>
              <a:avLst/>
              <a:gdLst>
                <a:gd name="T0" fmla="*/ 76 w 86"/>
                <a:gd name="T1" fmla="*/ 54 h 73"/>
                <a:gd name="T2" fmla="*/ 69 w 86"/>
                <a:gd name="T3" fmla="*/ 60 h 73"/>
                <a:gd name="T4" fmla="*/ 64 w 86"/>
                <a:gd name="T5" fmla="*/ 63 h 73"/>
                <a:gd name="T6" fmla="*/ 64 w 86"/>
                <a:gd name="T7" fmla="*/ 67 h 73"/>
                <a:gd name="T8" fmla="*/ 57 w 86"/>
                <a:gd name="T9" fmla="*/ 71 h 73"/>
                <a:gd name="T10" fmla="*/ 40 w 86"/>
                <a:gd name="T11" fmla="*/ 73 h 73"/>
                <a:gd name="T12" fmla="*/ 28 w 86"/>
                <a:gd name="T13" fmla="*/ 70 h 73"/>
                <a:gd name="T14" fmla="*/ 24 w 86"/>
                <a:gd name="T15" fmla="*/ 69 h 73"/>
                <a:gd name="T16" fmla="*/ 26 w 86"/>
                <a:gd name="T17" fmla="*/ 67 h 73"/>
                <a:gd name="T18" fmla="*/ 24 w 86"/>
                <a:gd name="T19" fmla="*/ 64 h 73"/>
                <a:gd name="T20" fmla="*/ 27 w 86"/>
                <a:gd name="T21" fmla="*/ 61 h 73"/>
                <a:gd name="T22" fmla="*/ 26 w 86"/>
                <a:gd name="T23" fmla="*/ 60 h 73"/>
                <a:gd name="T24" fmla="*/ 31 w 86"/>
                <a:gd name="T25" fmla="*/ 58 h 73"/>
                <a:gd name="T26" fmla="*/ 34 w 86"/>
                <a:gd name="T27" fmla="*/ 61 h 73"/>
                <a:gd name="T28" fmla="*/ 38 w 86"/>
                <a:gd name="T29" fmla="*/ 64 h 73"/>
                <a:gd name="T30" fmla="*/ 37 w 86"/>
                <a:gd name="T31" fmla="*/ 57 h 73"/>
                <a:gd name="T32" fmla="*/ 31 w 86"/>
                <a:gd name="T33" fmla="*/ 50 h 73"/>
                <a:gd name="T34" fmla="*/ 28 w 86"/>
                <a:gd name="T35" fmla="*/ 47 h 73"/>
                <a:gd name="T36" fmla="*/ 27 w 86"/>
                <a:gd name="T37" fmla="*/ 48 h 73"/>
                <a:gd name="T38" fmla="*/ 24 w 86"/>
                <a:gd name="T39" fmla="*/ 48 h 73"/>
                <a:gd name="T40" fmla="*/ 16 w 86"/>
                <a:gd name="T41" fmla="*/ 44 h 73"/>
                <a:gd name="T42" fmla="*/ 10 w 86"/>
                <a:gd name="T43" fmla="*/ 44 h 73"/>
                <a:gd name="T44" fmla="*/ 1 w 86"/>
                <a:gd name="T45" fmla="*/ 36 h 73"/>
                <a:gd name="T46" fmla="*/ 1 w 86"/>
                <a:gd name="T47" fmla="*/ 30 h 73"/>
                <a:gd name="T48" fmla="*/ 7 w 86"/>
                <a:gd name="T49" fmla="*/ 28 h 73"/>
                <a:gd name="T50" fmla="*/ 8 w 86"/>
                <a:gd name="T51" fmla="*/ 23 h 73"/>
                <a:gd name="T52" fmla="*/ 3 w 86"/>
                <a:gd name="T53" fmla="*/ 17 h 73"/>
                <a:gd name="T54" fmla="*/ 4 w 86"/>
                <a:gd name="T55" fmla="*/ 14 h 73"/>
                <a:gd name="T56" fmla="*/ 8 w 86"/>
                <a:gd name="T57" fmla="*/ 14 h 73"/>
                <a:gd name="T58" fmla="*/ 8 w 86"/>
                <a:gd name="T59" fmla="*/ 8 h 73"/>
                <a:gd name="T60" fmla="*/ 3 w 86"/>
                <a:gd name="T61" fmla="*/ 3 h 73"/>
                <a:gd name="T62" fmla="*/ 1 w 86"/>
                <a:gd name="T63" fmla="*/ 0 h 73"/>
                <a:gd name="T64" fmla="*/ 6 w 86"/>
                <a:gd name="T65" fmla="*/ 0 h 73"/>
                <a:gd name="T66" fmla="*/ 10 w 86"/>
                <a:gd name="T67" fmla="*/ 3 h 73"/>
                <a:gd name="T68" fmla="*/ 14 w 86"/>
                <a:gd name="T69" fmla="*/ 1 h 73"/>
                <a:gd name="T70" fmla="*/ 17 w 86"/>
                <a:gd name="T71" fmla="*/ 0 h 73"/>
                <a:gd name="T72" fmla="*/ 26 w 86"/>
                <a:gd name="T73" fmla="*/ 0 h 73"/>
                <a:gd name="T74" fmla="*/ 31 w 86"/>
                <a:gd name="T75" fmla="*/ 1 h 73"/>
                <a:gd name="T76" fmla="*/ 37 w 86"/>
                <a:gd name="T77" fmla="*/ 7 h 73"/>
                <a:gd name="T78" fmla="*/ 43 w 86"/>
                <a:gd name="T79" fmla="*/ 8 h 73"/>
                <a:gd name="T80" fmla="*/ 47 w 86"/>
                <a:gd name="T81" fmla="*/ 8 h 73"/>
                <a:gd name="T82" fmla="*/ 47 w 86"/>
                <a:gd name="T83" fmla="*/ 14 h 73"/>
                <a:gd name="T84" fmla="*/ 51 w 86"/>
                <a:gd name="T85" fmla="*/ 13 h 73"/>
                <a:gd name="T86" fmla="*/ 58 w 86"/>
                <a:gd name="T87" fmla="*/ 13 h 73"/>
                <a:gd name="T88" fmla="*/ 67 w 86"/>
                <a:gd name="T89" fmla="*/ 16 h 73"/>
                <a:gd name="T90" fmla="*/ 71 w 86"/>
                <a:gd name="T91" fmla="*/ 20 h 73"/>
                <a:gd name="T92" fmla="*/ 83 w 86"/>
                <a:gd name="T93" fmla="*/ 31 h 73"/>
                <a:gd name="T94" fmla="*/ 86 w 86"/>
                <a:gd name="T95" fmla="*/ 36 h 73"/>
                <a:gd name="T96" fmla="*/ 83 w 86"/>
                <a:gd name="T97" fmla="*/ 41 h 73"/>
                <a:gd name="T98" fmla="*/ 77 w 86"/>
                <a:gd name="T99" fmla="*/ 5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6" h="73">
                  <a:moveTo>
                    <a:pt x="77" y="50"/>
                  </a:moveTo>
                  <a:lnTo>
                    <a:pt x="76" y="54"/>
                  </a:lnTo>
                  <a:lnTo>
                    <a:pt x="71" y="57"/>
                  </a:lnTo>
                  <a:lnTo>
                    <a:pt x="69" y="60"/>
                  </a:lnTo>
                  <a:lnTo>
                    <a:pt x="66" y="60"/>
                  </a:lnTo>
                  <a:lnTo>
                    <a:pt x="64" y="63"/>
                  </a:lnTo>
                  <a:lnTo>
                    <a:pt x="64" y="66"/>
                  </a:lnTo>
                  <a:lnTo>
                    <a:pt x="64" y="67"/>
                  </a:lnTo>
                  <a:lnTo>
                    <a:pt x="61" y="69"/>
                  </a:lnTo>
                  <a:lnTo>
                    <a:pt x="57" y="71"/>
                  </a:lnTo>
                  <a:lnTo>
                    <a:pt x="50" y="73"/>
                  </a:lnTo>
                  <a:lnTo>
                    <a:pt x="40" y="73"/>
                  </a:lnTo>
                  <a:lnTo>
                    <a:pt x="33" y="71"/>
                  </a:lnTo>
                  <a:lnTo>
                    <a:pt x="28" y="70"/>
                  </a:lnTo>
                  <a:lnTo>
                    <a:pt x="26" y="70"/>
                  </a:lnTo>
                  <a:lnTo>
                    <a:pt x="24" y="69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4" y="66"/>
                  </a:lnTo>
                  <a:lnTo>
                    <a:pt x="24" y="64"/>
                  </a:lnTo>
                  <a:lnTo>
                    <a:pt x="24" y="63"/>
                  </a:lnTo>
                  <a:lnTo>
                    <a:pt x="27" y="61"/>
                  </a:lnTo>
                  <a:lnTo>
                    <a:pt x="26" y="61"/>
                  </a:lnTo>
                  <a:lnTo>
                    <a:pt x="26" y="60"/>
                  </a:lnTo>
                  <a:lnTo>
                    <a:pt x="28" y="58"/>
                  </a:lnTo>
                  <a:lnTo>
                    <a:pt x="31" y="58"/>
                  </a:lnTo>
                  <a:lnTo>
                    <a:pt x="33" y="60"/>
                  </a:lnTo>
                  <a:lnTo>
                    <a:pt x="34" y="61"/>
                  </a:lnTo>
                  <a:lnTo>
                    <a:pt x="37" y="64"/>
                  </a:lnTo>
                  <a:lnTo>
                    <a:pt x="38" y="64"/>
                  </a:lnTo>
                  <a:lnTo>
                    <a:pt x="38" y="61"/>
                  </a:lnTo>
                  <a:lnTo>
                    <a:pt x="37" y="57"/>
                  </a:lnTo>
                  <a:lnTo>
                    <a:pt x="36" y="53"/>
                  </a:lnTo>
                  <a:lnTo>
                    <a:pt x="31" y="50"/>
                  </a:lnTo>
                  <a:lnTo>
                    <a:pt x="30" y="48"/>
                  </a:lnTo>
                  <a:lnTo>
                    <a:pt x="28" y="47"/>
                  </a:lnTo>
                  <a:lnTo>
                    <a:pt x="27" y="47"/>
                  </a:lnTo>
                  <a:lnTo>
                    <a:pt x="27" y="48"/>
                  </a:lnTo>
                  <a:lnTo>
                    <a:pt x="26" y="48"/>
                  </a:lnTo>
                  <a:lnTo>
                    <a:pt x="24" y="48"/>
                  </a:lnTo>
                  <a:lnTo>
                    <a:pt x="20" y="46"/>
                  </a:lnTo>
                  <a:lnTo>
                    <a:pt x="16" y="44"/>
                  </a:lnTo>
                  <a:lnTo>
                    <a:pt x="13" y="44"/>
                  </a:lnTo>
                  <a:lnTo>
                    <a:pt x="10" y="44"/>
                  </a:lnTo>
                  <a:lnTo>
                    <a:pt x="7" y="40"/>
                  </a:lnTo>
                  <a:lnTo>
                    <a:pt x="1" y="36"/>
                  </a:lnTo>
                  <a:lnTo>
                    <a:pt x="0" y="33"/>
                  </a:lnTo>
                  <a:lnTo>
                    <a:pt x="1" y="30"/>
                  </a:lnTo>
                  <a:lnTo>
                    <a:pt x="4" y="30"/>
                  </a:lnTo>
                  <a:lnTo>
                    <a:pt x="7" y="28"/>
                  </a:lnTo>
                  <a:lnTo>
                    <a:pt x="8" y="27"/>
                  </a:lnTo>
                  <a:lnTo>
                    <a:pt x="8" y="23"/>
                  </a:lnTo>
                  <a:lnTo>
                    <a:pt x="6" y="20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4" y="14"/>
                  </a:lnTo>
                  <a:lnTo>
                    <a:pt x="7" y="16"/>
                  </a:lnTo>
                  <a:lnTo>
                    <a:pt x="8" y="14"/>
                  </a:lnTo>
                  <a:lnTo>
                    <a:pt x="8" y="13"/>
                  </a:lnTo>
                  <a:lnTo>
                    <a:pt x="8" y="8"/>
                  </a:lnTo>
                  <a:lnTo>
                    <a:pt x="6" y="4"/>
                  </a:lnTo>
                  <a:lnTo>
                    <a:pt x="3" y="3"/>
                  </a:lnTo>
                  <a:lnTo>
                    <a:pt x="1" y="0"/>
                  </a:lnTo>
                  <a:lnTo>
                    <a:pt x="1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7" y="3"/>
                  </a:lnTo>
                  <a:lnTo>
                    <a:pt x="10" y="3"/>
                  </a:lnTo>
                  <a:lnTo>
                    <a:pt x="13" y="3"/>
                  </a:lnTo>
                  <a:lnTo>
                    <a:pt x="14" y="1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30" y="0"/>
                  </a:lnTo>
                  <a:lnTo>
                    <a:pt x="31" y="1"/>
                  </a:lnTo>
                  <a:lnTo>
                    <a:pt x="34" y="5"/>
                  </a:lnTo>
                  <a:lnTo>
                    <a:pt x="37" y="7"/>
                  </a:lnTo>
                  <a:lnTo>
                    <a:pt x="40" y="7"/>
                  </a:lnTo>
                  <a:lnTo>
                    <a:pt x="43" y="8"/>
                  </a:lnTo>
                  <a:lnTo>
                    <a:pt x="44" y="8"/>
                  </a:lnTo>
                  <a:lnTo>
                    <a:pt x="47" y="8"/>
                  </a:lnTo>
                  <a:lnTo>
                    <a:pt x="47" y="11"/>
                  </a:lnTo>
                  <a:lnTo>
                    <a:pt x="47" y="14"/>
                  </a:lnTo>
                  <a:lnTo>
                    <a:pt x="50" y="14"/>
                  </a:lnTo>
                  <a:lnTo>
                    <a:pt x="51" y="13"/>
                  </a:lnTo>
                  <a:lnTo>
                    <a:pt x="54" y="13"/>
                  </a:lnTo>
                  <a:lnTo>
                    <a:pt x="58" y="13"/>
                  </a:lnTo>
                  <a:lnTo>
                    <a:pt x="63" y="13"/>
                  </a:lnTo>
                  <a:lnTo>
                    <a:pt x="67" y="16"/>
                  </a:lnTo>
                  <a:lnTo>
                    <a:pt x="70" y="17"/>
                  </a:lnTo>
                  <a:lnTo>
                    <a:pt x="71" y="20"/>
                  </a:lnTo>
                  <a:lnTo>
                    <a:pt x="77" y="27"/>
                  </a:lnTo>
                  <a:lnTo>
                    <a:pt x="83" y="31"/>
                  </a:lnTo>
                  <a:lnTo>
                    <a:pt x="86" y="34"/>
                  </a:lnTo>
                  <a:lnTo>
                    <a:pt x="86" y="36"/>
                  </a:lnTo>
                  <a:lnTo>
                    <a:pt x="84" y="37"/>
                  </a:lnTo>
                  <a:lnTo>
                    <a:pt x="83" y="41"/>
                  </a:lnTo>
                  <a:lnTo>
                    <a:pt x="80" y="47"/>
                  </a:lnTo>
                  <a:lnTo>
                    <a:pt x="77" y="50"/>
                  </a:lnTo>
                  <a:lnTo>
                    <a:pt x="77" y="5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57" name="Freeform 506"/>
            <p:cNvSpPr>
              <a:spLocks/>
            </p:cNvSpPr>
            <p:nvPr/>
          </p:nvSpPr>
          <p:spPr bwMode="auto">
            <a:xfrm>
              <a:off x="5424349" y="2427008"/>
              <a:ext cx="14654" cy="15875"/>
            </a:xfrm>
            <a:custGeom>
              <a:avLst/>
              <a:gdLst>
                <a:gd name="T0" fmla="*/ 18 w 25"/>
                <a:gd name="T1" fmla="*/ 11 h 24"/>
                <a:gd name="T2" fmla="*/ 15 w 25"/>
                <a:gd name="T3" fmla="*/ 8 h 24"/>
                <a:gd name="T4" fmla="*/ 10 w 25"/>
                <a:gd name="T5" fmla="*/ 4 h 24"/>
                <a:gd name="T6" fmla="*/ 5 w 25"/>
                <a:gd name="T7" fmla="*/ 1 h 24"/>
                <a:gd name="T8" fmla="*/ 2 w 25"/>
                <a:gd name="T9" fmla="*/ 0 h 24"/>
                <a:gd name="T10" fmla="*/ 0 w 25"/>
                <a:gd name="T11" fmla="*/ 0 h 24"/>
                <a:gd name="T12" fmla="*/ 0 w 25"/>
                <a:gd name="T13" fmla="*/ 1 h 24"/>
                <a:gd name="T14" fmla="*/ 0 w 25"/>
                <a:gd name="T15" fmla="*/ 1 h 24"/>
                <a:gd name="T16" fmla="*/ 3 w 25"/>
                <a:gd name="T17" fmla="*/ 3 h 24"/>
                <a:gd name="T18" fmla="*/ 10 w 25"/>
                <a:gd name="T19" fmla="*/ 8 h 24"/>
                <a:gd name="T20" fmla="*/ 16 w 25"/>
                <a:gd name="T21" fmla="*/ 13 h 24"/>
                <a:gd name="T22" fmla="*/ 16 w 25"/>
                <a:gd name="T23" fmla="*/ 15 h 24"/>
                <a:gd name="T24" fmla="*/ 16 w 25"/>
                <a:gd name="T25" fmla="*/ 17 h 24"/>
                <a:gd name="T26" fmla="*/ 16 w 25"/>
                <a:gd name="T27" fmla="*/ 18 h 24"/>
                <a:gd name="T28" fmla="*/ 18 w 25"/>
                <a:gd name="T29" fmla="*/ 20 h 24"/>
                <a:gd name="T30" fmla="*/ 19 w 25"/>
                <a:gd name="T31" fmla="*/ 21 h 24"/>
                <a:gd name="T32" fmla="*/ 22 w 25"/>
                <a:gd name="T33" fmla="*/ 24 h 24"/>
                <a:gd name="T34" fmla="*/ 23 w 25"/>
                <a:gd name="T35" fmla="*/ 24 h 24"/>
                <a:gd name="T36" fmla="*/ 25 w 25"/>
                <a:gd name="T37" fmla="*/ 24 h 24"/>
                <a:gd name="T38" fmla="*/ 25 w 25"/>
                <a:gd name="T39" fmla="*/ 23 h 24"/>
                <a:gd name="T40" fmla="*/ 23 w 25"/>
                <a:gd name="T41" fmla="*/ 21 h 24"/>
                <a:gd name="T42" fmla="*/ 21 w 25"/>
                <a:gd name="T43" fmla="*/ 18 h 24"/>
                <a:gd name="T44" fmla="*/ 19 w 25"/>
                <a:gd name="T45" fmla="*/ 15 h 24"/>
                <a:gd name="T46" fmla="*/ 18 w 25"/>
                <a:gd name="T47" fmla="*/ 11 h 24"/>
                <a:gd name="T48" fmla="*/ 18 w 25"/>
                <a:gd name="T49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" h="24">
                  <a:moveTo>
                    <a:pt x="18" y="11"/>
                  </a:moveTo>
                  <a:lnTo>
                    <a:pt x="15" y="8"/>
                  </a:lnTo>
                  <a:lnTo>
                    <a:pt x="10" y="4"/>
                  </a:lnTo>
                  <a:lnTo>
                    <a:pt x="5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3" y="3"/>
                  </a:lnTo>
                  <a:lnTo>
                    <a:pt x="10" y="8"/>
                  </a:lnTo>
                  <a:lnTo>
                    <a:pt x="16" y="13"/>
                  </a:lnTo>
                  <a:lnTo>
                    <a:pt x="16" y="15"/>
                  </a:lnTo>
                  <a:lnTo>
                    <a:pt x="16" y="17"/>
                  </a:lnTo>
                  <a:lnTo>
                    <a:pt x="16" y="18"/>
                  </a:lnTo>
                  <a:lnTo>
                    <a:pt x="18" y="20"/>
                  </a:lnTo>
                  <a:lnTo>
                    <a:pt x="19" y="21"/>
                  </a:lnTo>
                  <a:lnTo>
                    <a:pt x="22" y="24"/>
                  </a:lnTo>
                  <a:lnTo>
                    <a:pt x="23" y="24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3" y="21"/>
                  </a:lnTo>
                  <a:lnTo>
                    <a:pt x="21" y="18"/>
                  </a:lnTo>
                  <a:lnTo>
                    <a:pt x="19" y="15"/>
                  </a:lnTo>
                  <a:lnTo>
                    <a:pt x="18" y="11"/>
                  </a:lnTo>
                  <a:lnTo>
                    <a:pt x="18" y="1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58" name="Freeform 507"/>
            <p:cNvSpPr>
              <a:spLocks/>
            </p:cNvSpPr>
            <p:nvPr/>
          </p:nvSpPr>
          <p:spPr bwMode="auto">
            <a:xfrm>
              <a:off x="5442666" y="2441560"/>
              <a:ext cx="15875" cy="7937"/>
            </a:xfrm>
            <a:custGeom>
              <a:avLst/>
              <a:gdLst>
                <a:gd name="T0" fmla="*/ 12 w 25"/>
                <a:gd name="T1" fmla="*/ 2 h 11"/>
                <a:gd name="T2" fmla="*/ 14 w 25"/>
                <a:gd name="T3" fmla="*/ 2 h 11"/>
                <a:gd name="T4" fmla="*/ 15 w 25"/>
                <a:gd name="T5" fmla="*/ 1 h 11"/>
                <a:gd name="T6" fmla="*/ 20 w 25"/>
                <a:gd name="T7" fmla="*/ 0 h 11"/>
                <a:gd name="T8" fmla="*/ 21 w 25"/>
                <a:gd name="T9" fmla="*/ 1 h 11"/>
                <a:gd name="T10" fmla="*/ 25 w 25"/>
                <a:gd name="T11" fmla="*/ 1 h 11"/>
                <a:gd name="T12" fmla="*/ 25 w 25"/>
                <a:gd name="T13" fmla="*/ 1 h 11"/>
                <a:gd name="T14" fmla="*/ 25 w 25"/>
                <a:gd name="T15" fmla="*/ 2 h 11"/>
                <a:gd name="T16" fmla="*/ 22 w 25"/>
                <a:gd name="T17" fmla="*/ 2 h 11"/>
                <a:gd name="T18" fmla="*/ 20 w 25"/>
                <a:gd name="T19" fmla="*/ 2 h 11"/>
                <a:gd name="T20" fmla="*/ 18 w 25"/>
                <a:gd name="T21" fmla="*/ 4 h 11"/>
                <a:gd name="T22" fmla="*/ 18 w 25"/>
                <a:gd name="T23" fmla="*/ 4 h 11"/>
                <a:gd name="T24" fmla="*/ 18 w 25"/>
                <a:gd name="T25" fmla="*/ 7 h 11"/>
                <a:gd name="T26" fmla="*/ 15 w 25"/>
                <a:gd name="T27" fmla="*/ 7 h 11"/>
                <a:gd name="T28" fmla="*/ 14 w 25"/>
                <a:gd name="T29" fmla="*/ 8 h 11"/>
                <a:gd name="T30" fmla="*/ 14 w 25"/>
                <a:gd name="T31" fmla="*/ 10 h 11"/>
                <a:gd name="T32" fmla="*/ 12 w 25"/>
                <a:gd name="T33" fmla="*/ 11 h 11"/>
                <a:gd name="T34" fmla="*/ 8 w 25"/>
                <a:gd name="T35" fmla="*/ 10 h 11"/>
                <a:gd name="T36" fmla="*/ 0 w 25"/>
                <a:gd name="T37" fmla="*/ 5 h 11"/>
                <a:gd name="T38" fmla="*/ 0 w 25"/>
                <a:gd name="T39" fmla="*/ 2 h 11"/>
                <a:gd name="T40" fmla="*/ 2 w 25"/>
                <a:gd name="T41" fmla="*/ 2 h 11"/>
                <a:gd name="T42" fmla="*/ 5 w 25"/>
                <a:gd name="T43" fmla="*/ 4 h 11"/>
                <a:gd name="T44" fmla="*/ 7 w 25"/>
                <a:gd name="T45" fmla="*/ 5 h 11"/>
                <a:gd name="T46" fmla="*/ 11 w 25"/>
                <a:gd name="T47" fmla="*/ 2 h 11"/>
                <a:gd name="T48" fmla="*/ 12 w 25"/>
                <a:gd name="T49" fmla="*/ 2 h 11"/>
                <a:gd name="T50" fmla="*/ 12 w 25"/>
                <a:gd name="T51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" h="11">
                  <a:moveTo>
                    <a:pt x="12" y="2"/>
                  </a:moveTo>
                  <a:lnTo>
                    <a:pt x="14" y="2"/>
                  </a:lnTo>
                  <a:lnTo>
                    <a:pt x="15" y="1"/>
                  </a:lnTo>
                  <a:lnTo>
                    <a:pt x="20" y="0"/>
                  </a:lnTo>
                  <a:lnTo>
                    <a:pt x="21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7"/>
                  </a:lnTo>
                  <a:lnTo>
                    <a:pt x="15" y="7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2" y="11"/>
                  </a:lnTo>
                  <a:lnTo>
                    <a:pt x="8" y="10"/>
                  </a:lnTo>
                  <a:lnTo>
                    <a:pt x="0" y="5"/>
                  </a:lnTo>
                  <a:lnTo>
                    <a:pt x="0" y="2"/>
                  </a:lnTo>
                  <a:lnTo>
                    <a:pt x="2" y="2"/>
                  </a:lnTo>
                  <a:lnTo>
                    <a:pt x="5" y="4"/>
                  </a:lnTo>
                  <a:lnTo>
                    <a:pt x="7" y="5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2" y="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59" name="Freeform 508"/>
            <p:cNvSpPr>
              <a:spLocks/>
            </p:cNvSpPr>
            <p:nvPr/>
          </p:nvSpPr>
          <p:spPr bwMode="auto">
            <a:xfrm>
              <a:off x="5040910" y="2903254"/>
              <a:ext cx="13433" cy="17198"/>
            </a:xfrm>
            <a:custGeom>
              <a:avLst/>
              <a:gdLst>
                <a:gd name="T0" fmla="*/ 20 w 21"/>
                <a:gd name="T1" fmla="*/ 12 h 26"/>
                <a:gd name="T2" fmla="*/ 14 w 21"/>
                <a:gd name="T3" fmla="*/ 9 h 26"/>
                <a:gd name="T4" fmla="*/ 11 w 21"/>
                <a:gd name="T5" fmla="*/ 7 h 26"/>
                <a:gd name="T6" fmla="*/ 8 w 21"/>
                <a:gd name="T7" fmla="*/ 6 h 26"/>
                <a:gd name="T8" fmla="*/ 8 w 21"/>
                <a:gd name="T9" fmla="*/ 2 h 26"/>
                <a:gd name="T10" fmla="*/ 8 w 21"/>
                <a:gd name="T11" fmla="*/ 2 h 26"/>
                <a:gd name="T12" fmla="*/ 7 w 21"/>
                <a:gd name="T13" fmla="*/ 0 h 26"/>
                <a:gd name="T14" fmla="*/ 3 w 21"/>
                <a:gd name="T15" fmla="*/ 3 h 26"/>
                <a:gd name="T16" fmla="*/ 1 w 21"/>
                <a:gd name="T17" fmla="*/ 4 h 26"/>
                <a:gd name="T18" fmla="*/ 1 w 21"/>
                <a:gd name="T19" fmla="*/ 6 h 26"/>
                <a:gd name="T20" fmla="*/ 4 w 21"/>
                <a:gd name="T21" fmla="*/ 6 h 26"/>
                <a:gd name="T22" fmla="*/ 5 w 21"/>
                <a:gd name="T23" fmla="*/ 6 h 26"/>
                <a:gd name="T24" fmla="*/ 7 w 21"/>
                <a:gd name="T25" fmla="*/ 7 h 26"/>
                <a:gd name="T26" fmla="*/ 7 w 21"/>
                <a:gd name="T27" fmla="*/ 9 h 26"/>
                <a:gd name="T28" fmla="*/ 7 w 21"/>
                <a:gd name="T29" fmla="*/ 12 h 26"/>
                <a:gd name="T30" fmla="*/ 5 w 21"/>
                <a:gd name="T31" fmla="*/ 13 h 26"/>
                <a:gd name="T32" fmla="*/ 4 w 21"/>
                <a:gd name="T33" fmla="*/ 13 h 26"/>
                <a:gd name="T34" fmla="*/ 3 w 21"/>
                <a:gd name="T35" fmla="*/ 13 h 26"/>
                <a:gd name="T36" fmla="*/ 1 w 21"/>
                <a:gd name="T37" fmla="*/ 10 h 26"/>
                <a:gd name="T38" fmla="*/ 0 w 21"/>
                <a:gd name="T39" fmla="*/ 9 h 26"/>
                <a:gd name="T40" fmla="*/ 0 w 21"/>
                <a:gd name="T41" fmla="*/ 12 h 26"/>
                <a:gd name="T42" fmla="*/ 3 w 21"/>
                <a:gd name="T43" fmla="*/ 17 h 26"/>
                <a:gd name="T44" fmla="*/ 7 w 21"/>
                <a:gd name="T45" fmla="*/ 23 h 26"/>
                <a:gd name="T46" fmla="*/ 10 w 21"/>
                <a:gd name="T47" fmla="*/ 26 h 26"/>
                <a:gd name="T48" fmla="*/ 13 w 21"/>
                <a:gd name="T49" fmla="*/ 26 h 26"/>
                <a:gd name="T50" fmla="*/ 14 w 21"/>
                <a:gd name="T51" fmla="*/ 26 h 26"/>
                <a:gd name="T52" fmla="*/ 14 w 21"/>
                <a:gd name="T53" fmla="*/ 23 h 26"/>
                <a:gd name="T54" fmla="*/ 13 w 21"/>
                <a:gd name="T55" fmla="*/ 22 h 26"/>
                <a:gd name="T56" fmla="*/ 13 w 21"/>
                <a:gd name="T57" fmla="*/ 19 h 26"/>
                <a:gd name="T58" fmla="*/ 13 w 21"/>
                <a:gd name="T59" fmla="*/ 17 h 26"/>
                <a:gd name="T60" fmla="*/ 15 w 21"/>
                <a:gd name="T61" fmla="*/ 17 h 26"/>
                <a:gd name="T62" fmla="*/ 18 w 21"/>
                <a:gd name="T63" fmla="*/ 16 h 26"/>
                <a:gd name="T64" fmla="*/ 21 w 21"/>
                <a:gd name="T65" fmla="*/ 14 h 26"/>
                <a:gd name="T66" fmla="*/ 21 w 21"/>
                <a:gd name="T67" fmla="*/ 13 h 26"/>
                <a:gd name="T68" fmla="*/ 20 w 21"/>
                <a:gd name="T69" fmla="*/ 12 h 26"/>
                <a:gd name="T70" fmla="*/ 20 w 21"/>
                <a:gd name="T71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" h="26">
                  <a:moveTo>
                    <a:pt x="20" y="12"/>
                  </a:moveTo>
                  <a:lnTo>
                    <a:pt x="14" y="9"/>
                  </a:lnTo>
                  <a:lnTo>
                    <a:pt x="11" y="7"/>
                  </a:lnTo>
                  <a:lnTo>
                    <a:pt x="8" y="6"/>
                  </a:lnTo>
                  <a:lnTo>
                    <a:pt x="8" y="2"/>
                  </a:lnTo>
                  <a:lnTo>
                    <a:pt x="8" y="2"/>
                  </a:lnTo>
                  <a:lnTo>
                    <a:pt x="7" y="0"/>
                  </a:lnTo>
                  <a:lnTo>
                    <a:pt x="3" y="3"/>
                  </a:lnTo>
                  <a:lnTo>
                    <a:pt x="1" y="4"/>
                  </a:lnTo>
                  <a:lnTo>
                    <a:pt x="1" y="6"/>
                  </a:lnTo>
                  <a:lnTo>
                    <a:pt x="4" y="6"/>
                  </a:lnTo>
                  <a:lnTo>
                    <a:pt x="5" y="6"/>
                  </a:lnTo>
                  <a:lnTo>
                    <a:pt x="7" y="7"/>
                  </a:lnTo>
                  <a:lnTo>
                    <a:pt x="7" y="9"/>
                  </a:lnTo>
                  <a:lnTo>
                    <a:pt x="7" y="12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1" y="1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3" y="17"/>
                  </a:lnTo>
                  <a:lnTo>
                    <a:pt x="7" y="23"/>
                  </a:lnTo>
                  <a:lnTo>
                    <a:pt x="10" y="26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4" y="23"/>
                  </a:lnTo>
                  <a:lnTo>
                    <a:pt x="13" y="22"/>
                  </a:lnTo>
                  <a:lnTo>
                    <a:pt x="13" y="19"/>
                  </a:lnTo>
                  <a:lnTo>
                    <a:pt x="13" y="17"/>
                  </a:lnTo>
                  <a:lnTo>
                    <a:pt x="15" y="17"/>
                  </a:lnTo>
                  <a:lnTo>
                    <a:pt x="18" y="16"/>
                  </a:lnTo>
                  <a:lnTo>
                    <a:pt x="21" y="14"/>
                  </a:lnTo>
                  <a:lnTo>
                    <a:pt x="21" y="13"/>
                  </a:lnTo>
                  <a:lnTo>
                    <a:pt x="20" y="12"/>
                  </a:lnTo>
                  <a:lnTo>
                    <a:pt x="20" y="1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60" name="Freeform 509"/>
            <p:cNvSpPr>
              <a:spLocks/>
            </p:cNvSpPr>
            <p:nvPr/>
          </p:nvSpPr>
          <p:spPr bwMode="auto">
            <a:xfrm>
              <a:off x="5589203" y="2454789"/>
              <a:ext cx="128220" cy="174623"/>
            </a:xfrm>
            <a:custGeom>
              <a:avLst/>
              <a:gdLst>
                <a:gd name="T0" fmla="*/ 194 w 210"/>
                <a:gd name="T1" fmla="*/ 191 h 265"/>
                <a:gd name="T2" fmla="*/ 177 w 210"/>
                <a:gd name="T3" fmla="*/ 191 h 265"/>
                <a:gd name="T4" fmla="*/ 157 w 210"/>
                <a:gd name="T5" fmla="*/ 205 h 265"/>
                <a:gd name="T6" fmla="*/ 139 w 210"/>
                <a:gd name="T7" fmla="*/ 211 h 265"/>
                <a:gd name="T8" fmla="*/ 127 w 210"/>
                <a:gd name="T9" fmla="*/ 215 h 265"/>
                <a:gd name="T10" fmla="*/ 126 w 210"/>
                <a:gd name="T11" fmla="*/ 227 h 265"/>
                <a:gd name="T12" fmla="*/ 120 w 210"/>
                <a:gd name="T13" fmla="*/ 221 h 265"/>
                <a:gd name="T14" fmla="*/ 104 w 210"/>
                <a:gd name="T15" fmla="*/ 215 h 265"/>
                <a:gd name="T16" fmla="*/ 89 w 210"/>
                <a:gd name="T17" fmla="*/ 218 h 265"/>
                <a:gd name="T18" fmla="*/ 63 w 210"/>
                <a:gd name="T19" fmla="*/ 225 h 265"/>
                <a:gd name="T20" fmla="*/ 17 w 210"/>
                <a:gd name="T21" fmla="*/ 262 h 265"/>
                <a:gd name="T22" fmla="*/ 7 w 210"/>
                <a:gd name="T23" fmla="*/ 265 h 265"/>
                <a:gd name="T24" fmla="*/ 3 w 210"/>
                <a:gd name="T25" fmla="*/ 257 h 265"/>
                <a:gd name="T26" fmla="*/ 5 w 210"/>
                <a:gd name="T27" fmla="*/ 231 h 265"/>
                <a:gd name="T28" fmla="*/ 24 w 210"/>
                <a:gd name="T29" fmla="*/ 182 h 265"/>
                <a:gd name="T30" fmla="*/ 30 w 210"/>
                <a:gd name="T31" fmla="*/ 168 h 265"/>
                <a:gd name="T32" fmla="*/ 31 w 210"/>
                <a:gd name="T33" fmla="*/ 155 h 265"/>
                <a:gd name="T34" fmla="*/ 34 w 210"/>
                <a:gd name="T35" fmla="*/ 141 h 265"/>
                <a:gd name="T36" fmla="*/ 41 w 210"/>
                <a:gd name="T37" fmla="*/ 116 h 265"/>
                <a:gd name="T38" fmla="*/ 61 w 210"/>
                <a:gd name="T39" fmla="*/ 119 h 265"/>
                <a:gd name="T40" fmla="*/ 64 w 210"/>
                <a:gd name="T41" fmla="*/ 116 h 265"/>
                <a:gd name="T42" fmla="*/ 50 w 210"/>
                <a:gd name="T43" fmla="*/ 103 h 265"/>
                <a:gd name="T44" fmla="*/ 50 w 210"/>
                <a:gd name="T45" fmla="*/ 95 h 265"/>
                <a:gd name="T46" fmla="*/ 67 w 210"/>
                <a:gd name="T47" fmla="*/ 79 h 265"/>
                <a:gd name="T48" fmla="*/ 71 w 210"/>
                <a:gd name="T49" fmla="*/ 78 h 265"/>
                <a:gd name="T50" fmla="*/ 60 w 210"/>
                <a:gd name="T51" fmla="*/ 56 h 265"/>
                <a:gd name="T52" fmla="*/ 66 w 210"/>
                <a:gd name="T53" fmla="*/ 52 h 265"/>
                <a:gd name="T54" fmla="*/ 68 w 210"/>
                <a:gd name="T55" fmla="*/ 35 h 265"/>
                <a:gd name="T56" fmla="*/ 73 w 210"/>
                <a:gd name="T57" fmla="*/ 29 h 265"/>
                <a:gd name="T58" fmla="*/ 80 w 210"/>
                <a:gd name="T59" fmla="*/ 12 h 265"/>
                <a:gd name="T60" fmla="*/ 89 w 210"/>
                <a:gd name="T61" fmla="*/ 32 h 265"/>
                <a:gd name="T62" fmla="*/ 96 w 210"/>
                <a:gd name="T63" fmla="*/ 26 h 265"/>
                <a:gd name="T64" fmla="*/ 101 w 210"/>
                <a:gd name="T65" fmla="*/ 0 h 265"/>
                <a:gd name="T66" fmla="*/ 111 w 210"/>
                <a:gd name="T67" fmla="*/ 5 h 265"/>
                <a:gd name="T68" fmla="*/ 127 w 210"/>
                <a:gd name="T69" fmla="*/ 19 h 265"/>
                <a:gd name="T70" fmla="*/ 120 w 210"/>
                <a:gd name="T71" fmla="*/ 32 h 265"/>
                <a:gd name="T72" fmla="*/ 113 w 210"/>
                <a:gd name="T73" fmla="*/ 63 h 265"/>
                <a:gd name="T74" fmla="*/ 107 w 210"/>
                <a:gd name="T75" fmla="*/ 102 h 265"/>
                <a:gd name="T76" fmla="*/ 111 w 210"/>
                <a:gd name="T77" fmla="*/ 100 h 265"/>
                <a:gd name="T78" fmla="*/ 117 w 210"/>
                <a:gd name="T79" fmla="*/ 82 h 265"/>
                <a:gd name="T80" fmla="*/ 133 w 210"/>
                <a:gd name="T81" fmla="*/ 60 h 265"/>
                <a:gd name="T82" fmla="*/ 139 w 210"/>
                <a:gd name="T83" fmla="*/ 53 h 265"/>
                <a:gd name="T84" fmla="*/ 143 w 210"/>
                <a:gd name="T85" fmla="*/ 49 h 265"/>
                <a:gd name="T86" fmla="*/ 149 w 210"/>
                <a:gd name="T87" fmla="*/ 45 h 265"/>
                <a:gd name="T88" fmla="*/ 154 w 210"/>
                <a:gd name="T89" fmla="*/ 47 h 265"/>
                <a:gd name="T90" fmla="*/ 156 w 210"/>
                <a:gd name="T91" fmla="*/ 60 h 265"/>
                <a:gd name="T92" fmla="*/ 166 w 210"/>
                <a:gd name="T93" fmla="*/ 70 h 265"/>
                <a:gd name="T94" fmla="*/ 174 w 210"/>
                <a:gd name="T95" fmla="*/ 90 h 265"/>
                <a:gd name="T96" fmla="*/ 174 w 210"/>
                <a:gd name="T97" fmla="*/ 98 h 265"/>
                <a:gd name="T98" fmla="*/ 184 w 210"/>
                <a:gd name="T99" fmla="*/ 103 h 265"/>
                <a:gd name="T100" fmla="*/ 199 w 210"/>
                <a:gd name="T101" fmla="*/ 99 h 265"/>
                <a:gd name="T102" fmla="*/ 206 w 210"/>
                <a:gd name="T103" fmla="*/ 118 h 265"/>
                <a:gd name="T104" fmla="*/ 210 w 210"/>
                <a:gd name="T105" fmla="*/ 145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" h="265">
                  <a:moveTo>
                    <a:pt x="210" y="151"/>
                  </a:moveTo>
                  <a:lnTo>
                    <a:pt x="206" y="162"/>
                  </a:lnTo>
                  <a:lnTo>
                    <a:pt x="203" y="169"/>
                  </a:lnTo>
                  <a:lnTo>
                    <a:pt x="200" y="182"/>
                  </a:lnTo>
                  <a:lnTo>
                    <a:pt x="196" y="188"/>
                  </a:lnTo>
                  <a:lnTo>
                    <a:pt x="194" y="191"/>
                  </a:lnTo>
                  <a:lnTo>
                    <a:pt x="192" y="191"/>
                  </a:lnTo>
                  <a:lnTo>
                    <a:pt x="190" y="189"/>
                  </a:lnTo>
                  <a:lnTo>
                    <a:pt x="187" y="188"/>
                  </a:lnTo>
                  <a:lnTo>
                    <a:pt x="183" y="191"/>
                  </a:lnTo>
                  <a:lnTo>
                    <a:pt x="180" y="191"/>
                  </a:lnTo>
                  <a:lnTo>
                    <a:pt x="177" y="191"/>
                  </a:lnTo>
                  <a:lnTo>
                    <a:pt x="174" y="192"/>
                  </a:lnTo>
                  <a:lnTo>
                    <a:pt x="169" y="195"/>
                  </a:lnTo>
                  <a:lnTo>
                    <a:pt x="160" y="202"/>
                  </a:lnTo>
                  <a:lnTo>
                    <a:pt x="160" y="204"/>
                  </a:lnTo>
                  <a:lnTo>
                    <a:pt x="159" y="205"/>
                  </a:lnTo>
                  <a:lnTo>
                    <a:pt x="157" y="205"/>
                  </a:lnTo>
                  <a:lnTo>
                    <a:pt x="154" y="205"/>
                  </a:lnTo>
                  <a:lnTo>
                    <a:pt x="150" y="204"/>
                  </a:lnTo>
                  <a:lnTo>
                    <a:pt x="146" y="204"/>
                  </a:lnTo>
                  <a:lnTo>
                    <a:pt x="143" y="205"/>
                  </a:lnTo>
                  <a:lnTo>
                    <a:pt x="141" y="208"/>
                  </a:lnTo>
                  <a:lnTo>
                    <a:pt x="139" y="211"/>
                  </a:lnTo>
                  <a:lnTo>
                    <a:pt x="137" y="211"/>
                  </a:lnTo>
                  <a:lnTo>
                    <a:pt x="136" y="209"/>
                  </a:lnTo>
                  <a:lnTo>
                    <a:pt x="131" y="209"/>
                  </a:lnTo>
                  <a:lnTo>
                    <a:pt x="129" y="211"/>
                  </a:lnTo>
                  <a:lnTo>
                    <a:pt x="127" y="214"/>
                  </a:lnTo>
                  <a:lnTo>
                    <a:pt x="127" y="215"/>
                  </a:lnTo>
                  <a:lnTo>
                    <a:pt x="127" y="219"/>
                  </a:lnTo>
                  <a:lnTo>
                    <a:pt x="129" y="221"/>
                  </a:lnTo>
                  <a:lnTo>
                    <a:pt x="130" y="222"/>
                  </a:lnTo>
                  <a:lnTo>
                    <a:pt x="129" y="227"/>
                  </a:lnTo>
                  <a:lnTo>
                    <a:pt x="126" y="227"/>
                  </a:lnTo>
                  <a:lnTo>
                    <a:pt x="126" y="227"/>
                  </a:lnTo>
                  <a:lnTo>
                    <a:pt x="127" y="222"/>
                  </a:lnTo>
                  <a:lnTo>
                    <a:pt x="127" y="222"/>
                  </a:lnTo>
                  <a:lnTo>
                    <a:pt x="126" y="222"/>
                  </a:lnTo>
                  <a:lnTo>
                    <a:pt x="124" y="222"/>
                  </a:lnTo>
                  <a:lnTo>
                    <a:pt x="121" y="222"/>
                  </a:lnTo>
                  <a:lnTo>
                    <a:pt x="120" y="221"/>
                  </a:lnTo>
                  <a:lnTo>
                    <a:pt x="120" y="219"/>
                  </a:lnTo>
                  <a:lnTo>
                    <a:pt x="119" y="215"/>
                  </a:lnTo>
                  <a:lnTo>
                    <a:pt x="116" y="215"/>
                  </a:lnTo>
                  <a:lnTo>
                    <a:pt x="113" y="214"/>
                  </a:lnTo>
                  <a:lnTo>
                    <a:pt x="110" y="215"/>
                  </a:lnTo>
                  <a:lnTo>
                    <a:pt x="104" y="215"/>
                  </a:lnTo>
                  <a:lnTo>
                    <a:pt x="101" y="216"/>
                  </a:lnTo>
                  <a:lnTo>
                    <a:pt x="99" y="218"/>
                  </a:lnTo>
                  <a:lnTo>
                    <a:pt x="97" y="219"/>
                  </a:lnTo>
                  <a:lnTo>
                    <a:pt x="96" y="219"/>
                  </a:lnTo>
                  <a:lnTo>
                    <a:pt x="93" y="218"/>
                  </a:lnTo>
                  <a:lnTo>
                    <a:pt x="89" y="218"/>
                  </a:lnTo>
                  <a:lnTo>
                    <a:pt x="84" y="218"/>
                  </a:lnTo>
                  <a:lnTo>
                    <a:pt x="81" y="218"/>
                  </a:lnTo>
                  <a:lnTo>
                    <a:pt x="77" y="218"/>
                  </a:lnTo>
                  <a:lnTo>
                    <a:pt x="71" y="218"/>
                  </a:lnTo>
                  <a:lnTo>
                    <a:pt x="67" y="221"/>
                  </a:lnTo>
                  <a:lnTo>
                    <a:pt x="63" y="225"/>
                  </a:lnTo>
                  <a:lnTo>
                    <a:pt x="56" y="234"/>
                  </a:lnTo>
                  <a:lnTo>
                    <a:pt x="44" y="244"/>
                  </a:lnTo>
                  <a:lnTo>
                    <a:pt x="34" y="251"/>
                  </a:lnTo>
                  <a:lnTo>
                    <a:pt x="24" y="259"/>
                  </a:lnTo>
                  <a:lnTo>
                    <a:pt x="20" y="262"/>
                  </a:lnTo>
                  <a:lnTo>
                    <a:pt x="17" y="262"/>
                  </a:lnTo>
                  <a:lnTo>
                    <a:pt x="14" y="261"/>
                  </a:lnTo>
                  <a:lnTo>
                    <a:pt x="11" y="259"/>
                  </a:lnTo>
                  <a:lnTo>
                    <a:pt x="11" y="259"/>
                  </a:lnTo>
                  <a:lnTo>
                    <a:pt x="10" y="261"/>
                  </a:lnTo>
                  <a:lnTo>
                    <a:pt x="10" y="264"/>
                  </a:lnTo>
                  <a:lnTo>
                    <a:pt x="7" y="265"/>
                  </a:lnTo>
                  <a:lnTo>
                    <a:pt x="5" y="264"/>
                  </a:lnTo>
                  <a:lnTo>
                    <a:pt x="5" y="261"/>
                  </a:lnTo>
                  <a:lnTo>
                    <a:pt x="5" y="259"/>
                  </a:lnTo>
                  <a:lnTo>
                    <a:pt x="4" y="259"/>
                  </a:lnTo>
                  <a:lnTo>
                    <a:pt x="1" y="258"/>
                  </a:lnTo>
                  <a:lnTo>
                    <a:pt x="3" y="257"/>
                  </a:lnTo>
                  <a:lnTo>
                    <a:pt x="3" y="254"/>
                  </a:lnTo>
                  <a:lnTo>
                    <a:pt x="3" y="252"/>
                  </a:lnTo>
                  <a:lnTo>
                    <a:pt x="0" y="248"/>
                  </a:lnTo>
                  <a:lnTo>
                    <a:pt x="0" y="244"/>
                  </a:lnTo>
                  <a:lnTo>
                    <a:pt x="0" y="242"/>
                  </a:lnTo>
                  <a:lnTo>
                    <a:pt x="5" y="231"/>
                  </a:lnTo>
                  <a:lnTo>
                    <a:pt x="18" y="204"/>
                  </a:lnTo>
                  <a:lnTo>
                    <a:pt x="23" y="198"/>
                  </a:lnTo>
                  <a:lnTo>
                    <a:pt x="25" y="194"/>
                  </a:lnTo>
                  <a:lnTo>
                    <a:pt x="25" y="191"/>
                  </a:lnTo>
                  <a:lnTo>
                    <a:pt x="25" y="188"/>
                  </a:lnTo>
                  <a:lnTo>
                    <a:pt x="24" y="182"/>
                  </a:lnTo>
                  <a:lnTo>
                    <a:pt x="24" y="179"/>
                  </a:lnTo>
                  <a:lnTo>
                    <a:pt x="24" y="178"/>
                  </a:lnTo>
                  <a:lnTo>
                    <a:pt x="27" y="178"/>
                  </a:lnTo>
                  <a:lnTo>
                    <a:pt x="28" y="176"/>
                  </a:lnTo>
                  <a:lnTo>
                    <a:pt x="30" y="172"/>
                  </a:lnTo>
                  <a:lnTo>
                    <a:pt x="30" y="168"/>
                  </a:lnTo>
                  <a:lnTo>
                    <a:pt x="30" y="166"/>
                  </a:lnTo>
                  <a:lnTo>
                    <a:pt x="28" y="164"/>
                  </a:lnTo>
                  <a:lnTo>
                    <a:pt x="28" y="164"/>
                  </a:lnTo>
                  <a:lnTo>
                    <a:pt x="31" y="162"/>
                  </a:lnTo>
                  <a:lnTo>
                    <a:pt x="31" y="161"/>
                  </a:lnTo>
                  <a:lnTo>
                    <a:pt x="31" y="155"/>
                  </a:lnTo>
                  <a:lnTo>
                    <a:pt x="31" y="152"/>
                  </a:lnTo>
                  <a:lnTo>
                    <a:pt x="36" y="146"/>
                  </a:lnTo>
                  <a:lnTo>
                    <a:pt x="36" y="143"/>
                  </a:lnTo>
                  <a:lnTo>
                    <a:pt x="34" y="143"/>
                  </a:lnTo>
                  <a:lnTo>
                    <a:pt x="33" y="142"/>
                  </a:lnTo>
                  <a:lnTo>
                    <a:pt x="34" y="141"/>
                  </a:lnTo>
                  <a:lnTo>
                    <a:pt x="34" y="141"/>
                  </a:lnTo>
                  <a:lnTo>
                    <a:pt x="36" y="139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25"/>
                  </a:lnTo>
                  <a:lnTo>
                    <a:pt x="41" y="116"/>
                  </a:lnTo>
                  <a:lnTo>
                    <a:pt x="44" y="111"/>
                  </a:lnTo>
                  <a:lnTo>
                    <a:pt x="46" y="109"/>
                  </a:lnTo>
                  <a:lnTo>
                    <a:pt x="47" y="111"/>
                  </a:lnTo>
                  <a:lnTo>
                    <a:pt x="53" y="116"/>
                  </a:lnTo>
                  <a:lnTo>
                    <a:pt x="57" y="118"/>
                  </a:lnTo>
                  <a:lnTo>
                    <a:pt x="61" y="119"/>
                  </a:lnTo>
                  <a:lnTo>
                    <a:pt x="63" y="121"/>
                  </a:lnTo>
                  <a:lnTo>
                    <a:pt x="64" y="121"/>
                  </a:lnTo>
                  <a:lnTo>
                    <a:pt x="66" y="119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4" y="116"/>
                  </a:lnTo>
                  <a:lnTo>
                    <a:pt x="60" y="116"/>
                  </a:lnTo>
                  <a:lnTo>
                    <a:pt x="53" y="113"/>
                  </a:lnTo>
                  <a:lnTo>
                    <a:pt x="50" y="111"/>
                  </a:lnTo>
                  <a:lnTo>
                    <a:pt x="50" y="108"/>
                  </a:lnTo>
                  <a:lnTo>
                    <a:pt x="51" y="105"/>
                  </a:lnTo>
                  <a:lnTo>
                    <a:pt x="50" y="103"/>
                  </a:lnTo>
                  <a:lnTo>
                    <a:pt x="48" y="102"/>
                  </a:lnTo>
                  <a:lnTo>
                    <a:pt x="50" y="100"/>
                  </a:lnTo>
                  <a:lnTo>
                    <a:pt x="50" y="99"/>
                  </a:lnTo>
                  <a:lnTo>
                    <a:pt x="48" y="98"/>
                  </a:lnTo>
                  <a:lnTo>
                    <a:pt x="50" y="96"/>
                  </a:lnTo>
                  <a:lnTo>
                    <a:pt x="50" y="95"/>
                  </a:lnTo>
                  <a:lnTo>
                    <a:pt x="53" y="85"/>
                  </a:lnTo>
                  <a:lnTo>
                    <a:pt x="56" y="76"/>
                  </a:lnTo>
                  <a:lnTo>
                    <a:pt x="57" y="73"/>
                  </a:lnTo>
                  <a:lnTo>
                    <a:pt x="58" y="73"/>
                  </a:lnTo>
                  <a:lnTo>
                    <a:pt x="64" y="75"/>
                  </a:lnTo>
                  <a:lnTo>
                    <a:pt x="67" y="79"/>
                  </a:lnTo>
                  <a:lnTo>
                    <a:pt x="71" y="82"/>
                  </a:lnTo>
                  <a:lnTo>
                    <a:pt x="76" y="82"/>
                  </a:lnTo>
                  <a:lnTo>
                    <a:pt x="78" y="83"/>
                  </a:lnTo>
                  <a:lnTo>
                    <a:pt x="78" y="80"/>
                  </a:lnTo>
                  <a:lnTo>
                    <a:pt x="76" y="80"/>
                  </a:lnTo>
                  <a:lnTo>
                    <a:pt x="71" y="78"/>
                  </a:lnTo>
                  <a:lnTo>
                    <a:pt x="67" y="73"/>
                  </a:lnTo>
                  <a:lnTo>
                    <a:pt x="61" y="70"/>
                  </a:lnTo>
                  <a:lnTo>
                    <a:pt x="58" y="69"/>
                  </a:lnTo>
                  <a:lnTo>
                    <a:pt x="57" y="66"/>
                  </a:lnTo>
                  <a:lnTo>
                    <a:pt x="57" y="62"/>
                  </a:lnTo>
                  <a:lnTo>
                    <a:pt x="60" y="56"/>
                  </a:lnTo>
                  <a:lnTo>
                    <a:pt x="61" y="55"/>
                  </a:lnTo>
                  <a:lnTo>
                    <a:pt x="66" y="56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3"/>
                  </a:lnTo>
                  <a:lnTo>
                    <a:pt x="66" y="52"/>
                  </a:lnTo>
                  <a:lnTo>
                    <a:pt x="61" y="52"/>
                  </a:lnTo>
                  <a:lnTo>
                    <a:pt x="61" y="50"/>
                  </a:lnTo>
                  <a:lnTo>
                    <a:pt x="63" y="47"/>
                  </a:lnTo>
                  <a:lnTo>
                    <a:pt x="64" y="43"/>
                  </a:lnTo>
                  <a:lnTo>
                    <a:pt x="66" y="36"/>
                  </a:lnTo>
                  <a:lnTo>
                    <a:pt x="68" y="35"/>
                  </a:lnTo>
                  <a:lnTo>
                    <a:pt x="70" y="35"/>
                  </a:lnTo>
                  <a:lnTo>
                    <a:pt x="73" y="36"/>
                  </a:lnTo>
                  <a:lnTo>
                    <a:pt x="74" y="35"/>
                  </a:lnTo>
                  <a:lnTo>
                    <a:pt x="74" y="33"/>
                  </a:lnTo>
                  <a:lnTo>
                    <a:pt x="74" y="32"/>
                  </a:lnTo>
                  <a:lnTo>
                    <a:pt x="73" y="29"/>
                  </a:lnTo>
                  <a:lnTo>
                    <a:pt x="73" y="22"/>
                  </a:lnTo>
                  <a:lnTo>
                    <a:pt x="73" y="16"/>
                  </a:lnTo>
                  <a:lnTo>
                    <a:pt x="74" y="15"/>
                  </a:lnTo>
                  <a:lnTo>
                    <a:pt x="76" y="15"/>
                  </a:lnTo>
                  <a:lnTo>
                    <a:pt x="78" y="13"/>
                  </a:lnTo>
                  <a:lnTo>
                    <a:pt x="80" y="12"/>
                  </a:lnTo>
                  <a:lnTo>
                    <a:pt x="81" y="12"/>
                  </a:lnTo>
                  <a:lnTo>
                    <a:pt x="83" y="13"/>
                  </a:lnTo>
                  <a:lnTo>
                    <a:pt x="84" y="17"/>
                  </a:lnTo>
                  <a:lnTo>
                    <a:pt x="84" y="25"/>
                  </a:lnTo>
                  <a:lnTo>
                    <a:pt x="84" y="29"/>
                  </a:lnTo>
                  <a:lnTo>
                    <a:pt x="89" y="32"/>
                  </a:lnTo>
                  <a:lnTo>
                    <a:pt x="91" y="33"/>
                  </a:lnTo>
                  <a:lnTo>
                    <a:pt x="93" y="35"/>
                  </a:lnTo>
                  <a:lnTo>
                    <a:pt x="97" y="35"/>
                  </a:lnTo>
                  <a:lnTo>
                    <a:pt x="97" y="33"/>
                  </a:lnTo>
                  <a:lnTo>
                    <a:pt x="97" y="30"/>
                  </a:lnTo>
                  <a:lnTo>
                    <a:pt x="96" y="26"/>
                  </a:lnTo>
                  <a:lnTo>
                    <a:pt x="94" y="22"/>
                  </a:lnTo>
                  <a:lnTo>
                    <a:pt x="94" y="15"/>
                  </a:lnTo>
                  <a:lnTo>
                    <a:pt x="94" y="9"/>
                  </a:lnTo>
                  <a:lnTo>
                    <a:pt x="96" y="3"/>
                  </a:lnTo>
                  <a:lnTo>
                    <a:pt x="100" y="0"/>
                  </a:lnTo>
                  <a:lnTo>
                    <a:pt x="101" y="0"/>
                  </a:lnTo>
                  <a:lnTo>
                    <a:pt x="101" y="2"/>
                  </a:lnTo>
                  <a:lnTo>
                    <a:pt x="101" y="5"/>
                  </a:lnTo>
                  <a:lnTo>
                    <a:pt x="103" y="5"/>
                  </a:lnTo>
                  <a:lnTo>
                    <a:pt x="104" y="5"/>
                  </a:lnTo>
                  <a:lnTo>
                    <a:pt x="106" y="3"/>
                  </a:lnTo>
                  <a:lnTo>
                    <a:pt x="111" y="5"/>
                  </a:lnTo>
                  <a:lnTo>
                    <a:pt x="116" y="9"/>
                  </a:lnTo>
                  <a:lnTo>
                    <a:pt x="119" y="16"/>
                  </a:lnTo>
                  <a:lnTo>
                    <a:pt x="120" y="17"/>
                  </a:lnTo>
                  <a:lnTo>
                    <a:pt x="124" y="17"/>
                  </a:lnTo>
                  <a:lnTo>
                    <a:pt x="127" y="17"/>
                  </a:lnTo>
                  <a:lnTo>
                    <a:pt x="127" y="19"/>
                  </a:lnTo>
                  <a:lnTo>
                    <a:pt x="126" y="22"/>
                  </a:lnTo>
                  <a:lnTo>
                    <a:pt x="124" y="26"/>
                  </a:lnTo>
                  <a:lnTo>
                    <a:pt x="121" y="26"/>
                  </a:lnTo>
                  <a:lnTo>
                    <a:pt x="120" y="27"/>
                  </a:lnTo>
                  <a:lnTo>
                    <a:pt x="120" y="29"/>
                  </a:lnTo>
                  <a:lnTo>
                    <a:pt x="120" y="32"/>
                  </a:lnTo>
                  <a:lnTo>
                    <a:pt x="117" y="37"/>
                  </a:lnTo>
                  <a:lnTo>
                    <a:pt x="116" y="45"/>
                  </a:lnTo>
                  <a:lnTo>
                    <a:pt x="116" y="49"/>
                  </a:lnTo>
                  <a:lnTo>
                    <a:pt x="117" y="53"/>
                  </a:lnTo>
                  <a:lnTo>
                    <a:pt x="114" y="58"/>
                  </a:lnTo>
                  <a:lnTo>
                    <a:pt x="113" y="63"/>
                  </a:lnTo>
                  <a:lnTo>
                    <a:pt x="114" y="68"/>
                  </a:lnTo>
                  <a:lnTo>
                    <a:pt x="114" y="80"/>
                  </a:lnTo>
                  <a:lnTo>
                    <a:pt x="114" y="86"/>
                  </a:lnTo>
                  <a:lnTo>
                    <a:pt x="111" y="90"/>
                  </a:lnTo>
                  <a:lnTo>
                    <a:pt x="110" y="96"/>
                  </a:lnTo>
                  <a:lnTo>
                    <a:pt x="107" y="102"/>
                  </a:lnTo>
                  <a:lnTo>
                    <a:pt x="106" y="106"/>
                  </a:lnTo>
                  <a:lnTo>
                    <a:pt x="106" y="108"/>
                  </a:lnTo>
                  <a:lnTo>
                    <a:pt x="107" y="108"/>
                  </a:lnTo>
                  <a:lnTo>
                    <a:pt x="109" y="108"/>
                  </a:lnTo>
                  <a:lnTo>
                    <a:pt x="110" y="105"/>
                  </a:lnTo>
                  <a:lnTo>
                    <a:pt x="111" y="100"/>
                  </a:lnTo>
                  <a:lnTo>
                    <a:pt x="113" y="99"/>
                  </a:lnTo>
                  <a:lnTo>
                    <a:pt x="113" y="96"/>
                  </a:lnTo>
                  <a:lnTo>
                    <a:pt x="114" y="95"/>
                  </a:lnTo>
                  <a:lnTo>
                    <a:pt x="114" y="92"/>
                  </a:lnTo>
                  <a:lnTo>
                    <a:pt x="116" y="89"/>
                  </a:lnTo>
                  <a:lnTo>
                    <a:pt x="117" y="82"/>
                  </a:lnTo>
                  <a:lnTo>
                    <a:pt x="120" y="70"/>
                  </a:lnTo>
                  <a:lnTo>
                    <a:pt x="121" y="66"/>
                  </a:lnTo>
                  <a:lnTo>
                    <a:pt x="126" y="66"/>
                  </a:lnTo>
                  <a:lnTo>
                    <a:pt x="129" y="65"/>
                  </a:lnTo>
                  <a:lnTo>
                    <a:pt x="131" y="63"/>
                  </a:lnTo>
                  <a:lnTo>
                    <a:pt x="133" y="60"/>
                  </a:lnTo>
                  <a:lnTo>
                    <a:pt x="134" y="58"/>
                  </a:lnTo>
                  <a:lnTo>
                    <a:pt x="134" y="55"/>
                  </a:lnTo>
                  <a:lnTo>
                    <a:pt x="134" y="53"/>
                  </a:lnTo>
                  <a:lnTo>
                    <a:pt x="136" y="55"/>
                  </a:lnTo>
                  <a:lnTo>
                    <a:pt x="137" y="55"/>
                  </a:lnTo>
                  <a:lnTo>
                    <a:pt x="139" y="53"/>
                  </a:lnTo>
                  <a:lnTo>
                    <a:pt x="139" y="50"/>
                  </a:lnTo>
                  <a:lnTo>
                    <a:pt x="140" y="46"/>
                  </a:lnTo>
                  <a:lnTo>
                    <a:pt x="140" y="42"/>
                  </a:lnTo>
                  <a:lnTo>
                    <a:pt x="141" y="40"/>
                  </a:lnTo>
                  <a:lnTo>
                    <a:pt x="144" y="40"/>
                  </a:lnTo>
                  <a:lnTo>
                    <a:pt x="143" y="49"/>
                  </a:lnTo>
                  <a:lnTo>
                    <a:pt x="143" y="50"/>
                  </a:lnTo>
                  <a:lnTo>
                    <a:pt x="146" y="50"/>
                  </a:lnTo>
                  <a:lnTo>
                    <a:pt x="146" y="49"/>
                  </a:lnTo>
                  <a:lnTo>
                    <a:pt x="146" y="47"/>
                  </a:lnTo>
                  <a:lnTo>
                    <a:pt x="149" y="46"/>
                  </a:lnTo>
                  <a:lnTo>
                    <a:pt x="149" y="45"/>
                  </a:lnTo>
                  <a:lnTo>
                    <a:pt x="149" y="42"/>
                  </a:lnTo>
                  <a:lnTo>
                    <a:pt x="150" y="40"/>
                  </a:lnTo>
                  <a:lnTo>
                    <a:pt x="152" y="40"/>
                  </a:lnTo>
                  <a:lnTo>
                    <a:pt x="152" y="43"/>
                  </a:lnTo>
                  <a:lnTo>
                    <a:pt x="152" y="47"/>
                  </a:lnTo>
                  <a:lnTo>
                    <a:pt x="154" y="47"/>
                  </a:lnTo>
                  <a:lnTo>
                    <a:pt x="156" y="49"/>
                  </a:lnTo>
                  <a:lnTo>
                    <a:pt x="157" y="49"/>
                  </a:lnTo>
                  <a:lnTo>
                    <a:pt x="157" y="50"/>
                  </a:lnTo>
                  <a:lnTo>
                    <a:pt x="157" y="52"/>
                  </a:lnTo>
                  <a:lnTo>
                    <a:pt x="156" y="58"/>
                  </a:lnTo>
                  <a:lnTo>
                    <a:pt x="156" y="60"/>
                  </a:lnTo>
                  <a:lnTo>
                    <a:pt x="159" y="65"/>
                  </a:lnTo>
                  <a:lnTo>
                    <a:pt x="159" y="68"/>
                  </a:lnTo>
                  <a:lnTo>
                    <a:pt x="160" y="69"/>
                  </a:lnTo>
                  <a:lnTo>
                    <a:pt x="160" y="70"/>
                  </a:lnTo>
                  <a:lnTo>
                    <a:pt x="163" y="70"/>
                  </a:lnTo>
                  <a:lnTo>
                    <a:pt x="166" y="70"/>
                  </a:lnTo>
                  <a:lnTo>
                    <a:pt x="169" y="70"/>
                  </a:lnTo>
                  <a:lnTo>
                    <a:pt x="172" y="75"/>
                  </a:lnTo>
                  <a:lnTo>
                    <a:pt x="174" y="82"/>
                  </a:lnTo>
                  <a:lnTo>
                    <a:pt x="174" y="88"/>
                  </a:lnTo>
                  <a:lnTo>
                    <a:pt x="174" y="89"/>
                  </a:lnTo>
                  <a:lnTo>
                    <a:pt x="174" y="90"/>
                  </a:lnTo>
                  <a:lnTo>
                    <a:pt x="177" y="92"/>
                  </a:lnTo>
                  <a:lnTo>
                    <a:pt x="179" y="93"/>
                  </a:lnTo>
                  <a:lnTo>
                    <a:pt x="177" y="95"/>
                  </a:lnTo>
                  <a:lnTo>
                    <a:pt x="176" y="96"/>
                  </a:lnTo>
                  <a:lnTo>
                    <a:pt x="173" y="98"/>
                  </a:lnTo>
                  <a:lnTo>
                    <a:pt x="174" y="98"/>
                  </a:lnTo>
                  <a:lnTo>
                    <a:pt x="179" y="99"/>
                  </a:lnTo>
                  <a:lnTo>
                    <a:pt x="182" y="100"/>
                  </a:lnTo>
                  <a:lnTo>
                    <a:pt x="182" y="103"/>
                  </a:lnTo>
                  <a:lnTo>
                    <a:pt x="182" y="105"/>
                  </a:lnTo>
                  <a:lnTo>
                    <a:pt x="183" y="105"/>
                  </a:lnTo>
                  <a:lnTo>
                    <a:pt x="184" y="103"/>
                  </a:lnTo>
                  <a:lnTo>
                    <a:pt x="184" y="100"/>
                  </a:lnTo>
                  <a:lnTo>
                    <a:pt x="184" y="98"/>
                  </a:lnTo>
                  <a:lnTo>
                    <a:pt x="186" y="96"/>
                  </a:lnTo>
                  <a:lnTo>
                    <a:pt x="189" y="95"/>
                  </a:lnTo>
                  <a:lnTo>
                    <a:pt x="193" y="96"/>
                  </a:lnTo>
                  <a:lnTo>
                    <a:pt x="199" y="99"/>
                  </a:lnTo>
                  <a:lnTo>
                    <a:pt x="202" y="103"/>
                  </a:lnTo>
                  <a:lnTo>
                    <a:pt x="205" y="108"/>
                  </a:lnTo>
                  <a:lnTo>
                    <a:pt x="206" y="112"/>
                  </a:lnTo>
                  <a:lnTo>
                    <a:pt x="205" y="116"/>
                  </a:lnTo>
                  <a:lnTo>
                    <a:pt x="205" y="118"/>
                  </a:lnTo>
                  <a:lnTo>
                    <a:pt x="206" y="118"/>
                  </a:lnTo>
                  <a:lnTo>
                    <a:pt x="207" y="121"/>
                  </a:lnTo>
                  <a:lnTo>
                    <a:pt x="207" y="125"/>
                  </a:lnTo>
                  <a:lnTo>
                    <a:pt x="207" y="129"/>
                  </a:lnTo>
                  <a:lnTo>
                    <a:pt x="207" y="135"/>
                  </a:lnTo>
                  <a:lnTo>
                    <a:pt x="207" y="138"/>
                  </a:lnTo>
                  <a:lnTo>
                    <a:pt x="210" y="145"/>
                  </a:lnTo>
                  <a:lnTo>
                    <a:pt x="210" y="151"/>
                  </a:lnTo>
                  <a:lnTo>
                    <a:pt x="210" y="15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61" name="Freeform 510"/>
            <p:cNvSpPr>
              <a:spLocks/>
            </p:cNvSpPr>
            <p:nvPr/>
          </p:nvSpPr>
          <p:spPr bwMode="auto">
            <a:xfrm>
              <a:off x="5744288" y="2587080"/>
              <a:ext cx="28086" cy="17198"/>
            </a:xfrm>
            <a:custGeom>
              <a:avLst/>
              <a:gdLst>
                <a:gd name="T0" fmla="*/ 44 w 45"/>
                <a:gd name="T1" fmla="*/ 15 h 26"/>
                <a:gd name="T2" fmla="*/ 45 w 45"/>
                <a:gd name="T3" fmla="*/ 10 h 26"/>
                <a:gd name="T4" fmla="*/ 44 w 45"/>
                <a:gd name="T5" fmla="*/ 8 h 26"/>
                <a:gd name="T6" fmla="*/ 44 w 45"/>
                <a:gd name="T7" fmla="*/ 7 h 26"/>
                <a:gd name="T8" fmla="*/ 41 w 45"/>
                <a:gd name="T9" fmla="*/ 8 h 26"/>
                <a:gd name="T10" fmla="*/ 40 w 45"/>
                <a:gd name="T11" fmla="*/ 7 h 26"/>
                <a:gd name="T12" fmla="*/ 41 w 45"/>
                <a:gd name="T13" fmla="*/ 5 h 26"/>
                <a:gd name="T14" fmla="*/ 43 w 45"/>
                <a:gd name="T15" fmla="*/ 4 h 26"/>
                <a:gd name="T16" fmla="*/ 43 w 45"/>
                <a:gd name="T17" fmla="*/ 3 h 26"/>
                <a:gd name="T18" fmla="*/ 40 w 45"/>
                <a:gd name="T19" fmla="*/ 0 h 26"/>
                <a:gd name="T20" fmla="*/ 35 w 45"/>
                <a:gd name="T21" fmla="*/ 0 h 26"/>
                <a:gd name="T22" fmla="*/ 34 w 45"/>
                <a:gd name="T23" fmla="*/ 0 h 26"/>
                <a:gd name="T24" fmla="*/ 28 w 45"/>
                <a:gd name="T25" fmla="*/ 5 h 26"/>
                <a:gd name="T26" fmla="*/ 28 w 45"/>
                <a:gd name="T27" fmla="*/ 7 h 26"/>
                <a:gd name="T28" fmla="*/ 24 w 45"/>
                <a:gd name="T29" fmla="*/ 7 h 26"/>
                <a:gd name="T30" fmla="*/ 21 w 45"/>
                <a:gd name="T31" fmla="*/ 7 h 26"/>
                <a:gd name="T32" fmla="*/ 20 w 45"/>
                <a:gd name="T33" fmla="*/ 8 h 26"/>
                <a:gd name="T34" fmla="*/ 18 w 45"/>
                <a:gd name="T35" fmla="*/ 8 h 26"/>
                <a:gd name="T36" fmla="*/ 15 w 45"/>
                <a:gd name="T37" fmla="*/ 7 h 26"/>
                <a:gd name="T38" fmla="*/ 14 w 45"/>
                <a:gd name="T39" fmla="*/ 7 h 26"/>
                <a:gd name="T40" fmla="*/ 13 w 45"/>
                <a:gd name="T41" fmla="*/ 7 h 26"/>
                <a:gd name="T42" fmla="*/ 10 w 45"/>
                <a:gd name="T43" fmla="*/ 8 h 26"/>
                <a:gd name="T44" fmla="*/ 7 w 45"/>
                <a:gd name="T45" fmla="*/ 10 h 26"/>
                <a:gd name="T46" fmla="*/ 2 w 45"/>
                <a:gd name="T47" fmla="*/ 10 h 26"/>
                <a:gd name="T48" fmla="*/ 1 w 45"/>
                <a:gd name="T49" fmla="*/ 11 h 26"/>
                <a:gd name="T50" fmla="*/ 0 w 45"/>
                <a:gd name="T51" fmla="*/ 14 h 26"/>
                <a:gd name="T52" fmla="*/ 1 w 45"/>
                <a:gd name="T53" fmla="*/ 17 h 26"/>
                <a:gd name="T54" fmla="*/ 7 w 45"/>
                <a:gd name="T55" fmla="*/ 20 h 26"/>
                <a:gd name="T56" fmla="*/ 13 w 45"/>
                <a:gd name="T57" fmla="*/ 20 h 26"/>
                <a:gd name="T58" fmla="*/ 23 w 45"/>
                <a:gd name="T59" fmla="*/ 21 h 26"/>
                <a:gd name="T60" fmla="*/ 30 w 45"/>
                <a:gd name="T61" fmla="*/ 23 h 26"/>
                <a:gd name="T62" fmla="*/ 33 w 45"/>
                <a:gd name="T63" fmla="*/ 23 h 26"/>
                <a:gd name="T64" fmla="*/ 34 w 45"/>
                <a:gd name="T65" fmla="*/ 20 h 26"/>
                <a:gd name="T66" fmla="*/ 34 w 45"/>
                <a:gd name="T67" fmla="*/ 18 h 26"/>
                <a:gd name="T68" fmla="*/ 35 w 45"/>
                <a:gd name="T69" fmla="*/ 20 h 26"/>
                <a:gd name="T70" fmla="*/ 35 w 45"/>
                <a:gd name="T71" fmla="*/ 21 h 26"/>
                <a:gd name="T72" fmla="*/ 35 w 45"/>
                <a:gd name="T73" fmla="*/ 23 h 26"/>
                <a:gd name="T74" fmla="*/ 37 w 45"/>
                <a:gd name="T75" fmla="*/ 24 h 26"/>
                <a:gd name="T76" fmla="*/ 38 w 45"/>
                <a:gd name="T77" fmla="*/ 26 h 26"/>
                <a:gd name="T78" fmla="*/ 40 w 45"/>
                <a:gd name="T79" fmla="*/ 26 h 26"/>
                <a:gd name="T80" fmla="*/ 41 w 45"/>
                <a:gd name="T81" fmla="*/ 24 h 26"/>
                <a:gd name="T82" fmla="*/ 44 w 45"/>
                <a:gd name="T83" fmla="*/ 20 h 26"/>
                <a:gd name="T84" fmla="*/ 44 w 45"/>
                <a:gd name="T85" fmla="*/ 15 h 26"/>
                <a:gd name="T86" fmla="*/ 44 w 45"/>
                <a:gd name="T87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5" h="26">
                  <a:moveTo>
                    <a:pt x="44" y="15"/>
                  </a:moveTo>
                  <a:lnTo>
                    <a:pt x="45" y="10"/>
                  </a:lnTo>
                  <a:lnTo>
                    <a:pt x="44" y="8"/>
                  </a:lnTo>
                  <a:lnTo>
                    <a:pt x="44" y="7"/>
                  </a:lnTo>
                  <a:lnTo>
                    <a:pt x="41" y="8"/>
                  </a:lnTo>
                  <a:lnTo>
                    <a:pt x="40" y="7"/>
                  </a:lnTo>
                  <a:lnTo>
                    <a:pt x="41" y="5"/>
                  </a:lnTo>
                  <a:lnTo>
                    <a:pt x="43" y="4"/>
                  </a:lnTo>
                  <a:lnTo>
                    <a:pt x="43" y="3"/>
                  </a:lnTo>
                  <a:lnTo>
                    <a:pt x="40" y="0"/>
                  </a:lnTo>
                  <a:lnTo>
                    <a:pt x="35" y="0"/>
                  </a:lnTo>
                  <a:lnTo>
                    <a:pt x="34" y="0"/>
                  </a:lnTo>
                  <a:lnTo>
                    <a:pt x="28" y="5"/>
                  </a:lnTo>
                  <a:lnTo>
                    <a:pt x="28" y="7"/>
                  </a:lnTo>
                  <a:lnTo>
                    <a:pt x="24" y="7"/>
                  </a:lnTo>
                  <a:lnTo>
                    <a:pt x="21" y="7"/>
                  </a:lnTo>
                  <a:lnTo>
                    <a:pt x="20" y="8"/>
                  </a:lnTo>
                  <a:lnTo>
                    <a:pt x="18" y="8"/>
                  </a:lnTo>
                  <a:lnTo>
                    <a:pt x="15" y="7"/>
                  </a:lnTo>
                  <a:lnTo>
                    <a:pt x="14" y="7"/>
                  </a:lnTo>
                  <a:lnTo>
                    <a:pt x="13" y="7"/>
                  </a:lnTo>
                  <a:lnTo>
                    <a:pt x="10" y="8"/>
                  </a:lnTo>
                  <a:lnTo>
                    <a:pt x="7" y="10"/>
                  </a:lnTo>
                  <a:lnTo>
                    <a:pt x="2" y="10"/>
                  </a:lnTo>
                  <a:lnTo>
                    <a:pt x="1" y="11"/>
                  </a:lnTo>
                  <a:lnTo>
                    <a:pt x="0" y="14"/>
                  </a:lnTo>
                  <a:lnTo>
                    <a:pt x="1" y="17"/>
                  </a:lnTo>
                  <a:lnTo>
                    <a:pt x="7" y="20"/>
                  </a:lnTo>
                  <a:lnTo>
                    <a:pt x="13" y="20"/>
                  </a:lnTo>
                  <a:lnTo>
                    <a:pt x="23" y="21"/>
                  </a:lnTo>
                  <a:lnTo>
                    <a:pt x="30" y="23"/>
                  </a:lnTo>
                  <a:lnTo>
                    <a:pt x="33" y="23"/>
                  </a:lnTo>
                  <a:lnTo>
                    <a:pt x="34" y="20"/>
                  </a:lnTo>
                  <a:lnTo>
                    <a:pt x="34" y="18"/>
                  </a:lnTo>
                  <a:lnTo>
                    <a:pt x="35" y="20"/>
                  </a:lnTo>
                  <a:lnTo>
                    <a:pt x="35" y="21"/>
                  </a:lnTo>
                  <a:lnTo>
                    <a:pt x="35" y="23"/>
                  </a:lnTo>
                  <a:lnTo>
                    <a:pt x="37" y="24"/>
                  </a:lnTo>
                  <a:lnTo>
                    <a:pt x="38" y="26"/>
                  </a:lnTo>
                  <a:lnTo>
                    <a:pt x="40" y="26"/>
                  </a:lnTo>
                  <a:lnTo>
                    <a:pt x="41" y="24"/>
                  </a:lnTo>
                  <a:lnTo>
                    <a:pt x="44" y="20"/>
                  </a:lnTo>
                  <a:lnTo>
                    <a:pt x="44" y="15"/>
                  </a:lnTo>
                  <a:lnTo>
                    <a:pt x="44" y="1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62" name="Freeform 511"/>
            <p:cNvSpPr>
              <a:spLocks/>
            </p:cNvSpPr>
            <p:nvPr/>
          </p:nvSpPr>
          <p:spPr bwMode="auto">
            <a:xfrm>
              <a:off x="5734519" y="2573850"/>
              <a:ext cx="14654" cy="18521"/>
            </a:xfrm>
            <a:custGeom>
              <a:avLst/>
              <a:gdLst>
                <a:gd name="T0" fmla="*/ 20 w 23"/>
                <a:gd name="T1" fmla="*/ 0 h 28"/>
                <a:gd name="T2" fmla="*/ 20 w 23"/>
                <a:gd name="T3" fmla="*/ 1 h 28"/>
                <a:gd name="T4" fmla="*/ 21 w 23"/>
                <a:gd name="T5" fmla="*/ 4 h 28"/>
                <a:gd name="T6" fmla="*/ 21 w 23"/>
                <a:gd name="T7" fmla="*/ 8 h 28"/>
                <a:gd name="T8" fmla="*/ 23 w 23"/>
                <a:gd name="T9" fmla="*/ 10 h 28"/>
                <a:gd name="T10" fmla="*/ 21 w 23"/>
                <a:gd name="T11" fmla="*/ 11 h 28"/>
                <a:gd name="T12" fmla="*/ 20 w 23"/>
                <a:gd name="T13" fmla="*/ 10 h 28"/>
                <a:gd name="T14" fmla="*/ 17 w 23"/>
                <a:gd name="T15" fmla="*/ 10 h 28"/>
                <a:gd name="T16" fmla="*/ 17 w 23"/>
                <a:gd name="T17" fmla="*/ 11 h 28"/>
                <a:gd name="T18" fmla="*/ 16 w 23"/>
                <a:gd name="T19" fmla="*/ 13 h 28"/>
                <a:gd name="T20" fmla="*/ 14 w 23"/>
                <a:gd name="T21" fmla="*/ 14 h 28"/>
                <a:gd name="T22" fmla="*/ 14 w 23"/>
                <a:gd name="T23" fmla="*/ 15 h 28"/>
                <a:gd name="T24" fmla="*/ 16 w 23"/>
                <a:gd name="T25" fmla="*/ 15 h 28"/>
                <a:gd name="T26" fmla="*/ 17 w 23"/>
                <a:gd name="T27" fmla="*/ 15 h 28"/>
                <a:gd name="T28" fmla="*/ 17 w 23"/>
                <a:gd name="T29" fmla="*/ 17 h 28"/>
                <a:gd name="T30" fmla="*/ 17 w 23"/>
                <a:gd name="T31" fmla="*/ 17 h 28"/>
                <a:gd name="T32" fmla="*/ 16 w 23"/>
                <a:gd name="T33" fmla="*/ 20 h 28"/>
                <a:gd name="T34" fmla="*/ 10 w 23"/>
                <a:gd name="T35" fmla="*/ 27 h 28"/>
                <a:gd name="T36" fmla="*/ 6 w 23"/>
                <a:gd name="T37" fmla="*/ 28 h 28"/>
                <a:gd name="T38" fmla="*/ 3 w 23"/>
                <a:gd name="T39" fmla="*/ 27 h 28"/>
                <a:gd name="T40" fmla="*/ 0 w 23"/>
                <a:gd name="T41" fmla="*/ 25 h 28"/>
                <a:gd name="T42" fmla="*/ 0 w 23"/>
                <a:gd name="T43" fmla="*/ 18 h 28"/>
                <a:gd name="T44" fmla="*/ 0 w 23"/>
                <a:gd name="T45" fmla="*/ 15 h 28"/>
                <a:gd name="T46" fmla="*/ 3 w 23"/>
                <a:gd name="T47" fmla="*/ 14 h 28"/>
                <a:gd name="T48" fmla="*/ 4 w 23"/>
                <a:gd name="T49" fmla="*/ 14 h 28"/>
                <a:gd name="T50" fmla="*/ 7 w 23"/>
                <a:gd name="T51" fmla="*/ 14 h 28"/>
                <a:gd name="T52" fmla="*/ 11 w 23"/>
                <a:gd name="T53" fmla="*/ 14 h 28"/>
                <a:gd name="T54" fmla="*/ 11 w 23"/>
                <a:gd name="T55" fmla="*/ 11 h 28"/>
                <a:gd name="T56" fmla="*/ 11 w 23"/>
                <a:gd name="T57" fmla="*/ 8 h 28"/>
                <a:gd name="T58" fmla="*/ 11 w 23"/>
                <a:gd name="T59" fmla="*/ 4 h 28"/>
                <a:gd name="T60" fmla="*/ 11 w 23"/>
                <a:gd name="T61" fmla="*/ 1 h 28"/>
                <a:gd name="T62" fmla="*/ 14 w 23"/>
                <a:gd name="T63" fmla="*/ 0 h 28"/>
                <a:gd name="T64" fmla="*/ 17 w 23"/>
                <a:gd name="T65" fmla="*/ 0 h 28"/>
                <a:gd name="T66" fmla="*/ 20 w 23"/>
                <a:gd name="T67" fmla="*/ 0 h 28"/>
                <a:gd name="T68" fmla="*/ 20 w 23"/>
                <a:gd name="T6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" h="28">
                  <a:moveTo>
                    <a:pt x="20" y="0"/>
                  </a:moveTo>
                  <a:lnTo>
                    <a:pt x="20" y="1"/>
                  </a:lnTo>
                  <a:lnTo>
                    <a:pt x="21" y="4"/>
                  </a:lnTo>
                  <a:lnTo>
                    <a:pt x="21" y="8"/>
                  </a:lnTo>
                  <a:lnTo>
                    <a:pt x="23" y="10"/>
                  </a:lnTo>
                  <a:lnTo>
                    <a:pt x="21" y="11"/>
                  </a:lnTo>
                  <a:lnTo>
                    <a:pt x="20" y="10"/>
                  </a:lnTo>
                  <a:lnTo>
                    <a:pt x="17" y="10"/>
                  </a:lnTo>
                  <a:lnTo>
                    <a:pt x="17" y="11"/>
                  </a:lnTo>
                  <a:lnTo>
                    <a:pt x="16" y="13"/>
                  </a:lnTo>
                  <a:lnTo>
                    <a:pt x="14" y="14"/>
                  </a:lnTo>
                  <a:lnTo>
                    <a:pt x="14" y="15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6" y="20"/>
                  </a:lnTo>
                  <a:lnTo>
                    <a:pt x="10" y="27"/>
                  </a:lnTo>
                  <a:lnTo>
                    <a:pt x="6" y="28"/>
                  </a:lnTo>
                  <a:lnTo>
                    <a:pt x="3" y="27"/>
                  </a:lnTo>
                  <a:lnTo>
                    <a:pt x="0" y="25"/>
                  </a:lnTo>
                  <a:lnTo>
                    <a:pt x="0" y="18"/>
                  </a:lnTo>
                  <a:lnTo>
                    <a:pt x="0" y="15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7" y="14"/>
                  </a:lnTo>
                  <a:lnTo>
                    <a:pt x="11" y="14"/>
                  </a:lnTo>
                  <a:lnTo>
                    <a:pt x="11" y="11"/>
                  </a:lnTo>
                  <a:lnTo>
                    <a:pt x="11" y="8"/>
                  </a:lnTo>
                  <a:lnTo>
                    <a:pt x="11" y="4"/>
                  </a:lnTo>
                  <a:lnTo>
                    <a:pt x="11" y="1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63" name="Freeform 512"/>
            <p:cNvSpPr>
              <a:spLocks/>
            </p:cNvSpPr>
            <p:nvPr/>
          </p:nvSpPr>
          <p:spPr bwMode="auto">
            <a:xfrm>
              <a:off x="5464647" y="2366155"/>
              <a:ext cx="139210" cy="164040"/>
            </a:xfrm>
            <a:custGeom>
              <a:avLst/>
              <a:gdLst>
                <a:gd name="T0" fmla="*/ 218 w 228"/>
                <a:gd name="T1" fmla="*/ 133 h 248"/>
                <a:gd name="T2" fmla="*/ 219 w 228"/>
                <a:gd name="T3" fmla="*/ 162 h 248"/>
                <a:gd name="T4" fmla="*/ 214 w 228"/>
                <a:gd name="T5" fmla="*/ 168 h 248"/>
                <a:gd name="T6" fmla="*/ 201 w 228"/>
                <a:gd name="T7" fmla="*/ 162 h 248"/>
                <a:gd name="T8" fmla="*/ 215 w 228"/>
                <a:gd name="T9" fmla="*/ 183 h 248"/>
                <a:gd name="T10" fmla="*/ 222 w 228"/>
                <a:gd name="T11" fmla="*/ 189 h 248"/>
                <a:gd name="T12" fmla="*/ 225 w 228"/>
                <a:gd name="T13" fmla="*/ 222 h 248"/>
                <a:gd name="T14" fmla="*/ 211 w 228"/>
                <a:gd name="T15" fmla="*/ 241 h 248"/>
                <a:gd name="T16" fmla="*/ 185 w 228"/>
                <a:gd name="T17" fmla="*/ 244 h 248"/>
                <a:gd name="T18" fmla="*/ 171 w 228"/>
                <a:gd name="T19" fmla="*/ 244 h 248"/>
                <a:gd name="T20" fmla="*/ 161 w 228"/>
                <a:gd name="T21" fmla="*/ 244 h 248"/>
                <a:gd name="T22" fmla="*/ 149 w 228"/>
                <a:gd name="T23" fmla="*/ 238 h 248"/>
                <a:gd name="T24" fmla="*/ 146 w 228"/>
                <a:gd name="T25" fmla="*/ 233 h 248"/>
                <a:gd name="T26" fmla="*/ 136 w 228"/>
                <a:gd name="T27" fmla="*/ 229 h 248"/>
                <a:gd name="T28" fmla="*/ 124 w 228"/>
                <a:gd name="T29" fmla="*/ 206 h 248"/>
                <a:gd name="T30" fmla="*/ 105 w 228"/>
                <a:gd name="T31" fmla="*/ 205 h 248"/>
                <a:gd name="T32" fmla="*/ 92 w 228"/>
                <a:gd name="T33" fmla="*/ 208 h 248"/>
                <a:gd name="T34" fmla="*/ 82 w 228"/>
                <a:gd name="T35" fmla="*/ 192 h 248"/>
                <a:gd name="T36" fmla="*/ 65 w 228"/>
                <a:gd name="T37" fmla="*/ 196 h 248"/>
                <a:gd name="T38" fmla="*/ 60 w 228"/>
                <a:gd name="T39" fmla="*/ 173 h 248"/>
                <a:gd name="T40" fmla="*/ 43 w 228"/>
                <a:gd name="T41" fmla="*/ 149 h 248"/>
                <a:gd name="T42" fmla="*/ 46 w 228"/>
                <a:gd name="T43" fmla="*/ 119 h 248"/>
                <a:gd name="T44" fmla="*/ 33 w 228"/>
                <a:gd name="T45" fmla="*/ 117 h 248"/>
                <a:gd name="T46" fmla="*/ 26 w 228"/>
                <a:gd name="T47" fmla="*/ 116 h 248"/>
                <a:gd name="T48" fmla="*/ 30 w 228"/>
                <a:gd name="T49" fmla="*/ 109 h 248"/>
                <a:gd name="T50" fmla="*/ 29 w 228"/>
                <a:gd name="T51" fmla="*/ 99 h 248"/>
                <a:gd name="T52" fmla="*/ 20 w 228"/>
                <a:gd name="T53" fmla="*/ 100 h 248"/>
                <a:gd name="T54" fmla="*/ 6 w 228"/>
                <a:gd name="T55" fmla="*/ 119 h 248"/>
                <a:gd name="T56" fmla="*/ 10 w 228"/>
                <a:gd name="T57" fmla="*/ 105 h 248"/>
                <a:gd name="T58" fmla="*/ 0 w 228"/>
                <a:gd name="T59" fmla="*/ 100 h 248"/>
                <a:gd name="T60" fmla="*/ 16 w 228"/>
                <a:gd name="T61" fmla="*/ 99 h 248"/>
                <a:gd name="T62" fmla="*/ 33 w 228"/>
                <a:gd name="T63" fmla="*/ 75 h 248"/>
                <a:gd name="T64" fmla="*/ 60 w 228"/>
                <a:gd name="T65" fmla="*/ 63 h 248"/>
                <a:gd name="T66" fmla="*/ 55 w 228"/>
                <a:gd name="T67" fmla="*/ 30 h 248"/>
                <a:gd name="T68" fmla="*/ 63 w 228"/>
                <a:gd name="T69" fmla="*/ 29 h 248"/>
                <a:gd name="T70" fmla="*/ 71 w 228"/>
                <a:gd name="T71" fmla="*/ 14 h 248"/>
                <a:gd name="T72" fmla="*/ 82 w 228"/>
                <a:gd name="T73" fmla="*/ 24 h 248"/>
                <a:gd name="T74" fmla="*/ 93 w 228"/>
                <a:gd name="T75" fmla="*/ 13 h 248"/>
                <a:gd name="T76" fmla="*/ 106 w 228"/>
                <a:gd name="T77" fmla="*/ 14 h 248"/>
                <a:gd name="T78" fmla="*/ 115 w 228"/>
                <a:gd name="T79" fmla="*/ 10 h 248"/>
                <a:gd name="T80" fmla="*/ 124 w 228"/>
                <a:gd name="T81" fmla="*/ 6 h 248"/>
                <a:gd name="T82" fmla="*/ 126 w 228"/>
                <a:gd name="T83" fmla="*/ 13 h 248"/>
                <a:gd name="T84" fmla="*/ 146 w 228"/>
                <a:gd name="T85" fmla="*/ 1 h 248"/>
                <a:gd name="T86" fmla="*/ 159 w 228"/>
                <a:gd name="T87" fmla="*/ 11 h 248"/>
                <a:gd name="T88" fmla="*/ 162 w 228"/>
                <a:gd name="T89" fmla="*/ 34 h 248"/>
                <a:gd name="T90" fmla="*/ 155 w 228"/>
                <a:gd name="T91" fmla="*/ 57 h 248"/>
                <a:gd name="T92" fmla="*/ 138 w 228"/>
                <a:gd name="T93" fmla="*/ 69 h 248"/>
                <a:gd name="T94" fmla="*/ 154 w 228"/>
                <a:gd name="T95" fmla="*/ 70 h 248"/>
                <a:gd name="T96" fmla="*/ 148 w 228"/>
                <a:gd name="T97" fmla="*/ 79 h 248"/>
                <a:gd name="T98" fmla="*/ 164 w 228"/>
                <a:gd name="T99" fmla="*/ 62 h 248"/>
                <a:gd name="T100" fmla="*/ 176 w 228"/>
                <a:gd name="T101" fmla="*/ 54 h 248"/>
                <a:gd name="T102" fmla="*/ 185 w 228"/>
                <a:gd name="T103" fmla="*/ 26 h 248"/>
                <a:gd name="T104" fmla="*/ 197 w 228"/>
                <a:gd name="T105" fmla="*/ 24 h 248"/>
                <a:gd name="T106" fmla="*/ 202 w 228"/>
                <a:gd name="T107" fmla="*/ 32 h 248"/>
                <a:gd name="T108" fmla="*/ 207 w 228"/>
                <a:gd name="T109" fmla="*/ 37 h 248"/>
                <a:gd name="T110" fmla="*/ 215 w 228"/>
                <a:gd name="T111" fmla="*/ 43 h 248"/>
                <a:gd name="T112" fmla="*/ 222 w 228"/>
                <a:gd name="T113" fmla="*/ 59 h 248"/>
                <a:gd name="T114" fmla="*/ 221 w 228"/>
                <a:gd name="T115" fmla="*/ 8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248">
                  <a:moveTo>
                    <a:pt x="221" y="109"/>
                  </a:moveTo>
                  <a:lnTo>
                    <a:pt x="221" y="113"/>
                  </a:lnTo>
                  <a:lnTo>
                    <a:pt x="221" y="117"/>
                  </a:lnTo>
                  <a:lnTo>
                    <a:pt x="221" y="119"/>
                  </a:lnTo>
                  <a:lnTo>
                    <a:pt x="221" y="123"/>
                  </a:lnTo>
                  <a:lnTo>
                    <a:pt x="219" y="126"/>
                  </a:lnTo>
                  <a:lnTo>
                    <a:pt x="218" y="130"/>
                  </a:lnTo>
                  <a:lnTo>
                    <a:pt x="218" y="133"/>
                  </a:lnTo>
                  <a:lnTo>
                    <a:pt x="219" y="135"/>
                  </a:lnTo>
                  <a:lnTo>
                    <a:pt x="221" y="136"/>
                  </a:lnTo>
                  <a:lnTo>
                    <a:pt x="221" y="139"/>
                  </a:lnTo>
                  <a:lnTo>
                    <a:pt x="219" y="143"/>
                  </a:lnTo>
                  <a:lnTo>
                    <a:pt x="218" y="152"/>
                  </a:lnTo>
                  <a:lnTo>
                    <a:pt x="219" y="158"/>
                  </a:lnTo>
                  <a:lnTo>
                    <a:pt x="219" y="160"/>
                  </a:lnTo>
                  <a:lnTo>
                    <a:pt x="219" y="162"/>
                  </a:lnTo>
                  <a:lnTo>
                    <a:pt x="218" y="160"/>
                  </a:lnTo>
                  <a:lnTo>
                    <a:pt x="217" y="158"/>
                  </a:lnTo>
                  <a:lnTo>
                    <a:pt x="215" y="158"/>
                  </a:lnTo>
                  <a:lnTo>
                    <a:pt x="215" y="160"/>
                  </a:lnTo>
                  <a:lnTo>
                    <a:pt x="215" y="163"/>
                  </a:lnTo>
                  <a:lnTo>
                    <a:pt x="214" y="163"/>
                  </a:lnTo>
                  <a:lnTo>
                    <a:pt x="214" y="165"/>
                  </a:lnTo>
                  <a:lnTo>
                    <a:pt x="214" y="168"/>
                  </a:lnTo>
                  <a:lnTo>
                    <a:pt x="212" y="168"/>
                  </a:lnTo>
                  <a:lnTo>
                    <a:pt x="209" y="166"/>
                  </a:lnTo>
                  <a:lnTo>
                    <a:pt x="207" y="162"/>
                  </a:lnTo>
                  <a:lnTo>
                    <a:pt x="204" y="159"/>
                  </a:lnTo>
                  <a:lnTo>
                    <a:pt x="202" y="158"/>
                  </a:lnTo>
                  <a:lnTo>
                    <a:pt x="201" y="158"/>
                  </a:lnTo>
                  <a:lnTo>
                    <a:pt x="199" y="159"/>
                  </a:lnTo>
                  <a:lnTo>
                    <a:pt x="201" y="162"/>
                  </a:lnTo>
                  <a:lnTo>
                    <a:pt x="202" y="165"/>
                  </a:lnTo>
                  <a:lnTo>
                    <a:pt x="205" y="170"/>
                  </a:lnTo>
                  <a:lnTo>
                    <a:pt x="208" y="175"/>
                  </a:lnTo>
                  <a:lnTo>
                    <a:pt x="211" y="176"/>
                  </a:lnTo>
                  <a:lnTo>
                    <a:pt x="215" y="178"/>
                  </a:lnTo>
                  <a:lnTo>
                    <a:pt x="218" y="180"/>
                  </a:lnTo>
                  <a:lnTo>
                    <a:pt x="217" y="185"/>
                  </a:lnTo>
                  <a:lnTo>
                    <a:pt x="215" y="183"/>
                  </a:lnTo>
                  <a:lnTo>
                    <a:pt x="212" y="183"/>
                  </a:lnTo>
                  <a:lnTo>
                    <a:pt x="212" y="185"/>
                  </a:lnTo>
                  <a:lnTo>
                    <a:pt x="212" y="188"/>
                  </a:lnTo>
                  <a:lnTo>
                    <a:pt x="215" y="189"/>
                  </a:lnTo>
                  <a:lnTo>
                    <a:pt x="218" y="189"/>
                  </a:lnTo>
                  <a:lnTo>
                    <a:pt x="219" y="189"/>
                  </a:lnTo>
                  <a:lnTo>
                    <a:pt x="221" y="189"/>
                  </a:lnTo>
                  <a:lnTo>
                    <a:pt x="222" y="189"/>
                  </a:lnTo>
                  <a:lnTo>
                    <a:pt x="222" y="196"/>
                  </a:lnTo>
                  <a:lnTo>
                    <a:pt x="222" y="202"/>
                  </a:lnTo>
                  <a:lnTo>
                    <a:pt x="224" y="209"/>
                  </a:lnTo>
                  <a:lnTo>
                    <a:pt x="224" y="215"/>
                  </a:lnTo>
                  <a:lnTo>
                    <a:pt x="224" y="218"/>
                  </a:lnTo>
                  <a:lnTo>
                    <a:pt x="225" y="219"/>
                  </a:lnTo>
                  <a:lnTo>
                    <a:pt x="227" y="221"/>
                  </a:lnTo>
                  <a:lnTo>
                    <a:pt x="225" y="222"/>
                  </a:lnTo>
                  <a:lnTo>
                    <a:pt x="224" y="225"/>
                  </a:lnTo>
                  <a:lnTo>
                    <a:pt x="221" y="228"/>
                  </a:lnTo>
                  <a:lnTo>
                    <a:pt x="219" y="231"/>
                  </a:lnTo>
                  <a:lnTo>
                    <a:pt x="217" y="232"/>
                  </a:lnTo>
                  <a:lnTo>
                    <a:pt x="214" y="233"/>
                  </a:lnTo>
                  <a:lnTo>
                    <a:pt x="212" y="236"/>
                  </a:lnTo>
                  <a:lnTo>
                    <a:pt x="211" y="239"/>
                  </a:lnTo>
                  <a:lnTo>
                    <a:pt x="211" y="241"/>
                  </a:lnTo>
                  <a:lnTo>
                    <a:pt x="211" y="244"/>
                  </a:lnTo>
                  <a:lnTo>
                    <a:pt x="208" y="244"/>
                  </a:lnTo>
                  <a:lnTo>
                    <a:pt x="207" y="244"/>
                  </a:lnTo>
                  <a:lnTo>
                    <a:pt x="204" y="242"/>
                  </a:lnTo>
                  <a:lnTo>
                    <a:pt x="201" y="242"/>
                  </a:lnTo>
                  <a:lnTo>
                    <a:pt x="195" y="244"/>
                  </a:lnTo>
                  <a:lnTo>
                    <a:pt x="189" y="244"/>
                  </a:lnTo>
                  <a:lnTo>
                    <a:pt x="185" y="244"/>
                  </a:lnTo>
                  <a:lnTo>
                    <a:pt x="179" y="242"/>
                  </a:lnTo>
                  <a:lnTo>
                    <a:pt x="178" y="241"/>
                  </a:lnTo>
                  <a:lnTo>
                    <a:pt x="176" y="242"/>
                  </a:lnTo>
                  <a:lnTo>
                    <a:pt x="176" y="245"/>
                  </a:lnTo>
                  <a:lnTo>
                    <a:pt x="174" y="246"/>
                  </a:lnTo>
                  <a:lnTo>
                    <a:pt x="172" y="248"/>
                  </a:lnTo>
                  <a:lnTo>
                    <a:pt x="171" y="246"/>
                  </a:lnTo>
                  <a:lnTo>
                    <a:pt x="171" y="244"/>
                  </a:lnTo>
                  <a:lnTo>
                    <a:pt x="168" y="242"/>
                  </a:lnTo>
                  <a:lnTo>
                    <a:pt x="166" y="244"/>
                  </a:lnTo>
                  <a:lnTo>
                    <a:pt x="165" y="242"/>
                  </a:lnTo>
                  <a:lnTo>
                    <a:pt x="164" y="241"/>
                  </a:lnTo>
                  <a:lnTo>
                    <a:pt x="164" y="239"/>
                  </a:lnTo>
                  <a:lnTo>
                    <a:pt x="162" y="239"/>
                  </a:lnTo>
                  <a:lnTo>
                    <a:pt x="161" y="241"/>
                  </a:lnTo>
                  <a:lnTo>
                    <a:pt x="161" y="244"/>
                  </a:lnTo>
                  <a:lnTo>
                    <a:pt x="159" y="244"/>
                  </a:lnTo>
                  <a:lnTo>
                    <a:pt x="156" y="242"/>
                  </a:lnTo>
                  <a:lnTo>
                    <a:pt x="154" y="242"/>
                  </a:lnTo>
                  <a:lnTo>
                    <a:pt x="152" y="244"/>
                  </a:lnTo>
                  <a:lnTo>
                    <a:pt x="152" y="242"/>
                  </a:lnTo>
                  <a:lnTo>
                    <a:pt x="152" y="239"/>
                  </a:lnTo>
                  <a:lnTo>
                    <a:pt x="151" y="238"/>
                  </a:lnTo>
                  <a:lnTo>
                    <a:pt x="149" y="238"/>
                  </a:lnTo>
                  <a:lnTo>
                    <a:pt x="148" y="239"/>
                  </a:lnTo>
                  <a:lnTo>
                    <a:pt x="146" y="241"/>
                  </a:lnTo>
                  <a:lnTo>
                    <a:pt x="145" y="239"/>
                  </a:lnTo>
                  <a:lnTo>
                    <a:pt x="142" y="238"/>
                  </a:lnTo>
                  <a:lnTo>
                    <a:pt x="144" y="236"/>
                  </a:lnTo>
                  <a:lnTo>
                    <a:pt x="145" y="236"/>
                  </a:lnTo>
                  <a:lnTo>
                    <a:pt x="146" y="236"/>
                  </a:lnTo>
                  <a:lnTo>
                    <a:pt x="146" y="233"/>
                  </a:lnTo>
                  <a:lnTo>
                    <a:pt x="146" y="232"/>
                  </a:lnTo>
                  <a:lnTo>
                    <a:pt x="144" y="232"/>
                  </a:lnTo>
                  <a:lnTo>
                    <a:pt x="142" y="233"/>
                  </a:lnTo>
                  <a:lnTo>
                    <a:pt x="142" y="235"/>
                  </a:lnTo>
                  <a:lnTo>
                    <a:pt x="139" y="235"/>
                  </a:lnTo>
                  <a:lnTo>
                    <a:pt x="138" y="233"/>
                  </a:lnTo>
                  <a:lnTo>
                    <a:pt x="136" y="231"/>
                  </a:lnTo>
                  <a:lnTo>
                    <a:pt x="136" y="229"/>
                  </a:lnTo>
                  <a:lnTo>
                    <a:pt x="136" y="226"/>
                  </a:lnTo>
                  <a:lnTo>
                    <a:pt x="135" y="226"/>
                  </a:lnTo>
                  <a:lnTo>
                    <a:pt x="132" y="226"/>
                  </a:lnTo>
                  <a:lnTo>
                    <a:pt x="131" y="225"/>
                  </a:lnTo>
                  <a:lnTo>
                    <a:pt x="126" y="219"/>
                  </a:lnTo>
                  <a:lnTo>
                    <a:pt x="124" y="215"/>
                  </a:lnTo>
                  <a:lnTo>
                    <a:pt x="124" y="211"/>
                  </a:lnTo>
                  <a:lnTo>
                    <a:pt x="124" y="206"/>
                  </a:lnTo>
                  <a:lnTo>
                    <a:pt x="122" y="205"/>
                  </a:lnTo>
                  <a:lnTo>
                    <a:pt x="119" y="206"/>
                  </a:lnTo>
                  <a:lnTo>
                    <a:pt x="118" y="208"/>
                  </a:lnTo>
                  <a:lnTo>
                    <a:pt x="115" y="208"/>
                  </a:lnTo>
                  <a:lnTo>
                    <a:pt x="112" y="208"/>
                  </a:lnTo>
                  <a:lnTo>
                    <a:pt x="111" y="208"/>
                  </a:lnTo>
                  <a:lnTo>
                    <a:pt x="108" y="208"/>
                  </a:lnTo>
                  <a:lnTo>
                    <a:pt x="105" y="205"/>
                  </a:lnTo>
                  <a:lnTo>
                    <a:pt x="105" y="203"/>
                  </a:lnTo>
                  <a:lnTo>
                    <a:pt x="105" y="202"/>
                  </a:lnTo>
                  <a:lnTo>
                    <a:pt x="105" y="202"/>
                  </a:lnTo>
                  <a:lnTo>
                    <a:pt x="102" y="201"/>
                  </a:lnTo>
                  <a:lnTo>
                    <a:pt x="101" y="203"/>
                  </a:lnTo>
                  <a:lnTo>
                    <a:pt x="99" y="206"/>
                  </a:lnTo>
                  <a:lnTo>
                    <a:pt x="96" y="208"/>
                  </a:lnTo>
                  <a:lnTo>
                    <a:pt x="92" y="208"/>
                  </a:lnTo>
                  <a:lnTo>
                    <a:pt x="86" y="206"/>
                  </a:lnTo>
                  <a:lnTo>
                    <a:pt x="83" y="203"/>
                  </a:lnTo>
                  <a:lnTo>
                    <a:pt x="82" y="203"/>
                  </a:lnTo>
                  <a:lnTo>
                    <a:pt x="83" y="201"/>
                  </a:lnTo>
                  <a:lnTo>
                    <a:pt x="85" y="198"/>
                  </a:lnTo>
                  <a:lnTo>
                    <a:pt x="85" y="195"/>
                  </a:lnTo>
                  <a:lnTo>
                    <a:pt x="83" y="193"/>
                  </a:lnTo>
                  <a:lnTo>
                    <a:pt x="82" y="192"/>
                  </a:lnTo>
                  <a:lnTo>
                    <a:pt x="82" y="191"/>
                  </a:lnTo>
                  <a:lnTo>
                    <a:pt x="82" y="188"/>
                  </a:lnTo>
                  <a:lnTo>
                    <a:pt x="82" y="186"/>
                  </a:lnTo>
                  <a:lnTo>
                    <a:pt x="81" y="186"/>
                  </a:lnTo>
                  <a:lnTo>
                    <a:pt x="78" y="186"/>
                  </a:lnTo>
                  <a:lnTo>
                    <a:pt x="75" y="189"/>
                  </a:lnTo>
                  <a:lnTo>
                    <a:pt x="69" y="193"/>
                  </a:lnTo>
                  <a:lnTo>
                    <a:pt x="65" y="196"/>
                  </a:lnTo>
                  <a:lnTo>
                    <a:pt x="62" y="198"/>
                  </a:lnTo>
                  <a:lnTo>
                    <a:pt x="59" y="196"/>
                  </a:lnTo>
                  <a:lnTo>
                    <a:pt x="59" y="195"/>
                  </a:lnTo>
                  <a:lnTo>
                    <a:pt x="59" y="192"/>
                  </a:lnTo>
                  <a:lnTo>
                    <a:pt x="60" y="185"/>
                  </a:lnTo>
                  <a:lnTo>
                    <a:pt x="62" y="179"/>
                  </a:lnTo>
                  <a:lnTo>
                    <a:pt x="62" y="175"/>
                  </a:lnTo>
                  <a:lnTo>
                    <a:pt x="60" y="173"/>
                  </a:lnTo>
                  <a:lnTo>
                    <a:pt x="58" y="173"/>
                  </a:lnTo>
                  <a:lnTo>
                    <a:pt x="53" y="173"/>
                  </a:lnTo>
                  <a:lnTo>
                    <a:pt x="50" y="172"/>
                  </a:lnTo>
                  <a:lnTo>
                    <a:pt x="42" y="160"/>
                  </a:lnTo>
                  <a:lnTo>
                    <a:pt x="40" y="158"/>
                  </a:lnTo>
                  <a:lnTo>
                    <a:pt x="42" y="153"/>
                  </a:lnTo>
                  <a:lnTo>
                    <a:pt x="43" y="152"/>
                  </a:lnTo>
                  <a:lnTo>
                    <a:pt x="43" y="149"/>
                  </a:lnTo>
                  <a:lnTo>
                    <a:pt x="43" y="145"/>
                  </a:lnTo>
                  <a:lnTo>
                    <a:pt x="43" y="135"/>
                  </a:lnTo>
                  <a:lnTo>
                    <a:pt x="43" y="130"/>
                  </a:lnTo>
                  <a:lnTo>
                    <a:pt x="43" y="128"/>
                  </a:lnTo>
                  <a:lnTo>
                    <a:pt x="45" y="126"/>
                  </a:lnTo>
                  <a:lnTo>
                    <a:pt x="46" y="123"/>
                  </a:lnTo>
                  <a:lnTo>
                    <a:pt x="48" y="122"/>
                  </a:lnTo>
                  <a:lnTo>
                    <a:pt x="46" y="119"/>
                  </a:lnTo>
                  <a:lnTo>
                    <a:pt x="45" y="117"/>
                  </a:lnTo>
                  <a:lnTo>
                    <a:pt x="42" y="117"/>
                  </a:lnTo>
                  <a:lnTo>
                    <a:pt x="39" y="116"/>
                  </a:lnTo>
                  <a:lnTo>
                    <a:pt x="36" y="115"/>
                  </a:lnTo>
                  <a:lnTo>
                    <a:pt x="35" y="115"/>
                  </a:lnTo>
                  <a:lnTo>
                    <a:pt x="32" y="115"/>
                  </a:lnTo>
                  <a:lnTo>
                    <a:pt x="32" y="116"/>
                  </a:lnTo>
                  <a:lnTo>
                    <a:pt x="33" y="117"/>
                  </a:lnTo>
                  <a:lnTo>
                    <a:pt x="35" y="119"/>
                  </a:lnTo>
                  <a:lnTo>
                    <a:pt x="35" y="122"/>
                  </a:lnTo>
                  <a:lnTo>
                    <a:pt x="35" y="123"/>
                  </a:lnTo>
                  <a:lnTo>
                    <a:pt x="33" y="123"/>
                  </a:lnTo>
                  <a:lnTo>
                    <a:pt x="32" y="123"/>
                  </a:lnTo>
                  <a:lnTo>
                    <a:pt x="29" y="120"/>
                  </a:lnTo>
                  <a:lnTo>
                    <a:pt x="26" y="117"/>
                  </a:lnTo>
                  <a:lnTo>
                    <a:pt x="26" y="116"/>
                  </a:lnTo>
                  <a:lnTo>
                    <a:pt x="26" y="115"/>
                  </a:lnTo>
                  <a:lnTo>
                    <a:pt x="28" y="115"/>
                  </a:lnTo>
                  <a:lnTo>
                    <a:pt x="30" y="115"/>
                  </a:lnTo>
                  <a:lnTo>
                    <a:pt x="32" y="113"/>
                  </a:lnTo>
                  <a:lnTo>
                    <a:pt x="33" y="112"/>
                  </a:lnTo>
                  <a:lnTo>
                    <a:pt x="33" y="110"/>
                  </a:lnTo>
                  <a:lnTo>
                    <a:pt x="33" y="109"/>
                  </a:lnTo>
                  <a:lnTo>
                    <a:pt x="30" y="109"/>
                  </a:lnTo>
                  <a:lnTo>
                    <a:pt x="29" y="107"/>
                  </a:lnTo>
                  <a:lnTo>
                    <a:pt x="29" y="106"/>
                  </a:lnTo>
                  <a:lnTo>
                    <a:pt x="26" y="105"/>
                  </a:lnTo>
                  <a:lnTo>
                    <a:pt x="25" y="103"/>
                  </a:lnTo>
                  <a:lnTo>
                    <a:pt x="25" y="102"/>
                  </a:lnTo>
                  <a:lnTo>
                    <a:pt x="25" y="100"/>
                  </a:lnTo>
                  <a:lnTo>
                    <a:pt x="28" y="99"/>
                  </a:lnTo>
                  <a:lnTo>
                    <a:pt x="29" y="99"/>
                  </a:lnTo>
                  <a:lnTo>
                    <a:pt x="29" y="96"/>
                  </a:lnTo>
                  <a:lnTo>
                    <a:pt x="29" y="93"/>
                  </a:lnTo>
                  <a:lnTo>
                    <a:pt x="29" y="92"/>
                  </a:lnTo>
                  <a:lnTo>
                    <a:pt x="28" y="92"/>
                  </a:lnTo>
                  <a:lnTo>
                    <a:pt x="26" y="93"/>
                  </a:lnTo>
                  <a:lnTo>
                    <a:pt x="26" y="97"/>
                  </a:lnTo>
                  <a:lnTo>
                    <a:pt x="25" y="99"/>
                  </a:lnTo>
                  <a:lnTo>
                    <a:pt x="20" y="100"/>
                  </a:lnTo>
                  <a:lnTo>
                    <a:pt x="18" y="103"/>
                  </a:lnTo>
                  <a:lnTo>
                    <a:pt x="16" y="106"/>
                  </a:lnTo>
                  <a:lnTo>
                    <a:pt x="16" y="109"/>
                  </a:lnTo>
                  <a:lnTo>
                    <a:pt x="16" y="113"/>
                  </a:lnTo>
                  <a:lnTo>
                    <a:pt x="16" y="115"/>
                  </a:lnTo>
                  <a:lnTo>
                    <a:pt x="15" y="117"/>
                  </a:lnTo>
                  <a:lnTo>
                    <a:pt x="9" y="119"/>
                  </a:lnTo>
                  <a:lnTo>
                    <a:pt x="6" y="119"/>
                  </a:lnTo>
                  <a:lnTo>
                    <a:pt x="6" y="116"/>
                  </a:lnTo>
                  <a:lnTo>
                    <a:pt x="6" y="115"/>
                  </a:lnTo>
                  <a:lnTo>
                    <a:pt x="9" y="115"/>
                  </a:lnTo>
                  <a:lnTo>
                    <a:pt x="12" y="112"/>
                  </a:lnTo>
                  <a:lnTo>
                    <a:pt x="12" y="109"/>
                  </a:lnTo>
                  <a:lnTo>
                    <a:pt x="13" y="107"/>
                  </a:lnTo>
                  <a:lnTo>
                    <a:pt x="12" y="105"/>
                  </a:lnTo>
                  <a:lnTo>
                    <a:pt x="10" y="105"/>
                  </a:lnTo>
                  <a:lnTo>
                    <a:pt x="9" y="105"/>
                  </a:lnTo>
                  <a:lnTo>
                    <a:pt x="6" y="107"/>
                  </a:lnTo>
                  <a:lnTo>
                    <a:pt x="5" y="107"/>
                  </a:lnTo>
                  <a:lnTo>
                    <a:pt x="5" y="106"/>
                  </a:lnTo>
                  <a:lnTo>
                    <a:pt x="6" y="103"/>
                  </a:lnTo>
                  <a:lnTo>
                    <a:pt x="6" y="102"/>
                  </a:lnTo>
                  <a:lnTo>
                    <a:pt x="5" y="100"/>
                  </a:lnTo>
                  <a:lnTo>
                    <a:pt x="0" y="100"/>
                  </a:lnTo>
                  <a:lnTo>
                    <a:pt x="0" y="99"/>
                  </a:lnTo>
                  <a:lnTo>
                    <a:pt x="0" y="97"/>
                  </a:lnTo>
                  <a:lnTo>
                    <a:pt x="2" y="97"/>
                  </a:lnTo>
                  <a:lnTo>
                    <a:pt x="5" y="97"/>
                  </a:lnTo>
                  <a:lnTo>
                    <a:pt x="9" y="99"/>
                  </a:lnTo>
                  <a:lnTo>
                    <a:pt x="10" y="102"/>
                  </a:lnTo>
                  <a:lnTo>
                    <a:pt x="13" y="100"/>
                  </a:lnTo>
                  <a:lnTo>
                    <a:pt x="16" y="99"/>
                  </a:lnTo>
                  <a:lnTo>
                    <a:pt x="19" y="95"/>
                  </a:lnTo>
                  <a:lnTo>
                    <a:pt x="22" y="92"/>
                  </a:lnTo>
                  <a:lnTo>
                    <a:pt x="25" y="90"/>
                  </a:lnTo>
                  <a:lnTo>
                    <a:pt x="25" y="89"/>
                  </a:lnTo>
                  <a:lnTo>
                    <a:pt x="26" y="85"/>
                  </a:lnTo>
                  <a:lnTo>
                    <a:pt x="29" y="82"/>
                  </a:lnTo>
                  <a:lnTo>
                    <a:pt x="32" y="77"/>
                  </a:lnTo>
                  <a:lnTo>
                    <a:pt x="33" y="75"/>
                  </a:lnTo>
                  <a:lnTo>
                    <a:pt x="38" y="69"/>
                  </a:lnTo>
                  <a:lnTo>
                    <a:pt x="42" y="66"/>
                  </a:lnTo>
                  <a:lnTo>
                    <a:pt x="49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56" y="64"/>
                  </a:lnTo>
                  <a:lnTo>
                    <a:pt x="58" y="63"/>
                  </a:lnTo>
                  <a:lnTo>
                    <a:pt x="60" y="63"/>
                  </a:lnTo>
                  <a:lnTo>
                    <a:pt x="60" y="60"/>
                  </a:lnTo>
                  <a:lnTo>
                    <a:pt x="56" y="59"/>
                  </a:lnTo>
                  <a:lnTo>
                    <a:pt x="53" y="56"/>
                  </a:lnTo>
                  <a:lnTo>
                    <a:pt x="50" y="50"/>
                  </a:lnTo>
                  <a:lnTo>
                    <a:pt x="49" y="47"/>
                  </a:lnTo>
                  <a:lnTo>
                    <a:pt x="52" y="37"/>
                  </a:lnTo>
                  <a:lnTo>
                    <a:pt x="53" y="32"/>
                  </a:lnTo>
                  <a:lnTo>
                    <a:pt x="55" y="30"/>
                  </a:lnTo>
                  <a:lnTo>
                    <a:pt x="56" y="30"/>
                  </a:lnTo>
                  <a:lnTo>
                    <a:pt x="56" y="32"/>
                  </a:lnTo>
                  <a:lnTo>
                    <a:pt x="55" y="33"/>
                  </a:lnTo>
                  <a:lnTo>
                    <a:pt x="56" y="34"/>
                  </a:lnTo>
                  <a:lnTo>
                    <a:pt x="58" y="33"/>
                  </a:lnTo>
                  <a:lnTo>
                    <a:pt x="60" y="32"/>
                  </a:lnTo>
                  <a:lnTo>
                    <a:pt x="63" y="32"/>
                  </a:lnTo>
                  <a:lnTo>
                    <a:pt x="63" y="29"/>
                  </a:lnTo>
                  <a:lnTo>
                    <a:pt x="65" y="27"/>
                  </a:lnTo>
                  <a:lnTo>
                    <a:pt x="65" y="23"/>
                  </a:lnTo>
                  <a:lnTo>
                    <a:pt x="66" y="20"/>
                  </a:lnTo>
                  <a:lnTo>
                    <a:pt x="68" y="19"/>
                  </a:lnTo>
                  <a:lnTo>
                    <a:pt x="69" y="19"/>
                  </a:lnTo>
                  <a:lnTo>
                    <a:pt x="71" y="19"/>
                  </a:lnTo>
                  <a:lnTo>
                    <a:pt x="71" y="16"/>
                  </a:lnTo>
                  <a:lnTo>
                    <a:pt x="71" y="14"/>
                  </a:lnTo>
                  <a:lnTo>
                    <a:pt x="72" y="13"/>
                  </a:lnTo>
                  <a:lnTo>
                    <a:pt x="72" y="11"/>
                  </a:lnTo>
                  <a:lnTo>
                    <a:pt x="73" y="13"/>
                  </a:lnTo>
                  <a:lnTo>
                    <a:pt x="75" y="16"/>
                  </a:lnTo>
                  <a:lnTo>
                    <a:pt x="75" y="19"/>
                  </a:lnTo>
                  <a:lnTo>
                    <a:pt x="78" y="20"/>
                  </a:lnTo>
                  <a:lnTo>
                    <a:pt x="79" y="22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3" y="23"/>
                  </a:lnTo>
                  <a:lnTo>
                    <a:pt x="83" y="16"/>
                  </a:lnTo>
                  <a:lnTo>
                    <a:pt x="85" y="13"/>
                  </a:lnTo>
                  <a:lnTo>
                    <a:pt x="88" y="11"/>
                  </a:lnTo>
                  <a:lnTo>
                    <a:pt x="89" y="11"/>
                  </a:lnTo>
                  <a:lnTo>
                    <a:pt x="92" y="13"/>
                  </a:lnTo>
                  <a:lnTo>
                    <a:pt x="93" y="13"/>
                  </a:lnTo>
                  <a:lnTo>
                    <a:pt x="93" y="11"/>
                  </a:lnTo>
                  <a:lnTo>
                    <a:pt x="95" y="11"/>
                  </a:lnTo>
                  <a:lnTo>
                    <a:pt x="96" y="11"/>
                  </a:lnTo>
                  <a:lnTo>
                    <a:pt x="99" y="11"/>
                  </a:lnTo>
                  <a:lnTo>
                    <a:pt x="103" y="11"/>
                  </a:lnTo>
                  <a:lnTo>
                    <a:pt x="105" y="11"/>
                  </a:lnTo>
                  <a:lnTo>
                    <a:pt x="106" y="11"/>
                  </a:lnTo>
                  <a:lnTo>
                    <a:pt x="106" y="14"/>
                  </a:lnTo>
                  <a:lnTo>
                    <a:pt x="108" y="14"/>
                  </a:lnTo>
                  <a:lnTo>
                    <a:pt x="109" y="14"/>
                  </a:lnTo>
                  <a:lnTo>
                    <a:pt x="111" y="11"/>
                  </a:lnTo>
                  <a:lnTo>
                    <a:pt x="112" y="10"/>
                  </a:lnTo>
                  <a:lnTo>
                    <a:pt x="113" y="9"/>
                  </a:lnTo>
                  <a:lnTo>
                    <a:pt x="116" y="7"/>
                  </a:lnTo>
                  <a:lnTo>
                    <a:pt x="118" y="9"/>
                  </a:lnTo>
                  <a:lnTo>
                    <a:pt x="115" y="10"/>
                  </a:lnTo>
                  <a:lnTo>
                    <a:pt x="113" y="11"/>
                  </a:lnTo>
                  <a:lnTo>
                    <a:pt x="113" y="13"/>
                  </a:lnTo>
                  <a:lnTo>
                    <a:pt x="116" y="13"/>
                  </a:lnTo>
                  <a:lnTo>
                    <a:pt x="118" y="11"/>
                  </a:lnTo>
                  <a:lnTo>
                    <a:pt x="121" y="11"/>
                  </a:lnTo>
                  <a:lnTo>
                    <a:pt x="122" y="10"/>
                  </a:lnTo>
                  <a:lnTo>
                    <a:pt x="122" y="7"/>
                  </a:lnTo>
                  <a:lnTo>
                    <a:pt x="124" y="6"/>
                  </a:lnTo>
                  <a:lnTo>
                    <a:pt x="125" y="4"/>
                  </a:lnTo>
                  <a:lnTo>
                    <a:pt x="128" y="3"/>
                  </a:lnTo>
                  <a:lnTo>
                    <a:pt x="131" y="3"/>
                  </a:lnTo>
                  <a:lnTo>
                    <a:pt x="131" y="4"/>
                  </a:lnTo>
                  <a:lnTo>
                    <a:pt x="126" y="6"/>
                  </a:lnTo>
                  <a:lnTo>
                    <a:pt x="125" y="9"/>
                  </a:lnTo>
                  <a:lnTo>
                    <a:pt x="125" y="10"/>
                  </a:lnTo>
                  <a:lnTo>
                    <a:pt x="126" y="13"/>
                  </a:lnTo>
                  <a:lnTo>
                    <a:pt x="128" y="14"/>
                  </a:lnTo>
                  <a:lnTo>
                    <a:pt x="129" y="14"/>
                  </a:lnTo>
                  <a:lnTo>
                    <a:pt x="132" y="11"/>
                  </a:lnTo>
                  <a:lnTo>
                    <a:pt x="135" y="7"/>
                  </a:lnTo>
                  <a:lnTo>
                    <a:pt x="138" y="3"/>
                  </a:lnTo>
                  <a:lnTo>
                    <a:pt x="141" y="1"/>
                  </a:lnTo>
                  <a:lnTo>
                    <a:pt x="142" y="0"/>
                  </a:lnTo>
                  <a:lnTo>
                    <a:pt x="146" y="1"/>
                  </a:lnTo>
                  <a:lnTo>
                    <a:pt x="151" y="1"/>
                  </a:lnTo>
                  <a:lnTo>
                    <a:pt x="152" y="1"/>
                  </a:lnTo>
                  <a:lnTo>
                    <a:pt x="155" y="3"/>
                  </a:lnTo>
                  <a:lnTo>
                    <a:pt x="155" y="4"/>
                  </a:lnTo>
                  <a:lnTo>
                    <a:pt x="155" y="7"/>
                  </a:lnTo>
                  <a:lnTo>
                    <a:pt x="158" y="7"/>
                  </a:lnTo>
                  <a:lnTo>
                    <a:pt x="159" y="9"/>
                  </a:lnTo>
                  <a:lnTo>
                    <a:pt x="159" y="11"/>
                  </a:lnTo>
                  <a:lnTo>
                    <a:pt x="161" y="16"/>
                  </a:lnTo>
                  <a:lnTo>
                    <a:pt x="162" y="17"/>
                  </a:lnTo>
                  <a:lnTo>
                    <a:pt x="164" y="19"/>
                  </a:lnTo>
                  <a:lnTo>
                    <a:pt x="166" y="20"/>
                  </a:lnTo>
                  <a:lnTo>
                    <a:pt x="166" y="22"/>
                  </a:lnTo>
                  <a:lnTo>
                    <a:pt x="168" y="23"/>
                  </a:lnTo>
                  <a:lnTo>
                    <a:pt x="166" y="29"/>
                  </a:lnTo>
                  <a:lnTo>
                    <a:pt x="162" y="34"/>
                  </a:lnTo>
                  <a:lnTo>
                    <a:pt x="161" y="39"/>
                  </a:lnTo>
                  <a:lnTo>
                    <a:pt x="161" y="43"/>
                  </a:lnTo>
                  <a:lnTo>
                    <a:pt x="162" y="47"/>
                  </a:lnTo>
                  <a:lnTo>
                    <a:pt x="161" y="50"/>
                  </a:lnTo>
                  <a:lnTo>
                    <a:pt x="159" y="52"/>
                  </a:lnTo>
                  <a:lnTo>
                    <a:pt x="156" y="53"/>
                  </a:lnTo>
                  <a:lnTo>
                    <a:pt x="155" y="54"/>
                  </a:lnTo>
                  <a:lnTo>
                    <a:pt x="155" y="57"/>
                  </a:lnTo>
                  <a:lnTo>
                    <a:pt x="155" y="62"/>
                  </a:lnTo>
                  <a:lnTo>
                    <a:pt x="155" y="62"/>
                  </a:lnTo>
                  <a:lnTo>
                    <a:pt x="154" y="63"/>
                  </a:lnTo>
                  <a:lnTo>
                    <a:pt x="149" y="63"/>
                  </a:lnTo>
                  <a:lnTo>
                    <a:pt x="145" y="63"/>
                  </a:lnTo>
                  <a:lnTo>
                    <a:pt x="141" y="64"/>
                  </a:lnTo>
                  <a:lnTo>
                    <a:pt x="138" y="66"/>
                  </a:lnTo>
                  <a:lnTo>
                    <a:pt x="138" y="69"/>
                  </a:lnTo>
                  <a:lnTo>
                    <a:pt x="139" y="70"/>
                  </a:lnTo>
                  <a:lnTo>
                    <a:pt x="142" y="69"/>
                  </a:lnTo>
                  <a:lnTo>
                    <a:pt x="145" y="69"/>
                  </a:lnTo>
                  <a:lnTo>
                    <a:pt x="149" y="67"/>
                  </a:lnTo>
                  <a:lnTo>
                    <a:pt x="151" y="66"/>
                  </a:lnTo>
                  <a:lnTo>
                    <a:pt x="154" y="67"/>
                  </a:lnTo>
                  <a:lnTo>
                    <a:pt x="154" y="69"/>
                  </a:lnTo>
                  <a:lnTo>
                    <a:pt x="154" y="70"/>
                  </a:lnTo>
                  <a:lnTo>
                    <a:pt x="152" y="73"/>
                  </a:lnTo>
                  <a:lnTo>
                    <a:pt x="146" y="77"/>
                  </a:lnTo>
                  <a:lnTo>
                    <a:pt x="141" y="80"/>
                  </a:lnTo>
                  <a:lnTo>
                    <a:pt x="139" y="83"/>
                  </a:lnTo>
                  <a:lnTo>
                    <a:pt x="139" y="85"/>
                  </a:lnTo>
                  <a:lnTo>
                    <a:pt x="141" y="85"/>
                  </a:lnTo>
                  <a:lnTo>
                    <a:pt x="144" y="83"/>
                  </a:lnTo>
                  <a:lnTo>
                    <a:pt x="148" y="79"/>
                  </a:lnTo>
                  <a:lnTo>
                    <a:pt x="154" y="76"/>
                  </a:lnTo>
                  <a:lnTo>
                    <a:pt x="155" y="75"/>
                  </a:lnTo>
                  <a:lnTo>
                    <a:pt x="156" y="72"/>
                  </a:lnTo>
                  <a:lnTo>
                    <a:pt x="156" y="69"/>
                  </a:lnTo>
                  <a:lnTo>
                    <a:pt x="158" y="66"/>
                  </a:lnTo>
                  <a:lnTo>
                    <a:pt x="161" y="62"/>
                  </a:lnTo>
                  <a:lnTo>
                    <a:pt x="162" y="63"/>
                  </a:lnTo>
                  <a:lnTo>
                    <a:pt x="164" y="62"/>
                  </a:lnTo>
                  <a:lnTo>
                    <a:pt x="164" y="59"/>
                  </a:lnTo>
                  <a:lnTo>
                    <a:pt x="165" y="53"/>
                  </a:lnTo>
                  <a:lnTo>
                    <a:pt x="165" y="52"/>
                  </a:lnTo>
                  <a:lnTo>
                    <a:pt x="166" y="50"/>
                  </a:lnTo>
                  <a:lnTo>
                    <a:pt x="169" y="52"/>
                  </a:lnTo>
                  <a:lnTo>
                    <a:pt x="172" y="54"/>
                  </a:lnTo>
                  <a:lnTo>
                    <a:pt x="174" y="56"/>
                  </a:lnTo>
                  <a:lnTo>
                    <a:pt x="176" y="54"/>
                  </a:lnTo>
                  <a:lnTo>
                    <a:pt x="178" y="47"/>
                  </a:lnTo>
                  <a:lnTo>
                    <a:pt x="181" y="40"/>
                  </a:lnTo>
                  <a:lnTo>
                    <a:pt x="179" y="36"/>
                  </a:lnTo>
                  <a:lnTo>
                    <a:pt x="178" y="30"/>
                  </a:lnTo>
                  <a:lnTo>
                    <a:pt x="178" y="26"/>
                  </a:lnTo>
                  <a:lnTo>
                    <a:pt x="179" y="24"/>
                  </a:lnTo>
                  <a:lnTo>
                    <a:pt x="184" y="24"/>
                  </a:lnTo>
                  <a:lnTo>
                    <a:pt x="185" y="26"/>
                  </a:lnTo>
                  <a:lnTo>
                    <a:pt x="185" y="29"/>
                  </a:lnTo>
                  <a:lnTo>
                    <a:pt x="188" y="30"/>
                  </a:lnTo>
                  <a:lnTo>
                    <a:pt x="191" y="30"/>
                  </a:lnTo>
                  <a:lnTo>
                    <a:pt x="192" y="27"/>
                  </a:lnTo>
                  <a:lnTo>
                    <a:pt x="192" y="26"/>
                  </a:lnTo>
                  <a:lnTo>
                    <a:pt x="194" y="29"/>
                  </a:lnTo>
                  <a:lnTo>
                    <a:pt x="195" y="27"/>
                  </a:lnTo>
                  <a:lnTo>
                    <a:pt x="197" y="24"/>
                  </a:lnTo>
                  <a:lnTo>
                    <a:pt x="198" y="24"/>
                  </a:lnTo>
                  <a:lnTo>
                    <a:pt x="201" y="24"/>
                  </a:lnTo>
                  <a:lnTo>
                    <a:pt x="204" y="26"/>
                  </a:lnTo>
                  <a:lnTo>
                    <a:pt x="204" y="27"/>
                  </a:lnTo>
                  <a:lnTo>
                    <a:pt x="199" y="29"/>
                  </a:lnTo>
                  <a:lnTo>
                    <a:pt x="198" y="30"/>
                  </a:lnTo>
                  <a:lnTo>
                    <a:pt x="199" y="32"/>
                  </a:lnTo>
                  <a:lnTo>
                    <a:pt x="202" y="32"/>
                  </a:lnTo>
                  <a:lnTo>
                    <a:pt x="205" y="30"/>
                  </a:lnTo>
                  <a:lnTo>
                    <a:pt x="207" y="30"/>
                  </a:lnTo>
                  <a:lnTo>
                    <a:pt x="208" y="30"/>
                  </a:lnTo>
                  <a:lnTo>
                    <a:pt x="208" y="32"/>
                  </a:lnTo>
                  <a:lnTo>
                    <a:pt x="208" y="33"/>
                  </a:lnTo>
                  <a:lnTo>
                    <a:pt x="205" y="34"/>
                  </a:lnTo>
                  <a:lnTo>
                    <a:pt x="205" y="36"/>
                  </a:lnTo>
                  <a:lnTo>
                    <a:pt x="207" y="37"/>
                  </a:lnTo>
                  <a:lnTo>
                    <a:pt x="211" y="37"/>
                  </a:lnTo>
                  <a:lnTo>
                    <a:pt x="212" y="39"/>
                  </a:lnTo>
                  <a:lnTo>
                    <a:pt x="212" y="40"/>
                  </a:lnTo>
                  <a:lnTo>
                    <a:pt x="211" y="42"/>
                  </a:lnTo>
                  <a:lnTo>
                    <a:pt x="209" y="43"/>
                  </a:lnTo>
                  <a:lnTo>
                    <a:pt x="212" y="43"/>
                  </a:lnTo>
                  <a:lnTo>
                    <a:pt x="214" y="43"/>
                  </a:lnTo>
                  <a:lnTo>
                    <a:pt x="215" y="43"/>
                  </a:lnTo>
                  <a:lnTo>
                    <a:pt x="217" y="46"/>
                  </a:lnTo>
                  <a:lnTo>
                    <a:pt x="217" y="47"/>
                  </a:lnTo>
                  <a:lnTo>
                    <a:pt x="219" y="47"/>
                  </a:lnTo>
                  <a:lnTo>
                    <a:pt x="221" y="47"/>
                  </a:lnTo>
                  <a:lnTo>
                    <a:pt x="221" y="49"/>
                  </a:lnTo>
                  <a:lnTo>
                    <a:pt x="221" y="52"/>
                  </a:lnTo>
                  <a:lnTo>
                    <a:pt x="221" y="56"/>
                  </a:lnTo>
                  <a:lnTo>
                    <a:pt x="222" y="59"/>
                  </a:lnTo>
                  <a:lnTo>
                    <a:pt x="225" y="60"/>
                  </a:lnTo>
                  <a:lnTo>
                    <a:pt x="227" y="64"/>
                  </a:lnTo>
                  <a:lnTo>
                    <a:pt x="228" y="73"/>
                  </a:lnTo>
                  <a:lnTo>
                    <a:pt x="227" y="79"/>
                  </a:lnTo>
                  <a:lnTo>
                    <a:pt x="225" y="80"/>
                  </a:lnTo>
                  <a:lnTo>
                    <a:pt x="221" y="80"/>
                  </a:lnTo>
                  <a:lnTo>
                    <a:pt x="221" y="82"/>
                  </a:lnTo>
                  <a:lnTo>
                    <a:pt x="221" y="83"/>
                  </a:lnTo>
                  <a:lnTo>
                    <a:pt x="224" y="86"/>
                  </a:lnTo>
                  <a:lnTo>
                    <a:pt x="224" y="90"/>
                  </a:lnTo>
                  <a:lnTo>
                    <a:pt x="222" y="97"/>
                  </a:lnTo>
                  <a:lnTo>
                    <a:pt x="221" y="106"/>
                  </a:lnTo>
                  <a:lnTo>
                    <a:pt x="221" y="109"/>
                  </a:lnTo>
                  <a:lnTo>
                    <a:pt x="221" y="10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64" name="Freeform 513"/>
            <p:cNvSpPr>
              <a:spLocks/>
            </p:cNvSpPr>
            <p:nvPr/>
          </p:nvSpPr>
          <p:spPr bwMode="auto">
            <a:xfrm>
              <a:off x="5352301" y="2678360"/>
              <a:ext cx="13433" cy="17198"/>
            </a:xfrm>
            <a:custGeom>
              <a:avLst/>
              <a:gdLst>
                <a:gd name="T0" fmla="*/ 21 w 22"/>
                <a:gd name="T1" fmla="*/ 9 h 27"/>
                <a:gd name="T2" fmla="*/ 22 w 22"/>
                <a:gd name="T3" fmla="*/ 7 h 27"/>
                <a:gd name="T4" fmla="*/ 20 w 22"/>
                <a:gd name="T5" fmla="*/ 3 h 27"/>
                <a:gd name="T6" fmla="*/ 15 w 22"/>
                <a:gd name="T7" fmla="*/ 2 h 27"/>
                <a:gd name="T8" fmla="*/ 11 w 22"/>
                <a:gd name="T9" fmla="*/ 0 h 27"/>
                <a:gd name="T10" fmla="*/ 7 w 22"/>
                <a:gd name="T11" fmla="*/ 2 h 27"/>
                <a:gd name="T12" fmla="*/ 2 w 22"/>
                <a:gd name="T13" fmla="*/ 5 h 27"/>
                <a:gd name="T14" fmla="*/ 0 w 22"/>
                <a:gd name="T15" fmla="*/ 12 h 27"/>
                <a:gd name="T16" fmla="*/ 0 w 22"/>
                <a:gd name="T17" fmla="*/ 19 h 27"/>
                <a:gd name="T18" fmla="*/ 0 w 22"/>
                <a:gd name="T19" fmla="*/ 25 h 27"/>
                <a:gd name="T20" fmla="*/ 0 w 22"/>
                <a:gd name="T21" fmla="*/ 27 h 27"/>
                <a:gd name="T22" fmla="*/ 1 w 22"/>
                <a:gd name="T23" fmla="*/ 25 h 27"/>
                <a:gd name="T24" fmla="*/ 1 w 22"/>
                <a:gd name="T25" fmla="*/ 23 h 27"/>
                <a:gd name="T26" fmla="*/ 2 w 22"/>
                <a:gd name="T27" fmla="*/ 22 h 27"/>
                <a:gd name="T28" fmla="*/ 4 w 22"/>
                <a:gd name="T29" fmla="*/ 22 h 27"/>
                <a:gd name="T30" fmla="*/ 5 w 22"/>
                <a:gd name="T31" fmla="*/ 25 h 27"/>
                <a:gd name="T32" fmla="*/ 5 w 22"/>
                <a:gd name="T33" fmla="*/ 27 h 27"/>
                <a:gd name="T34" fmla="*/ 7 w 22"/>
                <a:gd name="T35" fmla="*/ 27 h 27"/>
                <a:gd name="T36" fmla="*/ 10 w 22"/>
                <a:gd name="T37" fmla="*/ 26 h 27"/>
                <a:gd name="T38" fmla="*/ 11 w 22"/>
                <a:gd name="T39" fmla="*/ 26 h 27"/>
                <a:gd name="T40" fmla="*/ 12 w 22"/>
                <a:gd name="T41" fmla="*/ 25 h 27"/>
                <a:gd name="T42" fmla="*/ 14 w 22"/>
                <a:gd name="T43" fmla="*/ 22 h 27"/>
                <a:gd name="T44" fmla="*/ 17 w 22"/>
                <a:gd name="T45" fmla="*/ 20 h 27"/>
                <a:gd name="T46" fmla="*/ 20 w 22"/>
                <a:gd name="T47" fmla="*/ 19 h 27"/>
                <a:gd name="T48" fmla="*/ 21 w 22"/>
                <a:gd name="T49" fmla="*/ 15 h 27"/>
                <a:gd name="T50" fmla="*/ 21 w 22"/>
                <a:gd name="T51" fmla="*/ 9 h 27"/>
                <a:gd name="T52" fmla="*/ 21 w 22"/>
                <a:gd name="T53" fmla="*/ 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" h="27">
                  <a:moveTo>
                    <a:pt x="21" y="9"/>
                  </a:moveTo>
                  <a:lnTo>
                    <a:pt x="22" y="7"/>
                  </a:lnTo>
                  <a:lnTo>
                    <a:pt x="20" y="3"/>
                  </a:lnTo>
                  <a:lnTo>
                    <a:pt x="15" y="2"/>
                  </a:lnTo>
                  <a:lnTo>
                    <a:pt x="11" y="0"/>
                  </a:lnTo>
                  <a:lnTo>
                    <a:pt x="7" y="2"/>
                  </a:lnTo>
                  <a:lnTo>
                    <a:pt x="2" y="5"/>
                  </a:lnTo>
                  <a:lnTo>
                    <a:pt x="0" y="12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1" y="25"/>
                  </a:lnTo>
                  <a:lnTo>
                    <a:pt x="1" y="23"/>
                  </a:lnTo>
                  <a:lnTo>
                    <a:pt x="2" y="22"/>
                  </a:lnTo>
                  <a:lnTo>
                    <a:pt x="4" y="22"/>
                  </a:lnTo>
                  <a:lnTo>
                    <a:pt x="5" y="25"/>
                  </a:lnTo>
                  <a:lnTo>
                    <a:pt x="5" y="27"/>
                  </a:lnTo>
                  <a:lnTo>
                    <a:pt x="7" y="27"/>
                  </a:lnTo>
                  <a:lnTo>
                    <a:pt x="10" y="26"/>
                  </a:lnTo>
                  <a:lnTo>
                    <a:pt x="11" y="26"/>
                  </a:lnTo>
                  <a:lnTo>
                    <a:pt x="12" y="25"/>
                  </a:lnTo>
                  <a:lnTo>
                    <a:pt x="14" y="22"/>
                  </a:lnTo>
                  <a:lnTo>
                    <a:pt x="17" y="20"/>
                  </a:lnTo>
                  <a:lnTo>
                    <a:pt x="20" y="19"/>
                  </a:lnTo>
                  <a:lnTo>
                    <a:pt x="21" y="15"/>
                  </a:lnTo>
                  <a:lnTo>
                    <a:pt x="21" y="9"/>
                  </a:lnTo>
                  <a:lnTo>
                    <a:pt x="21" y="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65" name="Freeform 514"/>
            <p:cNvSpPr>
              <a:spLocks/>
            </p:cNvSpPr>
            <p:nvPr/>
          </p:nvSpPr>
          <p:spPr bwMode="auto">
            <a:xfrm>
              <a:off x="5123948" y="2833140"/>
              <a:ext cx="23202" cy="38364"/>
            </a:xfrm>
            <a:custGeom>
              <a:avLst/>
              <a:gdLst>
                <a:gd name="T0" fmla="*/ 6 w 37"/>
                <a:gd name="T1" fmla="*/ 17 h 57"/>
                <a:gd name="T2" fmla="*/ 0 w 37"/>
                <a:gd name="T3" fmla="*/ 30 h 57"/>
                <a:gd name="T4" fmla="*/ 1 w 37"/>
                <a:gd name="T5" fmla="*/ 46 h 57"/>
                <a:gd name="T6" fmla="*/ 6 w 37"/>
                <a:gd name="T7" fmla="*/ 57 h 57"/>
                <a:gd name="T8" fmla="*/ 8 w 37"/>
                <a:gd name="T9" fmla="*/ 57 h 57"/>
                <a:gd name="T10" fmla="*/ 6 w 37"/>
                <a:gd name="T11" fmla="*/ 52 h 57"/>
                <a:gd name="T12" fmla="*/ 3 w 37"/>
                <a:gd name="T13" fmla="*/ 36 h 57"/>
                <a:gd name="T14" fmla="*/ 3 w 37"/>
                <a:gd name="T15" fmla="*/ 29 h 57"/>
                <a:gd name="T16" fmla="*/ 6 w 37"/>
                <a:gd name="T17" fmla="*/ 23 h 57"/>
                <a:gd name="T18" fmla="*/ 7 w 37"/>
                <a:gd name="T19" fmla="*/ 24 h 57"/>
                <a:gd name="T20" fmla="*/ 4 w 37"/>
                <a:gd name="T21" fmla="*/ 30 h 57"/>
                <a:gd name="T22" fmla="*/ 4 w 37"/>
                <a:gd name="T23" fmla="*/ 36 h 57"/>
                <a:gd name="T24" fmla="*/ 8 w 37"/>
                <a:gd name="T25" fmla="*/ 37 h 57"/>
                <a:gd name="T26" fmla="*/ 10 w 37"/>
                <a:gd name="T27" fmla="*/ 33 h 57"/>
                <a:gd name="T28" fmla="*/ 14 w 37"/>
                <a:gd name="T29" fmla="*/ 33 h 57"/>
                <a:gd name="T30" fmla="*/ 13 w 37"/>
                <a:gd name="T31" fmla="*/ 37 h 57"/>
                <a:gd name="T32" fmla="*/ 11 w 37"/>
                <a:gd name="T33" fmla="*/ 49 h 57"/>
                <a:gd name="T34" fmla="*/ 13 w 37"/>
                <a:gd name="T35" fmla="*/ 57 h 57"/>
                <a:gd name="T36" fmla="*/ 14 w 37"/>
                <a:gd name="T37" fmla="*/ 56 h 57"/>
                <a:gd name="T38" fmla="*/ 14 w 37"/>
                <a:gd name="T39" fmla="*/ 50 h 57"/>
                <a:gd name="T40" fmla="*/ 17 w 37"/>
                <a:gd name="T41" fmla="*/ 42 h 57"/>
                <a:gd name="T42" fmla="*/ 20 w 37"/>
                <a:gd name="T43" fmla="*/ 42 h 57"/>
                <a:gd name="T44" fmla="*/ 18 w 37"/>
                <a:gd name="T45" fmla="*/ 45 h 57"/>
                <a:gd name="T46" fmla="*/ 18 w 37"/>
                <a:gd name="T47" fmla="*/ 49 h 57"/>
                <a:gd name="T48" fmla="*/ 23 w 37"/>
                <a:gd name="T49" fmla="*/ 46 h 57"/>
                <a:gd name="T50" fmla="*/ 23 w 37"/>
                <a:gd name="T51" fmla="*/ 37 h 57"/>
                <a:gd name="T52" fmla="*/ 23 w 37"/>
                <a:gd name="T53" fmla="*/ 33 h 57"/>
                <a:gd name="T54" fmla="*/ 21 w 37"/>
                <a:gd name="T55" fmla="*/ 36 h 57"/>
                <a:gd name="T56" fmla="*/ 18 w 37"/>
                <a:gd name="T57" fmla="*/ 36 h 57"/>
                <a:gd name="T58" fmla="*/ 20 w 37"/>
                <a:gd name="T59" fmla="*/ 32 h 57"/>
                <a:gd name="T60" fmla="*/ 23 w 37"/>
                <a:gd name="T61" fmla="*/ 30 h 57"/>
                <a:gd name="T62" fmla="*/ 28 w 37"/>
                <a:gd name="T63" fmla="*/ 32 h 57"/>
                <a:gd name="T64" fmla="*/ 30 w 37"/>
                <a:gd name="T65" fmla="*/ 36 h 57"/>
                <a:gd name="T66" fmla="*/ 30 w 37"/>
                <a:gd name="T67" fmla="*/ 37 h 57"/>
                <a:gd name="T68" fmla="*/ 33 w 37"/>
                <a:gd name="T69" fmla="*/ 34 h 57"/>
                <a:gd name="T70" fmla="*/ 34 w 37"/>
                <a:gd name="T71" fmla="*/ 24 h 57"/>
                <a:gd name="T72" fmla="*/ 31 w 37"/>
                <a:gd name="T73" fmla="*/ 14 h 57"/>
                <a:gd name="T74" fmla="*/ 31 w 37"/>
                <a:gd name="T75" fmla="*/ 7 h 57"/>
                <a:gd name="T76" fmla="*/ 36 w 37"/>
                <a:gd name="T77" fmla="*/ 3 h 57"/>
                <a:gd name="T78" fmla="*/ 36 w 37"/>
                <a:gd name="T79" fmla="*/ 0 h 57"/>
                <a:gd name="T80" fmla="*/ 27 w 37"/>
                <a:gd name="T81" fmla="*/ 3 h 57"/>
                <a:gd name="T82" fmla="*/ 21 w 37"/>
                <a:gd name="T83" fmla="*/ 3 h 57"/>
                <a:gd name="T84" fmla="*/ 21 w 37"/>
                <a:gd name="T85" fmla="*/ 6 h 57"/>
                <a:gd name="T86" fmla="*/ 27 w 37"/>
                <a:gd name="T87" fmla="*/ 6 h 57"/>
                <a:gd name="T88" fmla="*/ 26 w 37"/>
                <a:gd name="T89" fmla="*/ 9 h 57"/>
                <a:gd name="T90" fmla="*/ 24 w 37"/>
                <a:gd name="T91" fmla="*/ 13 h 57"/>
                <a:gd name="T92" fmla="*/ 21 w 37"/>
                <a:gd name="T93" fmla="*/ 12 h 57"/>
                <a:gd name="T94" fmla="*/ 20 w 37"/>
                <a:gd name="T95" fmla="*/ 19 h 57"/>
                <a:gd name="T96" fmla="*/ 18 w 37"/>
                <a:gd name="T97" fmla="*/ 23 h 57"/>
                <a:gd name="T98" fmla="*/ 14 w 37"/>
                <a:gd name="T99" fmla="*/ 23 h 57"/>
                <a:gd name="T100" fmla="*/ 11 w 37"/>
                <a:gd name="T101" fmla="*/ 20 h 57"/>
                <a:gd name="T102" fmla="*/ 13 w 37"/>
                <a:gd name="T103" fmla="*/ 14 h 57"/>
                <a:gd name="T104" fmla="*/ 18 w 37"/>
                <a:gd name="T105" fmla="*/ 9 h 57"/>
                <a:gd name="T106" fmla="*/ 17 w 37"/>
                <a:gd name="T107" fmla="*/ 6 h 57"/>
                <a:gd name="T108" fmla="*/ 17 w 37"/>
                <a:gd name="T109" fmla="*/ 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" h="57">
                  <a:moveTo>
                    <a:pt x="17" y="6"/>
                  </a:moveTo>
                  <a:lnTo>
                    <a:pt x="6" y="17"/>
                  </a:lnTo>
                  <a:lnTo>
                    <a:pt x="3" y="23"/>
                  </a:lnTo>
                  <a:lnTo>
                    <a:pt x="0" y="30"/>
                  </a:lnTo>
                  <a:lnTo>
                    <a:pt x="0" y="37"/>
                  </a:lnTo>
                  <a:lnTo>
                    <a:pt x="1" y="46"/>
                  </a:lnTo>
                  <a:lnTo>
                    <a:pt x="3" y="55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8" y="57"/>
                  </a:lnTo>
                  <a:lnTo>
                    <a:pt x="8" y="55"/>
                  </a:lnTo>
                  <a:lnTo>
                    <a:pt x="6" y="52"/>
                  </a:lnTo>
                  <a:lnTo>
                    <a:pt x="3" y="43"/>
                  </a:lnTo>
                  <a:lnTo>
                    <a:pt x="3" y="36"/>
                  </a:lnTo>
                  <a:lnTo>
                    <a:pt x="3" y="32"/>
                  </a:lnTo>
                  <a:lnTo>
                    <a:pt x="3" y="29"/>
                  </a:lnTo>
                  <a:lnTo>
                    <a:pt x="4" y="26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4"/>
                  </a:lnTo>
                  <a:lnTo>
                    <a:pt x="6" y="29"/>
                  </a:lnTo>
                  <a:lnTo>
                    <a:pt x="4" y="30"/>
                  </a:lnTo>
                  <a:lnTo>
                    <a:pt x="4" y="33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8" y="37"/>
                  </a:lnTo>
                  <a:lnTo>
                    <a:pt x="8" y="36"/>
                  </a:lnTo>
                  <a:lnTo>
                    <a:pt x="10" y="33"/>
                  </a:lnTo>
                  <a:lnTo>
                    <a:pt x="11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3" y="37"/>
                  </a:lnTo>
                  <a:lnTo>
                    <a:pt x="13" y="43"/>
                  </a:lnTo>
                  <a:lnTo>
                    <a:pt x="11" y="49"/>
                  </a:lnTo>
                  <a:lnTo>
                    <a:pt x="11" y="55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4" y="56"/>
                  </a:lnTo>
                  <a:lnTo>
                    <a:pt x="14" y="53"/>
                  </a:lnTo>
                  <a:lnTo>
                    <a:pt x="14" y="50"/>
                  </a:lnTo>
                  <a:lnTo>
                    <a:pt x="16" y="47"/>
                  </a:lnTo>
                  <a:lnTo>
                    <a:pt x="17" y="42"/>
                  </a:lnTo>
                  <a:lnTo>
                    <a:pt x="18" y="40"/>
                  </a:lnTo>
                  <a:lnTo>
                    <a:pt x="20" y="42"/>
                  </a:lnTo>
                  <a:lnTo>
                    <a:pt x="20" y="43"/>
                  </a:lnTo>
                  <a:lnTo>
                    <a:pt x="18" y="45"/>
                  </a:lnTo>
                  <a:lnTo>
                    <a:pt x="18" y="47"/>
                  </a:lnTo>
                  <a:lnTo>
                    <a:pt x="18" y="49"/>
                  </a:lnTo>
                  <a:lnTo>
                    <a:pt x="21" y="49"/>
                  </a:lnTo>
                  <a:lnTo>
                    <a:pt x="23" y="46"/>
                  </a:lnTo>
                  <a:lnTo>
                    <a:pt x="23" y="42"/>
                  </a:lnTo>
                  <a:lnTo>
                    <a:pt x="23" y="37"/>
                  </a:lnTo>
                  <a:lnTo>
                    <a:pt x="24" y="36"/>
                  </a:lnTo>
                  <a:lnTo>
                    <a:pt x="23" y="33"/>
                  </a:lnTo>
                  <a:lnTo>
                    <a:pt x="21" y="34"/>
                  </a:lnTo>
                  <a:lnTo>
                    <a:pt x="21" y="36"/>
                  </a:lnTo>
                  <a:lnTo>
                    <a:pt x="20" y="37"/>
                  </a:lnTo>
                  <a:lnTo>
                    <a:pt x="18" y="36"/>
                  </a:lnTo>
                  <a:lnTo>
                    <a:pt x="18" y="33"/>
                  </a:lnTo>
                  <a:lnTo>
                    <a:pt x="20" y="32"/>
                  </a:lnTo>
                  <a:lnTo>
                    <a:pt x="21" y="30"/>
                  </a:lnTo>
                  <a:lnTo>
                    <a:pt x="23" y="30"/>
                  </a:lnTo>
                  <a:lnTo>
                    <a:pt x="26" y="30"/>
                  </a:lnTo>
                  <a:lnTo>
                    <a:pt x="28" y="32"/>
                  </a:lnTo>
                  <a:lnTo>
                    <a:pt x="30" y="33"/>
                  </a:lnTo>
                  <a:lnTo>
                    <a:pt x="30" y="36"/>
                  </a:lnTo>
                  <a:lnTo>
                    <a:pt x="28" y="37"/>
                  </a:lnTo>
                  <a:lnTo>
                    <a:pt x="30" y="37"/>
                  </a:lnTo>
                  <a:lnTo>
                    <a:pt x="33" y="36"/>
                  </a:lnTo>
                  <a:lnTo>
                    <a:pt x="33" y="34"/>
                  </a:lnTo>
                  <a:lnTo>
                    <a:pt x="34" y="30"/>
                  </a:lnTo>
                  <a:lnTo>
                    <a:pt x="34" y="24"/>
                  </a:lnTo>
                  <a:lnTo>
                    <a:pt x="31" y="20"/>
                  </a:lnTo>
                  <a:lnTo>
                    <a:pt x="31" y="14"/>
                  </a:lnTo>
                  <a:lnTo>
                    <a:pt x="31" y="12"/>
                  </a:lnTo>
                  <a:lnTo>
                    <a:pt x="31" y="7"/>
                  </a:lnTo>
                  <a:lnTo>
                    <a:pt x="33" y="6"/>
                  </a:lnTo>
                  <a:lnTo>
                    <a:pt x="36" y="3"/>
                  </a:lnTo>
                  <a:lnTo>
                    <a:pt x="37" y="2"/>
                  </a:lnTo>
                  <a:lnTo>
                    <a:pt x="36" y="0"/>
                  </a:lnTo>
                  <a:lnTo>
                    <a:pt x="30" y="2"/>
                  </a:lnTo>
                  <a:lnTo>
                    <a:pt x="27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4" y="6"/>
                  </a:lnTo>
                  <a:lnTo>
                    <a:pt x="27" y="6"/>
                  </a:lnTo>
                  <a:lnTo>
                    <a:pt x="27" y="7"/>
                  </a:lnTo>
                  <a:lnTo>
                    <a:pt x="26" y="9"/>
                  </a:lnTo>
                  <a:lnTo>
                    <a:pt x="24" y="10"/>
                  </a:lnTo>
                  <a:lnTo>
                    <a:pt x="24" y="13"/>
                  </a:lnTo>
                  <a:lnTo>
                    <a:pt x="21" y="13"/>
                  </a:lnTo>
                  <a:lnTo>
                    <a:pt x="21" y="12"/>
                  </a:lnTo>
                  <a:lnTo>
                    <a:pt x="20" y="14"/>
                  </a:lnTo>
                  <a:lnTo>
                    <a:pt x="20" y="19"/>
                  </a:lnTo>
                  <a:lnTo>
                    <a:pt x="20" y="22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4" y="23"/>
                  </a:lnTo>
                  <a:lnTo>
                    <a:pt x="13" y="22"/>
                  </a:lnTo>
                  <a:lnTo>
                    <a:pt x="11" y="20"/>
                  </a:lnTo>
                  <a:lnTo>
                    <a:pt x="11" y="17"/>
                  </a:lnTo>
                  <a:lnTo>
                    <a:pt x="13" y="14"/>
                  </a:lnTo>
                  <a:lnTo>
                    <a:pt x="16" y="12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66" name="Freeform 515"/>
            <p:cNvSpPr>
              <a:spLocks/>
            </p:cNvSpPr>
            <p:nvPr/>
          </p:nvSpPr>
          <p:spPr bwMode="auto">
            <a:xfrm>
              <a:off x="5160582" y="2786838"/>
              <a:ext cx="23202" cy="13229"/>
            </a:xfrm>
            <a:custGeom>
              <a:avLst/>
              <a:gdLst>
                <a:gd name="T0" fmla="*/ 27 w 37"/>
                <a:gd name="T1" fmla="*/ 9 h 20"/>
                <a:gd name="T2" fmla="*/ 23 w 37"/>
                <a:gd name="T3" fmla="*/ 4 h 20"/>
                <a:gd name="T4" fmla="*/ 20 w 37"/>
                <a:gd name="T5" fmla="*/ 3 h 20"/>
                <a:gd name="T6" fmla="*/ 16 w 37"/>
                <a:gd name="T7" fmla="*/ 1 h 20"/>
                <a:gd name="T8" fmla="*/ 13 w 37"/>
                <a:gd name="T9" fmla="*/ 0 h 20"/>
                <a:gd name="T10" fmla="*/ 10 w 37"/>
                <a:gd name="T11" fmla="*/ 1 h 20"/>
                <a:gd name="T12" fmla="*/ 10 w 37"/>
                <a:gd name="T13" fmla="*/ 3 h 20"/>
                <a:gd name="T14" fmla="*/ 9 w 37"/>
                <a:gd name="T15" fmla="*/ 6 h 20"/>
                <a:gd name="T16" fmla="*/ 6 w 37"/>
                <a:gd name="T17" fmla="*/ 6 h 20"/>
                <a:gd name="T18" fmla="*/ 6 w 37"/>
                <a:gd name="T19" fmla="*/ 3 h 20"/>
                <a:gd name="T20" fmla="*/ 4 w 37"/>
                <a:gd name="T21" fmla="*/ 1 h 20"/>
                <a:gd name="T22" fmla="*/ 1 w 37"/>
                <a:gd name="T23" fmla="*/ 1 h 20"/>
                <a:gd name="T24" fmla="*/ 0 w 37"/>
                <a:gd name="T25" fmla="*/ 3 h 20"/>
                <a:gd name="T26" fmla="*/ 0 w 37"/>
                <a:gd name="T27" fmla="*/ 4 h 20"/>
                <a:gd name="T28" fmla="*/ 0 w 37"/>
                <a:gd name="T29" fmla="*/ 7 h 20"/>
                <a:gd name="T30" fmla="*/ 3 w 37"/>
                <a:gd name="T31" fmla="*/ 9 h 20"/>
                <a:gd name="T32" fmla="*/ 7 w 37"/>
                <a:gd name="T33" fmla="*/ 10 h 20"/>
                <a:gd name="T34" fmla="*/ 13 w 37"/>
                <a:gd name="T35" fmla="*/ 10 h 20"/>
                <a:gd name="T36" fmla="*/ 20 w 37"/>
                <a:gd name="T37" fmla="*/ 11 h 20"/>
                <a:gd name="T38" fmla="*/ 23 w 37"/>
                <a:gd name="T39" fmla="*/ 11 h 20"/>
                <a:gd name="T40" fmla="*/ 27 w 37"/>
                <a:gd name="T41" fmla="*/ 14 h 20"/>
                <a:gd name="T42" fmla="*/ 27 w 37"/>
                <a:gd name="T43" fmla="*/ 16 h 20"/>
                <a:gd name="T44" fmla="*/ 27 w 37"/>
                <a:gd name="T45" fmla="*/ 17 h 20"/>
                <a:gd name="T46" fmla="*/ 29 w 37"/>
                <a:gd name="T47" fmla="*/ 19 h 20"/>
                <a:gd name="T48" fmla="*/ 31 w 37"/>
                <a:gd name="T49" fmla="*/ 19 h 20"/>
                <a:gd name="T50" fmla="*/ 34 w 37"/>
                <a:gd name="T51" fmla="*/ 20 h 20"/>
                <a:gd name="T52" fmla="*/ 37 w 37"/>
                <a:gd name="T53" fmla="*/ 20 h 20"/>
                <a:gd name="T54" fmla="*/ 37 w 37"/>
                <a:gd name="T55" fmla="*/ 19 h 20"/>
                <a:gd name="T56" fmla="*/ 36 w 37"/>
                <a:gd name="T57" fmla="*/ 14 h 20"/>
                <a:gd name="T58" fmla="*/ 33 w 37"/>
                <a:gd name="T59" fmla="*/ 13 h 20"/>
                <a:gd name="T60" fmla="*/ 30 w 37"/>
                <a:gd name="T61" fmla="*/ 10 h 20"/>
                <a:gd name="T62" fmla="*/ 27 w 37"/>
                <a:gd name="T63" fmla="*/ 9 h 20"/>
                <a:gd name="T64" fmla="*/ 27 w 37"/>
                <a:gd name="T65" fmla="*/ 9 h 20"/>
                <a:gd name="T66" fmla="*/ 27 w 37"/>
                <a:gd name="T67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7" h="20">
                  <a:moveTo>
                    <a:pt x="27" y="9"/>
                  </a:moveTo>
                  <a:lnTo>
                    <a:pt x="23" y="4"/>
                  </a:lnTo>
                  <a:lnTo>
                    <a:pt x="20" y="3"/>
                  </a:lnTo>
                  <a:lnTo>
                    <a:pt x="16" y="1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10" y="3"/>
                  </a:lnTo>
                  <a:lnTo>
                    <a:pt x="9" y="6"/>
                  </a:lnTo>
                  <a:lnTo>
                    <a:pt x="6" y="6"/>
                  </a:lnTo>
                  <a:lnTo>
                    <a:pt x="6" y="3"/>
                  </a:lnTo>
                  <a:lnTo>
                    <a:pt x="4" y="1"/>
                  </a:lnTo>
                  <a:lnTo>
                    <a:pt x="1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7"/>
                  </a:lnTo>
                  <a:lnTo>
                    <a:pt x="3" y="9"/>
                  </a:lnTo>
                  <a:lnTo>
                    <a:pt x="7" y="10"/>
                  </a:lnTo>
                  <a:lnTo>
                    <a:pt x="13" y="10"/>
                  </a:lnTo>
                  <a:lnTo>
                    <a:pt x="20" y="11"/>
                  </a:lnTo>
                  <a:lnTo>
                    <a:pt x="23" y="11"/>
                  </a:lnTo>
                  <a:lnTo>
                    <a:pt x="27" y="14"/>
                  </a:lnTo>
                  <a:lnTo>
                    <a:pt x="27" y="16"/>
                  </a:lnTo>
                  <a:lnTo>
                    <a:pt x="27" y="17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4" y="20"/>
                  </a:lnTo>
                  <a:lnTo>
                    <a:pt x="37" y="20"/>
                  </a:lnTo>
                  <a:lnTo>
                    <a:pt x="37" y="19"/>
                  </a:lnTo>
                  <a:lnTo>
                    <a:pt x="36" y="14"/>
                  </a:lnTo>
                  <a:lnTo>
                    <a:pt x="33" y="13"/>
                  </a:lnTo>
                  <a:lnTo>
                    <a:pt x="30" y="10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67" name="Freeform 516"/>
            <p:cNvSpPr>
              <a:spLocks/>
            </p:cNvSpPr>
            <p:nvPr/>
          </p:nvSpPr>
          <p:spPr bwMode="auto">
            <a:xfrm>
              <a:off x="5143486" y="2785515"/>
              <a:ext cx="15875" cy="14552"/>
            </a:xfrm>
            <a:custGeom>
              <a:avLst/>
              <a:gdLst>
                <a:gd name="T0" fmla="*/ 13 w 24"/>
                <a:gd name="T1" fmla="*/ 4 h 23"/>
                <a:gd name="T2" fmla="*/ 11 w 24"/>
                <a:gd name="T3" fmla="*/ 2 h 23"/>
                <a:gd name="T4" fmla="*/ 8 w 24"/>
                <a:gd name="T5" fmla="*/ 0 h 23"/>
                <a:gd name="T6" fmla="*/ 7 w 24"/>
                <a:gd name="T7" fmla="*/ 0 h 23"/>
                <a:gd name="T8" fmla="*/ 4 w 24"/>
                <a:gd name="T9" fmla="*/ 0 h 23"/>
                <a:gd name="T10" fmla="*/ 3 w 24"/>
                <a:gd name="T11" fmla="*/ 3 h 23"/>
                <a:gd name="T12" fmla="*/ 0 w 24"/>
                <a:gd name="T13" fmla="*/ 4 h 23"/>
                <a:gd name="T14" fmla="*/ 0 w 24"/>
                <a:gd name="T15" fmla="*/ 7 h 23"/>
                <a:gd name="T16" fmla="*/ 3 w 24"/>
                <a:gd name="T17" fmla="*/ 9 h 23"/>
                <a:gd name="T18" fmla="*/ 7 w 24"/>
                <a:gd name="T19" fmla="*/ 13 h 23"/>
                <a:gd name="T20" fmla="*/ 13 w 24"/>
                <a:gd name="T21" fmla="*/ 17 h 23"/>
                <a:gd name="T22" fmla="*/ 18 w 24"/>
                <a:gd name="T23" fmla="*/ 20 h 23"/>
                <a:gd name="T24" fmla="*/ 21 w 24"/>
                <a:gd name="T25" fmla="*/ 22 h 23"/>
                <a:gd name="T26" fmla="*/ 23 w 24"/>
                <a:gd name="T27" fmla="*/ 23 h 23"/>
                <a:gd name="T28" fmla="*/ 24 w 24"/>
                <a:gd name="T29" fmla="*/ 20 h 23"/>
                <a:gd name="T30" fmla="*/ 23 w 24"/>
                <a:gd name="T31" fmla="*/ 19 h 23"/>
                <a:gd name="T32" fmla="*/ 20 w 24"/>
                <a:gd name="T33" fmla="*/ 17 h 23"/>
                <a:gd name="T34" fmla="*/ 14 w 24"/>
                <a:gd name="T35" fmla="*/ 14 h 23"/>
                <a:gd name="T36" fmla="*/ 13 w 24"/>
                <a:gd name="T37" fmla="*/ 13 h 23"/>
                <a:gd name="T38" fmla="*/ 11 w 24"/>
                <a:gd name="T39" fmla="*/ 10 h 23"/>
                <a:gd name="T40" fmla="*/ 10 w 24"/>
                <a:gd name="T41" fmla="*/ 9 h 23"/>
                <a:gd name="T42" fmla="*/ 5 w 24"/>
                <a:gd name="T43" fmla="*/ 9 h 23"/>
                <a:gd name="T44" fmla="*/ 4 w 24"/>
                <a:gd name="T45" fmla="*/ 7 h 23"/>
                <a:gd name="T46" fmla="*/ 4 w 24"/>
                <a:gd name="T47" fmla="*/ 4 h 23"/>
                <a:gd name="T48" fmla="*/ 5 w 24"/>
                <a:gd name="T49" fmla="*/ 3 h 23"/>
                <a:gd name="T50" fmla="*/ 8 w 24"/>
                <a:gd name="T51" fmla="*/ 4 h 23"/>
                <a:gd name="T52" fmla="*/ 11 w 24"/>
                <a:gd name="T53" fmla="*/ 6 h 23"/>
                <a:gd name="T54" fmla="*/ 13 w 24"/>
                <a:gd name="T55" fmla="*/ 4 h 23"/>
                <a:gd name="T56" fmla="*/ 13 w 24"/>
                <a:gd name="T57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3">
                  <a:moveTo>
                    <a:pt x="13" y="4"/>
                  </a:moveTo>
                  <a:lnTo>
                    <a:pt x="11" y="2"/>
                  </a:lnTo>
                  <a:lnTo>
                    <a:pt x="8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3" y="3"/>
                  </a:lnTo>
                  <a:lnTo>
                    <a:pt x="0" y="4"/>
                  </a:lnTo>
                  <a:lnTo>
                    <a:pt x="0" y="7"/>
                  </a:lnTo>
                  <a:lnTo>
                    <a:pt x="3" y="9"/>
                  </a:lnTo>
                  <a:lnTo>
                    <a:pt x="7" y="13"/>
                  </a:lnTo>
                  <a:lnTo>
                    <a:pt x="13" y="17"/>
                  </a:lnTo>
                  <a:lnTo>
                    <a:pt x="18" y="20"/>
                  </a:lnTo>
                  <a:lnTo>
                    <a:pt x="21" y="22"/>
                  </a:lnTo>
                  <a:lnTo>
                    <a:pt x="23" y="23"/>
                  </a:lnTo>
                  <a:lnTo>
                    <a:pt x="24" y="20"/>
                  </a:lnTo>
                  <a:lnTo>
                    <a:pt x="23" y="19"/>
                  </a:lnTo>
                  <a:lnTo>
                    <a:pt x="20" y="17"/>
                  </a:lnTo>
                  <a:lnTo>
                    <a:pt x="14" y="14"/>
                  </a:lnTo>
                  <a:lnTo>
                    <a:pt x="13" y="13"/>
                  </a:lnTo>
                  <a:lnTo>
                    <a:pt x="11" y="10"/>
                  </a:lnTo>
                  <a:lnTo>
                    <a:pt x="10" y="9"/>
                  </a:lnTo>
                  <a:lnTo>
                    <a:pt x="5" y="9"/>
                  </a:lnTo>
                  <a:lnTo>
                    <a:pt x="4" y="7"/>
                  </a:lnTo>
                  <a:lnTo>
                    <a:pt x="4" y="4"/>
                  </a:lnTo>
                  <a:lnTo>
                    <a:pt x="5" y="3"/>
                  </a:lnTo>
                  <a:lnTo>
                    <a:pt x="8" y="4"/>
                  </a:lnTo>
                  <a:lnTo>
                    <a:pt x="11" y="6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68" name="Freeform 517"/>
            <p:cNvSpPr>
              <a:spLocks/>
            </p:cNvSpPr>
            <p:nvPr/>
          </p:nvSpPr>
          <p:spPr bwMode="auto">
            <a:xfrm>
              <a:off x="5432897" y="2232541"/>
              <a:ext cx="26865" cy="23812"/>
            </a:xfrm>
            <a:custGeom>
              <a:avLst/>
              <a:gdLst>
                <a:gd name="T0" fmla="*/ 38 w 43"/>
                <a:gd name="T1" fmla="*/ 4 h 36"/>
                <a:gd name="T2" fmla="*/ 41 w 43"/>
                <a:gd name="T3" fmla="*/ 9 h 36"/>
                <a:gd name="T4" fmla="*/ 41 w 43"/>
                <a:gd name="T5" fmla="*/ 10 h 36"/>
                <a:gd name="T6" fmla="*/ 43 w 43"/>
                <a:gd name="T7" fmla="*/ 16 h 36"/>
                <a:gd name="T8" fmla="*/ 43 w 43"/>
                <a:gd name="T9" fmla="*/ 20 h 36"/>
                <a:gd name="T10" fmla="*/ 40 w 43"/>
                <a:gd name="T11" fmla="*/ 26 h 36"/>
                <a:gd name="T12" fmla="*/ 34 w 43"/>
                <a:gd name="T13" fmla="*/ 33 h 36"/>
                <a:gd name="T14" fmla="*/ 31 w 43"/>
                <a:gd name="T15" fmla="*/ 36 h 36"/>
                <a:gd name="T16" fmla="*/ 27 w 43"/>
                <a:gd name="T17" fmla="*/ 36 h 36"/>
                <a:gd name="T18" fmla="*/ 20 w 43"/>
                <a:gd name="T19" fmla="*/ 36 h 36"/>
                <a:gd name="T20" fmla="*/ 17 w 43"/>
                <a:gd name="T21" fmla="*/ 33 h 36"/>
                <a:gd name="T22" fmla="*/ 10 w 43"/>
                <a:gd name="T23" fmla="*/ 29 h 36"/>
                <a:gd name="T24" fmla="*/ 4 w 43"/>
                <a:gd name="T25" fmla="*/ 24 h 36"/>
                <a:gd name="T26" fmla="*/ 1 w 43"/>
                <a:gd name="T27" fmla="*/ 20 h 36"/>
                <a:gd name="T28" fmla="*/ 0 w 43"/>
                <a:gd name="T29" fmla="*/ 16 h 36"/>
                <a:gd name="T30" fmla="*/ 0 w 43"/>
                <a:gd name="T31" fmla="*/ 12 h 36"/>
                <a:gd name="T32" fmla="*/ 1 w 43"/>
                <a:gd name="T33" fmla="*/ 6 h 36"/>
                <a:gd name="T34" fmla="*/ 7 w 43"/>
                <a:gd name="T35" fmla="*/ 3 h 36"/>
                <a:gd name="T36" fmla="*/ 13 w 43"/>
                <a:gd name="T37" fmla="*/ 0 h 36"/>
                <a:gd name="T38" fmla="*/ 28 w 43"/>
                <a:gd name="T39" fmla="*/ 0 h 36"/>
                <a:gd name="T40" fmla="*/ 34 w 43"/>
                <a:gd name="T41" fmla="*/ 2 h 36"/>
                <a:gd name="T42" fmla="*/ 38 w 43"/>
                <a:gd name="T43" fmla="*/ 4 h 36"/>
                <a:gd name="T44" fmla="*/ 38 w 43"/>
                <a:gd name="T45" fmla="*/ 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" h="36">
                  <a:moveTo>
                    <a:pt x="38" y="4"/>
                  </a:moveTo>
                  <a:lnTo>
                    <a:pt x="41" y="9"/>
                  </a:lnTo>
                  <a:lnTo>
                    <a:pt x="41" y="10"/>
                  </a:lnTo>
                  <a:lnTo>
                    <a:pt x="43" y="16"/>
                  </a:lnTo>
                  <a:lnTo>
                    <a:pt x="43" y="20"/>
                  </a:lnTo>
                  <a:lnTo>
                    <a:pt x="40" y="26"/>
                  </a:lnTo>
                  <a:lnTo>
                    <a:pt x="34" y="33"/>
                  </a:lnTo>
                  <a:lnTo>
                    <a:pt x="31" y="36"/>
                  </a:lnTo>
                  <a:lnTo>
                    <a:pt x="27" y="36"/>
                  </a:lnTo>
                  <a:lnTo>
                    <a:pt x="20" y="36"/>
                  </a:lnTo>
                  <a:lnTo>
                    <a:pt x="17" y="33"/>
                  </a:lnTo>
                  <a:lnTo>
                    <a:pt x="10" y="29"/>
                  </a:lnTo>
                  <a:lnTo>
                    <a:pt x="4" y="24"/>
                  </a:lnTo>
                  <a:lnTo>
                    <a:pt x="1" y="20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1" y="6"/>
                  </a:lnTo>
                  <a:lnTo>
                    <a:pt x="7" y="3"/>
                  </a:lnTo>
                  <a:lnTo>
                    <a:pt x="13" y="0"/>
                  </a:lnTo>
                  <a:lnTo>
                    <a:pt x="28" y="0"/>
                  </a:lnTo>
                  <a:lnTo>
                    <a:pt x="34" y="2"/>
                  </a:lnTo>
                  <a:lnTo>
                    <a:pt x="38" y="4"/>
                  </a:lnTo>
                  <a:lnTo>
                    <a:pt x="38" y="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69" name="Freeform 518"/>
            <p:cNvSpPr>
              <a:spLocks/>
            </p:cNvSpPr>
            <p:nvPr/>
          </p:nvSpPr>
          <p:spPr bwMode="auto">
            <a:xfrm>
              <a:off x="5242399" y="2214021"/>
              <a:ext cx="23202" cy="19844"/>
            </a:xfrm>
            <a:custGeom>
              <a:avLst/>
              <a:gdLst>
                <a:gd name="T0" fmla="*/ 37 w 39"/>
                <a:gd name="T1" fmla="*/ 15 h 31"/>
                <a:gd name="T2" fmla="*/ 34 w 39"/>
                <a:gd name="T3" fmla="*/ 10 h 31"/>
                <a:gd name="T4" fmla="*/ 33 w 39"/>
                <a:gd name="T5" fmla="*/ 6 h 31"/>
                <a:gd name="T6" fmla="*/ 30 w 39"/>
                <a:gd name="T7" fmla="*/ 5 h 31"/>
                <a:gd name="T8" fmla="*/ 29 w 39"/>
                <a:gd name="T9" fmla="*/ 5 h 31"/>
                <a:gd name="T10" fmla="*/ 24 w 39"/>
                <a:gd name="T11" fmla="*/ 5 h 31"/>
                <a:gd name="T12" fmla="*/ 17 w 39"/>
                <a:gd name="T13" fmla="*/ 3 h 31"/>
                <a:gd name="T14" fmla="*/ 13 w 39"/>
                <a:gd name="T15" fmla="*/ 0 h 31"/>
                <a:gd name="T16" fmla="*/ 10 w 39"/>
                <a:gd name="T17" fmla="*/ 2 h 31"/>
                <a:gd name="T18" fmla="*/ 7 w 39"/>
                <a:gd name="T19" fmla="*/ 2 h 31"/>
                <a:gd name="T20" fmla="*/ 6 w 39"/>
                <a:gd name="T21" fmla="*/ 6 h 31"/>
                <a:gd name="T22" fmla="*/ 4 w 39"/>
                <a:gd name="T23" fmla="*/ 8 h 31"/>
                <a:gd name="T24" fmla="*/ 2 w 39"/>
                <a:gd name="T25" fmla="*/ 15 h 31"/>
                <a:gd name="T26" fmla="*/ 0 w 39"/>
                <a:gd name="T27" fmla="*/ 18 h 31"/>
                <a:gd name="T28" fmla="*/ 2 w 39"/>
                <a:gd name="T29" fmla="*/ 21 h 31"/>
                <a:gd name="T30" fmla="*/ 12 w 39"/>
                <a:gd name="T31" fmla="*/ 28 h 31"/>
                <a:gd name="T32" fmla="*/ 19 w 39"/>
                <a:gd name="T33" fmla="*/ 29 h 31"/>
                <a:gd name="T34" fmla="*/ 24 w 39"/>
                <a:gd name="T35" fmla="*/ 31 h 31"/>
                <a:gd name="T36" fmla="*/ 33 w 39"/>
                <a:gd name="T37" fmla="*/ 29 h 31"/>
                <a:gd name="T38" fmla="*/ 36 w 39"/>
                <a:gd name="T39" fmla="*/ 26 h 31"/>
                <a:gd name="T40" fmla="*/ 39 w 39"/>
                <a:gd name="T41" fmla="*/ 23 h 31"/>
                <a:gd name="T42" fmla="*/ 39 w 39"/>
                <a:gd name="T43" fmla="*/ 22 h 31"/>
                <a:gd name="T44" fmla="*/ 39 w 39"/>
                <a:gd name="T45" fmla="*/ 19 h 31"/>
                <a:gd name="T46" fmla="*/ 37 w 39"/>
                <a:gd name="T47" fmla="*/ 15 h 31"/>
                <a:gd name="T48" fmla="*/ 37 w 39"/>
                <a:gd name="T4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9" h="31">
                  <a:moveTo>
                    <a:pt x="37" y="15"/>
                  </a:moveTo>
                  <a:lnTo>
                    <a:pt x="34" y="10"/>
                  </a:lnTo>
                  <a:lnTo>
                    <a:pt x="33" y="6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4" y="5"/>
                  </a:lnTo>
                  <a:lnTo>
                    <a:pt x="17" y="3"/>
                  </a:lnTo>
                  <a:lnTo>
                    <a:pt x="13" y="0"/>
                  </a:lnTo>
                  <a:lnTo>
                    <a:pt x="10" y="2"/>
                  </a:lnTo>
                  <a:lnTo>
                    <a:pt x="7" y="2"/>
                  </a:lnTo>
                  <a:lnTo>
                    <a:pt x="6" y="6"/>
                  </a:lnTo>
                  <a:lnTo>
                    <a:pt x="4" y="8"/>
                  </a:lnTo>
                  <a:lnTo>
                    <a:pt x="2" y="15"/>
                  </a:lnTo>
                  <a:lnTo>
                    <a:pt x="0" y="18"/>
                  </a:lnTo>
                  <a:lnTo>
                    <a:pt x="2" y="21"/>
                  </a:lnTo>
                  <a:lnTo>
                    <a:pt x="12" y="28"/>
                  </a:lnTo>
                  <a:lnTo>
                    <a:pt x="19" y="29"/>
                  </a:lnTo>
                  <a:lnTo>
                    <a:pt x="24" y="31"/>
                  </a:lnTo>
                  <a:lnTo>
                    <a:pt x="33" y="29"/>
                  </a:lnTo>
                  <a:lnTo>
                    <a:pt x="36" y="26"/>
                  </a:lnTo>
                  <a:lnTo>
                    <a:pt x="39" y="23"/>
                  </a:lnTo>
                  <a:lnTo>
                    <a:pt x="39" y="22"/>
                  </a:lnTo>
                  <a:lnTo>
                    <a:pt x="39" y="19"/>
                  </a:lnTo>
                  <a:lnTo>
                    <a:pt x="37" y="15"/>
                  </a:lnTo>
                  <a:lnTo>
                    <a:pt x="37" y="1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70" name="Freeform 519"/>
            <p:cNvSpPr>
              <a:spLocks/>
            </p:cNvSpPr>
            <p:nvPr/>
          </p:nvSpPr>
          <p:spPr bwMode="auto">
            <a:xfrm>
              <a:off x="5149592" y="2338374"/>
              <a:ext cx="21981" cy="26458"/>
            </a:xfrm>
            <a:custGeom>
              <a:avLst/>
              <a:gdLst>
                <a:gd name="T0" fmla="*/ 21 w 36"/>
                <a:gd name="T1" fmla="*/ 18 h 40"/>
                <a:gd name="T2" fmla="*/ 17 w 36"/>
                <a:gd name="T3" fmla="*/ 12 h 40"/>
                <a:gd name="T4" fmla="*/ 14 w 36"/>
                <a:gd name="T5" fmla="*/ 8 h 40"/>
                <a:gd name="T6" fmla="*/ 14 w 36"/>
                <a:gd name="T7" fmla="*/ 8 h 40"/>
                <a:gd name="T8" fmla="*/ 13 w 36"/>
                <a:gd name="T9" fmla="*/ 10 h 40"/>
                <a:gd name="T10" fmla="*/ 13 w 36"/>
                <a:gd name="T11" fmla="*/ 11 h 40"/>
                <a:gd name="T12" fmla="*/ 10 w 36"/>
                <a:gd name="T13" fmla="*/ 11 h 40"/>
                <a:gd name="T14" fmla="*/ 7 w 36"/>
                <a:gd name="T15" fmla="*/ 10 h 40"/>
                <a:gd name="T16" fmla="*/ 5 w 36"/>
                <a:gd name="T17" fmla="*/ 5 h 40"/>
                <a:gd name="T18" fmla="*/ 3 w 36"/>
                <a:gd name="T19" fmla="*/ 1 h 40"/>
                <a:gd name="T20" fmla="*/ 1 w 36"/>
                <a:gd name="T21" fmla="*/ 1 h 40"/>
                <a:gd name="T22" fmla="*/ 3 w 36"/>
                <a:gd name="T23" fmla="*/ 0 h 40"/>
                <a:gd name="T24" fmla="*/ 1 w 36"/>
                <a:gd name="T25" fmla="*/ 0 h 40"/>
                <a:gd name="T26" fmla="*/ 0 w 36"/>
                <a:gd name="T27" fmla="*/ 1 h 40"/>
                <a:gd name="T28" fmla="*/ 0 w 36"/>
                <a:gd name="T29" fmla="*/ 4 h 40"/>
                <a:gd name="T30" fmla="*/ 0 w 36"/>
                <a:gd name="T31" fmla="*/ 8 h 40"/>
                <a:gd name="T32" fmla="*/ 3 w 36"/>
                <a:gd name="T33" fmla="*/ 11 h 40"/>
                <a:gd name="T34" fmla="*/ 5 w 36"/>
                <a:gd name="T35" fmla="*/ 15 h 40"/>
                <a:gd name="T36" fmla="*/ 7 w 36"/>
                <a:gd name="T37" fmla="*/ 20 h 40"/>
                <a:gd name="T38" fmla="*/ 7 w 36"/>
                <a:gd name="T39" fmla="*/ 21 h 40"/>
                <a:gd name="T40" fmla="*/ 8 w 36"/>
                <a:gd name="T41" fmla="*/ 22 h 40"/>
                <a:gd name="T42" fmla="*/ 10 w 36"/>
                <a:gd name="T43" fmla="*/ 21 h 40"/>
                <a:gd name="T44" fmla="*/ 11 w 36"/>
                <a:gd name="T45" fmla="*/ 20 h 40"/>
                <a:gd name="T46" fmla="*/ 11 w 36"/>
                <a:gd name="T47" fmla="*/ 20 h 40"/>
                <a:gd name="T48" fmla="*/ 13 w 36"/>
                <a:gd name="T49" fmla="*/ 21 h 40"/>
                <a:gd name="T50" fmla="*/ 13 w 36"/>
                <a:gd name="T51" fmla="*/ 24 h 40"/>
                <a:gd name="T52" fmla="*/ 11 w 36"/>
                <a:gd name="T53" fmla="*/ 30 h 40"/>
                <a:gd name="T54" fmla="*/ 14 w 36"/>
                <a:gd name="T55" fmla="*/ 31 h 40"/>
                <a:gd name="T56" fmla="*/ 20 w 36"/>
                <a:gd name="T57" fmla="*/ 34 h 40"/>
                <a:gd name="T58" fmla="*/ 27 w 36"/>
                <a:gd name="T59" fmla="*/ 37 h 40"/>
                <a:gd name="T60" fmla="*/ 30 w 36"/>
                <a:gd name="T61" fmla="*/ 38 h 40"/>
                <a:gd name="T62" fmla="*/ 33 w 36"/>
                <a:gd name="T63" fmla="*/ 40 h 40"/>
                <a:gd name="T64" fmla="*/ 34 w 36"/>
                <a:gd name="T65" fmla="*/ 40 h 40"/>
                <a:gd name="T66" fmla="*/ 36 w 36"/>
                <a:gd name="T67" fmla="*/ 37 h 40"/>
                <a:gd name="T68" fmla="*/ 36 w 36"/>
                <a:gd name="T69" fmla="*/ 35 h 40"/>
                <a:gd name="T70" fmla="*/ 34 w 36"/>
                <a:gd name="T71" fmla="*/ 32 h 40"/>
                <a:gd name="T72" fmla="*/ 33 w 36"/>
                <a:gd name="T73" fmla="*/ 30 h 40"/>
                <a:gd name="T74" fmla="*/ 30 w 36"/>
                <a:gd name="T75" fmla="*/ 30 h 40"/>
                <a:gd name="T76" fmla="*/ 27 w 36"/>
                <a:gd name="T77" fmla="*/ 27 h 40"/>
                <a:gd name="T78" fmla="*/ 24 w 36"/>
                <a:gd name="T79" fmla="*/ 21 h 40"/>
                <a:gd name="T80" fmla="*/ 21 w 36"/>
                <a:gd name="T81" fmla="*/ 1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" h="40">
                  <a:moveTo>
                    <a:pt x="21" y="18"/>
                  </a:moveTo>
                  <a:lnTo>
                    <a:pt x="17" y="12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10" y="11"/>
                  </a:lnTo>
                  <a:lnTo>
                    <a:pt x="7" y="10"/>
                  </a:lnTo>
                  <a:lnTo>
                    <a:pt x="5" y="5"/>
                  </a:lnTo>
                  <a:lnTo>
                    <a:pt x="3" y="1"/>
                  </a:lnTo>
                  <a:lnTo>
                    <a:pt x="1" y="1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0" y="8"/>
                  </a:lnTo>
                  <a:lnTo>
                    <a:pt x="3" y="11"/>
                  </a:lnTo>
                  <a:lnTo>
                    <a:pt x="5" y="15"/>
                  </a:lnTo>
                  <a:lnTo>
                    <a:pt x="7" y="20"/>
                  </a:lnTo>
                  <a:lnTo>
                    <a:pt x="7" y="21"/>
                  </a:lnTo>
                  <a:lnTo>
                    <a:pt x="8" y="22"/>
                  </a:lnTo>
                  <a:lnTo>
                    <a:pt x="10" y="21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3" y="21"/>
                  </a:lnTo>
                  <a:lnTo>
                    <a:pt x="13" y="24"/>
                  </a:lnTo>
                  <a:lnTo>
                    <a:pt x="11" y="30"/>
                  </a:lnTo>
                  <a:lnTo>
                    <a:pt x="14" y="31"/>
                  </a:lnTo>
                  <a:lnTo>
                    <a:pt x="20" y="34"/>
                  </a:lnTo>
                  <a:lnTo>
                    <a:pt x="27" y="37"/>
                  </a:lnTo>
                  <a:lnTo>
                    <a:pt x="30" y="38"/>
                  </a:lnTo>
                  <a:lnTo>
                    <a:pt x="33" y="40"/>
                  </a:lnTo>
                  <a:lnTo>
                    <a:pt x="34" y="40"/>
                  </a:lnTo>
                  <a:lnTo>
                    <a:pt x="36" y="37"/>
                  </a:lnTo>
                  <a:lnTo>
                    <a:pt x="36" y="35"/>
                  </a:lnTo>
                  <a:lnTo>
                    <a:pt x="34" y="32"/>
                  </a:lnTo>
                  <a:lnTo>
                    <a:pt x="33" y="30"/>
                  </a:lnTo>
                  <a:lnTo>
                    <a:pt x="30" y="30"/>
                  </a:lnTo>
                  <a:lnTo>
                    <a:pt x="27" y="27"/>
                  </a:lnTo>
                  <a:lnTo>
                    <a:pt x="24" y="21"/>
                  </a:lnTo>
                  <a:lnTo>
                    <a:pt x="21" y="1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71" name="Freeform 520"/>
            <p:cNvSpPr>
              <a:spLocks/>
            </p:cNvSpPr>
            <p:nvPr/>
          </p:nvSpPr>
          <p:spPr bwMode="auto">
            <a:xfrm>
              <a:off x="5458541" y="2444206"/>
              <a:ext cx="7327" cy="7937"/>
            </a:xfrm>
            <a:custGeom>
              <a:avLst/>
              <a:gdLst>
                <a:gd name="T0" fmla="*/ 12 w 12"/>
                <a:gd name="T1" fmla="*/ 6 h 11"/>
                <a:gd name="T2" fmla="*/ 12 w 12"/>
                <a:gd name="T3" fmla="*/ 3 h 11"/>
                <a:gd name="T4" fmla="*/ 9 w 12"/>
                <a:gd name="T5" fmla="*/ 0 h 11"/>
                <a:gd name="T6" fmla="*/ 9 w 12"/>
                <a:gd name="T7" fmla="*/ 0 h 11"/>
                <a:gd name="T8" fmla="*/ 7 w 12"/>
                <a:gd name="T9" fmla="*/ 0 h 11"/>
                <a:gd name="T10" fmla="*/ 6 w 12"/>
                <a:gd name="T11" fmla="*/ 1 h 11"/>
                <a:gd name="T12" fmla="*/ 5 w 12"/>
                <a:gd name="T13" fmla="*/ 1 h 11"/>
                <a:gd name="T14" fmla="*/ 5 w 12"/>
                <a:gd name="T15" fmla="*/ 0 h 11"/>
                <a:gd name="T16" fmla="*/ 3 w 12"/>
                <a:gd name="T17" fmla="*/ 0 h 11"/>
                <a:gd name="T18" fmla="*/ 2 w 12"/>
                <a:gd name="T19" fmla="*/ 0 h 11"/>
                <a:gd name="T20" fmla="*/ 2 w 12"/>
                <a:gd name="T21" fmla="*/ 1 h 11"/>
                <a:gd name="T22" fmla="*/ 0 w 12"/>
                <a:gd name="T23" fmla="*/ 3 h 11"/>
                <a:gd name="T24" fmla="*/ 0 w 12"/>
                <a:gd name="T25" fmla="*/ 4 h 11"/>
                <a:gd name="T26" fmla="*/ 0 w 12"/>
                <a:gd name="T27" fmla="*/ 7 h 11"/>
                <a:gd name="T28" fmla="*/ 2 w 12"/>
                <a:gd name="T29" fmla="*/ 10 h 11"/>
                <a:gd name="T30" fmla="*/ 5 w 12"/>
                <a:gd name="T31" fmla="*/ 11 h 11"/>
                <a:gd name="T32" fmla="*/ 7 w 12"/>
                <a:gd name="T33" fmla="*/ 11 h 11"/>
                <a:gd name="T34" fmla="*/ 10 w 12"/>
                <a:gd name="T35" fmla="*/ 10 h 11"/>
                <a:gd name="T36" fmla="*/ 10 w 12"/>
                <a:gd name="T37" fmla="*/ 9 h 11"/>
                <a:gd name="T38" fmla="*/ 12 w 12"/>
                <a:gd name="T39" fmla="*/ 6 h 11"/>
                <a:gd name="T40" fmla="*/ 12 w 12"/>
                <a:gd name="T41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" h="11">
                  <a:moveTo>
                    <a:pt x="12" y="6"/>
                  </a:moveTo>
                  <a:lnTo>
                    <a:pt x="12" y="3"/>
                  </a:lnTo>
                  <a:lnTo>
                    <a:pt x="9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6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7"/>
                  </a:lnTo>
                  <a:lnTo>
                    <a:pt x="2" y="10"/>
                  </a:lnTo>
                  <a:lnTo>
                    <a:pt x="5" y="11"/>
                  </a:lnTo>
                  <a:lnTo>
                    <a:pt x="7" y="11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2" y="6"/>
                  </a:lnTo>
                  <a:lnTo>
                    <a:pt x="12" y="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72" name="Freeform 521"/>
            <p:cNvSpPr>
              <a:spLocks/>
            </p:cNvSpPr>
            <p:nvPr/>
          </p:nvSpPr>
          <p:spPr bwMode="auto">
            <a:xfrm>
              <a:off x="5432897" y="2404519"/>
              <a:ext cx="14654" cy="13229"/>
            </a:xfrm>
            <a:custGeom>
              <a:avLst/>
              <a:gdLst>
                <a:gd name="T0" fmla="*/ 13 w 25"/>
                <a:gd name="T1" fmla="*/ 5 h 20"/>
                <a:gd name="T2" fmla="*/ 8 w 25"/>
                <a:gd name="T3" fmla="*/ 3 h 20"/>
                <a:gd name="T4" fmla="*/ 3 w 25"/>
                <a:gd name="T5" fmla="*/ 1 h 20"/>
                <a:gd name="T6" fmla="*/ 2 w 25"/>
                <a:gd name="T7" fmla="*/ 0 h 20"/>
                <a:gd name="T8" fmla="*/ 2 w 25"/>
                <a:gd name="T9" fmla="*/ 3 h 20"/>
                <a:gd name="T10" fmla="*/ 0 w 25"/>
                <a:gd name="T11" fmla="*/ 4 h 20"/>
                <a:gd name="T12" fmla="*/ 2 w 25"/>
                <a:gd name="T13" fmla="*/ 8 h 20"/>
                <a:gd name="T14" fmla="*/ 8 w 25"/>
                <a:gd name="T15" fmla="*/ 14 h 20"/>
                <a:gd name="T16" fmla="*/ 12 w 25"/>
                <a:gd name="T17" fmla="*/ 18 h 20"/>
                <a:gd name="T18" fmla="*/ 18 w 25"/>
                <a:gd name="T19" fmla="*/ 20 h 20"/>
                <a:gd name="T20" fmla="*/ 22 w 25"/>
                <a:gd name="T21" fmla="*/ 20 h 20"/>
                <a:gd name="T22" fmla="*/ 23 w 25"/>
                <a:gd name="T23" fmla="*/ 18 h 20"/>
                <a:gd name="T24" fmla="*/ 25 w 25"/>
                <a:gd name="T25" fmla="*/ 17 h 20"/>
                <a:gd name="T26" fmla="*/ 25 w 25"/>
                <a:gd name="T27" fmla="*/ 16 h 20"/>
                <a:gd name="T28" fmla="*/ 23 w 25"/>
                <a:gd name="T29" fmla="*/ 16 h 20"/>
                <a:gd name="T30" fmla="*/ 22 w 25"/>
                <a:gd name="T31" fmla="*/ 14 h 20"/>
                <a:gd name="T32" fmla="*/ 22 w 25"/>
                <a:gd name="T33" fmla="*/ 13 h 20"/>
                <a:gd name="T34" fmla="*/ 23 w 25"/>
                <a:gd name="T35" fmla="*/ 11 h 20"/>
                <a:gd name="T36" fmla="*/ 22 w 25"/>
                <a:gd name="T37" fmla="*/ 11 h 20"/>
                <a:gd name="T38" fmla="*/ 20 w 25"/>
                <a:gd name="T39" fmla="*/ 10 h 20"/>
                <a:gd name="T40" fmla="*/ 20 w 25"/>
                <a:gd name="T41" fmla="*/ 8 h 20"/>
                <a:gd name="T42" fmla="*/ 23 w 25"/>
                <a:gd name="T43" fmla="*/ 7 h 20"/>
                <a:gd name="T44" fmla="*/ 20 w 25"/>
                <a:gd name="T45" fmla="*/ 5 h 20"/>
                <a:gd name="T46" fmla="*/ 16 w 25"/>
                <a:gd name="T47" fmla="*/ 5 h 20"/>
                <a:gd name="T48" fmla="*/ 13 w 25"/>
                <a:gd name="T49" fmla="*/ 5 h 20"/>
                <a:gd name="T50" fmla="*/ 13 w 25"/>
                <a:gd name="T51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" h="20">
                  <a:moveTo>
                    <a:pt x="13" y="5"/>
                  </a:moveTo>
                  <a:lnTo>
                    <a:pt x="8" y="3"/>
                  </a:lnTo>
                  <a:lnTo>
                    <a:pt x="3" y="1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4"/>
                  </a:lnTo>
                  <a:lnTo>
                    <a:pt x="2" y="8"/>
                  </a:lnTo>
                  <a:lnTo>
                    <a:pt x="8" y="14"/>
                  </a:lnTo>
                  <a:lnTo>
                    <a:pt x="12" y="18"/>
                  </a:lnTo>
                  <a:lnTo>
                    <a:pt x="18" y="20"/>
                  </a:lnTo>
                  <a:lnTo>
                    <a:pt x="22" y="20"/>
                  </a:lnTo>
                  <a:lnTo>
                    <a:pt x="23" y="18"/>
                  </a:lnTo>
                  <a:lnTo>
                    <a:pt x="25" y="17"/>
                  </a:lnTo>
                  <a:lnTo>
                    <a:pt x="25" y="16"/>
                  </a:lnTo>
                  <a:lnTo>
                    <a:pt x="23" y="16"/>
                  </a:lnTo>
                  <a:lnTo>
                    <a:pt x="22" y="14"/>
                  </a:lnTo>
                  <a:lnTo>
                    <a:pt x="22" y="13"/>
                  </a:lnTo>
                  <a:lnTo>
                    <a:pt x="23" y="11"/>
                  </a:lnTo>
                  <a:lnTo>
                    <a:pt x="22" y="11"/>
                  </a:lnTo>
                  <a:lnTo>
                    <a:pt x="20" y="10"/>
                  </a:lnTo>
                  <a:lnTo>
                    <a:pt x="20" y="8"/>
                  </a:lnTo>
                  <a:lnTo>
                    <a:pt x="23" y="7"/>
                  </a:lnTo>
                  <a:lnTo>
                    <a:pt x="20" y="5"/>
                  </a:lnTo>
                  <a:lnTo>
                    <a:pt x="16" y="5"/>
                  </a:lnTo>
                  <a:lnTo>
                    <a:pt x="13" y="5"/>
                  </a:lnTo>
                  <a:lnTo>
                    <a:pt x="13" y="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73" name="Freeform 522"/>
            <p:cNvSpPr>
              <a:spLocks/>
            </p:cNvSpPr>
            <p:nvPr/>
          </p:nvSpPr>
          <p:spPr bwMode="auto">
            <a:xfrm>
              <a:off x="5601414" y="2452143"/>
              <a:ext cx="3663" cy="5292"/>
            </a:xfrm>
            <a:custGeom>
              <a:avLst/>
              <a:gdLst>
                <a:gd name="T0" fmla="*/ 4 w 5"/>
                <a:gd name="T1" fmla="*/ 6 h 9"/>
                <a:gd name="T2" fmla="*/ 5 w 5"/>
                <a:gd name="T3" fmla="*/ 5 h 9"/>
                <a:gd name="T4" fmla="*/ 5 w 5"/>
                <a:gd name="T5" fmla="*/ 3 h 9"/>
                <a:gd name="T6" fmla="*/ 5 w 5"/>
                <a:gd name="T7" fmla="*/ 2 h 9"/>
                <a:gd name="T8" fmla="*/ 5 w 5"/>
                <a:gd name="T9" fmla="*/ 2 h 9"/>
                <a:gd name="T10" fmla="*/ 4 w 5"/>
                <a:gd name="T11" fmla="*/ 0 h 9"/>
                <a:gd name="T12" fmla="*/ 3 w 5"/>
                <a:gd name="T13" fmla="*/ 2 h 9"/>
                <a:gd name="T14" fmla="*/ 3 w 5"/>
                <a:gd name="T15" fmla="*/ 0 h 9"/>
                <a:gd name="T16" fmla="*/ 0 w 5"/>
                <a:gd name="T17" fmla="*/ 0 h 9"/>
                <a:gd name="T18" fmla="*/ 0 w 5"/>
                <a:gd name="T19" fmla="*/ 2 h 9"/>
                <a:gd name="T20" fmla="*/ 0 w 5"/>
                <a:gd name="T21" fmla="*/ 6 h 9"/>
                <a:gd name="T22" fmla="*/ 0 w 5"/>
                <a:gd name="T23" fmla="*/ 8 h 9"/>
                <a:gd name="T24" fmla="*/ 1 w 5"/>
                <a:gd name="T25" fmla="*/ 9 h 9"/>
                <a:gd name="T26" fmla="*/ 3 w 5"/>
                <a:gd name="T27" fmla="*/ 8 h 9"/>
                <a:gd name="T28" fmla="*/ 4 w 5"/>
                <a:gd name="T29" fmla="*/ 6 h 9"/>
                <a:gd name="T30" fmla="*/ 4 w 5"/>
                <a:gd name="T31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" h="9">
                  <a:moveTo>
                    <a:pt x="4" y="6"/>
                  </a:moveTo>
                  <a:lnTo>
                    <a:pt x="5" y="5"/>
                  </a:lnTo>
                  <a:lnTo>
                    <a:pt x="5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0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1" y="9"/>
                  </a:lnTo>
                  <a:lnTo>
                    <a:pt x="3" y="8"/>
                  </a:lnTo>
                  <a:lnTo>
                    <a:pt x="4" y="6"/>
                  </a:lnTo>
                  <a:lnTo>
                    <a:pt x="4" y="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74" name="Freeform 523"/>
            <p:cNvSpPr>
              <a:spLocks/>
            </p:cNvSpPr>
            <p:nvPr/>
          </p:nvSpPr>
          <p:spPr bwMode="auto">
            <a:xfrm>
              <a:off x="5602636" y="2421717"/>
              <a:ext cx="6106" cy="14552"/>
            </a:xfrm>
            <a:custGeom>
              <a:avLst/>
              <a:gdLst>
                <a:gd name="T0" fmla="*/ 3 w 12"/>
                <a:gd name="T1" fmla="*/ 3 h 23"/>
                <a:gd name="T2" fmla="*/ 3 w 12"/>
                <a:gd name="T3" fmla="*/ 10 h 23"/>
                <a:gd name="T4" fmla="*/ 2 w 12"/>
                <a:gd name="T5" fmla="*/ 13 h 23"/>
                <a:gd name="T6" fmla="*/ 0 w 12"/>
                <a:gd name="T7" fmla="*/ 17 h 23"/>
                <a:gd name="T8" fmla="*/ 0 w 12"/>
                <a:gd name="T9" fmla="*/ 19 h 23"/>
                <a:gd name="T10" fmla="*/ 0 w 12"/>
                <a:gd name="T11" fmla="*/ 22 h 23"/>
                <a:gd name="T12" fmla="*/ 0 w 12"/>
                <a:gd name="T13" fmla="*/ 23 h 23"/>
                <a:gd name="T14" fmla="*/ 2 w 12"/>
                <a:gd name="T15" fmla="*/ 23 h 23"/>
                <a:gd name="T16" fmla="*/ 3 w 12"/>
                <a:gd name="T17" fmla="*/ 20 h 23"/>
                <a:gd name="T18" fmla="*/ 3 w 12"/>
                <a:gd name="T19" fmla="*/ 17 h 23"/>
                <a:gd name="T20" fmla="*/ 3 w 12"/>
                <a:gd name="T21" fmla="*/ 14 h 23"/>
                <a:gd name="T22" fmla="*/ 4 w 12"/>
                <a:gd name="T23" fmla="*/ 13 h 23"/>
                <a:gd name="T24" fmla="*/ 6 w 12"/>
                <a:gd name="T25" fmla="*/ 13 h 23"/>
                <a:gd name="T26" fmla="*/ 9 w 12"/>
                <a:gd name="T27" fmla="*/ 13 h 23"/>
                <a:gd name="T28" fmla="*/ 10 w 12"/>
                <a:gd name="T29" fmla="*/ 12 h 23"/>
                <a:gd name="T30" fmla="*/ 12 w 12"/>
                <a:gd name="T31" fmla="*/ 10 h 23"/>
                <a:gd name="T32" fmla="*/ 12 w 12"/>
                <a:gd name="T33" fmla="*/ 10 h 23"/>
                <a:gd name="T34" fmla="*/ 12 w 12"/>
                <a:gd name="T35" fmla="*/ 9 h 23"/>
                <a:gd name="T36" fmla="*/ 10 w 12"/>
                <a:gd name="T37" fmla="*/ 7 h 23"/>
                <a:gd name="T38" fmla="*/ 9 w 12"/>
                <a:gd name="T39" fmla="*/ 7 h 23"/>
                <a:gd name="T40" fmla="*/ 6 w 12"/>
                <a:gd name="T41" fmla="*/ 7 h 23"/>
                <a:gd name="T42" fmla="*/ 6 w 12"/>
                <a:gd name="T43" fmla="*/ 4 h 23"/>
                <a:gd name="T44" fmla="*/ 6 w 12"/>
                <a:gd name="T45" fmla="*/ 2 h 23"/>
                <a:gd name="T46" fmla="*/ 4 w 12"/>
                <a:gd name="T47" fmla="*/ 2 h 23"/>
                <a:gd name="T48" fmla="*/ 3 w 12"/>
                <a:gd name="T49" fmla="*/ 0 h 23"/>
                <a:gd name="T50" fmla="*/ 3 w 12"/>
                <a:gd name="T51" fmla="*/ 2 h 23"/>
                <a:gd name="T52" fmla="*/ 3 w 12"/>
                <a:gd name="T53" fmla="*/ 3 h 23"/>
                <a:gd name="T54" fmla="*/ 3 w 12"/>
                <a:gd name="T55" fmla="*/ 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" h="23">
                  <a:moveTo>
                    <a:pt x="3" y="3"/>
                  </a:moveTo>
                  <a:lnTo>
                    <a:pt x="3" y="10"/>
                  </a:lnTo>
                  <a:lnTo>
                    <a:pt x="2" y="13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2" y="23"/>
                  </a:lnTo>
                  <a:lnTo>
                    <a:pt x="3" y="20"/>
                  </a:lnTo>
                  <a:lnTo>
                    <a:pt x="3" y="17"/>
                  </a:lnTo>
                  <a:lnTo>
                    <a:pt x="3" y="14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9" y="13"/>
                  </a:lnTo>
                  <a:lnTo>
                    <a:pt x="10" y="12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9"/>
                  </a:lnTo>
                  <a:lnTo>
                    <a:pt x="10" y="7"/>
                  </a:lnTo>
                  <a:lnTo>
                    <a:pt x="9" y="7"/>
                  </a:lnTo>
                  <a:lnTo>
                    <a:pt x="6" y="7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75" name="Freeform 524"/>
            <p:cNvSpPr>
              <a:spLocks/>
            </p:cNvSpPr>
            <p:nvPr/>
          </p:nvSpPr>
          <p:spPr bwMode="auto">
            <a:xfrm>
              <a:off x="5597751" y="2475956"/>
              <a:ext cx="1221" cy="2646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0 h 3"/>
                <a:gd name="T4" fmla="*/ 0 w 3"/>
                <a:gd name="T5" fmla="*/ 2 h 3"/>
                <a:gd name="T6" fmla="*/ 0 w 3"/>
                <a:gd name="T7" fmla="*/ 3 h 3"/>
                <a:gd name="T8" fmla="*/ 3 w 3"/>
                <a:gd name="T9" fmla="*/ 3 h 3"/>
                <a:gd name="T10" fmla="*/ 3 w 3"/>
                <a:gd name="T11" fmla="*/ 2 h 3"/>
                <a:gd name="T12" fmla="*/ 3 w 3"/>
                <a:gd name="T13" fmla="*/ 2 h 3"/>
                <a:gd name="T14" fmla="*/ 1 w 3"/>
                <a:gd name="T15" fmla="*/ 0 h 3"/>
                <a:gd name="T16" fmla="*/ 1 w 3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76" name="Freeform 525"/>
            <p:cNvSpPr>
              <a:spLocks/>
            </p:cNvSpPr>
            <p:nvPr/>
          </p:nvSpPr>
          <p:spPr bwMode="auto">
            <a:xfrm>
              <a:off x="5495175" y="2233864"/>
              <a:ext cx="23202" cy="21166"/>
            </a:xfrm>
            <a:custGeom>
              <a:avLst/>
              <a:gdLst>
                <a:gd name="T0" fmla="*/ 28 w 38"/>
                <a:gd name="T1" fmla="*/ 31 h 32"/>
                <a:gd name="T2" fmla="*/ 23 w 38"/>
                <a:gd name="T3" fmla="*/ 32 h 32"/>
                <a:gd name="T4" fmla="*/ 18 w 38"/>
                <a:gd name="T5" fmla="*/ 31 h 32"/>
                <a:gd name="T6" fmla="*/ 15 w 38"/>
                <a:gd name="T7" fmla="*/ 30 h 32"/>
                <a:gd name="T8" fmla="*/ 9 w 38"/>
                <a:gd name="T9" fmla="*/ 25 h 32"/>
                <a:gd name="T10" fmla="*/ 3 w 38"/>
                <a:gd name="T11" fmla="*/ 21 h 32"/>
                <a:gd name="T12" fmla="*/ 2 w 38"/>
                <a:gd name="T13" fmla="*/ 18 h 32"/>
                <a:gd name="T14" fmla="*/ 0 w 38"/>
                <a:gd name="T15" fmla="*/ 14 h 32"/>
                <a:gd name="T16" fmla="*/ 0 w 38"/>
                <a:gd name="T17" fmla="*/ 10 h 32"/>
                <a:gd name="T18" fmla="*/ 2 w 38"/>
                <a:gd name="T19" fmla="*/ 5 h 32"/>
                <a:gd name="T20" fmla="*/ 6 w 38"/>
                <a:gd name="T21" fmla="*/ 2 h 32"/>
                <a:gd name="T22" fmla="*/ 10 w 38"/>
                <a:gd name="T23" fmla="*/ 1 h 32"/>
                <a:gd name="T24" fmla="*/ 26 w 38"/>
                <a:gd name="T25" fmla="*/ 0 h 32"/>
                <a:gd name="T26" fmla="*/ 31 w 38"/>
                <a:gd name="T27" fmla="*/ 2 h 32"/>
                <a:gd name="T28" fmla="*/ 33 w 38"/>
                <a:gd name="T29" fmla="*/ 5 h 32"/>
                <a:gd name="T30" fmla="*/ 36 w 38"/>
                <a:gd name="T31" fmla="*/ 7 h 32"/>
                <a:gd name="T32" fmla="*/ 36 w 38"/>
                <a:gd name="T33" fmla="*/ 10 h 32"/>
                <a:gd name="T34" fmla="*/ 38 w 38"/>
                <a:gd name="T35" fmla="*/ 14 h 32"/>
                <a:gd name="T36" fmla="*/ 38 w 38"/>
                <a:gd name="T37" fmla="*/ 18 h 32"/>
                <a:gd name="T38" fmla="*/ 36 w 38"/>
                <a:gd name="T39" fmla="*/ 22 h 32"/>
                <a:gd name="T40" fmla="*/ 31 w 38"/>
                <a:gd name="T41" fmla="*/ 30 h 32"/>
                <a:gd name="T42" fmla="*/ 28 w 38"/>
                <a:gd name="T43" fmla="*/ 31 h 32"/>
                <a:gd name="T44" fmla="*/ 28 w 38"/>
                <a:gd name="T45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8" h="32">
                  <a:moveTo>
                    <a:pt x="28" y="31"/>
                  </a:moveTo>
                  <a:lnTo>
                    <a:pt x="23" y="32"/>
                  </a:lnTo>
                  <a:lnTo>
                    <a:pt x="18" y="31"/>
                  </a:lnTo>
                  <a:lnTo>
                    <a:pt x="15" y="30"/>
                  </a:lnTo>
                  <a:lnTo>
                    <a:pt x="9" y="25"/>
                  </a:lnTo>
                  <a:lnTo>
                    <a:pt x="3" y="21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2" y="5"/>
                  </a:lnTo>
                  <a:lnTo>
                    <a:pt x="6" y="2"/>
                  </a:lnTo>
                  <a:lnTo>
                    <a:pt x="10" y="1"/>
                  </a:lnTo>
                  <a:lnTo>
                    <a:pt x="26" y="0"/>
                  </a:lnTo>
                  <a:lnTo>
                    <a:pt x="31" y="2"/>
                  </a:lnTo>
                  <a:lnTo>
                    <a:pt x="33" y="5"/>
                  </a:lnTo>
                  <a:lnTo>
                    <a:pt x="36" y="7"/>
                  </a:lnTo>
                  <a:lnTo>
                    <a:pt x="36" y="10"/>
                  </a:lnTo>
                  <a:lnTo>
                    <a:pt x="38" y="14"/>
                  </a:lnTo>
                  <a:lnTo>
                    <a:pt x="38" y="18"/>
                  </a:lnTo>
                  <a:lnTo>
                    <a:pt x="36" y="22"/>
                  </a:lnTo>
                  <a:lnTo>
                    <a:pt x="31" y="30"/>
                  </a:lnTo>
                  <a:lnTo>
                    <a:pt x="28" y="31"/>
                  </a:lnTo>
                  <a:lnTo>
                    <a:pt x="28" y="3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77" name="Freeform 526"/>
            <p:cNvSpPr>
              <a:spLocks/>
            </p:cNvSpPr>
            <p:nvPr/>
          </p:nvSpPr>
          <p:spPr bwMode="auto">
            <a:xfrm>
              <a:off x="5556232" y="2581788"/>
              <a:ext cx="2442" cy="1323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2 h 3"/>
                <a:gd name="T4" fmla="*/ 0 w 3"/>
                <a:gd name="T5" fmla="*/ 2 h 3"/>
                <a:gd name="T6" fmla="*/ 1 w 3"/>
                <a:gd name="T7" fmla="*/ 3 h 3"/>
                <a:gd name="T8" fmla="*/ 3 w 3"/>
                <a:gd name="T9" fmla="*/ 3 h 3"/>
                <a:gd name="T10" fmla="*/ 3 w 3"/>
                <a:gd name="T11" fmla="*/ 3 h 3"/>
                <a:gd name="T12" fmla="*/ 3 w 3"/>
                <a:gd name="T13" fmla="*/ 2 h 3"/>
                <a:gd name="T14" fmla="*/ 1 w 3"/>
                <a:gd name="T15" fmla="*/ 0 h 3"/>
                <a:gd name="T16" fmla="*/ 1 w 3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78" name="Freeform 527"/>
            <p:cNvSpPr>
              <a:spLocks/>
            </p:cNvSpPr>
            <p:nvPr/>
          </p:nvSpPr>
          <p:spPr bwMode="auto">
            <a:xfrm>
              <a:off x="5559896" y="2579142"/>
              <a:ext cx="2442" cy="2646"/>
            </a:xfrm>
            <a:custGeom>
              <a:avLst/>
              <a:gdLst>
                <a:gd name="T0" fmla="*/ 4 w 4"/>
                <a:gd name="T1" fmla="*/ 0 h 3"/>
                <a:gd name="T2" fmla="*/ 3 w 4"/>
                <a:gd name="T3" fmla="*/ 0 h 3"/>
                <a:gd name="T4" fmla="*/ 1 w 4"/>
                <a:gd name="T5" fmla="*/ 0 h 3"/>
                <a:gd name="T6" fmla="*/ 0 w 4"/>
                <a:gd name="T7" fmla="*/ 2 h 3"/>
                <a:gd name="T8" fmla="*/ 1 w 4"/>
                <a:gd name="T9" fmla="*/ 3 h 3"/>
                <a:gd name="T10" fmla="*/ 3 w 4"/>
                <a:gd name="T11" fmla="*/ 3 h 3"/>
                <a:gd name="T12" fmla="*/ 4 w 4"/>
                <a:gd name="T13" fmla="*/ 3 h 3"/>
                <a:gd name="T14" fmla="*/ 4 w 4"/>
                <a:gd name="T15" fmla="*/ 2 h 3"/>
                <a:gd name="T16" fmla="*/ 4 w 4"/>
                <a:gd name="T17" fmla="*/ 0 h 3"/>
                <a:gd name="T18" fmla="*/ 4 w 4"/>
                <a:gd name="T1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1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79" name="Freeform 528"/>
            <p:cNvSpPr>
              <a:spLocks/>
            </p:cNvSpPr>
            <p:nvPr/>
          </p:nvSpPr>
          <p:spPr bwMode="auto">
            <a:xfrm>
              <a:off x="5574549" y="2544747"/>
              <a:ext cx="2442" cy="5292"/>
            </a:xfrm>
            <a:custGeom>
              <a:avLst/>
              <a:gdLst>
                <a:gd name="T0" fmla="*/ 3 w 3"/>
                <a:gd name="T1" fmla="*/ 5 h 9"/>
                <a:gd name="T2" fmla="*/ 3 w 3"/>
                <a:gd name="T3" fmla="*/ 3 h 9"/>
                <a:gd name="T4" fmla="*/ 3 w 3"/>
                <a:gd name="T5" fmla="*/ 0 h 9"/>
                <a:gd name="T6" fmla="*/ 0 w 3"/>
                <a:gd name="T7" fmla="*/ 0 h 9"/>
                <a:gd name="T8" fmla="*/ 0 w 3"/>
                <a:gd name="T9" fmla="*/ 2 h 9"/>
                <a:gd name="T10" fmla="*/ 0 w 3"/>
                <a:gd name="T11" fmla="*/ 5 h 9"/>
                <a:gd name="T12" fmla="*/ 0 w 3"/>
                <a:gd name="T13" fmla="*/ 7 h 9"/>
                <a:gd name="T14" fmla="*/ 0 w 3"/>
                <a:gd name="T15" fmla="*/ 9 h 9"/>
                <a:gd name="T16" fmla="*/ 1 w 3"/>
                <a:gd name="T17" fmla="*/ 9 h 9"/>
                <a:gd name="T18" fmla="*/ 1 w 3"/>
                <a:gd name="T19" fmla="*/ 9 h 9"/>
                <a:gd name="T20" fmla="*/ 3 w 3"/>
                <a:gd name="T21" fmla="*/ 6 h 9"/>
                <a:gd name="T22" fmla="*/ 3 w 3"/>
                <a:gd name="T23" fmla="*/ 5 h 9"/>
                <a:gd name="T24" fmla="*/ 3 w 3"/>
                <a:gd name="T2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9">
                  <a:moveTo>
                    <a:pt x="3" y="5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3" y="6"/>
                  </a:lnTo>
                  <a:lnTo>
                    <a:pt x="3" y="5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80" name="Freeform 529"/>
            <p:cNvSpPr>
              <a:spLocks/>
            </p:cNvSpPr>
            <p:nvPr/>
          </p:nvSpPr>
          <p:spPr bwMode="auto">
            <a:xfrm>
              <a:off x="5574549" y="2551361"/>
              <a:ext cx="3663" cy="3969"/>
            </a:xfrm>
            <a:custGeom>
              <a:avLst/>
              <a:gdLst>
                <a:gd name="T0" fmla="*/ 3 w 4"/>
                <a:gd name="T1" fmla="*/ 0 h 4"/>
                <a:gd name="T2" fmla="*/ 1 w 4"/>
                <a:gd name="T3" fmla="*/ 0 h 4"/>
                <a:gd name="T4" fmla="*/ 0 w 4"/>
                <a:gd name="T5" fmla="*/ 0 h 4"/>
                <a:gd name="T6" fmla="*/ 0 w 4"/>
                <a:gd name="T7" fmla="*/ 1 h 4"/>
                <a:gd name="T8" fmla="*/ 0 w 4"/>
                <a:gd name="T9" fmla="*/ 3 h 4"/>
                <a:gd name="T10" fmla="*/ 1 w 4"/>
                <a:gd name="T11" fmla="*/ 3 h 4"/>
                <a:gd name="T12" fmla="*/ 3 w 4"/>
                <a:gd name="T13" fmla="*/ 4 h 4"/>
                <a:gd name="T14" fmla="*/ 4 w 4"/>
                <a:gd name="T15" fmla="*/ 3 h 4"/>
                <a:gd name="T16" fmla="*/ 4 w 4"/>
                <a:gd name="T17" fmla="*/ 3 h 4"/>
                <a:gd name="T18" fmla="*/ 4 w 4"/>
                <a:gd name="T19" fmla="*/ 0 h 4"/>
                <a:gd name="T20" fmla="*/ 3 w 4"/>
                <a:gd name="T21" fmla="*/ 0 h 4"/>
                <a:gd name="T22" fmla="*/ 3 w 4"/>
                <a:gd name="T2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1" y="3"/>
                  </a:lnTo>
                  <a:lnTo>
                    <a:pt x="3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81" name="Freeform 530"/>
            <p:cNvSpPr>
              <a:spLocks/>
            </p:cNvSpPr>
            <p:nvPr/>
          </p:nvSpPr>
          <p:spPr bwMode="auto">
            <a:xfrm>
              <a:off x="5573328" y="2557976"/>
              <a:ext cx="2442" cy="2646"/>
            </a:xfrm>
            <a:custGeom>
              <a:avLst/>
              <a:gdLst>
                <a:gd name="T0" fmla="*/ 4 w 4"/>
                <a:gd name="T1" fmla="*/ 1 h 3"/>
                <a:gd name="T2" fmla="*/ 4 w 4"/>
                <a:gd name="T3" fmla="*/ 0 h 3"/>
                <a:gd name="T4" fmla="*/ 3 w 4"/>
                <a:gd name="T5" fmla="*/ 0 h 3"/>
                <a:gd name="T6" fmla="*/ 1 w 4"/>
                <a:gd name="T7" fmla="*/ 0 h 3"/>
                <a:gd name="T8" fmla="*/ 0 w 4"/>
                <a:gd name="T9" fmla="*/ 1 h 3"/>
                <a:gd name="T10" fmla="*/ 1 w 4"/>
                <a:gd name="T11" fmla="*/ 3 h 3"/>
                <a:gd name="T12" fmla="*/ 3 w 4"/>
                <a:gd name="T13" fmla="*/ 3 h 3"/>
                <a:gd name="T14" fmla="*/ 4 w 4"/>
                <a:gd name="T15" fmla="*/ 1 h 3"/>
                <a:gd name="T16" fmla="*/ 4 w 4"/>
                <a:gd name="T1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3">
                  <a:moveTo>
                    <a:pt x="4" y="1"/>
                  </a:moveTo>
                  <a:lnTo>
                    <a:pt x="4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1" y="3"/>
                  </a:lnTo>
                  <a:lnTo>
                    <a:pt x="3" y="3"/>
                  </a:lnTo>
                  <a:lnTo>
                    <a:pt x="4" y="1"/>
                  </a:lnTo>
                  <a:lnTo>
                    <a:pt x="4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82" name="Freeform 531"/>
            <p:cNvSpPr>
              <a:spLocks/>
            </p:cNvSpPr>
            <p:nvPr/>
          </p:nvSpPr>
          <p:spPr bwMode="auto">
            <a:xfrm>
              <a:off x="5575770" y="2561944"/>
              <a:ext cx="2442" cy="1323"/>
            </a:xfrm>
            <a:custGeom>
              <a:avLst/>
              <a:gdLst>
                <a:gd name="T0" fmla="*/ 5 w 5"/>
                <a:gd name="T1" fmla="*/ 2 h 3"/>
                <a:gd name="T2" fmla="*/ 5 w 5"/>
                <a:gd name="T3" fmla="*/ 2 h 3"/>
                <a:gd name="T4" fmla="*/ 2 w 5"/>
                <a:gd name="T5" fmla="*/ 0 h 3"/>
                <a:gd name="T6" fmla="*/ 2 w 5"/>
                <a:gd name="T7" fmla="*/ 0 h 3"/>
                <a:gd name="T8" fmla="*/ 0 w 5"/>
                <a:gd name="T9" fmla="*/ 2 h 3"/>
                <a:gd name="T10" fmla="*/ 0 w 5"/>
                <a:gd name="T11" fmla="*/ 3 h 3"/>
                <a:gd name="T12" fmla="*/ 3 w 5"/>
                <a:gd name="T13" fmla="*/ 3 h 3"/>
                <a:gd name="T14" fmla="*/ 5 w 5"/>
                <a:gd name="T15" fmla="*/ 2 h 3"/>
                <a:gd name="T16" fmla="*/ 5 w 5"/>
                <a:gd name="T1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">
                  <a:moveTo>
                    <a:pt x="5" y="2"/>
                  </a:moveTo>
                  <a:lnTo>
                    <a:pt x="5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3" y="3"/>
                  </a:lnTo>
                  <a:lnTo>
                    <a:pt x="5" y="2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83" name="Freeform 532"/>
            <p:cNvSpPr>
              <a:spLocks/>
            </p:cNvSpPr>
            <p:nvPr/>
          </p:nvSpPr>
          <p:spPr bwMode="auto">
            <a:xfrm>
              <a:off x="5573328" y="2527549"/>
              <a:ext cx="3663" cy="3969"/>
            </a:xfrm>
            <a:custGeom>
              <a:avLst/>
              <a:gdLst>
                <a:gd name="T0" fmla="*/ 4 w 6"/>
                <a:gd name="T1" fmla="*/ 4 h 4"/>
                <a:gd name="T2" fmla="*/ 6 w 6"/>
                <a:gd name="T3" fmla="*/ 4 h 4"/>
                <a:gd name="T4" fmla="*/ 6 w 6"/>
                <a:gd name="T5" fmla="*/ 3 h 4"/>
                <a:gd name="T6" fmla="*/ 6 w 6"/>
                <a:gd name="T7" fmla="*/ 1 h 4"/>
                <a:gd name="T8" fmla="*/ 3 w 6"/>
                <a:gd name="T9" fmla="*/ 1 h 4"/>
                <a:gd name="T10" fmla="*/ 3 w 6"/>
                <a:gd name="T11" fmla="*/ 0 h 4"/>
                <a:gd name="T12" fmla="*/ 1 w 6"/>
                <a:gd name="T13" fmla="*/ 0 h 4"/>
                <a:gd name="T14" fmla="*/ 0 w 6"/>
                <a:gd name="T15" fmla="*/ 1 h 4"/>
                <a:gd name="T16" fmla="*/ 0 w 6"/>
                <a:gd name="T17" fmla="*/ 3 h 4"/>
                <a:gd name="T18" fmla="*/ 0 w 6"/>
                <a:gd name="T19" fmla="*/ 4 h 4"/>
                <a:gd name="T20" fmla="*/ 0 w 6"/>
                <a:gd name="T21" fmla="*/ 4 h 4"/>
                <a:gd name="T22" fmla="*/ 4 w 6"/>
                <a:gd name="T23" fmla="*/ 4 h 4"/>
                <a:gd name="T24" fmla="*/ 4 w 6"/>
                <a:gd name="T2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4">
                  <a:moveTo>
                    <a:pt x="4" y="4"/>
                  </a:moveTo>
                  <a:lnTo>
                    <a:pt x="6" y="4"/>
                  </a:lnTo>
                  <a:lnTo>
                    <a:pt x="6" y="3"/>
                  </a:lnTo>
                  <a:lnTo>
                    <a:pt x="6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84" name="Freeform 533"/>
            <p:cNvSpPr>
              <a:spLocks/>
            </p:cNvSpPr>
            <p:nvPr/>
          </p:nvSpPr>
          <p:spPr bwMode="auto">
            <a:xfrm>
              <a:off x="5463425" y="2588402"/>
              <a:ext cx="3663" cy="7937"/>
            </a:xfrm>
            <a:custGeom>
              <a:avLst/>
              <a:gdLst>
                <a:gd name="T0" fmla="*/ 2 w 6"/>
                <a:gd name="T1" fmla="*/ 1 h 11"/>
                <a:gd name="T2" fmla="*/ 0 w 6"/>
                <a:gd name="T3" fmla="*/ 5 h 11"/>
                <a:gd name="T4" fmla="*/ 0 w 6"/>
                <a:gd name="T5" fmla="*/ 10 h 11"/>
                <a:gd name="T6" fmla="*/ 3 w 6"/>
                <a:gd name="T7" fmla="*/ 11 h 11"/>
                <a:gd name="T8" fmla="*/ 6 w 6"/>
                <a:gd name="T9" fmla="*/ 10 h 11"/>
                <a:gd name="T10" fmla="*/ 6 w 6"/>
                <a:gd name="T11" fmla="*/ 8 h 11"/>
                <a:gd name="T12" fmla="*/ 6 w 6"/>
                <a:gd name="T13" fmla="*/ 5 h 11"/>
                <a:gd name="T14" fmla="*/ 6 w 6"/>
                <a:gd name="T15" fmla="*/ 1 h 11"/>
                <a:gd name="T16" fmla="*/ 5 w 6"/>
                <a:gd name="T17" fmla="*/ 1 h 11"/>
                <a:gd name="T18" fmla="*/ 3 w 6"/>
                <a:gd name="T19" fmla="*/ 0 h 11"/>
                <a:gd name="T20" fmla="*/ 2 w 6"/>
                <a:gd name="T21" fmla="*/ 0 h 11"/>
                <a:gd name="T22" fmla="*/ 2 w 6"/>
                <a:gd name="T23" fmla="*/ 1 h 11"/>
                <a:gd name="T24" fmla="*/ 2 w 6"/>
                <a:gd name="T2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11">
                  <a:moveTo>
                    <a:pt x="2" y="1"/>
                  </a:moveTo>
                  <a:lnTo>
                    <a:pt x="0" y="5"/>
                  </a:lnTo>
                  <a:lnTo>
                    <a:pt x="0" y="10"/>
                  </a:lnTo>
                  <a:lnTo>
                    <a:pt x="3" y="11"/>
                  </a:lnTo>
                  <a:lnTo>
                    <a:pt x="6" y="10"/>
                  </a:lnTo>
                  <a:lnTo>
                    <a:pt x="6" y="8"/>
                  </a:lnTo>
                  <a:lnTo>
                    <a:pt x="6" y="5"/>
                  </a:lnTo>
                  <a:lnTo>
                    <a:pt x="6" y="1"/>
                  </a:lnTo>
                  <a:lnTo>
                    <a:pt x="5" y="1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85" name="Freeform 534"/>
            <p:cNvSpPr>
              <a:spLocks/>
            </p:cNvSpPr>
            <p:nvPr/>
          </p:nvSpPr>
          <p:spPr bwMode="auto">
            <a:xfrm>
              <a:off x="5446329" y="2478601"/>
              <a:ext cx="10990" cy="9260"/>
            </a:xfrm>
            <a:custGeom>
              <a:avLst/>
              <a:gdLst>
                <a:gd name="T0" fmla="*/ 12 w 19"/>
                <a:gd name="T1" fmla="*/ 9 h 15"/>
                <a:gd name="T2" fmla="*/ 7 w 19"/>
                <a:gd name="T3" fmla="*/ 5 h 15"/>
                <a:gd name="T4" fmla="*/ 3 w 19"/>
                <a:gd name="T5" fmla="*/ 0 h 15"/>
                <a:gd name="T6" fmla="*/ 2 w 19"/>
                <a:gd name="T7" fmla="*/ 0 h 15"/>
                <a:gd name="T8" fmla="*/ 0 w 19"/>
                <a:gd name="T9" fmla="*/ 2 h 15"/>
                <a:gd name="T10" fmla="*/ 3 w 19"/>
                <a:gd name="T11" fmla="*/ 6 h 15"/>
                <a:gd name="T12" fmla="*/ 10 w 19"/>
                <a:gd name="T13" fmla="*/ 10 h 15"/>
                <a:gd name="T14" fmla="*/ 13 w 19"/>
                <a:gd name="T15" fmla="*/ 13 h 15"/>
                <a:gd name="T16" fmla="*/ 16 w 19"/>
                <a:gd name="T17" fmla="*/ 13 h 15"/>
                <a:gd name="T18" fmla="*/ 17 w 19"/>
                <a:gd name="T19" fmla="*/ 15 h 15"/>
                <a:gd name="T20" fmla="*/ 19 w 19"/>
                <a:gd name="T21" fmla="*/ 13 h 15"/>
                <a:gd name="T22" fmla="*/ 16 w 19"/>
                <a:gd name="T23" fmla="*/ 12 h 15"/>
                <a:gd name="T24" fmla="*/ 13 w 19"/>
                <a:gd name="T25" fmla="*/ 9 h 15"/>
                <a:gd name="T26" fmla="*/ 12 w 19"/>
                <a:gd name="T27" fmla="*/ 9 h 15"/>
                <a:gd name="T28" fmla="*/ 12 w 19"/>
                <a:gd name="T29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5">
                  <a:moveTo>
                    <a:pt x="12" y="9"/>
                  </a:moveTo>
                  <a:lnTo>
                    <a:pt x="7" y="5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10" y="10"/>
                  </a:lnTo>
                  <a:lnTo>
                    <a:pt x="13" y="13"/>
                  </a:lnTo>
                  <a:lnTo>
                    <a:pt x="16" y="13"/>
                  </a:lnTo>
                  <a:lnTo>
                    <a:pt x="17" y="15"/>
                  </a:lnTo>
                  <a:lnTo>
                    <a:pt x="19" y="13"/>
                  </a:lnTo>
                  <a:lnTo>
                    <a:pt x="16" y="12"/>
                  </a:lnTo>
                  <a:lnTo>
                    <a:pt x="13" y="9"/>
                  </a:lnTo>
                  <a:lnTo>
                    <a:pt x="12" y="9"/>
                  </a:lnTo>
                  <a:lnTo>
                    <a:pt x="12" y="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86" name="Freeform 535"/>
            <p:cNvSpPr>
              <a:spLocks/>
            </p:cNvSpPr>
            <p:nvPr/>
          </p:nvSpPr>
          <p:spPr bwMode="auto">
            <a:xfrm>
              <a:off x="5337648" y="2694235"/>
              <a:ext cx="8548" cy="21166"/>
            </a:xfrm>
            <a:custGeom>
              <a:avLst/>
              <a:gdLst>
                <a:gd name="T0" fmla="*/ 2 w 16"/>
                <a:gd name="T1" fmla="*/ 7 h 31"/>
                <a:gd name="T2" fmla="*/ 0 w 16"/>
                <a:gd name="T3" fmla="*/ 14 h 31"/>
                <a:gd name="T4" fmla="*/ 0 w 16"/>
                <a:gd name="T5" fmla="*/ 18 h 31"/>
                <a:gd name="T6" fmla="*/ 2 w 16"/>
                <a:gd name="T7" fmla="*/ 22 h 31"/>
                <a:gd name="T8" fmla="*/ 5 w 16"/>
                <a:gd name="T9" fmla="*/ 25 h 31"/>
                <a:gd name="T10" fmla="*/ 9 w 16"/>
                <a:gd name="T11" fmla="*/ 30 h 31"/>
                <a:gd name="T12" fmla="*/ 12 w 16"/>
                <a:gd name="T13" fmla="*/ 31 h 31"/>
                <a:gd name="T14" fmla="*/ 15 w 16"/>
                <a:gd name="T15" fmla="*/ 31 h 31"/>
                <a:gd name="T16" fmla="*/ 16 w 16"/>
                <a:gd name="T17" fmla="*/ 30 h 31"/>
                <a:gd name="T18" fmla="*/ 16 w 16"/>
                <a:gd name="T19" fmla="*/ 28 h 31"/>
                <a:gd name="T20" fmla="*/ 13 w 16"/>
                <a:gd name="T21" fmla="*/ 28 h 31"/>
                <a:gd name="T22" fmla="*/ 10 w 16"/>
                <a:gd name="T23" fmla="*/ 28 h 31"/>
                <a:gd name="T24" fmla="*/ 6 w 16"/>
                <a:gd name="T25" fmla="*/ 25 h 31"/>
                <a:gd name="T26" fmla="*/ 5 w 16"/>
                <a:gd name="T27" fmla="*/ 22 h 31"/>
                <a:gd name="T28" fmla="*/ 5 w 16"/>
                <a:gd name="T29" fmla="*/ 21 h 31"/>
                <a:gd name="T30" fmla="*/ 3 w 16"/>
                <a:gd name="T31" fmla="*/ 17 h 31"/>
                <a:gd name="T32" fmla="*/ 2 w 16"/>
                <a:gd name="T33" fmla="*/ 15 h 31"/>
                <a:gd name="T34" fmla="*/ 3 w 16"/>
                <a:gd name="T35" fmla="*/ 14 h 31"/>
                <a:gd name="T36" fmla="*/ 3 w 16"/>
                <a:gd name="T37" fmla="*/ 14 h 31"/>
                <a:gd name="T38" fmla="*/ 5 w 16"/>
                <a:gd name="T39" fmla="*/ 15 h 31"/>
                <a:gd name="T40" fmla="*/ 7 w 16"/>
                <a:gd name="T41" fmla="*/ 15 h 31"/>
                <a:gd name="T42" fmla="*/ 9 w 16"/>
                <a:gd name="T43" fmla="*/ 14 h 31"/>
                <a:gd name="T44" fmla="*/ 9 w 16"/>
                <a:gd name="T45" fmla="*/ 12 h 31"/>
                <a:gd name="T46" fmla="*/ 9 w 16"/>
                <a:gd name="T47" fmla="*/ 10 h 31"/>
                <a:gd name="T48" fmla="*/ 9 w 16"/>
                <a:gd name="T49" fmla="*/ 8 h 31"/>
                <a:gd name="T50" fmla="*/ 6 w 16"/>
                <a:gd name="T51" fmla="*/ 7 h 31"/>
                <a:gd name="T52" fmla="*/ 5 w 16"/>
                <a:gd name="T53" fmla="*/ 7 h 31"/>
                <a:gd name="T54" fmla="*/ 5 w 16"/>
                <a:gd name="T55" fmla="*/ 5 h 31"/>
                <a:gd name="T56" fmla="*/ 7 w 16"/>
                <a:gd name="T57" fmla="*/ 4 h 31"/>
                <a:gd name="T58" fmla="*/ 12 w 16"/>
                <a:gd name="T59" fmla="*/ 5 h 31"/>
                <a:gd name="T60" fmla="*/ 13 w 16"/>
                <a:gd name="T61" fmla="*/ 4 h 31"/>
                <a:gd name="T62" fmla="*/ 15 w 16"/>
                <a:gd name="T63" fmla="*/ 2 h 31"/>
                <a:gd name="T64" fmla="*/ 12 w 16"/>
                <a:gd name="T65" fmla="*/ 1 h 31"/>
                <a:gd name="T66" fmla="*/ 9 w 16"/>
                <a:gd name="T67" fmla="*/ 0 h 31"/>
                <a:gd name="T68" fmla="*/ 5 w 16"/>
                <a:gd name="T69" fmla="*/ 1 h 31"/>
                <a:gd name="T70" fmla="*/ 3 w 16"/>
                <a:gd name="T71" fmla="*/ 4 h 31"/>
                <a:gd name="T72" fmla="*/ 2 w 16"/>
                <a:gd name="T73" fmla="*/ 7 h 31"/>
                <a:gd name="T74" fmla="*/ 2 w 16"/>
                <a:gd name="T75" fmla="*/ 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" h="31">
                  <a:moveTo>
                    <a:pt x="2" y="7"/>
                  </a:moveTo>
                  <a:lnTo>
                    <a:pt x="0" y="14"/>
                  </a:lnTo>
                  <a:lnTo>
                    <a:pt x="0" y="18"/>
                  </a:lnTo>
                  <a:lnTo>
                    <a:pt x="2" y="22"/>
                  </a:lnTo>
                  <a:lnTo>
                    <a:pt x="5" y="25"/>
                  </a:lnTo>
                  <a:lnTo>
                    <a:pt x="9" y="30"/>
                  </a:lnTo>
                  <a:lnTo>
                    <a:pt x="12" y="31"/>
                  </a:lnTo>
                  <a:lnTo>
                    <a:pt x="15" y="31"/>
                  </a:lnTo>
                  <a:lnTo>
                    <a:pt x="16" y="30"/>
                  </a:lnTo>
                  <a:lnTo>
                    <a:pt x="16" y="28"/>
                  </a:lnTo>
                  <a:lnTo>
                    <a:pt x="13" y="28"/>
                  </a:lnTo>
                  <a:lnTo>
                    <a:pt x="10" y="28"/>
                  </a:lnTo>
                  <a:lnTo>
                    <a:pt x="6" y="25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3" y="17"/>
                  </a:lnTo>
                  <a:lnTo>
                    <a:pt x="2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5" y="15"/>
                  </a:lnTo>
                  <a:lnTo>
                    <a:pt x="7" y="15"/>
                  </a:lnTo>
                  <a:lnTo>
                    <a:pt x="9" y="14"/>
                  </a:lnTo>
                  <a:lnTo>
                    <a:pt x="9" y="12"/>
                  </a:lnTo>
                  <a:lnTo>
                    <a:pt x="9" y="10"/>
                  </a:lnTo>
                  <a:lnTo>
                    <a:pt x="9" y="8"/>
                  </a:lnTo>
                  <a:lnTo>
                    <a:pt x="6" y="7"/>
                  </a:lnTo>
                  <a:lnTo>
                    <a:pt x="5" y="7"/>
                  </a:lnTo>
                  <a:lnTo>
                    <a:pt x="5" y="5"/>
                  </a:lnTo>
                  <a:lnTo>
                    <a:pt x="7" y="4"/>
                  </a:lnTo>
                  <a:lnTo>
                    <a:pt x="12" y="5"/>
                  </a:lnTo>
                  <a:lnTo>
                    <a:pt x="13" y="4"/>
                  </a:lnTo>
                  <a:lnTo>
                    <a:pt x="15" y="2"/>
                  </a:lnTo>
                  <a:lnTo>
                    <a:pt x="12" y="1"/>
                  </a:lnTo>
                  <a:lnTo>
                    <a:pt x="9" y="0"/>
                  </a:lnTo>
                  <a:lnTo>
                    <a:pt x="5" y="1"/>
                  </a:lnTo>
                  <a:lnTo>
                    <a:pt x="3" y="4"/>
                  </a:lnTo>
                  <a:lnTo>
                    <a:pt x="2" y="7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87" name="Freeform 536"/>
            <p:cNvSpPr>
              <a:spLocks/>
            </p:cNvSpPr>
            <p:nvPr/>
          </p:nvSpPr>
          <p:spPr bwMode="auto">
            <a:xfrm>
              <a:off x="5202101" y="2613538"/>
              <a:ext cx="9769" cy="10583"/>
            </a:xfrm>
            <a:custGeom>
              <a:avLst/>
              <a:gdLst>
                <a:gd name="T0" fmla="*/ 5 w 15"/>
                <a:gd name="T1" fmla="*/ 8 h 16"/>
                <a:gd name="T2" fmla="*/ 4 w 15"/>
                <a:gd name="T3" fmla="*/ 6 h 16"/>
                <a:gd name="T4" fmla="*/ 4 w 15"/>
                <a:gd name="T5" fmla="*/ 1 h 16"/>
                <a:gd name="T6" fmla="*/ 5 w 15"/>
                <a:gd name="T7" fmla="*/ 1 h 16"/>
                <a:gd name="T8" fmla="*/ 4 w 15"/>
                <a:gd name="T9" fmla="*/ 0 h 16"/>
                <a:gd name="T10" fmla="*/ 3 w 15"/>
                <a:gd name="T11" fmla="*/ 0 h 16"/>
                <a:gd name="T12" fmla="*/ 1 w 15"/>
                <a:gd name="T13" fmla="*/ 0 h 16"/>
                <a:gd name="T14" fmla="*/ 1 w 15"/>
                <a:gd name="T15" fmla="*/ 3 h 16"/>
                <a:gd name="T16" fmla="*/ 0 w 15"/>
                <a:gd name="T17" fmla="*/ 6 h 16"/>
                <a:gd name="T18" fmla="*/ 1 w 15"/>
                <a:gd name="T19" fmla="*/ 8 h 16"/>
                <a:gd name="T20" fmla="*/ 3 w 15"/>
                <a:gd name="T21" fmla="*/ 11 h 16"/>
                <a:gd name="T22" fmla="*/ 4 w 15"/>
                <a:gd name="T23" fmla="*/ 14 h 16"/>
                <a:gd name="T24" fmla="*/ 8 w 15"/>
                <a:gd name="T25" fmla="*/ 16 h 16"/>
                <a:gd name="T26" fmla="*/ 13 w 15"/>
                <a:gd name="T27" fmla="*/ 16 h 16"/>
                <a:gd name="T28" fmla="*/ 14 w 15"/>
                <a:gd name="T29" fmla="*/ 16 h 16"/>
                <a:gd name="T30" fmla="*/ 15 w 15"/>
                <a:gd name="T31" fmla="*/ 14 h 16"/>
                <a:gd name="T32" fmla="*/ 15 w 15"/>
                <a:gd name="T33" fmla="*/ 13 h 16"/>
                <a:gd name="T34" fmla="*/ 15 w 15"/>
                <a:gd name="T35" fmla="*/ 8 h 16"/>
                <a:gd name="T36" fmla="*/ 13 w 15"/>
                <a:gd name="T37" fmla="*/ 4 h 16"/>
                <a:gd name="T38" fmla="*/ 13 w 15"/>
                <a:gd name="T39" fmla="*/ 3 h 16"/>
                <a:gd name="T40" fmla="*/ 11 w 15"/>
                <a:gd name="T41" fmla="*/ 3 h 16"/>
                <a:gd name="T42" fmla="*/ 10 w 15"/>
                <a:gd name="T43" fmla="*/ 3 h 16"/>
                <a:gd name="T44" fmla="*/ 10 w 15"/>
                <a:gd name="T45" fmla="*/ 4 h 16"/>
                <a:gd name="T46" fmla="*/ 10 w 15"/>
                <a:gd name="T47" fmla="*/ 6 h 16"/>
                <a:gd name="T48" fmla="*/ 11 w 15"/>
                <a:gd name="T49" fmla="*/ 8 h 16"/>
                <a:gd name="T50" fmla="*/ 13 w 15"/>
                <a:gd name="T51" fmla="*/ 10 h 16"/>
                <a:gd name="T52" fmla="*/ 13 w 15"/>
                <a:gd name="T53" fmla="*/ 13 h 16"/>
                <a:gd name="T54" fmla="*/ 10 w 15"/>
                <a:gd name="T55" fmla="*/ 13 h 16"/>
                <a:gd name="T56" fmla="*/ 8 w 15"/>
                <a:gd name="T57" fmla="*/ 11 h 16"/>
                <a:gd name="T58" fmla="*/ 5 w 15"/>
                <a:gd name="T59" fmla="*/ 8 h 16"/>
                <a:gd name="T60" fmla="*/ 5 w 15"/>
                <a:gd name="T61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" h="16">
                  <a:moveTo>
                    <a:pt x="5" y="8"/>
                  </a:moveTo>
                  <a:lnTo>
                    <a:pt x="4" y="6"/>
                  </a:lnTo>
                  <a:lnTo>
                    <a:pt x="4" y="1"/>
                  </a:lnTo>
                  <a:lnTo>
                    <a:pt x="5" y="1"/>
                  </a:lnTo>
                  <a:lnTo>
                    <a:pt x="4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3"/>
                  </a:lnTo>
                  <a:lnTo>
                    <a:pt x="0" y="6"/>
                  </a:lnTo>
                  <a:lnTo>
                    <a:pt x="1" y="8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8" y="16"/>
                  </a:lnTo>
                  <a:lnTo>
                    <a:pt x="13" y="16"/>
                  </a:lnTo>
                  <a:lnTo>
                    <a:pt x="14" y="16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8"/>
                  </a:lnTo>
                  <a:lnTo>
                    <a:pt x="13" y="4"/>
                  </a:lnTo>
                  <a:lnTo>
                    <a:pt x="13" y="3"/>
                  </a:lnTo>
                  <a:lnTo>
                    <a:pt x="11" y="3"/>
                  </a:lnTo>
                  <a:lnTo>
                    <a:pt x="10" y="3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11" y="8"/>
                  </a:lnTo>
                  <a:lnTo>
                    <a:pt x="13" y="10"/>
                  </a:lnTo>
                  <a:lnTo>
                    <a:pt x="13" y="13"/>
                  </a:lnTo>
                  <a:lnTo>
                    <a:pt x="10" y="13"/>
                  </a:lnTo>
                  <a:lnTo>
                    <a:pt x="8" y="11"/>
                  </a:lnTo>
                  <a:lnTo>
                    <a:pt x="5" y="8"/>
                  </a:lnTo>
                  <a:lnTo>
                    <a:pt x="5" y="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88" name="Freeform 537"/>
            <p:cNvSpPr>
              <a:spLocks/>
            </p:cNvSpPr>
            <p:nvPr/>
          </p:nvSpPr>
          <p:spPr bwMode="auto">
            <a:xfrm>
              <a:off x="5111736" y="2985274"/>
              <a:ext cx="12211" cy="11906"/>
            </a:xfrm>
            <a:custGeom>
              <a:avLst/>
              <a:gdLst>
                <a:gd name="T0" fmla="*/ 14 w 20"/>
                <a:gd name="T1" fmla="*/ 3 h 19"/>
                <a:gd name="T2" fmla="*/ 13 w 20"/>
                <a:gd name="T3" fmla="*/ 0 h 19"/>
                <a:gd name="T4" fmla="*/ 10 w 20"/>
                <a:gd name="T5" fmla="*/ 0 h 19"/>
                <a:gd name="T6" fmla="*/ 5 w 20"/>
                <a:gd name="T7" fmla="*/ 2 h 19"/>
                <a:gd name="T8" fmla="*/ 0 w 20"/>
                <a:gd name="T9" fmla="*/ 7 h 19"/>
                <a:gd name="T10" fmla="*/ 0 w 20"/>
                <a:gd name="T11" fmla="*/ 10 h 19"/>
                <a:gd name="T12" fmla="*/ 0 w 20"/>
                <a:gd name="T13" fmla="*/ 13 h 19"/>
                <a:gd name="T14" fmla="*/ 4 w 20"/>
                <a:gd name="T15" fmla="*/ 13 h 19"/>
                <a:gd name="T16" fmla="*/ 7 w 20"/>
                <a:gd name="T17" fmla="*/ 17 h 19"/>
                <a:gd name="T18" fmla="*/ 8 w 20"/>
                <a:gd name="T19" fmla="*/ 19 h 19"/>
                <a:gd name="T20" fmla="*/ 11 w 20"/>
                <a:gd name="T21" fmla="*/ 17 h 19"/>
                <a:gd name="T22" fmla="*/ 14 w 20"/>
                <a:gd name="T23" fmla="*/ 16 h 19"/>
                <a:gd name="T24" fmla="*/ 18 w 20"/>
                <a:gd name="T25" fmla="*/ 13 h 19"/>
                <a:gd name="T26" fmla="*/ 20 w 20"/>
                <a:gd name="T27" fmla="*/ 12 h 19"/>
                <a:gd name="T28" fmla="*/ 20 w 20"/>
                <a:gd name="T29" fmla="*/ 9 h 19"/>
                <a:gd name="T30" fmla="*/ 18 w 20"/>
                <a:gd name="T31" fmla="*/ 9 h 19"/>
                <a:gd name="T32" fmla="*/ 17 w 20"/>
                <a:gd name="T33" fmla="*/ 7 h 19"/>
                <a:gd name="T34" fmla="*/ 15 w 20"/>
                <a:gd name="T35" fmla="*/ 6 h 19"/>
                <a:gd name="T36" fmla="*/ 14 w 20"/>
                <a:gd name="T37" fmla="*/ 3 h 19"/>
                <a:gd name="T38" fmla="*/ 14 w 20"/>
                <a:gd name="T39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19">
                  <a:moveTo>
                    <a:pt x="14" y="3"/>
                  </a:moveTo>
                  <a:lnTo>
                    <a:pt x="13" y="0"/>
                  </a:lnTo>
                  <a:lnTo>
                    <a:pt x="10" y="0"/>
                  </a:lnTo>
                  <a:lnTo>
                    <a:pt x="5" y="2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8" y="19"/>
                  </a:lnTo>
                  <a:lnTo>
                    <a:pt x="11" y="17"/>
                  </a:lnTo>
                  <a:lnTo>
                    <a:pt x="14" y="16"/>
                  </a:lnTo>
                  <a:lnTo>
                    <a:pt x="18" y="13"/>
                  </a:lnTo>
                  <a:lnTo>
                    <a:pt x="20" y="12"/>
                  </a:lnTo>
                  <a:lnTo>
                    <a:pt x="20" y="9"/>
                  </a:lnTo>
                  <a:lnTo>
                    <a:pt x="18" y="9"/>
                  </a:lnTo>
                  <a:lnTo>
                    <a:pt x="17" y="7"/>
                  </a:lnTo>
                  <a:lnTo>
                    <a:pt x="15" y="6"/>
                  </a:lnTo>
                  <a:lnTo>
                    <a:pt x="14" y="3"/>
                  </a:lnTo>
                  <a:lnTo>
                    <a:pt x="14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89" name="Freeform 538"/>
            <p:cNvSpPr>
              <a:spLocks/>
            </p:cNvSpPr>
            <p:nvPr/>
          </p:nvSpPr>
          <p:spPr bwMode="auto">
            <a:xfrm>
              <a:off x="5112958" y="2985274"/>
              <a:ext cx="7327" cy="2646"/>
            </a:xfrm>
            <a:custGeom>
              <a:avLst/>
              <a:gdLst>
                <a:gd name="T0" fmla="*/ 13 w 13"/>
                <a:gd name="T1" fmla="*/ 3 h 6"/>
                <a:gd name="T2" fmla="*/ 12 w 13"/>
                <a:gd name="T3" fmla="*/ 0 h 6"/>
                <a:gd name="T4" fmla="*/ 9 w 13"/>
                <a:gd name="T5" fmla="*/ 0 h 6"/>
                <a:gd name="T6" fmla="*/ 4 w 13"/>
                <a:gd name="T7" fmla="*/ 2 h 6"/>
                <a:gd name="T8" fmla="*/ 0 w 1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6">
                  <a:moveTo>
                    <a:pt x="13" y="3"/>
                  </a:moveTo>
                  <a:lnTo>
                    <a:pt x="12" y="0"/>
                  </a:lnTo>
                  <a:lnTo>
                    <a:pt x="9" y="0"/>
                  </a:lnTo>
                  <a:lnTo>
                    <a:pt x="4" y="2"/>
                  </a:lnTo>
                  <a:lnTo>
                    <a:pt x="0" y="6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90" name="Freeform 539"/>
            <p:cNvSpPr>
              <a:spLocks/>
            </p:cNvSpPr>
            <p:nvPr/>
          </p:nvSpPr>
          <p:spPr bwMode="auto">
            <a:xfrm>
              <a:off x="5114179" y="2994534"/>
              <a:ext cx="8548" cy="2646"/>
            </a:xfrm>
            <a:custGeom>
              <a:avLst/>
              <a:gdLst>
                <a:gd name="T0" fmla="*/ 0 w 14"/>
                <a:gd name="T1" fmla="*/ 0 h 4"/>
                <a:gd name="T2" fmla="*/ 3 w 14"/>
                <a:gd name="T3" fmla="*/ 2 h 4"/>
                <a:gd name="T4" fmla="*/ 4 w 14"/>
                <a:gd name="T5" fmla="*/ 4 h 4"/>
                <a:gd name="T6" fmla="*/ 7 w 14"/>
                <a:gd name="T7" fmla="*/ 2 h 4"/>
                <a:gd name="T8" fmla="*/ 10 w 14"/>
                <a:gd name="T9" fmla="*/ 1 h 4"/>
                <a:gd name="T10" fmla="*/ 14 w 14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4">
                  <a:moveTo>
                    <a:pt x="0" y="0"/>
                  </a:moveTo>
                  <a:lnTo>
                    <a:pt x="3" y="2"/>
                  </a:lnTo>
                  <a:lnTo>
                    <a:pt x="4" y="4"/>
                  </a:lnTo>
                  <a:lnTo>
                    <a:pt x="7" y="2"/>
                  </a:lnTo>
                  <a:lnTo>
                    <a:pt x="10" y="1"/>
                  </a:lnTo>
                  <a:lnTo>
                    <a:pt x="14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91" name="Line 540"/>
            <p:cNvSpPr>
              <a:spLocks noChangeShapeType="1"/>
            </p:cNvSpPr>
            <p:nvPr/>
          </p:nvSpPr>
          <p:spPr bwMode="auto">
            <a:xfrm flipH="1" flipV="1">
              <a:off x="5120284" y="2986597"/>
              <a:ext cx="1221" cy="1323"/>
            </a:xfrm>
            <a:prstGeom prst="line">
              <a:avLst/>
            </a:pr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92" name="Freeform 541"/>
            <p:cNvSpPr>
              <a:spLocks/>
            </p:cNvSpPr>
            <p:nvPr/>
          </p:nvSpPr>
          <p:spPr bwMode="auto">
            <a:xfrm>
              <a:off x="5127611" y="2991888"/>
              <a:ext cx="18317" cy="10583"/>
            </a:xfrm>
            <a:custGeom>
              <a:avLst/>
              <a:gdLst>
                <a:gd name="T0" fmla="*/ 21 w 30"/>
                <a:gd name="T1" fmla="*/ 3 h 16"/>
                <a:gd name="T2" fmla="*/ 18 w 30"/>
                <a:gd name="T3" fmla="*/ 0 h 16"/>
                <a:gd name="T4" fmla="*/ 12 w 30"/>
                <a:gd name="T5" fmla="*/ 0 h 16"/>
                <a:gd name="T6" fmla="*/ 5 w 30"/>
                <a:gd name="T7" fmla="*/ 0 h 16"/>
                <a:gd name="T8" fmla="*/ 1 w 30"/>
                <a:gd name="T9" fmla="*/ 2 h 16"/>
                <a:gd name="T10" fmla="*/ 0 w 30"/>
                <a:gd name="T11" fmla="*/ 3 h 16"/>
                <a:gd name="T12" fmla="*/ 0 w 30"/>
                <a:gd name="T13" fmla="*/ 5 h 16"/>
                <a:gd name="T14" fmla="*/ 0 w 30"/>
                <a:gd name="T15" fmla="*/ 6 h 16"/>
                <a:gd name="T16" fmla="*/ 2 w 30"/>
                <a:gd name="T17" fmla="*/ 5 h 16"/>
                <a:gd name="T18" fmla="*/ 4 w 30"/>
                <a:gd name="T19" fmla="*/ 5 h 16"/>
                <a:gd name="T20" fmla="*/ 7 w 30"/>
                <a:gd name="T21" fmla="*/ 7 h 16"/>
                <a:gd name="T22" fmla="*/ 11 w 30"/>
                <a:gd name="T23" fmla="*/ 13 h 16"/>
                <a:gd name="T24" fmla="*/ 12 w 30"/>
                <a:gd name="T25" fmla="*/ 16 h 16"/>
                <a:gd name="T26" fmla="*/ 14 w 30"/>
                <a:gd name="T27" fmla="*/ 16 h 16"/>
                <a:gd name="T28" fmla="*/ 17 w 30"/>
                <a:gd name="T29" fmla="*/ 16 h 16"/>
                <a:gd name="T30" fmla="*/ 17 w 30"/>
                <a:gd name="T31" fmla="*/ 16 h 16"/>
                <a:gd name="T32" fmla="*/ 17 w 30"/>
                <a:gd name="T33" fmla="*/ 12 h 16"/>
                <a:gd name="T34" fmla="*/ 17 w 30"/>
                <a:gd name="T35" fmla="*/ 9 h 16"/>
                <a:gd name="T36" fmla="*/ 18 w 30"/>
                <a:gd name="T37" fmla="*/ 7 h 16"/>
                <a:gd name="T38" fmla="*/ 18 w 30"/>
                <a:gd name="T39" fmla="*/ 7 h 16"/>
                <a:gd name="T40" fmla="*/ 21 w 30"/>
                <a:gd name="T41" fmla="*/ 9 h 16"/>
                <a:gd name="T42" fmla="*/ 25 w 30"/>
                <a:gd name="T43" fmla="*/ 13 h 16"/>
                <a:gd name="T44" fmla="*/ 28 w 30"/>
                <a:gd name="T45" fmla="*/ 15 h 16"/>
                <a:gd name="T46" fmla="*/ 28 w 30"/>
                <a:gd name="T47" fmla="*/ 15 h 16"/>
                <a:gd name="T48" fmla="*/ 30 w 30"/>
                <a:gd name="T49" fmla="*/ 13 h 16"/>
                <a:gd name="T50" fmla="*/ 30 w 30"/>
                <a:gd name="T51" fmla="*/ 10 h 16"/>
                <a:gd name="T52" fmla="*/ 27 w 30"/>
                <a:gd name="T53" fmla="*/ 7 h 16"/>
                <a:gd name="T54" fmla="*/ 21 w 30"/>
                <a:gd name="T55" fmla="*/ 3 h 16"/>
                <a:gd name="T56" fmla="*/ 21 w 30"/>
                <a:gd name="T57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" h="16">
                  <a:moveTo>
                    <a:pt x="21" y="3"/>
                  </a:moveTo>
                  <a:lnTo>
                    <a:pt x="18" y="0"/>
                  </a:lnTo>
                  <a:lnTo>
                    <a:pt x="12" y="0"/>
                  </a:lnTo>
                  <a:lnTo>
                    <a:pt x="5" y="0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6"/>
                  </a:lnTo>
                  <a:lnTo>
                    <a:pt x="2" y="5"/>
                  </a:lnTo>
                  <a:lnTo>
                    <a:pt x="4" y="5"/>
                  </a:lnTo>
                  <a:lnTo>
                    <a:pt x="7" y="7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2"/>
                  </a:lnTo>
                  <a:lnTo>
                    <a:pt x="17" y="9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21" y="9"/>
                  </a:lnTo>
                  <a:lnTo>
                    <a:pt x="25" y="13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30" y="13"/>
                  </a:lnTo>
                  <a:lnTo>
                    <a:pt x="30" y="10"/>
                  </a:lnTo>
                  <a:lnTo>
                    <a:pt x="27" y="7"/>
                  </a:lnTo>
                  <a:lnTo>
                    <a:pt x="21" y="3"/>
                  </a:lnTo>
                  <a:lnTo>
                    <a:pt x="21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93" name="Freeform 542"/>
            <p:cNvSpPr>
              <a:spLocks/>
            </p:cNvSpPr>
            <p:nvPr/>
          </p:nvSpPr>
          <p:spPr bwMode="auto">
            <a:xfrm>
              <a:off x="5131275" y="2991888"/>
              <a:ext cx="8548" cy="1323"/>
            </a:xfrm>
            <a:custGeom>
              <a:avLst/>
              <a:gdLst>
                <a:gd name="T0" fmla="*/ 16 w 16"/>
                <a:gd name="T1" fmla="*/ 3 h 3"/>
                <a:gd name="T2" fmla="*/ 13 w 16"/>
                <a:gd name="T3" fmla="*/ 0 h 3"/>
                <a:gd name="T4" fmla="*/ 7 w 16"/>
                <a:gd name="T5" fmla="*/ 0 h 3"/>
                <a:gd name="T6" fmla="*/ 0 w 16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">
                  <a:moveTo>
                    <a:pt x="16" y="3"/>
                  </a:moveTo>
                  <a:lnTo>
                    <a:pt x="13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94" name="Freeform 543"/>
            <p:cNvSpPr>
              <a:spLocks/>
            </p:cNvSpPr>
            <p:nvPr/>
          </p:nvSpPr>
          <p:spPr bwMode="auto">
            <a:xfrm>
              <a:off x="5128832" y="2994534"/>
              <a:ext cx="7327" cy="7937"/>
            </a:xfrm>
            <a:custGeom>
              <a:avLst/>
              <a:gdLst>
                <a:gd name="T0" fmla="*/ 0 w 12"/>
                <a:gd name="T1" fmla="*/ 0 h 11"/>
                <a:gd name="T2" fmla="*/ 2 w 12"/>
                <a:gd name="T3" fmla="*/ 0 h 11"/>
                <a:gd name="T4" fmla="*/ 5 w 12"/>
                <a:gd name="T5" fmla="*/ 2 h 11"/>
                <a:gd name="T6" fmla="*/ 9 w 12"/>
                <a:gd name="T7" fmla="*/ 8 h 11"/>
                <a:gd name="T8" fmla="*/ 10 w 12"/>
                <a:gd name="T9" fmla="*/ 11 h 11"/>
                <a:gd name="T10" fmla="*/ 12 w 12"/>
                <a:gd name="T11" fmla="*/ 11 h 11"/>
                <a:gd name="T12" fmla="*/ 12 w 12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1">
                  <a:moveTo>
                    <a:pt x="0" y="0"/>
                  </a:moveTo>
                  <a:lnTo>
                    <a:pt x="2" y="0"/>
                  </a:lnTo>
                  <a:lnTo>
                    <a:pt x="5" y="2"/>
                  </a:lnTo>
                  <a:lnTo>
                    <a:pt x="9" y="8"/>
                  </a:lnTo>
                  <a:lnTo>
                    <a:pt x="10" y="11"/>
                  </a:lnTo>
                  <a:lnTo>
                    <a:pt x="12" y="11"/>
                  </a:lnTo>
                  <a:lnTo>
                    <a:pt x="12" y="11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95" name="Freeform 544"/>
            <p:cNvSpPr>
              <a:spLocks/>
            </p:cNvSpPr>
            <p:nvPr/>
          </p:nvSpPr>
          <p:spPr bwMode="auto">
            <a:xfrm>
              <a:off x="5138602" y="2995857"/>
              <a:ext cx="7327" cy="5292"/>
            </a:xfrm>
            <a:custGeom>
              <a:avLst/>
              <a:gdLst>
                <a:gd name="T0" fmla="*/ 0 w 12"/>
                <a:gd name="T1" fmla="*/ 0 h 8"/>
                <a:gd name="T2" fmla="*/ 0 w 12"/>
                <a:gd name="T3" fmla="*/ 0 h 8"/>
                <a:gd name="T4" fmla="*/ 3 w 12"/>
                <a:gd name="T5" fmla="*/ 2 h 8"/>
                <a:gd name="T6" fmla="*/ 7 w 12"/>
                <a:gd name="T7" fmla="*/ 6 h 8"/>
                <a:gd name="T8" fmla="*/ 10 w 12"/>
                <a:gd name="T9" fmla="*/ 8 h 8"/>
                <a:gd name="T10" fmla="*/ 10 w 12"/>
                <a:gd name="T11" fmla="*/ 8 h 8"/>
                <a:gd name="T12" fmla="*/ 12 w 12"/>
                <a:gd name="T13" fmla="*/ 6 h 8"/>
                <a:gd name="T14" fmla="*/ 12 w 12"/>
                <a:gd name="T15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8">
                  <a:moveTo>
                    <a:pt x="0" y="0"/>
                  </a:moveTo>
                  <a:lnTo>
                    <a:pt x="0" y="0"/>
                  </a:lnTo>
                  <a:lnTo>
                    <a:pt x="3" y="2"/>
                  </a:lnTo>
                  <a:lnTo>
                    <a:pt x="7" y="6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2" y="6"/>
                  </a:lnTo>
                  <a:lnTo>
                    <a:pt x="12" y="3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96" name="Line 545"/>
            <p:cNvSpPr>
              <a:spLocks noChangeShapeType="1"/>
            </p:cNvSpPr>
            <p:nvPr/>
          </p:nvSpPr>
          <p:spPr bwMode="auto">
            <a:xfrm>
              <a:off x="5139823" y="2993211"/>
              <a:ext cx="0" cy="0"/>
            </a:xfrm>
            <a:prstGeom prst="line">
              <a:avLst/>
            </a:pr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97" name="Freeform 546"/>
            <p:cNvSpPr>
              <a:spLocks/>
            </p:cNvSpPr>
            <p:nvPr/>
          </p:nvSpPr>
          <p:spPr bwMode="auto">
            <a:xfrm>
              <a:off x="5149592" y="3009086"/>
              <a:ext cx="15875" cy="9260"/>
            </a:xfrm>
            <a:custGeom>
              <a:avLst/>
              <a:gdLst>
                <a:gd name="T0" fmla="*/ 7 w 24"/>
                <a:gd name="T1" fmla="*/ 7 h 16"/>
                <a:gd name="T2" fmla="*/ 13 w 24"/>
                <a:gd name="T3" fmla="*/ 13 h 16"/>
                <a:gd name="T4" fmla="*/ 17 w 24"/>
                <a:gd name="T5" fmla="*/ 14 h 16"/>
                <a:gd name="T6" fmla="*/ 20 w 24"/>
                <a:gd name="T7" fmla="*/ 16 h 16"/>
                <a:gd name="T8" fmla="*/ 23 w 24"/>
                <a:gd name="T9" fmla="*/ 16 h 16"/>
                <a:gd name="T10" fmla="*/ 23 w 24"/>
                <a:gd name="T11" fmla="*/ 14 h 16"/>
                <a:gd name="T12" fmla="*/ 23 w 24"/>
                <a:gd name="T13" fmla="*/ 12 h 16"/>
                <a:gd name="T14" fmla="*/ 21 w 24"/>
                <a:gd name="T15" fmla="*/ 10 h 16"/>
                <a:gd name="T16" fmla="*/ 20 w 24"/>
                <a:gd name="T17" fmla="*/ 9 h 16"/>
                <a:gd name="T18" fmla="*/ 20 w 24"/>
                <a:gd name="T19" fmla="*/ 7 h 16"/>
                <a:gd name="T20" fmla="*/ 20 w 24"/>
                <a:gd name="T21" fmla="*/ 6 h 16"/>
                <a:gd name="T22" fmla="*/ 23 w 24"/>
                <a:gd name="T23" fmla="*/ 6 h 16"/>
                <a:gd name="T24" fmla="*/ 24 w 24"/>
                <a:gd name="T25" fmla="*/ 6 h 16"/>
                <a:gd name="T26" fmla="*/ 24 w 24"/>
                <a:gd name="T27" fmla="*/ 4 h 16"/>
                <a:gd name="T28" fmla="*/ 24 w 24"/>
                <a:gd name="T29" fmla="*/ 3 h 16"/>
                <a:gd name="T30" fmla="*/ 23 w 24"/>
                <a:gd name="T31" fmla="*/ 3 h 16"/>
                <a:gd name="T32" fmla="*/ 21 w 24"/>
                <a:gd name="T33" fmla="*/ 3 h 16"/>
                <a:gd name="T34" fmla="*/ 18 w 24"/>
                <a:gd name="T35" fmla="*/ 4 h 16"/>
                <a:gd name="T36" fmla="*/ 17 w 24"/>
                <a:gd name="T37" fmla="*/ 7 h 16"/>
                <a:gd name="T38" fmla="*/ 14 w 24"/>
                <a:gd name="T39" fmla="*/ 6 h 16"/>
                <a:gd name="T40" fmla="*/ 11 w 24"/>
                <a:gd name="T41" fmla="*/ 4 h 16"/>
                <a:gd name="T42" fmla="*/ 8 w 24"/>
                <a:gd name="T43" fmla="*/ 2 h 16"/>
                <a:gd name="T44" fmla="*/ 5 w 24"/>
                <a:gd name="T45" fmla="*/ 0 h 16"/>
                <a:gd name="T46" fmla="*/ 3 w 24"/>
                <a:gd name="T47" fmla="*/ 0 h 16"/>
                <a:gd name="T48" fmla="*/ 0 w 24"/>
                <a:gd name="T49" fmla="*/ 0 h 16"/>
                <a:gd name="T50" fmla="*/ 0 w 24"/>
                <a:gd name="T51" fmla="*/ 2 h 16"/>
                <a:gd name="T52" fmla="*/ 0 w 24"/>
                <a:gd name="T53" fmla="*/ 3 h 16"/>
                <a:gd name="T54" fmla="*/ 1 w 24"/>
                <a:gd name="T55" fmla="*/ 4 h 16"/>
                <a:gd name="T56" fmla="*/ 4 w 24"/>
                <a:gd name="T57" fmla="*/ 6 h 16"/>
                <a:gd name="T58" fmla="*/ 5 w 24"/>
                <a:gd name="T59" fmla="*/ 6 h 16"/>
                <a:gd name="T60" fmla="*/ 7 w 24"/>
                <a:gd name="T61" fmla="*/ 7 h 16"/>
                <a:gd name="T62" fmla="*/ 7 w 24"/>
                <a:gd name="T63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" h="16">
                  <a:moveTo>
                    <a:pt x="7" y="7"/>
                  </a:moveTo>
                  <a:lnTo>
                    <a:pt x="13" y="13"/>
                  </a:lnTo>
                  <a:lnTo>
                    <a:pt x="17" y="14"/>
                  </a:lnTo>
                  <a:lnTo>
                    <a:pt x="20" y="16"/>
                  </a:lnTo>
                  <a:lnTo>
                    <a:pt x="23" y="16"/>
                  </a:lnTo>
                  <a:lnTo>
                    <a:pt x="23" y="14"/>
                  </a:lnTo>
                  <a:lnTo>
                    <a:pt x="23" y="12"/>
                  </a:lnTo>
                  <a:lnTo>
                    <a:pt x="21" y="10"/>
                  </a:lnTo>
                  <a:lnTo>
                    <a:pt x="20" y="9"/>
                  </a:lnTo>
                  <a:lnTo>
                    <a:pt x="20" y="7"/>
                  </a:lnTo>
                  <a:lnTo>
                    <a:pt x="20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3" y="3"/>
                  </a:lnTo>
                  <a:lnTo>
                    <a:pt x="21" y="3"/>
                  </a:lnTo>
                  <a:lnTo>
                    <a:pt x="18" y="4"/>
                  </a:lnTo>
                  <a:lnTo>
                    <a:pt x="17" y="7"/>
                  </a:lnTo>
                  <a:lnTo>
                    <a:pt x="14" y="6"/>
                  </a:lnTo>
                  <a:lnTo>
                    <a:pt x="11" y="4"/>
                  </a:lnTo>
                  <a:lnTo>
                    <a:pt x="8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4"/>
                  </a:lnTo>
                  <a:lnTo>
                    <a:pt x="4" y="6"/>
                  </a:lnTo>
                  <a:lnTo>
                    <a:pt x="5" y="6"/>
                  </a:lnTo>
                  <a:lnTo>
                    <a:pt x="7" y="7"/>
                  </a:lnTo>
                  <a:lnTo>
                    <a:pt x="7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98" name="Freeform 547"/>
            <p:cNvSpPr>
              <a:spLocks/>
            </p:cNvSpPr>
            <p:nvPr/>
          </p:nvSpPr>
          <p:spPr bwMode="auto">
            <a:xfrm>
              <a:off x="5154476" y="3013055"/>
              <a:ext cx="8548" cy="5292"/>
            </a:xfrm>
            <a:custGeom>
              <a:avLst/>
              <a:gdLst>
                <a:gd name="T0" fmla="*/ 0 w 14"/>
                <a:gd name="T1" fmla="*/ 0 h 9"/>
                <a:gd name="T2" fmla="*/ 6 w 14"/>
                <a:gd name="T3" fmla="*/ 6 h 9"/>
                <a:gd name="T4" fmla="*/ 10 w 14"/>
                <a:gd name="T5" fmla="*/ 7 h 9"/>
                <a:gd name="T6" fmla="*/ 13 w 14"/>
                <a:gd name="T7" fmla="*/ 9 h 9"/>
                <a:gd name="T8" fmla="*/ 14 w 14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9">
                  <a:moveTo>
                    <a:pt x="0" y="0"/>
                  </a:moveTo>
                  <a:lnTo>
                    <a:pt x="6" y="6"/>
                  </a:lnTo>
                  <a:lnTo>
                    <a:pt x="10" y="7"/>
                  </a:lnTo>
                  <a:lnTo>
                    <a:pt x="13" y="9"/>
                  </a:lnTo>
                  <a:lnTo>
                    <a:pt x="14" y="9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199" name="Freeform 548"/>
            <p:cNvSpPr>
              <a:spLocks/>
            </p:cNvSpPr>
            <p:nvPr/>
          </p:nvSpPr>
          <p:spPr bwMode="auto">
            <a:xfrm>
              <a:off x="5159361" y="3010409"/>
              <a:ext cx="6106" cy="2646"/>
            </a:xfrm>
            <a:custGeom>
              <a:avLst/>
              <a:gdLst>
                <a:gd name="T0" fmla="*/ 5 w 9"/>
                <a:gd name="T1" fmla="*/ 3 h 4"/>
                <a:gd name="T2" fmla="*/ 5 w 9"/>
                <a:gd name="T3" fmla="*/ 3 h 4"/>
                <a:gd name="T4" fmla="*/ 8 w 9"/>
                <a:gd name="T5" fmla="*/ 3 h 4"/>
                <a:gd name="T6" fmla="*/ 9 w 9"/>
                <a:gd name="T7" fmla="*/ 3 h 4"/>
                <a:gd name="T8" fmla="*/ 9 w 9"/>
                <a:gd name="T9" fmla="*/ 1 h 4"/>
                <a:gd name="T10" fmla="*/ 9 w 9"/>
                <a:gd name="T11" fmla="*/ 0 h 4"/>
                <a:gd name="T12" fmla="*/ 8 w 9"/>
                <a:gd name="T13" fmla="*/ 0 h 4"/>
                <a:gd name="T14" fmla="*/ 6 w 9"/>
                <a:gd name="T15" fmla="*/ 0 h 4"/>
                <a:gd name="T16" fmla="*/ 3 w 9"/>
                <a:gd name="T17" fmla="*/ 1 h 4"/>
                <a:gd name="T18" fmla="*/ 2 w 9"/>
                <a:gd name="T19" fmla="*/ 4 h 4"/>
                <a:gd name="T20" fmla="*/ 0 w 9"/>
                <a:gd name="T2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4">
                  <a:moveTo>
                    <a:pt x="5" y="3"/>
                  </a:moveTo>
                  <a:lnTo>
                    <a:pt x="5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1"/>
                  </a:lnTo>
                  <a:lnTo>
                    <a:pt x="9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3" y="1"/>
                  </a:lnTo>
                  <a:lnTo>
                    <a:pt x="2" y="4"/>
                  </a:lnTo>
                  <a:lnTo>
                    <a:pt x="0" y="3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00" name="Freeform 549"/>
            <p:cNvSpPr>
              <a:spLocks/>
            </p:cNvSpPr>
            <p:nvPr/>
          </p:nvSpPr>
          <p:spPr bwMode="auto">
            <a:xfrm>
              <a:off x="5149592" y="3009086"/>
              <a:ext cx="4885" cy="3969"/>
            </a:xfrm>
            <a:custGeom>
              <a:avLst/>
              <a:gdLst>
                <a:gd name="T0" fmla="*/ 5 w 7"/>
                <a:gd name="T1" fmla="*/ 0 h 7"/>
                <a:gd name="T2" fmla="*/ 5 w 7"/>
                <a:gd name="T3" fmla="*/ 0 h 7"/>
                <a:gd name="T4" fmla="*/ 3 w 7"/>
                <a:gd name="T5" fmla="*/ 0 h 7"/>
                <a:gd name="T6" fmla="*/ 0 w 7"/>
                <a:gd name="T7" fmla="*/ 0 h 7"/>
                <a:gd name="T8" fmla="*/ 0 w 7"/>
                <a:gd name="T9" fmla="*/ 2 h 7"/>
                <a:gd name="T10" fmla="*/ 0 w 7"/>
                <a:gd name="T11" fmla="*/ 3 h 7"/>
                <a:gd name="T12" fmla="*/ 1 w 7"/>
                <a:gd name="T13" fmla="*/ 4 h 7"/>
                <a:gd name="T14" fmla="*/ 4 w 7"/>
                <a:gd name="T15" fmla="*/ 6 h 7"/>
                <a:gd name="T16" fmla="*/ 5 w 7"/>
                <a:gd name="T17" fmla="*/ 6 h 7"/>
                <a:gd name="T18" fmla="*/ 7 w 7"/>
                <a:gd name="T1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7">
                  <a:moveTo>
                    <a:pt x="5" y="0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1" y="4"/>
                  </a:lnTo>
                  <a:lnTo>
                    <a:pt x="4" y="6"/>
                  </a:lnTo>
                  <a:lnTo>
                    <a:pt x="5" y="6"/>
                  </a:lnTo>
                  <a:lnTo>
                    <a:pt x="7" y="7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01" name="Freeform 550"/>
            <p:cNvSpPr>
              <a:spLocks/>
            </p:cNvSpPr>
            <p:nvPr/>
          </p:nvSpPr>
          <p:spPr bwMode="auto">
            <a:xfrm>
              <a:off x="5547684" y="2752443"/>
              <a:ext cx="4885" cy="9260"/>
            </a:xfrm>
            <a:custGeom>
              <a:avLst/>
              <a:gdLst>
                <a:gd name="T0" fmla="*/ 9 w 9"/>
                <a:gd name="T1" fmla="*/ 5 h 13"/>
                <a:gd name="T2" fmla="*/ 9 w 9"/>
                <a:gd name="T3" fmla="*/ 3 h 13"/>
                <a:gd name="T4" fmla="*/ 9 w 9"/>
                <a:gd name="T5" fmla="*/ 2 h 13"/>
                <a:gd name="T6" fmla="*/ 8 w 9"/>
                <a:gd name="T7" fmla="*/ 2 h 13"/>
                <a:gd name="T8" fmla="*/ 5 w 9"/>
                <a:gd name="T9" fmla="*/ 2 h 13"/>
                <a:gd name="T10" fmla="*/ 2 w 9"/>
                <a:gd name="T11" fmla="*/ 0 h 13"/>
                <a:gd name="T12" fmla="*/ 0 w 9"/>
                <a:gd name="T13" fmla="*/ 2 h 13"/>
                <a:gd name="T14" fmla="*/ 0 w 9"/>
                <a:gd name="T15" fmla="*/ 3 h 13"/>
                <a:gd name="T16" fmla="*/ 3 w 9"/>
                <a:gd name="T17" fmla="*/ 9 h 13"/>
                <a:gd name="T18" fmla="*/ 6 w 9"/>
                <a:gd name="T19" fmla="*/ 12 h 13"/>
                <a:gd name="T20" fmla="*/ 8 w 9"/>
                <a:gd name="T21" fmla="*/ 13 h 13"/>
                <a:gd name="T22" fmla="*/ 8 w 9"/>
                <a:gd name="T23" fmla="*/ 12 h 13"/>
                <a:gd name="T24" fmla="*/ 9 w 9"/>
                <a:gd name="T25" fmla="*/ 10 h 13"/>
                <a:gd name="T26" fmla="*/ 8 w 9"/>
                <a:gd name="T27" fmla="*/ 8 h 13"/>
                <a:gd name="T28" fmla="*/ 6 w 9"/>
                <a:gd name="T29" fmla="*/ 6 h 13"/>
                <a:gd name="T30" fmla="*/ 9 w 9"/>
                <a:gd name="T31" fmla="*/ 5 h 13"/>
                <a:gd name="T32" fmla="*/ 9 w 9"/>
                <a:gd name="T33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" h="13">
                  <a:moveTo>
                    <a:pt x="9" y="5"/>
                  </a:moveTo>
                  <a:lnTo>
                    <a:pt x="9" y="3"/>
                  </a:lnTo>
                  <a:lnTo>
                    <a:pt x="9" y="2"/>
                  </a:lnTo>
                  <a:lnTo>
                    <a:pt x="8" y="2"/>
                  </a:lnTo>
                  <a:lnTo>
                    <a:pt x="5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3" y="9"/>
                  </a:lnTo>
                  <a:lnTo>
                    <a:pt x="6" y="12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9" y="10"/>
                  </a:lnTo>
                  <a:lnTo>
                    <a:pt x="8" y="8"/>
                  </a:lnTo>
                  <a:lnTo>
                    <a:pt x="6" y="6"/>
                  </a:lnTo>
                  <a:lnTo>
                    <a:pt x="9" y="5"/>
                  </a:lnTo>
                  <a:lnTo>
                    <a:pt x="9" y="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02" name="Freeform 551"/>
            <p:cNvSpPr>
              <a:spLocks/>
            </p:cNvSpPr>
            <p:nvPr/>
          </p:nvSpPr>
          <p:spPr bwMode="auto">
            <a:xfrm>
              <a:off x="5491512" y="2711432"/>
              <a:ext cx="30529" cy="30427"/>
            </a:xfrm>
            <a:custGeom>
              <a:avLst/>
              <a:gdLst>
                <a:gd name="T0" fmla="*/ 46 w 52"/>
                <a:gd name="T1" fmla="*/ 18 h 44"/>
                <a:gd name="T2" fmla="*/ 50 w 52"/>
                <a:gd name="T3" fmla="*/ 14 h 44"/>
                <a:gd name="T4" fmla="*/ 52 w 52"/>
                <a:gd name="T5" fmla="*/ 11 h 44"/>
                <a:gd name="T6" fmla="*/ 50 w 52"/>
                <a:gd name="T7" fmla="*/ 8 h 44"/>
                <a:gd name="T8" fmla="*/ 50 w 52"/>
                <a:gd name="T9" fmla="*/ 8 h 44"/>
                <a:gd name="T10" fmla="*/ 49 w 52"/>
                <a:gd name="T11" fmla="*/ 7 h 44"/>
                <a:gd name="T12" fmla="*/ 49 w 52"/>
                <a:gd name="T13" fmla="*/ 6 h 44"/>
                <a:gd name="T14" fmla="*/ 49 w 52"/>
                <a:gd name="T15" fmla="*/ 3 h 44"/>
                <a:gd name="T16" fmla="*/ 49 w 52"/>
                <a:gd name="T17" fmla="*/ 1 h 44"/>
                <a:gd name="T18" fmla="*/ 46 w 52"/>
                <a:gd name="T19" fmla="*/ 0 h 44"/>
                <a:gd name="T20" fmla="*/ 45 w 52"/>
                <a:gd name="T21" fmla="*/ 0 h 44"/>
                <a:gd name="T22" fmla="*/ 40 w 52"/>
                <a:gd name="T23" fmla="*/ 4 h 44"/>
                <a:gd name="T24" fmla="*/ 36 w 52"/>
                <a:gd name="T25" fmla="*/ 8 h 44"/>
                <a:gd name="T26" fmla="*/ 28 w 52"/>
                <a:gd name="T27" fmla="*/ 13 h 44"/>
                <a:gd name="T28" fmla="*/ 22 w 52"/>
                <a:gd name="T29" fmla="*/ 16 h 44"/>
                <a:gd name="T30" fmla="*/ 19 w 52"/>
                <a:gd name="T31" fmla="*/ 17 h 44"/>
                <a:gd name="T32" fmla="*/ 12 w 52"/>
                <a:gd name="T33" fmla="*/ 20 h 44"/>
                <a:gd name="T34" fmla="*/ 7 w 52"/>
                <a:gd name="T35" fmla="*/ 21 h 44"/>
                <a:gd name="T36" fmla="*/ 5 w 52"/>
                <a:gd name="T37" fmla="*/ 24 h 44"/>
                <a:gd name="T38" fmla="*/ 3 w 52"/>
                <a:gd name="T39" fmla="*/ 27 h 44"/>
                <a:gd name="T40" fmla="*/ 0 w 52"/>
                <a:gd name="T41" fmla="*/ 30 h 44"/>
                <a:gd name="T42" fmla="*/ 0 w 52"/>
                <a:gd name="T43" fmla="*/ 31 h 44"/>
                <a:gd name="T44" fmla="*/ 0 w 52"/>
                <a:gd name="T45" fmla="*/ 33 h 44"/>
                <a:gd name="T46" fmla="*/ 2 w 52"/>
                <a:gd name="T47" fmla="*/ 33 h 44"/>
                <a:gd name="T48" fmla="*/ 3 w 52"/>
                <a:gd name="T49" fmla="*/ 33 h 44"/>
                <a:gd name="T50" fmla="*/ 6 w 52"/>
                <a:gd name="T51" fmla="*/ 31 h 44"/>
                <a:gd name="T52" fmla="*/ 10 w 52"/>
                <a:gd name="T53" fmla="*/ 31 h 44"/>
                <a:gd name="T54" fmla="*/ 12 w 52"/>
                <a:gd name="T55" fmla="*/ 31 h 44"/>
                <a:gd name="T56" fmla="*/ 17 w 52"/>
                <a:gd name="T57" fmla="*/ 30 h 44"/>
                <a:gd name="T58" fmla="*/ 20 w 52"/>
                <a:gd name="T59" fmla="*/ 28 h 44"/>
                <a:gd name="T60" fmla="*/ 25 w 52"/>
                <a:gd name="T61" fmla="*/ 26 h 44"/>
                <a:gd name="T62" fmla="*/ 28 w 52"/>
                <a:gd name="T63" fmla="*/ 27 h 44"/>
                <a:gd name="T64" fmla="*/ 29 w 52"/>
                <a:gd name="T65" fmla="*/ 27 h 44"/>
                <a:gd name="T66" fmla="*/ 29 w 52"/>
                <a:gd name="T67" fmla="*/ 28 h 44"/>
                <a:gd name="T68" fmla="*/ 28 w 52"/>
                <a:gd name="T69" fmla="*/ 30 h 44"/>
                <a:gd name="T70" fmla="*/ 25 w 52"/>
                <a:gd name="T71" fmla="*/ 34 h 44"/>
                <a:gd name="T72" fmla="*/ 23 w 52"/>
                <a:gd name="T73" fmla="*/ 34 h 44"/>
                <a:gd name="T74" fmla="*/ 22 w 52"/>
                <a:gd name="T75" fmla="*/ 33 h 44"/>
                <a:gd name="T76" fmla="*/ 20 w 52"/>
                <a:gd name="T77" fmla="*/ 33 h 44"/>
                <a:gd name="T78" fmla="*/ 20 w 52"/>
                <a:gd name="T79" fmla="*/ 34 h 44"/>
                <a:gd name="T80" fmla="*/ 20 w 52"/>
                <a:gd name="T81" fmla="*/ 34 h 44"/>
                <a:gd name="T82" fmla="*/ 19 w 52"/>
                <a:gd name="T83" fmla="*/ 37 h 44"/>
                <a:gd name="T84" fmla="*/ 19 w 52"/>
                <a:gd name="T85" fmla="*/ 38 h 44"/>
                <a:gd name="T86" fmla="*/ 16 w 52"/>
                <a:gd name="T87" fmla="*/ 41 h 44"/>
                <a:gd name="T88" fmla="*/ 15 w 52"/>
                <a:gd name="T89" fmla="*/ 43 h 44"/>
                <a:gd name="T90" fmla="*/ 16 w 52"/>
                <a:gd name="T91" fmla="*/ 44 h 44"/>
                <a:gd name="T92" fmla="*/ 19 w 52"/>
                <a:gd name="T93" fmla="*/ 44 h 44"/>
                <a:gd name="T94" fmla="*/ 26 w 52"/>
                <a:gd name="T95" fmla="*/ 37 h 44"/>
                <a:gd name="T96" fmla="*/ 32 w 52"/>
                <a:gd name="T97" fmla="*/ 30 h 44"/>
                <a:gd name="T98" fmla="*/ 32 w 52"/>
                <a:gd name="T99" fmla="*/ 30 h 44"/>
                <a:gd name="T100" fmla="*/ 33 w 52"/>
                <a:gd name="T101" fmla="*/ 30 h 44"/>
                <a:gd name="T102" fmla="*/ 33 w 52"/>
                <a:gd name="T103" fmla="*/ 33 h 44"/>
                <a:gd name="T104" fmla="*/ 36 w 52"/>
                <a:gd name="T105" fmla="*/ 33 h 44"/>
                <a:gd name="T106" fmla="*/ 36 w 52"/>
                <a:gd name="T107" fmla="*/ 31 h 44"/>
                <a:gd name="T108" fmla="*/ 36 w 52"/>
                <a:gd name="T109" fmla="*/ 30 h 44"/>
                <a:gd name="T110" fmla="*/ 36 w 52"/>
                <a:gd name="T111" fmla="*/ 28 h 44"/>
                <a:gd name="T112" fmla="*/ 36 w 52"/>
                <a:gd name="T113" fmla="*/ 27 h 44"/>
                <a:gd name="T114" fmla="*/ 39 w 52"/>
                <a:gd name="T115" fmla="*/ 24 h 44"/>
                <a:gd name="T116" fmla="*/ 43 w 52"/>
                <a:gd name="T117" fmla="*/ 21 h 44"/>
                <a:gd name="T118" fmla="*/ 46 w 52"/>
                <a:gd name="T119" fmla="*/ 18 h 44"/>
                <a:gd name="T120" fmla="*/ 46 w 52"/>
                <a:gd name="T121" fmla="*/ 1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2" h="44">
                  <a:moveTo>
                    <a:pt x="46" y="18"/>
                  </a:moveTo>
                  <a:lnTo>
                    <a:pt x="50" y="14"/>
                  </a:lnTo>
                  <a:lnTo>
                    <a:pt x="52" y="11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49" y="7"/>
                  </a:lnTo>
                  <a:lnTo>
                    <a:pt x="49" y="6"/>
                  </a:lnTo>
                  <a:lnTo>
                    <a:pt x="49" y="3"/>
                  </a:lnTo>
                  <a:lnTo>
                    <a:pt x="49" y="1"/>
                  </a:lnTo>
                  <a:lnTo>
                    <a:pt x="46" y="0"/>
                  </a:lnTo>
                  <a:lnTo>
                    <a:pt x="45" y="0"/>
                  </a:lnTo>
                  <a:lnTo>
                    <a:pt x="40" y="4"/>
                  </a:lnTo>
                  <a:lnTo>
                    <a:pt x="36" y="8"/>
                  </a:lnTo>
                  <a:lnTo>
                    <a:pt x="28" y="13"/>
                  </a:lnTo>
                  <a:lnTo>
                    <a:pt x="22" y="16"/>
                  </a:lnTo>
                  <a:lnTo>
                    <a:pt x="19" y="17"/>
                  </a:lnTo>
                  <a:lnTo>
                    <a:pt x="12" y="20"/>
                  </a:lnTo>
                  <a:lnTo>
                    <a:pt x="7" y="21"/>
                  </a:lnTo>
                  <a:lnTo>
                    <a:pt x="5" y="24"/>
                  </a:lnTo>
                  <a:lnTo>
                    <a:pt x="3" y="27"/>
                  </a:lnTo>
                  <a:lnTo>
                    <a:pt x="0" y="30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2" y="33"/>
                  </a:lnTo>
                  <a:lnTo>
                    <a:pt x="3" y="33"/>
                  </a:lnTo>
                  <a:lnTo>
                    <a:pt x="6" y="31"/>
                  </a:lnTo>
                  <a:lnTo>
                    <a:pt x="10" y="31"/>
                  </a:lnTo>
                  <a:lnTo>
                    <a:pt x="12" y="31"/>
                  </a:lnTo>
                  <a:lnTo>
                    <a:pt x="17" y="30"/>
                  </a:lnTo>
                  <a:lnTo>
                    <a:pt x="20" y="28"/>
                  </a:lnTo>
                  <a:lnTo>
                    <a:pt x="25" y="26"/>
                  </a:lnTo>
                  <a:lnTo>
                    <a:pt x="28" y="27"/>
                  </a:lnTo>
                  <a:lnTo>
                    <a:pt x="29" y="27"/>
                  </a:lnTo>
                  <a:lnTo>
                    <a:pt x="29" y="28"/>
                  </a:lnTo>
                  <a:lnTo>
                    <a:pt x="28" y="30"/>
                  </a:lnTo>
                  <a:lnTo>
                    <a:pt x="25" y="34"/>
                  </a:lnTo>
                  <a:lnTo>
                    <a:pt x="23" y="34"/>
                  </a:lnTo>
                  <a:lnTo>
                    <a:pt x="22" y="33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19" y="37"/>
                  </a:lnTo>
                  <a:lnTo>
                    <a:pt x="19" y="38"/>
                  </a:lnTo>
                  <a:lnTo>
                    <a:pt x="16" y="41"/>
                  </a:lnTo>
                  <a:lnTo>
                    <a:pt x="15" y="43"/>
                  </a:lnTo>
                  <a:lnTo>
                    <a:pt x="16" y="44"/>
                  </a:lnTo>
                  <a:lnTo>
                    <a:pt x="19" y="44"/>
                  </a:lnTo>
                  <a:lnTo>
                    <a:pt x="26" y="37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3" y="30"/>
                  </a:lnTo>
                  <a:lnTo>
                    <a:pt x="33" y="33"/>
                  </a:lnTo>
                  <a:lnTo>
                    <a:pt x="36" y="33"/>
                  </a:lnTo>
                  <a:lnTo>
                    <a:pt x="36" y="31"/>
                  </a:lnTo>
                  <a:lnTo>
                    <a:pt x="36" y="30"/>
                  </a:lnTo>
                  <a:lnTo>
                    <a:pt x="36" y="28"/>
                  </a:lnTo>
                  <a:lnTo>
                    <a:pt x="36" y="27"/>
                  </a:lnTo>
                  <a:lnTo>
                    <a:pt x="39" y="24"/>
                  </a:lnTo>
                  <a:lnTo>
                    <a:pt x="43" y="21"/>
                  </a:lnTo>
                  <a:lnTo>
                    <a:pt x="46" y="18"/>
                  </a:lnTo>
                  <a:lnTo>
                    <a:pt x="46" y="1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03" name="Freeform 552"/>
            <p:cNvSpPr>
              <a:spLocks/>
            </p:cNvSpPr>
            <p:nvPr/>
          </p:nvSpPr>
          <p:spPr bwMode="auto">
            <a:xfrm>
              <a:off x="5503723" y="2741859"/>
              <a:ext cx="12211" cy="3969"/>
            </a:xfrm>
            <a:custGeom>
              <a:avLst/>
              <a:gdLst>
                <a:gd name="T0" fmla="*/ 15 w 22"/>
                <a:gd name="T1" fmla="*/ 0 h 7"/>
                <a:gd name="T2" fmla="*/ 9 w 22"/>
                <a:gd name="T3" fmla="*/ 2 h 7"/>
                <a:gd name="T4" fmla="*/ 5 w 22"/>
                <a:gd name="T5" fmla="*/ 0 h 7"/>
                <a:gd name="T6" fmla="*/ 2 w 22"/>
                <a:gd name="T7" fmla="*/ 2 h 7"/>
                <a:gd name="T8" fmla="*/ 0 w 22"/>
                <a:gd name="T9" fmla="*/ 3 h 7"/>
                <a:gd name="T10" fmla="*/ 0 w 22"/>
                <a:gd name="T11" fmla="*/ 4 h 7"/>
                <a:gd name="T12" fmla="*/ 2 w 22"/>
                <a:gd name="T13" fmla="*/ 6 h 7"/>
                <a:gd name="T14" fmla="*/ 5 w 22"/>
                <a:gd name="T15" fmla="*/ 4 h 7"/>
                <a:gd name="T16" fmla="*/ 8 w 22"/>
                <a:gd name="T17" fmla="*/ 6 h 7"/>
                <a:gd name="T18" fmla="*/ 9 w 22"/>
                <a:gd name="T19" fmla="*/ 7 h 7"/>
                <a:gd name="T20" fmla="*/ 12 w 22"/>
                <a:gd name="T21" fmla="*/ 7 h 7"/>
                <a:gd name="T22" fmla="*/ 15 w 22"/>
                <a:gd name="T23" fmla="*/ 7 h 7"/>
                <a:gd name="T24" fmla="*/ 20 w 22"/>
                <a:gd name="T25" fmla="*/ 6 h 7"/>
                <a:gd name="T26" fmla="*/ 20 w 22"/>
                <a:gd name="T27" fmla="*/ 4 h 7"/>
                <a:gd name="T28" fmla="*/ 22 w 22"/>
                <a:gd name="T29" fmla="*/ 3 h 7"/>
                <a:gd name="T30" fmla="*/ 22 w 22"/>
                <a:gd name="T31" fmla="*/ 2 h 7"/>
                <a:gd name="T32" fmla="*/ 20 w 22"/>
                <a:gd name="T33" fmla="*/ 2 h 7"/>
                <a:gd name="T34" fmla="*/ 18 w 22"/>
                <a:gd name="T35" fmla="*/ 0 h 7"/>
                <a:gd name="T36" fmla="*/ 16 w 22"/>
                <a:gd name="T37" fmla="*/ 0 h 7"/>
                <a:gd name="T38" fmla="*/ 15 w 22"/>
                <a:gd name="T39" fmla="*/ 0 h 7"/>
                <a:gd name="T40" fmla="*/ 15 w 22"/>
                <a:gd name="T4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" h="7">
                  <a:moveTo>
                    <a:pt x="15" y="0"/>
                  </a:moveTo>
                  <a:lnTo>
                    <a:pt x="9" y="2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0" y="4"/>
                  </a:lnTo>
                  <a:lnTo>
                    <a:pt x="2" y="6"/>
                  </a:lnTo>
                  <a:lnTo>
                    <a:pt x="5" y="4"/>
                  </a:lnTo>
                  <a:lnTo>
                    <a:pt x="8" y="6"/>
                  </a:lnTo>
                  <a:lnTo>
                    <a:pt x="9" y="7"/>
                  </a:lnTo>
                  <a:lnTo>
                    <a:pt x="12" y="7"/>
                  </a:lnTo>
                  <a:lnTo>
                    <a:pt x="15" y="7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04" name="Freeform 553"/>
            <p:cNvSpPr>
              <a:spLocks/>
            </p:cNvSpPr>
            <p:nvPr/>
          </p:nvSpPr>
          <p:spPr bwMode="auto">
            <a:xfrm>
              <a:off x="5500060" y="2744505"/>
              <a:ext cx="3663" cy="3969"/>
            </a:xfrm>
            <a:custGeom>
              <a:avLst/>
              <a:gdLst>
                <a:gd name="T0" fmla="*/ 2 w 5"/>
                <a:gd name="T1" fmla="*/ 0 h 4"/>
                <a:gd name="T2" fmla="*/ 1 w 5"/>
                <a:gd name="T3" fmla="*/ 1 h 4"/>
                <a:gd name="T4" fmla="*/ 0 w 5"/>
                <a:gd name="T5" fmla="*/ 3 h 4"/>
                <a:gd name="T6" fmla="*/ 0 w 5"/>
                <a:gd name="T7" fmla="*/ 4 h 4"/>
                <a:gd name="T8" fmla="*/ 1 w 5"/>
                <a:gd name="T9" fmla="*/ 4 h 4"/>
                <a:gd name="T10" fmla="*/ 2 w 5"/>
                <a:gd name="T11" fmla="*/ 4 h 4"/>
                <a:gd name="T12" fmla="*/ 5 w 5"/>
                <a:gd name="T13" fmla="*/ 4 h 4"/>
                <a:gd name="T14" fmla="*/ 5 w 5"/>
                <a:gd name="T15" fmla="*/ 3 h 4"/>
                <a:gd name="T16" fmla="*/ 5 w 5"/>
                <a:gd name="T17" fmla="*/ 1 h 4"/>
                <a:gd name="T18" fmla="*/ 5 w 5"/>
                <a:gd name="T19" fmla="*/ 0 h 4"/>
                <a:gd name="T20" fmla="*/ 2 w 5"/>
                <a:gd name="T21" fmla="*/ 0 h 4"/>
                <a:gd name="T22" fmla="*/ 2 w 5"/>
                <a:gd name="T2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1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5" y="4"/>
                  </a:lnTo>
                  <a:lnTo>
                    <a:pt x="5" y="3"/>
                  </a:lnTo>
                  <a:lnTo>
                    <a:pt x="5" y="1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05" name="Freeform 554"/>
            <p:cNvSpPr>
              <a:spLocks/>
            </p:cNvSpPr>
            <p:nvPr/>
          </p:nvSpPr>
          <p:spPr bwMode="auto">
            <a:xfrm>
              <a:off x="5537915" y="2766994"/>
              <a:ext cx="6106" cy="15875"/>
            </a:xfrm>
            <a:custGeom>
              <a:avLst/>
              <a:gdLst>
                <a:gd name="T0" fmla="*/ 7 w 12"/>
                <a:gd name="T1" fmla="*/ 10 h 24"/>
                <a:gd name="T2" fmla="*/ 6 w 12"/>
                <a:gd name="T3" fmla="*/ 7 h 24"/>
                <a:gd name="T4" fmla="*/ 6 w 12"/>
                <a:gd name="T5" fmla="*/ 3 h 24"/>
                <a:gd name="T6" fmla="*/ 6 w 12"/>
                <a:gd name="T7" fmla="*/ 1 h 24"/>
                <a:gd name="T8" fmla="*/ 5 w 12"/>
                <a:gd name="T9" fmla="*/ 0 h 24"/>
                <a:gd name="T10" fmla="*/ 3 w 12"/>
                <a:gd name="T11" fmla="*/ 0 h 24"/>
                <a:gd name="T12" fmla="*/ 3 w 12"/>
                <a:gd name="T13" fmla="*/ 1 h 24"/>
                <a:gd name="T14" fmla="*/ 3 w 12"/>
                <a:gd name="T15" fmla="*/ 3 h 24"/>
                <a:gd name="T16" fmla="*/ 3 w 12"/>
                <a:gd name="T17" fmla="*/ 4 h 24"/>
                <a:gd name="T18" fmla="*/ 2 w 12"/>
                <a:gd name="T19" fmla="*/ 6 h 24"/>
                <a:gd name="T20" fmla="*/ 0 w 12"/>
                <a:gd name="T21" fmla="*/ 6 h 24"/>
                <a:gd name="T22" fmla="*/ 0 w 12"/>
                <a:gd name="T23" fmla="*/ 7 h 24"/>
                <a:gd name="T24" fmla="*/ 0 w 12"/>
                <a:gd name="T25" fmla="*/ 7 h 24"/>
                <a:gd name="T26" fmla="*/ 3 w 12"/>
                <a:gd name="T27" fmla="*/ 8 h 24"/>
                <a:gd name="T28" fmla="*/ 3 w 12"/>
                <a:gd name="T29" fmla="*/ 11 h 24"/>
                <a:gd name="T30" fmla="*/ 3 w 12"/>
                <a:gd name="T31" fmla="*/ 13 h 24"/>
                <a:gd name="T32" fmla="*/ 3 w 12"/>
                <a:gd name="T33" fmla="*/ 16 h 24"/>
                <a:gd name="T34" fmla="*/ 2 w 12"/>
                <a:gd name="T35" fmla="*/ 18 h 24"/>
                <a:gd name="T36" fmla="*/ 0 w 12"/>
                <a:gd name="T37" fmla="*/ 20 h 24"/>
                <a:gd name="T38" fmla="*/ 0 w 12"/>
                <a:gd name="T39" fmla="*/ 21 h 24"/>
                <a:gd name="T40" fmla="*/ 3 w 12"/>
                <a:gd name="T41" fmla="*/ 21 h 24"/>
                <a:gd name="T42" fmla="*/ 5 w 12"/>
                <a:gd name="T43" fmla="*/ 21 h 24"/>
                <a:gd name="T44" fmla="*/ 7 w 12"/>
                <a:gd name="T45" fmla="*/ 21 h 24"/>
                <a:gd name="T46" fmla="*/ 9 w 12"/>
                <a:gd name="T47" fmla="*/ 23 h 24"/>
                <a:gd name="T48" fmla="*/ 12 w 12"/>
                <a:gd name="T49" fmla="*/ 24 h 24"/>
                <a:gd name="T50" fmla="*/ 12 w 12"/>
                <a:gd name="T51" fmla="*/ 23 h 24"/>
                <a:gd name="T52" fmla="*/ 12 w 12"/>
                <a:gd name="T53" fmla="*/ 21 h 24"/>
                <a:gd name="T54" fmla="*/ 10 w 12"/>
                <a:gd name="T55" fmla="*/ 20 h 24"/>
                <a:gd name="T56" fmla="*/ 7 w 12"/>
                <a:gd name="T57" fmla="*/ 20 h 24"/>
                <a:gd name="T58" fmla="*/ 7 w 12"/>
                <a:gd name="T59" fmla="*/ 17 h 24"/>
                <a:gd name="T60" fmla="*/ 7 w 12"/>
                <a:gd name="T61" fmla="*/ 16 h 24"/>
                <a:gd name="T62" fmla="*/ 7 w 12"/>
                <a:gd name="T63" fmla="*/ 14 h 24"/>
                <a:gd name="T64" fmla="*/ 7 w 12"/>
                <a:gd name="T65" fmla="*/ 13 h 24"/>
                <a:gd name="T66" fmla="*/ 7 w 12"/>
                <a:gd name="T67" fmla="*/ 10 h 24"/>
                <a:gd name="T68" fmla="*/ 7 w 12"/>
                <a:gd name="T69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" h="24">
                  <a:moveTo>
                    <a:pt x="7" y="10"/>
                  </a:moveTo>
                  <a:lnTo>
                    <a:pt x="6" y="7"/>
                  </a:lnTo>
                  <a:lnTo>
                    <a:pt x="6" y="3"/>
                  </a:lnTo>
                  <a:lnTo>
                    <a:pt x="6" y="1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3"/>
                  </a:lnTo>
                  <a:lnTo>
                    <a:pt x="3" y="4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8"/>
                  </a:lnTo>
                  <a:lnTo>
                    <a:pt x="3" y="11"/>
                  </a:lnTo>
                  <a:lnTo>
                    <a:pt x="3" y="13"/>
                  </a:lnTo>
                  <a:lnTo>
                    <a:pt x="3" y="16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1"/>
                  </a:lnTo>
                  <a:lnTo>
                    <a:pt x="3" y="21"/>
                  </a:lnTo>
                  <a:lnTo>
                    <a:pt x="5" y="21"/>
                  </a:lnTo>
                  <a:lnTo>
                    <a:pt x="7" y="21"/>
                  </a:lnTo>
                  <a:lnTo>
                    <a:pt x="9" y="23"/>
                  </a:lnTo>
                  <a:lnTo>
                    <a:pt x="12" y="24"/>
                  </a:lnTo>
                  <a:lnTo>
                    <a:pt x="12" y="23"/>
                  </a:lnTo>
                  <a:lnTo>
                    <a:pt x="12" y="21"/>
                  </a:lnTo>
                  <a:lnTo>
                    <a:pt x="10" y="20"/>
                  </a:lnTo>
                  <a:lnTo>
                    <a:pt x="7" y="20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0"/>
                  </a:lnTo>
                  <a:lnTo>
                    <a:pt x="7" y="1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06" name="Freeform 555"/>
            <p:cNvSpPr>
              <a:spLocks/>
            </p:cNvSpPr>
            <p:nvPr/>
          </p:nvSpPr>
          <p:spPr bwMode="auto">
            <a:xfrm>
              <a:off x="5534252" y="2757734"/>
              <a:ext cx="12211" cy="6615"/>
            </a:xfrm>
            <a:custGeom>
              <a:avLst/>
              <a:gdLst>
                <a:gd name="T0" fmla="*/ 14 w 19"/>
                <a:gd name="T1" fmla="*/ 0 h 10"/>
                <a:gd name="T2" fmla="*/ 10 w 19"/>
                <a:gd name="T3" fmla="*/ 0 h 10"/>
                <a:gd name="T4" fmla="*/ 9 w 19"/>
                <a:gd name="T5" fmla="*/ 0 h 10"/>
                <a:gd name="T6" fmla="*/ 4 w 19"/>
                <a:gd name="T7" fmla="*/ 1 h 10"/>
                <a:gd name="T8" fmla="*/ 3 w 19"/>
                <a:gd name="T9" fmla="*/ 3 h 10"/>
                <a:gd name="T10" fmla="*/ 0 w 19"/>
                <a:gd name="T11" fmla="*/ 3 h 10"/>
                <a:gd name="T12" fmla="*/ 0 w 19"/>
                <a:gd name="T13" fmla="*/ 4 h 10"/>
                <a:gd name="T14" fmla="*/ 0 w 19"/>
                <a:gd name="T15" fmla="*/ 6 h 10"/>
                <a:gd name="T16" fmla="*/ 0 w 19"/>
                <a:gd name="T17" fmla="*/ 7 h 10"/>
                <a:gd name="T18" fmla="*/ 3 w 19"/>
                <a:gd name="T19" fmla="*/ 7 h 10"/>
                <a:gd name="T20" fmla="*/ 9 w 19"/>
                <a:gd name="T21" fmla="*/ 6 h 10"/>
                <a:gd name="T22" fmla="*/ 9 w 19"/>
                <a:gd name="T23" fmla="*/ 6 h 10"/>
                <a:gd name="T24" fmla="*/ 10 w 19"/>
                <a:gd name="T25" fmla="*/ 9 h 10"/>
                <a:gd name="T26" fmla="*/ 10 w 19"/>
                <a:gd name="T27" fmla="*/ 10 h 10"/>
                <a:gd name="T28" fmla="*/ 11 w 19"/>
                <a:gd name="T29" fmla="*/ 10 h 10"/>
                <a:gd name="T30" fmla="*/ 11 w 19"/>
                <a:gd name="T31" fmla="*/ 10 h 10"/>
                <a:gd name="T32" fmla="*/ 13 w 19"/>
                <a:gd name="T33" fmla="*/ 7 h 10"/>
                <a:gd name="T34" fmla="*/ 13 w 19"/>
                <a:gd name="T35" fmla="*/ 6 h 10"/>
                <a:gd name="T36" fmla="*/ 14 w 19"/>
                <a:gd name="T37" fmla="*/ 6 h 10"/>
                <a:gd name="T38" fmla="*/ 16 w 19"/>
                <a:gd name="T39" fmla="*/ 6 h 10"/>
                <a:gd name="T40" fmla="*/ 17 w 19"/>
                <a:gd name="T41" fmla="*/ 7 h 10"/>
                <a:gd name="T42" fmla="*/ 19 w 19"/>
                <a:gd name="T43" fmla="*/ 7 h 10"/>
                <a:gd name="T44" fmla="*/ 19 w 19"/>
                <a:gd name="T45" fmla="*/ 4 h 10"/>
                <a:gd name="T46" fmla="*/ 19 w 19"/>
                <a:gd name="T47" fmla="*/ 3 h 10"/>
                <a:gd name="T48" fmla="*/ 19 w 19"/>
                <a:gd name="T49" fmla="*/ 1 h 10"/>
                <a:gd name="T50" fmla="*/ 14 w 19"/>
                <a:gd name="T51" fmla="*/ 0 h 10"/>
                <a:gd name="T52" fmla="*/ 14 w 19"/>
                <a:gd name="T5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" h="10">
                  <a:moveTo>
                    <a:pt x="14" y="0"/>
                  </a:moveTo>
                  <a:lnTo>
                    <a:pt x="10" y="0"/>
                  </a:lnTo>
                  <a:lnTo>
                    <a:pt x="9" y="0"/>
                  </a:lnTo>
                  <a:lnTo>
                    <a:pt x="4" y="1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3" y="7"/>
                  </a:lnTo>
                  <a:lnTo>
                    <a:pt x="9" y="6"/>
                  </a:lnTo>
                  <a:lnTo>
                    <a:pt x="9" y="6"/>
                  </a:lnTo>
                  <a:lnTo>
                    <a:pt x="10" y="9"/>
                  </a:lnTo>
                  <a:lnTo>
                    <a:pt x="10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3" y="7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7" y="7"/>
                  </a:lnTo>
                  <a:lnTo>
                    <a:pt x="19" y="7"/>
                  </a:lnTo>
                  <a:lnTo>
                    <a:pt x="19" y="4"/>
                  </a:lnTo>
                  <a:lnTo>
                    <a:pt x="19" y="3"/>
                  </a:lnTo>
                  <a:lnTo>
                    <a:pt x="19" y="1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07" name="Freeform 556"/>
            <p:cNvSpPr>
              <a:spLocks/>
            </p:cNvSpPr>
            <p:nvPr/>
          </p:nvSpPr>
          <p:spPr bwMode="auto">
            <a:xfrm>
              <a:off x="5497617" y="2760380"/>
              <a:ext cx="4885" cy="5292"/>
            </a:xfrm>
            <a:custGeom>
              <a:avLst/>
              <a:gdLst>
                <a:gd name="T0" fmla="*/ 3 w 7"/>
                <a:gd name="T1" fmla="*/ 0 h 8"/>
                <a:gd name="T2" fmla="*/ 0 w 7"/>
                <a:gd name="T3" fmla="*/ 1 h 8"/>
                <a:gd name="T4" fmla="*/ 0 w 7"/>
                <a:gd name="T5" fmla="*/ 4 h 8"/>
                <a:gd name="T6" fmla="*/ 0 w 7"/>
                <a:gd name="T7" fmla="*/ 6 h 8"/>
                <a:gd name="T8" fmla="*/ 0 w 7"/>
                <a:gd name="T9" fmla="*/ 7 h 8"/>
                <a:gd name="T10" fmla="*/ 1 w 7"/>
                <a:gd name="T11" fmla="*/ 8 h 8"/>
                <a:gd name="T12" fmla="*/ 4 w 7"/>
                <a:gd name="T13" fmla="*/ 8 h 8"/>
                <a:gd name="T14" fmla="*/ 7 w 7"/>
                <a:gd name="T15" fmla="*/ 8 h 8"/>
                <a:gd name="T16" fmla="*/ 7 w 7"/>
                <a:gd name="T17" fmla="*/ 6 h 8"/>
                <a:gd name="T18" fmla="*/ 7 w 7"/>
                <a:gd name="T19" fmla="*/ 3 h 8"/>
                <a:gd name="T20" fmla="*/ 7 w 7"/>
                <a:gd name="T21" fmla="*/ 1 h 8"/>
                <a:gd name="T22" fmla="*/ 5 w 7"/>
                <a:gd name="T23" fmla="*/ 1 h 8"/>
                <a:gd name="T24" fmla="*/ 3 w 7"/>
                <a:gd name="T25" fmla="*/ 0 h 8"/>
                <a:gd name="T26" fmla="*/ 3 w 7"/>
                <a:gd name="T2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" h="8">
                  <a:moveTo>
                    <a:pt x="3" y="0"/>
                  </a:moveTo>
                  <a:lnTo>
                    <a:pt x="0" y="1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7"/>
                  </a:lnTo>
                  <a:lnTo>
                    <a:pt x="1" y="8"/>
                  </a:lnTo>
                  <a:lnTo>
                    <a:pt x="4" y="8"/>
                  </a:lnTo>
                  <a:lnTo>
                    <a:pt x="7" y="8"/>
                  </a:lnTo>
                  <a:lnTo>
                    <a:pt x="7" y="6"/>
                  </a:lnTo>
                  <a:lnTo>
                    <a:pt x="7" y="3"/>
                  </a:lnTo>
                  <a:lnTo>
                    <a:pt x="7" y="1"/>
                  </a:lnTo>
                  <a:lnTo>
                    <a:pt x="5" y="1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08" name="Freeform 557"/>
            <p:cNvSpPr>
              <a:spLocks/>
            </p:cNvSpPr>
            <p:nvPr/>
          </p:nvSpPr>
          <p:spPr bwMode="auto">
            <a:xfrm>
              <a:off x="5491512" y="2766994"/>
              <a:ext cx="12211" cy="7937"/>
            </a:xfrm>
            <a:custGeom>
              <a:avLst/>
              <a:gdLst>
                <a:gd name="T0" fmla="*/ 7 w 18"/>
                <a:gd name="T1" fmla="*/ 0 h 11"/>
                <a:gd name="T2" fmla="*/ 3 w 18"/>
                <a:gd name="T3" fmla="*/ 0 h 11"/>
                <a:gd name="T4" fmla="*/ 1 w 18"/>
                <a:gd name="T5" fmla="*/ 0 h 11"/>
                <a:gd name="T6" fmla="*/ 0 w 18"/>
                <a:gd name="T7" fmla="*/ 3 h 11"/>
                <a:gd name="T8" fmla="*/ 1 w 18"/>
                <a:gd name="T9" fmla="*/ 6 h 11"/>
                <a:gd name="T10" fmla="*/ 1 w 18"/>
                <a:gd name="T11" fmla="*/ 7 h 11"/>
                <a:gd name="T12" fmla="*/ 3 w 18"/>
                <a:gd name="T13" fmla="*/ 8 h 11"/>
                <a:gd name="T14" fmla="*/ 4 w 18"/>
                <a:gd name="T15" fmla="*/ 10 h 11"/>
                <a:gd name="T16" fmla="*/ 7 w 18"/>
                <a:gd name="T17" fmla="*/ 10 h 11"/>
                <a:gd name="T18" fmla="*/ 8 w 18"/>
                <a:gd name="T19" fmla="*/ 11 h 11"/>
                <a:gd name="T20" fmla="*/ 11 w 18"/>
                <a:gd name="T21" fmla="*/ 10 h 11"/>
                <a:gd name="T22" fmla="*/ 14 w 18"/>
                <a:gd name="T23" fmla="*/ 7 h 11"/>
                <a:gd name="T24" fmla="*/ 18 w 18"/>
                <a:gd name="T25" fmla="*/ 6 h 11"/>
                <a:gd name="T26" fmla="*/ 18 w 18"/>
                <a:gd name="T27" fmla="*/ 4 h 11"/>
                <a:gd name="T28" fmla="*/ 18 w 18"/>
                <a:gd name="T29" fmla="*/ 3 h 11"/>
                <a:gd name="T30" fmla="*/ 15 w 18"/>
                <a:gd name="T31" fmla="*/ 3 h 11"/>
                <a:gd name="T32" fmla="*/ 13 w 18"/>
                <a:gd name="T33" fmla="*/ 1 h 11"/>
                <a:gd name="T34" fmla="*/ 11 w 18"/>
                <a:gd name="T35" fmla="*/ 3 h 11"/>
                <a:gd name="T36" fmla="*/ 10 w 18"/>
                <a:gd name="T37" fmla="*/ 4 h 11"/>
                <a:gd name="T38" fmla="*/ 10 w 18"/>
                <a:gd name="T39" fmla="*/ 6 h 11"/>
                <a:gd name="T40" fmla="*/ 8 w 18"/>
                <a:gd name="T41" fmla="*/ 6 h 11"/>
                <a:gd name="T42" fmla="*/ 7 w 18"/>
                <a:gd name="T43" fmla="*/ 6 h 11"/>
                <a:gd name="T44" fmla="*/ 5 w 18"/>
                <a:gd name="T45" fmla="*/ 4 h 11"/>
                <a:gd name="T46" fmla="*/ 5 w 18"/>
                <a:gd name="T47" fmla="*/ 3 h 11"/>
                <a:gd name="T48" fmla="*/ 7 w 18"/>
                <a:gd name="T49" fmla="*/ 0 h 11"/>
                <a:gd name="T50" fmla="*/ 7 w 18"/>
                <a:gd name="T5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" h="11">
                  <a:moveTo>
                    <a:pt x="7" y="0"/>
                  </a:moveTo>
                  <a:lnTo>
                    <a:pt x="3" y="0"/>
                  </a:lnTo>
                  <a:lnTo>
                    <a:pt x="1" y="0"/>
                  </a:lnTo>
                  <a:lnTo>
                    <a:pt x="0" y="3"/>
                  </a:lnTo>
                  <a:lnTo>
                    <a:pt x="1" y="6"/>
                  </a:lnTo>
                  <a:lnTo>
                    <a:pt x="1" y="7"/>
                  </a:lnTo>
                  <a:lnTo>
                    <a:pt x="3" y="8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8" y="11"/>
                  </a:lnTo>
                  <a:lnTo>
                    <a:pt x="11" y="10"/>
                  </a:lnTo>
                  <a:lnTo>
                    <a:pt x="14" y="7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8" y="3"/>
                  </a:lnTo>
                  <a:lnTo>
                    <a:pt x="15" y="3"/>
                  </a:lnTo>
                  <a:lnTo>
                    <a:pt x="13" y="1"/>
                  </a:lnTo>
                  <a:lnTo>
                    <a:pt x="11" y="3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8" y="6"/>
                  </a:lnTo>
                  <a:lnTo>
                    <a:pt x="7" y="6"/>
                  </a:lnTo>
                  <a:lnTo>
                    <a:pt x="5" y="4"/>
                  </a:lnTo>
                  <a:lnTo>
                    <a:pt x="5" y="3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09" name="Freeform 558"/>
            <p:cNvSpPr>
              <a:spLocks/>
            </p:cNvSpPr>
            <p:nvPr/>
          </p:nvSpPr>
          <p:spPr bwMode="auto">
            <a:xfrm>
              <a:off x="5476858" y="2765672"/>
              <a:ext cx="14654" cy="9260"/>
            </a:xfrm>
            <a:custGeom>
              <a:avLst/>
              <a:gdLst>
                <a:gd name="T0" fmla="*/ 18 w 23"/>
                <a:gd name="T1" fmla="*/ 3 h 13"/>
                <a:gd name="T2" fmla="*/ 16 w 23"/>
                <a:gd name="T3" fmla="*/ 0 h 13"/>
                <a:gd name="T4" fmla="*/ 15 w 23"/>
                <a:gd name="T5" fmla="*/ 0 h 13"/>
                <a:gd name="T6" fmla="*/ 13 w 23"/>
                <a:gd name="T7" fmla="*/ 0 h 13"/>
                <a:gd name="T8" fmla="*/ 12 w 23"/>
                <a:gd name="T9" fmla="*/ 2 h 13"/>
                <a:gd name="T10" fmla="*/ 12 w 23"/>
                <a:gd name="T11" fmla="*/ 5 h 13"/>
                <a:gd name="T12" fmla="*/ 9 w 23"/>
                <a:gd name="T13" fmla="*/ 5 h 13"/>
                <a:gd name="T14" fmla="*/ 8 w 23"/>
                <a:gd name="T15" fmla="*/ 5 h 13"/>
                <a:gd name="T16" fmla="*/ 6 w 23"/>
                <a:gd name="T17" fmla="*/ 6 h 13"/>
                <a:gd name="T18" fmla="*/ 3 w 23"/>
                <a:gd name="T19" fmla="*/ 8 h 13"/>
                <a:gd name="T20" fmla="*/ 2 w 23"/>
                <a:gd name="T21" fmla="*/ 9 h 13"/>
                <a:gd name="T22" fmla="*/ 0 w 23"/>
                <a:gd name="T23" fmla="*/ 10 h 13"/>
                <a:gd name="T24" fmla="*/ 0 w 23"/>
                <a:gd name="T25" fmla="*/ 12 h 13"/>
                <a:gd name="T26" fmla="*/ 2 w 23"/>
                <a:gd name="T27" fmla="*/ 13 h 13"/>
                <a:gd name="T28" fmla="*/ 5 w 23"/>
                <a:gd name="T29" fmla="*/ 12 h 13"/>
                <a:gd name="T30" fmla="*/ 6 w 23"/>
                <a:gd name="T31" fmla="*/ 12 h 13"/>
                <a:gd name="T32" fmla="*/ 9 w 23"/>
                <a:gd name="T33" fmla="*/ 10 h 13"/>
                <a:gd name="T34" fmla="*/ 13 w 23"/>
                <a:gd name="T35" fmla="*/ 12 h 13"/>
                <a:gd name="T36" fmla="*/ 18 w 23"/>
                <a:gd name="T37" fmla="*/ 13 h 13"/>
                <a:gd name="T38" fmla="*/ 20 w 23"/>
                <a:gd name="T39" fmla="*/ 13 h 13"/>
                <a:gd name="T40" fmla="*/ 23 w 23"/>
                <a:gd name="T41" fmla="*/ 12 h 13"/>
                <a:gd name="T42" fmla="*/ 23 w 23"/>
                <a:gd name="T43" fmla="*/ 10 h 13"/>
                <a:gd name="T44" fmla="*/ 23 w 23"/>
                <a:gd name="T45" fmla="*/ 9 h 13"/>
                <a:gd name="T46" fmla="*/ 20 w 23"/>
                <a:gd name="T47" fmla="*/ 8 h 13"/>
                <a:gd name="T48" fmla="*/ 19 w 23"/>
                <a:gd name="T49" fmla="*/ 8 h 13"/>
                <a:gd name="T50" fmla="*/ 18 w 23"/>
                <a:gd name="T51" fmla="*/ 6 h 13"/>
                <a:gd name="T52" fmla="*/ 18 w 23"/>
                <a:gd name="T53" fmla="*/ 3 h 13"/>
                <a:gd name="T54" fmla="*/ 18 w 23"/>
                <a:gd name="T55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" h="13">
                  <a:moveTo>
                    <a:pt x="18" y="3"/>
                  </a:moveTo>
                  <a:lnTo>
                    <a:pt x="1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2" y="2"/>
                  </a:lnTo>
                  <a:lnTo>
                    <a:pt x="12" y="5"/>
                  </a:lnTo>
                  <a:lnTo>
                    <a:pt x="9" y="5"/>
                  </a:lnTo>
                  <a:lnTo>
                    <a:pt x="8" y="5"/>
                  </a:lnTo>
                  <a:lnTo>
                    <a:pt x="6" y="6"/>
                  </a:lnTo>
                  <a:lnTo>
                    <a:pt x="3" y="8"/>
                  </a:lnTo>
                  <a:lnTo>
                    <a:pt x="2" y="9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2" y="13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9" y="10"/>
                  </a:lnTo>
                  <a:lnTo>
                    <a:pt x="13" y="12"/>
                  </a:lnTo>
                  <a:lnTo>
                    <a:pt x="18" y="13"/>
                  </a:lnTo>
                  <a:lnTo>
                    <a:pt x="20" y="13"/>
                  </a:lnTo>
                  <a:lnTo>
                    <a:pt x="23" y="12"/>
                  </a:lnTo>
                  <a:lnTo>
                    <a:pt x="23" y="10"/>
                  </a:lnTo>
                  <a:lnTo>
                    <a:pt x="23" y="9"/>
                  </a:lnTo>
                  <a:lnTo>
                    <a:pt x="20" y="8"/>
                  </a:lnTo>
                  <a:lnTo>
                    <a:pt x="19" y="8"/>
                  </a:lnTo>
                  <a:lnTo>
                    <a:pt x="18" y="6"/>
                  </a:lnTo>
                  <a:lnTo>
                    <a:pt x="18" y="3"/>
                  </a:lnTo>
                  <a:lnTo>
                    <a:pt x="18" y="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10" name="Freeform 559"/>
            <p:cNvSpPr>
              <a:spLocks/>
            </p:cNvSpPr>
            <p:nvPr/>
          </p:nvSpPr>
          <p:spPr bwMode="auto">
            <a:xfrm>
              <a:off x="5503723" y="2768317"/>
              <a:ext cx="13433" cy="10583"/>
            </a:xfrm>
            <a:custGeom>
              <a:avLst/>
              <a:gdLst>
                <a:gd name="T0" fmla="*/ 23 w 23"/>
                <a:gd name="T1" fmla="*/ 0 h 17"/>
                <a:gd name="T2" fmla="*/ 20 w 23"/>
                <a:gd name="T3" fmla="*/ 0 h 17"/>
                <a:gd name="T4" fmla="*/ 18 w 23"/>
                <a:gd name="T5" fmla="*/ 0 h 17"/>
                <a:gd name="T6" fmla="*/ 13 w 23"/>
                <a:gd name="T7" fmla="*/ 0 h 17"/>
                <a:gd name="T8" fmla="*/ 12 w 23"/>
                <a:gd name="T9" fmla="*/ 0 h 17"/>
                <a:gd name="T10" fmla="*/ 10 w 23"/>
                <a:gd name="T11" fmla="*/ 5 h 17"/>
                <a:gd name="T12" fmla="*/ 10 w 23"/>
                <a:gd name="T13" fmla="*/ 7 h 17"/>
                <a:gd name="T14" fmla="*/ 9 w 23"/>
                <a:gd name="T15" fmla="*/ 9 h 17"/>
                <a:gd name="T16" fmla="*/ 6 w 23"/>
                <a:gd name="T17" fmla="*/ 9 h 17"/>
                <a:gd name="T18" fmla="*/ 6 w 23"/>
                <a:gd name="T19" fmla="*/ 7 h 17"/>
                <a:gd name="T20" fmla="*/ 6 w 23"/>
                <a:gd name="T21" fmla="*/ 6 h 17"/>
                <a:gd name="T22" fmla="*/ 5 w 23"/>
                <a:gd name="T23" fmla="*/ 6 h 17"/>
                <a:gd name="T24" fmla="*/ 3 w 23"/>
                <a:gd name="T25" fmla="*/ 7 h 17"/>
                <a:gd name="T26" fmla="*/ 2 w 23"/>
                <a:gd name="T27" fmla="*/ 10 h 17"/>
                <a:gd name="T28" fmla="*/ 2 w 23"/>
                <a:gd name="T29" fmla="*/ 12 h 17"/>
                <a:gd name="T30" fmla="*/ 2 w 23"/>
                <a:gd name="T31" fmla="*/ 13 h 17"/>
                <a:gd name="T32" fmla="*/ 0 w 23"/>
                <a:gd name="T33" fmla="*/ 15 h 17"/>
                <a:gd name="T34" fmla="*/ 0 w 23"/>
                <a:gd name="T35" fmla="*/ 16 h 17"/>
                <a:gd name="T36" fmla="*/ 2 w 23"/>
                <a:gd name="T37" fmla="*/ 17 h 17"/>
                <a:gd name="T38" fmla="*/ 3 w 23"/>
                <a:gd name="T39" fmla="*/ 16 h 17"/>
                <a:gd name="T40" fmla="*/ 6 w 23"/>
                <a:gd name="T41" fmla="*/ 15 h 17"/>
                <a:gd name="T42" fmla="*/ 9 w 23"/>
                <a:gd name="T43" fmla="*/ 13 h 17"/>
                <a:gd name="T44" fmla="*/ 10 w 23"/>
                <a:gd name="T45" fmla="*/ 15 h 17"/>
                <a:gd name="T46" fmla="*/ 10 w 23"/>
                <a:gd name="T47" fmla="*/ 16 h 17"/>
                <a:gd name="T48" fmla="*/ 13 w 23"/>
                <a:gd name="T49" fmla="*/ 17 h 17"/>
                <a:gd name="T50" fmla="*/ 15 w 23"/>
                <a:gd name="T51" fmla="*/ 17 h 17"/>
                <a:gd name="T52" fmla="*/ 16 w 23"/>
                <a:gd name="T53" fmla="*/ 15 h 17"/>
                <a:gd name="T54" fmla="*/ 18 w 23"/>
                <a:gd name="T55" fmla="*/ 12 h 17"/>
                <a:gd name="T56" fmla="*/ 16 w 23"/>
                <a:gd name="T57" fmla="*/ 9 h 17"/>
                <a:gd name="T58" fmla="*/ 18 w 23"/>
                <a:gd name="T59" fmla="*/ 7 h 17"/>
                <a:gd name="T60" fmla="*/ 19 w 23"/>
                <a:gd name="T61" fmla="*/ 6 h 17"/>
                <a:gd name="T62" fmla="*/ 20 w 23"/>
                <a:gd name="T63" fmla="*/ 6 h 17"/>
                <a:gd name="T64" fmla="*/ 22 w 23"/>
                <a:gd name="T65" fmla="*/ 5 h 17"/>
                <a:gd name="T66" fmla="*/ 23 w 23"/>
                <a:gd name="T67" fmla="*/ 3 h 17"/>
                <a:gd name="T68" fmla="*/ 23 w 23"/>
                <a:gd name="T69" fmla="*/ 2 h 17"/>
                <a:gd name="T70" fmla="*/ 23 w 23"/>
                <a:gd name="T71" fmla="*/ 0 h 17"/>
                <a:gd name="T72" fmla="*/ 23 w 23"/>
                <a:gd name="T7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3" h="17">
                  <a:moveTo>
                    <a:pt x="23" y="0"/>
                  </a:moveTo>
                  <a:lnTo>
                    <a:pt x="20" y="0"/>
                  </a:lnTo>
                  <a:lnTo>
                    <a:pt x="18" y="0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0" y="5"/>
                  </a:lnTo>
                  <a:lnTo>
                    <a:pt x="10" y="7"/>
                  </a:lnTo>
                  <a:lnTo>
                    <a:pt x="9" y="9"/>
                  </a:lnTo>
                  <a:lnTo>
                    <a:pt x="6" y="9"/>
                  </a:lnTo>
                  <a:lnTo>
                    <a:pt x="6" y="7"/>
                  </a:lnTo>
                  <a:lnTo>
                    <a:pt x="6" y="6"/>
                  </a:lnTo>
                  <a:lnTo>
                    <a:pt x="5" y="6"/>
                  </a:lnTo>
                  <a:lnTo>
                    <a:pt x="3" y="7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2" y="13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2" y="17"/>
                  </a:lnTo>
                  <a:lnTo>
                    <a:pt x="3" y="16"/>
                  </a:lnTo>
                  <a:lnTo>
                    <a:pt x="6" y="15"/>
                  </a:lnTo>
                  <a:lnTo>
                    <a:pt x="9" y="13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3" y="17"/>
                  </a:lnTo>
                  <a:lnTo>
                    <a:pt x="15" y="17"/>
                  </a:lnTo>
                  <a:lnTo>
                    <a:pt x="16" y="15"/>
                  </a:lnTo>
                  <a:lnTo>
                    <a:pt x="18" y="12"/>
                  </a:lnTo>
                  <a:lnTo>
                    <a:pt x="16" y="9"/>
                  </a:lnTo>
                  <a:lnTo>
                    <a:pt x="18" y="7"/>
                  </a:lnTo>
                  <a:lnTo>
                    <a:pt x="19" y="6"/>
                  </a:lnTo>
                  <a:lnTo>
                    <a:pt x="20" y="6"/>
                  </a:lnTo>
                  <a:lnTo>
                    <a:pt x="22" y="5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3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11" name="Freeform 560"/>
            <p:cNvSpPr>
              <a:spLocks/>
            </p:cNvSpPr>
            <p:nvPr/>
          </p:nvSpPr>
          <p:spPr bwMode="auto">
            <a:xfrm>
              <a:off x="5454877" y="2774932"/>
              <a:ext cx="12211" cy="5292"/>
            </a:xfrm>
            <a:custGeom>
              <a:avLst/>
              <a:gdLst>
                <a:gd name="T0" fmla="*/ 14 w 20"/>
                <a:gd name="T1" fmla="*/ 3 h 9"/>
                <a:gd name="T2" fmla="*/ 12 w 20"/>
                <a:gd name="T3" fmla="*/ 3 h 9"/>
                <a:gd name="T4" fmla="*/ 7 w 20"/>
                <a:gd name="T5" fmla="*/ 2 h 9"/>
                <a:gd name="T6" fmla="*/ 6 w 20"/>
                <a:gd name="T7" fmla="*/ 0 h 9"/>
                <a:gd name="T8" fmla="*/ 2 w 20"/>
                <a:gd name="T9" fmla="*/ 0 h 9"/>
                <a:gd name="T10" fmla="*/ 0 w 20"/>
                <a:gd name="T11" fmla="*/ 0 h 9"/>
                <a:gd name="T12" fmla="*/ 0 w 20"/>
                <a:gd name="T13" fmla="*/ 2 h 9"/>
                <a:gd name="T14" fmla="*/ 0 w 20"/>
                <a:gd name="T15" fmla="*/ 5 h 9"/>
                <a:gd name="T16" fmla="*/ 2 w 20"/>
                <a:gd name="T17" fmla="*/ 5 h 9"/>
                <a:gd name="T18" fmla="*/ 4 w 20"/>
                <a:gd name="T19" fmla="*/ 5 h 9"/>
                <a:gd name="T20" fmla="*/ 7 w 20"/>
                <a:gd name="T21" fmla="*/ 6 h 9"/>
                <a:gd name="T22" fmla="*/ 7 w 20"/>
                <a:gd name="T23" fmla="*/ 7 h 9"/>
                <a:gd name="T24" fmla="*/ 9 w 20"/>
                <a:gd name="T25" fmla="*/ 7 h 9"/>
                <a:gd name="T26" fmla="*/ 10 w 20"/>
                <a:gd name="T27" fmla="*/ 7 h 9"/>
                <a:gd name="T28" fmla="*/ 13 w 20"/>
                <a:gd name="T29" fmla="*/ 6 h 9"/>
                <a:gd name="T30" fmla="*/ 16 w 20"/>
                <a:gd name="T31" fmla="*/ 7 h 9"/>
                <a:gd name="T32" fmla="*/ 17 w 20"/>
                <a:gd name="T33" fmla="*/ 9 h 9"/>
                <a:gd name="T34" fmla="*/ 19 w 20"/>
                <a:gd name="T35" fmla="*/ 9 h 9"/>
                <a:gd name="T36" fmla="*/ 20 w 20"/>
                <a:gd name="T37" fmla="*/ 7 h 9"/>
                <a:gd name="T38" fmla="*/ 19 w 20"/>
                <a:gd name="T39" fmla="*/ 6 h 9"/>
                <a:gd name="T40" fmla="*/ 17 w 20"/>
                <a:gd name="T41" fmla="*/ 6 h 9"/>
                <a:gd name="T42" fmla="*/ 14 w 20"/>
                <a:gd name="T43" fmla="*/ 3 h 9"/>
                <a:gd name="T44" fmla="*/ 14 w 20"/>
                <a:gd name="T4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" h="9">
                  <a:moveTo>
                    <a:pt x="14" y="3"/>
                  </a:moveTo>
                  <a:lnTo>
                    <a:pt x="12" y="3"/>
                  </a:lnTo>
                  <a:lnTo>
                    <a:pt x="7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5"/>
                  </a:lnTo>
                  <a:lnTo>
                    <a:pt x="4" y="5"/>
                  </a:lnTo>
                  <a:lnTo>
                    <a:pt x="7" y="6"/>
                  </a:lnTo>
                  <a:lnTo>
                    <a:pt x="7" y="7"/>
                  </a:lnTo>
                  <a:lnTo>
                    <a:pt x="9" y="7"/>
                  </a:lnTo>
                  <a:lnTo>
                    <a:pt x="10" y="7"/>
                  </a:lnTo>
                  <a:lnTo>
                    <a:pt x="13" y="6"/>
                  </a:lnTo>
                  <a:lnTo>
                    <a:pt x="16" y="7"/>
                  </a:lnTo>
                  <a:lnTo>
                    <a:pt x="17" y="9"/>
                  </a:lnTo>
                  <a:lnTo>
                    <a:pt x="19" y="9"/>
                  </a:lnTo>
                  <a:lnTo>
                    <a:pt x="20" y="7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4" y="3"/>
                  </a:lnTo>
                  <a:lnTo>
                    <a:pt x="14" y="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12" name="Freeform 561"/>
            <p:cNvSpPr>
              <a:spLocks/>
            </p:cNvSpPr>
            <p:nvPr/>
          </p:nvSpPr>
          <p:spPr bwMode="auto">
            <a:xfrm>
              <a:off x="5467089" y="2757734"/>
              <a:ext cx="2442" cy="5292"/>
            </a:xfrm>
            <a:custGeom>
              <a:avLst/>
              <a:gdLst>
                <a:gd name="T0" fmla="*/ 2 w 6"/>
                <a:gd name="T1" fmla="*/ 0 h 8"/>
                <a:gd name="T2" fmla="*/ 0 w 6"/>
                <a:gd name="T3" fmla="*/ 2 h 8"/>
                <a:gd name="T4" fmla="*/ 2 w 6"/>
                <a:gd name="T5" fmla="*/ 7 h 8"/>
                <a:gd name="T6" fmla="*/ 4 w 6"/>
                <a:gd name="T7" fmla="*/ 8 h 8"/>
                <a:gd name="T8" fmla="*/ 4 w 6"/>
                <a:gd name="T9" fmla="*/ 8 h 8"/>
                <a:gd name="T10" fmla="*/ 6 w 6"/>
                <a:gd name="T11" fmla="*/ 5 h 8"/>
                <a:gd name="T12" fmla="*/ 4 w 6"/>
                <a:gd name="T13" fmla="*/ 2 h 8"/>
                <a:gd name="T14" fmla="*/ 3 w 6"/>
                <a:gd name="T15" fmla="*/ 1 h 8"/>
                <a:gd name="T16" fmla="*/ 3 w 6"/>
                <a:gd name="T17" fmla="*/ 0 h 8"/>
                <a:gd name="T18" fmla="*/ 2 w 6"/>
                <a:gd name="T19" fmla="*/ 0 h 8"/>
                <a:gd name="T20" fmla="*/ 2 w 6"/>
                <a:gd name="T2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8">
                  <a:moveTo>
                    <a:pt x="2" y="0"/>
                  </a:moveTo>
                  <a:lnTo>
                    <a:pt x="0" y="2"/>
                  </a:lnTo>
                  <a:lnTo>
                    <a:pt x="2" y="7"/>
                  </a:lnTo>
                  <a:lnTo>
                    <a:pt x="4" y="8"/>
                  </a:lnTo>
                  <a:lnTo>
                    <a:pt x="4" y="8"/>
                  </a:lnTo>
                  <a:lnTo>
                    <a:pt x="6" y="5"/>
                  </a:lnTo>
                  <a:lnTo>
                    <a:pt x="4" y="2"/>
                  </a:lnTo>
                  <a:lnTo>
                    <a:pt x="3" y="1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13" name="Freeform 562"/>
            <p:cNvSpPr>
              <a:spLocks/>
            </p:cNvSpPr>
            <p:nvPr/>
          </p:nvSpPr>
          <p:spPr bwMode="auto">
            <a:xfrm>
              <a:off x="5463425" y="2768317"/>
              <a:ext cx="6106" cy="3969"/>
            </a:xfrm>
            <a:custGeom>
              <a:avLst/>
              <a:gdLst>
                <a:gd name="T0" fmla="*/ 8 w 10"/>
                <a:gd name="T1" fmla="*/ 3 h 5"/>
                <a:gd name="T2" fmla="*/ 8 w 10"/>
                <a:gd name="T3" fmla="*/ 0 h 5"/>
                <a:gd name="T4" fmla="*/ 5 w 10"/>
                <a:gd name="T5" fmla="*/ 1 h 5"/>
                <a:gd name="T6" fmla="*/ 3 w 10"/>
                <a:gd name="T7" fmla="*/ 1 h 5"/>
                <a:gd name="T8" fmla="*/ 2 w 10"/>
                <a:gd name="T9" fmla="*/ 1 h 5"/>
                <a:gd name="T10" fmla="*/ 0 w 10"/>
                <a:gd name="T11" fmla="*/ 4 h 5"/>
                <a:gd name="T12" fmla="*/ 2 w 10"/>
                <a:gd name="T13" fmla="*/ 4 h 5"/>
                <a:gd name="T14" fmla="*/ 5 w 10"/>
                <a:gd name="T15" fmla="*/ 5 h 5"/>
                <a:gd name="T16" fmla="*/ 8 w 10"/>
                <a:gd name="T17" fmla="*/ 5 h 5"/>
                <a:gd name="T18" fmla="*/ 9 w 10"/>
                <a:gd name="T19" fmla="*/ 5 h 5"/>
                <a:gd name="T20" fmla="*/ 10 w 10"/>
                <a:gd name="T21" fmla="*/ 5 h 5"/>
                <a:gd name="T22" fmla="*/ 10 w 10"/>
                <a:gd name="T23" fmla="*/ 3 h 5"/>
                <a:gd name="T24" fmla="*/ 9 w 10"/>
                <a:gd name="T25" fmla="*/ 3 h 5"/>
                <a:gd name="T26" fmla="*/ 8 w 10"/>
                <a:gd name="T27" fmla="*/ 3 h 5"/>
                <a:gd name="T28" fmla="*/ 8 w 10"/>
                <a:gd name="T2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" h="5">
                  <a:moveTo>
                    <a:pt x="8" y="3"/>
                  </a:moveTo>
                  <a:lnTo>
                    <a:pt x="8" y="0"/>
                  </a:lnTo>
                  <a:lnTo>
                    <a:pt x="5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0" y="4"/>
                  </a:lnTo>
                  <a:lnTo>
                    <a:pt x="2" y="4"/>
                  </a:lnTo>
                  <a:lnTo>
                    <a:pt x="5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14" name="Freeform 563"/>
            <p:cNvSpPr>
              <a:spLocks/>
            </p:cNvSpPr>
            <p:nvPr/>
          </p:nvSpPr>
          <p:spPr bwMode="auto">
            <a:xfrm>
              <a:off x="5470752" y="2768317"/>
              <a:ext cx="4885" cy="5292"/>
            </a:xfrm>
            <a:custGeom>
              <a:avLst/>
              <a:gdLst>
                <a:gd name="T0" fmla="*/ 6 w 9"/>
                <a:gd name="T1" fmla="*/ 0 h 7"/>
                <a:gd name="T2" fmla="*/ 5 w 9"/>
                <a:gd name="T3" fmla="*/ 1 h 7"/>
                <a:gd name="T4" fmla="*/ 2 w 9"/>
                <a:gd name="T5" fmla="*/ 3 h 7"/>
                <a:gd name="T6" fmla="*/ 0 w 9"/>
                <a:gd name="T7" fmla="*/ 5 h 7"/>
                <a:gd name="T8" fmla="*/ 2 w 9"/>
                <a:gd name="T9" fmla="*/ 7 h 7"/>
                <a:gd name="T10" fmla="*/ 3 w 9"/>
                <a:gd name="T11" fmla="*/ 7 h 7"/>
                <a:gd name="T12" fmla="*/ 6 w 9"/>
                <a:gd name="T13" fmla="*/ 5 h 7"/>
                <a:gd name="T14" fmla="*/ 8 w 9"/>
                <a:gd name="T15" fmla="*/ 4 h 7"/>
                <a:gd name="T16" fmla="*/ 8 w 9"/>
                <a:gd name="T17" fmla="*/ 3 h 7"/>
                <a:gd name="T18" fmla="*/ 9 w 9"/>
                <a:gd name="T19" fmla="*/ 1 h 7"/>
                <a:gd name="T20" fmla="*/ 6 w 9"/>
                <a:gd name="T21" fmla="*/ 0 h 7"/>
                <a:gd name="T22" fmla="*/ 6 w 9"/>
                <a:gd name="T2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7">
                  <a:moveTo>
                    <a:pt x="6" y="0"/>
                  </a:moveTo>
                  <a:lnTo>
                    <a:pt x="5" y="1"/>
                  </a:lnTo>
                  <a:lnTo>
                    <a:pt x="2" y="3"/>
                  </a:lnTo>
                  <a:lnTo>
                    <a:pt x="0" y="5"/>
                  </a:lnTo>
                  <a:lnTo>
                    <a:pt x="2" y="7"/>
                  </a:lnTo>
                  <a:lnTo>
                    <a:pt x="3" y="7"/>
                  </a:lnTo>
                  <a:lnTo>
                    <a:pt x="6" y="5"/>
                  </a:lnTo>
                  <a:lnTo>
                    <a:pt x="8" y="4"/>
                  </a:lnTo>
                  <a:lnTo>
                    <a:pt x="8" y="3"/>
                  </a:lnTo>
                  <a:lnTo>
                    <a:pt x="9" y="1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15" name="Freeform 564"/>
            <p:cNvSpPr>
              <a:spLocks/>
            </p:cNvSpPr>
            <p:nvPr/>
          </p:nvSpPr>
          <p:spPr bwMode="auto">
            <a:xfrm>
              <a:off x="5489069" y="2781546"/>
              <a:ext cx="3663" cy="6615"/>
            </a:xfrm>
            <a:custGeom>
              <a:avLst/>
              <a:gdLst>
                <a:gd name="T0" fmla="*/ 4 w 7"/>
                <a:gd name="T1" fmla="*/ 0 h 10"/>
                <a:gd name="T2" fmla="*/ 0 w 7"/>
                <a:gd name="T3" fmla="*/ 5 h 10"/>
                <a:gd name="T4" fmla="*/ 0 w 7"/>
                <a:gd name="T5" fmla="*/ 8 h 10"/>
                <a:gd name="T6" fmla="*/ 0 w 7"/>
                <a:gd name="T7" fmla="*/ 10 h 10"/>
                <a:gd name="T8" fmla="*/ 1 w 7"/>
                <a:gd name="T9" fmla="*/ 10 h 10"/>
                <a:gd name="T10" fmla="*/ 3 w 7"/>
                <a:gd name="T11" fmla="*/ 10 h 10"/>
                <a:gd name="T12" fmla="*/ 6 w 7"/>
                <a:gd name="T13" fmla="*/ 8 h 10"/>
                <a:gd name="T14" fmla="*/ 7 w 7"/>
                <a:gd name="T15" fmla="*/ 6 h 10"/>
                <a:gd name="T16" fmla="*/ 7 w 7"/>
                <a:gd name="T17" fmla="*/ 3 h 10"/>
                <a:gd name="T18" fmla="*/ 7 w 7"/>
                <a:gd name="T19" fmla="*/ 2 h 10"/>
                <a:gd name="T20" fmla="*/ 6 w 7"/>
                <a:gd name="T21" fmla="*/ 0 h 10"/>
                <a:gd name="T22" fmla="*/ 4 w 7"/>
                <a:gd name="T23" fmla="*/ 0 h 10"/>
                <a:gd name="T24" fmla="*/ 4 w 7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" h="10">
                  <a:moveTo>
                    <a:pt x="4" y="0"/>
                  </a:moveTo>
                  <a:lnTo>
                    <a:pt x="0" y="5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3" y="10"/>
                  </a:lnTo>
                  <a:lnTo>
                    <a:pt x="6" y="8"/>
                  </a:lnTo>
                  <a:lnTo>
                    <a:pt x="7" y="6"/>
                  </a:lnTo>
                  <a:lnTo>
                    <a:pt x="7" y="3"/>
                  </a:lnTo>
                  <a:lnTo>
                    <a:pt x="7" y="2"/>
                  </a:lnTo>
                  <a:lnTo>
                    <a:pt x="6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16" name="Freeform 565"/>
            <p:cNvSpPr>
              <a:spLocks/>
            </p:cNvSpPr>
            <p:nvPr/>
          </p:nvSpPr>
          <p:spPr bwMode="auto">
            <a:xfrm>
              <a:off x="5479300" y="2792130"/>
              <a:ext cx="4885" cy="6615"/>
            </a:xfrm>
            <a:custGeom>
              <a:avLst/>
              <a:gdLst>
                <a:gd name="T0" fmla="*/ 9 w 9"/>
                <a:gd name="T1" fmla="*/ 0 h 12"/>
                <a:gd name="T2" fmla="*/ 6 w 9"/>
                <a:gd name="T3" fmla="*/ 2 h 12"/>
                <a:gd name="T4" fmla="*/ 5 w 9"/>
                <a:gd name="T5" fmla="*/ 2 h 12"/>
                <a:gd name="T6" fmla="*/ 3 w 9"/>
                <a:gd name="T7" fmla="*/ 3 h 12"/>
                <a:gd name="T8" fmla="*/ 2 w 9"/>
                <a:gd name="T9" fmla="*/ 4 h 12"/>
                <a:gd name="T10" fmla="*/ 0 w 9"/>
                <a:gd name="T11" fmla="*/ 7 h 12"/>
                <a:gd name="T12" fmla="*/ 0 w 9"/>
                <a:gd name="T13" fmla="*/ 9 h 12"/>
                <a:gd name="T14" fmla="*/ 0 w 9"/>
                <a:gd name="T15" fmla="*/ 10 h 12"/>
                <a:gd name="T16" fmla="*/ 2 w 9"/>
                <a:gd name="T17" fmla="*/ 12 h 12"/>
                <a:gd name="T18" fmla="*/ 3 w 9"/>
                <a:gd name="T19" fmla="*/ 10 h 12"/>
                <a:gd name="T20" fmla="*/ 5 w 9"/>
                <a:gd name="T21" fmla="*/ 9 h 12"/>
                <a:gd name="T22" fmla="*/ 6 w 9"/>
                <a:gd name="T23" fmla="*/ 9 h 12"/>
                <a:gd name="T24" fmla="*/ 7 w 9"/>
                <a:gd name="T25" fmla="*/ 6 h 12"/>
                <a:gd name="T26" fmla="*/ 7 w 9"/>
                <a:gd name="T27" fmla="*/ 3 h 12"/>
                <a:gd name="T28" fmla="*/ 9 w 9"/>
                <a:gd name="T29" fmla="*/ 2 h 12"/>
                <a:gd name="T30" fmla="*/ 9 w 9"/>
                <a:gd name="T31" fmla="*/ 0 h 12"/>
                <a:gd name="T32" fmla="*/ 9 w 9"/>
                <a:gd name="T3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" h="12">
                  <a:moveTo>
                    <a:pt x="9" y="0"/>
                  </a:moveTo>
                  <a:lnTo>
                    <a:pt x="6" y="2"/>
                  </a:lnTo>
                  <a:lnTo>
                    <a:pt x="5" y="2"/>
                  </a:lnTo>
                  <a:lnTo>
                    <a:pt x="3" y="3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3" y="10"/>
                  </a:lnTo>
                  <a:lnTo>
                    <a:pt x="5" y="9"/>
                  </a:lnTo>
                  <a:lnTo>
                    <a:pt x="6" y="9"/>
                  </a:lnTo>
                  <a:lnTo>
                    <a:pt x="7" y="6"/>
                  </a:lnTo>
                  <a:lnTo>
                    <a:pt x="7" y="3"/>
                  </a:lnTo>
                  <a:lnTo>
                    <a:pt x="9" y="2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17" name="Freeform 566"/>
            <p:cNvSpPr>
              <a:spLocks/>
            </p:cNvSpPr>
            <p:nvPr/>
          </p:nvSpPr>
          <p:spPr bwMode="auto">
            <a:xfrm>
              <a:off x="5479300" y="2792130"/>
              <a:ext cx="4885" cy="6615"/>
            </a:xfrm>
            <a:custGeom>
              <a:avLst/>
              <a:gdLst>
                <a:gd name="T0" fmla="*/ 9 w 9"/>
                <a:gd name="T1" fmla="*/ 0 h 12"/>
                <a:gd name="T2" fmla="*/ 6 w 9"/>
                <a:gd name="T3" fmla="*/ 2 h 12"/>
                <a:gd name="T4" fmla="*/ 5 w 9"/>
                <a:gd name="T5" fmla="*/ 2 h 12"/>
                <a:gd name="T6" fmla="*/ 3 w 9"/>
                <a:gd name="T7" fmla="*/ 3 h 12"/>
                <a:gd name="T8" fmla="*/ 2 w 9"/>
                <a:gd name="T9" fmla="*/ 4 h 12"/>
                <a:gd name="T10" fmla="*/ 0 w 9"/>
                <a:gd name="T11" fmla="*/ 7 h 12"/>
                <a:gd name="T12" fmla="*/ 0 w 9"/>
                <a:gd name="T13" fmla="*/ 9 h 12"/>
                <a:gd name="T14" fmla="*/ 0 w 9"/>
                <a:gd name="T15" fmla="*/ 10 h 12"/>
                <a:gd name="T16" fmla="*/ 2 w 9"/>
                <a:gd name="T17" fmla="*/ 12 h 12"/>
                <a:gd name="T18" fmla="*/ 2 w 9"/>
                <a:gd name="T19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12">
                  <a:moveTo>
                    <a:pt x="9" y="0"/>
                  </a:moveTo>
                  <a:lnTo>
                    <a:pt x="6" y="2"/>
                  </a:lnTo>
                  <a:lnTo>
                    <a:pt x="5" y="2"/>
                  </a:lnTo>
                  <a:lnTo>
                    <a:pt x="3" y="3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2" y="1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18" name="Freeform 567"/>
            <p:cNvSpPr>
              <a:spLocks/>
            </p:cNvSpPr>
            <p:nvPr/>
          </p:nvSpPr>
          <p:spPr bwMode="auto">
            <a:xfrm>
              <a:off x="5484185" y="2792130"/>
              <a:ext cx="0" cy="0"/>
            </a:xfrm>
            <a:custGeom>
              <a:avLst/>
              <a:gdLst>
                <a:gd name="T0" fmla="*/ 2 h 2"/>
                <a:gd name="T1" fmla="*/ 2 h 2"/>
                <a:gd name="T2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19" name="Freeform 568"/>
            <p:cNvSpPr>
              <a:spLocks/>
            </p:cNvSpPr>
            <p:nvPr/>
          </p:nvSpPr>
          <p:spPr bwMode="auto">
            <a:xfrm>
              <a:off x="5507387" y="2781546"/>
              <a:ext cx="6106" cy="3969"/>
            </a:xfrm>
            <a:custGeom>
              <a:avLst/>
              <a:gdLst>
                <a:gd name="T0" fmla="*/ 5 w 8"/>
                <a:gd name="T1" fmla="*/ 0 h 6"/>
                <a:gd name="T2" fmla="*/ 2 w 8"/>
                <a:gd name="T3" fmla="*/ 0 h 6"/>
                <a:gd name="T4" fmla="*/ 0 w 8"/>
                <a:gd name="T5" fmla="*/ 3 h 6"/>
                <a:gd name="T6" fmla="*/ 0 w 8"/>
                <a:gd name="T7" fmla="*/ 5 h 6"/>
                <a:gd name="T8" fmla="*/ 0 w 8"/>
                <a:gd name="T9" fmla="*/ 6 h 6"/>
                <a:gd name="T10" fmla="*/ 2 w 8"/>
                <a:gd name="T11" fmla="*/ 6 h 6"/>
                <a:gd name="T12" fmla="*/ 2 w 8"/>
                <a:gd name="T13" fmla="*/ 6 h 6"/>
                <a:gd name="T14" fmla="*/ 5 w 8"/>
                <a:gd name="T15" fmla="*/ 5 h 6"/>
                <a:gd name="T16" fmla="*/ 7 w 8"/>
                <a:gd name="T17" fmla="*/ 3 h 6"/>
                <a:gd name="T18" fmla="*/ 8 w 8"/>
                <a:gd name="T19" fmla="*/ 0 h 6"/>
                <a:gd name="T20" fmla="*/ 5 w 8"/>
                <a:gd name="T21" fmla="*/ 0 h 6"/>
                <a:gd name="T22" fmla="*/ 5 w 8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" h="6">
                  <a:moveTo>
                    <a:pt x="5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5" y="5"/>
                  </a:lnTo>
                  <a:lnTo>
                    <a:pt x="7" y="3"/>
                  </a:lnTo>
                  <a:lnTo>
                    <a:pt x="8" y="0"/>
                  </a:lnTo>
                  <a:lnTo>
                    <a:pt x="5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20" name="Freeform 569"/>
            <p:cNvSpPr>
              <a:spLocks/>
            </p:cNvSpPr>
            <p:nvPr/>
          </p:nvSpPr>
          <p:spPr bwMode="auto">
            <a:xfrm>
              <a:off x="5465868" y="2764349"/>
              <a:ext cx="3663" cy="2646"/>
            </a:xfrm>
            <a:custGeom>
              <a:avLst/>
              <a:gdLst>
                <a:gd name="T0" fmla="*/ 0 w 5"/>
                <a:gd name="T1" fmla="*/ 1 h 4"/>
                <a:gd name="T2" fmla="*/ 1 w 5"/>
                <a:gd name="T3" fmla="*/ 2 h 4"/>
                <a:gd name="T4" fmla="*/ 3 w 5"/>
                <a:gd name="T5" fmla="*/ 4 h 4"/>
                <a:gd name="T6" fmla="*/ 5 w 5"/>
                <a:gd name="T7" fmla="*/ 4 h 4"/>
                <a:gd name="T8" fmla="*/ 5 w 5"/>
                <a:gd name="T9" fmla="*/ 2 h 4"/>
                <a:gd name="T10" fmla="*/ 5 w 5"/>
                <a:gd name="T11" fmla="*/ 1 h 4"/>
                <a:gd name="T12" fmla="*/ 1 w 5"/>
                <a:gd name="T13" fmla="*/ 0 h 4"/>
                <a:gd name="T14" fmla="*/ 0 w 5"/>
                <a:gd name="T15" fmla="*/ 0 h 4"/>
                <a:gd name="T16" fmla="*/ 0 w 5"/>
                <a:gd name="T17" fmla="*/ 1 h 4"/>
                <a:gd name="T18" fmla="*/ 0 w 5"/>
                <a:gd name="T1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4">
                  <a:moveTo>
                    <a:pt x="0" y="1"/>
                  </a:moveTo>
                  <a:lnTo>
                    <a:pt x="1" y="2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21" name="Freeform 570"/>
            <p:cNvSpPr>
              <a:spLocks/>
            </p:cNvSpPr>
            <p:nvPr/>
          </p:nvSpPr>
          <p:spPr bwMode="auto">
            <a:xfrm>
              <a:off x="5368176" y="2700849"/>
              <a:ext cx="6106" cy="3969"/>
            </a:xfrm>
            <a:custGeom>
              <a:avLst/>
              <a:gdLst>
                <a:gd name="T0" fmla="*/ 10 w 12"/>
                <a:gd name="T1" fmla="*/ 2 h 7"/>
                <a:gd name="T2" fmla="*/ 8 w 12"/>
                <a:gd name="T3" fmla="*/ 1 h 7"/>
                <a:gd name="T4" fmla="*/ 5 w 12"/>
                <a:gd name="T5" fmla="*/ 0 h 7"/>
                <a:gd name="T6" fmla="*/ 2 w 12"/>
                <a:gd name="T7" fmla="*/ 0 h 7"/>
                <a:gd name="T8" fmla="*/ 0 w 12"/>
                <a:gd name="T9" fmla="*/ 0 h 7"/>
                <a:gd name="T10" fmla="*/ 2 w 12"/>
                <a:gd name="T11" fmla="*/ 2 h 7"/>
                <a:gd name="T12" fmla="*/ 5 w 12"/>
                <a:gd name="T13" fmla="*/ 5 h 7"/>
                <a:gd name="T14" fmla="*/ 8 w 12"/>
                <a:gd name="T15" fmla="*/ 7 h 7"/>
                <a:gd name="T16" fmla="*/ 12 w 12"/>
                <a:gd name="T17" fmla="*/ 7 h 7"/>
                <a:gd name="T18" fmla="*/ 12 w 12"/>
                <a:gd name="T19" fmla="*/ 4 h 7"/>
                <a:gd name="T20" fmla="*/ 10 w 12"/>
                <a:gd name="T21" fmla="*/ 2 h 7"/>
                <a:gd name="T22" fmla="*/ 10 w 12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7">
                  <a:moveTo>
                    <a:pt x="10" y="2"/>
                  </a:moveTo>
                  <a:lnTo>
                    <a:pt x="8" y="1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5" y="5"/>
                  </a:lnTo>
                  <a:lnTo>
                    <a:pt x="8" y="7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10" y="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22" name="Freeform 571"/>
            <p:cNvSpPr>
              <a:spLocks/>
            </p:cNvSpPr>
            <p:nvPr/>
          </p:nvSpPr>
          <p:spPr bwMode="auto">
            <a:xfrm>
              <a:off x="5386493" y="2681006"/>
              <a:ext cx="4885" cy="6615"/>
            </a:xfrm>
            <a:custGeom>
              <a:avLst/>
              <a:gdLst>
                <a:gd name="T0" fmla="*/ 9 w 9"/>
                <a:gd name="T1" fmla="*/ 7 h 10"/>
                <a:gd name="T2" fmla="*/ 8 w 9"/>
                <a:gd name="T3" fmla="*/ 0 h 10"/>
                <a:gd name="T4" fmla="*/ 6 w 9"/>
                <a:gd name="T5" fmla="*/ 0 h 10"/>
                <a:gd name="T6" fmla="*/ 3 w 9"/>
                <a:gd name="T7" fmla="*/ 3 h 10"/>
                <a:gd name="T8" fmla="*/ 2 w 9"/>
                <a:gd name="T9" fmla="*/ 3 h 10"/>
                <a:gd name="T10" fmla="*/ 0 w 9"/>
                <a:gd name="T11" fmla="*/ 6 h 10"/>
                <a:gd name="T12" fmla="*/ 2 w 9"/>
                <a:gd name="T13" fmla="*/ 7 h 10"/>
                <a:gd name="T14" fmla="*/ 5 w 9"/>
                <a:gd name="T15" fmla="*/ 9 h 10"/>
                <a:gd name="T16" fmla="*/ 8 w 9"/>
                <a:gd name="T17" fmla="*/ 10 h 10"/>
                <a:gd name="T18" fmla="*/ 9 w 9"/>
                <a:gd name="T19" fmla="*/ 9 h 10"/>
                <a:gd name="T20" fmla="*/ 9 w 9"/>
                <a:gd name="T21" fmla="*/ 7 h 10"/>
                <a:gd name="T22" fmla="*/ 9 w 9"/>
                <a:gd name="T23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0">
                  <a:moveTo>
                    <a:pt x="9" y="7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3" y="3"/>
                  </a:lnTo>
                  <a:lnTo>
                    <a:pt x="2" y="3"/>
                  </a:lnTo>
                  <a:lnTo>
                    <a:pt x="0" y="6"/>
                  </a:lnTo>
                  <a:lnTo>
                    <a:pt x="2" y="7"/>
                  </a:lnTo>
                  <a:lnTo>
                    <a:pt x="5" y="9"/>
                  </a:lnTo>
                  <a:lnTo>
                    <a:pt x="8" y="10"/>
                  </a:lnTo>
                  <a:lnTo>
                    <a:pt x="9" y="9"/>
                  </a:lnTo>
                  <a:lnTo>
                    <a:pt x="9" y="7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23" name="Freeform 572"/>
            <p:cNvSpPr>
              <a:spLocks/>
            </p:cNvSpPr>
            <p:nvPr/>
          </p:nvSpPr>
          <p:spPr bwMode="auto">
            <a:xfrm>
              <a:off x="5418243" y="2647933"/>
              <a:ext cx="6106" cy="6615"/>
            </a:xfrm>
            <a:custGeom>
              <a:avLst/>
              <a:gdLst>
                <a:gd name="T0" fmla="*/ 9 w 9"/>
                <a:gd name="T1" fmla="*/ 8 h 10"/>
                <a:gd name="T2" fmla="*/ 8 w 9"/>
                <a:gd name="T3" fmla="*/ 2 h 10"/>
                <a:gd name="T4" fmla="*/ 6 w 9"/>
                <a:gd name="T5" fmla="*/ 0 h 10"/>
                <a:gd name="T6" fmla="*/ 2 w 9"/>
                <a:gd name="T7" fmla="*/ 0 h 10"/>
                <a:gd name="T8" fmla="*/ 0 w 9"/>
                <a:gd name="T9" fmla="*/ 3 h 10"/>
                <a:gd name="T10" fmla="*/ 0 w 9"/>
                <a:gd name="T11" fmla="*/ 6 h 10"/>
                <a:gd name="T12" fmla="*/ 3 w 9"/>
                <a:gd name="T13" fmla="*/ 9 h 10"/>
                <a:gd name="T14" fmla="*/ 5 w 9"/>
                <a:gd name="T15" fmla="*/ 10 h 10"/>
                <a:gd name="T16" fmla="*/ 5 w 9"/>
                <a:gd name="T17" fmla="*/ 10 h 10"/>
                <a:gd name="T18" fmla="*/ 9 w 9"/>
                <a:gd name="T19" fmla="*/ 9 h 10"/>
                <a:gd name="T20" fmla="*/ 9 w 9"/>
                <a:gd name="T21" fmla="*/ 8 h 10"/>
                <a:gd name="T22" fmla="*/ 9 w 9"/>
                <a:gd name="T2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0">
                  <a:moveTo>
                    <a:pt x="9" y="8"/>
                  </a:moveTo>
                  <a:lnTo>
                    <a:pt x="8" y="2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9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9" y="9"/>
                  </a:lnTo>
                  <a:lnTo>
                    <a:pt x="9" y="8"/>
                  </a:lnTo>
                  <a:lnTo>
                    <a:pt x="9" y="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24" name="Freeform 573"/>
            <p:cNvSpPr>
              <a:spLocks/>
            </p:cNvSpPr>
            <p:nvPr/>
          </p:nvSpPr>
          <p:spPr bwMode="auto">
            <a:xfrm>
              <a:off x="5446329" y="2232541"/>
              <a:ext cx="119672" cy="150811"/>
            </a:xfrm>
            <a:custGeom>
              <a:avLst/>
              <a:gdLst>
                <a:gd name="T0" fmla="*/ 161 w 196"/>
                <a:gd name="T1" fmla="*/ 56 h 228"/>
                <a:gd name="T2" fmla="*/ 161 w 196"/>
                <a:gd name="T3" fmla="*/ 49 h 228"/>
                <a:gd name="T4" fmla="*/ 158 w 196"/>
                <a:gd name="T5" fmla="*/ 34 h 228"/>
                <a:gd name="T6" fmla="*/ 151 w 196"/>
                <a:gd name="T7" fmla="*/ 26 h 228"/>
                <a:gd name="T8" fmla="*/ 148 w 196"/>
                <a:gd name="T9" fmla="*/ 14 h 228"/>
                <a:gd name="T10" fmla="*/ 146 w 196"/>
                <a:gd name="T11" fmla="*/ 7 h 228"/>
                <a:gd name="T12" fmla="*/ 129 w 196"/>
                <a:gd name="T13" fmla="*/ 3 h 228"/>
                <a:gd name="T14" fmla="*/ 125 w 196"/>
                <a:gd name="T15" fmla="*/ 12 h 228"/>
                <a:gd name="T16" fmla="*/ 123 w 196"/>
                <a:gd name="T17" fmla="*/ 17 h 228"/>
                <a:gd name="T18" fmla="*/ 102 w 196"/>
                <a:gd name="T19" fmla="*/ 36 h 228"/>
                <a:gd name="T20" fmla="*/ 90 w 196"/>
                <a:gd name="T21" fmla="*/ 43 h 228"/>
                <a:gd name="T22" fmla="*/ 80 w 196"/>
                <a:gd name="T23" fmla="*/ 44 h 228"/>
                <a:gd name="T24" fmla="*/ 76 w 196"/>
                <a:gd name="T25" fmla="*/ 46 h 228"/>
                <a:gd name="T26" fmla="*/ 66 w 196"/>
                <a:gd name="T27" fmla="*/ 53 h 228"/>
                <a:gd name="T28" fmla="*/ 60 w 196"/>
                <a:gd name="T29" fmla="*/ 67 h 228"/>
                <a:gd name="T30" fmla="*/ 46 w 196"/>
                <a:gd name="T31" fmla="*/ 86 h 228"/>
                <a:gd name="T32" fmla="*/ 53 w 196"/>
                <a:gd name="T33" fmla="*/ 96 h 228"/>
                <a:gd name="T34" fmla="*/ 66 w 196"/>
                <a:gd name="T35" fmla="*/ 86 h 228"/>
                <a:gd name="T36" fmla="*/ 49 w 196"/>
                <a:gd name="T37" fmla="*/ 113 h 228"/>
                <a:gd name="T38" fmla="*/ 46 w 196"/>
                <a:gd name="T39" fmla="*/ 140 h 228"/>
                <a:gd name="T40" fmla="*/ 26 w 196"/>
                <a:gd name="T41" fmla="*/ 145 h 228"/>
                <a:gd name="T42" fmla="*/ 19 w 196"/>
                <a:gd name="T43" fmla="*/ 150 h 228"/>
                <a:gd name="T44" fmla="*/ 39 w 196"/>
                <a:gd name="T45" fmla="*/ 159 h 228"/>
                <a:gd name="T46" fmla="*/ 25 w 196"/>
                <a:gd name="T47" fmla="*/ 158 h 228"/>
                <a:gd name="T48" fmla="*/ 9 w 196"/>
                <a:gd name="T49" fmla="*/ 161 h 228"/>
                <a:gd name="T50" fmla="*/ 2 w 196"/>
                <a:gd name="T51" fmla="*/ 175 h 228"/>
                <a:gd name="T52" fmla="*/ 9 w 196"/>
                <a:gd name="T53" fmla="*/ 169 h 228"/>
                <a:gd name="T54" fmla="*/ 16 w 196"/>
                <a:gd name="T55" fmla="*/ 175 h 228"/>
                <a:gd name="T56" fmla="*/ 40 w 196"/>
                <a:gd name="T57" fmla="*/ 172 h 228"/>
                <a:gd name="T58" fmla="*/ 55 w 196"/>
                <a:gd name="T59" fmla="*/ 178 h 228"/>
                <a:gd name="T60" fmla="*/ 56 w 196"/>
                <a:gd name="T61" fmla="*/ 183 h 228"/>
                <a:gd name="T62" fmla="*/ 40 w 196"/>
                <a:gd name="T63" fmla="*/ 176 h 228"/>
                <a:gd name="T64" fmla="*/ 23 w 196"/>
                <a:gd name="T65" fmla="*/ 178 h 228"/>
                <a:gd name="T66" fmla="*/ 40 w 196"/>
                <a:gd name="T67" fmla="*/ 198 h 228"/>
                <a:gd name="T68" fmla="*/ 26 w 196"/>
                <a:gd name="T69" fmla="*/ 191 h 228"/>
                <a:gd name="T70" fmla="*/ 17 w 196"/>
                <a:gd name="T71" fmla="*/ 192 h 228"/>
                <a:gd name="T72" fmla="*/ 53 w 196"/>
                <a:gd name="T73" fmla="*/ 219 h 228"/>
                <a:gd name="T74" fmla="*/ 66 w 196"/>
                <a:gd name="T75" fmla="*/ 225 h 228"/>
                <a:gd name="T76" fmla="*/ 93 w 196"/>
                <a:gd name="T77" fmla="*/ 209 h 228"/>
                <a:gd name="T78" fmla="*/ 102 w 196"/>
                <a:gd name="T79" fmla="*/ 205 h 228"/>
                <a:gd name="T80" fmla="*/ 118 w 196"/>
                <a:gd name="T81" fmla="*/ 199 h 228"/>
                <a:gd name="T82" fmla="*/ 159 w 196"/>
                <a:gd name="T83" fmla="*/ 193 h 228"/>
                <a:gd name="T84" fmla="*/ 172 w 196"/>
                <a:gd name="T85" fmla="*/ 192 h 228"/>
                <a:gd name="T86" fmla="*/ 176 w 196"/>
                <a:gd name="T87" fmla="*/ 185 h 228"/>
                <a:gd name="T88" fmla="*/ 174 w 196"/>
                <a:gd name="T89" fmla="*/ 171 h 228"/>
                <a:gd name="T90" fmla="*/ 172 w 196"/>
                <a:gd name="T91" fmla="*/ 142 h 228"/>
                <a:gd name="T92" fmla="*/ 174 w 196"/>
                <a:gd name="T93" fmla="*/ 120 h 228"/>
                <a:gd name="T94" fmla="*/ 182 w 196"/>
                <a:gd name="T95" fmla="*/ 120 h 228"/>
                <a:gd name="T96" fmla="*/ 191 w 196"/>
                <a:gd name="T97" fmla="*/ 115 h 228"/>
                <a:gd name="T98" fmla="*/ 195 w 196"/>
                <a:gd name="T99" fmla="*/ 106 h 228"/>
                <a:gd name="T100" fmla="*/ 194 w 196"/>
                <a:gd name="T101" fmla="*/ 100 h 228"/>
                <a:gd name="T102" fmla="*/ 192 w 196"/>
                <a:gd name="T103" fmla="*/ 93 h 228"/>
                <a:gd name="T104" fmla="*/ 189 w 196"/>
                <a:gd name="T105" fmla="*/ 89 h 228"/>
                <a:gd name="T106" fmla="*/ 179 w 196"/>
                <a:gd name="T107" fmla="*/ 85 h 228"/>
                <a:gd name="T108" fmla="*/ 171 w 196"/>
                <a:gd name="T109" fmla="*/ 7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6" h="228">
                  <a:moveTo>
                    <a:pt x="171" y="72"/>
                  </a:moveTo>
                  <a:lnTo>
                    <a:pt x="166" y="66"/>
                  </a:lnTo>
                  <a:lnTo>
                    <a:pt x="164" y="65"/>
                  </a:lnTo>
                  <a:lnTo>
                    <a:pt x="162" y="60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2" y="55"/>
                  </a:lnTo>
                  <a:lnTo>
                    <a:pt x="165" y="55"/>
                  </a:lnTo>
                  <a:lnTo>
                    <a:pt x="165" y="53"/>
                  </a:lnTo>
                  <a:lnTo>
                    <a:pt x="164" y="52"/>
                  </a:lnTo>
                  <a:lnTo>
                    <a:pt x="161" y="52"/>
                  </a:lnTo>
                  <a:lnTo>
                    <a:pt x="161" y="49"/>
                  </a:lnTo>
                  <a:lnTo>
                    <a:pt x="161" y="46"/>
                  </a:lnTo>
                  <a:lnTo>
                    <a:pt x="161" y="44"/>
                  </a:lnTo>
                  <a:lnTo>
                    <a:pt x="158" y="43"/>
                  </a:lnTo>
                  <a:lnTo>
                    <a:pt x="158" y="40"/>
                  </a:lnTo>
                  <a:lnTo>
                    <a:pt x="158" y="36"/>
                  </a:lnTo>
                  <a:lnTo>
                    <a:pt x="158" y="34"/>
                  </a:lnTo>
                  <a:lnTo>
                    <a:pt x="156" y="33"/>
                  </a:lnTo>
                  <a:lnTo>
                    <a:pt x="154" y="33"/>
                  </a:lnTo>
                  <a:lnTo>
                    <a:pt x="152" y="29"/>
                  </a:lnTo>
                  <a:lnTo>
                    <a:pt x="152" y="27"/>
                  </a:lnTo>
                  <a:lnTo>
                    <a:pt x="151" y="27"/>
                  </a:lnTo>
                  <a:lnTo>
                    <a:pt x="151" y="26"/>
                  </a:lnTo>
                  <a:lnTo>
                    <a:pt x="152" y="24"/>
                  </a:lnTo>
                  <a:lnTo>
                    <a:pt x="152" y="22"/>
                  </a:lnTo>
                  <a:lnTo>
                    <a:pt x="151" y="19"/>
                  </a:lnTo>
                  <a:lnTo>
                    <a:pt x="151" y="16"/>
                  </a:lnTo>
                  <a:lnTo>
                    <a:pt x="148" y="14"/>
                  </a:lnTo>
                  <a:lnTo>
                    <a:pt x="148" y="14"/>
                  </a:lnTo>
                  <a:lnTo>
                    <a:pt x="145" y="16"/>
                  </a:lnTo>
                  <a:lnTo>
                    <a:pt x="142" y="16"/>
                  </a:lnTo>
                  <a:lnTo>
                    <a:pt x="142" y="13"/>
                  </a:lnTo>
                  <a:lnTo>
                    <a:pt x="143" y="12"/>
                  </a:lnTo>
                  <a:lnTo>
                    <a:pt x="145" y="9"/>
                  </a:lnTo>
                  <a:lnTo>
                    <a:pt x="146" y="7"/>
                  </a:lnTo>
                  <a:lnTo>
                    <a:pt x="143" y="7"/>
                  </a:lnTo>
                  <a:lnTo>
                    <a:pt x="141" y="4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32" y="0"/>
                  </a:lnTo>
                  <a:lnTo>
                    <a:pt x="129" y="3"/>
                  </a:lnTo>
                  <a:lnTo>
                    <a:pt x="123" y="3"/>
                  </a:lnTo>
                  <a:lnTo>
                    <a:pt x="121" y="4"/>
                  </a:lnTo>
                  <a:lnTo>
                    <a:pt x="121" y="6"/>
                  </a:lnTo>
                  <a:lnTo>
                    <a:pt x="121" y="7"/>
                  </a:lnTo>
                  <a:lnTo>
                    <a:pt x="122" y="10"/>
                  </a:lnTo>
                  <a:lnTo>
                    <a:pt x="125" y="12"/>
                  </a:lnTo>
                  <a:lnTo>
                    <a:pt x="131" y="12"/>
                  </a:lnTo>
                  <a:lnTo>
                    <a:pt x="133" y="12"/>
                  </a:lnTo>
                  <a:lnTo>
                    <a:pt x="133" y="14"/>
                  </a:lnTo>
                  <a:lnTo>
                    <a:pt x="131" y="14"/>
                  </a:lnTo>
                  <a:lnTo>
                    <a:pt x="125" y="16"/>
                  </a:lnTo>
                  <a:lnTo>
                    <a:pt x="123" y="17"/>
                  </a:lnTo>
                  <a:lnTo>
                    <a:pt x="119" y="24"/>
                  </a:lnTo>
                  <a:lnTo>
                    <a:pt x="118" y="27"/>
                  </a:lnTo>
                  <a:lnTo>
                    <a:pt x="116" y="30"/>
                  </a:lnTo>
                  <a:lnTo>
                    <a:pt x="113" y="32"/>
                  </a:lnTo>
                  <a:lnTo>
                    <a:pt x="108" y="34"/>
                  </a:lnTo>
                  <a:lnTo>
                    <a:pt x="102" y="36"/>
                  </a:lnTo>
                  <a:lnTo>
                    <a:pt x="98" y="37"/>
                  </a:lnTo>
                  <a:lnTo>
                    <a:pt x="98" y="39"/>
                  </a:lnTo>
                  <a:lnTo>
                    <a:pt x="96" y="42"/>
                  </a:lnTo>
                  <a:lnTo>
                    <a:pt x="95" y="43"/>
                  </a:lnTo>
                  <a:lnTo>
                    <a:pt x="93" y="44"/>
                  </a:lnTo>
                  <a:lnTo>
                    <a:pt x="90" y="43"/>
                  </a:lnTo>
                  <a:lnTo>
                    <a:pt x="88" y="43"/>
                  </a:lnTo>
                  <a:lnTo>
                    <a:pt x="86" y="44"/>
                  </a:lnTo>
                  <a:lnTo>
                    <a:pt x="85" y="46"/>
                  </a:lnTo>
                  <a:lnTo>
                    <a:pt x="83" y="44"/>
                  </a:lnTo>
                  <a:lnTo>
                    <a:pt x="80" y="43"/>
                  </a:lnTo>
                  <a:lnTo>
                    <a:pt x="80" y="44"/>
                  </a:lnTo>
                  <a:lnTo>
                    <a:pt x="80" y="46"/>
                  </a:lnTo>
                  <a:lnTo>
                    <a:pt x="82" y="49"/>
                  </a:lnTo>
                  <a:lnTo>
                    <a:pt x="82" y="50"/>
                  </a:lnTo>
                  <a:lnTo>
                    <a:pt x="80" y="49"/>
                  </a:lnTo>
                  <a:lnTo>
                    <a:pt x="78" y="49"/>
                  </a:lnTo>
                  <a:lnTo>
                    <a:pt x="76" y="46"/>
                  </a:lnTo>
                  <a:lnTo>
                    <a:pt x="75" y="46"/>
                  </a:lnTo>
                  <a:lnTo>
                    <a:pt x="72" y="47"/>
                  </a:lnTo>
                  <a:lnTo>
                    <a:pt x="72" y="49"/>
                  </a:lnTo>
                  <a:lnTo>
                    <a:pt x="70" y="52"/>
                  </a:lnTo>
                  <a:lnTo>
                    <a:pt x="69" y="53"/>
                  </a:lnTo>
                  <a:lnTo>
                    <a:pt x="66" y="53"/>
                  </a:lnTo>
                  <a:lnTo>
                    <a:pt x="63" y="53"/>
                  </a:lnTo>
                  <a:lnTo>
                    <a:pt x="62" y="55"/>
                  </a:lnTo>
                  <a:lnTo>
                    <a:pt x="62" y="57"/>
                  </a:lnTo>
                  <a:lnTo>
                    <a:pt x="63" y="60"/>
                  </a:lnTo>
                  <a:lnTo>
                    <a:pt x="62" y="63"/>
                  </a:lnTo>
                  <a:lnTo>
                    <a:pt x="60" y="67"/>
                  </a:lnTo>
                  <a:lnTo>
                    <a:pt x="56" y="70"/>
                  </a:lnTo>
                  <a:lnTo>
                    <a:pt x="53" y="72"/>
                  </a:lnTo>
                  <a:lnTo>
                    <a:pt x="53" y="73"/>
                  </a:lnTo>
                  <a:lnTo>
                    <a:pt x="53" y="76"/>
                  </a:lnTo>
                  <a:lnTo>
                    <a:pt x="52" y="79"/>
                  </a:lnTo>
                  <a:lnTo>
                    <a:pt x="46" y="86"/>
                  </a:lnTo>
                  <a:lnTo>
                    <a:pt x="43" y="92"/>
                  </a:lnTo>
                  <a:lnTo>
                    <a:pt x="42" y="95"/>
                  </a:lnTo>
                  <a:lnTo>
                    <a:pt x="42" y="96"/>
                  </a:lnTo>
                  <a:lnTo>
                    <a:pt x="45" y="97"/>
                  </a:lnTo>
                  <a:lnTo>
                    <a:pt x="48" y="96"/>
                  </a:lnTo>
                  <a:lnTo>
                    <a:pt x="53" y="96"/>
                  </a:lnTo>
                  <a:lnTo>
                    <a:pt x="58" y="95"/>
                  </a:lnTo>
                  <a:lnTo>
                    <a:pt x="60" y="92"/>
                  </a:lnTo>
                  <a:lnTo>
                    <a:pt x="62" y="89"/>
                  </a:lnTo>
                  <a:lnTo>
                    <a:pt x="63" y="86"/>
                  </a:lnTo>
                  <a:lnTo>
                    <a:pt x="65" y="86"/>
                  </a:lnTo>
                  <a:lnTo>
                    <a:pt x="66" y="86"/>
                  </a:lnTo>
                  <a:lnTo>
                    <a:pt x="68" y="89"/>
                  </a:lnTo>
                  <a:lnTo>
                    <a:pt x="66" y="90"/>
                  </a:lnTo>
                  <a:lnTo>
                    <a:pt x="66" y="93"/>
                  </a:lnTo>
                  <a:lnTo>
                    <a:pt x="59" y="102"/>
                  </a:lnTo>
                  <a:lnTo>
                    <a:pt x="55" y="106"/>
                  </a:lnTo>
                  <a:lnTo>
                    <a:pt x="49" y="113"/>
                  </a:lnTo>
                  <a:lnTo>
                    <a:pt x="48" y="118"/>
                  </a:lnTo>
                  <a:lnTo>
                    <a:pt x="46" y="123"/>
                  </a:lnTo>
                  <a:lnTo>
                    <a:pt x="46" y="128"/>
                  </a:lnTo>
                  <a:lnTo>
                    <a:pt x="46" y="136"/>
                  </a:lnTo>
                  <a:lnTo>
                    <a:pt x="46" y="138"/>
                  </a:lnTo>
                  <a:lnTo>
                    <a:pt x="46" y="140"/>
                  </a:lnTo>
                  <a:lnTo>
                    <a:pt x="43" y="140"/>
                  </a:lnTo>
                  <a:lnTo>
                    <a:pt x="36" y="140"/>
                  </a:lnTo>
                  <a:lnTo>
                    <a:pt x="33" y="140"/>
                  </a:lnTo>
                  <a:lnTo>
                    <a:pt x="30" y="140"/>
                  </a:lnTo>
                  <a:lnTo>
                    <a:pt x="29" y="143"/>
                  </a:lnTo>
                  <a:lnTo>
                    <a:pt x="26" y="145"/>
                  </a:lnTo>
                  <a:lnTo>
                    <a:pt x="23" y="145"/>
                  </a:lnTo>
                  <a:lnTo>
                    <a:pt x="19" y="145"/>
                  </a:lnTo>
                  <a:lnTo>
                    <a:pt x="19" y="145"/>
                  </a:lnTo>
                  <a:lnTo>
                    <a:pt x="17" y="146"/>
                  </a:lnTo>
                  <a:lnTo>
                    <a:pt x="17" y="149"/>
                  </a:lnTo>
                  <a:lnTo>
                    <a:pt x="19" y="150"/>
                  </a:lnTo>
                  <a:lnTo>
                    <a:pt x="23" y="152"/>
                  </a:lnTo>
                  <a:lnTo>
                    <a:pt x="25" y="153"/>
                  </a:lnTo>
                  <a:lnTo>
                    <a:pt x="27" y="156"/>
                  </a:lnTo>
                  <a:lnTo>
                    <a:pt x="32" y="156"/>
                  </a:lnTo>
                  <a:lnTo>
                    <a:pt x="37" y="158"/>
                  </a:lnTo>
                  <a:lnTo>
                    <a:pt x="39" y="159"/>
                  </a:lnTo>
                  <a:lnTo>
                    <a:pt x="39" y="161"/>
                  </a:lnTo>
                  <a:lnTo>
                    <a:pt x="37" y="161"/>
                  </a:lnTo>
                  <a:lnTo>
                    <a:pt x="36" y="161"/>
                  </a:lnTo>
                  <a:lnTo>
                    <a:pt x="32" y="159"/>
                  </a:lnTo>
                  <a:lnTo>
                    <a:pt x="26" y="158"/>
                  </a:lnTo>
                  <a:lnTo>
                    <a:pt x="25" y="158"/>
                  </a:lnTo>
                  <a:lnTo>
                    <a:pt x="22" y="156"/>
                  </a:lnTo>
                  <a:lnTo>
                    <a:pt x="20" y="156"/>
                  </a:lnTo>
                  <a:lnTo>
                    <a:pt x="17" y="158"/>
                  </a:lnTo>
                  <a:lnTo>
                    <a:pt x="15" y="159"/>
                  </a:lnTo>
                  <a:lnTo>
                    <a:pt x="12" y="158"/>
                  </a:lnTo>
                  <a:lnTo>
                    <a:pt x="9" y="161"/>
                  </a:lnTo>
                  <a:lnTo>
                    <a:pt x="6" y="162"/>
                  </a:lnTo>
                  <a:lnTo>
                    <a:pt x="5" y="165"/>
                  </a:lnTo>
                  <a:lnTo>
                    <a:pt x="3" y="168"/>
                  </a:lnTo>
                  <a:lnTo>
                    <a:pt x="0" y="171"/>
                  </a:lnTo>
                  <a:lnTo>
                    <a:pt x="0" y="172"/>
                  </a:lnTo>
                  <a:lnTo>
                    <a:pt x="2" y="175"/>
                  </a:lnTo>
                  <a:lnTo>
                    <a:pt x="3" y="175"/>
                  </a:lnTo>
                  <a:lnTo>
                    <a:pt x="5" y="173"/>
                  </a:lnTo>
                  <a:lnTo>
                    <a:pt x="6" y="172"/>
                  </a:lnTo>
                  <a:lnTo>
                    <a:pt x="6" y="169"/>
                  </a:lnTo>
                  <a:lnTo>
                    <a:pt x="7" y="168"/>
                  </a:lnTo>
                  <a:lnTo>
                    <a:pt x="9" y="169"/>
                  </a:lnTo>
                  <a:lnTo>
                    <a:pt x="9" y="169"/>
                  </a:lnTo>
                  <a:lnTo>
                    <a:pt x="7" y="171"/>
                  </a:lnTo>
                  <a:lnTo>
                    <a:pt x="7" y="173"/>
                  </a:lnTo>
                  <a:lnTo>
                    <a:pt x="9" y="173"/>
                  </a:lnTo>
                  <a:lnTo>
                    <a:pt x="12" y="175"/>
                  </a:lnTo>
                  <a:lnTo>
                    <a:pt x="16" y="175"/>
                  </a:lnTo>
                  <a:lnTo>
                    <a:pt x="22" y="175"/>
                  </a:lnTo>
                  <a:lnTo>
                    <a:pt x="26" y="175"/>
                  </a:lnTo>
                  <a:lnTo>
                    <a:pt x="32" y="173"/>
                  </a:lnTo>
                  <a:lnTo>
                    <a:pt x="36" y="173"/>
                  </a:lnTo>
                  <a:lnTo>
                    <a:pt x="39" y="173"/>
                  </a:lnTo>
                  <a:lnTo>
                    <a:pt x="40" y="172"/>
                  </a:lnTo>
                  <a:lnTo>
                    <a:pt x="42" y="171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8" y="172"/>
                  </a:lnTo>
                  <a:lnTo>
                    <a:pt x="52" y="176"/>
                  </a:lnTo>
                  <a:lnTo>
                    <a:pt x="55" y="178"/>
                  </a:lnTo>
                  <a:lnTo>
                    <a:pt x="58" y="179"/>
                  </a:lnTo>
                  <a:lnTo>
                    <a:pt x="56" y="181"/>
                  </a:lnTo>
                  <a:lnTo>
                    <a:pt x="58" y="183"/>
                  </a:lnTo>
                  <a:lnTo>
                    <a:pt x="59" y="183"/>
                  </a:lnTo>
                  <a:lnTo>
                    <a:pt x="59" y="185"/>
                  </a:lnTo>
                  <a:lnTo>
                    <a:pt x="56" y="183"/>
                  </a:lnTo>
                  <a:lnTo>
                    <a:pt x="53" y="182"/>
                  </a:lnTo>
                  <a:lnTo>
                    <a:pt x="50" y="181"/>
                  </a:lnTo>
                  <a:lnTo>
                    <a:pt x="48" y="178"/>
                  </a:lnTo>
                  <a:lnTo>
                    <a:pt x="46" y="176"/>
                  </a:lnTo>
                  <a:lnTo>
                    <a:pt x="43" y="175"/>
                  </a:lnTo>
                  <a:lnTo>
                    <a:pt x="40" y="176"/>
                  </a:lnTo>
                  <a:lnTo>
                    <a:pt x="36" y="176"/>
                  </a:lnTo>
                  <a:lnTo>
                    <a:pt x="33" y="176"/>
                  </a:lnTo>
                  <a:lnTo>
                    <a:pt x="30" y="178"/>
                  </a:lnTo>
                  <a:lnTo>
                    <a:pt x="27" y="178"/>
                  </a:lnTo>
                  <a:lnTo>
                    <a:pt x="25" y="176"/>
                  </a:lnTo>
                  <a:lnTo>
                    <a:pt x="23" y="178"/>
                  </a:lnTo>
                  <a:lnTo>
                    <a:pt x="22" y="181"/>
                  </a:lnTo>
                  <a:lnTo>
                    <a:pt x="26" y="185"/>
                  </a:lnTo>
                  <a:lnTo>
                    <a:pt x="33" y="189"/>
                  </a:lnTo>
                  <a:lnTo>
                    <a:pt x="40" y="195"/>
                  </a:lnTo>
                  <a:lnTo>
                    <a:pt x="42" y="196"/>
                  </a:lnTo>
                  <a:lnTo>
                    <a:pt x="40" y="198"/>
                  </a:lnTo>
                  <a:lnTo>
                    <a:pt x="39" y="198"/>
                  </a:lnTo>
                  <a:lnTo>
                    <a:pt x="35" y="195"/>
                  </a:lnTo>
                  <a:lnTo>
                    <a:pt x="29" y="191"/>
                  </a:lnTo>
                  <a:lnTo>
                    <a:pt x="27" y="189"/>
                  </a:lnTo>
                  <a:lnTo>
                    <a:pt x="26" y="188"/>
                  </a:lnTo>
                  <a:lnTo>
                    <a:pt x="26" y="191"/>
                  </a:lnTo>
                  <a:lnTo>
                    <a:pt x="26" y="192"/>
                  </a:lnTo>
                  <a:lnTo>
                    <a:pt x="25" y="193"/>
                  </a:lnTo>
                  <a:lnTo>
                    <a:pt x="23" y="191"/>
                  </a:lnTo>
                  <a:lnTo>
                    <a:pt x="20" y="191"/>
                  </a:lnTo>
                  <a:lnTo>
                    <a:pt x="19" y="191"/>
                  </a:lnTo>
                  <a:lnTo>
                    <a:pt x="17" y="192"/>
                  </a:lnTo>
                  <a:lnTo>
                    <a:pt x="17" y="195"/>
                  </a:lnTo>
                  <a:lnTo>
                    <a:pt x="23" y="198"/>
                  </a:lnTo>
                  <a:lnTo>
                    <a:pt x="32" y="199"/>
                  </a:lnTo>
                  <a:lnTo>
                    <a:pt x="36" y="202"/>
                  </a:lnTo>
                  <a:lnTo>
                    <a:pt x="45" y="209"/>
                  </a:lnTo>
                  <a:lnTo>
                    <a:pt x="53" y="219"/>
                  </a:lnTo>
                  <a:lnTo>
                    <a:pt x="56" y="224"/>
                  </a:lnTo>
                  <a:lnTo>
                    <a:pt x="59" y="226"/>
                  </a:lnTo>
                  <a:lnTo>
                    <a:pt x="60" y="228"/>
                  </a:lnTo>
                  <a:lnTo>
                    <a:pt x="63" y="228"/>
                  </a:lnTo>
                  <a:lnTo>
                    <a:pt x="65" y="226"/>
                  </a:lnTo>
                  <a:lnTo>
                    <a:pt x="66" y="225"/>
                  </a:lnTo>
                  <a:lnTo>
                    <a:pt x="69" y="224"/>
                  </a:lnTo>
                  <a:lnTo>
                    <a:pt x="78" y="221"/>
                  </a:lnTo>
                  <a:lnTo>
                    <a:pt x="82" y="218"/>
                  </a:lnTo>
                  <a:lnTo>
                    <a:pt x="86" y="215"/>
                  </a:lnTo>
                  <a:lnTo>
                    <a:pt x="90" y="209"/>
                  </a:lnTo>
                  <a:lnTo>
                    <a:pt x="93" y="209"/>
                  </a:lnTo>
                  <a:lnTo>
                    <a:pt x="95" y="211"/>
                  </a:lnTo>
                  <a:lnTo>
                    <a:pt x="96" y="211"/>
                  </a:lnTo>
                  <a:lnTo>
                    <a:pt x="98" y="208"/>
                  </a:lnTo>
                  <a:lnTo>
                    <a:pt x="96" y="206"/>
                  </a:lnTo>
                  <a:lnTo>
                    <a:pt x="99" y="203"/>
                  </a:lnTo>
                  <a:lnTo>
                    <a:pt x="102" y="205"/>
                  </a:lnTo>
                  <a:lnTo>
                    <a:pt x="105" y="205"/>
                  </a:lnTo>
                  <a:lnTo>
                    <a:pt x="108" y="203"/>
                  </a:lnTo>
                  <a:lnTo>
                    <a:pt x="112" y="201"/>
                  </a:lnTo>
                  <a:lnTo>
                    <a:pt x="115" y="201"/>
                  </a:lnTo>
                  <a:lnTo>
                    <a:pt x="116" y="201"/>
                  </a:lnTo>
                  <a:lnTo>
                    <a:pt x="118" y="199"/>
                  </a:lnTo>
                  <a:lnTo>
                    <a:pt x="122" y="196"/>
                  </a:lnTo>
                  <a:lnTo>
                    <a:pt x="129" y="195"/>
                  </a:lnTo>
                  <a:lnTo>
                    <a:pt x="135" y="195"/>
                  </a:lnTo>
                  <a:lnTo>
                    <a:pt x="143" y="196"/>
                  </a:lnTo>
                  <a:lnTo>
                    <a:pt x="154" y="196"/>
                  </a:lnTo>
                  <a:lnTo>
                    <a:pt x="159" y="193"/>
                  </a:lnTo>
                  <a:lnTo>
                    <a:pt x="162" y="195"/>
                  </a:lnTo>
                  <a:lnTo>
                    <a:pt x="166" y="195"/>
                  </a:lnTo>
                  <a:lnTo>
                    <a:pt x="169" y="196"/>
                  </a:lnTo>
                  <a:lnTo>
                    <a:pt x="169" y="195"/>
                  </a:lnTo>
                  <a:lnTo>
                    <a:pt x="171" y="193"/>
                  </a:lnTo>
                  <a:lnTo>
                    <a:pt x="172" y="192"/>
                  </a:lnTo>
                  <a:lnTo>
                    <a:pt x="174" y="192"/>
                  </a:lnTo>
                  <a:lnTo>
                    <a:pt x="174" y="193"/>
                  </a:lnTo>
                  <a:lnTo>
                    <a:pt x="175" y="193"/>
                  </a:lnTo>
                  <a:lnTo>
                    <a:pt x="175" y="192"/>
                  </a:lnTo>
                  <a:lnTo>
                    <a:pt x="175" y="188"/>
                  </a:lnTo>
                  <a:lnTo>
                    <a:pt x="176" y="185"/>
                  </a:lnTo>
                  <a:lnTo>
                    <a:pt x="179" y="181"/>
                  </a:lnTo>
                  <a:lnTo>
                    <a:pt x="179" y="178"/>
                  </a:lnTo>
                  <a:lnTo>
                    <a:pt x="179" y="175"/>
                  </a:lnTo>
                  <a:lnTo>
                    <a:pt x="178" y="173"/>
                  </a:lnTo>
                  <a:lnTo>
                    <a:pt x="175" y="173"/>
                  </a:lnTo>
                  <a:lnTo>
                    <a:pt x="174" y="171"/>
                  </a:lnTo>
                  <a:lnTo>
                    <a:pt x="174" y="169"/>
                  </a:lnTo>
                  <a:lnTo>
                    <a:pt x="174" y="159"/>
                  </a:lnTo>
                  <a:lnTo>
                    <a:pt x="172" y="153"/>
                  </a:lnTo>
                  <a:lnTo>
                    <a:pt x="172" y="149"/>
                  </a:lnTo>
                  <a:lnTo>
                    <a:pt x="172" y="145"/>
                  </a:lnTo>
                  <a:lnTo>
                    <a:pt x="172" y="142"/>
                  </a:lnTo>
                  <a:lnTo>
                    <a:pt x="171" y="138"/>
                  </a:lnTo>
                  <a:lnTo>
                    <a:pt x="172" y="133"/>
                  </a:lnTo>
                  <a:lnTo>
                    <a:pt x="172" y="129"/>
                  </a:lnTo>
                  <a:lnTo>
                    <a:pt x="174" y="126"/>
                  </a:lnTo>
                  <a:lnTo>
                    <a:pt x="175" y="125"/>
                  </a:lnTo>
                  <a:lnTo>
                    <a:pt x="174" y="120"/>
                  </a:lnTo>
                  <a:lnTo>
                    <a:pt x="174" y="120"/>
                  </a:lnTo>
                  <a:lnTo>
                    <a:pt x="175" y="119"/>
                  </a:lnTo>
                  <a:lnTo>
                    <a:pt x="176" y="119"/>
                  </a:lnTo>
                  <a:lnTo>
                    <a:pt x="178" y="120"/>
                  </a:lnTo>
                  <a:lnTo>
                    <a:pt x="182" y="122"/>
                  </a:lnTo>
                  <a:lnTo>
                    <a:pt x="182" y="120"/>
                  </a:lnTo>
                  <a:lnTo>
                    <a:pt x="184" y="119"/>
                  </a:lnTo>
                  <a:lnTo>
                    <a:pt x="184" y="116"/>
                  </a:lnTo>
                  <a:lnTo>
                    <a:pt x="185" y="116"/>
                  </a:lnTo>
                  <a:lnTo>
                    <a:pt x="188" y="116"/>
                  </a:lnTo>
                  <a:lnTo>
                    <a:pt x="189" y="116"/>
                  </a:lnTo>
                  <a:lnTo>
                    <a:pt x="191" y="115"/>
                  </a:lnTo>
                  <a:lnTo>
                    <a:pt x="191" y="113"/>
                  </a:lnTo>
                  <a:lnTo>
                    <a:pt x="192" y="113"/>
                  </a:lnTo>
                  <a:lnTo>
                    <a:pt x="195" y="113"/>
                  </a:lnTo>
                  <a:lnTo>
                    <a:pt x="195" y="112"/>
                  </a:lnTo>
                  <a:lnTo>
                    <a:pt x="196" y="110"/>
                  </a:lnTo>
                  <a:lnTo>
                    <a:pt x="195" y="106"/>
                  </a:lnTo>
                  <a:lnTo>
                    <a:pt x="192" y="106"/>
                  </a:lnTo>
                  <a:lnTo>
                    <a:pt x="191" y="106"/>
                  </a:lnTo>
                  <a:lnTo>
                    <a:pt x="191" y="105"/>
                  </a:lnTo>
                  <a:lnTo>
                    <a:pt x="191" y="103"/>
                  </a:lnTo>
                  <a:lnTo>
                    <a:pt x="194" y="102"/>
                  </a:lnTo>
                  <a:lnTo>
                    <a:pt x="194" y="100"/>
                  </a:lnTo>
                  <a:lnTo>
                    <a:pt x="194" y="99"/>
                  </a:lnTo>
                  <a:lnTo>
                    <a:pt x="192" y="99"/>
                  </a:lnTo>
                  <a:lnTo>
                    <a:pt x="192" y="97"/>
                  </a:lnTo>
                  <a:lnTo>
                    <a:pt x="194" y="96"/>
                  </a:lnTo>
                  <a:lnTo>
                    <a:pt x="194" y="95"/>
                  </a:lnTo>
                  <a:lnTo>
                    <a:pt x="192" y="93"/>
                  </a:lnTo>
                  <a:lnTo>
                    <a:pt x="192" y="92"/>
                  </a:lnTo>
                  <a:lnTo>
                    <a:pt x="192" y="90"/>
                  </a:lnTo>
                  <a:lnTo>
                    <a:pt x="195" y="89"/>
                  </a:lnTo>
                  <a:lnTo>
                    <a:pt x="195" y="87"/>
                  </a:lnTo>
                  <a:lnTo>
                    <a:pt x="192" y="87"/>
                  </a:lnTo>
                  <a:lnTo>
                    <a:pt x="189" y="89"/>
                  </a:lnTo>
                  <a:lnTo>
                    <a:pt x="188" y="87"/>
                  </a:lnTo>
                  <a:lnTo>
                    <a:pt x="186" y="87"/>
                  </a:lnTo>
                  <a:lnTo>
                    <a:pt x="185" y="87"/>
                  </a:lnTo>
                  <a:lnTo>
                    <a:pt x="182" y="86"/>
                  </a:lnTo>
                  <a:lnTo>
                    <a:pt x="179" y="86"/>
                  </a:lnTo>
                  <a:lnTo>
                    <a:pt x="179" y="85"/>
                  </a:lnTo>
                  <a:lnTo>
                    <a:pt x="179" y="83"/>
                  </a:lnTo>
                  <a:lnTo>
                    <a:pt x="179" y="82"/>
                  </a:lnTo>
                  <a:lnTo>
                    <a:pt x="176" y="77"/>
                  </a:lnTo>
                  <a:lnTo>
                    <a:pt x="174" y="75"/>
                  </a:lnTo>
                  <a:lnTo>
                    <a:pt x="171" y="72"/>
                  </a:lnTo>
                  <a:lnTo>
                    <a:pt x="171" y="7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25" name="Freeform 574"/>
            <p:cNvSpPr>
              <a:spLocks/>
            </p:cNvSpPr>
            <p:nvPr/>
          </p:nvSpPr>
          <p:spPr bwMode="auto">
            <a:xfrm>
              <a:off x="5432897" y="2370123"/>
              <a:ext cx="52509" cy="47625"/>
            </a:xfrm>
            <a:custGeom>
              <a:avLst/>
              <a:gdLst>
                <a:gd name="T0" fmla="*/ 80 w 86"/>
                <a:gd name="T1" fmla="*/ 47 h 73"/>
                <a:gd name="T2" fmla="*/ 84 w 86"/>
                <a:gd name="T3" fmla="*/ 37 h 73"/>
                <a:gd name="T4" fmla="*/ 86 w 86"/>
                <a:gd name="T5" fmla="*/ 34 h 73"/>
                <a:gd name="T6" fmla="*/ 77 w 86"/>
                <a:gd name="T7" fmla="*/ 27 h 73"/>
                <a:gd name="T8" fmla="*/ 70 w 86"/>
                <a:gd name="T9" fmla="*/ 17 h 73"/>
                <a:gd name="T10" fmla="*/ 63 w 86"/>
                <a:gd name="T11" fmla="*/ 13 h 73"/>
                <a:gd name="T12" fmla="*/ 54 w 86"/>
                <a:gd name="T13" fmla="*/ 13 h 73"/>
                <a:gd name="T14" fmla="*/ 50 w 86"/>
                <a:gd name="T15" fmla="*/ 14 h 73"/>
                <a:gd name="T16" fmla="*/ 47 w 86"/>
                <a:gd name="T17" fmla="*/ 11 h 73"/>
                <a:gd name="T18" fmla="*/ 44 w 86"/>
                <a:gd name="T19" fmla="*/ 8 h 73"/>
                <a:gd name="T20" fmla="*/ 40 w 86"/>
                <a:gd name="T21" fmla="*/ 7 h 73"/>
                <a:gd name="T22" fmla="*/ 34 w 86"/>
                <a:gd name="T23" fmla="*/ 5 h 73"/>
                <a:gd name="T24" fmla="*/ 30 w 86"/>
                <a:gd name="T25" fmla="*/ 0 h 73"/>
                <a:gd name="T26" fmla="*/ 21 w 86"/>
                <a:gd name="T27" fmla="*/ 0 h 73"/>
                <a:gd name="T28" fmla="*/ 16 w 86"/>
                <a:gd name="T29" fmla="*/ 0 h 73"/>
                <a:gd name="T30" fmla="*/ 13 w 86"/>
                <a:gd name="T31" fmla="*/ 3 h 73"/>
                <a:gd name="T32" fmla="*/ 7 w 86"/>
                <a:gd name="T33" fmla="*/ 3 h 73"/>
                <a:gd name="T34" fmla="*/ 4 w 86"/>
                <a:gd name="T35" fmla="*/ 0 h 73"/>
                <a:gd name="T36" fmla="*/ 1 w 86"/>
                <a:gd name="T37" fmla="*/ 0 h 73"/>
                <a:gd name="T38" fmla="*/ 6 w 86"/>
                <a:gd name="T39" fmla="*/ 4 h 73"/>
                <a:gd name="T40" fmla="*/ 8 w 86"/>
                <a:gd name="T41" fmla="*/ 13 h 73"/>
                <a:gd name="T42" fmla="*/ 7 w 86"/>
                <a:gd name="T43" fmla="*/ 16 h 73"/>
                <a:gd name="T44" fmla="*/ 3 w 86"/>
                <a:gd name="T45" fmla="*/ 16 h 73"/>
                <a:gd name="T46" fmla="*/ 6 w 86"/>
                <a:gd name="T47" fmla="*/ 20 h 73"/>
                <a:gd name="T48" fmla="*/ 8 w 86"/>
                <a:gd name="T49" fmla="*/ 27 h 73"/>
                <a:gd name="T50" fmla="*/ 4 w 86"/>
                <a:gd name="T51" fmla="*/ 30 h 73"/>
                <a:gd name="T52" fmla="*/ 0 w 86"/>
                <a:gd name="T53" fmla="*/ 33 h 73"/>
                <a:gd name="T54" fmla="*/ 7 w 86"/>
                <a:gd name="T55" fmla="*/ 40 h 73"/>
                <a:gd name="T56" fmla="*/ 13 w 86"/>
                <a:gd name="T57" fmla="*/ 44 h 73"/>
                <a:gd name="T58" fmla="*/ 20 w 86"/>
                <a:gd name="T59" fmla="*/ 46 h 73"/>
                <a:gd name="T60" fmla="*/ 26 w 86"/>
                <a:gd name="T61" fmla="*/ 48 h 73"/>
                <a:gd name="T62" fmla="*/ 27 w 86"/>
                <a:gd name="T63" fmla="*/ 47 h 73"/>
                <a:gd name="T64" fmla="*/ 30 w 86"/>
                <a:gd name="T65" fmla="*/ 48 h 73"/>
                <a:gd name="T66" fmla="*/ 36 w 86"/>
                <a:gd name="T67" fmla="*/ 53 h 73"/>
                <a:gd name="T68" fmla="*/ 38 w 86"/>
                <a:gd name="T69" fmla="*/ 61 h 73"/>
                <a:gd name="T70" fmla="*/ 37 w 86"/>
                <a:gd name="T71" fmla="*/ 64 h 73"/>
                <a:gd name="T72" fmla="*/ 33 w 86"/>
                <a:gd name="T73" fmla="*/ 60 h 73"/>
                <a:gd name="T74" fmla="*/ 28 w 86"/>
                <a:gd name="T75" fmla="*/ 58 h 73"/>
                <a:gd name="T76" fmla="*/ 26 w 86"/>
                <a:gd name="T77" fmla="*/ 61 h 73"/>
                <a:gd name="T78" fmla="*/ 24 w 86"/>
                <a:gd name="T79" fmla="*/ 63 h 73"/>
                <a:gd name="T80" fmla="*/ 24 w 86"/>
                <a:gd name="T81" fmla="*/ 66 h 73"/>
                <a:gd name="T82" fmla="*/ 26 w 86"/>
                <a:gd name="T83" fmla="*/ 67 h 73"/>
                <a:gd name="T84" fmla="*/ 26 w 86"/>
                <a:gd name="T85" fmla="*/ 70 h 73"/>
                <a:gd name="T86" fmla="*/ 33 w 86"/>
                <a:gd name="T87" fmla="*/ 71 h 73"/>
                <a:gd name="T88" fmla="*/ 50 w 86"/>
                <a:gd name="T89" fmla="*/ 73 h 73"/>
                <a:gd name="T90" fmla="*/ 61 w 86"/>
                <a:gd name="T91" fmla="*/ 69 h 73"/>
                <a:gd name="T92" fmla="*/ 64 w 86"/>
                <a:gd name="T93" fmla="*/ 66 h 73"/>
                <a:gd name="T94" fmla="*/ 66 w 86"/>
                <a:gd name="T95" fmla="*/ 60 h 73"/>
                <a:gd name="T96" fmla="*/ 71 w 86"/>
                <a:gd name="T97" fmla="*/ 57 h 73"/>
                <a:gd name="T98" fmla="*/ 77 w 86"/>
                <a:gd name="T99" fmla="*/ 5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6" h="73">
                  <a:moveTo>
                    <a:pt x="77" y="50"/>
                  </a:moveTo>
                  <a:lnTo>
                    <a:pt x="80" y="47"/>
                  </a:lnTo>
                  <a:lnTo>
                    <a:pt x="83" y="41"/>
                  </a:lnTo>
                  <a:lnTo>
                    <a:pt x="84" y="37"/>
                  </a:lnTo>
                  <a:lnTo>
                    <a:pt x="86" y="36"/>
                  </a:lnTo>
                  <a:lnTo>
                    <a:pt x="86" y="34"/>
                  </a:lnTo>
                  <a:lnTo>
                    <a:pt x="83" y="31"/>
                  </a:lnTo>
                  <a:lnTo>
                    <a:pt x="77" y="27"/>
                  </a:lnTo>
                  <a:lnTo>
                    <a:pt x="71" y="20"/>
                  </a:lnTo>
                  <a:lnTo>
                    <a:pt x="70" y="17"/>
                  </a:lnTo>
                  <a:lnTo>
                    <a:pt x="67" y="16"/>
                  </a:lnTo>
                  <a:lnTo>
                    <a:pt x="63" y="13"/>
                  </a:lnTo>
                  <a:lnTo>
                    <a:pt x="58" y="13"/>
                  </a:lnTo>
                  <a:lnTo>
                    <a:pt x="54" y="13"/>
                  </a:lnTo>
                  <a:lnTo>
                    <a:pt x="51" y="13"/>
                  </a:lnTo>
                  <a:lnTo>
                    <a:pt x="50" y="14"/>
                  </a:lnTo>
                  <a:lnTo>
                    <a:pt x="47" y="14"/>
                  </a:lnTo>
                  <a:lnTo>
                    <a:pt x="47" y="11"/>
                  </a:lnTo>
                  <a:lnTo>
                    <a:pt x="47" y="8"/>
                  </a:lnTo>
                  <a:lnTo>
                    <a:pt x="44" y="8"/>
                  </a:lnTo>
                  <a:lnTo>
                    <a:pt x="43" y="8"/>
                  </a:lnTo>
                  <a:lnTo>
                    <a:pt x="40" y="7"/>
                  </a:lnTo>
                  <a:lnTo>
                    <a:pt x="37" y="7"/>
                  </a:lnTo>
                  <a:lnTo>
                    <a:pt x="34" y="5"/>
                  </a:lnTo>
                  <a:lnTo>
                    <a:pt x="31" y="1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4" y="1"/>
                  </a:lnTo>
                  <a:lnTo>
                    <a:pt x="13" y="3"/>
                  </a:lnTo>
                  <a:lnTo>
                    <a:pt x="10" y="3"/>
                  </a:lnTo>
                  <a:lnTo>
                    <a:pt x="7" y="3"/>
                  </a:lnTo>
                  <a:lnTo>
                    <a:pt x="6" y="0"/>
                  </a:lnTo>
                  <a:lnTo>
                    <a:pt x="4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3" y="3"/>
                  </a:lnTo>
                  <a:lnTo>
                    <a:pt x="6" y="4"/>
                  </a:lnTo>
                  <a:lnTo>
                    <a:pt x="8" y="8"/>
                  </a:lnTo>
                  <a:lnTo>
                    <a:pt x="8" y="13"/>
                  </a:lnTo>
                  <a:lnTo>
                    <a:pt x="8" y="14"/>
                  </a:lnTo>
                  <a:lnTo>
                    <a:pt x="7" y="16"/>
                  </a:lnTo>
                  <a:lnTo>
                    <a:pt x="4" y="14"/>
                  </a:lnTo>
                  <a:lnTo>
                    <a:pt x="3" y="16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8" y="23"/>
                  </a:lnTo>
                  <a:lnTo>
                    <a:pt x="8" y="27"/>
                  </a:lnTo>
                  <a:lnTo>
                    <a:pt x="7" y="28"/>
                  </a:lnTo>
                  <a:lnTo>
                    <a:pt x="4" y="30"/>
                  </a:lnTo>
                  <a:lnTo>
                    <a:pt x="1" y="30"/>
                  </a:lnTo>
                  <a:lnTo>
                    <a:pt x="0" y="33"/>
                  </a:lnTo>
                  <a:lnTo>
                    <a:pt x="1" y="36"/>
                  </a:lnTo>
                  <a:lnTo>
                    <a:pt x="7" y="40"/>
                  </a:lnTo>
                  <a:lnTo>
                    <a:pt x="10" y="44"/>
                  </a:lnTo>
                  <a:lnTo>
                    <a:pt x="13" y="44"/>
                  </a:lnTo>
                  <a:lnTo>
                    <a:pt x="16" y="44"/>
                  </a:lnTo>
                  <a:lnTo>
                    <a:pt x="20" y="46"/>
                  </a:lnTo>
                  <a:lnTo>
                    <a:pt x="24" y="48"/>
                  </a:lnTo>
                  <a:lnTo>
                    <a:pt x="26" y="48"/>
                  </a:lnTo>
                  <a:lnTo>
                    <a:pt x="27" y="48"/>
                  </a:lnTo>
                  <a:lnTo>
                    <a:pt x="27" y="47"/>
                  </a:lnTo>
                  <a:lnTo>
                    <a:pt x="28" y="47"/>
                  </a:lnTo>
                  <a:lnTo>
                    <a:pt x="30" y="48"/>
                  </a:lnTo>
                  <a:lnTo>
                    <a:pt x="31" y="50"/>
                  </a:lnTo>
                  <a:lnTo>
                    <a:pt x="36" y="53"/>
                  </a:lnTo>
                  <a:lnTo>
                    <a:pt x="37" y="57"/>
                  </a:lnTo>
                  <a:lnTo>
                    <a:pt x="38" y="61"/>
                  </a:lnTo>
                  <a:lnTo>
                    <a:pt x="38" y="64"/>
                  </a:lnTo>
                  <a:lnTo>
                    <a:pt x="37" y="64"/>
                  </a:lnTo>
                  <a:lnTo>
                    <a:pt x="34" y="61"/>
                  </a:lnTo>
                  <a:lnTo>
                    <a:pt x="33" y="60"/>
                  </a:lnTo>
                  <a:lnTo>
                    <a:pt x="31" y="58"/>
                  </a:lnTo>
                  <a:lnTo>
                    <a:pt x="28" y="58"/>
                  </a:lnTo>
                  <a:lnTo>
                    <a:pt x="26" y="60"/>
                  </a:lnTo>
                  <a:lnTo>
                    <a:pt x="26" y="61"/>
                  </a:lnTo>
                  <a:lnTo>
                    <a:pt x="27" y="61"/>
                  </a:lnTo>
                  <a:lnTo>
                    <a:pt x="24" y="63"/>
                  </a:lnTo>
                  <a:lnTo>
                    <a:pt x="24" y="64"/>
                  </a:lnTo>
                  <a:lnTo>
                    <a:pt x="24" y="66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4" y="69"/>
                  </a:lnTo>
                  <a:lnTo>
                    <a:pt x="26" y="70"/>
                  </a:lnTo>
                  <a:lnTo>
                    <a:pt x="28" y="70"/>
                  </a:lnTo>
                  <a:lnTo>
                    <a:pt x="33" y="71"/>
                  </a:lnTo>
                  <a:lnTo>
                    <a:pt x="40" y="73"/>
                  </a:lnTo>
                  <a:lnTo>
                    <a:pt x="50" y="73"/>
                  </a:lnTo>
                  <a:lnTo>
                    <a:pt x="57" y="71"/>
                  </a:lnTo>
                  <a:lnTo>
                    <a:pt x="61" y="69"/>
                  </a:lnTo>
                  <a:lnTo>
                    <a:pt x="64" y="67"/>
                  </a:lnTo>
                  <a:lnTo>
                    <a:pt x="64" y="66"/>
                  </a:lnTo>
                  <a:lnTo>
                    <a:pt x="64" y="63"/>
                  </a:lnTo>
                  <a:lnTo>
                    <a:pt x="66" y="60"/>
                  </a:lnTo>
                  <a:lnTo>
                    <a:pt x="69" y="60"/>
                  </a:lnTo>
                  <a:lnTo>
                    <a:pt x="71" y="57"/>
                  </a:lnTo>
                  <a:lnTo>
                    <a:pt x="76" y="54"/>
                  </a:lnTo>
                  <a:lnTo>
                    <a:pt x="77" y="50"/>
                  </a:lnTo>
                  <a:lnTo>
                    <a:pt x="77" y="5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26" name="Freeform 575"/>
            <p:cNvSpPr>
              <a:spLocks/>
            </p:cNvSpPr>
            <p:nvPr/>
          </p:nvSpPr>
          <p:spPr bwMode="auto">
            <a:xfrm>
              <a:off x="5424349" y="2427008"/>
              <a:ext cx="14654" cy="15875"/>
            </a:xfrm>
            <a:custGeom>
              <a:avLst/>
              <a:gdLst>
                <a:gd name="T0" fmla="*/ 18 w 25"/>
                <a:gd name="T1" fmla="*/ 11 h 24"/>
                <a:gd name="T2" fmla="*/ 15 w 25"/>
                <a:gd name="T3" fmla="*/ 8 h 24"/>
                <a:gd name="T4" fmla="*/ 10 w 25"/>
                <a:gd name="T5" fmla="*/ 4 h 24"/>
                <a:gd name="T6" fmla="*/ 5 w 25"/>
                <a:gd name="T7" fmla="*/ 1 h 24"/>
                <a:gd name="T8" fmla="*/ 2 w 25"/>
                <a:gd name="T9" fmla="*/ 0 h 24"/>
                <a:gd name="T10" fmla="*/ 0 w 25"/>
                <a:gd name="T11" fmla="*/ 0 h 24"/>
                <a:gd name="T12" fmla="*/ 0 w 25"/>
                <a:gd name="T13" fmla="*/ 1 h 24"/>
                <a:gd name="T14" fmla="*/ 0 w 25"/>
                <a:gd name="T15" fmla="*/ 1 h 24"/>
                <a:gd name="T16" fmla="*/ 3 w 25"/>
                <a:gd name="T17" fmla="*/ 3 h 24"/>
                <a:gd name="T18" fmla="*/ 10 w 25"/>
                <a:gd name="T19" fmla="*/ 8 h 24"/>
                <a:gd name="T20" fmla="*/ 16 w 25"/>
                <a:gd name="T21" fmla="*/ 13 h 24"/>
                <a:gd name="T22" fmla="*/ 16 w 25"/>
                <a:gd name="T23" fmla="*/ 15 h 24"/>
                <a:gd name="T24" fmla="*/ 16 w 25"/>
                <a:gd name="T25" fmla="*/ 17 h 24"/>
                <a:gd name="T26" fmla="*/ 16 w 25"/>
                <a:gd name="T27" fmla="*/ 18 h 24"/>
                <a:gd name="T28" fmla="*/ 18 w 25"/>
                <a:gd name="T29" fmla="*/ 20 h 24"/>
                <a:gd name="T30" fmla="*/ 19 w 25"/>
                <a:gd name="T31" fmla="*/ 21 h 24"/>
                <a:gd name="T32" fmla="*/ 22 w 25"/>
                <a:gd name="T33" fmla="*/ 24 h 24"/>
                <a:gd name="T34" fmla="*/ 23 w 25"/>
                <a:gd name="T35" fmla="*/ 24 h 24"/>
                <a:gd name="T36" fmla="*/ 25 w 25"/>
                <a:gd name="T37" fmla="*/ 24 h 24"/>
                <a:gd name="T38" fmla="*/ 25 w 25"/>
                <a:gd name="T39" fmla="*/ 23 h 24"/>
                <a:gd name="T40" fmla="*/ 23 w 25"/>
                <a:gd name="T41" fmla="*/ 21 h 24"/>
                <a:gd name="T42" fmla="*/ 21 w 25"/>
                <a:gd name="T43" fmla="*/ 18 h 24"/>
                <a:gd name="T44" fmla="*/ 19 w 25"/>
                <a:gd name="T45" fmla="*/ 15 h 24"/>
                <a:gd name="T46" fmla="*/ 18 w 25"/>
                <a:gd name="T47" fmla="*/ 11 h 24"/>
                <a:gd name="T48" fmla="*/ 18 w 25"/>
                <a:gd name="T49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" h="24">
                  <a:moveTo>
                    <a:pt x="18" y="11"/>
                  </a:moveTo>
                  <a:lnTo>
                    <a:pt x="15" y="8"/>
                  </a:lnTo>
                  <a:lnTo>
                    <a:pt x="10" y="4"/>
                  </a:lnTo>
                  <a:lnTo>
                    <a:pt x="5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3" y="3"/>
                  </a:lnTo>
                  <a:lnTo>
                    <a:pt x="10" y="8"/>
                  </a:lnTo>
                  <a:lnTo>
                    <a:pt x="16" y="13"/>
                  </a:lnTo>
                  <a:lnTo>
                    <a:pt x="16" y="15"/>
                  </a:lnTo>
                  <a:lnTo>
                    <a:pt x="16" y="17"/>
                  </a:lnTo>
                  <a:lnTo>
                    <a:pt x="16" y="18"/>
                  </a:lnTo>
                  <a:lnTo>
                    <a:pt x="18" y="20"/>
                  </a:lnTo>
                  <a:lnTo>
                    <a:pt x="19" y="21"/>
                  </a:lnTo>
                  <a:lnTo>
                    <a:pt x="22" y="24"/>
                  </a:lnTo>
                  <a:lnTo>
                    <a:pt x="23" y="24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3" y="21"/>
                  </a:lnTo>
                  <a:lnTo>
                    <a:pt x="21" y="18"/>
                  </a:lnTo>
                  <a:lnTo>
                    <a:pt x="19" y="15"/>
                  </a:lnTo>
                  <a:lnTo>
                    <a:pt x="18" y="11"/>
                  </a:lnTo>
                  <a:lnTo>
                    <a:pt x="18" y="1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27" name="Freeform 576"/>
            <p:cNvSpPr>
              <a:spLocks/>
            </p:cNvSpPr>
            <p:nvPr/>
          </p:nvSpPr>
          <p:spPr bwMode="auto">
            <a:xfrm>
              <a:off x="5442666" y="2441560"/>
              <a:ext cx="15875" cy="7937"/>
            </a:xfrm>
            <a:custGeom>
              <a:avLst/>
              <a:gdLst>
                <a:gd name="T0" fmla="*/ 12 w 25"/>
                <a:gd name="T1" fmla="*/ 2 h 11"/>
                <a:gd name="T2" fmla="*/ 11 w 25"/>
                <a:gd name="T3" fmla="*/ 2 h 11"/>
                <a:gd name="T4" fmla="*/ 7 w 25"/>
                <a:gd name="T5" fmla="*/ 5 h 11"/>
                <a:gd name="T6" fmla="*/ 5 w 25"/>
                <a:gd name="T7" fmla="*/ 4 h 11"/>
                <a:gd name="T8" fmla="*/ 2 w 25"/>
                <a:gd name="T9" fmla="*/ 2 h 11"/>
                <a:gd name="T10" fmla="*/ 0 w 25"/>
                <a:gd name="T11" fmla="*/ 2 h 11"/>
                <a:gd name="T12" fmla="*/ 0 w 25"/>
                <a:gd name="T13" fmla="*/ 5 h 11"/>
                <a:gd name="T14" fmla="*/ 8 w 25"/>
                <a:gd name="T15" fmla="*/ 10 h 11"/>
                <a:gd name="T16" fmla="*/ 12 w 25"/>
                <a:gd name="T17" fmla="*/ 11 h 11"/>
                <a:gd name="T18" fmla="*/ 14 w 25"/>
                <a:gd name="T19" fmla="*/ 10 h 11"/>
                <a:gd name="T20" fmla="*/ 14 w 25"/>
                <a:gd name="T21" fmla="*/ 8 h 11"/>
                <a:gd name="T22" fmla="*/ 15 w 25"/>
                <a:gd name="T23" fmla="*/ 7 h 11"/>
                <a:gd name="T24" fmla="*/ 18 w 25"/>
                <a:gd name="T25" fmla="*/ 7 h 11"/>
                <a:gd name="T26" fmla="*/ 18 w 25"/>
                <a:gd name="T27" fmla="*/ 4 h 11"/>
                <a:gd name="T28" fmla="*/ 18 w 25"/>
                <a:gd name="T29" fmla="*/ 4 h 11"/>
                <a:gd name="T30" fmla="*/ 20 w 25"/>
                <a:gd name="T31" fmla="*/ 2 h 11"/>
                <a:gd name="T32" fmla="*/ 22 w 25"/>
                <a:gd name="T33" fmla="*/ 2 h 11"/>
                <a:gd name="T34" fmla="*/ 25 w 25"/>
                <a:gd name="T35" fmla="*/ 2 h 11"/>
                <a:gd name="T36" fmla="*/ 25 w 25"/>
                <a:gd name="T37" fmla="*/ 1 h 11"/>
                <a:gd name="T38" fmla="*/ 25 w 25"/>
                <a:gd name="T39" fmla="*/ 1 h 11"/>
                <a:gd name="T40" fmla="*/ 21 w 25"/>
                <a:gd name="T41" fmla="*/ 1 h 11"/>
                <a:gd name="T42" fmla="*/ 20 w 25"/>
                <a:gd name="T43" fmla="*/ 0 h 11"/>
                <a:gd name="T44" fmla="*/ 15 w 25"/>
                <a:gd name="T45" fmla="*/ 1 h 11"/>
                <a:gd name="T46" fmla="*/ 14 w 25"/>
                <a:gd name="T47" fmla="*/ 2 h 11"/>
                <a:gd name="T48" fmla="*/ 12 w 25"/>
                <a:gd name="T49" fmla="*/ 2 h 11"/>
                <a:gd name="T50" fmla="*/ 12 w 25"/>
                <a:gd name="T51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" h="11">
                  <a:moveTo>
                    <a:pt x="12" y="2"/>
                  </a:moveTo>
                  <a:lnTo>
                    <a:pt x="11" y="2"/>
                  </a:lnTo>
                  <a:lnTo>
                    <a:pt x="7" y="5"/>
                  </a:lnTo>
                  <a:lnTo>
                    <a:pt x="5" y="4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8" y="10"/>
                  </a:lnTo>
                  <a:lnTo>
                    <a:pt x="12" y="11"/>
                  </a:lnTo>
                  <a:lnTo>
                    <a:pt x="14" y="10"/>
                  </a:lnTo>
                  <a:lnTo>
                    <a:pt x="14" y="8"/>
                  </a:lnTo>
                  <a:lnTo>
                    <a:pt x="15" y="7"/>
                  </a:lnTo>
                  <a:lnTo>
                    <a:pt x="18" y="7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20" y="2"/>
                  </a:lnTo>
                  <a:lnTo>
                    <a:pt x="22" y="2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1" y="1"/>
                  </a:lnTo>
                  <a:lnTo>
                    <a:pt x="20" y="0"/>
                  </a:lnTo>
                  <a:lnTo>
                    <a:pt x="15" y="1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2" y="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28" name="Freeform 577"/>
            <p:cNvSpPr>
              <a:spLocks/>
            </p:cNvSpPr>
            <p:nvPr/>
          </p:nvSpPr>
          <p:spPr bwMode="auto">
            <a:xfrm>
              <a:off x="5040910" y="2903254"/>
              <a:ext cx="13433" cy="17198"/>
            </a:xfrm>
            <a:custGeom>
              <a:avLst/>
              <a:gdLst>
                <a:gd name="T0" fmla="*/ 20 w 21"/>
                <a:gd name="T1" fmla="*/ 12 h 26"/>
                <a:gd name="T2" fmla="*/ 14 w 21"/>
                <a:gd name="T3" fmla="*/ 9 h 26"/>
                <a:gd name="T4" fmla="*/ 11 w 21"/>
                <a:gd name="T5" fmla="*/ 7 h 26"/>
                <a:gd name="T6" fmla="*/ 8 w 21"/>
                <a:gd name="T7" fmla="*/ 6 h 26"/>
                <a:gd name="T8" fmla="*/ 8 w 21"/>
                <a:gd name="T9" fmla="*/ 2 h 26"/>
                <a:gd name="T10" fmla="*/ 8 w 21"/>
                <a:gd name="T11" fmla="*/ 2 h 26"/>
                <a:gd name="T12" fmla="*/ 7 w 21"/>
                <a:gd name="T13" fmla="*/ 0 h 26"/>
                <a:gd name="T14" fmla="*/ 3 w 21"/>
                <a:gd name="T15" fmla="*/ 3 h 26"/>
                <a:gd name="T16" fmla="*/ 1 w 21"/>
                <a:gd name="T17" fmla="*/ 4 h 26"/>
                <a:gd name="T18" fmla="*/ 1 w 21"/>
                <a:gd name="T19" fmla="*/ 6 h 26"/>
                <a:gd name="T20" fmla="*/ 4 w 21"/>
                <a:gd name="T21" fmla="*/ 6 h 26"/>
                <a:gd name="T22" fmla="*/ 5 w 21"/>
                <a:gd name="T23" fmla="*/ 6 h 26"/>
                <a:gd name="T24" fmla="*/ 7 w 21"/>
                <a:gd name="T25" fmla="*/ 7 h 26"/>
                <a:gd name="T26" fmla="*/ 7 w 21"/>
                <a:gd name="T27" fmla="*/ 9 h 26"/>
                <a:gd name="T28" fmla="*/ 7 w 21"/>
                <a:gd name="T29" fmla="*/ 12 h 26"/>
                <a:gd name="T30" fmla="*/ 5 w 21"/>
                <a:gd name="T31" fmla="*/ 13 h 26"/>
                <a:gd name="T32" fmla="*/ 4 w 21"/>
                <a:gd name="T33" fmla="*/ 13 h 26"/>
                <a:gd name="T34" fmla="*/ 3 w 21"/>
                <a:gd name="T35" fmla="*/ 13 h 26"/>
                <a:gd name="T36" fmla="*/ 1 w 21"/>
                <a:gd name="T37" fmla="*/ 10 h 26"/>
                <a:gd name="T38" fmla="*/ 0 w 21"/>
                <a:gd name="T39" fmla="*/ 9 h 26"/>
                <a:gd name="T40" fmla="*/ 0 w 21"/>
                <a:gd name="T41" fmla="*/ 12 h 26"/>
                <a:gd name="T42" fmla="*/ 3 w 21"/>
                <a:gd name="T43" fmla="*/ 17 h 26"/>
                <a:gd name="T44" fmla="*/ 7 w 21"/>
                <a:gd name="T45" fmla="*/ 23 h 26"/>
                <a:gd name="T46" fmla="*/ 10 w 21"/>
                <a:gd name="T47" fmla="*/ 26 h 26"/>
                <a:gd name="T48" fmla="*/ 13 w 21"/>
                <a:gd name="T49" fmla="*/ 26 h 26"/>
                <a:gd name="T50" fmla="*/ 14 w 21"/>
                <a:gd name="T51" fmla="*/ 26 h 26"/>
                <a:gd name="T52" fmla="*/ 14 w 21"/>
                <a:gd name="T53" fmla="*/ 23 h 26"/>
                <a:gd name="T54" fmla="*/ 13 w 21"/>
                <a:gd name="T55" fmla="*/ 22 h 26"/>
                <a:gd name="T56" fmla="*/ 13 w 21"/>
                <a:gd name="T57" fmla="*/ 19 h 26"/>
                <a:gd name="T58" fmla="*/ 13 w 21"/>
                <a:gd name="T59" fmla="*/ 17 h 26"/>
                <a:gd name="T60" fmla="*/ 15 w 21"/>
                <a:gd name="T61" fmla="*/ 17 h 26"/>
                <a:gd name="T62" fmla="*/ 18 w 21"/>
                <a:gd name="T63" fmla="*/ 16 h 26"/>
                <a:gd name="T64" fmla="*/ 21 w 21"/>
                <a:gd name="T65" fmla="*/ 14 h 26"/>
                <a:gd name="T66" fmla="*/ 21 w 21"/>
                <a:gd name="T67" fmla="*/ 13 h 26"/>
                <a:gd name="T68" fmla="*/ 20 w 21"/>
                <a:gd name="T69" fmla="*/ 12 h 26"/>
                <a:gd name="T70" fmla="*/ 20 w 21"/>
                <a:gd name="T71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" h="26">
                  <a:moveTo>
                    <a:pt x="20" y="12"/>
                  </a:moveTo>
                  <a:lnTo>
                    <a:pt x="14" y="9"/>
                  </a:lnTo>
                  <a:lnTo>
                    <a:pt x="11" y="7"/>
                  </a:lnTo>
                  <a:lnTo>
                    <a:pt x="8" y="6"/>
                  </a:lnTo>
                  <a:lnTo>
                    <a:pt x="8" y="2"/>
                  </a:lnTo>
                  <a:lnTo>
                    <a:pt x="8" y="2"/>
                  </a:lnTo>
                  <a:lnTo>
                    <a:pt x="7" y="0"/>
                  </a:lnTo>
                  <a:lnTo>
                    <a:pt x="3" y="3"/>
                  </a:lnTo>
                  <a:lnTo>
                    <a:pt x="1" y="4"/>
                  </a:lnTo>
                  <a:lnTo>
                    <a:pt x="1" y="6"/>
                  </a:lnTo>
                  <a:lnTo>
                    <a:pt x="4" y="6"/>
                  </a:lnTo>
                  <a:lnTo>
                    <a:pt x="5" y="6"/>
                  </a:lnTo>
                  <a:lnTo>
                    <a:pt x="7" y="7"/>
                  </a:lnTo>
                  <a:lnTo>
                    <a:pt x="7" y="9"/>
                  </a:lnTo>
                  <a:lnTo>
                    <a:pt x="7" y="12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1" y="1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3" y="17"/>
                  </a:lnTo>
                  <a:lnTo>
                    <a:pt x="7" y="23"/>
                  </a:lnTo>
                  <a:lnTo>
                    <a:pt x="10" y="26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4" y="23"/>
                  </a:lnTo>
                  <a:lnTo>
                    <a:pt x="13" y="22"/>
                  </a:lnTo>
                  <a:lnTo>
                    <a:pt x="13" y="19"/>
                  </a:lnTo>
                  <a:lnTo>
                    <a:pt x="13" y="17"/>
                  </a:lnTo>
                  <a:lnTo>
                    <a:pt x="15" y="17"/>
                  </a:lnTo>
                  <a:lnTo>
                    <a:pt x="18" y="16"/>
                  </a:lnTo>
                  <a:lnTo>
                    <a:pt x="21" y="14"/>
                  </a:lnTo>
                  <a:lnTo>
                    <a:pt x="21" y="13"/>
                  </a:lnTo>
                  <a:lnTo>
                    <a:pt x="20" y="12"/>
                  </a:lnTo>
                  <a:lnTo>
                    <a:pt x="20" y="1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29" name="Freeform 578"/>
            <p:cNvSpPr>
              <a:spLocks/>
            </p:cNvSpPr>
            <p:nvPr/>
          </p:nvSpPr>
          <p:spPr bwMode="auto">
            <a:xfrm>
              <a:off x="5589203" y="2454789"/>
              <a:ext cx="128220" cy="174623"/>
            </a:xfrm>
            <a:custGeom>
              <a:avLst/>
              <a:gdLst>
                <a:gd name="T0" fmla="*/ 207 w 210"/>
                <a:gd name="T1" fmla="*/ 125 h 265"/>
                <a:gd name="T2" fmla="*/ 205 w 210"/>
                <a:gd name="T3" fmla="*/ 108 h 265"/>
                <a:gd name="T4" fmla="*/ 184 w 210"/>
                <a:gd name="T5" fmla="*/ 98 h 265"/>
                <a:gd name="T6" fmla="*/ 182 w 210"/>
                <a:gd name="T7" fmla="*/ 100 h 265"/>
                <a:gd name="T8" fmla="*/ 179 w 210"/>
                <a:gd name="T9" fmla="*/ 93 h 265"/>
                <a:gd name="T10" fmla="*/ 172 w 210"/>
                <a:gd name="T11" fmla="*/ 75 h 265"/>
                <a:gd name="T12" fmla="*/ 159 w 210"/>
                <a:gd name="T13" fmla="*/ 68 h 265"/>
                <a:gd name="T14" fmla="*/ 157 w 210"/>
                <a:gd name="T15" fmla="*/ 49 h 265"/>
                <a:gd name="T16" fmla="*/ 150 w 210"/>
                <a:gd name="T17" fmla="*/ 40 h 265"/>
                <a:gd name="T18" fmla="*/ 146 w 210"/>
                <a:gd name="T19" fmla="*/ 50 h 265"/>
                <a:gd name="T20" fmla="*/ 140 w 210"/>
                <a:gd name="T21" fmla="*/ 46 h 265"/>
                <a:gd name="T22" fmla="*/ 134 w 210"/>
                <a:gd name="T23" fmla="*/ 55 h 265"/>
                <a:gd name="T24" fmla="*/ 121 w 210"/>
                <a:gd name="T25" fmla="*/ 66 h 265"/>
                <a:gd name="T26" fmla="*/ 113 w 210"/>
                <a:gd name="T27" fmla="*/ 96 h 265"/>
                <a:gd name="T28" fmla="*/ 106 w 210"/>
                <a:gd name="T29" fmla="*/ 108 h 265"/>
                <a:gd name="T30" fmla="*/ 114 w 210"/>
                <a:gd name="T31" fmla="*/ 80 h 265"/>
                <a:gd name="T32" fmla="*/ 116 w 210"/>
                <a:gd name="T33" fmla="*/ 45 h 265"/>
                <a:gd name="T34" fmla="*/ 124 w 210"/>
                <a:gd name="T35" fmla="*/ 26 h 265"/>
                <a:gd name="T36" fmla="*/ 119 w 210"/>
                <a:gd name="T37" fmla="*/ 16 h 265"/>
                <a:gd name="T38" fmla="*/ 101 w 210"/>
                <a:gd name="T39" fmla="*/ 5 h 265"/>
                <a:gd name="T40" fmla="*/ 94 w 210"/>
                <a:gd name="T41" fmla="*/ 15 h 265"/>
                <a:gd name="T42" fmla="*/ 93 w 210"/>
                <a:gd name="T43" fmla="*/ 35 h 265"/>
                <a:gd name="T44" fmla="*/ 83 w 210"/>
                <a:gd name="T45" fmla="*/ 13 h 265"/>
                <a:gd name="T46" fmla="*/ 73 w 210"/>
                <a:gd name="T47" fmla="*/ 16 h 265"/>
                <a:gd name="T48" fmla="*/ 73 w 210"/>
                <a:gd name="T49" fmla="*/ 36 h 265"/>
                <a:gd name="T50" fmla="*/ 61 w 210"/>
                <a:gd name="T51" fmla="*/ 50 h 265"/>
                <a:gd name="T52" fmla="*/ 66 w 210"/>
                <a:gd name="T53" fmla="*/ 56 h 265"/>
                <a:gd name="T54" fmla="*/ 61 w 210"/>
                <a:gd name="T55" fmla="*/ 70 h 265"/>
                <a:gd name="T56" fmla="*/ 76 w 210"/>
                <a:gd name="T57" fmla="*/ 82 h 265"/>
                <a:gd name="T58" fmla="*/ 56 w 210"/>
                <a:gd name="T59" fmla="*/ 76 h 265"/>
                <a:gd name="T60" fmla="*/ 50 w 210"/>
                <a:gd name="T61" fmla="*/ 100 h 265"/>
                <a:gd name="T62" fmla="*/ 53 w 210"/>
                <a:gd name="T63" fmla="*/ 113 h 265"/>
                <a:gd name="T64" fmla="*/ 64 w 210"/>
                <a:gd name="T65" fmla="*/ 121 h 265"/>
                <a:gd name="T66" fmla="*/ 46 w 210"/>
                <a:gd name="T67" fmla="*/ 109 h 265"/>
                <a:gd name="T68" fmla="*/ 36 w 210"/>
                <a:gd name="T69" fmla="*/ 139 h 265"/>
                <a:gd name="T70" fmla="*/ 36 w 210"/>
                <a:gd name="T71" fmla="*/ 146 h 265"/>
                <a:gd name="T72" fmla="*/ 28 w 210"/>
                <a:gd name="T73" fmla="*/ 164 h 265"/>
                <a:gd name="T74" fmla="*/ 24 w 210"/>
                <a:gd name="T75" fmla="*/ 178 h 265"/>
                <a:gd name="T76" fmla="*/ 23 w 210"/>
                <a:gd name="T77" fmla="*/ 198 h 265"/>
                <a:gd name="T78" fmla="*/ 3 w 210"/>
                <a:gd name="T79" fmla="*/ 252 h 265"/>
                <a:gd name="T80" fmla="*/ 5 w 210"/>
                <a:gd name="T81" fmla="*/ 261 h 265"/>
                <a:gd name="T82" fmla="*/ 11 w 210"/>
                <a:gd name="T83" fmla="*/ 259 h 265"/>
                <a:gd name="T84" fmla="*/ 44 w 210"/>
                <a:gd name="T85" fmla="*/ 244 h 265"/>
                <a:gd name="T86" fmla="*/ 81 w 210"/>
                <a:gd name="T87" fmla="*/ 218 h 265"/>
                <a:gd name="T88" fmla="*/ 99 w 210"/>
                <a:gd name="T89" fmla="*/ 218 h 265"/>
                <a:gd name="T90" fmla="*/ 119 w 210"/>
                <a:gd name="T91" fmla="*/ 215 h 265"/>
                <a:gd name="T92" fmla="*/ 127 w 210"/>
                <a:gd name="T93" fmla="*/ 222 h 265"/>
                <a:gd name="T94" fmla="*/ 129 w 210"/>
                <a:gd name="T95" fmla="*/ 221 h 265"/>
                <a:gd name="T96" fmla="*/ 136 w 210"/>
                <a:gd name="T97" fmla="*/ 209 h 265"/>
                <a:gd name="T98" fmla="*/ 150 w 210"/>
                <a:gd name="T99" fmla="*/ 204 h 265"/>
                <a:gd name="T100" fmla="*/ 169 w 210"/>
                <a:gd name="T101" fmla="*/ 195 h 265"/>
                <a:gd name="T102" fmla="*/ 190 w 210"/>
                <a:gd name="T103" fmla="*/ 189 h 265"/>
                <a:gd name="T104" fmla="*/ 206 w 210"/>
                <a:gd name="T105" fmla="*/ 162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10" h="265">
                  <a:moveTo>
                    <a:pt x="210" y="151"/>
                  </a:moveTo>
                  <a:lnTo>
                    <a:pt x="210" y="145"/>
                  </a:lnTo>
                  <a:lnTo>
                    <a:pt x="207" y="138"/>
                  </a:lnTo>
                  <a:lnTo>
                    <a:pt x="207" y="135"/>
                  </a:lnTo>
                  <a:lnTo>
                    <a:pt x="207" y="129"/>
                  </a:lnTo>
                  <a:lnTo>
                    <a:pt x="207" y="125"/>
                  </a:lnTo>
                  <a:lnTo>
                    <a:pt x="207" y="121"/>
                  </a:lnTo>
                  <a:lnTo>
                    <a:pt x="206" y="118"/>
                  </a:lnTo>
                  <a:lnTo>
                    <a:pt x="205" y="118"/>
                  </a:lnTo>
                  <a:lnTo>
                    <a:pt x="205" y="116"/>
                  </a:lnTo>
                  <a:lnTo>
                    <a:pt x="206" y="112"/>
                  </a:lnTo>
                  <a:lnTo>
                    <a:pt x="205" y="108"/>
                  </a:lnTo>
                  <a:lnTo>
                    <a:pt x="202" y="103"/>
                  </a:lnTo>
                  <a:lnTo>
                    <a:pt x="199" y="99"/>
                  </a:lnTo>
                  <a:lnTo>
                    <a:pt x="193" y="96"/>
                  </a:lnTo>
                  <a:lnTo>
                    <a:pt x="189" y="95"/>
                  </a:lnTo>
                  <a:lnTo>
                    <a:pt x="186" y="96"/>
                  </a:lnTo>
                  <a:lnTo>
                    <a:pt x="184" y="98"/>
                  </a:lnTo>
                  <a:lnTo>
                    <a:pt x="184" y="100"/>
                  </a:lnTo>
                  <a:lnTo>
                    <a:pt x="184" y="103"/>
                  </a:lnTo>
                  <a:lnTo>
                    <a:pt x="183" y="105"/>
                  </a:lnTo>
                  <a:lnTo>
                    <a:pt x="182" y="105"/>
                  </a:lnTo>
                  <a:lnTo>
                    <a:pt x="182" y="103"/>
                  </a:lnTo>
                  <a:lnTo>
                    <a:pt x="182" y="100"/>
                  </a:lnTo>
                  <a:lnTo>
                    <a:pt x="179" y="99"/>
                  </a:lnTo>
                  <a:lnTo>
                    <a:pt x="174" y="98"/>
                  </a:lnTo>
                  <a:lnTo>
                    <a:pt x="173" y="98"/>
                  </a:lnTo>
                  <a:lnTo>
                    <a:pt x="176" y="96"/>
                  </a:lnTo>
                  <a:lnTo>
                    <a:pt x="177" y="95"/>
                  </a:lnTo>
                  <a:lnTo>
                    <a:pt x="179" y="93"/>
                  </a:lnTo>
                  <a:lnTo>
                    <a:pt x="177" y="92"/>
                  </a:lnTo>
                  <a:lnTo>
                    <a:pt x="174" y="90"/>
                  </a:lnTo>
                  <a:lnTo>
                    <a:pt x="174" y="89"/>
                  </a:lnTo>
                  <a:lnTo>
                    <a:pt x="174" y="88"/>
                  </a:lnTo>
                  <a:lnTo>
                    <a:pt x="174" y="82"/>
                  </a:lnTo>
                  <a:lnTo>
                    <a:pt x="172" y="75"/>
                  </a:lnTo>
                  <a:lnTo>
                    <a:pt x="169" y="70"/>
                  </a:lnTo>
                  <a:lnTo>
                    <a:pt x="166" y="70"/>
                  </a:lnTo>
                  <a:lnTo>
                    <a:pt x="163" y="70"/>
                  </a:lnTo>
                  <a:lnTo>
                    <a:pt x="160" y="70"/>
                  </a:lnTo>
                  <a:lnTo>
                    <a:pt x="160" y="69"/>
                  </a:lnTo>
                  <a:lnTo>
                    <a:pt x="159" y="68"/>
                  </a:lnTo>
                  <a:lnTo>
                    <a:pt x="159" y="65"/>
                  </a:lnTo>
                  <a:lnTo>
                    <a:pt x="156" y="60"/>
                  </a:lnTo>
                  <a:lnTo>
                    <a:pt x="156" y="58"/>
                  </a:lnTo>
                  <a:lnTo>
                    <a:pt x="157" y="52"/>
                  </a:lnTo>
                  <a:lnTo>
                    <a:pt x="157" y="50"/>
                  </a:lnTo>
                  <a:lnTo>
                    <a:pt x="157" y="49"/>
                  </a:lnTo>
                  <a:lnTo>
                    <a:pt x="156" y="49"/>
                  </a:lnTo>
                  <a:lnTo>
                    <a:pt x="154" y="47"/>
                  </a:lnTo>
                  <a:lnTo>
                    <a:pt x="152" y="47"/>
                  </a:lnTo>
                  <a:lnTo>
                    <a:pt x="152" y="43"/>
                  </a:lnTo>
                  <a:lnTo>
                    <a:pt x="152" y="40"/>
                  </a:lnTo>
                  <a:lnTo>
                    <a:pt x="150" y="40"/>
                  </a:lnTo>
                  <a:lnTo>
                    <a:pt x="149" y="42"/>
                  </a:lnTo>
                  <a:lnTo>
                    <a:pt x="149" y="45"/>
                  </a:lnTo>
                  <a:lnTo>
                    <a:pt x="149" y="46"/>
                  </a:lnTo>
                  <a:lnTo>
                    <a:pt x="146" y="47"/>
                  </a:lnTo>
                  <a:lnTo>
                    <a:pt x="146" y="49"/>
                  </a:lnTo>
                  <a:lnTo>
                    <a:pt x="146" y="50"/>
                  </a:lnTo>
                  <a:lnTo>
                    <a:pt x="143" y="50"/>
                  </a:lnTo>
                  <a:lnTo>
                    <a:pt x="143" y="49"/>
                  </a:lnTo>
                  <a:lnTo>
                    <a:pt x="144" y="40"/>
                  </a:lnTo>
                  <a:lnTo>
                    <a:pt x="141" y="40"/>
                  </a:lnTo>
                  <a:lnTo>
                    <a:pt x="140" y="42"/>
                  </a:lnTo>
                  <a:lnTo>
                    <a:pt x="140" y="46"/>
                  </a:lnTo>
                  <a:lnTo>
                    <a:pt x="139" y="50"/>
                  </a:lnTo>
                  <a:lnTo>
                    <a:pt x="139" y="53"/>
                  </a:lnTo>
                  <a:lnTo>
                    <a:pt x="137" y="55"/>
                  </a:lnTo>
                  <a:lnTo>
                    <a:pt x="136" y="55"/>
                  </a:lnTo>
                  <a:lnTo>
                    <a:pt x="134" y="53"/>
                  </a:lnTo>
                  <a:lnTo>
                    <a:pt x="134" y="55"/>
                  </a:lnTo>
                  <a:lnTo>
                    <a:pt x="134" y="58"/>
                  </a:lnTo>
                  <a:lnTo>
                    <a:pt x="133" y="60"/>
                  </a:lnTo>
                  <a:lnTo>
                    <a:pt x="131" y="63"/>
                  </a:lnTo>
                  <a:lnTo>
                    <a:pt x="129" y="65"/>
                  </a:lnTo>
                  <a:lnTo>
                    <a:pt x="126" y="66"/>
                  </a:lnTo>
                  <a:lnTo>
                    <a:pt x="121" y="66"/>
                  </a:lnTo>
                  <a:lnTo>
                    <a:pt x="120" y="70"/>
                  </a:lnTo>
                  <a:lnTo>
                    <a:pt x="117" y="82"/>
                  </a:lnTo>
                  <a:lnTo>
                    <a:pt x="116" y="89"/>
                  </a:lnTo>
                  <a:lnTo>
                    <a:pt x="114" y="92"/>
                  </a:lnTo>
                  <a:lnTo>
                    <a:pt x="114" y="95"/>
                  </a:lnTo>
                  <a:lnTo>
                    <a:pt x="113" y="96"/>
                  </a:lnTo>
                  <a:lnTo>
                    <a:pt x="113" y="99"/>
                  </a:lnTo>
                  <a:lnTo>
                    <a:pt x="111" y="100"/>
                  </a:lnTo>
                  <a:lnTo>
                    <a:pt x="110" y="105"/>
                  </a:lnTo>
                  <a:lnTo>
                    <a:pt x="109" y="108"/>
                  </a:lnTo>
                  <a:lnTo>
                    <a:pt x="107" y="108"/>
                  </a:lnTo>
                  <a:lnTo>
                    <a:pt x="106" y="108"/>
                  </a:lnTo>
                  <a:lnTo>
                    <a:pt x="106" y="106"/>
                  </a:lnTo>
                  <a:lnTo>
                    <a:pt x="107" y="102"/>
                  </a:lnTo>
                  <a:lnTo>
                    <a:pt x="110" y="96"/>
                  </a:lnTo>
                  <a:lnTo>
                    <a:pt x="111" y="90"/>
                  </a:lnTo>
                  <a:lnTo>
                    <a:pt x="114" y="86"/>
                  </a:lnTo>
                  <a:lnTo>
                    <a:pt x="114" y="80"/>
                  </a:lnTo>
                  <a:lnTo>
                    <a:pt x="114" y="68"/>
                  </a:lnTo>
                  <a:lnTo>
                    <a:pt x="113" y="63"/>
                  </a:lnTo>
                  <a:lnTo>
                    <a:pt x="114" y="58"/>
                  </a:lnTo>
                  <a:lnTo>
                    <a:pt x="117" y="53"/>
                  </a:lnTo>
                  <a:lnTo>
                    <a:pt x="116" y="49"/>
                  </a:lnTo>
                  <a:lnTo>
                    <a:pt x="116" y="45"/>
                  </a:lnTo>
                  <a:lnTo>
                    <a:pt x="117" y="37"/>
                  </a:lnTo>
                  <a:lnTo>
                    <a:pt x="120" y="32"/>
                  </a:lnTo>
                  <a:lnTo>
                    <a:pt x="120" y="29"/>
                  </a:lnTo>
                  <a:lnTo>
                    <a:pt x="120" y="27"/>
                  </a:lnTo>
                  <a:lnTo>
                    <a:pt x="121" y="26"/>
                  </a:lnTo>
                  <a:lnTo>
                    <a:pt x="124" y="26"/>
                  </a:lnTo>
                  <a:lnTo>
                    <a:pt x="126" y="22"/>
                  </a:lnTo>
                  <a:lnTo>
                    <a:pt x="127" y="19"/>
                  </a:lnTo>
                  <a:lnTo>
                    <a:pt x="127" y="17"/>
                  </a:lnTo>
                  <a:lnTo>
                    <a:pt x="124" y="17"/>
                  </a:lnTo>
                  <a:lnTo>
                    <a:pt x="120" y="17"/>
                  </a:lnTo>
                  <a:lnTo>
                    <a:pt x="119" y="16"/>
                  </a:lnTo>
                  <a:lnTo>
                    <a:pt x="116" y="9"/>
                  </a:lnTo>
                  <a:lnTo>
                    <a:pt x="111" y="5"/>
                  </a:lnTo>
                  <a:lnTo>
                    <a:pt x="106" y="3"/>
                  </a:lnTo>
                  <a:lnTo>
                    <a:pt x="104" y="5"/>
                  </a:lnTo>
                  <a:lnTo>
                    <a:pt x="103" y="5"/>
                  </a:lnTo>
                  <a:lnTo>
                    <a:pt x="101" y="5"/>
                  </a:lnTo>
                  <a:lnTo>
                    <a:pt x="101" y="2"/>
                  </a:lnTo>
                  <a:lnTo>
                    <a:pt x="101" y="0"/>
                  </a:lnTo>
                  <a:lnTo>
                    <a:pt x="100" y="0"/>
                  </a:lnTo>
                  <a:lnTo>
                    <a:pt x="96" y="3"/>
                  </a:lnTo>
                  <a:lnTo>
                    <a:pt x="94" y="9"/>
                  </a:lnTo>
                  <a:lnTo>
                    <a:pt x="94" y="15"/>
                  </a:lnTo>
                  <a:lnTo>
                    <a:pt x="94" y="22"/>
                  </a:lnTo>
                  <a:lnTo>
                    <a:pt x="96" y="26"/>
                  </a:lnTo>
                  <a:lnTo>
                    <a:pt x="97" y="30"/>
                  </a:lnTo>
                  <a:lnTo>
                    <a:pt x="97" y="33"/>
                  </a:lnTo>
                  <a:lnTo>
                    <a:pt x="97" y="35"/>
                  </a:lnTo>
                  <a:lnTo>
                    <a:pt x="93" y="35"/>
                  </a:lnTo>
                  <a:lnTo>
                    <a:pt x="91" y="33"/>
                  </a:lnTo>
                  <a:lnTo>
                    <a:pt x="89" y="32"/>
                  </a:lnTo>
                  <a:lnTo>
                    <a:pt x="84" y="29"/>
                  </a:lnTo>
                  <a:lnTo>
                    <a:pt x="84" y="25"/>
                  </a:lnTo>
                  <a:lnTo>
                    <a:pt x="84" y="17"/>
                  </a:lnTo>
                  <a:lnTo>
                    <a:pt x="83" y="13"/>
                  </a:lnTo>
                  <a:lnTo>
                    <a:pt x="81" y="12"/>
                  </a:lnTo>
                  <a:lnTo>
                    <a:pt x="80" y="12"/>
                  </a:lnTo>
                  <a:lnTo>
                    <a:pt x="78" y="13"/>
                  </a:lnTo>
                  <a:lnTo>
                    <a:pt x="76" y="15"/>
                  </a:lnTo>
                  <a:lnTo>
                    <a:pt x="74" y="15"/>
                  </a:lnTo>
                  <a:lnTo>
                    <a:pt x="73" y="16"/>
                  </a:lnTo>
                  <a:lnTo>
                    <a:pt x="73" y="22"/>
                  </a:lnTo>
                  <a:lnTo>
                    <a:pt x="73" y="29"/>
                  </a:lnTo>
                  <a:lnTo>
                    <a:pt x="74" y="32"/>
                  </a:lnTo>
                  <a:lnTo>
                    <a:pt x="74" y="33"/>
                  </a:lnTo>
                  <a:lnTo>
                    <a:pt x="74" y="35"/>
                  </a:lnTo>
                  <a:lnTo>
                    <a:pt x="73" y="36"/>
                  </a:lnTo>
                  <a:lnTo>
                    <a:pt x="70" y="35"/>
                  </a:lnTo>
                  <a:lnTo>
                    <a:pt x="68" y="35"/>
                  </a:lnTo>
                  <a:lnTo>
                    <a:pt x="66" y="36"/>
                  </a:lnTo>
                  <a:lnTo>
                    <a:pt x="64" y="43"/>
                  </a:lnTo>
                  <a:lnTo>
                    <a:pt x="63" y="47"/>
                  </a:lnTo>
                  <a:lnTo>
                    <a:pt x="61" y="50"/>
                  </a:lnTo>
                  <a:lnTo>
                    <a:pt x="61" y="52"/>
                  </a:lnTo>
                  <a:lnTo>
                    <a:pt x="66" y="52"/>
                  </a:lnTo>
                  <a:lnTo>
                    <a:pt x="68" y="53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6" y="56"/>
                  </a:lnTo>
                  <a:lnTo>
                    <a:pt x="61" y="55"/>
                  </a:lnTo>
                  <a:lnTo>
                    <a:pt x="60" y="56"/>
                  </a:lnTo>
                  <a:lnTo>
                    <a:pt x="57" y="62"/>
                  </a:lnTo>
                  <a:lnTo>
                    <a:pt x="57" y="66"/>
                  </a:lnTo>
                  <a:lnTo>
                    <a:pt x="58" y="69"/>
                  </a:lnTo>
                  <a:lnTo>
                    <a:pt x="61" y="70"/>
                  </a:lnTo>
                  <a:lnTo>
                    <a:pt x="67" y="73"/>
                  </a:lnTo>
                  <a:lnTo>
                    <a:pt x="71" y="78"/>
                  </a:lnTo>
                  <a:lnTo>
                    <a:pt x="76" y="80"/>
                  </a:lnTo>
                  <a:lnTo>
                    <a:pt x="78" y="80"/>
                  </a:lnTo>
                  <a:lnTo>
                    <a:pt x="78" y="83"/>
                  </a:lnTo>
                  <a:lnTo>
                    <a:pt x="76" y="82"/>
                  </a:lnTo>
                  <a:lnTo>
                    <a:pt x="71" y="82"/>
                  </a:lnTo>
                  <a:lnTo>
                    <a:pt x="67" y="79"/>
                  </a:lnTo>
                  <a:lnTo>
                    <a:pt x="64" y="75"/>
                  </a:lnTo>
                  <a:lnTo>
                    <a:pt x="58" y="73"/>
                  </a:lnTo>
                  <a:lnTo>
                    <a:pt x="57" y="73"/>
                  </a:lnTo>
                  <a:lnTo>
                    <a:pt x="56" y="76"/>
                  </a:lnTo>
                  <a:lnTo>
                    <a:pt x="53" y="85"/>
                  </a:lnTo>
                  <a:lnTo>
                    <a:pt x="50" y="95"/>
                  </a:lnTo>
                  <a:lnTo>
                    <a:pt x="50" y="96"/>
                  </a:lnTo>
                  <a:lnTo>
                    <a:pt x="48" y="98"/>
                  </a:lnTo>
                  <a:lnTo>
                    <a:pt x="50" y="99"/>
                  </a:lnTo>
                  <a:lnTo>
                    <a:pt x="50" y="100"/>
                  </a:lnTo>
                  <a:lnTo>
                    <a:pt x="48" y="102"/>
                  </a:lnTo>
                  <a:lnTo>
                    <a:pt x="50" y="103"/>
                  </a:lnTo>
                  <a:lnTo>
                    <a:pt x="51" y="105"/>
                  </a:lnTo>
                  <a:lnTo>
                    <a:pt x="50" y="108"/>
                  </a:lnTo>
                  <a:lnTo>
                    <a:pt x="50" y="111"/>
                  </a:lnTo>
                  <a:lnTo>
                    <a:pt x="53" y="113"/>
                  </a:lnTo>
                  <a:lnTo>
                    <a:pt x="60" y="116"/>
                  </a:lnTo>
                  <a:lnTo>
                    <a:pt x="64" y="116"/>
                  </a:lnTo>
                  <a:lnTo>
                    <a:pt x="67" y="118"/>
                  </a:lnTo>
                  <a:lnTo>
                    <a:pt x="67" y="119"/>
                  </a:lnTo>
                  <a:lnTo>
                    <a:pt x="66" y="119"/>
                  </a:lnTo>
                  <a:lnTo>
                    <a:pt x="64" y="121"/>
                  </a:lnTo>
                  <a:lnTo>
                    <a:pt x="63" y="121"/>
                  </a:lnTo>
                  <a:lnTo>
                    <a:pt x="61" y="119"/>
                  </a:lnTo>
                  <a:lnTo>
                    <a:pt x="57" y="118"/>
                  </a:lnTo>
                  <a:lnTo>
                    <a:pt x="53" y="116"/>
                  </a:lnTo>
                  <a:lnTo>
                    <a:pt x="47" y="111"/>
                  </a:lnTo>
                  <a:lnTo>
                    <a:pt x="46" y="109"/>
                  </a:lnTo>
                  <a:lnTo>
                    <a:pt x="44" y="111"/>
                  </a:lnTo>
                  <a:lnTo>
                    <a:pt x="41" y="116"/>
                  </a:lnTo>
                  <a:lnTo>
                    <a:pt x="36" y="125"/>
                  </a:lnTo>
                  <a:lnTo>
                    <a:pt x="36" y="132"/>
                  </a:lnTo>
                  <a:lnTo>
                    <a:pt x="36" y="136"/>
                  </a:lnTo>
                  <a:lnTo>
                    <a:pt x="36" y="139"/>
                  </a:lnTo>
                  <a:lnTo>
                    <a:pt x="34" y="141"/>
                  </a:lnTo>
                  <a:lnTo>
                    <a:pt x="34" y="141"/>
                  </a:lnTo>
                  <a:lnTo>
                    <a:pt x="33" y="142"/>
                  </a:lnTo>
                  <a:lnTo>
                    <a:pt x="34" y="143"/>
                  </a:lnTo>
                  <a:lnTo>
                    <a:pt x="36" y="143"/>
                  </a:lnTo>
                  <a:lnTo>
                    <a:pt x="36" y="146"/>
                  </a:lnTo>
                  <a:lnTo>
                    <a:pt x="31" y="152"/>
                  </a:lnTo>
                  <a:lnTo>
                    <a:pt x="31" y="155"/>
                  </a:lnTo>
                  <a:lnTo>
                    <a:pt x="31" y="161"/>
                  </a:lnTo>
                  <a:lnTo>
                    <a:pt x="31" y="162"/>
                  </a:lnTo>
                  <a:lnTo>
                    <a:pt x="28" y="164"/>
                  </a:lnTo>
                  <a:lnTo>
                    <a:pt x="28" y="164"/>
                  </a:lnTo>
                  <a:lnTo>
                    <a:pt x="30" y="166"/>
                  </a:lnTo>
                  <a:lnTo>
                    <a:pt x="30" y="168"/>
                  </a:lnTo>
                  <a:lnTo>
                    <a:pt x="30" y="172"/>
                  </a:lnTo>
                  <a:lnTo>
                    <a:pt x="28" y="176"/>
                  </a:lnTo>
                  <a:lnTo>
                    <a:pt x="27" y="178"/>
                  </a:lnTo>
                  <a:lnTo>
                    <a:pt x="24" y="178"/>
                  </a:lnTo>
                  <a:lnTo>
                    <a:pt x="24" y="179"/>
                  </a:lnTo>
                  <a:lnTo>
                    <a:pt x="24" y="182"/>
                  </a:lnTo>
                  <a:lnTo>
                    <a:pt x="25" y="188"/>
                  </a:lnTo>
                  <a:lnTo>
                    <a:pt x="25" y="191"/>
                  </a:lnTo>
                  <a:lnTo>
                    <a:pt x="25" y="194"/>
                  </a:lnTo>
                  <a:lnTo>
                    <a:pt x="23" y="198"/>
                  </a:lnTo>
                  <a:lnTo>
                    <a:pt x="18" y="204"/>
                  </a:lnTo>
                  <a:lnTo>
                    <a:pt x="5" y="231"/>
                  </a:lnTo>
                  <a:lnTo>
                    <a:pt x="0" y="242"/>
                  </a:lnTo>
                  <a:lnTo>
                    <a:pt x="0" y="244"/>
                  </a:lnTo>
                  <a:lnTo>
                    <a:pt x="0" y="248"/>
                  </a:lnTo>
                  <a:lnTo>
                    <a:pt x="3" y="252"/>
                  </a:lnTo>
                  <a:lnTo>
                    <a:pt x="3" y="254"/>
                  </a:lnTo>
                  <a:lnTo>
                    <a:pt x="3" y="257"/>
                  </a:lnTo>
                  <a:lnTo>
                    <a:pt x="1" y="258"/>
                  </a:lnTo>
                  <a:lnTo>
                    <a:pt x="4" y="259"/>
                  </a:lnTo>
                  <a:lnTo>
                    <a:pt x="5" y="259"/>
                  </a:lnTo>
                  <a:lnTo>
                    <a:pt x="5" y="261"/>
                  </a:lnTo>
                  <a:lnTo>
                    <a:pt x="5" y="264"/>
                  </a:lnTo>
                  <a:lnTo>
                    <a:pt x="7" y="265"/>
                  </a:lnTo>
                  <a:lnTo>
                    <a:pt x="10" y="264"/>
                  </a:lnTo>
                  <a:lnTo>
                    <a:pt x="10" y="261"/>
                  </a:lnTo>
                  <a:lnTo>
                    <a:pt x="11" y="259"/>
                  </a:lnTo>
                  <a:lnTo>
                    <a:pt x="11" y="259"/>
                  </a:lnTo>
                  <a:lnTo>
                    <a:pt x="14" y="261"/>
                  </a:lnTo>
                  <a:lnTo>
                    <a:pt x="17" y="262"/>
                  </a:lnTo>
                  <a:lnTo>
                    <a:pt x="20" y="262"/>
                  </a:lnTo>
                  <a:lnTo>
                    <a:pt x="24" y="259"/>
                  </a:lnTo>
                  <a:lnTo>
                    <a:pt x="34" y="251"/>
                  </a:lnTo>
                  <a:lnTo>
                    <a:pt x="44" y="244"/>
                  </a:lnTo>
                  <a:lnTo>
                    <a:pt x="56" y="234"/>
                  </a:lnTo>
                  <a:lnTo>
                    <a:pt x="63" y="225"/>
                  </a:lnTo>
                  <a:lnTo>
                    <a:pt x="67" y="221"/>
                  </a:lnTo>
                  <a:lnTo>
                    <a:pt x="71" y="218"/>
                  </a:lnTo>
                  <a:lnTo>
                    <a:pt x="77" y="218"/>
                  </a:lnTo>
                  <a:lnTo>
                    <a:pt x="81" y="218"/>
                  </a:lnTo>
                  <a:lnTo>
                    <a:pt x="84" y="218"/>
                  </a:lnTo>
                  <a:lnTo>
                    <a:pt x="89" y="218"/>
                  </a:lnTo>
                  <a:lnTo>
                    <a:pt x="93" y="218"/>
                  </a:lnTo>
                  <a:lnTo>
                    <a:pt x="96" y="219"/>
                  </a:lnTo>
                  <a:lnTo>
                    <a:pt x="97" y="219"/>
                  </a:lnTo>
                  <a:lnTo>
                    <a:pt x="99" y="218"/>
                  </a:lnTo>
                  <a:lnTo>
                    <a:pt x="101" y="216"/>
                  </a:lnTo>
                  <a:lnTo>
                    <a:pt x="104" y="215"/>
                  </a:lnTo>
                  <a:lnTo>
                    <a:pt x="110" y="215"/>
                  </a:lnTo>
                  <a:lnTo>
                    <a:pt x="113" y="214"/>
                  </a:lnTo>
                  <a:lnTo>
                    <a:pt x="116" y="215"/>
                  </a:lnTo>
                  <a:lnTo>
                    <a:pt x="119" y="215"/>
                  </a:lnTo>
                  <a:lnTo>
                    <a:pt x="120" y="219"/>
                  </a:lnTo>
                  <a:lnTo>
                    <a:pt x="120" y="221"/>
                  </a:lnTo>
                  <a:lnTo>
                    <a:pt x="121" y="222"/>
                  </a:lnTo>
                  <a:lnTo>
                    <a:pt x="124" y="222"/>
                  </a:lnTo>
                  <a:lnTo>
                    <a:pt x="126" y="222"/>
                  </a:lnTo>
                  <a:lnTo>
                    <a:pt x="127" y="222"/>
                  </a:lnTo>
                  <a:lnTo>
                    <a:pt x="127" y="222"/>
                  </a:lnTo>
                  <a:lnTo>
                    <a:pt x="126" y="227"/>
                  </a:lnTo>
                  <a:lnTo>
                    <a:pt x="126" y="227"/>
                  </a:lnTo>
                  <a:lnTo>
                    <a:pt x="129" y="227"/>
                  </a:lnTo>
                  <a:lnTo>
                    <a:pt x="130" y="222"/>
                  </a:lnTo>
                  <a:lnTo>
                    <a:pt x="129" y="221"/>
                  </a:lnTo>
                  <a:lnTo>
                    <a:pt x="127" y="219"/>
                  </a:lnTo>
                  <a:lnTo>
                    <a:pt x="127" y="215"/>
                  </a:lnTo>
                  <a:lnTo>
                    <a:pt x="127" y="214"/>
                  </a:lnTo>
                  <a:lnTo>
                    <a:pt x="129" y="211"/>
                  </a:lnTo>
                  <a:lnTo>
                    <a:pt x="131" y="209"/>
                  </a:lnTo>
                  <a:lnTo>
                    <a:pt x="136" y="209"/>
                  </a:lnTo>
                  <a:lnTo>
                    <a:pt x="137" y="211"/>
                  </a:lnTo>
                  <a:lnTo>
                    <a:pt x="139" y="211"/>
                  </a:lnTo>
                  <a:lnTo>
                    <a:pt x="141" y="208"/>
                  </a:lnTo>
                  <a:lnTo>
                    <a:pt x="143" y="205"/>
                  </a:lnTo>
                  <a:lnTo>
                    <a:pt x="146" y="204"/>
                  </a:lnTo>
                  <a:lnTo>
                    <a:pt x="150" y="204"/>
                  </a:lnTo>
                  <a:lnTo>
                    <a:pt x="154" y="205"/>
                  </a:lnTo>
                  <a:lnTo>
                    <a:pt x="157" y="205"/>
                  </a:lnTo>
                  <a:lnTo>
                    <a:pt x="159" y="205"/>
                  </a:lnTo>
                  <a:lnTo>
                    <a:pt x="160" y="204"/>
                  </a:lnTo>
                  <a:lnTo>
                    <a:pt x="160" y="202"/>
                  </a:lnTo>
                  <a:lnTo>
                    <a:pt x="169" y="195"/>
                  </a:lnTo>
                  <a:lnTo>
                    <a:pt x="174" y="192"/>
                  </a:lnTo>
                  <a:lnTo>
                    <a:pt x="177" y="191"/>
                  </a:lnTo>
                  <a:lnTo>
                    <a:pt x="180" y="191"/>
                  </a:lnTo>
                  <a:lnTo>
                    <a:pt x="183" y="191"/>
                  </a:lnTo>
                  <a:lnTo>
                    <a:pt x="187" y="188"/>
                  </a:lnTo>
                  <a:lnTo>
                    <a:pt x="190" y="189"/>
                  </a:lnTo>
                  <a:lnTo>
                    <a:pt x="192" y="191"/>
                  </a:lnTo>
                  <a:lnTo>
                    <a:pt x="194" y="191"/>
                  </a:lnTo>
                  <a:lnTo>
                    <a:pt x="196" y="188"/>
                  </a:lnTo>
                  <a:lnTo>
                    <a:pt x="200" y="182"/>
                  </a:lnTo>
                  <a:lnTo>
                    <a:pt x="203" y="169"/>
                  </a:lnTo>
                  <a:lnTo>
                    <a:pt x="206" y="162"/>
                  </a:lnTo>
                  <a:lnTo>
                    <a:pt x="210" y="151"/>
                  </a:lnTo>
                  <a:lnTo>
                    <a:pt x="210" y="15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30" name="Freeform 579"/>
            <p:cNvSpPr>
              <a:spLocks/>
            </p:cNvSpPr>
            <p:nvPr/>
          </p:nvSpPr>
          <p:spPr bwMode="auto">
            <a:xfrm>
              <a:off x="5744288" y="2587080"/>
              <a:ext cx="28086" cy="17198"/>
            </a:xfrm>
            <a:custGeom>
              <a:avLst/>
              <a:gdLst>
                <a:gd name="T0" fmla="*/ 44 w 45"/>
                <a:gd name="T1" fmla="*/ 15 h 26"/>
                <a:gd name="T2" fmla="*/ 45 w 45"/>
                <a:gd name="T3" fmla="*/ 10 h 26"/>
                <a:gd name="T4" fmla="*/ 44 w 45"/>
                <a:gd name="T5" fmla="*/ 8 h 26"/>
                <a:gd name="T6" fmla="*/ 44 w 45"/>
                <a:gd name="T7" fmla="*/ 7 h 26"/>
                <a:gd name="T8" fmla="*/ 41 w 45"/>
                <a:gd name="T9" fmla="*/ 8 h 26"/>
                <a:gd name="T10" fmla="*/ 40 w 45"/>
                <a:gd name="T11" fmla="*/ 7 h 26"/>
                <a:gd name="T12" fmla="*/ 41 w 45"/>
                <a:gd name="T13" fmla="*/ 5 h 26"/>
                <a:gd name="T14" fmla="*/ 43 w 45"/>
                <a:gd name="T15" fmla="*/ 4 h 26"/>
                <a:gd name="T16" fmla="*/ 43 w 45"/>
                <a:gd name="T17" fmla="*/ 3 h 26"/>
                <a:gd name="T18" fmla="*/ 40 w 45"/>
                <a:gd name="T19" fmla="*/ 0 h 26"/>
                <a:gd name="T20" fmla="*/ 35 w 45"/>
                <a:gd name="T21" fmla="*/ 0 h 26"/>
                <a:gd name="T22" fmla="*/ 34 w 45"/>
                <a:gd name="T23" fmla="*/ 0 h 26"/>
                <a:gd name="T24" fmla="*/ 28 w 45"/>
                <a:gd name="T25" fmla="*/ 5 h 26"/>
                <a:gd name="T26" fmla="*/ 28 w 45"/>
                <a:gd name="T27" fmla="*/ 7 h 26"/>
                <a:gd name="T28" fmla="*/ 24 w 45"/>
                <a:gd name="T29" fmla="*/ 7 h 26"/>
                <a:gd name="T30" fmla="*/ 21 w 45"/>
                <a:gd name="T31" fmla="*/ 7 h 26"/>
                <a:gd name="T32" fmla="*/ 20 w 45"/>
                <a:gd name="T33" fmla="*/ 8 h 26"/>
                <a:gd name="T34" fmla="*/ 18 w 45"/>
                <a:gd name="T35" fmla="*/ 8 h 26"/>
                <a:gd name="T36" fmla="*/ 15 w 45"/>
                <a:gd name="T37" fmla="*/ 7 h 26"/>
                <a:gd name="T38" fmla="*/ 14 w 45"/>
                <a:gd name="T39" fmla="*/ 7 h 26"/>
                <a:gd name="T40" fmla="*/ 13 w 45"/>
                <a:gd name="T41" fmla="*/ 7 h 26"/>
                <a:gd name="T42" fmla="*/ 10 w 45"/>
                <a:gd name="T43" fmla="*/ 8 h 26"/>
                <a:gd name="T44" fmla="*/ 7 w 45"/>
                <a:gd name="T45" fmla="*/ 10 h 26"/>
                <a:gd name="T46" fmla="*/ 2 w 45"/>
                <a:gd name="T47" fmla="*/ 10 h 26"/>
                <a:gd name="T48" fmla="*/ 1 w 45"/>
                <a:gd name="T49" fmla="*/ 11 h 26"/>
                <a:gd name="T50" fmla="*/ 0 w 45"/>
                <a:gd name="T51" fmla="*/ 14 h 26"/>
                <a:gd name="T52" fmla="*/ 1 w 45"/>
                <a:gd name="T53" fmla="*/ 17 h 26"/>
                <a:gd name="T54" fmla="*/ 7 w 45"/>
                <a:gd name="T55" fmla="*/ 20 h 26"/>
                <a:gd name="T56" fmla="*/ 13 w 45"/>
                <a:gd name="T57" fmla="*/ 20 h 26"/>
                <a:gd name="T58" fmla="*/ 23 w 45"/>
                <a:gd name="T59" fmla="*/ 21 h 26"/>
                <a:gd name="T60" fmla="*/ 30 w 45"/>
                <a:gd name="T61" fmla="*/ 23 h 26"/>
                <a:gd name="T62" fmla="*/ 33 w 45"/>
                <a:gd name="T63" fmla="*/ 23 h 26"/>
                <a:gd name="T64" fmla="*/ 34 w 45"/>
                <a:gd name="T65" fmla="*/ 20 h 26"/>
                <a:gd name="T66" fmla="*/ 34 w 45"/>
                <a:gd name="T67" fmla="*/ 18 h 26"/>
                <a:gd name="T68" fmla="*/ 35 w 45"/>
                <a:gd name="T69" fmla="*/ 20 h 26"/>
                <a:gd name="T70" fmla="*/ 35 w 45"/>
                <a:gd name="T71" fmla="*/ 21 h 26"/>
                <a:gd name="T72" fmla="*/ 35 w 45"/>
                <a:gd name="T73" fmla="*/ 23 h 26"/>
                <a:gd name="T74" fmla="*/ 37 w 45"/>
                <a:gd name="T75" fmla="*/ 24 h 26"/>
                <a:gd name="T76" fmla="*/ 38 w 45"/>
                <a:gd name="T77" fmla="*/ 26 h 26"/>
                <a:gd name="T78" fmla="*/ 40 w 45"/>
                <a:gd name="T79" fmla="*/ 26 h 26"/>
                <a:gd name="T80" fmla="*/ 41 w 45"/>
                <a:gd name="T81" fmla="*/ 24 h 26"/>
                <a:gd name="T82" fmla="*/ 44 w 45"/>
                <a:gd name="T83" fmla="*/ 20 h 26"/>
                <a:gd name="T84" fmla="*/ 44 w 45"/>
                <a:gd name="T85" fmla="*/ 15 h 26"/>
                <a:gd name="T86" fmla="*/ 44 w 45"/>
                <a:gd name="T87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5" h="26">
                  <a:moveTo>
                    <a:pt x="44" y="15"/>
                  </a:moveTo>
                  <a:lnTo>
                    <a:pt x="45" y="10"/>
                  </a:lnTo>
                  <a:lnTo>
                    <a:pt x="44" y="8"/>
                  </a:lnTo>
                  <a:lnTo>
                    <a:pt x="44" y="7"/>
                  </a:lnTo>
                  <a:lnTo>
                    <a:pt x="41" y="8"/>
                  </a:lnTo>
                  <a:lnTo>
                    <a:pt x="40" y="7"/>
                  </a:lnTo>
                  <a:lnTo>
                    <a:pt x="41" y="5"/>
                  </a:lnTo>
                  <a:lnTo>
                    <a:pt x="43" y="4"/>
                  </a:lnTo>
                  <a:lnTo>
                    <a:pt x="43" y="3"/>
                  </a:lnTo>
                  <a:lnTo>
                    <a:pt x="40" y="0"/>
                  </a:lnTo>
                  <a:lnTo>
                    <a:pt x="35" y="0"/>
                  </a:lnTo>
                  <a:lnTo>
                    <a:pt x="34" y="0"/>
                  </a:lnTo>
                  <a:lnTo>
                    <a:pt x="28" y="5"/>
                  </a:lnTo>
                  <a:lnTo>
                    <a:pt x="28" y="7"/>
                  </a:lnTo>
                  <a:lnTo>
                    <a:pt x="24" y="7"/>
                  </a:lnTo>
                  <a:lnTo>
                    <a:pt x="21" y="7"/>
                  </a:lnTo>
                  <a:lnTo>
                    <a:pt x="20" y="8"/>
                  </a:lnTo>
                  <a:lnTo>
                    <a:pt x="18" y="8"/>
                  </a:lnTo>
                  <a:lnTo>
                    <a:pt x="15" y="7"/>
                  </a:lnTo>
                  <a:lnTo>
                    <a:pt x="14" y="7"/>
                  </a:lnTo>
                  <a:lnTo>
                    <a:pt x="13" y="7"/>
                  </a:lnTo>
                  <a:lnTo>
                    <a:pt x="10" y="8"/>
                  </a:lnTo>
                  <a:lnTo>
                    <a:pt x="7" y="10"/>
                  </a:lnTo>
                  <a:lnTo>
                    <a:pt x="2" y="10"/>
                  </a:lnTo>
                  <a:lnTo>
                    <a:pt x="1" y="11"/>
                  </a:lnTo>
                  <a:lnTo>
                    <a:pt x="0" y="14"/>
                  </a:lnTo>
                  <a:lnTo>
                    <a:pt x="1" y="17"/>
                  </a:lnTo>
                  <a:lnTo>
                    <a:pt x="7" y="20"/>
                  </a:lnTo>
                  <a:lnTo>
                    <a:pt x="13" y="20"/>
                  </a:lnTo>
                  <a:lnTo>
                    <a:pt x="23" y="21"/>
                  </a:lnTo>
                  <a:lnTo>
                    <a:pt x="30" y="23"/>
                  </a:lnTo>
                  <a:lnTo>
                    <a:pt x="33" y="23"/>
                  </a:lnTo>
                  <a:lnTo>
                    <a:pt x="34" y="20"/>
                  </a:lnTo>
                  <a:lnTo>
                    <a:pt x="34" y="18"/>
                  </a:lnTo>
                  <a:lnTo>
                    <a:pt x="35" y="20"/>
                  </a:lnTo>
                  <a:lnTo>
                    <a:pt x="35" y="21"/>
                  </a:lnTo>
                  <a:lnTo>
                    <a:pt x="35" y="23"/>
                  </a:lnTo>
                  <a:lnTo>
                    <a:pt x="37" y="24"/>
                  </a:lnTo>
                  <a:lnTo>
                    <a:pt x="38" y="26"/>
                  </a:lnTo>
                  <a:lnTo>
                    <a:pt x="40" y="26"/>
                  </a:lnTo>
                  <a:lnTo>
                    <a:pt x="41" y="24"/>
                  </a:lnTo>
                  <a:lnTo>
                    <a:pt x="44" y="20"/>
                  </a:lnTo>
                  <a:lnTo>
                    <a:pt x="44" y="15"/>
                  </a:lnTo>
                  <a:lnTo>
                    <a:pt x="44" y="1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31" name="Freeform 580"/>
            <p:cNvSpPr>
              <a:spLocks/>
            </p:cNvSpPr>
            <p:nvPr/>
          </p:nvSpPr>
          <p:spPr bwMode="auto">
            <a:xfrm>
              <a:off x="5734519" y="2573850"/>
              <a:ext cx="14654" cy="18521"/>
            </a:xfrm>
            <a:custGeom>
              <a:avLst/>
              <a:gdLst>
                <a:gd name="T0" fmla="*/ 20 w 23"/>
                <a:gd name="T1" fmla="*/ 0 h 28"/>
                <a:gd name="T2" fmla="*/ 17 w 23"/>
                <a:gd name="T3" fmla="*/ 0 h 28"/>
                <a:gd name="T4" fmla="*/ 14 w 23"/>
                <a:gd name="T5" fmla="*/ 0 h 28"/>
                <a:gd name="T6" fmla="*/ 11 w 23"/>
                <a:gd name="T7" fmla="*/ 1 h 28"/>
                <a:gd name="T8" fmla="*/ 11 w 23"/>
                <a:gd name="T9" fmla="*/ 4 h 28"/>
                <a:gd name="T10" fmla="*/ 11 w 23"/>
                <a:gd name="T11" fmla="*/ 8 h 28"/>
                <a:gd name="T12" fmla="*/ 11 w 23"/>
                <a:gd name="T13" fmla="*/ 11 h 28"/>
                <a:gd name="T14" fmla="*/ 11 w 23"/>
                <a:gd name="T15" fmla="*/ 14 h 28"/>
                <a:gd name="T16" fmla="*/ 7 w 23"/>
                <a:gd name="T17" fmla="*/ 14 h 28"/>
                <a:gd name="T18" fmla="*/ 4 w 23"/>
                <a:gd name="T19" fmla="*/ 14 h 28"/>
                <a:gd name="T20" fmla="*/ 3 w 23"/>
                <a:gd name="T21" fmla="*/ 14 h 28"/>
                <a:gd name="T22" fmla="*/ 0 w 23"/>
                <a:gd name="T23" fmla="*/ 15 h 28"/>
                <a:gd name="T24" fmla="*/ 0 w 23"/>
                <a:gd name="T25" fmla="*/ 18 h 28"/>
                <a:gd name="T26" fmla="*/ 0 w 23"/>
                <a:gd name="T27" fmla="*/ 25 h 28"/>
                <a:gd name="T28" fmla="*/ 3 w 23"/>
                <a:gd name="T29" fmla="*/ 27 h 28"/>
                <a:gd name="T30" fmla="*/ 6 w 23"/>
                <a:gd name="T31" fmla="*/ 28 h 28"/>
                <a:gd name="T32" fmla="*/ 10 w 23"/>
                <a:gd name="T33" fmla="*/ 27 h 28"/>
                <a:gd name="T34" fmla="*/ 16 w 23"/>
                <a:gd name="T35" fmla="*/ 20 h 28"/>
                <a:gd name="T36" fmla="*/ 17 w 23"/>
                <a:gd name="T37" fmla="*/ 17 h 28"/>
                <a:gd name="T38" fmla="*/ 17 w 23"/>
                <a:gd name="T39" fmla="*/ 17 h 28"/>
                <a:gd name="T40" fmla="*/ 17 w 23"/>
                <a:gd name="T41" fmla="*/ 15 h 28"/>
                <a:gd name="T42" fmla="*/ 16 w 23"/>
                <a:gd name="T43" fmla="*/ 15 h 28"/>
                <a:gd name="T44" fmla="*/ 14 w 23"/>
                <a:gd name="T45" fmla="*/ 15 h 28"/>
                <a:gd name="T46" fmla="*/ 14 w 23"/>
                <a:gd name="T47" fmla="*/ 14 h 28"/>
                <a:gd name="T48" fmla="*/ 16 w 23"/>
                <a:gd name="T49" fmla="*/ 13 h 28"/>
                <a:gd name="T50" fmla="*/ 17 w 23"/>
                <a:gd name="T51" fmla="*/ 11 h 28"/>
                <a:gd name="T52" fmla="*/ 17 w 23"/>
                <a:gd name="T53" fmla="*/ 10 h 28"/>
                <a:gd name="T54" fmla="*/ 20 w 23"/>
                <a:gd name="T55" fmla="*/ 10 h 28"/>
                <a:gd name="T56" fmla="*/ 21 w 23"/>
                <a:gd name="T57" fmla="*/ 11 h 28"/>
                <a:gd name="T58" fmla="*/ 23 w 23"/>
                <a:gd name="T59" fmla="*/ 10 h 28"/>
                <a:gd name="T60" fmla="*/ 21 w 23"/>
                <a:gd name="T61" fmla="*/ 8 h 28"/>
                <a:gd name="T62" fmla="*/ 21 w 23"/>
                <a:gd name="T63" fmla="*/ 4 h 28"/>
                <a:gd name="T64" fmla="*/ 20 w 23"/>
                <a:gd name="T65" fmla="*/ 1 h 28"/>
                <a:gd name="T66" fmla="*/ 20 w 23"/>
                <a:gd name="T67" fmla="*/ 0 h 28"/>
                <a:gd name="T68" fmla="*/ 20 w 23"/>
                <a:gd name="T6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" h="28">
                  <a:moveTo>
                    <a:pt x="20" y="0"/>
                  </a:moveTo>
                  <a:lnTo>
                    <a:pt x="17" y="0"/>
                  </a:lnTo>
                  <a:lnTo>
                    <a:pt x="14" y="0"/>
                  </a:lnTo>
                  <a:lnTo>
                    <a:pt x="11" y="1"/>
                  </a:lnTo>
                  <a:lnTo>
                    <a:pt x="11" y="4"/>
                  </a:lnTo>
                  <a:lnTo>
                    <a:pt x="11" y="8"/>
                  </a:lnTo>
                  <a:lnTo>
                    <a:pt x="11" y="11"/>
                  </a:lnTo>
                  <a:lnTo>
                    <a:pt x="11" y="14"/>
                  </a:lnTo>
                  <a:lnTo>
                    <a:pt x="7" y="14"/>
                  </a:lnTo>
                  <a:lnTo>
                    <a:pt x="4" y="14"/>
                  </a:lnTo>
                  <a:lnTo>
                    <a:pt x="3" y="14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0" y="25"/>
                  </a:lnTo>
                  <a:lnTo>
                    <a:pt x="3" y="27"/>
                  </a:lnTo>
                  <a:lnTo>
                    <a:pt x="6" y="28"/>
                  </a:lnTo>
                  <a:lnTo>
                    <a:pt x="10" y="27"/>
                  </a:lnTo>
                  <a:lnTo>
                    <a:pt x="16" y="20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5"/>
                  </a:lnTo>
                  <a:lnTo>
                    <a:pt x="16" y="15"/>
                  </a:lnTo>
                  <a:lnTo>
                    <a:pt x="14" y="15"/>
                  </a:lnTo>
                  <a:lnTo>
                    <a:pt x="14" y="14"/>
                  </a:lnTo>
                  <a:lnTo>
                    <a:pt x="16" y="13"/>
                  </a:lnTo>
                  <a:lnTo>
                    <a:pt x="17" y="11"/>
                  </a:lnTo>
                  <a:lnTo>
                    <a:pt x="17" y="10"/>
                  </a:lnTo>
                  <a:lnTo>
                    <a:pt x="20" y="10"/>
                  </a:lnTo>
                  <a:lnTo>
                    <a:pt x="21" y="11"/>
                  </a:lnTo>
                  <a:lnTo>
                    <a:pt x="23" y="10"/>
                  </a:lnTo>
                  <a:lnTo>
                    <a:pt x="21" y="8"/>
                  </a:lnTo>
                  <a:lnTo>
                    <a:pt x="21" y="4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32" name="Freeform 581"/>
            <p:cNvSpPr>
              <a:spLocks/>
            </p:cNvSpPr>
            <p:nvPr/>
          </p:nvSpPr>
          <p:spPr bwMode="auto">
            <a:xfrm>
              <a:off x="5464647" y="2366155"/>
              <a:ext cx="139210" cy="164040"/>
            </a:xfrm>
            <a:custGeom>
              <a:avLst/>
              <a:gdLst>
                <a:gd name="T0" fmla="*/ 221 w 228"/>
                <a:gd name="T1" fmla="*/ 80 h 248"/>
                <a:gd name="T2" fmla="*/ 221 w 228"/>
                <a:gd name="T3" fmla="*/ 52 h 248"/>
                <a:gd name="T4" fmla="*/ 212 w 228"/>
                <a:gd name="T5" fmla="*/ 43 h 248"/>
                <a:gd name="T6" fmla="*/ 205 w 228"/>
                <a:gd name="T7" fmla="*/ 34 h 248"/>
                <a:gd name="T8" fmla="*/ 198 w 228"/>
                <a:gd name="T9" fmla="*/ 30 h 248"/>
                <a:gd name="T10" fmla="*/ 194 w 228"/>
                <a:gd name="T11" fmla="*/ 29 h 248"/>
                <a:gd name="T12" fmla="*/ 179 w 228"/>
                <a:gd name="T13" fmla="*/ 24 h 248"/>
                <a:gd name="T14" fmla="*/ 172 w 228"/>
                <a:gd name="T15" fmla="*/ 54 h 248"/>
                <a:gd name="T16" fmla="*/ 161 w 228"/>
                <a:gd name="T17" fmla="*/ 62 h 248"/>
                <a:gd name="T18" fmla="*/ 141 w 228"/>
                <a:gd name="T19" fmla="*/ 85 h 248"/>
                <a:gd name="T20" fmla="*/ 154 w 228"/>
                <a:gd name="T21" fmla="*/ 67 h 248"/>
                <a:gd name="T22" fmla="*/ 141 w 228"/>
                <a:gd name="T23" fmla="*/ 64 h 248"/>
                <a:gd name="T24" fmla="*/ 156 w 228"/>
                <a:gd name="T25" fmla="*/ 53 h 248"/>
                <a:gd name="T26" fmla="*/ 168 w 228"/>
                <a:gd name="T27" fmla="*/ 23 h 248"/>
                <a:gd name="T28" fmla="*/ 158 w 228"/>
                <a:gd name="T29" fmla="*/ 7 h 248"/>
                <a:gd name="T30" fmla="*/ 141 w 228"/>
                <a:gd name="T31" fmla="*/ 1 h 248"/>
                <a:gd name="T32" fmla="*/ 125 w 228"/>
                <a:gd name="T33" fmla="*/ 9 h 248"/>
                <a:gd name="T34" fmla="*/ 122 w 228"/>
                <a:gd name="T35" fmla="*/ 10 h 248"/>
                <a:gd name="T36" fmla="*/ 116 w 228"/>
                <a:gd name="T37" fmla="*/ 7 h 248"/>
                <a:gd name="T38" fmla="*/ 105 w 228"/>
                <a:gd name="T39" fmla="*/ 11 h 248"/>
                <a:gd name="T40" fmla="*/ 89 w 228"/>
                <a:gd name="T41" fmla="*/ 11 h 248"/>
                <a:gd name="T42" fmla="*/ 78 w 228"/>
                <a:gd name="T43" fmla="*/ 20 h 248"/>
                <a:gd name="T44" fmla="*/ 71 w 228"/>
                <a:gd name="T45" fmla="*/ 19 h 248"/>
                <a:gd name="T46" fmla="*/ 60 w 228"/>
                <a:gd name="T47" fmla="*/ 32 h 248"/>
                <a:gd name="T48" fmla="*/ 52 w 228"/>
                <a:gd name="T49" fmla="*/ 37 h 248"/>
                <a:gd name="T50" fmla="*/ 56 w 228"/>
                <a:gd name="T51" fmla="*/ 64 h 248"/>
                <a:gd name="T52" fmla="*/ 29 w 228"/>
                <a:gd name="T53" fmla="*/ 82 h 248"/>
                <a:gd name="T54" fmla="*/ 10 w 228"/>
                <a:gd name="T55" fmla="*/ 102 h 248"/>
                <a:gd name="T56" fmla="*/ 6 w 228"/>
                <a:gd name="T57" fmla="*/ 102 h 248"/>
                <a:gd name="T58" fmla="*/ 13 w 228"/>
                <a:gd name="T59" fmla="*/ 107 h 248"/>
                <a:gd name="T60" fmla="*/ 15 w 228"/>
                <a:gd name="T61" fmla="*/ 117 h 248"/>
                <a:gd name="T62" fmla="*/ 26 w 228"/>
                <a:gd name="T63" fmla="*/ 97 h 248"/>
                <a:gd name="T64" fmla="*/ 25 w 228"/>
                <a:gd name="T65" fmla="*/ 100 h 248"/>
                <a:gd name="T66" fmla="*/ 33 w 228"/>
                <a:gd name="T67" fmla="*/ 110 h 248"/>
                <a:gd name="T68" fmla="*/ 29 w 228"/>
                <a:gd name="T69" fmla="*/ 120 h 248"/>
                <a:gd name="T70" fmla="*/ 32 w 228"/>
                <a:gd name="T71" fmla="*/ 115 h 248"/>
                <a:gd name="T72" fmla="*/ 46 w 228"/>
                <a:gd name="T73" fmla="*/ 123 h 248"/>
                <a:gd name="T74" fmla="*/ 42 w 228"/>
                <a:gd name="T75" fmla="*/ 153 h 248"/>
                <a:gd name="T76" fmla="*/ 62 w 228"/>
                <a:gd name="T77" fmla="*/ 179 h 248"/>
                <a:gd name="T78" fmla="*/ 75 w 228"/>
                <a:gd name="T79" fmla="*/ 189 h 248"/>
                <a:gd name="T80" fmla="*/ 85 w 228"/>
                <a:gd name="T81" fmla="*/ 195 h 248"/>
                <a:gd name="T82" fmla="*/ 99 w 228"/>
                <a:gd name="T83" fmla="*/ 206 h 248"/>
                <a:gd name="T84" fmla="*/ 111 w 228"/>
                <a:gd name="T85" fmla="*/ 208 h 248"/>
                <a:gd name="T86" fmla="*/ 124 w 228"/>
                <a:gd name="T87" fmla="*/ 215 h 248"/>
                <a:gd name="T88" fmla="*/ 138 w 228"/>
                <a:gd name="T89" fmla="*/ 233 h 248"/>
                <a:gd name="T90" fmla="*/ 145 w 228"/>
                <a:gd name="T91" fmla="*/ 236 h 248"/>
                <a:gd name="T92" fmla="*/ 152 w 228"/>
                <a:gd name="T93" fmla="*/ 239 h 248"/>
                <a:gd name="T94" fmla="*/ 162 w 228"/>
                <a:gd name="T95" fmla="*/ 239 h 248"/>
                <a:gd name="T96" fmla="*/ 172 w 228"/>
                <a:gd name="T97" fmla="*/ 248 h 248"/>
                <a:gd name="T98" fmla="*/ 195 w 228"/>
                <a:gd name="T99" fmla="*/ 244 h 248"/>
                <a:gd name="T100" fmla="*/ 212 w 228"/>
                <a:gd name="T101" fmla="*/ 236 h 248"/>
                <a:gd name="T102" fmla="*/ 225 w 228"/>
                <a:gd name="T103" fmla="*/ 219 h 248"/>
                <a:gd name="T104" fmla="*/ 219 w 228"/>
                <a:gd name="T105" fmla="*/ 189 h 248"/>
                <a:gd name="T106" fmla="*/ 218 w 228"/>
                <a:gd name="T107" fmla="*/ 180 h 248"/>
                <a:gd name="T108" fmla="*/ 201 w 228"/>
                <a:gd name="T109" fmla="*/ 158 h 248"/>
                <a:gd name="T110" fmla="*/ 214 w 228"/>
                <a:gd name="T111" fmla="*/ 163 h 248"/>
                <a:gd name="T112" fmla="*/ 219 w 228"/>
                <a:gd name="T113" fmla="*/ 158 h 248"/>
                <a:gd name="T114" fmla="*/ 219 w 228"/>
                <a:gd name="T115" fmla="*/ 126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248">
                  <a:moveTo>
                    <a:pt x="221" y="109"/>
                  </a:moveTo>
                  <a:lnTo>
                    <a:pt x="221" y="106"/>
                  </a:lnTo>
                  <a:lnTo>
                    <a:pt x="222" y="97"/>
                  </a:lnTo>
                  <a:lnTo>
                    <a:pt x="224" y="90"/>
                  </a:lnTo>
                  <a:lnTo>
                    <a:pt x="224" y="86"/>
                  </a:lnTo>
                  <a:lnTo>
                    <a:pt x="221" y="83"/>
                  </a:lnTo>
                  <a:lnTo>
                    <a:pt x="221" y="82"/>
                  </a:lnTo>
                  <a:lnTo>
                    <a:pt x="221" y="80"/>
                  </a:lnTo>
                  <a:lnTo>
                    <a:pt x="225" y="80"/>
                  </a:lnTo>
                  <a:lnTo>
                    <a:pt x="227" y="79"/>
                  </a:lnTo>
                  <a:lnTo>
                    <a:pt x="228" y="73"/>
                  </a:lnTo>
                  <a:lnTo>
                    <a:pt x="227" y="64"/>
                  </a:lnTo>
                  <a:lnTo>
                    <a:pt x="225" y="60"/>
                  </a:lnTo>
                  <a:lnTo>
                    <a:pt x="222" y="59"/>
                  </a:lnTo>
                  <a:lnTo>
                    <a:pt x="221" y="56"/>
                  </a:lnTo>
                  <a:lnTo>
                    <a:pt x="221" y="52"/>
                  </a:lnTo>
                  <a:lnTo>
                    <a:pt x="221" y="49"/>
                  </a:lnTo>
                  <a:lnTo>
                    <a:pt x="221" y="47"/>
                  </a:lnTo>
                  <a:lnTo>
                    <a:pt x="219" y="47"/>
                  </a:lnTo>
                  <a:lnTo>
                    <a:pt x="217" y="47"/>
                  </a:lnTo>
                  <a:lnTo>
                    <a:pt x="217" y="46"/>
                  </a:lnTo>
                  <a:lnTo>
                    <a:pt x="215" y="43"/>
                  </a:lnTo>
                  <a:lnTo>
                    <a:pt x="214" y="43"/>
                  </a:lnTo>
                  <a:lnTo>
                    <a:pt x="212" y="43"/>
                  </a:lnTo>
                  <a:lnTo>
                    <a:pt x="209" y="43"/>
                  </a:lnTo>
                  <a:lnTo>
                    <a:pt x="211" y="42"/>
                  </a:lnTo>
                  <a:lnTo>
                    <a:pt x="212" y="40"/>
                  </a:lnTo>
                  <a:lnTo>
                    <a:pt x="212" y="39"/>
                  </a:lnTo>
                  <a:lnTo>
                    <a:pt x="211" y="37"/>
                  </a:lnTo>
                  <a:lnTo>
                    <a:pt x="207" y="37"/>
                  </a:lnTo>
                  <a:lnTo>
                    <a:pt x="205" y="36"/>
                  </a:lnTo>
                  <a:lnTo>
                    <a:pt x="205" y="34"/>
                  </a:lnTo>
                  <a:lnTo>
                    <a:pt x="208" y="33"/>
                  </a:lnTo>
                  <a:lnTo>
                    <a:pt x="208" y="32"/>
                  </a:lnTo>
                  <a:lnTo>
                    <a:pt x="208" y="30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2" y="32"/>
                  </a:lnTo>
                  <a:lnTo>
                    <a:pt x="199" y="32"/>
                  </a:lnTo>
                  <a:lnTo>
                    <a:pt x="198" y="30"/>
                  </a:lnTo>
                  <a:lnTo>
                    <a:pt x="199" y="29"/>
                  </a:lnTo>
                  <a:lnTo>
                    <a:pt x="204" y="27"/>
                  </a:lnTo>
                  <a:lnTo>
                    <a:pt x="204" y="26"/>
                  </a:lnTo>
                  <a:lnTo>
                    <a:pt x="201" y="24"/>
                  </a:lnTo>
                  <a:lnTo>
                    <a:pt x="198" y="24"/>
                  </a:lnTo>
                  <a:lnTo>
                    <a:pt x="197" y="24"/>
                  </a:lnTo>
                  <a:lnTo>
                    <a:pt x="195" y="27"/>
                  </a:lnTo>
                  <a:lnTo>
                    <a:pt x="194" y="29"/>
                  </a:lnTo>
                  <a:lnTo>
                    <a:pt x="192" y="26"/>
                  </a:lnTo>
                  <a:lnTo>
                    <a:pt x="192" y="27"/>
                  </a:lnTo>
                  <a:lnTo>
                    <a:pt x="191" y="30"/>
                  </a:lnTo>
                  <a:lnTo>
                    <a:pt x="188" y="30"/>
                  </a:lnTo>
                  <a:lnTo>
                    <a:pt x="185" y="29"/>
                  </a:lnTo>
                  <a:lnTo>
                    <a:pt x="185" y="26"/>
                  </a:lnTo>
                  <a:lnTo>
                    <a:pt x="184" y="24"/>
                  </a:lnTo>
                  <a:lnTo>
                    <a:pt x="179" y="24"/>
                  </a:lnTo>
                  <a:lnTo>
                    <a:pt x="178" y="26"/>
                  </a:lnTo>
                  <a:lnTo>
                    <a:pt x="178" y="30"/>
                  </a:lnTo>
                  <a:lnTo>
                    <a:pt x="179" y="36"/>
                  </a:lnTo>
                  <a:lnTo>
                    <a:pt x="181" y="40"/>
                  </a:lnTo>
                  <a:lnTo>
                    <a:pt x="178" y="47"/>
                  </a:lnTo>
                  <a:lnTo>
                    <a:pt x="176" y="54"/>
                  </a:lnTo>
                  <a:lnTo>
                    <a:pt x="174" y="56"/>
                  </a:lnTo>
                  <a:lnTo>
                    <a:pt x="172" y="54"/>
                  </a:lnTo>
                  <a:lnTo>
                    <a:pt x="169" y="52"/>
                  </a:lnTo>
                  <a:lnTo>
                    <a:pt x="166" y="50"/>
                  </a:lnTo>
                  <a:lnTo>
                    <a:pt x="165" y="52"/>
                  </a:lnTo>
                  <a:lnTo>
                    <a:pt x="165" y="53"/>
                  </a:lnTo>
                  <a:lnTo>
                    <a:pt x="164" y="59"/>
                  </a:lnTo>
                  <a:lnTo>
                    <a:pt x="164" y="62"/>
                  </a:lnTo>
                  <a:lnTo>
                    <a:pt x="162" y="63"/>
                  </a:lnTo>
                  <a:lnTo>
                    <a:pt x="161" y="62"/>
                  </a:lnTo>
                  <a:lnTo>
                    <a:pt x="158" y="66"/>
                  </a:lnTo>
                  <a:lnTo>
                    <a:pt x="156" y="69"/>
                  </a:lnTo>
                  <a:lnTo>
                    <a:pt x="156" y="72"/>
                  </a:lnTo>
                  <a:lnTo>
                    <a:pt x="155" y="75"/>
                  </a:lnTo>
                  <a:lnTo>
                    <a:pt x="154" y="76"/>
                  </a:lnTo>
                  <a:lnTo>
                    <a:pt x="148" y="79"/>
                  </a:lnTo>
                  <a:lnTo>
                    <a:pt x="144" y="83"/>
                  </a:lnTo>
                  <a:lnTo>
                    <a:pt x="141" y="85"/>
                  </a:lnTo>
                  <a:lnTo>
                    <a:pt x="139" y="85"/>
                  </a:lnTo>
                  <a:lnTo>
                    <a:pt x="139" y="83"/>
                  </a:lnTo>
                  <a:lnTo>
                    <a:pt x="141" y="80"/>
                  </a:lnTo>
                  <a:lnTo>
                    <a:pt x="146" y="77"/>
                  </a:lnTo>
                  <a:lnTo>
                    <a:pt x="152" y="73"/>
                  </a:lnTo>
                  <a:lnTo>
                    <a:pt x="154" y="70"/>
                  </a:lnTo>
                  <a:lnTo>
                    <a:pt x="154" y="69"/>
                  </a:lnTo>
                  <a:lnTo>
                    <a:pt x="154" y="67"/>
                  </a:lnTo>
                  <a:lnTo>
                    <a:pt x="151" y="66"/>
                  </a:lnTo>
                  <a:lnTo>
                    <a:pt x="149" y="67"/>
                  </a:lnTo>
                  <a:lnTo>
                    <a:pt x="145" y="69"/>
                  </a:lnTo>
                  <a:lnTo>
                    <a:pt x="142" y="69"/>
                  </a:lnTo>
                  <a:lnTo>
                    <a:pt x="139" y="70"/>
                  </a:lnTo>
                  <a:lnTo>
                    <a:pt x="138" y="69"/>
                  </a:lnTo>
                  <a:lnTo>
                    <a:pt x="138" y="66"/>
                  </a:lnTo>
                  <a:lnTo>
                    <a:pt x="141" y="64"/>
                  </a:lnTo>
                  <a:lnTo>
                    <a:pt x="145" y="63"/>
                  </a:lnTo>
                  <a:lnTo>
                    <a:pt x="149" y="63"/>
                  </a:lnTo>
                  <a:lnTo>
                    <a:pt x="154" y="63"/>
                  </a:lnTo>
                  <a:lnTo>
                    <a:pt x="155" y="62"/>
                  </a:lnTo>
                  <a:lnTo>
                    <a:pt x="155" y="62"/>
                  </a:lnTo>
                  <a:lnTo>
                    <a:pt x="155" y="57"/>
                  </a:lnTo>
                  <a:lnTo>
                    <a:pt x="155" y="54"/>
                  </a:lnTo>
                  <a:lnTo>
                    <a:pt x="156" y="53"/>
                  </a:lnTo>
                  <a:lnTo>
                    <a:pt x="159" y="52"/>
                  </a:lnTo>
                  <a:lnTo>
                    <a:pt x="161" y="50"/>
                  </a:lnTo>
                  <a:lnTo>
                    <a:pt x="162" y="47"/>
                  </a:lnTo>
                  <a:lnTo>
                    <a:pt x="161" y="43"/>
                  </a:lnTo>
                  <a:lnTo>
                    <a:pt x="161" y="39"/>
                  </a:lnTo>
                  <a:lnTo>
                    <a:pt x="162" y="34"/>
                  </a:lnTo>
                  <a:lnTo>
                    <a:pt x="166" y="29"/>
                  </a:lnTo>
                  <a:lnTo>
                    <a:pt x="168" y="23"/>
                  </a:lnTo>
                  <a:lnTo>
                    <a:pt x="166" y="22"/>
                  </a:lnTo>
                  <a:lnTo>
                    <a:pt x="166" y="20"/>
                  </a:lnTo>
                  <a:lnTo>
                    <a:pt x="164" y="19"/>
                  </a:lnTo>
                  <a:lnTo>
                    <a:pt x="162" y="17"/>
                  </a:lnTo>
                  <a:lnTo>
                    <a:pt x="161" y="16"/>
                  </a:lnTo>
                  <a:lnTo>
                    <a:pt x="159" y="11"/>
                  </a:lnTo>
                  <a:lnTo>
                    <a:pt x="159" y="9"/>
                  </a:lnTo>
                  <a:lnTo>
                    <a:pt x="158" y="7"/>
                  </a:lnTo>
                  <a:lnTo>
                    <a:pt x="155" y="7"/>
                  </a:lnTo>
                  <a:lnTo>
                    <a:pt x="155" y="4"/>
                  </a:lnTo>
                  <a:lnTo>
                    <a:pt x="155" y="3"/>
                  </a:lnTo>
                  <a:lnTo>
                    <a:pt x="152" y="1"/>
                  </a:lnTo>
                  <a:lnTo>
                    <a:pt x="151" y="1"/>
                  </a:lnTo>
                  <a:lnTo>
                    <a:pt x="146" y="1"/>
                  </a:lnTo>
                  <a:lnTo>
                    <a:pt x="142" y="0"/>
                  </a:lnTo>
                  <a:lnTo>
                    <a:pt x="141" y="1"/>
                  </a:lnTo>
                  <a:lnTo>
                    <a:pt x="138" y="3"/>
                  </a:lnTo>
                  <a:lnTo>
                    <a:pt x="135" y="7"/>
                  </a:lnTo>
                  <a:lnTo>
                    <a:pt x="132" y="11"/>
                  </a:lnTo>
                  <a:lnTo>
                    <a:pt x="129" y="14"/>
                  </a:lnTo>
                  <a:lnTo>
                    <a:pt x="128" y="14"/>
                  </a:lnTo>
                  <a:lnTo>
                    <a:pt x="126" y="13"/>
                  </a:lnTo>
                  <a:lnTo>
                    <a:pt x="125" y="10"/>
                  </a:lnTo>
                  <a:lnTo>
                    <a:pt x="125" y="9"/>
                  </a:lnTo>
                  <a:lnTo>
                    <a:pt x="126" y="6"/>
                  </a:lnTo>
                  <a:lnTo>
                    <a:pt x="131" y="4"/>
                  </a:lnTo>
                  <a:lnTo>
                    <a:pt x="131" y="3"/>
                  </a:lnTo>
                  <a:lnTo>
                    <a:pt x="128" y="3"/>
                  </a:lnTo>
                  <a:lnTo>
                    <a:pt x="125" y="4"/>
                  </a:lnTo>
                  <a:lnTo>
                    <a:pt x="124" y="6"/>
                  </a:lnTo>
                  <a:lnTo>
                    <a:pt x="122" y="7"/>
                  </a:lnTo>
                  <a:lnTo>
                    <a:pt x="122" y="10"/>
                  </a:lnTo>
                  <a:lnTo>
                    <a:pt x="121" y="11"/>
                  </a:lnTo>
                  <a:lnTo>
                    <a:pt x="118" y="11"/>
                  </a:lnTo>
                  <a:lnTo>
                    <a:pt x="116" y="13"/>
                  </a:lnTo>
                  <a:lnTo>
                    <a:pt x="113" y="13"/>
                  </a:lnTo>
                  <a:lnTo>
                    <a:pt x="113" y="11"/>
                  </a:lnTo>
                  <a:lnTo>
                    <a:pt x="115" y="10"/>
                  </a:lnTo>
                  <a:lnTo>
                    <a:pt x="118" y="9"/>
                  </a:lnTo>
                  <a:lnTo>
                    <a:pt x="116" y="7"/>
                  </a:lnTo>
                  <a:lnTo>
                    <a:pt x="113" y="9"/>
                  </a:lnTo>
                  <a:lnTo>
                    <a:pt x="112" y="10"/>
                  </a:lnTo>
                  <a:lnTo>
                    <a:pt x="111" y="11"/>
                  </a:lnTo>
                  <a:lnTo>
                    <a:pt x="109" y="14"/>
                  </a:lnTo>
                  <a:lnTo>
                    <a:pt x="108" y="14"/>
                  </a:lnTo>
                  <a:lnTo>
                    <a:pt x="106" y="14"/>
                  </a:lnTo>
                  <a:lnTo>
                    <a:pt x="106" y="11"/>
                  </a:lnTo>
                  <a:lnTo>
                    <a:pt x="105" y="11"/>
                  </a:lnTo>
                  <a:lnTo>
                    <a:pt x="103" y="11"/>
                  </a:lnTo>
                  <a:lnTo>
                    <a:pt x="99" y="11"/>
                  </a:lnTo>
                  <a:lnTo>
                    <a:pt x="96" y="11"/>
                  </a:lnTo>
                  <a:lnTo>
                    <a:pt x="95" y="11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2" y="13"/>
                  </a:lnTo>
                  <a:lnTo>
                    <a:pt x="89" y="11"/>
                  </a:lnTo>
                  <a:lnTo>
                    <a:pt x="88" y="11"/>
                  </a:lnTo>
                  <a:lnTo>
                    <a:pt x="85" y="13"/>
                  </a:lnTo>
                  <a:lnTo>
                    <a:pt x="83" y="16"/>
                  </a:lnTo>
                  <a:lnTo>
                    <a:pt x="83" y="23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79" y="22"/>
                  </a:lnTo>
                  <a:lnTo>
                    <a:pt x="78" y="20"/>
                  </a:lnTo>
                  <a:lnTo>
                    <a:pt x="75" y="19"/>
                  </a:lnTo>
                  <a:lnTo>
                    <a:pt x="75" y="16"/>
                  </a:lnTo>
                  <a:lnTo>
                    <a:pt x="73" y="13"/>
                  </a:lnTo>
                  <a:lnTo>
                    <a:pt x="72" y="11"/>
                  </a:lnTo>
                  <a:lnTo>
                    <a:pt x="72" y="13"/>
                  </a:lnTo>
                  <a:lnTo>
                    <a:pt x="71" y="14"/>
                  </a:lnTo>
                  <a:lnTo>
                    <a:pt x="71" y="16"/>
                  </a:lnTo>
                  <a:lnTo>
                    <a:pt x="71" y="19"/>
                  </a:lnTo>
                  <a:lnTo>
                    <a:pt x="69" y="19"/>
                  </a:lnTo>
                  <a:lnTo>
                    <a:pt x="68" y="19"/>
                  </a:lnTo>
                  <a:lnTo>
                    <a:pt x="66" y="20"/>
                  </a:lnTo>
                  <a:lnTo>
                    <a:pt x="65" y="23"/>
                  </a:lnTo>
                  <a:lnTo>
                    <a:pt x="65" y="27"/>
                  </a:lnTo>
                  <a:lnTo>
                    <a:pt x="63" y="29"/>
                  </a:lnTo>
                  <a:lnTo>
                    <a:pt x="63" y="32"/>
                  </a:lnTo>
                  <a:lnTo>
                    <a:pt x="60" y="32"/>
                  </a:lnTo>
                  <a:lnTo>
                    <a:pt x="58" y="33"/>
                  </a:lnTo>
                  <a:lnTo>
                    <a:pt x="56" y="34"/>
                  </a:lnTo>
                  <a:lnTo>
                    <a:pt x="55" y="33"/>
                  </a:lnTo>
                  <a:lnTo>
                    <a:pt x="56" y="32"/>
                  </a:lnTo>
                  <a:lnTo>
                    <a:pt x="56" y="30"/>
                  </a:lnTo>
                  <a:lnTo>
                    <a:pt x="55" y="30"/>
                  </a:lnTo>
                  <a:lnTo>
                    <a:pt x="53" y="32"/>
                  </a:lnTo>
                  <a:lnTo>
                    <a:pt x="52" y="37"/>
                  </a:lnTo>
                  <a:lnTo>
                    <a:pt x="49" y="47"/>
                  </a:lnTo>
                  <a:lnTo>
                    <a:pt x="50" y="50"/>
                  </a:lnTo>
                  <a:lnTo>
                    <a:pt x="53" y="56"/>
                  </a:lnTo>
                  <a:lnTo>
                    <a:pt x="56" y="59"/>
                  </a:lnTo>
                  <a:lnTo>
                    <a:pt x="60" y="60"/>
                  </a:lnTo>
                  <a:lnTo>
                    <a:pt x="60" y="63"/>
                  </a:lnTo>
                  <a:lnTo>
                    <a:pt x="58" y="63"/>
                  </a:lnTo>
                  <a:lnTo>
                    <a:pt x="56" y="64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49" y="66"/>
                  </a:lnTo>
                  <a:lnTo>
                    <a:pt x="42" y="66"/>
                  </a:lnTo>
                  <a:lnTo>
                    <a:pt x="38" y="69"/>
                  </a:lnTo>
                  <a:lnTo>
                    <a:pt x="33" y="75"/>
                  </a:lnTo>
                  <a:lnTo>
                    <a:pt x="32" y="77"/>
                  </a:lnTo>
                  <a:lnTo>
                    <a:pt x="29" y="82"/>
                  </a:lnTo>
                  <a:lnTo>
                    <a:pt x="26" y="85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2" y="92"/>
                  </a:lnTo>
                  <a:lnTo>
                    <a:pt x="19" y="95"/>
                  </a:lnTo>
                  <a:lnTo>
                    <a:pt x="16" y="99"/>
                  </a:lnTo>
                  <a:lnTo>
                    <a:pt x="13" y="100"/>
                  </a:lnTo>
                  <a:lnTo>
                    <a:pt x="10" y="102"/>
                  </a:lnTo>
                  <a:lnTo>
                    <a:pt x="9" y="99"/>
                  </a:lnTo>
                  <a:lnTo>
                    <a:pt x="5" y="97"/>
                  </a:lnTo>
                  <a:lnTo>
                    <a:pt x="2" y="97"/>
                  </a:lnTo>
                  <a:lnTo>
                    <a:pt x="0" y="97"/>
                  </a:lnTo>
                  <a:lnTo>
                    <a:pt x="0" y="99"/>
                  </a:lnTo>
                  <a:lnTo>
                    <a:pt x="0" y="100"/>
                  </a:lnTo>
                  <a:lnTo>
                    <a:pt x="5" y="100"/>
                  </a:lnTo>
                  <a:lnTo>
                    <a:pt x="6" y="102"/>
                  </a:lnTo>
                  <a:lnTo>
                    <a:pt x="6" y="103"/>
                  </a:lnTo>
                  <a:lnTo>
                    <a:pt x="5" y="106"/>
                  </a:lnTo>
                  <a:lnTo>
                    <a:pt x="5" y="107"/>
                  </a:lnTo>
                  <a:lnTo>
                    <a:pt x="6" y="107"/>
                  </a:lnTo>
                  <a:lnTo>
                    <a:pt x="9" y="105"/>
                  </a:lnTo>
                  <a:lnTo>
                    <a:pt x="10" y="105"/>
                  </a:lnTo>
                  <a:lnTo>
                    <a:pt x="12" y="105"/>
                  </a:lnTo>
                  <a:lnTo>
                    <a:pt x="13" y="107"/>
                  </a:lnTo>
                  <a:lnTo>
                    <a:pt x="12" y="109"/>
                  </a:lnTo>
                  <a:lnTo>
                    <a:pt x="12" y="112"/>
                  </a:lnTo>
                  <a:lnTo>
                    <a:pt x="9" y="115"/>
                  </a:lnTo>
                  <a:lnTo>
                    <a:pt x="6" y="115"/>
                  </a:lnTo>
                  <a:lnTo>
                    <a:pt x="6" y="116"/>
                  </a:lnTo>
                  <a:lnTo>
                    <a:pt x="6" y="119"/>
                  </a:lnTo>
                  <a:lnTo>
                    <a:pt x="9" y="119"/>
                  </a:lnTo>
                  <a:lnTo>
                    <a:pt x="15" y="117"/>
                  </a:lnTo>
                  <a:lnTo>
                    <a:pt x="16" y="115"/>
                  </a:lnTo>
                  <a:lnTo>
                    <a:pt x="16" y="113"/>
                  </a:lnTo>
                  <a:lnTo>
                    <a:pt x="16" y="109"/>
                  </a:lnTo>
                  <a:lnTo>
                    <a:pt x="16" y="106"/>
                  </a:lnTo>
                  <a:lnTo>
                    <a:pt x="18" y="103"/>
                  </a:lnTo>
                  <a:lnTo>
                    <a:pt x="20" y="100"/>
                  </a:lnTo>
                  <a:lnTo>
                    <a:pt x="25" y="99"/>
                  </a:lnTo>
                  <a:lnTo>
                    <a:pt x="26" y="97"/>
                  </a:lnTo>
                  <a:lnTo>
                    <a:pt x="26" y="93"/>
                  </a:lnTo>
                  <a:lnTo>
                    <a:pt x="28" y="92"/>
                  </a:lnTo>
                  <a:lnTo>
                    <a:pt x="29" y="92"/>
                  </a:lnTo>
                  <a:lnTo>
                    <a:pt x="29" y="93"/>
                  </a:lnTo>
                  <a:lnTo>
                    <a:pt x="29" y="96"/>
                  </a:lnTo>
                  <a:lnTo>
                    <a:pt x="29" y="99"/>
                  </a:lnTo>
                  <a:lnTo>
                    <a:pt x="28" y="99"/>
                  </a:lnTo>
                  <a:lnTo>
                    <a:pt x="25" y="100"/>
                  </a:lnTo>
                  <a:lnTo>
                    <a:pt x="25" y="102"/>
                  </a:lnTo>
                  <a:lnTo>
                    <a:pt x="25" y="103"/>
                  </a:lnTo>
                  <a:lnTo>
                    <a:pt x="26" y="105"/>
                  </a:lnTo>
                  <a:lnTo>
                    <a:pt x="29" y="106"/>
                  </a:lnTo>
                  <a:lnTo>
                    <a:pt x="29" y="107"/>
                  </a:lnTo>
                  <a:lnTo>
                    <a:pt x="30" y="109"/>
                  </a:lnTo>
                  <a:lnTo>
                    <a:pt x="33" y="109"/>
                  </a:lnTo>
                  <a:lnTo>
                    <a:pt x="33" y="110"/>
                  </a:lnTo>
                  <a:lnTo>
                    <a:pt x="33" y="112"/>
                  </a:lnTo>
                  <a:lnTo>
                    <a:pt x="32" y="113"/>
                  </a:lnTo>
                  <a:lnTo>
                    <a:pt x="30" y="115"/>
                  </a:lnTo>
                  <a:lnTo>
                    <a:pt x="28" y="115"/>
                  </a:lnTo>
                  <a:lnTo>
                    <a:pt x="26" y="115"/>
                  </a:lnTo>
                  <a:lnTo>
                    <a:pt x="26" y="116"/>
                  </a:lnTo>
                  <a:lnTo>
                    <a:pt x="26" y="117"/>
                  </a:lnTo>
                  <a:lnTo>
                    <a:pt x="29" y="120"/>
                  </a:lnTo>
                  <a:lnTo>
                    <a:pt x="32" y="123"/>
                  </a:lnTo>
                  <a:lnTo>
                    <a:pt x="33" y="123"/>
                  </a:lnTo>
                  <a:lnTo>
                    <a:pt x="35" y="123"/>
                  </a:lnTo>
                  <a:lnTo>
                    <a:pt x="35" y="122"/>
                  </a:lnTo>
                  <a:lnTo>
                    <a:pt x="35" y="119"/>
                  </a:lnTo>
                  <a:lnTo>
                    <a:pt x="33" y="117"/>
                  </a:lnTo>
                  <a:lnTo>
                    <a:pt x="32" y="116"/>
                  </a:lnTo>
                  <a:lnTo>
                    <a:pt x="32" y="115"/>
                  </a:lnTo>
                  <a:lnTo>
                    <a:pt x="35" y="115"/>
                  </a:lnTo>
                  <a:lnTo>
                    <a:pt x="36" y="115"/>
                  </a:lnTo>
                  <a:lnTo>
                    <a:pt x="39" y="116"/>
                  </a:lnTo>
                  <a:lnTo>
                    <a:pt x="42" y="117"/>
                  </a:lnTo>
                  <a:lnTo>
                    <a:pt x="45" y="117"/>
                  </a:lnTo>
                  <a:lnTo>
                    <a:pt x="46" y="119"/>
                  </a:lnTo>
                  <a:lnTo>
                    <a:pt x="48" y="122"/>
                  </a:lnTo>
                  <a:lnTo>
                    <a:pt x="46" y="123"/>
                  </a:lnTo>
                  <a:lnTo>
                    <a:pt x="45" y="126"/>
                  </a:lnTo>
                  <a:lnTo>
                    <a:pt x="43" y="128"/>
                  </a:lnTo>
                  <a:lnTo>
                    <a:pt x="43" y="130"/>
                  </a:lnTo>
                  <a:lnTo>
                    <a:pt x="43" y="135"/>
                  </a:lnTo>
                  <a:lnTo>
                    <a:pt x="43" y="145"/>
                  </a:lnTo>
                  <a:lnTo>
                    <a:pt x="43" y="149"/>
                  </a:lnTo>
                  <a:lnTo>
                    <a:pt x="43" y="152"/>
                  </a:lnTo>
                  <a:lnTo>
                    <a:pt x="42" y="153"/>
                  </a:lnTo>
                  <a:lnTo>
                    <a:pt x="40" y="158"/>
                  </a:lnTo>
                  <a:lnTo>
                    <a:pt x="42" y="160"/>
                  </a:lnTo>
                  <a:lnTo>
                    <a:pt x="50" y="172"/>
                  </a:lnTo>
                  <a:lnTo>
                    <a:pt x="53" y="173"/>
                  </a:lnTo>
                  <a:lnTo>
                    <a:pt x="58" y="173"/>
                  </a:lnTo>
                  <a:lnTo>
                    <a:pt x="60" y="173"/>
                  </a:lnTo>
                  <a:lnTo>
                    <a:pt x="62" y="175"/>
                  </a:lnTo>
                  <a:lnTo>
                    <a:pt x="62" y="179"/>
                  </a:lnTo>
                  <a:lnTo>
                    <a:pt x="60" y="185"/>
                  </a:lnTo>
                  <a:lnTo>
                    <a:pt x="59" y="192"/>
                  </a:lnTo>
                  <a:lnTo>
                    <a:pt x="59" y="195"/>
                  </a:lnTo>
                  <a:lnTo>
                    <a:pt x="59" y="196"/>
                  </a:lnTo>
                  <a:lnTo>
                    <a:pt x="62" y="198"/>
                  </a:lnTo>
                  <a:lnTo>
                    <a:pt x="65" y="196"/>
                  </a:lnTo>
                  <a:lnTo>
                    <a:pt x="69" y="193"/>
                  </a:lnTo>
                  <a:lnTo>
                    <a:pt x="75" y="189"/>
                  </a:lnTo>
                  <a:lnTo>
                    <a:pt x="78" y="186"/>
                  </a:lnTo>
                  <a:lnTo>
                    <a:pt x="81" y="186"/>
                  </a:lnTo>
                  <a:lnTo>
                    <a:pt x="82" y="186"/>
                  </a:lnTo>
                  <a:lnTo>
                    <a:pt x="82" y="188"/>
                  </a:lnTo>
                  <a:lnTo>
                    <a:pt x="82" y="191"/>
                  </a:lnTo>
                  <a:lnTo>
                    <a:pt x="82" y="192"/>
                  </a:lnTo>
                  <a:lnTo>
                    <a:pt x="83" y="193"/>
                  </a:lnTo>
                  <a:lnTo>
                    <a:pt x="85" y="195"/>
                  </a:lnTo>
                  <a:lnTo>
                    <a:pt x="85" y="198"/>
                  </a:lnTo>
                  <a:lnTo>
                    <a:pt x="83" y="201"/>
                  </a:lnTo>
                  <a:lnTo>
                    <a:pt x="82" y="203"/>
                  </a:lnTo>
                  <a:lnTo>
                    <a:pt x="83" y="203"/>
                  </a:lnTo>
                  <a:lnTo>
                    <a:pt x="86" y="206"/>
                  </a:lnTo>
                  <a:lnTo>
                    <a:pt x="92" y="208"/>
                  </a:lnTo>
                  <a:lnTo>
                    <a:pt x="96" y="208"/>
                  </a:lnTo>
                  <a:lnTo>
                    <a:pt x="99" y="206"/>
                  </a:lnTo>
                  <a:lnTo>
                    <a:pt x="101" y="203"/>
                  </a:lnTo>
                  <a:lnTo>
                    <a:pt x="102" y="201"/>
                  </a:lnTo>
                  <a:lnTo>
                    <a:pt x="105" y="202"/>
                  </a:lnTo>
                  <a:lnTo>
                    <a:pt x="105" y="202"/>
                  </a:lnTo>
                  <a:lnTo>
                    <a:pt x="105" y="203"/>
                  </a:lnTo>
                  <a:lnTo>
                    <a:pt x="105" y="205"/>
                  </a:lnTo>
                  <a:lnTo>
                    <a:pt x="108" y="208"/>
                  </a:lnTo>
                  <a:lnTo>
                    <a:pt x="111" y="208"/>
                  </a:lnTo>
                  <a:lnTo>
                    <a:pt x="112" y="208"/>
                  </a:lnTo>
                  <a:lnTo>
                    <a:pt x="115" y="208"/>
                  </a:lnTo>
                  <a:lnTo>
                    <a:pt x="118" y="208"/>
                  </a:lnTo>
                  <a:lnTo>
                    <a:pt x="119" y="206"/>
                  </a:lnTo>
                  <a:lnTo>
                    <a:pt x="122" y="205"/>
                  </a:lnTo>
                  <a:lnTo>
                    <a:pt x="124" y="206"/>
                  </a:lnTo>
                  <a:lnTo>
                    <a:pt x="124" y="211"/>
                  </a:lnTo>
                  <a:lnTo>
                    <a:pt x="124" y="215"/>
                  </a:lnTo>
                  <a:lnTo>
                    <a:pt x="126" y="219"/>
                  </a:lnTo>
                  <a:lnTo>
                    <a:pt x="131" y="225"/>
                  </a:lnTo>
                  <a:lnTo>
                    <a:pt x="132" y="226"/>
                  </a:lnTo>
                  <a:lnTo>
                    <a:pt x="135" y="226"/>
                  </a:lnTo>
                  <a:lnTo>
                    <a:pt x="136" y="226"/>
                  </a:lnTo>
                  <a:lnTo>
                    <a:pt x="136" y="229"/>
                  </a:lnTo>
                  <a:lnTo>
                    <a:pt x="136" y="231"/>
                  </a:lnTo>
                  <a:lnTo>
                    <a:pt x="138" y="233"/>
                  </a:lnTo>
                  <a:lnTo>
                    <a:pt x="139" y="235"/>
                  </a:lnTo>
                  <a:lnTo>
                    <a:pt x="142" y="235"/>
                  </a:lnTo>
                  <a:lnTo>
                    <a:pt x="142" y="233"/>
                  </a:lnTo>
                  <a:lnTo>
                    <a:pt x="144" y="232"/>
                  </a:lnTo>
                  <a:lnTo>
                    <a:pt x="146" y="232"/>
                  </a:lnTo>
                  <a:lnTo>
                    <a:pt x="146" y="233"/>
                  </a:lnTo>
                  <a:lnTo>
                    <a:pt x="146" y="236"/>
                  </a:lnTo>
                  <a:lnTo>
                    <a:pt x="145" y="236"/>
                  </a:lnTo>
                  <a:lnTo>
                    <a:pt x="144" y="236"/>
                  </a:lnTo>
                  <a:lnTo>
                    <a:pt x="142" y="238"/>
                  </a:lnTo>
                  <a:lnTo>
                    <a:pt x="145" y="239"/>
                  </a:lnTo>
                  <a:lnTo>
                    <a:pt x="146" y="241"/>
                  </a:lnTo>
                  <a:lnTo>
                    <a:pt x="148" y="239"/>
                  </a:lnTo>
                  <a:lnTo>
                    <a:pt x="149" y="238"/>
                  </a:lnTo>
                  <a:lnTo>
                    <a:pt x="151" y="238"/>
                  </a:lnTo>
                  <a:lnTo>
                    <a:pt x="152" y="239"/>
                  </a:lnTo>
                  <a:lnTo>
                    <a:pt x="152" y="242"/>
                  </a:lnTo>
                  <a:lnTo>
                    <a:pt x="152" y="244"/>
                  </a:lnTo>
                  <a:lnTo>
                    <a:pt x="154" y="242"/>
                  </a:lnTo>
                  <a:lnTo>
                    <a:pt x="156" y="242"/>
                  </a:lnTo>
                  <a:lnTo>
                    <a:pt x="159" y="244"/>
                  </a:lnTo>
                  <a:lnTo>
                    <a:pt x="161" y="244"/>
                  </a:lnTo>
                  <a:lnTo>
                    <a:pt x="161" y="241"/>
                  </a:lnTo>
                  <a:lnTo>
                    <a:pt x="162" y="239"/>
                  </a:lnTo>
                  <a:lnTo>
                    <a:pt x="164" y="239"/>
                  </a:lnTo>
                  <a:lnTo>
                    <a:pt x="164" y="241"/>
                  </a:lnTo>
                  <a:lnTo>
                    <a:pt x="165" y="242"/>
                  </a:lnTo>
                  <a:lnTo>
                    <a:pt x="166" y="244"/>
                  </a:lnTo>
                  <a:lnTo>
                    <a:pt x="168" y="242"/>
                  </a:lnTo>
                  <a:lnTo>
                    <a:pt x="171" y="244"/>
                  </a:lnTo>
                  <a:lnTo>
                    <a:pt x="171" y="246"/>
                  </a:lnTo>
                  <a:lnTo>
                    <a:pt x="172" y="248"/>
                  </a:lnTo>
                  <a:lnTo>
                    <a:pt x="174" y="246"/>
                  </a:lnTo>
                  <a:lnTo>
                    <a:pt x="176" y="245"/>
                  </a:lnTo>
                  <a:lnTo>
                    <a:pt x="176" y="242"/>
                  </a:lnTo>
                  <a:lnTo>
                    <a:pt x="178" y="241"/>
                  </a:lnTo>
                  <a:lnTo>
                    <a:pt x="179" y="242"/>
                  </a:lnTo>
                  <a:lnTo>
                    <a:pt x="185" y="244"/>
                  </a:lnTo>
                  <a:lnTo>
                    <a:pt x="189" y="244"/>
                  </a:lnTo>
                  <a:lnTo>
                    <a:pt x="195" y="244"/>
                  </a:lnTo>
                  <a:lnTo>
                    <a:pt x="201" y="242"/>
                  </a:lnTo>
                  <a:lnTo>
                    <a:pt x="204" y="242"/>
                  </a:lnTo>
                  <a:lnTo>
                    <a:pt x="207" y="244"/>
                  </a:lnTo>
                  <a:lnTo>
                    <a:pt x="208" y="244"/>
                  </a:lnTo>
                  <a:lnTo>
                    <a:pt x="211" y="244"/>
                  </a:lnTo>
                  <a:lnTo>
                    <a:pt x="211" y="241"/>
                  </a:lnTo>
                  <a:lnTo>
                    <a:pt x="211" y="239"/>
                  </a:lnTo>
                  <a:lnTo>
                    <a:pt x="212" y="236"/>
                  </a:lnTo>
                  <a:lnTo>
                    <a:pt x="214" y="233"/>
                  </a:lnTo>
                  <a:lnTo>
                    <a:pt x="217" y="232"/>
                  </a:lnTo>
                  <a:lnTo>
                    <a:pt x="219" y="231"/>
                  </a:lnTo>
                  <a:lnTo>
                    <a:pt x="221" y="228"/>
                  </a:lnTo>
                  <a:lnTo>
                    <a:pt x="224" y="225"/>
                  </a:lnTo>
                  <a:lnTo>
                    <a:pt x="225" y="222"/>
                  </a:lnTo>
                  <a:lnTo>
                    <a:pt x="227" y="221"/>
                  </a:lnTo>
                  <a:lnTo>
                    <a:pt x="225" y="219"/>
                  </a:lnTo>
                  <a:lnTo>
                    <a:pt x="224" y="218"/>
                  </a:lnTo>
                  <a:lnTo>
                    <a:pt x="224" y="215"/>
                  </a:lnTo>
                  <a:lnTo>
                    <a:pt x="224" y="209"/>
                  </a:lnTo>
                  <a:lnTo>
                    <a:pt x="222" y="202"/>
                  </a:lnTo>
                  <a:lnTo>
                    <a:pt x="222" y="196"/>
                  </a:lnTo>
                  <a:lnTo>
                    <a:pt x="222" y="189"/>
                  </a:lnTo>
                  <a:lnTo>
                    <a:pt x="221" y="189"/>
                  </a:lnTo>
                  <a:lnTo>
                    <a:pt x="219" y="189"/>
                  </a:lnTo>
                  <a:lnTo>
                    <a:pt x="218" y="189"/>
                  </a:lnTo>
                  <a:lnTo>
                    <a:pt x="215" y="189"/>
                  </a:lnTo>
                  <a:lnTo>
                    <a:pt x="212" y="188"/>
                  </a:lnTo>
                  <a:lnTo>
                    <a:pt x="212" y="185"/>
                  </a:lnTo>
                  <a:lnTo>
                    <a:pt x="212" y="183"/>
                  </a:lnTo>
                  <a:lnTo>
                    <a:pt x="215" y="183"/>
                  </a:lnTo>
                  <a:lnTo>
                    <a:pt x="217" y="185"/>
                  </a:lnTo>
                  <a:lnTo>
                    <a:pt x="218" y="180"/>
                  </a:lnTo>
                  <a:lnTo>
                    <a:pt x="215" y="178"/>
                  </a:lnTo>
                  <a:lnTo>
                    <a:pt x="211" y="176"/>
                  </a:lnTo>
                  <a:lnTo>
                    <a:pt x="208" y="175"/>
                  </a:lnTo>
                  <a:lnTo>
                    <a:pt x="205" y="170"/>
                  </a:lnTo>
                  <a:lnTo>
                    <a:pt x="202" y="165"/>
                  </a:lnTo>
                  <a:lnTo>
                    <a:pt x="201" y="162"/>
                  </a:lnTo>
                  <a:lnTo>
                    <a:pt x="199" y="159"/>
                  </a:lnTo>
                  <a:lnTo>
                    <a:pt x="201" y="158"/>
                  </a:lnTo>
                  <a:lnTo>
                    <a:pt x="202" y="158"/>
                  </a:lnTo>
                  <a:lnTo>
                    <a:pt x="204" y="159"/>
                  </a:lnTo>
                  <a:lnTo>
                    <a:pt x="207" y="162"/>
                  </a:lnTo>
                  <a:lnTo>
                    <a:pt x="209" y="166"/>
                  </a:lnTo>
                  <a:lnTo>
                    <a:pt x="212" y="168"/>
                  </a:lnTo>
                  <a:lnTo>
                    <a:pt x="214" y="168"/>
                  </a:lnTo>
                  <a:lnTo>
                    <a:pt x="214" y="165"/>
                  </a:lnTo>
                  <a:lnTo>
                    <a:pt x="214" y="163"/>
                  </a:lnTo>
                  <a:lnTo>
                    <a:pt x="215" y="163"/>
                  </a:lnTo>
                  <a:lnTo>
                    <a:pt x="215" y="160"/>
                  </a:lnTo>
                  <a:lnTo>
                    <a:pt x="215" y="158"/>
                  </a:lnTo>
                  <a:lnTo>
                    <a:pt x="217" y="158"/>
                  </a:lnTo>
                  <a:lnTo>
                    <a:pt x="218" y="160"/>
                  </a:lnTo>
                  <a:lnTo>
                    <a:pt x="219" y="162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18" y="152"/>
                  </a:lnTo>
                  <a:lnTo>
                    <a:pt x="219" y="143"/>
                  </a:lnTo>
                  <a:lnTo>
                    <a:pt x="221" y="139"/>
                  </a:lnTo>
                  <a:lnTo>
                    <a:pt x="221" y="136"/>
                  </a:lnTo>
                  <a:lnTo>
                    <a:pt x="219" y="135"/>
                  </a:lnTo>
                  <a:lnTo>
                    <a:pt x="218" y="133"/>
                  </a:lnTo>
                  <a:lnTo>
                    <a:pt x="218" y="130"/>
                  </a:lnTo>
                  <a:lnTo>
                    <a:pt x="219" y="126"/>
                  </a:lnTo>
                  <a:lnTo>
                    <a:pt x="221" y="123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1" y="113"/>
                  </a:lnTo>
                  <a:lnTo>
                    <a:pt x="221" y="109"/>
                  </a:lnTo>
                  <a:lnTo>
                    <a:pt x="221" y="10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33" name="Freeform 582"/>
            <p:cNvSpPr>
              <a:spLocks/>
            </p:cNvSpPr>
            <p:nvPr/>
          </p:nvSpPr>
          <p:spPr bwMode="auto">
            <a:xfrm>
              <a:off x="5352301" y="2678360"/>
              <a:ext cx="13433" cy="17198"/>
            </a:xfrm>
            <a:custGeom>
              <a:avLst/>
              <a:gdLst>
                <a:gd name="T0" fmla="*/ 21 w 22"/>
                <a:gd name="T1" fmla="*/ 9 h 27"/>
                <a:gd name="T2" fmla="*/ 22 w 22"/>
                <a:gd name="T3" fmla="*/ 7 h 27"/>
                <a:gd name="T4" fmla="*/ 20 w 22"/>
                <a:gd name="T5" fmla="*/ 3 h 27"/>
                <a:gd name="T6" fmla="*/ 15 w 22"/>
                <a:gd name="T7" fmla="*/ 2 h 27"/>
                <a:gd name="T8" fmla="*/ 11 w 22"/>
                <a:gd name="T9" fmla="*/ 0 h 27"/>
                <a:gd name="T10" fmla="*/ 7 w 22"/>
                <a:gd name="T11" fmla="*/ 2 h 27"/>
                <a:gd name="T12" fmla="*/ 2 w 22"/>
                <a:gd name="T13" fmla="*/ 5 h 27"/>
                <a:gd name="T14" fmla="*/ 0 w 22"/>
                <a:gd name="T15" fmla="*/ 12 h 27"/>
                <a:gd name="T16" fmla="*/ 0 w 22"/>
                <a:gd name="T17" fmla="*/ 19 h 27"/>
                <a:gd name="T18" fmla="*/ 0 w 22"/>
                <a:gd name="T19" fmla="*/ 25 h 27"/>
                <a:gd name="T20" fmla="*/ 0 w 22"/>
                <a:gd name="T21" fmla="*/ 27 h 27"/>
                <a:gd name="T22" fmla="*/ 1 w 22"/>
                <a:gd name="T23" fmla="*/ 25 h 27"/>
                <a:gd name="T24" fmla="*/ 1 w 22"/>
                <a:gd name="T25" fmla="*/ 23 h 27"/>
                <a:gd name="T26" fmla="*/ 2 w 22"/>
                <a:gd name="T27" fmla="*/ 22 h 27"/>
                <a:gd name="T28" fmla="*/ 4 w 22"/>
                <a:gd name="T29" fmla="*/ 22 h 27"/>
                <a:gd name="T30" fmla="*/ 5 w 22"/>
                <a:gd name="T31" fmla="*/ 25 h 27"/>
                <a:gd name="T32" fmla="*/ 5 w 22"/>
                <a:gd name="T33" fmla="*/ 27 h 27"/>
                <a:gd name="T34" fmla="*/ 7 w 22"/>
                <a:gd name="T35" fmla="*/ 27 h 27"/>
                <a:gd name="T36" fmla="*/ 10 w 22"/>
                <a:gd name="T37" fmla="*/ 26 h 27"/>
                <a:gd name="T38" fmla="*/ 11 w 22"/>
                <a:gd name="T39" fmla="*/ 26 h 27"/>
                <a:gd name="T40" fmla="*/ 12 w 22"/>
                <a:gd name="T41" fmla="*/ 25 h 27"/>
                <a:gd name="T42" fmla="*/ 14 w 22"/>
                <a:gd name="T43" fmla="*/ 22 h 27"/>
                <a:gd name="T44" fmla="*/ 17 w 22"/>
                <a:gd name="T45" fmla="*/ 20 h 27"/>
                <a:gd name="T46" fmla="*/ 20 w 22"/>
                <a:gd name="T47" fmla="*/ 19 h 27"/>
                <a:gd name="T48" fmla="*/ 21 w 22"/>
                <a:gd name="T49" fmla="*/ 15 h 27"/>
                <a:gd name="T50" fmla="*/ 21 w 22"/>
                <a:gd name="T51" fmla="*/ 9 h 27"/>
                <a:gd name="T52" fmla="*/ 21 w 22"/>
                <a:gd name="T53" fmla="*/ 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" h="27">
                  <a:moveTo>
                    <a:pt x="21" y="9"/>
                  </a:moveTo>
                  <a:lnTo>
                    <a:pt x="22" y="7"/>
                  </a:lnTo>
                  <a:lnTo>
                    <a:pt x="20" y="3"/>
                  </a:lnTo>
                  <a:lnTo>
                    <a:pt x="15" y="2"/>
                  </a:lnTo>
                  <a:lnTo>
                    <a:pt x="11" y="0"/>
                  </a:lnTo>
                  <a:lnTo>
                    <a:pt x="7" y="2"/>
                  </a:lnTo>
                  <a:lnTo>
                    <a:pt x="2" y="5"/>
                  </a:lnTo>
                  <a:lnTo>
                    <a:pt x="0" y="12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1" y="25"/>
                  </a:lnTo>
                  <a:lnTo>
                    <a:pt x="1" y="23"/>
                  </a:lnTo>
                  <a:lnTo>
                    <a:pt x="2" y="22"/>
                  </a:lnTo>
                  <a:lnTo>
                    <a:pt x="4" y="22"/>
                  </a:lnTo>
                  <a:lnTo>
                    <a:pt x="5" y="25"/>
                  </a:lnTo>
                  <a:lnTo>
                    <a:pt x="5" y="27"/>
                  </a:lnTo>
                  <a:lnTo>
                    <a:pt x="7" y="27"/>
                  </a:lnTo>
                  <a:lnTo>
                    <a:pt x="10" y="26"/>
                  </a:lnTo>
                  <a:lnTo>
                    <a:pt x="11" y="26"/>
                  </a:lnTo>
                  <a:lnTo>
                    <a:pt x="12" y="25"/>
                  </a:lnTo>
                  <a:lnTo>
                    <a:pt x="14" y="22"/>
                  </a:lnTo>
                  <a:lnTo>
                    <a:pt x="17" y="20"/>
                  </a:lnTo>
                  <a:lnTo>
                    <a:pt x="20" y="19"/>
                  </a:lnTo>
                  <a:lnTo>
                    <a:pt x="21" y="15"/>
                  </a:lnTo>
                  <a:lnTo>
                    <a:pt x="21" y="9"/>
                  </a:lnTo>
                  <a:lnTo>
                    <a:pt x="21" y="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34" name="Freeform 583"/>
            <p:cNvSpPr>
              <a:spLocks/>
            </p:cNvSpPr>
            <p:nvPr/>
          </p:nvSpPr>
          <p:spPr bwMode="auto">
            <a:xfrm>
              <a:off x="5123948" y="2833140"/>
              <a:ext cx="23202" cy="38364"/>
            </a:xfrm>
            <a:custGeom>
              <a:avLst/>
              <a:gdLst>
                <a:gd name="T0" fmla="*/ 6 w 37"/>
                <a:gd name="T1" fmla="*/ 17 h 57"/>
                <a:gd name="T2" fmla="*/ 0 w 37"/>
                <a:gd name="T3" fmla="*/ 30 h 57"/>
                <a:gd name="T4" fmla="*/ 1 w 37"/>
                <a:gd name="T5" fmla="*/ 46 h 57"/>
                <a:gd name="T6" fmla="*/ 6 w 37"/>
                <a:gd name="T7" fmla="*/ 57 h 57"/>
                <a:gd name="T8" fmla="*/ 8 w 37"/>
                <a:gd name="T9" fmla="*/ 57 h 57"/>
                <a:gd name="T10" fmla="*/ 6 w 37"/>
                <a:gd name="T11" fmla="*/ 52 h 57"/>
                <a:gd name="T12" fmla="*/ 3 w 37"/>
                <a:gd name="T13" fmla="*/ 36 h 57"/>
                <a:gd name="T14" fmla="*/ 3 w 37"/>
                <a:gd name="T15" fmla="*/ 29 h 57"/>
                <a:gd name="T16" fmla="*/ 6 w 37"/>
                <a:gd name="T17" fmla="*/ 23 h 57"/>
                <a:gd name="T18" fmla="*/ 7 w 37"/>
                <a:gd name="T19" fmla="*/ 24 h 57"/>
                <a:gd name="T20" fmla="*/ 4 w 37"/>
                <a:gd name="T21" fmla="*/ 30 h 57"/>
                <a:gd name="T22" fmla="*/ 4 w 37"/>
                <a:gd name="T23" fmla="*/ 36 h 57"/>
                <a:gd name="T24" fmla="*/ 8 w 37"/>
                <a:gd name="T25" fmla="*/ 37 h 57"/>
                <a:gd name="T26" fmla="*/ 10 w 37"/>
                <a:gd name="T27" fmla="*/ 33 h 57"/>
                <a:gd name="T28" fmla="*/ 14 w 37"/>
                <a:gd name="T29" fmla="*/ 33 h 57"/>
                <a:gd name="T30" fmla="*/ 13 w 37"/>
                <a:gd name="T31" fmla="*/ 37 h 57"/>
                <a:gd name="T32" fmla="*/ 11 w 37"/>
                <a:gd name="T33" fmla="*/ 49 h 57"/>
                <a:gd name="T34" fmla="*/ 13 w 37"/>
                <a:gd name="T35" fmla="*/ 57 h 57"/>
                <a:gd name="T36" fmla="*/ 14 w 37"/>
                <a:gd name="T37" fmla="*/ 56 h 57"/>
                <a:gd name="T38" fmla="*/ 14 w 37"/>
                <a:gd name="T39" fmla="*/ 50 h 57"/>
                <a:gd name="T40" fmla="*/ 17 w 37"/>
                <a:gd name="T41" fmla="*/ 42 h 57"/>
                <a:gd name="T42" fmla="*/ 20 w 37"/>
                <a:gd name="T43" fmla="*/ 42 h 57"/>
                <a:gd name="T44" fmla="*/ 18 w 37"/>
                <a:gd name="T45" fmla="*/ 45 h 57"/>
                <a:gd name="T46" fmla="*/ 18 w 37"/>
                <a:gd name="T47" fmla="*/ 49 h 57"/>
                <a:gd name="T48" fmla="*/ 23 w 37"/>
                <a:gd name="T49" fmla="*/ 46 h 57"/>
                <a:gd name="T50" fmla="*/ 23 w 37"/>
                <a:gd name="T51" fmla="*/ 37 h 57"/>
                <a:gd name="T52" fmla="*/ 23 w 37"/>
                <a:gd name="T53" fmla="*/ 33 h 57"/>
                <a:gd name="T54" fmla="*/ 21 w 37"/>
                <a:gd name="T55" fmla="*/ 36 h 57"/>
                <a:gd name="T56" fmla="*/ 18 w 37"/>
                <a:gd name="T57" fmla="*/ 36 h 57"/>
                <a:gd name="T58" fmla="*/ 20 w 37"/>
                <a:gd name="T59" fmla="*/ 32 h 57"/>
                <a:gd name="T60" fmla="*/ 23 w 37"/>
                <a:gd name="T61" fmla="*/ 30 h 57"/>
                <a:gd name="T62" fmla="*/ 28 w 37"/>
                <a:gd name="T63" fmla="*/ 32 h 57"/>
                <a:gd name="T64" fmla="*/ 30 w 37"/>
                <a:gd name="T65" fmla="*/ 36 h 57"/>
                <a:gd name="T66" fmla="*/ 30 w 37"/>
                <a:gd name="T67" fmla="*/ 37 h 57"/>
                <a:gd name="T68" fmla="*/ 33 w 37"/>
                <a:gd name="T69" fmla="*/ 34 h 57"/>
                <a:gd name="T70" fmla="*/ 34 w 37"/>
                <a:gd name="T71" fmla="*/ 24 h 57"/>
                <a:gd name="T72" fmla="*/ 31 w 37"/>
                <a:gd name="T73" fmla="*/ 14 h 57"/>
                <a:gd name="T74" fmla="*/ 31 w 37"/>
                <a:gd name="T75" fmla="*/ 7 h 57"/>
                <a:gd name="T76" fmla="*/ 36 w 37"/>
                <a:gd name="T77" fmla="*/ 3 h 57"/>
                <a:gd name="T78" fmla="*/ 36 w 37"/>
                <a:gd name="T79" fmla="*/ 0 h 57"/>
                <a:gd name="T80" fmla="*/ 27 w 37"/>
                <a:gd name="T81" fmla="*/ 3 h 57"/>
                <a:gd name="T82" fmla="*/ 21 w 37"/>
                <a:gd name="T83" fmla="*/ 3 h 57"/>
                <a:gd name="T84" fmla="*/ 21 w 37"/>
                <a:gd name="T85" fmla="*/ 6 h 57"/>
                <a:gd name="T86" fmla="*/ 27 w 37"/>
                <a:gd name="T87" fmla="*/ 6 h 57"/>
                <a:gd name="T88" fmla="*/ 26 w 37"/>
                <a:gd name="T89" fmla="*/ 9 h 57"/>
                <a:gd name="T90" fmla="*/ 24 w 37"/>
                <a:gd name="T91" fmla="*/ 13 h 57"/>
                <a:gd name="T92" fmla="*/ 21 w 37"/>
                <a:gd name="T93" fmla="*/ 12 h 57"/>
                <a:gd name="T94" fmla="*/ 20 w 37"/>
                <a:gd name="T95" fmla="*/ 19 h 57"/>
                <a:gd name="T96" fmla="*/ 18 w 37"/>
                <a:gd name="T97" fmla="*/ 23 h 57"/>
                <a:gd name="T98" fmla="*/ 14 w 37"/>
                <a:gd name="T99" fmla="*/ 23 h 57"/>
                <a:gd name="T100" fmla="*/ 11 w 37"/>
                <a:gd name="T101" fmla="*/ 20 h 57"/>
                <a:gd name="T102" fmla="*/ 13 w 37"/>
                <a:gd name="T103" fmla="*/ 14 h 57"/>
                <a:gd name="T104" fmla="*/ 18 w 37"/>
                <a:gd name="T105" fmla="*/ 9 h 57"/>
                <a:gd name="T106" fmla="*/ 17 w 37"/>
                <a:gd name="T107" fmla="*/ 6 h 57"/>
                <a:gd name="T108" fmla="*/ 17 w 37"/>
                <a:gd name="T109" fmla="*/ 6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" h="57">
                  <a:moveTo>
                    <a:pt x="17" y="6"/>
                  </a:moveTo>
                  <a:lnTo>
                    <a:pt x="6" y="17"/>
                  </a:lnTo>
                  <a:lnTo>
                    <a:pt x="3" y="23"/>
                  </a:lnTo>
                  <a:lnTo>
                    <a:pt x="0" y="30"/>
                  </a:lnTo>
                  <a:lnTo>
                    <a:pt x="0" y="37"/>
                  </a:lnTo>
                  <a:lnTo>
                    <a:pt x="1" y="46"/>
                  </a:lnTo>
                  <a:lnTo>
                    <a:pt x="3" y="55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8" y="57"/>
                  </a:lnTo>
                  <a:lnTo>
                    <a:pt x="8" y="55"/>
                  </a:lnTo>
                  <a:lnTo>
                    <a:pt x="6" y="52"/>
                  </a:lnTo>
                  <a:lnTo>
                    <a:pt x="3" y="43"/>
                  </a:lnTo>
                  <a:lnTo>
                    <a:pt x="3" y="36"/>
                  </a:lnTo>
                  <a:lnTo>
                    <a:pt x="3" y="32"/>
                  </a:lnTo>
                  <a:lnTo>
                    <a:pt x="3" y="29"/>
                  </a:lnTo>
                  <a:lnTo>
                    <a:pt x="4" y="26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4"/>
                  </a:lnTo>
                  <a:lnTo>
                    <a:pt x="6" y="29"/>
                  </a:lnTo>
                  <a:lnTo>
                    <a:pt x="4" y="30"/>
                  </a:lnTo>
                  <a:lnTo>
                    <a:pt x="4" y="33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8" y="37"/>
                  </a:lnTo>
                  <a:lnTo>
                    <a:pt x="8" y="36"/>
                  </a:lnTo>
                  <a:lnTo>
                    <a:pt x="10" y="33"/>
                  </a:lnTo>
                  <a:lnTo>
                    <a:pt x="11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3" y="37"/>
                  </a:lnTo>
                  <a:lnTo>
                    <a:pt x="13" y="43"/>
                  </a:lnTo>
                  <a:lnTo>
                    <a:pt x="11" y="49"/>
                  </a:lnTo>
                  <a:lnTo>
                    <a:pt x="11" y="55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4" y="56"/>
                  </a:lnTo>
                  <a:lnTo>
                    <a:pt x="14" y="53"/>
                  </a:lnTo>
                  <a:lnTo>
                    <a:pt x="14" y="50"/>
                  </a:lnTo>
                  <a:lnTo>
                    <a:pt x="16" y="47"/>
                  </a:lnTo>
                  <a:lnTo>
                    <a:pt x="17" y="42"/>
                  </a:lnTo>
                  <a:lnTo>
                    <a:pt x="18" y="40"/>
                  </a:lnTo>
                  <a:lnTo>
                    <a:pt x="20" y="42"/>
                  </a:lnTo>
                  <a:lnTo>
                    <a:pt x="20" y="43"/>
                  </a:lnTo>
                  <a:lnTo>
                    <a:pt x="18" y="45"/>
                  </a:lnTo>
                  <a:lnTo>
                    <a:pt x="18" y="47"/>
                  </a:lnTo>
                  <a:lnTo>
                    <a:pt x="18" y="49"/>
                  </a:lnTo>
                  <a:lnTo>
                    <a:pt x="21" y="49"/>
                  </a:lnTo>
                  <a:lnTo>
                    <a:pt x="23" y="46"/>
                  </a:lnTo>
                  <a:lnTo>
                    <a:pt x="23" y="42"/>
                  </a:lnTo>
                  <a:lnTo>
                    <a:pt x="23" y="37"/>
                  </a:lnTo>
                  <a:lnTo>
                    <a:pt x="24" y="36"/>
                  </a:lnTo>
                  <a:lnTo>
                    <a:pt x="23" y="33"/>
                  </a:lnTo>
                  <a:lnTo>
                    <a:pt x="21" y="34"/>
                  </a:lnTo>
                  <a:lnTo>
                    <a:pt x="21" y="36"/>
                  </a:lnTo>
                  <a:lnTo>
                    <a:pt x="20" y="37"/>
                  </a:lnTo>
                  <a:lnTo>
                    <a:pt x="18" y="36"/>
                  </a:lnTo>
                  <a:lnTo>
                    <a:pt x="18" y="33"/>
                  </a:lnTo>
                  <a:lnTo>
                    <a:pt x="20" y="32"/>
                  </a:lnTo>
                  <a:lnTo>
                    <a:pt x="21" y="30"/>
                  </a:lnTo>
                  <a:lnTo>
                    <a:pt x="23" y="30"/>
                  </a:lnTo>
                  <a:lnTo>
                    <a:pt x="26" y="30"/>
                  </a:lnTo>
                  <a:lnTo>
                    <a:pt x="28" y="32"/>
                  </a:lnTo>
                  <a:lnTo>
                    <a:pt x="30" y="33"/>
                  </a:lnTo>
                  <a:lnTo>
                    <a:pt x="30" y="36"/>
                  </a:lnTo>
                  <a:lnTo>
                    <a:pt x="28" y="37"/>
                  </a:lnTo>
                  <a:lnTo>
                    <a:pt x="30" y="37"/>
                  </a:lnTo>
                  <a:lnTo>
                    <a:pt x="33" y="36"/>
                  </a:lnTo>
                  <a:lnTo>
                    <a:pt x="33" y="34"/>
                  </a:lnTo>
                  <a:lnTo>
                    <a:pt x="34" y="30"/>
                  </a:lnTo>
                  <a:lnTo>
                    <a:pt x="34" y="24"/>
                  </a:lnTo>
                  <a:lnTo>
                    <a:pt x="31" y="20"/>
                  </a:lnTo>
                  <a:lnTo>
                    <a:pt x="31" y="14"/>
                  </a:lnTo>
                  <a:lnTo>
                    <a:pt x="31" y="12"/>
                  </a:lnTo>
                  <a:lnTo>
                    <a:pt x="31" y="7"/>
                  </a:lnTo>
                  <a:lnTo>
                    <a:pt x="33" y="6"/>
                  </a:lnTo>
                  <a:lnTo>
                    <a:pt x="36" y="3"/>
                  </a:lnTo>
                  <a:lnTo>
                    <a:pt x="37" y="2"/>
                  </a:lnTo>
                  <a:lnTo>
                    <a:pt x="36" y="0"/>
                  </a:lnTo>
                  <a:lnTo>
                    <a:pt x="30" y="2"/>
                  </a:lnTo>
                  <a:lnTo>
                    <a:pt x="27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4" y="6"/>
                  </a:lnTo>
                  <a:lnTo>
                    <a:pt x="27" y="6"/>
                  </a:lnTo>
                  <a:lnTo>
                    <a:pt x="27" y="7"/>
                  </a:lnTo>
                  <a:lnTo>
                    <a:pt x="26" y="9"/>
                  </a:lnTo>
                  <a:lnTo>
                    <a:pt x="24" y="10"/>
                  </a:lnTo>
                  <a:lnTo>
                    <a:pt x="24" y="13"/>
                  </a:lnTo>
                  <a:lnTo>
                    <a:pt x="21" y="13"/>
                  </a:lnTo>
                  <a:lnTo>
                    <a:pt x="21" y="12"/>
                  </a:lnTo>
                  <a:lnTo>
                    <a:pt x="20" y="14"/>
                  </a:lnTo>
                  <a:lnTo>
                    <a:pt x="20" y="19"/>
                  </a:lnTo>
                  <a:lnTo>
                    <a:pt x="20" y="22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4" y="23"/>
                  </a:lnTo>
                  <a:lnTo>
                    <a:pt x="13" y="22"/>
                  </a:lnTo>
                  <a:lnTo>
                    <a:pt x="11" y="20"/>
                  </a:lnTo>
                  <a:lnTo>
                    <a:pt x="11" y="17"/>
                  </a:lnTo>
                  <a:lnTo>
                    <a:pt x="13" y="14"/>
                  </a:lnTo>
                  <a:lnTo>
                    <a:pt x="16" y="12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35" name="Freeform 584"/>
            <p:cNvSpPr>
              <a:spLocks/>
            </p:cNvSpPr>
            <p:nvPr/>
          </p:nvSpPr>
          <p:spPr bwMode="auto">
            <a:xfrm>
              <a:off x="5160582" y="2786838"/>
              <a:ext cx="23202" cy="13229"/>
            </a:xfrm>
            <a:custGeom>
              <a:avLst/>
              <a:gdLst>
                <a:gd name="T0" fmla="*/ 27 w 37"/>
                <a:gd name="T1" fmla="*/ 9 h 20"/>
                <a:gd name="T2" fmla="*/ 23 w 37"/>
                <a:gd name="T3" fmla="*/ 4 h 20"/>
                <a:gd name="T4" fmla="*/ 20 w 37"/>
                <a:gd name="T5" fmla="*/ 3 h 20"/>
                <a:gd name="T6" fmla="*/ 16 w 37"/>
                <a:gd name="T7" fmla="*/ 1 h 20"/>
                <a:gd name="T8" fmla="*/ 13 w 37"/>
                <a:gd name="T9" fmla="*/ 0 h 20"/>
                <a:gd name="T10" fmla="*/ 10 w 37"/>
                <a:gd name="T11" fmla="*/ 1 h 20"/>
                <a:gd name="T12" fmla="*/ 10 w 37"/>
                <a:gd name="T13" fmla="*/ 3 h 20"/>
                <a:gd name="T14" fmla="*/ 9 w 37"/>
                <a:gd name="T15" fmla="*/ 6 h 20"/>
                <a:gd name="T16" fmla="*/ 6 w 37"/>
                <a:gd name="T17" fmla="*/ 6 h 20"/>
                <a:gd name="T18" fmla="*/ 6 w 37"/>
                <a:gd name="T19" fmla="*/ 3 h 20"/>
                <a:gd name="T20" fmla="*/ 4 w 37"/>
                <a:gd name="T21" fmla="*/ 1 h 20"/>
                <a:gd name="T22" fmla="*/ 1 w 37"/>
                <a:gd name="T23" fmla="*/ 1 h 20"/>
                <a:gd name="T24" fmla="*/ 0 w 37"/>
                <a:gd name="T25" fmla="*/ 3 h 20"/>
                <a:gd name="T26" fmla="*/ 0 w 37"/>
                <a:gd name="T27" fmla="*/ 4 h 20"/>
                <a:gd name="T28" fmla="*/ 0 w 37"/>
                <a:gd name="T29" fmla="*/ 7 h 20"/>
                <a:gd name="T30" fmla="*/ 3 w 37"/>
                <a:gd name="T31" fmla="*/ 9 h 20"/>
                <a:gd name="T32" fmla="*/ 7 w 37"/>
                <a:gd name="T33" fmla="*/ 10 h 20"/>
                <a:gd name="T34" fmla="*/ 13 w 37"/>
                <a:gd name="T35" fmla="*/ 10 h 20"/>
                <a:gd name="T36" fmla="*/ 20 w 37"/>
                <a:gd name="T37" fmla="*/ 11 h 20"/>
                <a:gd name="T38" fmla="*/ 23 w 37"/>
                <a:gd name="T39" fmla="*/ 11 h 20"/>
                <a:gd name="T40" fmla="*/ 27 w 37"/>
                <a:gd name="T41" fmla="*/ 14 h 20"/>
                <a:gd name="T42" fmla="*/ 27 w 37"/>
                <a:gd name="T43" fmla="*/ 16 h 20"/>
                <a:gd name="T44" fmla="*/ 27 w 37"/>
                <a:gd name="T45" fmla="*/ 17 h 20"/>
                <a:gd name="T46" fmla="*/ 29 w 37"/>
                <a:gd name="T47" fmla="*/ 19 h 20"/>
                <a:gd name="T48" fmla="*/ 31 w 37"/>
                <a:gd name="T49" fmla="*/ 19 h 20"/>
                <a:gd name="T50" fmla="*/ 34 w 37"/>
                <a:gd name="T51" fmla="*/ 20 h 20"/>
                <a:gd name="T52" fmla="*/ 37 w 37"/>
                <a:gd name="T53" fmla="*/ 20 h 20"/>
                <a:gd name="T54" fmla="*/ 37 w 37"/>
                <a:gd name="T55" fmla="*/ 19 h 20"/>
                <a:gd name="T56" fmla="*/ 36 w 37"/>
                <a:gd name="T57" fmla="*/ 14 h 20"/>
                <a:gd name="T58" fmla="*/ 33 w 37"/>
                <a:gd name="T59" fmla="*/ 13 h 20"/>
                <a:gd name="T60" fmla="*/ 30 w 37"/>
                <a:gd name="T61" fmla="*/ 10 h 20"/>
                <a:gd name="T62" fmla="*/ 27 w 37"/>
                <a:gd name="T63" fmla="*/ 9 h 20"/>
                <a:gd name="T64" fmla="*/ 27 w 37"/>
                <a:gd name="T65" fmla="*/ 9 h 20"/>
                <a:gd name="T66" fmla="*/ 27 w 37"/>
                <a:gd name="T67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7" h="20">
                  <a:moveTo>
                    <a:pt x="27" y="9"/>
                  </a:moveTo>
                  <a:lnTo>
                    <a:pt x="23" y="4"/>
                  </a:lnTo>
                  <a:lnTo>
                    <a:pt x="20" y="3"/>
                  </a:lnTo>
                  <a:lnTo>
                    <a:pt x="16" y="1"/>
                  </a:lnTo>
                  <a:lnTo>
                    <a:pt x="13" y="0"/>
                  </a:lnTo>
                  <a:lnTo>
                    <a:pt x="10" y="1"/>
                  </a:lnTo>
                  <a:lnTo>
                    <a:pt x="10" y="3"/>
                  </a:lnTo>
                  <a:lnTo>
                    <a:pt x="9" y="6"/>
                  </a:lnTo>
                  <a:lnTo>
                    <a:pt x="6" y="6"/>
                  </a:lnTo>
                  <a:lnTo>
                    <a:pt x="6" y="3"/>
                  </a:lnTo>
                  <a:lnTo>
                    <a:pt x="4" y="1"/>
                  </a:lnTo>
                  <a:lnTo>
                    <a:pt x="1" y="1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7"/>
                  </a:lnTo>
                  <a:lnTo>
                    <a:pt x="3" y="9"/>
                  </a:lnTo>
                  <a:lnTo>
                    <a:pt x="7" y="10"/>
                  </a:lnTo>
                  <a:lnTo>
                    <a:pt x="13" y="10"/>
                  </a:lnTo>
                  <a:lnTo>
                    <a:pt x="20" y="11"/>
                  </a:lnTo>
                  <a:lnTo>
                    <a:pt x="23" y="11"/>
                  </a:lnTo>
                  <a:lnTo>
                    <a:pt x="27" y="14"/>
                  </a:lnTo>
                  <a:lnTo>
                    <a:pt x="27" y="16"/>
                  </a:lnTo>
                  <a:lnTo>
                    <a:pt x="27" y="17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4" y="20"/>
                  </a:lnTo>
                  <a:lnTo>
                    <a:pt x="37" y="20"/>
                  </a:lnTo>
                  <a:lnTo>
                    <a:pt x="37" y="19"/>
                  </a:lnTo>
                  <a:lnTo>
                    <a:pt x="36" y="14"/>
                  </a:lnTo>
                  <a:lnTo>
                    <a:pt x="33" y="13"/>
                  </a:lnTo>
                  <a:lnTo>
                    <a:pt x="30" y="10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36" name="Freeform 585"/>
            <p:cNvSpPr>
              <a:spLocks/>
            </p:cNvSpPr>
            <p:nvPr/>
          </p:nvSpPr>
          <p:spPr bwMode="auto">
            <a:xfrm>
              <a:off x="5143486" y="2785515"/>
              <a:ext cx="15875" cy="14552"/>
            </a:xfrm>
            <a:custGeom>
              <a:avLst/>
              <a:gdLst>
                <a:gd name="T0" fmla="*/ 13 w 24"/>
                <a:gd name="T1" fmla="*/ 4 h 23"/>
                <a:gd name="T2" fmla="*/ 11 w 24"/>
                <a:gd name="T3" fmla="*/ 2 h 23"/>
                <a:gd name="T4" fmla="*/ 8 w 24"/>
                <a:gd name="T5" fmla="*/ 0 h 23"/>
                <a:gd name="T6" fmla="*/ 7 w 24"/>
                <a:gd name="T7" fmla="*/ 0 h 23"/>
                <a:gd name="T8" fmla="*/ 4 w 24"/>
                <a:gd name="T9" fmla="*/ 0 h 23"/>
                <a:gd name="T10" fmla="*/ 3 w 24"/>
                <a:gd name="T11" fmla="*/ 3 h 23"/>
                <a:gd name="T12" fmla="*/ 0 w 24"/>
                <a:gd name="T13" fmla="*/ 4 h 23"/>
                <a:gd name="T14" fmla="*/ 0 w 24"/>
                <a:gd name="T15" fmla="*/ 7 h 23"/>
                <a:gd name="T16" fmla="*/ 3 w 24"/>
                <a:gd name="T17" fmla="*/ 9 h 23"/>
                <a:gd name="T18" fmla="*/ 7 w 24"/>
                <a:gd name="T19" fmla="*/ 13 h 23"/>
                <a:gd name="T20" fmla="*/ 13 w 24"/>
                <a:gd name="T21" fmla="*/ 17 h 23"/>
                <a:gd name="T22" fmla="*/ 18 w 24"/>
                <a:gd name="T23" fmla="*/ 20 h 23"/>
                <a:gd name="T24" fmla="*/ 21 w 24"/>
                <a:gd name="T25" fmla="*/ 22 h 23"/>
                <a:gd name="T26" fmla="*/ 23 w 24"/>
                <a:gd name="T27" fmla="*/ 23 h 23"/>
                <a:gd name="T28" fmla="*/ 24 w 24"/>
                <a:gd name="T29" fmla="*/ 20 h 23"/>
                <a:gd name="T30" fmla="*/ 23 w 24"/>
                <a:gd name="T31" fmla="*/ 19 h 23"/>
                <a:gd name="T32" fmla="*/ 20 w 24"/>
                <a:gd name="T33" fmla="*/ 17 h 23"/>
                <a:gd name="T34" fmla="*/ 14 w 24"/>
                <a:gd name="T35" fmla="*/ 14 h 23"/>
                <a:gd name="T36" fmla="*/ 13 w 24"/>
                <a:gd name="T37" fmla="*/ 13 h 23"/>
                <a:gd name="T38" fmla="*/ 11 w 24"/>
                <a:gd name="T39" fmla="*/ 10 h 23"/>
                <a:gd name="T40" fmla="*/ 10 w 24"/>
                <a:gd name="T41" fmla="*/ 9 h 23"/>
                <a:gd name="T42" fmla="*/ 5 w 24"/>
                <a:gd name="T43" fmla="*/ 9 h 23"/>
                <a:gd name="T44" fmla="*/ 4 w 24"/>
                <a:gd name="T45" fmla="*/ 7 h 23"/>
                <a:gd name="T46" fmla="*/ 4 w 24"/>
                <a:gd name="T47" fmla="*/ 4 h 23"/>
                <a:gd name="T48" fmla="*/ 5 w 24"/>
                <a:gd name="T49" fmla="*/ 3 h 23"/>
                <a:gd name="T50" fmla="*/ 8 w 24"/>
                <a:gd name="T51" fmla="*/ 4 h 23"/>
                <a:gd name="T52" fmla="*/ 11 w 24"/>
                <a:gd name="T53" fmla="*/ 6 h 23"/>
                <a:gd name="T54" fmla="*/ 13 w 24"/>
                <a:gd name="T55" fmla="*/ 4 h 23"/>
                <a:gd name="T56" fmla="*/ 13 w 24"/>
                <a:gd name="T57" fmla="*/ 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4" h="23">
                  <a:moveTo>
                    <a:pt x="13" y="4"/>
                  </a:moveTo>
                  <a:lnTo>
                    <a:pt x="11" y="2"/>
                  </a:lnTo>
                  <a:lnTo>
                    <a:pt x="8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3" y="3"/>
                  </a:lnTo>
                  <a:lnTo>
                    <a:pt x="0" y="4"/>
                  </a:lnTo>
                  <a:lnTo>
                    <a:pt x="0" y="7"/>
                  </a:lnTo>
                  <a:lnTo>
                    <a:pt x="3" y="9"/>
                  </a:lnTo>
                  <a:lnTo>
                    <a:pt x="7" y="13"/>
                  </a:lnTo>
                  <a:lnTo>
                    <a:pt x="13" y="17"/>
                  </a:lnTo>
                  <a:lnTo>
                    <a:pt x="18" y="20"/>
                  </a:lnTo>
                  <a:lnTo>
                    <a:pt x="21" y="22"/>
                  </a:lnTo>
                  <a:lnTo>
                    <a:pt x="23" y="23"/>
                  </a:lnTo>
                  <a:lnTo>
                    <a:pt x="24" y="20"/>
                  </a:lnTo>
                  <a:lnTo>
                    <a:pt x="23" y="19"/>
                  </a:lnTo>
                  <a:lnTo>
                    <a:pt x="20" y="17"/>
                  </a:lnTo>
                  <a:lnTo>
                    <a:pt x="14" y="14"/>
                  </a:lnTo>
                  <a:lnTo>
                    <a:pt x="13" y="13"/>
                  </a:lnTo>
                  <a:lnTo>
                    <a:pt x="11" y="10"/>
                  </a:lnTo>
                  <a:lnTo>
                    <a:pt x="10" y="9"/>
                  </a:lnTo>
                  <a:lnTo>
                    <a:pt x="5" y="9"/>
                  </a:lnTo>
                  <a:lnTo>
                    <a:pt x="4" y="7"/>
                  </a:lnTo>
                  <a:lnTo>
                    <a:pt x="4" y="4"/>
                  </a:lnTo>
                  <a:lnTo>
                    <a:pt x="5" y="3"/>
                  </a:lnTo>
                  <a:lnTo>
                    <a:pt x="8" y="4"/>
                  </a:lnTo>
                  <a:lnTo>
                    <a:pt x="11" y="6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37" name="Freeform 586"/>
            <p:cNvSpPr>
              <a:spLocks/>
            </p:cNvSpPr>
            <p:nvPr/>
          </p:nvSpPr>
          <p:spPr bwMode="auto">
            <a:xfrm>
              <a:off x="5432897" y="2232541"/>
              <a:ext cx="26865" cy="23812"/>
            </a:xfrm>
            <a:custGeom>
              <a:avLst/>
              <a:gdLst>
                <a:gd name="T0" fmla="*/ 38 w 43"/>
                <a:gd name="T1" fmla="*/ 4 h 36"/>
                <a:gd name="T2" fmla="*/ 34 w 43"/>
                <a:gd name="T3" fmla="*/ 2 h 36"/>
                <a:gd name="T4" fmla="*/ 28 w 43"/>
                <a:gd name="T5" fmla="*/ 0 h 36"/>
                <a:gd name="T6" fmla="*/ 13 w 43"/>
                <a:gd name="T7" fmla="*/ 0 h 36"/>
                <a:gd name="T8" fmla="*/ 7 w 43"/>
                <a:gd name="T9" fmla="*/ 3 h 36"/>
                <a:gd name="T10" fmla="*/ 1 w 43"/>
                <a:gd name="T11" fmla="*/ 6 h 36"/>
                <a:gd name="T12" fmla="*/ 0 w 43"/>
                <a:gd name="T13" fmla="*/ 12 h 36"/>
                <a:gd name="T14" fmla="*/ 0 w 43"/>
                <a:gd name="T15" fmla="*/ 16 h 36"/>
                <a:gd name="T16" fmla="*/ 1 w 43"/>
                <a:gd name="T17" fmla="*/ 20 h 36"/>
                <a:gd name="T18" fmla="*/ 4 w 43"/>
                <a:gd name="T19" fmla="*/ 24 h 36"/>
                <a:gd name="T20" fmla="*/ 10 w 43"/>
                <a:gd name="T21" fmla="*/ 29 h 36"/>
                <a:gd name="T22" fmla="*/ 17 w 43"/>
                <a:gd name="T23" fmla="*/ 33 h 36"/>
                <a:gd name="T24" fmla="*/ 20 w 43"/>
                <a:gd name="T25" fmla="*/ 36 h 36"/>
                <a:gd name="T26" fmla="*/ 27 w 43"/>
                <a:gd name="T27" fmla="*/ 36 h 36"/>
                <a:gd name="T28" fmla="*/ 31 w 43"/>
                <a:gd name="T29" fmla="*/ 36 h 36"/>
                <a:gd name="T30" fmla="*/ 34 w 43"/>
                <a:gd name="T31" fmla="*/ 33 h 36"/>
                <a:gd name="T32" fmla="*/ 40 w 43"/>
                <a:gd name="T33" fmla="*/ 26 h 36"/>
                <a:gd name="T34" fmla="*/ 43 w 43"/>
                <a:gd name="T35" fmla="*/ 20 h 36"/>
                <a:gd name="T36" fmla="*/ 43 w 43"/>
                <a:gd name="T37" fmla="*/ 16 h 36"/>
                <a:gd name="T38" fmla="*/ 41 w 43"/>
                <a:gd name="T39" fmla="*/ 10 h 36"/>
                <a:gd name="T40" fmla="*/ 41 w 43"/>
                <a:gd name="T41" fmla="*/ 9 h 36"/>
                <a:gd name="T42" fmla="*/ 38 w 43"/>
                <a:gd name="T43" fmla="*/ 4 h 36"/>
                <a:gd name="T44" fmla="*/ 38 w 43"/>
                <a:gd name="T45" fmla="*/ 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3" h="36">
                  <a:moveTo>
                    <a:pt x="38" y="4"/>
                  </a:moveTo>
                  <a:lnTo>
                    <a:pt x="34" y="2"/>
                  </a:lnTo>
                  <a:lnTo>
                    <a:pt x="28" y="0"/>
                  </a:lnTo>
                  <a:lnTo>
                    <a:pt x="13" y="0"/>
                  </a:lnTo>
                  <a:lnTo>
                    <a:pt x="7" y="3"/>
                  </a:lnTo>
                  <a:lnTo>
                    <a:pt x="1" y="6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4"/>
                  </a:lnTo>
                  <a:lnTo>
                    <a:pt x="10" y="29"/>
                  </a:lnTo>
                  <a:lnTo>
                    <a:pt x="17" y="33"/>
                  </a:lnTo>
                  <a:lnTo>
                    <a:pt x="20" y="36"/>
                  </a:lnTo>
                  <a:lnTo>
                    <a:pt x="27" y="36"/>
                  </a:lnTo>
                  <a:lnTo>
                    <a:pt x="31" y="36"/>
                  </a:lnTo>
                  <a:lnTo>
                    <a:pt x="34" y="33"/>
                  </a:lnTo>
                  <a:lnTo>
                    <a:pt x="40" y="26"/>
                  </a:lnTo>
                  <a:lnTo>
                    <a:pt x="43" y="20"/>
                  </a:lnTo>
                  <a:lnTo>
                    <a:pt x="43" y="16"/>
                  </a:lnTo>
                  <a:lnTo>
                    <a:pt x="41" y="10"/>
                  </a:lnTo>
                  <a:lnTo>
                    <a:pt x="41" y="9"/>
                  </a:lnTo>
                  <a:lnTo>
                    <a:pt x="38" y="4"/>
                  </a:lnTo>
                  <a:lnTo>
                    <a:pt x="38" y="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38" name="Freeform 587"/>
            <p:cNvSpPr>
              <a:spLocks/>
            </p:cNvSpPr>
            <p:nvPr/>
          </p:nvSpPr>
          <p:spPr bwMode="auto">
            <a:xfrm>
              <a:off x="5242399" y="2214021"/>
              <a:ext cx="23202" cy="19844"/>
            </a:xfrm>
            <a:custGeom>
              <a:avLst/>
              <a:gdLst>
                <a:gd name="T0" fmla="*/ 37 w 39"/>
                <a:gd name="T1" fmla="*/ 15 h 31"/>
                <a:gd name="T2" fmla="*/ 34 w 39"/>
                <a:gd name="T3" fmla="*/ 10 h 31"/>
                <a:gd name="T4" fmla="*/ 33 w 39"/>
                <a:gd name="T5" fmla="*/ 6 h 31"/>
                <a:gd name="T6" fmla="*/ 30 w 39"/>
                <a:gd name="T7" fmla="*/ 5 h 31"/>
                <a:gd name="T8" fmla="*/ 29 w 39"/>
                <a:gd name="T9" fmla="*/ 5 h 31"/>
                <a:gd name="T10" fmla="*/ 24 w 39"/>
                <a:gd name="T11" fmla="*/ 5 h 31"/>
                <a:gd name="T12" fmla="*/ 17 w 39"/>
                <a:gd name="T13" fmla="*/ 3 h 31"/>
                <a:gd name="T14" fmla="*/ 13 w 39"/>
                <a:gd name="T15" fmla="*/ 0 h 31"/>
                <a:gd name="T16" fmla="*/ 10 w 39"/>
                <a:gd name="T17" fmla="*/ 2 h 31"/>
                <a:gd name="T18" fmla="*/ 7 w 39"/>
                <a:gd name="T19" fmla="*/ 2 h 31"/>
                <a:gd name="T20" fmla="*/ 6 w 39"/>
                <a:gd name="T21" fmla="*/ 6 h 31"/>
                <a:gd name="T22" fmla="*/ 4 w 39"/>
                <a:gd name="T23" fmla="*/ 8 h 31"/>
                <a:gd name="T24" fmla="*/ 2 w 39"/>
                <a:gd name="T25" fmla="*/ 15 h 31"/>
                <a:gd name="T26" fmla="*/ 0 w 39"/>
                <a:gd name="T27" fmla="*/ 18 h 31"/>
                <a:gd name="T28" fmla="*/ 2 w 39"/>
                <a:gd name="T29" fmla="*/ 21 h 31"/>
                <a:gd name="T30" fmla="*/ 12 w 39"/>
                <a:gd name="T31" fmla="*/ 28 h 31"/>
                <a:gd name="T32" fmla="*/ 19 w 39"/>
                <a:gd name="T33" fmla="*/ 29 h 31"/>
                <a:gd name="T34" fmla="*/ 24 w 39"/>
                <a:gd name="T35" fmla="*/ 31 h 31"/>
                <a:gd name="T36" fmla="*/ 33 w 39"/>
                <a:gd name="T37" fmla="*/ 29 h 31"/>
                <a:gd name="T38" fmla="*/ 36 w 39"/>
                <a:gd name="T39" fmla="*/ 26 h 31"/>
                <a:gd name="T40" fmla="*/ 39 w 39"/>
                <a:gd name="T41" fmla="*/ 23 h 31"/>
                <a:gd name="T42" fmla="*/ 39 w 39"/>
                <a:gd name="T43" fmla="*/ 22 h 31"/>
                <a:gd name="T44" fmla="*/ 39 w 39"/>
                <a:gd name="T45" fmla="*/ 19 h 31"/>
                <a:gd name="T46" fmla="*/ 37 w 39"/>
                <a:gd name="T47" fmla="*/ 15 h 31"/>
                <a:gd name="T48" fmla="*/ 37 w 39"/>
                <a:gd name="T4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9" h="31">
                  <a:moveTo>
                    <a:pt x="37" y="15"/>
                  </a:moveTo>
                  <a:lnTo>
                    <a:pt x="34" y="10"/>
                  </a:lnTo>
                  <a:lnTo>
                    <a:pt x="33" y="6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4" y="5"/>
                  </a:lnTo>
                  <a:lnTo>
                    <a:pt x="17" y="3"/>
                  </a:lnTo>
                  <a:lnTo>
                    <a:pt x="13" y="0"/>
                  </a:lnTo>
                  <a:lnTo>
                    <a:pt x="10" y="2"/>
                  </a:lnTo>
                  <a:lnTo>
                    <a:pt x="7" y="2"/>
                  </a:lnTo>
                  <a:lnTo>
                    <a:pt x="6" y="6"/>
                  </a:lnTo>
                  <a:lnTo>
                    <a:pt x="4" y="8"/>
                  </a:lnTo>
                  <a:lnTo>
                    <a:pt x="2" y="15"/>
                  </a:lnTo>
                  <a:lnTo>
                    <a:pt x="0" y="18"/>
                  </a:lnTo>
                  <a:lnTo>
                    <a:pt x="2" y="21"/>
                  </a:lnTo>
                  <a:lnTo>
                    <a:pt x="12" y="28"/>
                  </a:lnTo>
                  <a:lnTo>
                    <a:pt x="19" y="29"/>
                  </a:lnTo>
                  <a:lnTo>
                    <a:pt x="24" y="31"/>
                  </a:lnTo>
                  <a:lnTo>
                    <a:pt x="33" y="29"/>
                  </a:lnTo>
                  <a:lnTo>
                    <a:pt x="36" y="26"/>
                  </a:lnTo>
                  <a:lnTo>
                    <a:pt x="39" y="23"/>
                  </a:lnTo>
                  <a:lnTo>
                    <a:pt x="39" y="22"/>
                  </a:lnTo>
                  <a:lnTo>
                    <a:pt x="39" y="19"/>
                  </a:lnTo>
                  <a:lnTo>
                    <a:pt x="37" y="15"/>
                  </a:lnTo>
                  <a:lnTo>
                    <a:pt x="37" y="1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39" name="Freeform 588"/>
            <p:cNvSpPr>
              <a:spLocks/>
            </p:cNvSpPr>
            <p:nvPr/>
          </p:nvSpPr>
          <p:spPr bwMode="auto">
            <a:xfrm>
              <a:off x="5149592" y="2338374"/>
              <a:ext cx="21981" cy="26458"/>
            </a:xfrm>
            <a:custGeom>
              <a:avLst/>
              <a:gdLst>
                <a:gd name="T0" fmla="*/ 21 w 36"/>
                <a:gd name="T1" fmla="*/ 18 h 40"/>
                <a:gd name="T2" fmla="*/ 17 w 36"/>
                <a:gd name="T3" fmla="*/ 12 h 40"/>
                <a:gd name="T4" fmla="*/ 14 w 36"/>
                <a:gd name="T5" fmla="*/ 8 h 40"/>
                <a:gd name="T6" fmla="*/ 14 w 36"/>
                <a:gd name="T7" fmla="*/ 8 h 40"/>
                <a:gd name="T8" fmla="*/ 13 w 36"/>
                <a:gd name="T9" fmla="*/ 10 h 40"/>
                <a:gd name="T10" fmla="*/ 13 w 36"/>
                <a:gd name="T11" fmla="*/ 11 h 40"/>
                <a:gd name="T12" fmla="*/ 10 w 36"/>
                <a:gd name="T13" fmla="*/ 11 h 40"/>
                <a:gd name="T14" fmla="*/ 7 w 36"/>
                <a:gd name="T15" fmla="*/ 10 h 40"/>
                <a:gd name="T16" fmla="*/ 5 w 36"/>
                <a:gd name="T17" fmla="*/ 5 h 40"/>
                <a:gd name="T18" fmla="*/ 3 w 36"/>
                <a:gd name="T19" fmla="*/ 1 h 40"/>
                <a:gd name="T20" fmla="*/ 1 w 36"/>
                <a:gd name="T21" fmla="*/ 1 h 40"/>
                <a:gd name="T22" fmla="*/ 3 w 36"/>
                <a:gd name="T23" fmla="*/ 0 h 40"/>
                <a:gd name="T24" fmla="*/ 1 w 36"/>
                <a:gd name="T25" fmla="*/ 0 h 40"/>
                <a:gd name="T26" fmla="*/ 0 w 36"/>
                <a:gd name="T27" fmla="*/ 1 h 40"/>
                <a:gd name="T28" fmla="*/ 0 w 36"/>
                <a:gd name="T29" fmla="*/ 4 h 40"/>
                <a:gd name="T30" fmla="*/ 0 w 36"/>
                <a:gd name="T31" fmla="*/ 8 h 40"/>
                <a:gd name="T32" fmla="*/ 3 w 36"/>
                <a:gd name="T33" fmla="*/ 11 h 40"/>
                <a:gd name="T34" fmla="*/ 5 w 36"/>
                <a:gd name="T35" fmla="*/ 15 h 40"/>
                <a:gd name="T36" fmla="*/ 7 w 36"/>
                <a:gd name="T37" fmla="*/ 20 h 40"/>
                <a:gd name="T38" fmla="*/ 7 w 36"/>
                <a:gd name="T39" fmla="*/ 21 h 40"/>
                <a:gd name="T40" fmla="*/ 8 w 36"/>
                <a:gd name="T41" fmla="*/ 22 h 40"/>
                <a:gd name="T42" fmla="*/ 10 w 36"/>
                <a:gd name="T43" fmla="*/ 21 h 40"/>
                <a:gd name="T44" fmla="*/ 11 w 36"/>
                <a:gd name="T45" fmla="*/ 20 h 40"/>
                <a:gd name="T46" fmla="*/ 11 w 36"/>
                <a:gd name="T47" fmla="*/ 20 h 40"/>
                <a:gd name="T48" fmla="*/ 13 w 36"/>
                <a:gd name="T49" fmla="*/ 21 h 40"/>
                <a:gd name="T50" fmla="*/ 13 w 36"/>
                <a:gd name="T51" fmla="*/ 24 h 40"/>
                <a:gd name="T52" fmla="*/ 11 w 36"/>
                <a:gd name="T53" fmla="*/ 30 h 40"/>
                <a:gd name="T54" fmla="*/ 14 w 36"/>
                <a:gd name="T55" fmla="*/ 31 h 40"/>
                <a:gd name="T56" fmla="*/ 20 w 36"/>
                <a:gd name="T57" fmla="*/ 34 h 40"/>
                <a:gd name="T58" fmla="*/ 27 w 36"/>
                <a:gd name="T59" fmla="*/ 37 h 40"/>
                <a:gd name="T60" fmla="*/ 30 w 36"/>
                <a:gd name="T61" fmla="*/ 38 h 40"/>
                <a:gd name="T62" fmla="*/ 33 w 36"/>
                <a:gd name="T63" fmla="*/ 40 h 40"/>
                <a:gd name="T64" fmla="*/ 34 w 36"/>
                <a:gd name="T65" fmla="*/ 40 h 40"/>
                <a:gd name="T66" fmla="*/ 36 w 36"/>
                <a:gd name="T67" fmla="*/ 37 h 40"/>
                <a:gd name="T68" fmla="*/ 36 w 36"/>
                <a:gd name="T69" fmla="*/ 35 h 40"/>
                <a:gd name="T70" fmla="*/ 34 w 36"/>
                <a:gd name="T71" fmla="*/ 32 h 40"/>
                <a:gd name="T72" fmla="*/ 33 w 36"/>
                <a:gd name="T73" fmla="*/ 30 h 40"/>
                <a:gd name="T74" fmla="*/ 30 w 36"/>
                <a:gd name="T75" fmla="*/ 30 h 40"/>
                <a:gd name="T76" fmla="*/ 27 w 36"/>
                <a:gd name="T77" fmla="*/ 27 h 40"/>
                <a:gd name="T78" fmla="*/ 24 w 36"/>
                <a:gd name="T79" fmla="*/ 21 h 40"/>
                <a:gd name="T80" fmla="*/ 21 w 36"/>
                <a:gd name="T81" fmla="*/ 1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" h="40">
                  <a:moveTo>
                    <a:pt x="21" y="18"/>
                  </a:moveTo>
                  <a:lnTo>
                    <a:pt x="17" y="12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10" y="11"/>
                  </a:lnTo>
                  <a:lnTo>
                    <a:pt x="7" y="10"/>
                  </a:lnTo>
                  <a:lnTo>
                    <a:pt x="5" y="5"/>
                  </a:lnTo>
                  <a:lnTo>
                    <a:pt x="3" y="1"/>
                  </a:lnTo>
                  <a:lnTo>
                    <a:pt x="1" y="1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0" y="8"/>
                  </a:lnTo>
                  <a:lnTo>
                    <a:pt x="3" y="11"/>
                  </a:lnTo>
                  <a:lnTo>
                    <a:pt x="5" y="15"/>
                  </a:lnTo>
                  <a:lnTo>
                    <a:pt x="7" y="20"/>
                  </a:lnTo>
                  <a:lnTo>
                    <a:pt x="7" y="21"/>
                  </a:lnTo>
                  <a:lnTo>
                    <a:pt x="8" y="22"/>
                  </a:lnTo>
                  <a:lnTo>
                    <a:pt x="10" y="21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3" y="21"/>
                  </a:lnTo>
                  <a:lnTo>
                    <a:pt x="13" y="24"/>
                  </a:lnTo>
                  <a:lnTo>
                    <a:pt x="11" y="30"/>
                  </a:lnTo>
                  <a:lnTo>
                    <a:pt x="14" y="31"/>
                  </a:lnTo>
                  <a:lnTo>
                    <a:pt x="20" y="34"/>
                  </a:lnTo>
                  <a:lnTo>
                    <a:pt x="27" y="37"/>
                  </a:lnTo>
                  <a:lnTo>
                    <a:pt x="30" y="38"/>
                  </a:lnTo>
                  <a:lnTo>
                    <a:pt x="33" y="40"/>
                  </a:lnTo>
                  <a:lnTo>
                    <a:pt x="34" y="40"/>
                  </a:lnTo>
                  <a:lnTo>
                    <a:pt x="36" y="37"/>
                  </a:lnTo>
                  <a:lnTo>
                    <a:pt x="36" y="35"/>
                  </a:lnTo>
                  <a:lnTo>
                    <a:pt x="34" y="32"/>
                  </a:lnTo>
                  <a:lnTo>
                    <a:pt x="33" y="30"/>
                  </a:lnTo>
                  <a:lnTo>
                    <a:pt x="30" y="30"/>
                  </a:lnTo>
                  <a:lnTo>
                    <a:pt x="27" y="27"/>
                  </a:lnTo>
                  <a:lnTo>
                    <a:pt x="24" y="21"/>
                  </a:lnTo>
                  <a:lnTo>
                    <a:pt x="21" y="1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40" name="Freeform 589"/>
            <p:cNvSpPr>
              <a:spLocks/>
            </p:cNvSpPr>
            <p:nvPr/>
          </p:nvSpPr>
          <p:spPr bwMode="auto">
            <a:xfrm>
              <a:off x="5473195" y="2360863"/>
              <a:ext cx="10990" cy="5292"/>
            </a:xfrm>
            <a:custGeom>
              <a:avLst/>
              <a:gdLst>
                <a:gd name="T0" fmla="*/ 8 w 17"/>
                <a:gd name="T1" fmla="*/ 7 h 7"/>
                <a:gd name="T2" fmla="*/ 5 w 17"/>
                <a:gd name="T3" fmla="*/ 6 h 7"/>
                <a:gd name="T4" fmla="*/ 3 w 17"/>
                <a:gd name="T5" fmla="*/ 4 h 7"/>
                <a:gd name="T6" fmla="*/ 0 w 17"/>
                <a:gd name="T7" fmla="*/ 3 h 7"/>
                <a:gd name="T8" fmla="*/ 0 w 17"/>
                <a:gd name="T9" fmla="*/ 1 h 7"/>
                <a:gd name="T10" fmla="*/ 1 w 17"/>
                <a:gd name="T11" fmla="*/ 0 h 7"/>
                <a:gd name="T12" fmla="*/ 8 w 17"/>
                <a:gd name="T13" fmla="*/ 3 h 7"/>
                <a:gd name="T14" fmla="*/ 15 w 17"/>
                <a:gd name="T15" fmla="*/ 4 h 7"/>
                <a:gd name="T16" fmla="*/ 17 w 17"/>
                <a:gd name="T17" fmla="*/ 4 h 7"/>
                <a:gd name="T18" fmla="*/ 17 w 17"/>
                <a:gd name="T19" fmla="*/ 6 h 7"/>
                <a:gd name="T20" fmla="*/ 17 w 17"/>
                <a:gd name="T21" fmla="*/ 6 h 7"/>
                <a:gd name="T22" fmla="*/ 14 w 17"/>
                <a:gd name="T23" fmla="*/ 6 h 7"/>
                <a:gd name="T24" fmla="*/ 13 w 17"/>
                <a:gd name="T25" fmla="*/ 6 h 7"/>
                <a:gd name="T26" fmla="*/ 11 w 17"/>
                <a:gd name="T27" fmla="*/ 6 h 7"/>
                <a:gd name="T28" fmla="*/ 8 w 17"/>
                <a:gd name="T2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7">
                  <a:moveTo>
                    <a:pt x="8" y="7"/>
                  </a:moveTo>
                  <a:lnTo>
                    <a:pt x="5" y="6"/>
                  </a:lnTo>
                  <a:lnTo>
                    <a:pt x="3" y="4"/>
                  </a:lnTo>
                  <a:lnTo>
                    <a:pt x="0" y="3"/>
                  </a:lnTo>
                  <a:lnTo>
                    <a:pt x="0" y="1"/>
                  </a:lnTo>
                  <a:lnTo>
                    <a:pt x="1" y="0"/>
                  </a:lnTo>
                  <a:lnTo>
                    <a:pt x="8" y="3"/>
                  </a:lnTo>
                  <a:lnTo>
                    <a:pt x="15" y="4"/>
                  </a:lnTo>
                  <a:lnTo>
                    <a:pt x="17" y="4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1" y="6"/>
                  </a:lnTo>
                  <a:lnTo>
                    <a:pt x="8" y="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41" name="Freeform 590"/>
            <p:cNvSpPr>
              <a:spLocks/>
            </p:cNvSpPr>
            <p:nvPr/>
          </p:nvSpPr>
          <p:spPr bwMode="auto">
            <a:xfrm>
              <a:off x="5535473" y="2411133"/>
              <a:ext cx="12211" cy="10583"/>
            </a:xfrm>
            <a:custGeom>
              <a:avLst/>
              <a:gdLst>
                <a:gd name="T0" fmla="*/ 0 w 20"/>
                <a:gd name="T1" fmla="*/ 16 h 16"/>
                <a:gd name="T2" fmla="*/ 0 w 20"/>
                <a:gd name="T3" fmla="*/ 13 h 16"/>
                <a:gd name="T4" fmla="*/ 0 w 20"/>
                <a:gd name="T5" fmla="*/ 11 h 16"/>
                <a:gd name="T6" fmla="*/ 3 w 20"/>
                <a:gd name="T7" fmla="*/ 10 h 16"/>
                <a:gd name="T8" fmla="*/ 8 w 20"/>
                <a:gd name="T9" fmla="*/ 7 h 16"/>
                <a:gd name="T10" fmla="*/ 10 w 20"/>
                <a:gd name="T11" fmla="*/ 3 h 16"/>
                <a:gd name="T12" fmla="*/ 13 w 20"/>
                <a:gd name="T13" fmla="*/ 3 h 16"/>
                <a:gd name="T14" fmla="*/ 15 w 20"/>
                <a:gd name="T15" fmla="*/ 3 h 16"/>
                <a:gd name="T16" fmla="*/ 15 w 20"/>
                <a:gd name="T17" fmla="*/ 4 h 16"/>
                <a:gd name="T18" fmla="*/ 16 w 20"/>
                <a:gd name="T19" fmla="*/ 4 h 16"/>
                <a:gd name="T20" fmla="*/ 16 w 20"/>
                <a:gd name="T21" fmla="*/ 3 h 16"/>
                <a:gd name="T22" fmla="*/ 18 w 20"/>
                <a:gd name="T23" fmla="*/ 1 h 16"/>
                <a:gd name="T24" fmla="*/ 19 w 20"/>
                <a:gd name="T25" fmla="*/ 0 h 16"/>
                <a:gd name="T26" fmla="*/ 20 w 20"/>
                <a:gd name="T27" fmla="*/ 1 h 16"/>
                <a:gd name="T28" fmla="*/ 20 w 20"/>
                <a:gd name="T29" fmla="*/ 1 h 16"/>
                <a:gd name="T30" fmla="*/ 19 w 20"/>
                <a:gd name="T31" fmla="*/ 4 h 16"/>
                <a:gd name="T32" fmla="*/ 16 w 20"/>
                <a:gd name="T33" fmla="*/ 7 h 16"/>
                <a:gd name="T34" fmla="*/ 16 w 20"/>
                <a:gd name="T35" fmla="*/ 7 h 16"/>
                <a:gd name="T36" fmla="*/ 18 w 20"/>
                <a:gd name="T37" fmla="*/ 10 h 16"/>
                <a:gd name="T38" fmla="*/ 16 w 20"/>
                <a:gd name="T39" fmla="*/ 11 h 16"/>
                <a:gd name="T40" fmla="*/ 16 w 20"/>
                <a:gd name="T41" fmla="*/ 11 h 16"/>
                <a:gd name="T42" fmla="*/ 15 w 20"/>
                <a:gd name="T43" fmla="*/ 10 h 16"/>
                <a:gd name="T44" fmla="*/ 13 w 20"/>
                <a:gd name="T45" fmla="*/ 8 h 16"/>
                <a:gd name="T46" fmla="*/ 10 w 20"/>
                <a:gd name="T47" fmla="*/ 8 h 16"/>
                <a:gd name="T48" fmla="*/ 6 w 20"/>
                <a:gd name="T49" fmla="*/ 10 h 16"/>
                <a:gd name="T50" fmla="*/ 3 w 20"/>
                <a:gd name="T51" fmla="*/ 13 h 16"/>
                <a:gd name="T52" fmla="*/ 0 w 20"/>
                <a:gd name="T5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" h="16">
                  <a:moveTo>
                    <a:pt x="0" y="16"/>
                  </a:moveTo>
                  <a:lnTo>
                    <a:pt x="0" y="13"/>
                  </a:lnTo>
                  <a:lnTo>
                    <a:pt x="0" y="11"/>
                  </a:lnTo>
                  <a:lnTo>
                    <a:pt x="3" y="10"/>
                  </a:lnTo>
                  <a:lnTo>
                    <a:pt x="8" y="7"/>
                  </a:lnTo>
                  <a:lnTo>
                    <a:pt x="10" y="3"/>
                  </a:lnTo>
                  <a:lnTo>
                    <a:pt x="13" y="3"/>
                  </a:lnTo>
                  <a:lnTo>
                    <a:pt x="15" y="3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3"/>
                  </a:lnTo>
                  <a:lnTo>
                    <a:pt x="18" y="1"/>
                  </a:lnTo>
                  <a:lnTo>
                    <a:pt x="19" y="0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19" y="4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8" y="10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5" y="10"/>
                  </a:lnTo>
                  <a:lnTo>
                    <a:pt x="13" y="8"/>
                  </a:lnTo>
                  <a:lnTo>
                    <a:pt x="10" y="8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42" name="Freeform 591"/>
            <p:cNvSpPr>
              <a:spLocks/>
            </p:cNvSpPr>
            <p:nvPr/>
          </p:nvSpPr>
          <p:spPr bwMode="auto">
            <a:xfrm>
              <a:off x="5552569" y="2457435"/>
              <a:ext cx="10990" cy="7937"/>
            </a:xfrm>
            <a:custGeom>
              <a:avLst/>
              <a:gdLst>
                <a:gd name="T0" fmla="*/ 5 w 18"/>
                <a:gd name="T1" fmla="*/ 11 h 11"/>
                <a:gd name="T2" fmla="*/ 5 w 18"/>
                <a:gd name="T3" fmla="*/ 9 h 11"/>
                <a:gd name="T4" fmla="*/ 5 w 18"/>
                <a:gd name="T5" fmla="*/ 7 h 11"/>
                <a:gd name="T6" fmla="*/ 4 w 18"/>
                <a:gd name="T7" fmla="*/ 6 h 11"/>
                <a:gd name="T8" fmla="*/ 2 w 18"/>
                <a:gd name="T9" fmla="*/ 7 h 11"/>
                <a:gd name="T10" fmla="*/ 1 w 18"/>
                <a:gd name="T11" fmla="*/ 9 h 11"/>
                <a:gd name="T12" fmla="*/ 0 w 18"/>
                <a:gd name="T13" fmla="*/ 9 h 11"/>
                <a:gd name="T14" fmla="*/ 0 w 18"/>
                <a:gd name="T15" fmla="*/ 7 h 11"/>
                <a:gd name="T16" fmla="*/ 2 w 18"/>
                <a:gd name="T17" fmla="*/ 6 h 11"/>
                <a:gd name="T18" fmla="*/ 4 w 18"/>
                <a:gd name="T19" fmla="*/ 3 h 11"/>
                <a:gd name="T20" fmla="*/ 4 w 18"/>
                <a:gd name="T21" fmla="*/ 1 h 11"/>
                <a:gd name="T22" fmla="*/ 5 w 18"/>
                <a:gd name="T23" fmla="*/ 1 h 11"/>
                <a:gd name="T24" fmla="*/ 8 w 18"/>
                <a:gd name="T25" fmla="*/ 1 h 11"/>
                <a:gd name="T26" fmla="*/ 11 w 18"/>
                <a:gd name="T27" fmla="*/ 1 h 11"/>
                <a:gd name="T28" fmla="*/ 17 w 18"/>
                <a:gd name="T29" fmla="*/ 0 h 11"/>
                <a:gd name="T30" fmla="*/ 18 w 18"/>
                <a:gd name="T31" fmla="*/ 1 h 11"/>
                <a:gd name="T32" fmla="*/ 18 w 18"/>
                <a:gd name="T33" fmla="*/ 3 h 11"/>
                <a:gd name="T34" fmla="*/ 18 w 18"/>
                <a:gd name="T35" fmla="*/ 4 h 11"/>
                <a:gd name="T36" fmla="*/ 14 w 18"/>
                <a:gd name="T37" fmla="*/ 4 h 11"/>
                <a:gd name="T38" fmla="*/ 12 w 18"/>
                <a:gd name="T39" fmla="*/ 4 h 11"/>
                <a:gd name="T40" fmla="*/ 10 w 18"/>
                <a:gd name="T41" fmla="*/ 6 h 11"/>
                <a:gd name="T42" fmla="*/ 8 w 18"/>
                <a:gd name="T43" fmla="*/ 7 h 11"/>
                <a:gd name="T44" fmla="*/ 7 w 18"/>
                <a:gd name="T45" fmla="*/ 11 h 11"/>
                <a:gd name="T46" fmla="*/ 5 w 18"/>
                <a:gd name="T4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" h="11">
                  <a:moveTo>
                    <a:pt x="5" y="11"/>
                  </a:moveTo>
                  <a:lnTo>
                    <a:pt x="5" y="9"/>
                  </a:lnTo>
                  <a:lnTo>
                    <a:pt x="5" y="7"/>
                  </a:lnTo>
                  <a:lnTo>
                    <a:pt x="4" y="6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7"/>
                  </a:lnTo>
                  <a:lnTo>
                    <a:pt x="2" y="6"/>
                  </a:lnTo>
                  <a:lnTo>
                    <a:pt x="4" y="3"/>
                  </a:lnTo>
                  <a:lnTo>
                    <a:pt x="4" y="1"/>
                  </a:lnTo>
                  <a:lnTo>
                    <a:pt x="5" y="1"/>
                  </a:lnTo>
                  <a:lnTo>
                    <a:pt x="8" y="1"/>
                  </a:lnTo>
                  <a:lnTo>
                    <a:pt x="11" y="1"/>
                  </a:lnTo>
                  <a:lnTo>
                    <a:pt x="17" y="0"/>
                  </a:lnTo>
                  <a:lnTo>
                    <a:pt x="18" y="1"/>
                  </a:lnTo>
                  <a:lnTo>
                    <a:pt x="18" y="3"/>
                  </a:lnTo>
                  <a:lnTo>
                    <a:pt x="18" y="4"/>
                  </a:lnTo>
                  <a:lnTo>
                    <a:pt x="14" y="4"/>
                  </a:lnTo>
                  <a:lnTo>
                    <a:pt x="12" y="4"/>
                  </a:lnTo>
                  <a:lnTo>
                    <a:pt x="10" y="6"/>
                  </a:lnTo>
                  <a:lnTo>
                    <a:pt x="8" y="7"/>
                  </a:lnTo>
                  <a:lnTo>
                    <a:pt x="7" y="11"/>
                  </a:lnTo>
                  <a:lnTo>
                    <a:pt x="5" y="1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43" name="Freeform 592"/>
            <p:cNvSpPr>
              <a:spLocks/>
            </p:cNvSpPr>
            <p:nvPr/>
          </p:nvSpPr>
          <p:spPr bwMode="auto">
            <a:xfrm>
              <a:off x="5562338" y="2461404"/>
              <a:ext cx="6106" cy="7937"/>
            </a:xfrm>
            <a:custGeom>
              <a:avLst/>
              <a:gdLst>
                <a:gd name="T0" fmla="*/ 1 w 8"/>
                <a:gd name="T1" fmla="*/ 13 h 13"/>
                <a:gd name="T2" fmla="*/ 0 w 8"/>
                <a:gd name="T3" fmla="*/ 12 h 13"/>
                <a:gd name="T4" fmla="*/ 0 w 8"/>
                <a:gd name="T5" fmla="*/ 10 h 13"/>
                <a:gd name="T6" fmla="*/ 0 w 8"/>
                <a:gd name="T7" fmla="*/ 6 h 13"/>
                <a:gd name="T8" fmla="*/ 1 w 8"/>
                <a:gd name="T9" fmla="*/ 3 h 13"/>
                <a:gd name="T10" fmla="*/ 5 w 8"/>
                <a:gd name="T11" fmla="*/ 2 h 13"/>
                <a:gd name="T12" fmla="*/ 8 w 8"/>
                <a:gd name="T13" fmla="*/ 0 h 13"/>
                <a:gd name="T14" fmla="*/ 8 w 8"/>
                <a:gd name="T15" fmla="*/ 2 h 13"/>
                <a:gd name="T16" fmla="*/ 8 w 8"/>
                <a:gd name="T17" fmla="*/ 5 h 13"/>
                <a:gd name="T18" fmla="*/ 5 w 8"/>
                <a:gd name="T19" fmla="*/ 6 h 13"/>
                <a:gd name="T20" fmla="*/ 4 w 8"/>
                <a:gd name="T21" fmla="*/ 6 h 13"/>
                <a:gd name="T22" fmla="*/ 3 w 8"/>
                <a:gd name="T23" fmla="*/ 7 h 13"/>
                <a:gd name="T24" fmla="*/ 3 w 8"/>
                <a:gd name="T25" fmla="*/ 9 h 13"/>
                <a:gd name="T26" fmla="*/ 3 w 8"/>
                <a:gd name="T27" fmla="*/ 12 h 13"/>
                <a:gd name="T28" fmla="*/ 1 w 8"/>
                <a:gd name="T2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13">
                  <a:moveTo>
                    <a:pt x="1" y="13"/>
                  </a:moveTo>
                  <a:lnTo>
                    <a:pt x="0" y="12"/>
                  </a:lnTo>
                  <a:lnTo>
                    <a:pt x="0" y="10"/>
                  </a:lnTo>
                  <a:lnTo>
                    <a:pt x="0" y="6"/>
                  </a:lnTo>
                  <a:lnTo>
                    <a:pt x="1" y="3"/>
                  </a:lnTo>
                  <a:lnTo>
                    <a:pt x="5" y="2"/>
                  </a:lnTo>
                  <a:lnTo>
                    <a:pt x="8" y="0"/>
                  </a:lnTo>
                  <a:lnTo>
                    <a:pt x="8" y="2"/>
                  </a:lnTo>
                  <a:lnTo>
                    <a:pt x="8" y="5"/>
                  </a:lnTo>
                  <a:lnTo>
                    <a:pt x="5" y="6"/>
                  </a:lnTo>
                  <a:lnTo>
                    <a:pt x="4" y="6"/>
                  </a:lnTo>
                  <a:lnTo>
                    <a:pt x="3" y="7"/>
                  </a:lnTo>
                  <a:lnTo>
                    <a:pt x="3" y="9"/>
                  </a:lnTo>
                  <a:lnTo>
                    <a:pt x="3" y="12"/>
                  </a:lnTo>
                  <a:lnTo>
                    <a:pt x="1" y="1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44" name="Freeform 593"/>
            <p:cNvSpPr>
              <a:spLocks/>
            </p:cNvSpPr>
            <p:nvPr/>
          </p:nvSpPr>
          <p:spPr bwMode="auto">
            <a:xfrm>
              <a:off x="3934555" y="2852983"/>
              <a:ext cx="8548" cy="6615"/>
            </a:xfrm>
            <a:custGeom>
              <a:avLst/>
              <a:gdLst>
                <a:gd name="T0" fmla="*/ 14 w 14"/>
                <a:gd name="T1" fmla="*/ 0 h 10"/>
                <a:gd name="T2" fmla="*/ 1 w 14"/>
                <a:gd name="T3" fmla="*/ 9 h 10"/>
                <a:gd name="T4" fmla="*/ 0 w 14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0">
                  <a:moveTo>
                    <a:pt x="14" y="0"/>
                  </a:moveTo>
                  <a:lnTo>
                    <a:pt x="1" y="9"/>
                  </a:lnTo>
                  <a:lnTo>
                    <a:pt x="0" y="1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45" name="Freeform 594"/>
            <p:cNvSpPr>
              <a:spLocks/>
            </p:cNvSpPr>
            <p:nvPr/>
          </p:nvSpPr>
          <p:spPr bwMode="auto">
            <a:xfrm>
              <a:off x="3921123" y="2864889"/>
              <a:ext cx="8548" cy="6615"/>
            </a:xfrm>
            <a:custGeom>
              <a:avLst/>
              <a:gdLst>
                <a:gd name="T0" fmla="*/ 12 w 12"/>
                <a:gd name="T1" fmla="*/ 0 h 12"/>
                <a:gd name="T2" fmla="*/ 7 w 12"/>
                <a:gd name="T3" fmla="*/ 5 h 12"/>
                <a:gd name="T4" fmla="*/ 1 w 12"/>
                <a:gd name="T5" fmla="*/ 10 h 12"/>
                <a:gd name="T6" fmla="*/ 0 w 12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12" y="0"/>
                  </a:moveTo>
                  <a:lnTo>
                    <a:pt x="7" y="5"/>
                  </a:lnTo>
                  <a:lnTo>
                    <a:pt x="1" y="10"/>
                  </a:lnTo>
                  <a:lnTo>
                    <a:pt x="0" y="12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46" name="Freeform 595"/>
            <p:cNvSpPr>
              <a:spLocks/>
            </p:cNvSpPr>
            <p:nvPr/>
          </p:nvSpPr>
          <p:spPr bwMode="auto">
            <a:xfrm>
              <a:off x="3908911" y="2876796"/>
              <a:ext cx="8548" cy="7937"/>
            </a:xfrm>
            <a:custGeom>
              <a:avLst/>
              <a:gdLst>
                <a:gd name="T0" fmla="*/ 13 w 13"/>
                <a:gd name="T1" fmla="*/ 0 h 13"/>
                <a:gd name="T2" fmla="*/ 10 w 13"/>
                <a:gd name="T3" fmla="*/ 3 h 13"/>
                <a:gd name="T4" fmla="*/ 5 w 13"/>
                <a:gd name="T5" fmla="*/ 7 h 13"/>
                <a:gd name="T6" fmla="*/ 2 w 13"/>
                <a:gd name="T7" fmla="*/ 10 h 13"/>
                <a:gd name="T8" fmla="*/ 0 w 13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13" y="0"/>
                  </a:moveTo>
                  <a:lnTo>
                    <a:pt x="10" y="3"/>
                  </a:lnTo>
                  <a:lnTo>
                    <a:pt x="5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47" name="Freeform 596"/>
            <p:cNvSpPr>
              <a:spLocks/>
            </p:cNvSpPr>
            <p:nvPr/>
          </p:nvSpPr>
          <p:spPr bwMode="auto">
            <a:xfrm>
              <a:off x="3906469" y="2891347"/>
              <a:ext cx="3663" cy="10583"/>
            </a:xfrm>
            <a:custGeom>
              <a:avLst/>
              <a:gdLst>
                <a:gd name="T0" fmla="*/ 0 w 6"/>
                <a:gd name="T1" fmla="*/ 0 h 16"/>
                <a:gd name="T2" fmla="*/ 0 w 6"/>
                <a:gd name="T3" fmla="*/ 0 h 16"/>
                <a:gd name="T4" fmla="*/ 2 w 6"/>
                <a:gd name="T5" fmla="*/ 4 h 16"/>
                <a:gd name="T6" fmla="*/ 4 w 6"/>
                <a:gd name="T7" fmla="*/ 14 h 16"/>
                <a:gd name="T8" fmla="*/ 6 w 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6">
                  <a:moveTo>
                    <a:pt x="0" y="0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4" y="14"/>
                  </a:lnTo>
                  <a:lnTo>
                    <a:pt x="6" y="16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48" name="Freeform 597"/>
            <p:cNvSpPr>
              <a:spLocks/>
            </p:cNvSpPr>
            <p:nvPr/>
          </p:nvSpPr>
          <p:spPr bwMode="auto">
            <a:xfrm>
              <a:off x="3915017" y="2904576"/>
              <a:ext cx="2442" cy="3969"/>
            </a:xfrm>
            <a:custGeom>
              <a:avLst/>
              <a:gdLst>
                <a:gd name="T0" fmla="*/ 0 w 6"/>
                <a:gd name="T1" fmla="*/ 4 h 7"/>
                <a:gd name="T2" fmla="*/ 1 w 6"/>
                <a:gd name="T3" fmla="*/ 4 h 7"/>
                <a:gd name="T4" fmla="*/ 1 w 6"/>
                <a:gd name="T5" fmla="*/ 2 h 7"/>
                <a:gd name="T6" fmla="*/ 1 w 6"/>
                <a:gd name="T7" fmla="*/ 1 h 7"/>
                <a:gd name="T8" fmla="*/ 3 w 6"/>
                <a:gd name="T9" fmla="*/ 0 h 7"/>
                <a:gd name="T10" fmla="*/ 4 w 6"/>
                <a:gd name="T11" fmla="*/ 0 h 7"/>
                <a:gd name="T12" fmla="*/ 6 w 6"/>
                <a:gd name="T13" fmla="*/ 1 h 7"/>
                <a:gd name="T14" fmla="*/ 6 w 6"/>
                <a:gd name="T15" fmla="*/ 2 h 7"/>
                <a:gd name="T16" fmla="*/ 4 w 6"/>
                <a:gd name="T17" fmla="*/ 4 h 7"/>
                <a:gd name="T18" fmla="*/ 3 w 6"/>
                <a:gd name="T19" fmla="*/ 4 h 7"/>
                <a:gd name="T20" fmla="*/ 3 w 6"/>
                <a:gd name="T21" fmla="*/ 7 h 7"/>
                <a:gd name="T22" fmla="*/ 3 w 6"/>
                <a:gd name="T2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7">
                  <a:moveTo>
                    <a:pt x="0" y="4"/>
                  </a:moveTo>
                  <a:lnTo>
                    <a:pt x="1" y="4"/>
                  </a:lnTo>
                  <a:lnTo>
                    <a:pt x="1" y="2"/>
                  </a:lnTo>
                  <a:lnTo>
                    <a:pt x="1" y="1"/>
                  </a:lnTo>
                  <a:lnTo>
                    <a:pt x="3" y="0"/>
                  </a:lnTo>
                  <a:lnTo>
                    <a:pt x="4" y="0"/>
                  </a:lnTo>
                  <a:lnTo>
                    <a:pt x="6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7"/>
                  </a:lnTo>
                  <a:lnTo>
                    <a:pt x="3" y="7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49" name="Freeform 598"/>
            <p:cNvSpPr>
              <a:spLocks/>
            </p:cNvSpPr>
            <p:nvPr/>
          </p:nvSpPr>
          <p:spPr bwMode="auto">
            <a:xfrm>
              <a:off x="3922344" y="2913837"/>
              <a:ext cx="9769" cy="3969"/>
            </a:xfrm>
            <a:custGeom>
              <a:avLst/>
              <a:gdLst>
                <a:gd name="T0" fmla="*/ 0 w 16"/>
                <a:gd name="T1" fmla="*/ 0 h 6"/>
                <a:gd name="T2" fmla="*/ 0 w 16"/>
                <a:gd name="T3" fmla="*/ 0 h 6"/>
                <a:gd name="T4" fmla="*/ 6 w 16"/>
                <a:gd name="T5" fmla="*/ 3 h 6"/>
                <a:gd name="T6" fmla="*/ 14 w 16"/>
                <a:gd name="T7" fmla="*/ 6 h 6"/>
                <a:gd name="T8" fmla="*/ 16 w 1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6">
                  <a:moveTo>
                    <a:pt x="0" y="0"/>
                  </a:moveTo>
                  <a:lnTo>
                    <a:pt x="0" y="0"/>
                  </a:lnTo>
                  <a:lnTo>
                    <a:pt x="6" y="3"/>
                  </a:lnTo>
                  <a:lnTo>
                    <a:pt x="14" y="6"/>
                  </a:lnTo>
                  <a:lnTo>
                    <a:pt x="16" y="6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50" name="Freeform 599"/>
            <p:cNvSpPr>
              <a:spLocks/>
            </p:cNvSpPr>
            <p:nvPr/>
          </p:nvSpPr>
          <p:spPr bwMode="auto">
            <a:xfrm>
              <a:off x="3939440" y="2919128"/>
              <a:ext cx="8548" cy="2646"/>
            </a:xfrm>
            <a:custGeom>
              <a:avLst/>
              <a:gdLst>
                <a:gd name="T0" fmla="*/ 0 w 16"/>
                <a:gd name="T1" fmla="*/ 0 h 3"/>
                <a:gd name="T2" fmla="*/ 4 w 16"/>
                <a:gd name="T3" fmla="*/ 2 h 3"/>
                <a:gd name="T4" fmla="*/ 14 w 16"/>
                <a:gd name="T5" fmla="*/ 3 h 3"/>
                <a:gd name="T6" fmla="*/ 16 w 1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3">
                  <a:moveTo>
                    <a:pt x="0" y="0"/>
                  </a:moveTo>
                  <a:lnTo>
                    <a:pt x="4" y="2"/>
                  </a:lnTo>
                  <a:lnTo>
                    <a:pt x="14" y="3"/>
                  </a:lnTo>
                  <a:lnTo>
                    <a:pt x="16" y="3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51" name="Freeform 600"/>
            <p:cNvSpPr>
              <a:spLocks/>
            </p:cNvSpPr>
            <p:nvPr/>
          </p:nvSpPr>
          <p:spPr bwMode="auto">
            <a:xfrm>
              <a:off x="3955315" y="2917806"/>
              <a:ext cx="9769" cy="2646"/>
            </a:xfrm>
            <a:custGeom>
              <a:avLst/>
              <a:gdLst>
                <a:gd name="T0" fmla="*/ 0 w 16"/>
                <a:gd name="T1" fmla="*/ 4 h 4"/>
                <a:gd name="T2" fmla="*/ 5 w 16"/>
                <a:gd name="T3" fmla="*/ 4 h 4"/>
                <a:gd name="T4" fmla="*/ 10 w 16"/>
                <a:gd name="T5" fmla="*/ 2 h 4"/>
                <a:gd name="T6" fmla="*/ 13 w 16"/>
                <a:gd name="T7" fmla="*/ 1 h 4"/>
                <a:gd name="T8" fmla="*/ 16 w 16"/>
                <a:gd name="T9" fmla="*/ 0 h 4"/>
                <a:gd name="T10" fmla="*/ 16 w 16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4">
                  <a:moveTo>
                    <a:pt x="0" y="4"/>
                  </a:moveTo>
                  <a:lnTo>
                    <a:pt x="5" y="4"/>
                  </a:lnTo>
                  <a:lnTo>
                    <a:pt x="10" y="2"/>
                  </a:lnTo>
                  <a:lnTo>
                    <a:pt x="13" y="1"/>
                  </a:lnTo>
                  <a:lnTo>
                    <a:pt x="16" y="0"/>
                  </a:lnTo>
                  <a:lnTo>
                    <a:pt x="16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52" name="Freeform 601"/>
            <p:cNvSpPr>
              <a:spLocks/>
            </p:cNvSpPr>
            <p:nvPr/>
          </p:nvSpPr>
          <p:spPr bwMode="auto">
            <a:xfrm>
              <a:off x="3963863" y="2913837"/>
              <a:ext cx="9769" cy="1323"/>
            </a:xfrm>
            <a:custGeom>
              <a:avLst/>
              <a:gdLst>
                <a:gd name="T0" fmla="*/ 0 w 17"/>
                <a:gd name="T1" fmla="*/ 0 h 1"/>
                <a:gd name="T2" fmla="*/ 2 w 17"/>
                <a:gd name="T3" fmla="*/ 0 h 1"/>
                <a:gd name="T4" fmla="*/ 5 w 17"/>
                <a:gd name="T5" fmla="*/ 1 h 1"/>
                <a:gd name="T6" fmla="*/ 9 w 17"/>
                <a:gd name="T7" fmla="*/ 1 h 1"/>
                <a:gd name="T8" fmla="*/ 13 w 17"/>
                <a:gd name="T9" fmla="*/ 1 h 1"/>
                <a:gd name="T10" fmla="*/ 17 w 17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">
                  <a:moveTo>
                    <a:pt x="0" y="0"/>
                  </a:moveTo>
                  <a:lnTo>
                    <a:pt x="2" y="0"/>
                  </a:lnTo>
                  <a:lnTo>
                    <a:pt x="5" y="1"/>
                  </a:lnTo>
                  <a:lnTo>
                    <a:pt x="9" y="1"/>
                  </a:lnTo>
                  <a:lnTo>
                    <a:pt x="13" y="1"/>
                  </a:lnTo>
                  <a:lnTo>
                    <a:pt x="17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53" name="Freeform 602"/>
            <p:cNvSpPr>
              <a:spLocks/>
            </p:cNvSpPr>
            <p:nvPr/>
          </p:nvSpPr>
          <p:spPr bwMode="auto">
            <a:xfrm>
              <a:off x="3976074" y="2912514"/>
              <a:ext cx="6106" cy="6615"/>
            </a:xfrm>
            <a:custGeom>
              <a:avLst/>
              <a:gdLst>
                <a:gd name="T0" fmla="*/ 9 w 12"/>
                <a:gd name="T1" fmla="*/ 0 h 9"/>
                <a:gd name="T2" fmla="*/ 10 w 12"/>
                <a:gd name="T3" fmla="*/ 0 h 9"/>
                <a:gd name="T4" fmla="*/ 12 w 12"/>
                <a:gd name="T5" fmla="*/ 2 h 9"/>
                <a:gd name="T6" fmla="*/ 12 w 12"/>
                <a:gd name="T7" fmla="*/ 3 h 9"/>
                <a:gd name="T8" fmla="*/ 7 w 12"/>
                <a:gd name="T9" fmla="*/ 6 h 9"/>
                <a:gd name="T10" fmla="*/ 3 w 12"/>
                <a:gd name="T11" fmla="*/ 9 h 9"/>
                <a:gd name="T12" fmla="*/ 0 w 12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9">
                  <a:moveTo>
                    <a:pt x="9" y="0"/>
                  </a:moveTo>
                  <a:lnTo>
                    <a:pt x="10" y="0"/>
                  </a:lnTo>
                  <a:lnTo>
                    <a:pt x="12" y="2"/>
                  </a:lnTo>
                  <a:lnTo>
                    <a:pt x="12" y="3"/>
                  </a:lnTo>
                  <a:lnTo>
                    <a:pt x="7" y="6"/>
                  </a:lnTo>
                  <a:lnTo>
                    <a:pt x="3" y="9"/>
                  </a:lnTo>
                  <a:lnTo>
                    <a:pt x="0" y="9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54" name="Freeform 603"/>
            <p:cNvSpPr>
              <a:spLocks/>
            </p:cNvSpPr>
            <p:nvPr/>
          </p:nvSpPr>
          <p:spPr bwMode="auto">
            <a:xfrm>
              <a:off x="3969968" y="2921774"/>
              <a:ext cx="8548" cy="3969"/>
            </a:xfrm>
            <a:custGeom>
              <a:avLst/>
              <a:gdLst>
                <a:gd name="T0" fmla="*/ 0 w 13"/>
                <a:gd name="T1" fmla="*/ 1 h 4"/>
                <a:gd name="T2" fmla="*/ 0 w 13"/>
                <a:gd name="T3" fmla="*/ 1 h 4"/>
                <a:gd name="T4" fmla="*/ 0 w 13"/>
                <a:gd name="T5" fmla="*/ 3 h 4"/>
                <a:gd name="T6" fmla="*/ 4 w 13"/>
                <a:gd name="T7" fmla="*/ 4 h 4"/>
                <a:gd name="T8" fmla="*/ 8 w 13"/>
                <a:gd name="T9" fmla="*/ 1 h 4"/>
                <a:gd name="T10" fmla="*/ 13 w 13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4">
                  <a:moveTo>
                    <a:pt x="0" y="1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4" y="4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55" name="Freeform 604"/>
            <p:cNvSpPr>
              <a:spLocks/>
            </p:cNvSpPr>
            <p:nvPr/>
          </p:nvSpPr>
          <p:spPr bwMode="auto">
            <a:xfrm>
              <a:off x="3985843" y="2908545"/>
              <a:ext cx="3663" cy="10583"/>
            </a:xfrm>
            <a:custGeom>
              <a:avLst/>
              <a:gdLst>
                <a:gd name="T0" fmla="*/ 0 w 7"/>
                <a:gd name="T1" fmla="*/ 15 h 15"/>
                <a:gd name="T2" fmla="*/ 1 w 7"/>
                <a:gd name="T3" fmla="*/ 14 h 15"/>
                <a:gd name="T4" fmla="*/ 3 w 7"/>
                <a:gd name="T5" fmla="*/ 11 h 15"/>
                <a:gd name="T6" fmla="*/ 7 w 7"/>
                <a:gd name="T7" fmla="*/ 1 h 15"/>
                <a:gd name="T8" fmla="*/ 7 w 7"/>
                <a:gd name="T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5">
                  <a:moveTo>
                    <a:pt x="0" y="15"/>
                  </a:moveTo>
                  <a:lnTo>
                    <a:pt x="1" y="14"/>
                  </a:lnTo>
                  <a:lnTo>
                    <a:pt x="3" y="11"/>
                  </a:lnTo>
                  <a:lnTo>
                    <a:pt x="7" y="1"/>
                  </a:lnTo>
                  <a:lnTo>
                    <a:pt x="7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56" name="Freeform 605"/>
            <p:cNvSpPr>
              <a:spLocks/>
            </p:cNvSpPr>
            <p:nvPr/>
          </p:nvSpPr>
          <p:spPr bwMode="auto">
            <a:xfrm>
              <a:off x="3988286" y="2890025"/>
              <a:ext cx="2442" cy="11906"/>
            </a:xfrm>
            <a:custGeom>
              <a:avLst/>
              <a:gdLst>
                <a:gd name="T0" fmla="*/ 3 w 3"/>
                <a:gd name="T1" fmla="*/ 17 h 17"/>
                <a:gd name="T2" fmla="*/ 3 w 3"/>
                <a:gd name="T3" fmla="*/ 13 h 17"/>
                <a:gd name="T4" fmla="*/ 0 w 3"/>
                <a:gd name="T5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7">
                  <a:moveTo>
                    <a:pt x="3" y="17"/>
                  </a:moveTo>
                  <a:lnTo>
                    <a:pt x="3" y="13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57" name="Freeform 606"/>
            <p:cNvSpPr>
              <a:spLocks/>
            </p:cNvSpPr>
            <p:nvPr/>
          </p:nvSpPr>
          <p:spPr bwMode="auto">
            <a:xfrm>
              <a:off x="3987064" y="2871504"/>
              <a:ext cx="1221" cy="11906"/>
            </a:xfrm>
            <a:custGeom>
              <a:avLst/>
              <a:gdLst>
                <a:gd name="T0" fmla="*/ 1 w 1"/>
                <a:gd name="T1" fmla="*/ 17 h 17"/>
                <a:gd name="T2" fmla="*/ 1 w 1"/>
                <a:gd name="T3" fmla="*/ 11 h 17"/>
                <a:gd name="T4" fmla="*/ 0 w 1"/>
                <a:gd name="T5" fmla="*/ 3 h 17"/>
                <a:gd name="T6" fmla="*/ 0 w 1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7">
                  <a:moveTo>
                    <a:pt x="1" y="17"/>
                  </a:moveTo>
                  <a:lnTo>
                    <a:pt x="1" y="11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58" name="Freeform 607"/>
            <p:cNvSpPr>
              <a:spLocks/>
            </p:cNvSpPr>
            <p:nvPr/>
          </p:nvSpPr>
          <p:spPr bwMode="auto">
            <a:xfrm>
              <a:off x="3979738" y="2855629"/>
              <a:ext cx="6106" cy="9260"/>
            </a:xfrm>
            <a:custGeom>
              <a:avLst/>
              <a:gdLst>
                <a:gd name="T0" fmla="*/ 10 w 10"/>
                <a:gd name="T1" fmla="*/ 14 h 14"/>
                <a:gd name="T2" fmla="*/ 10 w 10"/>
                <a:gd name="T3" fmla="*/ 13 h 14"/>
                <a:gd name="T4" fmla="*/ 8 w 10"/>
                <a:gd name="T5" fmla="*/ 9 h 14"/>
                <a:gd name="T6" fmla="*/ 5 w 10"/>
                <a:gd name="T7" fmla="*/ 4 h 14"/>
                <a:gd name="T8" fmla="*/ 0 w 10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14">
                  <a:moveTo>
                    <a:pt x="10" y="14"/>
                  </a:moveTo>
                  <a:lnTo>
                    <a:pt x="10" y="13"/>
                  </a:lnTo>
                  <a:lnTo>
                    <a:pt x="8" y="9"/>
                  </a:lnTo>
                  <a:lnTo>
                    <a:pt x="5" y="4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59" name="Freeform 608"/>
            <p:cNvSpPr>
              <a:spLocks/>
            </p:cNvSpPr>
            <p:nvPr/>
          </p:nvSpPr>
          <p:spPr bwMode="auto">
            <a:xfrm>
              <a:off x="3963863" y="2849015"/>
              <a:ext cx="10990" cy="2646"/>
            </a:xfrm>
            <a:custGeom>
              <a:avLst/>
              <a:gdLst>
                <a:gd name="T0" fmla="*/ 17 w 17"/>
                <a:gd name="T1" fmla="*/ 4 h 4"/>
                <a:gd name="T2" fmla="*/ 13 w 17"/>
                <a:gd name="T3" fmla="*/ 1 h 4"/>
                <a:gd name="T4" fmla="*/ 5 w 17"/>
                <a:gd name="T5" fmla="*/ 0 h 4"/>
                <a:gd name="T6" fmla="*/ 0 w 17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4">
                  <a:moveTo>
                    <a:pt x="17" y="4"/>
                  </a:moveTo>
                  <a:lnTo>
                    <a:pt x="13" y="1"/>
                  </a:lnTo>
                  <a:lnTo>
                    <a:pt x="5" y="0"/>
                  </a:lnTo>
                  <a:lnTo>
                    <a:pt x="0" y="0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1" name="Freeform 610"/>
            <p:cNvSpPr>
              <a:spLocks/>
            </p:cNvSpPr>
            <p:nvPr/>
          </p:nvSpPr>
          <p:spPr bwMode="auto">
            <a:xfrm>
              <a:off x="3946767" y="2849014"/>
              <a:ext cx="10990" cy="2646"/>
            </a:xfrm>
            <a:custGeom>
              <a:avLst/>
              <a:gdLst>
                <a:gd name="T0" fmla="*/ 17 w 17"/>
                <a:gd name="T1" fmla="*/ 0 h 3"/>
                <a:gd name="T2" fmla="*/ 12 w 17"/>
                <a:gd name="T3" fmla="*/ 0 h 3"/>
                <a:gd name="T4" fmla="*/ 3 w 17"/>
                <a:gd name="T5" fmla="*/ 2 h 3"/>
                <a:gd name="T6" fmla="*/ 0 w 17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3">
                  <a:moveTo>
                    <a:pt x="17" y="0"/>
                  </a:moveTo>
                  <a:lnTo>
                    <a:pt x="12" y="0"/>
                  </a:lnTo>
                  <a:lnTo>
                    <a:pt x="3" y="2"/>
                  </a:lnTo>
                  <a:lnTo>
                    <a:pt x="0" y="3"/>
                  </a:lnTo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2" name="Freeform 611"/>
            <p:cNvSpPr>
              <a:spLocks/>
            </p:cNvSpPr>
            <p:nvPr/>
          </p:nvSpPr>
          <p:spPr bwMode="auto">
            <a:xfrm>
              <a:off x="3906469" y="2849014"/>
              <a:ext cx="84259" cy="76728"/>
            </a:xfrm>
            <a:custGeom>
              <a:avLst/>
              <a:gdLst>
                <a:gd name="T0" fmla="*/ 132 w 138"/>
                <a:gd name="T1" fmla="*/ 39 h 116"/>
                <a:gd name="T2" fmla="*/ 130 w 138"/>
                <a:gd name="T3" fmla="*/ 27 h 116"/>
                <a:gd name="T4" fmla="*/ 128 w 138"/>
                <a:gd name="T5" fmla="*/ 19 h 116"/>
                <a:gd name="T6" fmla="*/ 119 w 138"/>
                <a:gd name="T7" fmla="*/ 9 h 116"/>
                <a:gd name="T8" fmla="*/ 106 w 138"/>
                <a:gd name="T9" fmla="*/ 1 h 116"/>
                <a:gd name="T10" fmla="*/ 93 w 138"/>
                <a:gd name="T11" fmla="*/ 0 h 116"/>
                <a:gd name="T12" fmla="*/ 78 w 138"/>
                <a:gd name="T13" fmla="*/ 1 h 116"/>
                <a:gd name="T14" fmla="*/ 60 w 138"/>
                <a:gd name="T15" fmla="*/ 7 h 116"/>
                <a:gd name="T16" fmla="*/ 43 w 138"/>
                <a:gd name="T17" fmla="*/ 20 h 116"/>
                <a:gd name="T18" fmla="*/ 26 w 138"/>
                <a:gd name="T19" fmla="*/ 34 h 116"/>
                <a:gd name="T20" fmla="*/ 17 w 138"/>
                <a:gd name="T21" fmla="*/ 43 h 116"/>
                <a:gd name="T22" fmla="*/ 9 w 138"/>
                <a:gd name="T23" fmla="*/ 50 h 116"/>
                <a:gd name="T24" fmla="*/ 3 w 138"/>
                <a:gd name="T25" fmla="*/ 57 h 116"/>
                <a:gd name="T26" fmla="*/ 0 w 138"/>
                <a:gd name="T27" fmla="*/ 66 h 116"/>
                <a:gd name="T28" fmla="*/ 4 w 138"/>
                <a:gd name="T29" fmla="*/ 79 h 116"/>
                <a:gd name="T30" fmla="*/ 10 w 138"/>
                <a:gd name="T31" fmla="*/ 89 h 116"/>
                <a:gd name="T32" fmla="*/ 13 w 138"/>
                <a:gd name="T33" fmla="*/ 89 h 116"/>
                <a:gd name="T34" fmla="*/ 14 w 138"/>
                <a:gd name="T35" fmla="*/ 85 h 116"/>
                <a:gd name="T36" fmla="*/ 17 w 138"/>
                <a:gd name="T37" fmla="*/ 85 h 116"/>
                <a:gd name="T38" fmla="*/ 19 w 138"/>
                <a:gd name="T39" fmla="*/ 87 h 116"/>
                <a:gd name="T40" fmla="*/ 16 w 138"/>
                <a:gd name="T41" fmla="*/ 89 h 116"/>
                <a:gd name="T42" fmla="*/ 17 w 138"/>
                <a:gd name="T43" fmla="*/ 93 h 116"/>
                <a:gd name="T44" fmla="*/ 26 w 138"/>
                <a:gd name="T45" fmla="*/ 99 h 116"/>
                <a:gd name="T46" fmla="*/ 40 w 138"/>
                <a:gd name="T47" fmla="*/ 103 h 116"/>
                <a:gd name="T48" fmla="*/ 50 w 138"/>
                <a:gd name="T49" fmla="*/ 106 h 116"/>
                <a:gd name="T50" fmla="*/ 57 w 138"/>
                <a:gd name="T51" fmla="*/ 109 h 116"/>
                <a:gd name="T52" fmla="*/ 76 w 138"/>
                <a:gd name="T53" fmla="*/ 109 h 116"/>
                <a:gd name="T54" fmla="*/ 89 w 138"/>
                <a:gd name="T55" fmla="*/ 107 h 116"/>
                <a:gd name="T56" fmla="*/ 96 w 138"/>
                <a:gd name="T57" fmla="*/ 105 h 116"/>
                <a:gd name="T58" fmla="*/ 95 w 138"/>
                <a:gd name="T59" fmla="*/ 102 h 116"/>
                <a:gd name="T60" fmla="*/ 92 w 138"/>
                <a:gd name="T61" fmla="*/ 100 h 116"/>
                <a:gd name="T62" fmla="*/ 92 w 138"/>
                <a:gd name="T63" fmla="*/ 99 h 116"/>
                <a:gd name="T64" fmla="*/ 98 w 138"/>
                <a:gd name="T65" fmla="*/ 100 h 116"/>
                <a:gd name="T66" fmla="*/ 106 w 138"/>
                <a:gd name="T67" fmla="*/ 100 h 116"/>
                <a:gd name="T68" fmla="*/ 119 w 138"/>
                <a:gd name="T69" fmla="*/ 97 h 116"/>
                <a:gd name="T70" fmla="*/ 125 w 138"/>
                <a:gd name="T71" fmla="*/ 99 h 116"/>
                <a:gd name="T72" fmla="*/ 120 w 138"/>
                <a:gd name="T73" fmla="*/ 103 h 116"/>
                <a:gd name="T74" fmla="*/ 112 w 138"/>
                <a:gd name="T75" fmla="*/ 105 h 116"/>
                <a:gd name="T76" fmla="*/ 108 w 138"/>
                <a:gd name="T77" fmla="*/ 110 h 116"/>
                <a:gd name="T78" fmla="*/ 105 w 138"/>
                <a:gd name="T79" fmla="*/ 115 h 116"/>
                <a:gd name="T80" fmla="*/ 113 w 138"/>
                <a:gd name="T81" fmla="*/ 113 h 116"/>
                <a:gd name="T82" fmla="*/ 130 w 138"/>
                <a:gd name="T83" fmla="*/ 106 h 116"/>
                <a:gd name="T84" fmla="*/ 136 w 138"/>
                <a:gd name="T85" fmla="*/ 93 h 116"/>
                <a:gd name="T86" fmla="*/ 138 w 138"/>
                <a:gd name="T87" fmla="*/ 76 h 116"/>
                <a:gd name="T88" fmla="*/ 133 w 138"/>
                <a:gd name="T89" fmla="*/ 47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38" h="116">
                  <a:moveTo>
                    <a:pt x="133" y="47"/>
                  </a:moveTo>
                  <a:lnTo>
                    <a:pt x="132" y="39"/>
                  </a:lnTo>
                  <a:lnTo>
                    <a:pt x="132" y="32"/>
                  </a:lnTo>
                  <a:lnTo>
                    <a:pt x="130" y="27"/>
                  </a:lnTo>
                  <a:lnTo>
                    <a:pt x="130" y="23"/>
                  </a:lnTo>
                  <a:lnTo>
                    <a:pt x="128" y="19"/>
                  </a:lnTo>
                  <a:lnTo>
                    <a:pt x="125" y="13"/>
                  </a:lnTo>
                  <a:lnTo>
                    <a:pt x="119" y="9"/>
                  </a:lnTo>
                  <a:lnTo>
                    <a:pt x="112" y="4"/>
                  </a:lnTo>
                  <a:lnTo>
                    <a:pt x="106" y="1"/>
                  </a:lnTo>
                  <a:lnTo>
                    <a:pt x="100" y="0"/>
                  </a:lnTo>
                  <a:lnTo>
                    <a:pt x="93" y="0"/>
                  </a:lnTo>
                  <a:lnTo>
                    <a:pt x="88" y="0"/>
                  </a:lnTo>
                  <a:lnTo>
                    <a:pt x="78" y="1"/>
                  </a:lnTo>
                  <a:lnTo>
                    <a:pt x="69" y="3"/>
                  </a:lnTo>
                  <a:lnTo>
                    <a:pt x="60" y="7"/>
                  </a:lnTo>
                  <a:lnTo>
                    <a:pt x="47" y="16"/>
                  </a:lnTo>
                  <a:lnTo>
                    <a:pt x="43" y="20"/>
                  </a:lnTo>
                  <a:lnTo>
                    <a:pt x="32" y="29"/>
                  </a:lnTo>
                  <a:lnTo>
                    <a:pt x="26" y="34"/>
                  </a:lnTo>
                  <a:lnTo>
                    <a:pt x="22" y="39"/>
                  </a:lnTo>
                  <a:lnTo>
                    <a:pt x="17" y="43"/>
                  </a:lnTo>
                  <a:lnTo>
                    <a:pt x="14" y="46"/>
                  </a:lnTo>
                  <a:lnTo>
                    <a:pt x="9" y="50"/>
                  </a:lnTo>
                  <a:lnTo>
                    <a:pt x="6" y="53"/>
                  </a:lnTo>
                  <a:lnTo>
                    <a:pt x="3" y="57"/>
                  </a:lnTo>
                  <a:lnTo>
                    <a:pt x="2" y="62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4" y="79"/>
                  </a:lnTo>
                  <a:lnTo>
                    <a:pt x="7" y="85"/>
                  </a:lnTo>
                  <a:lnTo>
                    <a:pt x="10" y="89"/>
                  </a:lnTo>
                  <a:lnTo>
                    <a:pt x="12" y="89"/>
                  </a:lnTo>
                  <a:lnTo>
                    <a:pt x="13" y="89"/>
                  </a:lnTo>
                  <a:lnTo>
                    <a:pt x="14" y="87"/>
                  </a:lnTo>
                  <a:lnTo>
                    <a:pt x="14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9" y="85"/>
                  </a:lnTo>
                  <a:lnTo>
                    <a:pt x="19" y="87"/>
                  </a:lnTo>
                  <a:lnTo>
                    <a:pt x="17" y="89"/>
                  </a:lnTo>
                  <a:lnTo>
                    <a:pt x="16" y="89"/>
                  </a:lnTo>
                  <a:lnTo>
                    <a:pt x="16" y="92"/>
                  </a:lnTo>
                  <a:lnTo>
                    <a:pt x="17" y="93"/>
                  </a:lnTo>
                  <a:lnTo>
                    <a:pt x="20" y="97"/>
                  </a:lnTo>
                  <a:lnTo>
                    <a:pt x="26" y="99"/>
                  </a:lnTo>
                  <a:lnTo>
                    <a:pt x="32" y="102"/>
                  </a:lnTo>
                  <a:lnTo>
                    <a:pt x="40" y="103"/>
                  </a:lnTo>
                  <a:lnTo>
                    <a:pt x="46" y="106"/>
                  </a:lnTo>
                  <a:lnTo>
                    <a:pt x="50" y="106"/>
                  </a:lnTo>
                  <a:lnTo>
                    <a:pt x="53" y="107"/>
                  </a:lnTo>
                  <a:lnTo>
                    <a:pt x="57" y="109"/>
                  </a:lnTo>
                  <a:lnTo>
                    <a:pt x="67" y="110"/>
                  </a:lnTo>
                  <a:lnTo>
                    <a:pt x="76" y="109"/>
                  </a:lnTo>
                  <a:lnTo>
                    <a:pt x="85" y="109"/>
                  </a:lnTo>
                  <a:lnTo>
                    <a:pt x="89" y="107"/>
                  </a:lnTo>
                  <a:lnTo>
                    <a:pt x="93" y="106"/>
                  </a:lnTo>
                  <a:lnTo>
                    <a:pt x="96" y="105"/>
                  </a:lnTo>
                  <a:lnTo>
                    <a:pt x="96" y="102"/>
                  </a:lnTo>
                  <a:lnTo>
                    <a:pt x="95" y="102"/>
                  </a:lnTo>
                  <a:lnTo>
                    <a:pt x="93" y="102"/>
                  </a:lnTo>
                  <a:lnTo>
                    <a:pt x="92" y="100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5" y="99"/>
                  </a:lnTo>
                  <a:lnTo>
                    <a:pt x="98" y="100"/>
                  </a:lnTo>
                  <a:lnTo>
                    <a:pt x="102" y="100"/>
                  </a:lnTo>
                  <a:lnTo>
                    <a:pt x="106" y="100"/>
                  </a:lnTo>
                  <a:lnTo>
                    <a:pt x="112" y="99"/>
                  </a:lnTo>
                  <a:lnTo>
                    <a:pt x="119" y="97"/>
                  </a:lnTo>
                  <a:lnTo>
                    <a:pt x="123" y="97"/>
                  </a:lnTo>
                  <a:lnTo>
                    <a:pt x="125" y="99"/>
                  </a:lnTo>
                  <a:lnTo>
                    <a:pt x="125" y="100"/>
                  </a:lnTo>
                  <a:lnTo>
                    <a:pt x="120" y="103"/>
                  </a:lnTo>
                  <a:lnTo>
                    <a:pt x="116" y="105"/>
                  </a:lnTo>
                  <a:lnTo>
                    <a:pt x="112" y="105"/>
                  </a:lnTo>
                  <a:lnTo>
                    <a:pt x="109" y="107"/>
                  </a:lnTo>
                  <a:lnTo>
                    <a:pt x="108" y="110"/>
                  </a:lnTo>
                  <a:lnTo>
                    <a:pt x="105" y="113"/>
                  </a:lnTo>
                  <a:lnTo>
                    <a:pt x="105" y="115"/>
                  </a:lnTo>
                  <a:lnTo>
                    <a:pt x="109" y="116"/>
                  </a:lnTo>
                  <a:lnTo>
                    <a:pt x="113" y="113"/>
                  </a:lnTo>
                  <a:lnTo>
                    <a:pt x="120" y="110"/>
                  </a:lnTo>
                  <a:lnTo>
                    <a:pt x="130" y="106"/>
                  </a:lnTo>
                  <a:lnTo>
                    <a:pt x="132" y="103"/>
                  </a:lnTo>
                  <a:lnTo>
                    <a:pt x="136" y="93"/>
                  </a:lnTo>
                  <a:lnTo>
                    <a:pt x="138" y="85"/>
                  </a:lnTo>
                  <a:lnTo>
                    <a:pt x="138" y="76"/>
                  </a:lnTo>
                  <a:lnTo>
                    <a:pt x="135" y="63"/>
                  </a:lnTo>
                  <a:lnTo>
                    <a:pt x="133" y="4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3" name="Freeform 612"/>
            <p:cNvSpPr>
              <a:spLocks/>
            </p:cNvSpPr>
            <p:nvPr/>
          </p:nvSpPr>
          <p:spPr bwMode="auto">
            <a:xfrm>
              <a:off x="8736087" y="5183940"/>
              <a:ext cx="3663" cy="1323"/>
            </a:xfrm>
            <a:custGeom>
              <a:avLst/>
              <a:gdLst>
                <a:gd name="T0" fmla="*/ 4 w 6"/>
                <a:gd name="T1" fmla="*/ 0 h 3"/>
                <a:gd name="T2" fmla="*/ 0 w 6"/>
                <a:gd name="T3" fmla="*/ 2 h 3"/>
                <a:gd name="T4" fmla="*/ 0 w 6"/>
                <a:gd name="T5" fmla="*/ 3 h 3"/>
                <a:gd name="T6" fmla="*/ 3 w 6"/>
                <a:gd name="T7" fmla="*/ 3 h 3"/>
                <a:gd name="T8" fmla="*/ 6 w 6"/>
                <a:gd name="T9" fmla="*/ 3 h 3"/>
                <a:gd name="T10" fmla="*/ 4 w 6"/>
                <a:gd name="T11" fmla="*/ 0 h 3"/>
                <a:gd name="T12" fmla="*/ 4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4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noFill/>
            <a:ln w="1588">
              <a:solidFill>
                <a:srgbClr val="BCBE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4" name="Freeform 613"/>
            <p:cNvSpPr>
              <a:spLocks/>
            </p:cNvSpPr>
            <p:nvPr/>
          </p:nvSpPr>
          <p:spPr bwMode="auto">
            <a:xfrm>
              <a:off x="8836220" y="4513228"/>
              <a:ext cx="12211" cy="56885"/>
            </a:xfrm>
            <a:custGeom>
              <a:avLst/>
              <a:gdLst>
                <a:gd name="T0" fmla="*/ 8 w 20"/>
                <a:gd name="T1" fmla="*/ 55 h 86"/>
                <a:gd name="T2" fmla="*/ 8 w 20"/>
                <a:gd name="T3" fmla="*/ 51 h 86"/>
                <a:gd name="T4" fmla="*/ 9 w 20"/>
                <a:gd name="T5" fmla="*/ 46 h 86"/>
                <a:gd name="T6" fmla="*/ 9 w 20"/>
                <a:gd name="T7" fmla="*/ 42 h 86"/>
                <a:gd name="T8" fmla="*/ 8 w 20"/>
                <a:gd name="T9" fmla="*/ 38 h 86"/>
                <a:gd name="T10" fmla="*/ 8 w 20"/>
                <a:gd name="T11" fmla="*/ 35 h 86"/>
                <a:gd name="T12" fmla="*/ 6 w 20"/>
                <a:gd name="T13" fmla="*/ 30 h 86"/>
                <a:gd name="T14" fmla="*/ 8 w 20"/>
                <a:gd name="T15" fmla="*/ 26 h 86"/>
                <a:gd name="T16" fmla="*/ 5 w 20"/>
                <a:gd name="T17" fmla="*/ 20 h 86"/>
                <a:gd name="T18" fmla="*/ 2 w 20"/>
                <a:gd name="T19" fmla="*/ 12 h 86"/>
                <a:gd name="T20" fmla="*/ 2 w 20"/>
                <a:gd name="T21" fmla="*/ 6 h 86"/>
                <a:gd name="T22" fmla="*/ 2 w 20"/>
                <a:gd name="T23" fmla="*/ 3 h 86"/>
                <a:gd name="T24" fmla="*/ 3 w 20"/>
                <a:gd name="T25" fmla="*/ 3 h 86"/>
                <a:gd name="T26" fmla="*/ 5 w 20"/>
                <a:gd name="T27" fmla="*/ 3 h 86"/>
                <a:gd name="T28" fmla="*/ 5 w 20"/>
                <a:gd name="T29" fmla="*/ 3 h 86"/>
                <a:gd name="T30" fmla="*/ 5 w 20"/>
                <a:gd name="T31" fmla="*/ 3 h 86"/>
                <a:gd name="T32" fmla="*/ 6 w 20"/>
                <a:gd name="T33" fmla="*/ 5 h 86"/>
                <a:gd name="T34" fmla="*/ 6 w 20"/>
                <a:gd name="T35" fmla="*/ 8 h 86"/>
                <a:gd name="T36" fmla="*/ 8 w 20"/>
                <a:gd name="T37" fmla="*/ 10 h 86"/>
                <a:gd name="T38" fmla="*/ 9 w 20"/>
                <a:gd name="T39" fmla="*/ 10 h 86"/>
                <a:gd name="T40" fmla="*/ 9 w 20"/>
                <a:gd name="T41" fmla="*/ 8 h 86"/>
                <a:gd name="T42" fmla="*/ 9 w 20"/>
                <a:gd name="T43" fmla="*/ 5 h 86"/>
                <a:gd name="T44" fmla="*/ 10 w 20"/>
                <a:gd name="T45" fmla="*/ 0 h 86"/>
                <a:gd name="T46" fmla="*/ 12 w 20"/>
                <a:gd name="T47" fmla="*/ 0 h 86"/>
                <a:gd name="T48" fmla="*/ 13 w 20"/>
                <a:gd name="T49" fmla="*/ 0 h 86"/>
                <a:gd name="T50" fmla="*/ 13 w 20"/>
                <a:gd name="T51" fmla="*/ 0 h 86"/>
                <a:gd name="T52" fmla="*/ 13 w 20"/>
                <a:gd name="T53" fmla="*/ 0 h 86"/>
                <a:gd name="T54" fmla="*/ 15 w 20"/>
                <a:gd name="T55" fmla="*/ 2 h 86"/>
                <a:gd name="T56" fmla="*/ 15 w 20"/>
                <a:gd name="T57" fmla="*/ 6 h 86"/>
                <a:gd name="T58" fmla="*/ 15 w 20"/>
                <a:gd name="T59" fmla="*/ 9 h 86"/>
                <a:gd name="T60" fmla="*/ 13 w 20"/>
                <a:gd name="T61" fmla="*/ 13 h 86"/>
                <a:gd name="T62" fmla="*/ 13 w 20"/>
                <a:gd name="T63" fmla="*/ 18 h 86"/>
                <a:gd name="T64" fmla="*/ 13 w 20"/>
                <a:gd name="T65" fmla="*/ 20 h 86"/>
                <a:gd name="T66" fmla="*/ 16 w 20"/>
                <a:gd name="T67" fmla="*/ 22 h 86"/>
                <a:gd name="T68" fmla="*/ 19 w 20"/>
                <a:gd name="T69" fmla="*/ 25 h 86"/>
                <a:gd name="T70" fmla="*/ 20 w 20"/>
                <a:gd name="T71" fmla="*/ 29 h 86"/>
                <a:gd name="T72" fmla="*/ 19 w 20"/>
                <a:gd name="T73" fmla="*/ 32 h 86"/>
                <a:gd name="T74" fmla="*/ 18 w 20"/>
                <a:gd name="T75" fmla="*/ 35 h 86"/>
                <a:gd name="T76" fmla="*/ 18 w 20"/>
                <a:gd name="T77" fmla="*/ 38 h 86"/>
                <a:gd name="T78" fmla="*/ 19 w 20"/>
                <a:gd name="T79" fmla="*/ 43 h 86"/>
                <a:gd name="T80" fmla="*/ 20 w 20"/>
                <a:gd name="T81" fmla="*/ 49 h 86"/>
                <a:gd name="T82" fmla="*/ 19 w 20"/>
                <a:gd name="T83" fmla="*/ 56 h 86"/>
                <a:gd name="T84" fmla="*/ 19 w 20"/>
                <a:gd name="T85" fmla="*/ 63 h 86"/>
                <a:gd name="T86" fmla="*/ 18 w 20"/>
                <a:gd name="T87" fmla="*/ 75 h 86"/>
                <a:gd name="T88" fmla="*/ 18 w 20"/>
                <a:gd name="T89" fmla="*/ 81 h 86"/>
                <a:gd name="T90" fmla="*/ 18 w 20"/>
                <a:gd name="T91" fmla="*/ 82 h 86"/>
                <a:gd name="T92" fmla="*/ 18 w 20"/>
                <a:gd name="T93" fmla="*/ 82 h 86"/>
                <a:gd name="T94" fmla="*/ 16 w 20"/>
                <a:gd name="T95" fmla="*/ 86 h 86"/>
                <a:gd name="T96" fmla="*/ 15 w 20"/>
                <a:gd name="T97" fmla="*/ 86 h 86"/>
                <a:gd name="T98" fmla="*/ 12 w 20"/>
                <a:gd name="T99" fmla="*/ 86 h 86"/>
                <a:gd name="T100" fmla="*/ 9 w 20"/>
                <a:gd name="T101" fmla="*/ 85 h 86"/>
                <a:gd name="T102" fmla="*/ 5 w 20"/>
                <a:gd name="T103" fmla="*/ 85 h 86"/>
                <a:gd name="T104" fmla="*/ 2 w 20"/>
                <a:gd name="T105" fmla="*/ 85 h 86"/>
                <a:gd name="T106" fmla="*/ 2 w 20"/>
                <a:gd name="T107" fmla="*/ 83 h 86"/>
                <a:gd name="T108" fmla="*/ 0 w 20"/>
                <a:gd name="T109" fmla="*/ 79 h 86"/>
                <a:gd name="T110" fmla="*/ 2 w 20"/>
                <a:gd name="T111" fmla="*/ 76 h 86"/>
                <a:gd name="T112" fmla="*/ 3 w 20"/>
                <a:gd name="T113" fmla="*/ 73 h 86"/>
                <a:gd name="T114" fmla="*/ 6 w 20"/>
                <a:gd name="T115" fmla="*/ 71 h 86"/>
                <a:gd name="T116" fmla="*/ 9 w 20"/>
                <a:gd name="T117" fmla="*/ 68 h 86"/>
                <a:gd name="T118" fmla="*/ 9 w 20"/>
                <a:gd name="T119" fmla="*/ 63 h 86"/>
                <a:gd name="T120" fmla="*/ 9 w 20"/>
                <a:gd name="T121" fmla="*/ 59 h 86"/>
                <a:gd name="T122" fmla="*/ 8 w 20"/>
                <a:gd name="T123" fmla="*/ 55 h 86"/>
                <a:gd name="T124" fmla="*/ 8 w 20"/>
                <a:gd name="T125" fmla="*/ 5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" h="86">
                  <a:moveTo>
                    <a:pt x="8" y="55"/>
                  </a:moveTo>
                  <a:lnTo>
                    <a:pt x="8" y="51"/>
                  </a:lnTo>
                  <a:lnTo>
                    <a:pt x="9" y="46"/>
                  </a:lnTo>
                  <a:lnTo>
                    <a:pt x="9" y="42"/>
                  </a:lnTo>
                  <a:lnTo>
                    <a:pt x="8" y="38"/>
                  </a:lnTo>
                  <a:lnTo>
                    <a:pt x="8" y="35"/>
                  </a:lnTo>
                  <a:lnTo>
                    <a:pt x="6" y="30"/>
                  </a:lnTo>
                  <a:lnTo>
                    <a:pt x="8" y="26"/>
                  </a:lnTo>
                  <a:lnTo>
                    <a:pt x="5" y="20"/>
                  </a:lnTo>
                  <a:lnTo>
                    <a:pt x="2" y="12"/>
                  </a:lnTo>
                  <a:lnTo>
                    <a:pt x="2" y="6"/>
                  </a:lnTo>
                  <a:lnTo>
                    <a:pt x="2" y="3"/>
                  </a:lnTo>
                  <a:lnTo>
                    <a:pt x="3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6" y="5"/>
                  </a:lnTo>
                  <a:lnTo>
                    <a:pt x="6" y="8"/>
                  </a:lnTo>
                  <a:lnTo>
                    <a:pt x="8" y="10"/>
                  </a:lnTo>
                  <a:lnTo>
                    <a:pt x="9" y="10"/>
                  </a:lnTo>
                  <a:lnTo>
                    <a:pt x="9" y="8"/>
                  </a:lnTo>
                  <a:lnTo>
                    <a:pt x="9" y="5"/>
                  </a:lnTo>
                  <a:lnTo>
                    <a:pt x="10" y="0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5" y="2"/>
                  </a:lnTo>
                  <a:lnTo>
                    <a:pt x="15" y="6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3" y="18"/>
                  </a:lnTo>
                  <a:lnTo>
                    <a:pt x="13" y="20"/>
                  </a:lnTo>
                  <a:lnTo>
                    <a:pt x="16" y="22"/>
                  </a:lnTo>
                  <a:lnTo>
                    <a:pt x="19" y="25"/>
                  </a:lnTo>
                  <a:lnTo>
                    <a:pt x="20" y="29"/>
                  </a:lnTo>
                  <a:lnTo>
                    <a:pt x="19" y="32"/>
                  </a:lnTo>
                  <a:lnTo>
                    <a:pt x="18" y="35"/>
                  </a:lnTo>
                  <a:lnTo>
                    <a:pt x="18" y="38"/>
                  </a:lnTo>
                  <a:lnTo>
                    <a:pt x="19" y="43"/>
                  </a:lnTo>
                  <a:lnTo>
                    <a:pt x="20" y="49"/>
                  </a:lnTo>
                  <a:lnTo>
                    <a:pt x="19" y="56"/>
                  </a:lnTo>
                  <a:lnTo>
                    <a:pt x="19" y="63"/>
                  </a:lnTo>
                  <a:lnTo>
                    <a:pt x="18" y="75"/>
                  </a:lnTo>
                  <a:lnTo>
                    <a:pt x="18" y="81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16" y="86"/>
                  </a:lnTo>
                  <a:lnTo>
                    <a:pt x="15" y="86"/>
                  </a:lnTo>
                  <a:lnTo>
                    <a:pt x="12" y="86"/>
                  </a:lnTo>
                  <a:lnTo>
                    <a:pt x="9" y="85"/>
                  </a:lnTo>
                  <a:lnTo>
                    <a:pt x="5" y="85"/>
                  </a:lnTo>
                  <a:lnTo>
                    <a:pt x="2" y="85"/>
                  </a:lnTo>
                  <a:lnTo>
                    <a:pt x="2" y="83"/>
                  </a:lnTo>
                  <a:lnTo>
                    <a:pt x="0" y="79"/>
                  </a:lnTo>
                  <a:lnTo>
                    <a:pt x="2" y="76"/>
                  </a:lnTo>
                  <a:lnTo>
                    <a:pt x="3" y="73"/>
                  </a:lnTo>
                  <a:lnTo>
                    <a:pt x="6" y="71"/>
                  </a:lnTo>
                  <a:lnTo>
                    <a:pt x="9" y="68"/>
                  </a:lnTo>
                  <a:lnTo>
                    <a:pt x="9" y="63"/>
                  </a:lnTo>
                  <a:lnTo>
                    <a:pt x="9" y="59"/>
                  </a:lnTo>
                  <a:lnTo>
                    <a:pt x="8" y="55"/>
                  </a:lnTo>
                  <a:lnTo>
                    <a:pt x="8" y="5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5" name="Freeform 614"/>
            <p:cNvSpPr>
              <a:spLocks/>
            </p:cNvSpPr>
            <p:nvPr/>
          </p:nvSpPr>
          <p:spPr bwMode="auto">
            <a:xfrm>
              <a:off x="8753183" y="4230126"/>
              <a:ext cx="2442" cy="2646"/>
            </a:xfrm>
            <a:custGeom>
              <a:avLst/>
              <a:gdLst>
                <a:gd name="T0" fmla="*/ 3 w 3"/>
                <a:gd name="T1" fmla="*/ 4 h 4"/>
                <a:gd name="T2" fmla="*/ 3 w 3"/>
                <a:gd name="T3" fmla="*/ 2 h 4"/>
                <a:gd name="T4" fmla="*/ 3 w 3"/>
                <a:gd name="T5" fmla="*/ 1 h 4"/>
                <a:gd name="T6" fmla="*/ 3 w 3"/>
                <a:gd name="T7" fmla="*/ 0 h 4"/>
                <a:gd name="T8" fmla="*/ 3 w 3"/>
                <a:gd name="T9" fmla="*/ 0 h 4"/>
                <a:gd name="T10" fmla="*/ 1 w 3"/>
                <a:gd name="T11" fmla="*/ 0 h 4"/>
                <a:gd name="T12" fmla="*/ 0 w 3"/>
                <a:gd name="T13" fmla="*/ 0 h 4"/>
                <a:gd name="T14" fmla="*/ 0 w 3"/>
                <a:gd name="T15" fmla="*/ 1 h 4"/>
                <a:gd name="T16" fmla="*/ 0 w 3"/>
                <a:gd name="T17" fmla="*/ 2 h 4"/>
                <a:gd name="T18" fmla="*/ 1 w 3"/>
                <a:gd name="T19" fmla="*/ 4 h 4"/>
                <a:gd name="T20" fmla="*/ 3 w 3"/>
                <a:gd name="T21" fmla="*/ 4 h 4"/>
                <a:gd name="T22" fmla="*/ 3 w 3"/>
                <a:gd name="T2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lnTo>
                    <a:pt x="3" y="2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4"/>
                  </a:lnTo>
                  <a:lnTo>
                    <a:pt x="3" y="4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6" name="Freeform 615"/>
            <p:cNvSpPr>
              <a:spLocks/>
            </p:cNvSpPr>
            <p:nvPr/>
          </p:nvSpPr>
          <p:spPr bwMode="auto">
            <a:xfrm>
              <a:off x="8838663" y="4462957"/>
              <a:ext cx="3663" cy="7937"/>
            </a:xfrm>
            <a:custGeom>
              <a:avLst/>
              <a:gdLst>
                <a:gd name="T0" fmla="*/ 7 w 7"/>
                <a:gd name="T1" fmla="*/ 10 h 12"/>
                <a:gd name="T2" fmla="*/ 7 w 7"/>
                <a:gd name="T3" fmla="*/ 4 h 12"/>
                <a:gd name="T4" fmla="*/ 5 w 7"/>
                <a:gd name="T5" fmla="*/ 1 h 12"/>
                <a:gd name="T6" fmla="*/ 3 w 7"/>
                <a:gd name="T7" fmla="*/ 0 h 12"/>
                <a:gd name="T8" fmla="*/ 1 w 7"/>
                <a:gd name="T9" fmla="*/ 2 h 12"/>
                <a:gd name="T10" fmla="*/ 0 w 7"/>
                <a:gd name="T11" fmla="*/ 8 h 12"/>
                <a:gd name="T12" fmla="*/ 1 w 7"/>
                <a:gd name="T13" fmla="*/ 12 h 12"/>
                <a:gd name="T14" fmla="*/ 4 w 7"/>
                <a:gd name="T15" fmla="*/ 12 h 12"/>
                <a:gd name="T16" fmla="*/ 7 w 7"/>
                <a:gd name="T17" fmla="*/ 10 h 12"/>
                <a:gd name="T18" fmla="*/ 7 w 7"/>
                <a:gd name="T19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2">
                  <a:moveTo>
                    <a:pt x="7" y="10"/>
                  </a:moveTo>
                  <a:lnTo>
                    <a:pt x="7" y="4"/>
                  </a:lnTo>
                  <a:lnTo>
                    <a:pt x="5" y="1"/>
                  </a:lnTo>
                  <a:lnTo>
                    <a:pt x="3" y="0"/>
                  </a:lnTo>
                  <a:lnTo>
                    <a:pt x="1" y="2"/>
                  </a:lnTo>
                  <a:lnTo>
                    <a:pt x="0" y="8"/>
                  </a:lnTo>
                  <a:lnTo>
                    <a:pt x="1" y="12"/>
                  </a:lnTo>
                  <a:lnTo>
                    <a:pt x="4" y="12"/>
                  </a:lnTo>
                  <a:lnTo>
                    <a:pt x="7" y="10"/>
                  </a:lnTo>
                  <a:lnTo>
                    <a:pt x="7" y="1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7" name="Freeform 616"/>
            <p:cNvSpPr>
              <a:spLocks/>
            </p:cNvSpPr>
            <p:nvPr/>
          </p:nvSpPr>
          <p:spPr bwMode="auto">
            <a:xfrm>
              <a:off x="8845990" y="4460312"/>
              <a:ext cx="1221" cy="1323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2 h 3"/>
                <a:gd name="T4" fmla="*/ 2 w 3"/>
                <a:gd name="T5" fmla="*/ 0 h 3"/>
                <a:gd name="T6" fmla="*/ 0 w 3"/>
                <a:gd name="T7" fmla="*/ 0 h 3"/>
                <a:gd name="T8" fmla="*/ 0 w 3"/>
                <a:gd name="T9" fmla="*/ 2 h 3"/>
                <a:gd name="T10" fmla="*/ 0 w 3"/>
                <a:gd name="T11" fmla="*/ 3 h 3"/>
                <a:gd name="T12" fmla="*/ 2 w 3"/>
                <a:gd name="T13" fmla="*/ 3 h 3"/>
                <a:gd name="T14" fmla="*/ 3 w 3"/>
                <a:gd name="T15" fmla="*/ 3 h 3"/>
                <a:gd name="T16" fmla="*/ 3 w 3"/>
                <a:gd name="T17" fmla="*/ 3 h 3"/>
                <a:gd name="T18" fmla="*/ 3 w 3"/>
                <a:gd name="T1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close/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8" name="Freeform 617"/>
            <p:cNvSpPr>
              <a:spLocks/>
            </p:cNvSpPr>
            <p:nvPr/>
          </p:nvSpPr>
          <p:spPr bwMode="auto">
            <a:xfrm>
              <a:off x="8842326" y="4455020"/>
              <a:ext cx="1221" cy="1323"/>
            </a:xfrm>
            <a:custGeom>
              <a:avLst/>
              <a:gdLst>
                <a:gd name="T0" fmla="*/ 3 w 3"/>
                <a:gd name="T1" fmla="*/ 1 h 3"/>
                <a:gd name="T2" fmla="*/ 3 w 3"/>
                <a:gd name="T3" fmla="*/ 0 h 3"/>
                <a:gd name="T4" fmla="*/ 2 w 3"/>
                <a:gd name="T5" fmla="*/ 0 h 3"/>
                <a:gd name="T6" fmla="*/ 0 w 3"/>
                <a:gd name="T7" fmla="*/ 0 h 3"/>
                <a:gd name="T8" fmla="*/ 0 w 3"/>
                <a:gd name="T9" fmla="*/ 0 h 3"/>
                <a:gd name="T10" fmla="*/ 0 w 3"/>
                <a:gd name="T11" fmla="*/ 1 h 3"/>
                <a:gd name="T12" fmla="*/ 0 w 3"/>
                <a:gd name="T13" fmla="*/ 3 h 3"/>
                <a:gd name="T14" fmla="*/ 2 w 3"/>
                <a:gd name="T15" fmla="*/ 3 h 3"/>
                <a:gd name="T16" fmla="*/ 3 w 3"/>
                <a:gd name="T17" fmla="*/ 1 h 3"/>
                <a:gd name="T18" fmla="*/ 3 w 3"/>
                <a:gd name="T1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2" y="3"/>
                  </a:lnTo>
                  <a:lnTo>
                    <a:pt x="3" y="1"/>
                  </a:lnTo>
                  <a:lnTo>
                    <a:pt x="3" y="1"/>
                  </a:lnTo>
                  <a:close/>
                </a:path>
              </a:pathLst>
            </a:custGeom>
            <a:noFill/>
            <a:ln w="1588">
              <a:solidFill>
                <a:srgbClr val="93959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29" name="Freeform 618"/>
            <p:cNvSpPr>
              <a:spLocks/>
            </p:cNvSpPr>
            <p:nvPr/>
          </p:nvSpPr>
          <p:spPr bwMode="auto">
            <a:xfrm>
              <a:off x="8815461" y="4642872"/>
              <a:ext cx="6106" cy="5292"/>
            </a:xfrm>
            <a:custGeom>
              <a:avLst/>
              <a:gdLst>
                <a:gd name="T0" fmla="*/ 7 w 10"/>
                <a:gd name="T1" fmla="*/ 7 h 8"/>
                <a:gd name="T2" fmla="*/ 8 w 10"/>
                <a:gd name="T3" fmla="*/ 5 h 8"/>
                <a:gd name="T4" fmla="*/ 10 w 10"/>
                <a:gd name="T5" fmla="*/ 4 h 8"/>
                <a:gd name="T6" fmla="*/ 10 w 10"/>
                <a:gd name="T7" fmla="*/ 1 h 8"/>
                <a:gd name="T8" fmla="*/ 8 w 10"/>
                <a:gd name="T9" fmla="*/ 0 h 8"/>
                <a:gd name="T10" fmla="*/ 5 w 10"/>
                <a:gd name="T11" fmla="*/ 0 h 8"/>
                <a:gd name="T12" fmla="*/ 2 w 10"/>
                <a:gd name="T13" fmla="*/ 1 h 8"/>
                <a:gd name="T14" fmla="*/ 1 w 10"/>
                <a:gd name="T15" fmla="*/ 4 h 8"/>
                <a:gd name="T16" fmla="*/ 0 w 10"/>
                <a:gd name="T17" fmla="*/ 5 h 8"/>
                <a:gd name="T18" fmla="*/ 0 w 10"/>
                <a:gd name="T19" fmla="*/ 7 h 8"/>
                <a:gd name="T20" fmla="*/ 2 w 10"/>
                <a:gd name="T21" fmla="*/ 8 h 8"/>
                <a:gd name="T22" fmla="*/ 7 w 10"/>
                <a:gd name="T23" fmla="*/ 7 h 8"/>
                <a:gd name="T24" fmla="*/ 7 w 10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8">
                  <a:moveTo>
                    <a:pt x="7" y="7"/>
                  </a:moveTo>
                  <a:lnTo>
                    <a:pt x="8" y="5"/>
                  </a:lnTo>
                  <a:lnTo>
                    <a:pt x="10" y="4"/>
                  </a:lnTo>
                  <a:lnTo>
                    <a:pt x="10" y="1"/>
                  </a:lnTo>
                  <a:lnTo>
                    <a:pt x="8" y="0"/>
                  </a:lnTo>
                  <a:lnTo>
                    <a:pt x="5" y="0"/>
                  </a:lnTo>
                  <a:lnTo>
                    <a:pt x="2" y="1"/>
                  </a:lnTo>
                  <a:lnTo>
                    <a:pt x="1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8"/>
                  </a:lnTo>
                  <a:lnTo>
                    <a:pt x="7" y="7"/>
                  </a:lnTo>
                  <a:lnTo>
                    <a:pt x="7" y="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0" name="Freeform 619"/>
            <p:cNvSpPr>
              <a:spLocks/>
            </p:cNvSpPr>
            <p:nvPr/>
          </p:nvSpPr>
          <p:spPr bwMode="auto">
            <a:xfrm>
              <a:off x="8734866" y="4817496"/>
              <a:ext cx="61057" cy="198436"/>
            </a:xfrm>
            <a:custGeom>
              <a:avLst/>
              <a:gdLst>
                <a:gd name="T0" fmla="*/ 63 w 100"/>
                <a:gd name="T1" fmla="*/ 14 h 301"/>
                <a:gd name="T2" fmla="*/ 57 w 100"/>
                <a:gd name="T3" fmla="*/ 30 h 301"/>
                <a:gd name="T4" fmla="*/ 57 w 100"/>
                <a:gd name="T5" fmla="*/ 53 h 301"/>
                <a:gd name="T6" fmla="*/ 58 w 100"/>
                <a:gd name="T7" fmla="*/ 72 h 301"/>
                <a:gd name="T8" fmla="*/ 54 w 100"/>
                <a:gd name="T9" fmla="*/ 85 h 301"/>
                <a:gd name="T10" fmla="*/ 33 w 100"/>
                <a:gd name="T11" fmla="*/ 102 h 301"/>
                <a:gd name="T12" fmla="*/ 17 w 100"/>
                <a:gd name="T13" fmla="*/ 92 h 301"/>
                <a:gd name="T14" fmla="*/ 7 w 100"/>
                <a:gd name="T15" fmla="*/ 90 h 301"/>
                <a:gd name="T16" fmla="*/ 10 w 100"/>
                <a:gd name="T17" fmla="*/ 108 h 301"/>
                <a:gd name="T18" fmla="*/ 21 w 100"/>
                <a:gd name="T19" fmla="*/ 123 h 301"/>
                <a:gd name="T20" fmla="*/ 17 w 100"/>
                <a:gd name="T21" fmla="*/ 136 h 301"/>
                <a:gd name="T22" fmla="*/ 18 w 100"/>
                <a:gd name="T23" fmla="*/ 152 h 301"/>
                <a:gd name="T24" fmla="*/ 8 w 100"/>
                <a:gd name="T25" fmla="*/ 161 h 301"/>
                <a:gd name="T26" fmla="*/ 5 w 100"/>
                <a:gd name="T27" fmla="*/ 166 h 301"/>
                <a:gd name="T28" fmla="*/ 17 w 100"/>
                <a:gd name="T29" fmla="*/ 178 h 301"/>
                <a:gd name="T30" fmla="*/ 13 w 100"/>
                <a:gd name="T31" fmla="*/ 198 h 301"/>
                <a:gd name="T32" fmla="*/ 13 w 100"/>
                <a:gd name="T33" fmla="*/ 219 h 301"/>
                <a:gd name="T34" fmla="*/ 10 w 100"/>
                <a:gd name="T35" fmla="*/ 226 h 301"/>
                <a:gd name="T36" fmla="*/ 1 w 100"/>
                <a:gd name="T37" fmla="*/ 231 h 301"/>
                <a:gd name="T38" fmla="*/ 7 w 100"/>
                <a:gd name="T39" fmla="*/ 236 h 301"/>
                <a:gd name="T40" fmla="*/ 20 w 100"/>
                <a:gd name="T41" fmla="*/ 234 h 301"/>
                <a:gd name="T42" fmla="*/ 21 w 100"/>
                <a:gd name="T43" fmla="*/ 252 h 301"/>
                <a:gd name="T44" fmla="*/ 11 w 100"/>
                <a:gd name="T45" fmla="*/ 258 h 301"/>
                <a:gd name="T46" fmla="*/ 17 w 100"/>
                <a:gd name="T47" fmla="*/ 262 h 301"/>
                <a:gd name="T48" fmla="*/ 17 w 100"/>
                <a:gd name="T49" fmla="*/ 271 h 301"/>
                <a:gd name="T50" fmla="*/ 10 w 100"/>
                <a:gd name="T51" fmla="*/ 269 h 301"/>
                <a:gd name="T52" fmla="*/ 15 w 100"/>
                <a:gd name="T53" fmla="*/ 279 h 301"/>
                <a:gd name="T54" fmla="*/ 14 w 100"/>
                <a:gd name="T55" fmla="*/ 292 h 301"/>
                <a:gd name="T56" fmla="*/ 20 w 100"/>
                <a:gd name="T57" fmla="*/ 301 h 301"/>
                <a:gd name="T58" fmla="*/ 31 w 100"/>
                <a:gd name="T59" fmla="*/ 294 h 301"/>
                <a:gd name="T60" fmla="*/ 28 w 100"/>
                <a:gd name="T61" fmla="*/ 272 h 301"/>
                <a:gd name="T62" fmla="*/ 37 w 100"/>
                <a:gd name="T63" fmla="*/ 257 h 301"/>
                <a:gd name="T64" fmla="*/ 36 w 100"/>
                <a:gd name="T65" fmla="*/ 234 h 301"/>
                <a:gd name="T66" fmla="*/ 40 w 100"/>
                <a:gd name="T67" fmla="*/ 205 h 301"/>
                <a:gd name="T68" fmla="*/ 40 w 100"/>
                <a:gd name="T69" fmla="*/ 178 h 301"/>
                <a:gd name="T70" fmla="*/ 31 w 100"/>
                <a:gd name="T71" fmla="*/ 165 h 301"/>
                <a:gd name="T72" fmla="*/ 38 w 100"/>
                <a:gd name="T73" fmla="*/ 155 h 301"/>
                <a:gd name="T74" fmla="*/ 48 w 100"/>
                <a:gd name="T75" fmla="*/ 162 h 301"/>
                <a:gd name="T76" fmla="*/ 60 w 100"/>
                <a:gd name="T77" fmla="*/ 151 h 301"/>
                <a:gd name="T78" fmla="*/ 58 w 100"/>
                <a:gd name="T79" fmla="*/ 142 h 301"/>
                <a:gd name="T80" fmla="*/ 60 w 100"/>
                <a:gd name="T81" fmla="*/ 125 h 301"/>
                <a:gd name="T82" fmla="*/ 64 w 100"/>
                <a:gd name="T83" fmla="*/ 109 h 301"/>
                <a:gd name="T84" fmla="*/ 70 w 100"/>
                <a:gd name="T85" fmla="*/ 79 h 301"/>
                <a:gd name="T86" fmla="*/ 77 w 100"/>
                <a:gd name="T87" fmla="*/ 60 h 301"/>
                <a:gd name="T88" fmla="*/ 90 w 100"/>
                <a:gd name="T89" fmla="*/ 39 h 301"/>
                <a:gd name="T90" fmla="*/ 100 w 100"/>
                <a:gd name="T91" fmla="*/ 26 h 301"/>
                <a:gd name="T92" fmla="*/ 93 w 100"/>
                <a:gd name="T93" fmla="*/ 17 h 301"/>
                <a:gd name="T94" fmla="*/ 89 w 100"/>
                <a:gd name="T95" fmla="*/ 6 h 301"/>
                <a:gd name="T96" fmla="*/ 79 w 100"/>
                <a:gd name="T97" fmla="*/ 0 h 301"/>
                <a:gd name="T98" fmla="*/ 67 w 100"/>
                <a:gd name="T99" fmla="*/ 1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0" h="301">
                  <a:moveTo>
                    <a:pt x="67" y="10"/>
                  </a:moveTo>
                  <a:lnTo>
                    <a:pt x="66" y="13"/>
                  </a:lnTo>
                  <a:lnTo>
                    <a:pt x="63" y="14"/>
                  </a:lnTo>
                  <a:lnTo>
                    <a:pt x="60" y="19"/>
                  </a:lnTo>
                  <a:lnTo>
                    <a:pt x="58" y="24"/>
                  </a:lnTo>
                  <a:lnTo>
                    <a:pt x="57" y="30"/>
                  </a:lnTo>
                  <a:lnTo>
                    <a:pt x="56" y="36"/>
                  </a:lnTo>
                  <a:lnTo>
                    <a:pt x="56" y="42"/>
                  </a:lnTo>
                  <a:lnTo>
                    <a:pt x="57" y="53"/>
                  </a:lnTo>
                  <a:lnTo>
                    <a:pt x="60" y="62"/>
                  </a:lnTo>
                  <a:lnTo>
                    <a:pt x="60" y="67"/>
                  </a:lnTo>
                  <a:lnTo>
                    <a:pt x="58" y="72"/>
                  </a:lnTo>
                  <a:lnTo>
                    <a:pt x="57" y="76"/>
                  </a:lnTo>
                  <a:lnTo>
                    <a:pt x="57" y="80"/>
                  </a:lnTo>
                  <a:lnTo>
                    <a:pt x="54" y="85"/>
                  </a:lnTo>
                  <a:lnTo>
                    <a:pt x="46" y="95"/>
                  </a:lnTo>
                  <a:lnTo>
                    <a:pt x="38" y="100"/>
                  </a:lnTo>
                  <a:lnTo>
                    <a:pt x="33" y="102"/>
                  </a:lnTo>
                  <a:lnTo>
                    <a:pt x="27" y="100"/>
                  </a:lnTo>
                  <a:lnTo>
                    <a:pt x="23" y="98"/>
                  </a:lnTo>
                  <a:lnTo>
                    <a:pt x="17" y="92"/>
                  </a:lnTo>
                  <a:lnTo>
                    <a:pt x="13" y="89"/>
                  </a:lnTo>
                  <a:lnTo>
                    <a:pt x="8" y="89"/>
                  </a:lnTo>
                  <a:lnTo>
                    <a:pt x="7" y="90"/>
                  </a:lnTo>
                  <a:lnTo>
                    <a:pt x="4" y="95"/>
                  </a:lnTo>
                  <a:lnTo>
                    <a:pt x="5" y="100"/>
                  </a:lnTo>
                  <a:lnTo>
                    <a:pt x="10" y="108"/>
                  </a:lnTo>
                  <a:lnTo>
                    <a:pt x="18" y="118"/>
                  </a:lnTo>
                  <a:lnTo>
                    <a:pt x="20" y="120"/>
                  </a:lnTo>
                  <a:lnTo>
                    <a:pt x="21" y="123"/>
                  </a:lnTo>
                  <a:lnTo>
                    <a:pt x="20" y="129"/>
                  </a:lnTo>
                  <a:lnTo>
                    <a:pt x="17" y="133"/>
                  </a:lnTo>
                  <a:lnTo>
                    <a:pt x="17" y="136"/>
                  </a:lnTo>
                  <a:lnTo>
                    <a:pt x="17" y="141"/>
                  </a:lnTo>
                  <a:lnTo>
                    <a:pt x="20" y="148"/>
                  </a:lnTo>
                  <a:lnTo>
                    <a:pt x="18" y="152"/>
                  </a:lnTo>
                  <a:lnTo>
                    <a:pt x="17" y="156"/>
                  </a:lnTo>
                  <a:lnTo>
                    <a:pt x="14" y="159"/>
                  </a:lnTo>
                  <a:lnTo>
                    <a:pt x="8" y="161"/>
                  </a:lnTo>
                  <a:lnTo>
                    <a:pt x="5" y="162"/>
                  </a:lnTo>
                  <a:lnTo>
                    <a:pt x="4" y="165"/>
                  </a:lnTo>
                  <a:lnTo>
                    <a:pt x="5" y="166"/>
                  </a:lnTo>
                  <a:lnTo>
                    <a:pt x="11" y="169"/>
                  </a:lnTo>
                  <a:lnTo>
                    <a:pt x="15" y="173"/>
                  </a:lnTo>
                  <a:lnTo>
                    <a:pt x="17" y="178"/>
                  </a:lnTo>
                  <a:lnTo>
                    <a:pt x="15" y="183"/>
                  </a:lnTo>
                  <a:lnTo>
                    <a:pt x="15" y="191"/>
                  </a:lnTo>
                  <a:lnTo>
                    <a:pt x="13" y="198"/>
                  </a:lnTo>
                  <a:lnTo>
                    <a:pt x="10" y="205"/>
                  </a:lnTo>
                  <a:lnTo>
                    <a:pt x="10" y="211"/>
                  </a:lnTo>
                  <a:lnTo>
                    <a:pt x="13" y="219"/>
                  </a:lnTo>
                  <a:lnTo>
                    <a:pt x="13" y="221"/>
                  </a:lnTo>
                  <a:lnTo>
                    <a:pt x="13" y="225"/>
                  </a:lnTo>
                  <a:lnTo>
                    <a:pt x="10" y="226"/>
                  </a:lnTo>
                  <a:lnTo>
                    <a:pt x="5" y="228"/>
                  </a:lnTo>
                  <a:lnTo>
                    <a:pt x="3" y="228"/>
                  </a:lnTo>
                  <a:lnTo>
                    <a:pt x="1" y="231"/>
                  </a:lnTo>
                  <a:lnTo>
                    <a:pt x="0" y="234"/>
                  </a:lnTo>
                  <a:lnTo>
                    <a:pt x="4" y="235"/>
                  </a:lnTo>
                  <a:lnTo>
                    <a:pt x="7" y="236"/>
                  </a:lnTo>
                  <a:lnTo>
                    <a:pt x="13" y="234"/>
                  </a:lnTo>
                  <a:lnTo>
                    <a:pt x="17" y="234"/>
                  </a:lnTo>
                  <a:lnTo>
                    <a:pt x="20" y="234"/>
                  </a:lnTo>
                  <a:lnTo>
                    <a:pt x="23" y="239"/>
                  </a:lnTo>
                  <a:lnTo>
                    <a:pt x="23" y="246"/>
                  </a:lnTo>
                  <a:lnTo>
                    <a:pt x="21" y="252"/>
                  </a:lnTo>
                  <a:lnTo>
                    <a:pt x="18" y="255"/>
                  </a:lnTo>
                  <a:lnTo>
                    <a:pt x="14" y="258"/>
                  </a:lnTo>
                  <a:lnTo>
                    <a:pt x="11" y="258"/>
                  </a:lnTo>
                  <a:lnTo>
                    <a:pt x="11" y="261"/>
                  </a:lnTo>
                  <a:lnTo>
                    <a:pt x="14" y="261"/>
                  </a:lnTo>
                  <a:lnTo>
                    <a:pt x="17" y="262"/>
                  </a:lnTo>
                  <a:lnTo>
                    <a:pt x="18" y="264"/>
                  </a:lnTo>
                  <a:lnTo>
                    <a:pt x="18" y="268"/>
                  </a:lnTo>
                  <a:lnTo>
                    <a:pt x="17" y="271"/>
                  </a:lnTo>
                  <a:lnTo>
                    <a:pt x="14" y="271"/>
                  </a:lnTo>
                  <a:lnTo>
                    <a:pt x="13" y="269"/>
                  </a:lnTo>
                  <a:lnTo>
                    <a:pt x="10" y="269"/>
                  </a:lnTo>
                  <a:lnTo>
                    <a:pt x="10" y="271"/>
                  </a:lnTo>
                  <a:lnTo>
                    <a:pt x="11" y="274"/>
                  </a:lnTo>
                  <a:lnTo>
                    <a:pt x="15" y="279"/>
                  </a:lnTo>
                  <a:lnTo>
                    <a:pt x="17" y="282"/>
                  </a:lnTo>
                  <a:lnTo>
                    <a:pt x="17" y="285"/>
                  </a:lnTo>
                  <a:lnTo>
                    <a:pt x="14" y="292"/>
                  </a:lnTo>
                  <a:lnTo>
                    <a:pt x="14" y="297"/>
                  </a:lnTo>
                  <a:lnTo>
                    <a:pt x="17" y="299"/>
                  </a:lnTo>
                  <a:lnTo>
                    <a:pt x="20" y="301"/>
                  </a:lnTo>
                  <a:lnTo>
                    <a:pt x="24" y="299"/>
                  </a:lnTo>
                  <a:lnTo>
                    <a:pt x="30" y="295"/>
                  </a:lnTo>
                  <a:lnTo>
                    <a:pt x="31" y="294"/>
                  </a:lnTo>
                  <a:lnTo>
                    <a:pt x="33" y="288"/>
                  </a:lnTo>
                  <a:lnTo>
                    <a:pt x="30" y="278"/>
                  </a:lnTo>
                  <a:lnTo>
                    <a:pt x="28" y="272"/>
                  </a:lnTo>
                  <a:lnTo>
                    <a:pt x="30" y="267"/>
                  </a:lnTo>
                  <a:lnTo>
                    <a:pt x="33" y="261"/>
                  </a:lnTo>
                  <a:lnTo>
                    <a:pt x="37" y="257"/>
                  </a:lnTo>
                  <a:lnTo>
                    <a:pt x="40" y="251"/>
                  </a:lnTo>
                  <a:lnTo>
                    <a:pt x="40" y="245"/>
                  </a:lnTo>
                  <a:lnTo>
                    <a:pt x="36" y="234"/>
                  </a:lnTo>
                  <a:lnTo>
                    <a:pt x="34" y="225"/>
                  </a:lnTo>
                  <a:lnTo>
                    <a:pt x="37" y="216"/>
                  </a:lnTo>
                  <a:lnTo>
                    <a:pt x="40" y="205"/>
                  </a:lnTo>
                  <a:lnTo>
                    <a:pt x="41" y="193"/>
                  </a:lnTo>
                  <a:lnTo>
                    <a:pt x="41" y="185"/>
                  </a:lnTo>
                  <a:lnTo>
                    <a:pt x="40" y="178"/>
                  </a:lnTo>
                  <a:lnTo>
                    <a:pt x="33" y="172"/>
                  </a:lnTo>
                  <a:lnTo>
                    <a:pt x="31" y="171"/>
                  </a:lnTo>
                  <a:lnTo>
                    <a:pt x="31" y="165"/>
                  </a:lnTo>
                  <a:lnTo>
                    <a:pt x="33" y="162"/>
                  </a:lnTo>
                  <a:lnTo>
                    <a:pt x="36" y="158"/>
                  </a:lnTo>
                  <a:lnTo>
                    <a:pt x="38" y="155"/>
                  </a:lnTo>
                  <a:lnTo>
                    <a:pt x="41" y="158"/>
                  </a:lnTo>
                  <a:lnTo>
                    <a:pt x="43" y="165"/>
                  </a:lnTo>
                  <a:lnTo>
                    <a:pt x="48" y="162"/>
                  </a:lnTo>
                  <a:lnTo>
                    <a:pt x="50" y="155"/>
                  </a:lnTo>
                  <a:lnTo>
                    <a:pt x="57" y="149"/>
                  </a:lnTo>
                  <a:lnTo>
                    <a:pt x="60" y="151"/>
                  </a:lnTo>
                  <a:lnTo>
                    <a:pt x="61" y="149"/>
                  </a:lnTo>
                  <a:lnTo>
                    <a:pt x="61" y="146"/>
                  </a:lnTo>
                  <a:lnTo>
                    <a:pt x="58" y="142"/>
                  </a:lnTo>
                  <a:lnTo>
                    <a:pt x="58" y="138"/>
                  </a:lnTo>
                  <a:lnTo>
                    <a:pt x="60" y="129"/>
                  </a:lnTo>
                  <a:lnTo>
                    <a:pt x="60" y="125"/>
                  </a:lnTo>
                  <a:lnTo>
                    <a:pt x="60" y="120"/>
                  </a:lnTo>
                  <a:lnTo>
                    <a:pt x="61" y="113"/>
                  </a:lnTo>
                  <a:lnTo>
                    <a:pt x="64" y="109"/>
                  </a:lnTo>
                  <a:lnTo>
                    <a:pt x="64" y="98"/>
                  </a:lnTo>
                  <a:lnTo>
                    <a:pt x="67" y="86"/>
                  </a:lnTo>
                  <a:lnTo>
                    <a:pt x="70" y="79"/>
                  </a:lnTo>
                  <a:lnTo>
                    <a:pt x="74" y="73"/>
                  </a:lnTo>
                  <a:lnTo>
                    <a:pt x="76" y="69"/>
                  </a:lnTo>
                  <a:lnTo>
                    <a:pt x="77" y="60"/>
                  </a:lnTo>
                  <a:lnTo>
                    <a:pt x="79" y="53"/>
                  </a:lnTo>
                  <a:lnTo>
                    <a:pt x="83" y="43"/>
                  </a:lnTo>
                  <a:lnTo>
                    <a:pt x="90" y="39"/>
                  </a:lnTo>
                  <a:lnTo>
                    <a:pt x="97" y="33"/>
                  </a:lnTo>
                  <a:lnTo>
                    <a:pt x="100" y="30"/>
                  </a:lnTo>
                  <a:lnTo>
                    <a:pt x="100" y="26"/>
                  </a:lnTo>
                  <a:lnTo>
                    <a:pt x="100" y="22"/>
                  </a:lnTo>
                  <a:lnTo>
                    <a:pt x="97" y="19"/>
                  </a:lnTo>
                  <a:lnTo>
                    <a:pt x="93" y="17"/>
                  </a:lnTo>
                  <a:lnTo>
                    <a:pt x="90" y="16"/>
                  </a:lnTo>
                  <a:lnTo>
                    <a:pt x="90" y="10"/>
                  </a:lnTo>
                  <a:lnTo>
                    <a:pt x="89" y="6"/>
                  </a:lnTo>
                  <a:lnTo>
                    <a:pt x="87" y="3"/>
                  </a:lnTo>
                  <a:lnTo>
                    <a:pt x="83" y="2"/>
                  </a:lnTo>
                  <a:lnTo>
                    <a:pt x="79" y="0"/>
                  </a:lnTo>
                  <a:lnTo>
                    <a:pt x="74" y="3"/>
                  </a:lnTo>
                  <a:lnTo>
                    <a:pt x="67" y="10"/>
                  </a:lnTo>
                  <a:lnTo>
                    <a:pt x="67" y="1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1" name="Freeform 620"/>
            <p:cNvSpPr>
              <a:spLocks/>
            </p:cNvSpPr>
            <p:nvPr/>
          </p:nvSpPr>
          <p:spPr bwMode="auto">
            <a:xfrm>
              <a:off x="8754404" y="4015816"/>
              <a:ext cx="17096" cy="31750"/>
            </a:xfrm>
            <a:custGeom>
              <a:avLst/>
              <a:gdLst>
                <a:gd name="T0" fmla="*/ 3 w 29"/>
                <a:gd name="T1" fmla="*/ 43 h 47"/>
                <a:gd name="T2" fmla="*/ 6 w 29"/>
                <a:gd name="T3" fmla="*/ 44 h 47"/>
                <a:gd name="T4" fmla="*/ 6 w 29"/>
                <a:gd name="T5" fmla="*/ 44 h 47"/>
                <a:gd name="T6" fmla="*/ 7 w 29"/>
                <a:gd name="T7" fmla="*/ 47 h 47"/>
                <a:gd name="T8" fmla="*/ 7 w 29"/>
                <a:gd name="T9" fmla="*/ 47 h 47"/>
                <a:gd name="T10" fmla="*/ 13 w 29"/>
                <a:gd name="T11" fmla="*/ 47 h 47"/>
                <a:gd name="T12" fmla="*/ 16 w 29"/>
                <a:gd name="T13" fmla="*/ 46 h 47"/>
                <a:gd name="T14" fmla="*/ 17 w 29"/>
                <a:gd name="T15" fmla="*/ 44 h 47"/>
                <a:gd name="T16" fmla="*/ 23 w 29"/>
                <a:gd name="T17" fmla="*/ 43 h 47"/>
                <a:gd name="T18" fmla="*/ 26 w 29"/>
                <a:gd name="T19" fmla="*/ 41 h 47"/>
                <a:gd name="T20" fmla="*/ 27 w 29"/>
                <a:gd name="T21" fmla="*/ 36 h 47"/>
                <a:gd name="T22" fmla="*/ 27 w 29"/>
                <a:gd name="T23" fmla="*/ 33 h 47"/>
                <a:gd name="T24" fmla="*/ 27 w 29"/>
                <a:gd name="T25" fmla="*/ 29 h 47"/>
                <a:gd name="T26" fmla="*/ 29 w 29"/>
                <a:gd name="T27" fmla="*/ 24 h 47"/>
                <a:gd name="T28" fmla="*/ 26 w 29"/>
                <a:gd name="T29" fmla="*/ 20 h 47"/>
                <a:gd name="T30" fmla="*/ 20 w 29"/>
                <a:gd name="T31" fmla="*/ 11 h 47"/>
                <a:gd name="T32" fmla="*/ 17 w 29"/>
                <a:gd name="T33" fmla="*/ 9 h 47"/>
                <a:gd name="T34" fmla="*/ 13 w 29"/>
                <a:gd name="T35" fmla="*/ 6 h 47"/>
                <a:gd name="T36" fmla="*/ 10 w 29"/>
                <a:gd name="T37" fmla="*/ 1 h 47"/>
                <a:gd name="T38" fmla="*/ 7 w 29"/>
                <a:gd name="T39" fmla="*/ 0 h 47"/>
                <a:gd name="T40" fmla="*/ 7 w 29"/>
                <a:gd name="T41" fmla="*/ 0 h 47"/>
                <a:gd name="T42" fmla="*/ 7 w 29"/>
                <a:gd name="T43" fmla="*/ 0 h 47"/>
                <a:gd name="T44" fmla="*/ 7 w 29"/>
                <a:gd name="T45" fmla="*/ 3 h 47"/>
                <a:gd name="T46" fmla="*/ 6 w 29"/>
                <a:gd name="T47" fmla="*/ 7 h 47"/>
                <a:gd name="T48" fmla="*/ 3 w 29"/>
                <a:gd name="T49" fmla="*/ 9 h 47"/>
                <a:gd name="T50" fmla="*/ 2 w 29"/>
                <a:gd name="T51" fmla="*/ 10 h 47"/>
                <a:gd name="T52" fmla="*/ 2 w 29"/>
                <a:gd name="T53" fmla="*/ 16 h 47"/>
                <a:gd name="T54" fmla="*/ 3 w 29"/>
                <a:gd name="T55" fmla="*/ 26 h 47"/>
                <a:gd name="T56" fmla="*/ 0 w 29"/>
                <a:gd name="T57" fmla="*/ 33 h 47"/>
                <a:gd name="T58" fmla="*/ 0 w 29"/>
                <a:gd name="T59" fmla="*/ 37 h 47"/>
                <a:gd name="T60" fmla="*/ 2 w 29"/>
                <a:gd name="T61" fmla="*/ 40 h 47"/>
                <a:gd name="T62" fmla="*/ 2 w 29"/>
                <a:gd name="T63" fmla="*/ 40 h 47"/>
                <a:gd name="T64" fmla="*/ 3 w 29"/>
                <a:gd name="T65" fmla="*/ 43 h 47"/>
                <a:gd name="T66" fmla="*/ 3 w 29"/>
                <a:gd name="T67" fmla="*/ 4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9" h="47">
                  <a:moveTo>
                    <a:pt x="3" y="43"/>
                  </a:moveTo>
                  <a:lnTo>
                    <a:pt x="6" y="44"/>
                  </a:lnTo>
                  <a:lnTo>
                    <a:pt x="6" y="44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13" y="47"/>
                  </a:lnTo>
                  <a:lnTo>
                    <a:pt x="16" y="46"/>
                  </a:lnTo>
                  <a:lnTo>
                    <a:pt x="17" y="44"/>
                  </a:lnTo>
                  <a:lnTo>
                    <a:pt x="23" y="43"/>
                  </a:lnTo>
                  <a:lnTo>
                    <a:pt x="26" y="41"/>
                  </a:lnTo>
                  <a:lnTo>
                    <a:pt x="27" y="36"/>
                  </a:lnTo>
                  <a:lnTo>
                    <a:pt x="27" y="33"/>
                  </a:lnTo>
                  <a:lnTo>
                    <a:pt x="27" y="29"/>
                  </a:lnTo>
                  <a:lnTo>
                    <a:pt x="29" y="24"/>
                  </a:lnTo>
                  <a:lnTo>
                    <a:pt x="26" y="20"/>
                  </a:lnTo>
                  <a:lnTo>
                    <a:pt x="20" y="11"/>
                  </a:lnTo>
                  <a:lnTo>
                    <a:pt x="17" y="9"/>
                  </a:lnTo>
                  <a:lnTo>
                    <a:pt x="13" y="6"/>
                  </a:lnTo>
                  <a:lnTo>
                    <a:pt x="10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3"/>
                  </a:lnTo>
                  <a:lnTo>
                    <a:pt x="6" y="7"/>
                  </a:lnTo>
                  <a:lnTo>
                    <a:pt x="3" y="9"/>
                  </a:lnTo>
                  <a:lnTo>
                    <a:pt x="2" y="10"/>
                  </a:lnTo>
                  <a:lnTo>
                    <a:pt x="2" y="16"/>
                  </a:lnTo>
                  <a:lnTo>
                    <a:pt x="3" y="26"/>
                  </a:lnTo>
                  <a:lnTo>
                    <a:pt x="0" y="33"/>
                  </a:lnTo>
                  <a:lnTo>
                    <a:pt x="0" y="37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3" y="43"/>
                  </a:lnTo>
                  <a:lnTo>
                    <a:pt x="3" y="4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3" name="Freeform 622"/>
            <p:cNvSpPr>
              <a:spLocks/>
            </p:cNvSpPr>
            <p:nvPr/>
          </p:nvSpPr>
          <p:spPr bwMode="auto">
            <a:xfrm>
              <a:off x="8777606" y="4186470"/>
              <a:ext cx="28086" cy="44979"/>
            </a:xfrm>
            <a:custGeom>
              <a:avLst/>
              <a:gdLst>
                <a:gd name="T0" fmla="*/ 30 w 44"/>
                <a:gd name="T1" fmla="*/ 69 h 69"/>
                <a:gd name="T2" fmla="*/ 30 w 44"/>
                <a:gd name="T3" fmla="*/ 69 h 69"/>
                <a:gd name="T4" fmla="*/ 36 w 44"/>
                <a:gd name="T5" fmla="*/ 68 h 69"/>
                <a:gd name="T6" fmla="*/ 40 w 44"/>
                <a:gd name="T7" fmla="*/ 63 h 69"/>
                <a:gd name="T8" fmla="*/ 41 w 44"/>
                <a:gd name="T9" fmla="*/ 59 h 69"/>
                <a:gd name="T10" fmla="*/ 41 w 44"/>
                <a:gd name="T11" fmla="*/ 55 h 69"/>
                <a:gd name="T12" fmla="*/ 43 w 44"/>
                <a:gd name="T13" fmla="*/ 49 h 69"/>
                <a:gd name="T14" fmla="*/ 44 w 44"/>
                <a:gd name="T15" fmla="*/ 48 h 69"/>
                <a:gd name="T16" fmla="*/ 41 w 44"/>
                <a:gd name="T17" fmla="*/ 43 h 69"/>
                <a:gd name="T18" fmla="*/ 39 w 44"/>
                <a:gd name="T19" fmla="*/ 39 h 69"/>
                <a:gd name="T20" fmla="*/ 36 w 44"/>
                <a:gd name="T21" fmla="*/ 38 h 69"/>
                <a:gd name="T22" fmla="*/ 31 w 44"/>
                <a:gd name="T23" fmla="*/ 36 h 69"/>
                <a:gd name="T24" fmla="*/ 31 w 44"/>
                <a:gd name="T25" fmla="*/ 36 h 69"/>
                <a:gd name="T26" fmla="*/ 31 w 44"/>
                <a:gd name="T27" fmla="*/ 36 h 69"/>
                <a:gd name="T28" fmla="*/ 26 w 44"/>
                <a:gd name="T29" fmla="*/ 38 h 69"/>
                <a:gd name="T30" fmla="*/ 23 w 44"/>
                <a:gd name="T31" fmla="*/ 36 h 69"/>
                <a:gd name="T32" fmla="*/ 23 w 44"/>
                <a:gd name="T33" fmla="*/ 32 h 69"/>
                <a:gd name="T34" fmla="*/ 24 w 44"/>
                <a:gd name="T35" fmla="*/ 28 h 69"/>
                <a:gd name="T36" fmla="*/ 23 w 44"/>
                <a:gd name="T37" fmla="*/ 25 h 69"/>
                <a:gd name="T38" fmla="*/ 20 w 44"/>
                <a:gd name="T39" fmla="*/ 20 h 69"/>
                <a:gd name="T40" fmla="*/ 14 w 44"/>
                <a:gd name="T41" fmla="*/ 7 h 69"/>
                <a:gd name="T42" fmla="*/ 11 w 44"/>
                <a:gd name="T43" fmla="*/ 2 h 69"/>
                <a:gd name="T44" fmla="*/ 10 w 44"/>
                <a:gd name="T45" fmla="*/ 0 h 69"/>
                <a:gd name="T46" fmla="*/ 10 w 44"/>
                <a:gd name="T47" fmla="*/ 0 h 69"/>
                <a:gd name="T48" fmla="*/ 10 w 44"/>
                <a:gd name="T49" fmla="*/ 0 h 69"/>
                <a:gd name="T50" fmla="*/ 10 w 44"/>
                <a:gd name="T51" fmla="*/ 2 h 69"/>
                <a:gd name="T52" fmla="*/ 9 w 44"/>
                <a:gd name="T53" fmla="*/ 3 h 69"/>
                <a:gd name="T54" fmla="*/ 7 w 44"/>
                <a:gd name="T55" fmla="*/ 6 h 69"/>
                <a:gd name="T56" fmla="*/ 4 w 44"/>
                <a:gd name="T57" fmla="*/ 9 h 69"/>
                <a:gd name="T58" fmla="*/ 1 w 44"/>
                <a:gd name="T59" fmla="*/ 9 h 69"/>
                <a:gd name="T60" fmla="*/ 0 w 44"/>
                <a:gd name="T61" fmla="*/ 10 h 69"/>
                <a:gd name="T62" fmla="*/ 0 w 44"/>
                <a:gd name="T63" fmla="*/ 13 h 69"/>
                <a:gd name="T64" fmla="*/ 1 w 44"/>
                <a:gd name="T65" fmla="*/ 16 h 69"/>
                <a:gd name="T66" fmla="*/ 3 w 44"/>
                <a:gd name="T67" fmla="*/ 20 h 69"/>
                <a:gd name="T68" fmla="*/ 3 w 44"/>
                <a:gd name="T69" fmla="*/ 23 h 69"/>
                <a:gd name="T70" fmla="*/ 4 w 44"/>
                <a:gd name="T71" fmla="*/ 25 h 69"/>
                <a:gd name="T72" fmla="*/ 6 w 44"/>
                <a:gd name="T73" fmla="*/ 28 h 69"/>
                <a:gd name="T74" fmla="*/ 9 w 44"/>
                <a:gd name="T75" fmla="*/ 30 h 69"/>
                <a:gd name="T76" fmla="*/ 10 w 44"/>
                <a:gd name="T77" fmla="*/ 32 h 69"/>
                <a:gd name="T78" fmla="*/ 14 w 44"/>
                <a:gd name="T79" fmla="*/ 42 h 69"/>
                <a:gd name="T80" fmla="*/ 17 w 44"/>
                <a:gd name="T81" fmla="*/ 48 h 69"/>
                <a:gd name="T82" fmla="*/ 19 w 44"/>
                <a:gd name="T83" fmla="*/ 53 h 69"/>
                <a:gd name="T84" fmla="*/ 20 w 44"/>
                <a:gd name="T85" fmla="*/ 60 h 69"/>
                <a:gd name="T86" fmla="*/ 21 w 44"/>
                <a:gd name="T87" fmla="*/ 66 h 69"/>
                <a:gd name="T88" fmla="*/ 30 w 44"/>
                <a:gd name="T89" fmla="*/ 69 h 69"/>
                <a:gd name="T90" fmla="*/ 30 w 44"/>
                <a:gd name="T91" fmla="*/ 69 h 69"/>
                <a:gd name="T92" fmla="*/ 30 w 44"/>
                <a:gd name="T9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4" h="69">
                  <a:moveTo>
                    <a:pt x="30" y="69"/>
                  </a:moveTo>
                  <a:lnTo>
                    <a:pt x="30" y="69"/>
                  </a:lnTo>
                  <a:lnTo>
                    <a:pt x="36" y="68"/>
                  </a:lnTo>
                  <a:lnTo>
                    <a:pt x="40" y="63"/>
                  </a:lnTo>
                  <a:lnTo>
                    <a:pt x="41" y="59"/>
                  </a:lnTo>
                  <a:lnTo>
                    <a:pt x="41" y="55"/>
                  </a:lnTo>
                  <a:lnTo>
                    <a:pt x="43" y="49"/>
                  </a:lnTo>
                  <a:lnTo>
                    <a:pt x="44" y="48"/>
                  </a:lnTo>
                  <a:lnTo>
                    <a:pt x="41" y="43"/>
                  </a:lnTo>
                  <a:lnTo>
                    <a:pt x="39" y="39"/>
                  </a:lnTo>
                  <a:lnTo>
                    <a:pt x="36" y="38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26" y="38"/>
                  </a:lnTo>
                  <a:lnTo>
                    <a:pt x="23" y="36"/>
                  </a:lnTo>
                  <a:lnTo>
                    <a:pt x="23" y="32"/>
                  </a:lnTo>
                  <a:lnTo>
                    <a:pt x="24" y="28"/>
                  </a:lnTo>
                  <a:lnTo>
                    <a:pt x="23" y="25"/>
                  </a:lnTo>
                  <a:lnTo>
                    <a:pt x="20" y="20"/>
                  </a:lnTo>
                  <a:lnTo>
                    <a:pt x="14" y="7"/>
                  </a:lnTo>
                  <a:lnTo>
                    <a:pt x="11" y="2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9" y="3"/>
                  </a:lnTo>
                  <a:lnTo>
                    <a:pt x="7" y="6"/>
                  </a:lnTo>
                  <a:lnTo>
                    <a:pt x="4" y="9"/>
                  </a:lnTo>
                  <a:lnTo>
                    <a:pt x="1" y="9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1" y="16"/>
                  </a:lnTo>
                  <a:lnTo>
                    <a:pt x="3" y="20"/>
                  </a:lnTo>
                  <a:lnTo>
                    <a:pt x="3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9" y="30"/>
                  </a:lnTo>
                  <a:lnTo>
                    <a:pt x="10" y="32"/>
                  </a:lnTo>
                  <a:lnTo>
                    <a:pt x="14" y="42"/>
                  </a:lnTo>
                  <a:lnTo>
                    <a:pt x="17" y="48"/>
                  </a:lnTo>
                  <a:lnTo>
                    <a:pt x="19" y="53"/>
                  </a:lnTo>
                  <a:lnTo>
                    <a:pt x="20" y="60"/>
                  </a:lnTo>
                  <a:lnTo>
                    <a:pt x="21" y="66"/>
                  </a:lnTo>
                  <a:lnTo>
                    <a:pt x="30" y="69"/>
                  </a:lnTo>
                  <a:lnTo>
                    <a:pt x="30" y="69"/>
                  </a:lnTo>
                  <a:lnTo>
                    <a:pt x="30" y="6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4" name="Freeform 623"/>
            <p:cNvSpPr>
              <a:spLocks/>
            </p:cNvSpPr>
            <p:nvPr/>
          </p:nvSpPr>
          <p:spPr bwMode="auto">
            <a:xfrm>
              <a:off x="8745856" y="4198377"/>
              <a:ext cx="9769" cy="9260"/>
            </a:xfrm>
            <a:custGeom>
              <a:avLst/>
              <a:gdLst>
                <a:gd name="T0" fmla="*/ 4 w 16"/>
                <a:gd name="T1" fmla="*/ 13 h 14"/>
                <a:gd name="T2" fmla="*/ 7 w 16"/>
                <a:gd name="T3" fmla="*/ 14 h 14"/>
                <a:gd name="T4" fmla="*/ 13 w 16"/>
                <a:gd name="T5" fmla="*/ 14 h 14"/>
                <a:gd name="T6" fmla="*/ 14 w 16"/>
                <a:gd name="T7" fmla="*/ 13 h 14"/>
                <a:gd name="T8" fmla="*/ 16 w 16"/>
                <a:gd name="T9" fmla="*/ 10 h 14"/>
                <a:gd name="T10" fmla="*/ 16 w 16"/>
                <a:gd name="T11" fmla="*/ 9 h 14"/>
                <a:gd name="T12" fmla="*/ 13 w 16"/>
                <a:gd name="T13" fmla="*/ 4 h 14"/>
                <a:gd name="T14" fmla="*/ 9 w 16"/>
                <a:gd name="T15" fmla="*/ 0 h 14"/>
                <a:gd name="T16" fmla="*/ 4 w 16"/>
                <a:gd name="T17" fmla="*/ 0 h 14"/>
                <a:gd name="T18" fmla="*/ 0 w 16"/>
                <a:gd name="T19" fmla="*/ 3 h 14"/>
                <a:gd name="T20" fmla="*/ 0 w 16"/>
                <a:gd name="T21" fmla="*/ 6 h 14"/>
                <a:gd name="T22" fmla="*/ 1 w 16"/>
                <a:gd name="T23" fmla="*/ 9 h 14"/>
                <a:gd name="T24" fmla="*/ 4 w 16"/>
                <a:gd name="T25" fmla="*/ 13 h 14"/>
                <a:gd name="T26" fmla="*/ 4 w 16"/>
                <a:gd name="T27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14">
                  <a:moveTo>
                    <a:pt x="4" y="13"/>
                  </a:moveTo>
                  <a:lnTo>
                    <a:pt x="7" y="14"/>
                  </a:lnTo>
                  <a:lnTo>
                    <a:pt x="13" y="14"/>
                  </a:lnTo>
                  <a:lnTo>
                    <a:pt x="14" y="13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3" y="4"/>
                  </a:lnTo>
                  <a:lnTo>
                    <a:pt x="9" y="0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9"/>
                  </a:lnTo>
                  <a:lnTo>
                    <a:pt x="4" y="13"/>
                  </a:lnTo>
                  <a:lnTo>
                    <a:pt x="4" y="1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5" name="Freeform 624"/>
            <p:cNvSpPr>
              <a:spLocks/>
            </p:cNvSpPr>
            <p:nvPr/>
          </p:nvSpPr>
          <p:spPr bwMode="auto">
            <a:xfrm>
              <a:off x="8740971" y="4140169"/>
              <a:ext cx="4885" cy="6615"/>
            </a:xfrm>
            <a:custGeom>
              <a:avLst/>
              <a:gdLst>
                <a:gd name="T0" fmla="*/ 3 w 9"/>
                <a:gd name="T1" fmla="*/ 8 h 8"/>
                <a:gd name="T2" fmla="*/ 5 w 9"/>
                <a:gd name="T3" fmla="*/ 8 h 8"/>
                <a:gd name="T4" fmla="*/ 6 w 9"/>
                <a:gd name="T5" fmla="*/ 8 h 8"/>
                <a:gd name="T6" fmla="*/ 7 w 9"/>
                <a:gd name="T7" fmla="*/ 5 h 8"/>
                <a:gd name="T8" fmla="*/ 9 w 9"/>
                <a:gd name="T9" fmla="*/ 2 h 8"/>
                <a:gd name="T10" fmla="*/ 9 w 9"/>
                <a:gd name="T11" fmla="*/ 0 h 8"/>
                <a:gd name="T12" fmla="*/ 7 w 9"/>
                <a:gd name="T13" fmla="*/ 0 h 8"/>
                <a:gd name="T14" fmla="*/ 6 w 9"/>
                <a:gd name="T15" fmla="*/ 0 h 8"/>
                <a:gd name="T16" fmla="*/ 5 w 9"/>
                <a:gd name="T17" fmla="*/ 1 h 8"/>
                <a:gd name="T18" fmla="*/ 3 w 9"/>
                <a:gd name="T19" fmla="*/ 1 h 8"/>
                <a:gd name="T20" fmla="*/ 0 w 9"/>
                <a:gd name="T21" fmla="*/ 2 h 8"/>
                <a:gd name="T22" fmla="*/ 0 w 9"/>
                <a:gd name="T23" fmla="*/ 4 h 8"/>
                <a:gd name="T24" fmla="*/ 2 w 9"/>
                <a:gd name="T25" fmla="*/ 7 h 8"/>
                <a:gd name="T26" fmla="*/ 3 w 9"/>
                <a:gd name="T27" fmla="*/ 8 h 8"/>
                <a:gd name="T28" fmla="*/ 3 w 9"/>
                <a:gd name="T2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" h="8">
                  <a:moveTo>
                    <a:pt x="3" y="8"/>
                  </a:moveTo>
                  <a:lnTo>
                    <a:pt x="5" y="8"/>
                  </a:lnTo>
                  <a:lnTo>
                    <a:pt x="6" y="8"/>
                  </a:lnTo>
                  <a:lnTo>
                    <a:pt x="7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5" y="1"/>
                  </a:lnTo>
                  <a:lnTo>
                    <a:pt x="3" y="1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7"/>
                  </a:lnTo>
                  <a:lnTo>
                    <a:pt x="3" y="8"/>
                  </a:lnTo>
                  <a:lnTo>
                    <a:pt x="3" y="8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6" name="Freeform 625"/>
            <p:cNvSpPr>
              <a:spLocks/>
            </p:cNvSpPr>
            <p:nvPr/>
          </p:nvSpPr>
          <p:spPr bwMode="auto">
            <a:xfrm>
              <a:off x="8795923" y="4242032"/>
              <a:ext cx="13433" cy="10583"/>
            </a:xfrm>
            <a:custGeom>
              <a:avLst/>
              <a:gdLst>
                <a:gd name="T0" fmla="*/ 12 w 22"/>
                <a:gd name="T1" fmla="*/ 16 h 17"/>
                <a:gd name="T2" fmla="*/ 15 w 22"/>
                <a:gd name="T3" fmla="*/ 16 h 17"/>
                <a:gd name="T4" fmla="*/ 18 w 22"/>
                <a:gd name="T5" fmla="*/ 17 h 17"/>
                <a:gd name="T6" fmla="*/ 21 w 22"/>
                <a:gd name="T7" fmla="*/ 14 h 17"/>
                <a:gd name="T8" fmla="*/ 22 w 22"/>
                <a:gd name="T9" fmla="*/ 10 h 17"/>
                <a:gd name="T10" fmla="*/ 22 w 22"/>
                <a:gd name="T11" fmla="*/ 4 h 17"/>
                <a:gd name="T12" fmla="*/ 22 w 22"/>
                <a:gd name="T13" fmla="*/ 1 h 17"/>
                <a:gd name="T14" fmla="*/ 18 w 22"/>
                <a:gd name="T15" fmla="*/ 1 h 17"/>
                <a:gd name="T16" fmla="*/ 17 w 22"/>
                <a:gd name="T17" fmla="*/ 0 h 17"/>
                <a:gd name="T18" fmla="*/ 12 w 22"/>
                <a:gd name="T19" fmla="*/ 1 h 17"/>
                <a:gd name="T20" fmla="*/ 4 w 22"/>
                <a:gd name="T21" fmla="*/ 4 h 17"/>
                <a:gd name="T22" fmla="*/ 0 w 22"/>
                <a:gd name="T23" fmla="*/ 6 h 17"/>
                <a:gd name="T24" fmla="*/ 0 w 22"/>
                <a:gd name="T25" fmla="*/ 8 h 17"/>
                <a:gd name="T26" fmla="*/ 0 w 22"/>
                <a:gd name="T27" fmla="*/ 11 h 17"/>
                <a:gd name="T28" fmla="*/ 2 w 22"/>
                <a:gd name="T29" fmla="*/ 11 h 17"/>
                <a:gd name="T30" fmla="*/ 7 w 22"/>
                <a:gd name="T31" fmla="*/ 13 h 17"/>
                <a:gd name="T32" fmla="*/ 12 w 22"/>
                <a:gd name="T33" fmla="*/ 16 h 17"/>
                <a:gd name="T34" fmla="*/ 12 w 22"/>
                <a:gd name="T3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" h="17">
                  <a:moveTo>
                    <a:pt x="12" y="16"/>
                  </a:moveTo>
                  <a:lnTo>
                    <a:pt x="15" y="16"/>
                  </a:lnTo>
                  <a:lnTo>
                    <a:pt x="18" y="17"/>
                  </a:lnTo>
                  <a:lnTo>
                    <a:pt x="21" y="14"/>
                  </a:lnTo>
                  <a:lnTo>
                    <a:pt x="22" y="10"/>
                  </a:lnTo>
                  <a:lnTo>
                    <a:pt x="22" y="4"/>
                  </a:lnTo>
                  <a:lnTo>
                    <a:pt x="22" y="1"/>
                  </a:lnTo>
                  <a:lnTo>
                    <a:pt x="18" y="1"/>
                  </a:lnTo>
                  <a:lnTo>
                    <a:pt x="17" y="0"/>
                  </a:lnTo>
                  <a:lnTo>
                    <a:pt x="12" y="1"/>
                  </a:lnTo>
                  <a:lnTo>
                    <a:pt x="4" y="4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7" y="13"/>
                  </a:lnTo>
                  <a:lnTo>
                    <a:pt x="12" y="16"/>
                  </a:lnTo>
                  <a:lnTo>
                    <a:pt x="12" y="1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7" name="Freeform 626"/>
            <p:cNvSpPr>
              <a:spLocks/>
            </p:cNvSpPr>
            <p:nvPr/>
          </p:nvSpPr>
          <p:spPr bwMode="auto">
            <a:xfrm>
              <a:off x="8803250" y="4279074"/>
              <a:ext cx="8548" cy="25135"/>
            </a:xfrm>
            <a:custGeom>
              <a:avLst/>
              <a:gdLst>
                <a:gd name="T0" fmla="*/ 3 w 13"/>
                <a:gd name="T1" fmla="*/ 15 h 38"/>
                <a:gd name="T2" fmla="*/ 6 w 13"/>
                <a:gd name="T3" fmla="*/ 18 h 38"/>
                <a:gd name="T4" fmla="*/ 6 w 13"/>
                <a:gd name="T5" fmla="*/ 20 h 38"/>
                <a:gd name="T6" fmla="*/ 6 w 13"/>
                <a:gd name="T7" fmla="*/ 21 h 38"/>
                <a:gd name="T8" fmla="*/ 6 w 13"/>
                <a:gd name="T9" fmla="*/ 25 h 38"/>
                <a:gd name="T10" fmla="*/ 3 w 13"/>
                <a:gd name="T11" fmla="*/ 30 h 38"/>
                <a:gd name="T12" fmla="*/ 2 w 13"/>
                <a:gd name="T13" fmla="*/ 33 h 38"/>
                <a:gd name="T14" fmla="*/ 5 w 13"/>
                <a:gd name="T15" fmla="*/ 37 h 38"/>
                <a:gd name="T16" fmla="*/ 8 w 13"/>
                <a:gd name="T17" fmla="*/ 38 h 38"/>
                <a:gd name="T18" fmla="*/ 10 w 13"/>
                <a:gd name="T19" fmla="*/ 38 h 38"/>
                <a:gd name="T20" fmla="*/ 13 w 13"/>
                <a:gd name="T21" fmla="*/ 35 h 38"/>
                <a:gd name="T22" fmla="*/ 13 w 13"/>
                <a:gd name="T23" fmla="*/ 33 h 38"/>
                <a:gd name="T24" fmla="*/ 13 w 13"/>
                <a:gd name="T25" fmla="*/ 28 h 38"/>
                <a:gd name="T26" fmla="*/ 12 w 13"/>
                <a:gd name="T27" fmla="*/ 24 h 38"/>
                <a:gd name="T28" fmla="*/ 12 w 13"/>
                <a:gd name="T29" fmla="*/ 20 h 38"/>
                <a:gd name="T30" fmla="*/ 12 w 13"/>
                <a:gd name="T31" fmla="*/ 15 h 38"/>
                <a:gd name="T32" fmla="*/ 13 w 13"/>
                <a:gd name="T33" fmla="*/ 11 h 38"/>
                <a:gd name="T34" fmla="*/ 13 w 13"/>
                <a:gd name="T35" fmla="*/ 7 h 38"/>
                <a:gd name="T36" fmla="*/ 12 w 13"/>
                <a:gd name="T37" fmla="*/ 3 h 38"/>
                <a:gd name="T38" fmla="*/ 9 w 13"/>
                <a:gd name="T39" fmla="*/ 1 h 38"/>
                <a:gd name="T40" fmla="*/ 5 w 13"/>
                <a:gd name="T41" fmla="*/ 0 h 38"/>
                <a:gd name="T42" fmla="*/ 2 w 13"/>
                <a:gd name="T43" fmla="*/ 3 h 38"/>
                <a:gd name="T44" fmla="*/ 0 w 13"/>
                <a:gd name="T45" fmla="*/ 5 h 38"/>
                <a:gd name="T46" fmla="*/ 0 w 13"/>
                <a:gd name="T47" fmla="*/ 10 h 38"/>
                <a:gd name="T48" fmla="*/ 0 w 13"/>
                <a:gd name="T49" fmla="*/ 13 h 38"/>
                <a:gd name="T50" fmla="*/ 3 w 13"/>
                <a:gd name="T51" fmla="*/ 15 h 38"/>
                <a:gd name="T52" fmla="*/ 3 w 13"/>
                <a:gd name="T53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" h="38">
                  <a:moveTo>
                    <a:pt x="3" y="15"/>
                  </a:moveTo>
                  <a:lnTo>
                    <a:pt x="6" y="18"/>
                  </a:lnTo>
                  <a:lnTo>
                    <a:pt x="6" y="20"/>
                  </a:lnTo>
                  <a:lnTo>
                    <a:pt x="6" y="21"/>
                  </a:lnTo>
                  <a:lnTo>
                    <a:pt x="6" y="25"/>
                  </a:lnTo>
                  <a:lnTo>
                    <a:pt x="3" y="30"/>
                  </a:lnTo>
                  <a:lnTo>
                    <a:pt x="2" y="33"/>
                  </a:lnTo>
                  <a:lnTo>
                    <a:pt x="5" y="37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13" y="35"/>
                  </a:lnTo>
                  <a:lnTo>
                    <a:pt x="13" y="33"/>
                  </a:lnTo>
                  <a:lnTo>
                    <a:pt x="13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15"/>
                  </a:lnTo>
                  <a:lnTo>
                    <a:pt x="13" y="11"/>
                  </a:lnTo>
                  <a:lnTo>
                    <a:pt x="13" y="7"/>
                  </a:lnTo>
                  <a:lnTo>
                    <a:pt x="12" y="3"/>
                  </a:lnTo>
                  <a:lnTo>
                    <a:pt x="9" y="1"/>
                  </a:lnTo>
                  <a:lnTo>
                    <a:pt x="5" y="0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5"/>
                  </a:lnTo>
                  <a:lnTo>
                    <a:pt x="3" y="1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8" name="Freeform 627"/>
            <p:cNvSpPr>
              <a:spLocks/>
            </p:cNvSpPr>
            <p:nvPr/>
          </p:nvSpPr>
          <p:spPr bwMode="auto">
            <a:xfrm>
              <a:off x="8786154" y="4284365"/>
              <a:ext cx="8548" cy="9260"/>
            </a:xfrm>
            <a:custGeom>
              <a:avLst/>
              <a:gdLst>
                <a:gd name="T0" fmla="*/ 4 w 14"/>
                <a:gd name="T1" fmla="*/ 5 h 15"/>
                <a:gd name="T2" fmla="*/ 1 w 14"/>
                <a:gd name="T3" fmla="*/ 7 h 15"/>
                <a:gd name="T4" fmla="*/ 0 w 14"/>
                <a:gd name="T5" fmla="*/ 10 h 15"/>
                <a:gd name="T6" fmla="*/ 1 w 14"/>
                <a:gd name="T7" fmla="*/ 13 h 15"/>
                <a:gd name="T8" fmla="*/ 4 w 14"/>
                <a:gd name="T9" fmla="*/ 15 h 15"/>
                <a:gd name="T10" fmla="*/ 7 w 14"/>
                <a:gd name="T11" fmla="*/ 15 h 15"/>
                <a:gd name="T12" fmla="*/ 10 w 14"/>
                <a:gd name="T13" fmla="*/ 13 h 15"/>
                <a:gd name="T14" fmla="*/ 10 w 14"/>
                <a:gd name="T15" fmla="*/ 9 h 15"/>
                <a:gd name="T16" fmla="*/ 13 w 14"/>
                <a:gd name="T17" fmla="*/ 6 h 15"/>
                <a:gd name="T18" fmla="*/ 14 w 14"/>
                <a:gd name="T19" fmla="*/ 3 h 15"/>
                <a:gd name="T20" fmla="*/ 14 w 14"/>
                <a:gd name="T21" fmla="*/ 2 h 15"/>
                <a:gd name="T22" fmla="*/ 14 w 14"/>
                <a:gd name="T23" fmla="*/ 0 h 15"/>
                <a:gd name="T24" fmla="*/ 13 w 14"/>
                <a:gd name="T25" fmla="*/ 0 h 15"/>
                <a:gd name="T26" fmla="*/ 10 w 14"/>
                <a:gd name="T27" fmla="*/ 0 h 15"/>
                <a:gd name="T28" fmla="*/ 4 w 14"/>
                <a:gd name="T29" fmla="*/ 5 h 15"/>
                <a:gd name="T30" fmla="*/ 4 w 14"/>
                <a:gd name="T31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" h="15">
                  <a:moveTo>
                    <a:pt x="4" y="5"/>
                  </a:moveTo>
                  <a:lnTo>
                    <a:pt x="1" y="7"/>
                  </a:lnTo>
                  <a:lnTo>
                    <a:pt x="0" y="10"/>
                  </a:lnTo>
                  <a:lnTo>
                    <a:pt x="1" y="13"/>
                  </a:lnTo>
                  <a:lnTo>
                    <a:pt x="4" y="15"/>
                  </a:lnTo>
                  <a:lnTo>
                    <a:pt x="7" y="15"/>
                  </a:lnTo>
                  <a:lnTo>
                    <a:pt x="10" y="13"/>
                  </a:lnTo>
                  <a:lnTo>
                    <a:pt x="10" y="9"/>
                  </a:lnTo>
                  <a:lnTo>
                    <a:pt x="13" y="6"/>
                  </a:lnTo>
                  <a:lnTo>
                    <a:pt x="14" y="3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4" y="5"/>
                  </a:lnTo>
                  <a:lnTo>
                    <a:pt x="4" y="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39" name="Freeform 628"/>
            <p:cNvSpPr>
              <a:spLocks/>
            </p:cNvSpPr>
            <p:nvPr/>
          </p:nvSpPr>
          <p:spPr bwMode="auto">
            <a:xfrm>
              <a:off x="8765394" y="4308178"/>
              <a:ext cx="3663" cy="5292"/>
            </a:xfrm>
            <a:custGeom>
              <a:avLst/>
              <a:gdLst>
                <a:gd name="T0" fmla="*/ 5 w 6"/>
                <a:gd name="T1" fmla="*/ 7 h 7"/>
                <a:gd name="T2" fmla="*/ 5 w 6"/>
                <a:gd name="T3" fmla="*/ 6 h 7"/>
                <a:gd name="T4" fmla="*/ 5 w 6"/>
                <a:gd name="T5" fmla="*/ 4 h 7"/>
                <a:gd name="T6" fmla="*/ 6 w 6"/>
                <a:gd name="T7" fmla="*/ 1 h 7"/>
                <a:gd name="T8" fmla="*/ 5 w 6"/>
                <a:gd name="T9" fmla="*/ 0 h 7"/>
                <a:gd name="T10" fmla="*/ 2 w 6"/>
                <a:gd name="T11" fmla="*/ 0 h 7"/>
                <a:gd name="T12" fmla="*/ 2 w 6"/>
                <a:gd name="T13" fmla="*/ 0 h 7"/>
                <a:gd name="T14" fmla="*/ 0 w 6"/>
                <a:gd name="T15" fmla="*/ 3 h 7"/>
                <a:gd name="T16" fmla="*/ 0 w 6"/>
                <a:gd name="T17" fmla="*/ 6 h 7"/>
                <a:gd name="T18" fmla="*/ 3 w 6"/>
                <a:gd name="T19" fmla="*/ 7 h 7"/>
                <a:gd name="T20" fmla="*/ 5 w 6"/>
                <a:gd name="T21" fmla="*/ 7 h 7"/>
                <a:gd name="T22" fmla="*/ 5 w 6"/>
                <a:gd name="T2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7">
                  <a:moveTo>
                    <a:pt x="5" y="7"/>
                  </a:moveTo>
                  <a:lnTo>
                    <a:pt x="5" y="6"/>
                  </a:lnTo>
                  <a:lnTo>
                    <a:pt x="5" y="4"/>
                  </a:lnTo>
                  <a:lnTo>
                    <a:pt x="6" y="1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7"/>
                  </a:lnTo>
                  <a:lnTo>
                    <a:pt x="5" y="7"/>
                  </a:lnTo>
                  <a:lnTo>
                    <a:pt x="5" y="7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0" name="Freeform 629"/>
            <p:cNvSpPr>
              <a:spLocks/>
            </p:cNvSpPr>
            <p:nvPr/>
          </p:nvSpPr>
          <p:spPr bwMode="auto">
            <a:xfrm>
              <a:off x="8803250" y="4371677"/>
              <a:ext cx="3663" cy="5292"/>
            </a:xfrm>
            <a:custGeom>
              <a:avLst/>
              <a:gdLst>
                <a:gd name="T0" fmla="*/ 6 w 6"/>
                <a:gd name="T1" fmla="*/ 6 h 7"/>
                <a:gd name="T2" fmla="*/ 6 w 6"/>
                <a:gd name="T3" fmla="*/ 3 h 7"/>
                <a:gd name="T4" fmla="*/ 5 w 6"/>
                <a:gd name="T5" fmla="*/ 0 h 7"/>
                <a:gd name="T6" fmla="*/ 2 w 6"/>
                <a:gd name="T7" fmla="*/ 0 h 7"/>
                <a:gd name="T8" fmla="*/ 0 w 6"/>
                <a:gd name="T9" fmla="*/ 1 h 7"/>
                <a:gd name="T10" fmla="*/ 0 w 6"/>
                <a:gd name="T11" fmla="*/ 6 h 7"/>
                <a:gd name="T12" fmla="*/ 2 w 6"/>
                <a:gd name="T13" fmla="*/ 7 h 7"/>
                <a:gd name="T14" fmla="*/ 5 w 6"/>
                <a:gd name="T15" fmla="*/ 7 h 7"/>
                <a:gd name="T16" fmla="*/ 6 w 6"/>
                <a:gd name="T17" fmla="*/ 6 h 7"/>
                <a:gd name="T18" fmla="*/ 6 w 6"/>
                <a:gd name="T1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7">
                  <a:moveTo>
                    <a:pt x="6" y="6"/>
                  </a:moveTo>
                  <a:lnTo>
                    <a:pt x="6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6"/>
                  </a:lnTo>
                  <a:lnTo>
                    <a:pt x="2" y="7"/>
                  </a:lnTo>
                  <a:lnTo>
                    <a:pt x="5" y="7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1" name="Freeform 630"/>
            <p:cNvSpPr>
              <a:spLocks/>
            </p:cNvSpPr>
            <p:nvPr/>
          </p:nvSpPr>
          <p:spPr bwMode="auto">
            <a:xfrm>
              <a:off x="8811798" y="4387552"/>
              <a:ext cx="15875" cy="6615"/>
            </a:xfrm>
            <a:custGeom>
              <a:avLst/>
              <a:gdLst>
                <a:gd name="T0" fmla="*/ 11 w 26"/>
                <a:gd name="T1" fmla="*/ 10 h 10"/>
                <a:gd name="T2" fmla="*/ 16 w 26"/>
                <a:gd name="T3" fmla="*/ 9 h 10"/>
                <a:gd name="T4" fmla="*/ 23 w 26"/>
                <a:gd name="T5" fmla="*/ 8 h 10"/>
                <a:gd name="T6" fmla="*/ 26 w 26"/>
                <a:gd name="T7" fmla="*/ 6 h 10"/>
                <a:gd name="T8" fmla="*/ 26 w 26"/>
                <a:gd name="T9" fmla="*/ 3 h 10"/>
                <a:gd name="T10" fmla="*/ 24 w 26"/>
                <a:gd name="T11" fmla="*/ 2 h 10"/>
                <a:gd name="T12" fmla="*/ 17 w 26"/>
                <a:gd name="T13" fmla="*/ 0 h 10"/>
                <a:gd name="T14" fmla="*/ 6 w 26"/>
                <a:gd name="T15" fmla="*/ 0 h 10"/>
                <a:gd name="T16" fmla="*/ 1 w 26"/>
                <a:gd name="T17" fmla="*/ 3 h 10"/>
                <a:gd name="T18" fmla="*/ 1 w 26"/>
                <a:gd name="T19" fmla="*/ 5 h 10"/>
                <a:gd name="T20" fmla="*/ 0 w 26"/>
                <a:gd name="T21" fmla="*/ 8 h 10"/>
                <a:gd name="T22" fmla="*/ 3 w 26"/>
                <a:gd name="T23" fmla="*/ 10 h 10"/>
                <a:gd name="T24" fmla="*/ 6 w 26"/>
                <a:gd name="T25" fmla="*/ 10 h 10"/>
                <a:gd name="T26" fmla="*/ 11 w 26"/>
                <a:gd name="T27" fmla="*/ 10 h 10"/>
                <a:gd name="T28" fmla="*/ 11 w 26"/>
                <a:gd name="T2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0">
                  <a:moveTo>
                    <a:pt x="11" y="10"/>
                  </a:moveTo>
                  <a:lnTo>
                    <a:pt x="16" y="9"/>
                  </a:lnTo>
                  <a:lnTo>
                    <a:pt x="23" y="8"/>
                  </a:lnTo>
                  <a:lnTo>
                    <a:pt x="26" y="6"/>
                  </a:lnTo>
                  <a:lnTo>
                    <a:pt x="26" y="3"/>
                  </a:lnTo>
                  <a:lnTo>
                    <a:pt x="24" y="2"/>
                  </a:lnTo>
                  <a:lnTo>
                    <a:pt x="17" y="0"/>
                  </a:lnTo>
                  <a:lnTo>
                    <a:pt x="6" y="0"/>
                  </a:lnTo>
                  <a:lnTo>
                    <a:pt x="1" y="3"/>
                  </a:lnTo>
                  <a:lnTo>
                    <a:pt x="1" y="5"/>
                  </a:lnTo>
                  <a:lnTo>
                    <a:pt x="0" y="8"/>
                  </a:lnTo>
                  <a:lnTo>
                    <a:pt x="3" y="10"/>
                  </a:lnTo>
                  <a:lnTo>
                    <a:pt x="6" y="10"/>
                  </a:lnTo>
                  <a:lnTo>
                    <a:pt x="11" y="10"/>
                  </a:lnTo>
                  <a:lnTo>
                    <a:pt x="11" y="1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2" name="Freeform 631"/>
            <p:cNvSpPr>
              <a:spLocks/>
            </p:cNvSpPr>
            <p:nvPr/>
          </p:nvSpPr>
          <p:spPr bwMode="auto">
            <a:xfrm>
              <a:off x="8830115" y="4420624"/>
              <a:ext cx="9769" cy="15875"/>
            </a:xfrm>
            <a:custGeom>
              <a:avLst/>
              <a:gdLst>
                <a:gd name="T0" fmla="*/ 4 w 14"/>
                <a:gd name="T1" fmla="*/ 19 h 26"/>
                <a:gd name="T2" fmla="*/ 4 w 14"/>
                <a:gd name="T3" fmla="*/ 23 h 26"/>
                <a:gd name="T4" fmla="*/ 7 w 14"/>
                <a:gd name="T5" fmla="*/ 24 h 26"/>
                <a:gd name="T6" fmla="*/ 8 w 14"/>
                <a:gd name="T7" fmla="*/ 26 h 26"/>
                <a:gd name="T8" fmla="*/ 10 w 14"/>
                <a:gd name="T9" fmla="*/ 22 h 26"/>
                <a:gd name="T10" fmla="*/ 10 w 14"/>
                <a:gd name="T11" fmla="*/ 20 h 26"/>
                <a:gd name="T12" fmla="*/ 11 w 14"/>
                <a:gd name="T13" fmla="*/ 19 h 26"/>
                <a:gd name="T14" fmla="*/ 13 w 14"/>
                <a:gd name="T15" fmla="*/ 16 h 26"/>
                <a:gd name="T16" fmla="*/ 14 w 14"/>
                <a:gd name="T17" fmla="*/ 12 h 26"/>
                <a:gd name="T18" fmla="*/ 11 w 14"/>
                <a:gd name="T19" fmla="*/ 7 h 26"/>
                <a:gd name="T20" fmla="*/ 7 w 14"/>
                <a:gd name="T21" fmla="*/ 3 h 26"/>
                <a:gd name="T22" fmla="*/ 6 w 14"/>
                <a:gd name="T23" fmla="*/ 1 h 26"/>
                <a:gd name="T24" fmla="*/ 3 w 14"/>
                <a:gd name="T25" fmla="*/ 0 h 26"/>
                <a:gd name="T26" fmla="*/ 1 w 14"/>
                <a:gd name="T27" fmla="*/ 3 h 26"/>
                <a:gd name="T28" fmla="*/ 0 w 14"/>
                <a:gd name="T29" fmla="*/ 6 h 26"/>
                <a:gd name="T30" fmla="*/ 0 w 14"/>
                <a:gd name="T31" fmla="*/ 10 h 26"/>
                <a:gd name="T32" fmla="*/ 1 w 14"/>
                <a:gd name="T33" fmla="*/ 13 h 26"/>
                <a:gd name="T34" fmla="*/ 4 w 14"/>
                <a:gd name="T35" fmla="*/ 19 h 26"/>
                <a:gd name="T36" fmla="*/ 4 w 14"/>
                <a:gd name="T37" fmla="*/ 19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6">
                  <a:moveTo>
                    <a:pt x="4" y="19"/>
                  </a:moveTo>
                  <a:lnTo>
                    <a:pt x="4" y="23"/>
                  </a:lnTo>
                  <a:lnTo>
                    <a:pt x="7" y="24"/>
                  </a:lnTo>
                  <a:lnTo>
                    <a:pt x="8" y="26"/>
                  </a:lnTo>
                  <a:lnTo>
                    <a:pt x="10" y="22"/>
                  </a:lnTo>
                  <a:lnTo>
                    <a:pt x="10" y="20"/>
                  </a:lnTo>
                  <a:lnTo>
                    <a:pt x="11" y="19"/>
                  </a:lnTo>
                  <a:lnTo>
                    <a:pt x="13" y="16"/>
                  </a:lnTo>
                  <a:lnTo>
                    <a:pt x="14" y="12"/>
                  </a:lnTo>
                  <a:lnTo>
                    <a:pt x="11" y="7"/>
                  </a:lnTo>
                  <a:lnTo>
                    <a:pt x="7" y="3"/>
                  </a:lnTo>
                  <a:lnTo>
                    <a:pt x="6" y="1"/>
                  </a:lnTo>
                  <a:lnTo>
                    <a:pt x="3" y="0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1" y="13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3" name="Freeform 632"/>
            <p:cNvSpPr>
              <a:spLocks/>
            </p:cNvSpPr>
            <p:nvPr/>
          </p:nvSpPr>
          <p:spPr bwMode="auto">
            <a:xfrm>
              <a:off x="8830115" y="4482801"/>
              <a:ext cx="13433" cy="11906"/>
            </a:xfrm>
            <a:custGeom>
              <a:avLst/>
              <a:gdLst>
                <a:gd name="T0" fmla="*/ 6 w 21"/>
                <a:gd name="T1" fmla="*/ 15 h 18"/>
                <a:gd name="T2" fmla="*/ 10 w 21"/>
                <a:gd name="T3" fmla="*/ 18 h 18"/>
                <a:gd name="T4" fmla="*/ 13 w 21"/>
                <a:gd name="T5" fmla="*/ 18 h 18"/>
                <a:gd name="T6" fmla="*/ 16 w 21"/>
                <a:gd name="T7" fmla="*/ 14 h 18"/>
                <a:gd name="T8" fmla="*/ 17 w 21"/>
                <a:gd name="T9" fmla="*/ 11 h 18"/>
                <a:gd name="T10" fmla="*/ 20 w 21"/>
                <a:gd name="T11" fmla="*/ 10 h 18"/>
                <a:gd name="T12" fmla="*/ 21 w 21"/>
                <a:gd name="T13" fmla="*/ 10 h 18"/>
                <a:gd name="T14" fmla="*/ 21 w 21"/>
                <a:gd name="T15" fmla="*/ 7 h 18"/>
                <a:gd name="T16" fmla="*/ 20 w 21"/>
                <a:gd name="T17" fmla="*/ 4 h 18"/>
                <a:gd name="T18" fmla="*/ 17 w 21"/>
                <a:gd name="T19" fmla="*/ 2 h 18"/>
                <a:gd name="T20" fmla="*/ 13 w 21"/>
                <a:gd name="T21" fmla="*/ 1 h 18"/>
                <a:gd name="T22" fmla="*/ 8 w 21"/>
                <a:gd name="T23" fmla="*/ 0 h 18"/>
                <a:gd name="T24" fmla="*/ 6 w 21"/>
                <a:gd name="T25" fmla="*/ 0 h 18"/>
                <a:gd name="T26" fmla="*/ 3 w 21"/>
                <a:gd name="T27" fmla="*/ 1 h 18"/>
                <a:gd name="T28" fmla="*/ 0 w 21"/>
                <a:gd name="T29" fmla="*/ 5 h 18"/>
                <a:gd name="T30" fmla="*/ 0 w 21"/>
                <a:gd name="T31" fmla="*/ 8 h 18"/>
                <a:gd name="T32" fmla="*/ 1 w 21"/>
                <a:gd name="T33" fmla="*/ 12 h 18"/>
                <a:gd name="T34" fmla="*/ 6 w 21"/>
                <a:gd name="T35" fmla="*/ 15 h 18"/>
                <a:gd name="T36" fmla="*/ 6 w 21"/>
                <a:gd name="T37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" h="18">
                  <a:moveTo>
                    <a:pt x="6" y="15"/>
                  </a:moveTo>
                  <a:lnTo>
                    <a:pt x="10" y="18"/>
                  </a:lnTo>
                  <a:lnTo>
                    <a:pt x="13" y="18"/>
                  </a:lnTo>
                  <a:lnTo>
                    <a:pt x="16" y="14"/>
                  </a:lnTo>
                  <a:lnTo>
                    <a:pt x="17" y="11"/>
                  </a:lnTo>
                  <a:lnTo>
                    <a:pt x="20" y="10"/>
                  </a:lnTo>
                  <a:lnTo>
                    <a:pt x="21" y="10"/>
                  </a:lnTo>
                  <a:lnTo>
                    <a:pt x="21" y="7"/>
                  </a:lnTo>
                  <a:lnTo>
                    <a:pt x="20" y="4"/>
                  </a:lnTo>
                  <a:lnTo>
                    <a:pt x="17" y="2"/>
                  </a:lnTo>
                  <a:lnTo>
                    <a:pt x="13" y="1"/>
                  </a:lnTo>
                  <a:lnTo>
                    <a:pt x="8" y="0"/>
                  </a:lnTo>
                  <a:lnTo>
                    <a:pt x="6" y="0"/>
                  </a:lnTo>
                  <a:lnTo>
                    <a:pt x="3" y="1"/>
                  </a:lnTo>
                  <a:lnTo>
                    <a:pt x="0" y="5"/>
                  </a:lnTo>
                  <a:lnTo>
                    <a:pt x="0" y="8"/>
                  </a:lnTo>
                  <a:lnTo>
                    <a:pt x="1" y="12"/>
                  </a:lnTo>
                  <a:lnTo>
                    <a:pt x="6" y="15"/>
                  </a:lnTo>
                  <a:lnTo>
                    <a:pt x="6" y="1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4" name="Freeform 633"/>
            <p:cNvSpPr>
              <a:spLocks/>
            </p:cNvSpPr>
            <p:nvPr/>
          </p:nvSpPr>
          <p:spPr bwMode="auto">
            <a:xfrm>
              <a:off x="8794702" y="4625675"/>
              <a:ext cx="4885" cy="3969"/>
            </a:xfrm>
            <a:custGeom>
              <a:avLst/>
              <a:gdLst>
                <a:gd name="T0" fmla="*/ 3 w 9"/>
                <a:gd name="T1" fmla="*/ 6 h 6"/>
                <a:gd name="T2" fmla="*/ 6 w 9"/>
                <a:gd name="T3" fmla="*/ 6 h 6"/>
                <a:gd name="T4" fmla="*/ 9 w 9"/>
                <a:gd name="T5" fmla="*/ 6 h 6"/>
                <a:gd name="T6" fmla="*/ 9 w 9"/>
                <a:gd name="T7" fmla="*/ 4 h 6"/>
                <a:gd name="T8" fmla="*/ 9 w 9"/>
                <a:gd name="T9" fmla="*/ 1 h 6"/>
                <a:gd name="T10" fmla="*/ 6 w 9"/>
                <a:gd name="T11" fmla="*/ 0 h 6"/>
                <a:gd name="T12" fmla="*/ 3 w 9"/>
                <a:gd name="T13" fmla="*/ 0 h 6"/>
                <a:gd name="T14" fmla="*/ 0 w 9"/>
                <a:gd name="T15" fmla="*/ 1 h 6"/>
                <a:gd name="T16" fmla="*/ 0 w 9"/>
                <a:gd name="T17" fmla="*/ 3 h 6"/>
                <a:gd name="T18" fmla="*/ 2 w 9"/>
                <a:gd name="T19" fmla="*/ 4 h 6"/>
                <a:gd name="T20" fmla="*/ 3 w 9"/>
                <a:gd name="T21" fmla="*/ 6 h 6"/>
                <a:gd name="T22" fmla="*/ 3 w 9"/>
                <a:gd name="T2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6">
                  <a:moveTo>
                    <a:pt x="3" y="6"/>
                  </a:moveTo>
                  <a:lnTo>
                    <a:pt x="6" y="6"/>
                  </a:lnTo>
                  <a:lnTo>
                    <a:pt x="9" y="6"/>
                  </a:lnTo>
                  <a:lnTo>
                    <a:pt x="9" y="4"/>
                  </a:lnTo>
                  <a:lnTo>
                    <a:pt x="9" y="1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2" y="4"/>
                  </a:lnTo>
                  <a:lnTo>
                    <a:pt x="3" y="6"/>
                  </a:lnTo>
                  <a:lnTo>
                    <a:pt x="3" y="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5" name="Freeform 634"/>
            <p:cNvSpPr>
              <a:spLocks/>
            </p:cNvSpPr>
            <p:nvPr/>
          </p:nvSpPr>
          <p:spPr bwMode="auto">
            <a:xfrm>
              <a:off x="8815461" y="4630966"/>
              <a:ext cx="4885" cy="7937"/>
            </a:xfrm>
            <a:custGeom>
              <a:avLst/>
              <a:gdLst>
                <a:gd name="T0" fmla="*/ 0 w 7"/>
                <a:gd name="T1" fmla="*/ 6 h 13"/>
                <a:gd name="T2" fmla="*/ 0 w 7"/>
                <a:gd name="T3" fmla="*/ 9 h 13"/>
                <a:gd name="T4" fmla="*/ 0 w 7"/>
                <a:gd name="T5" fmla="*/ 11 h 13"/>
                <a:gd name="T6" fmla="*/ 1 w 7"/>
                <a:gd name="T7" fmla="*/ 13 h 13"/>
                <a:gd name="T8" fmla="*/ 5 w 7"/>
                <a:gd name="T9" fmla="*/ 13 h 13"/>
                <a:gd name="T10" fmla="*/ 7 w 7"/>
                <a:gd name="T11" fmla="*/ 11 h 13"/>
                <a:gd name="T12" fmla="*/ 7 w 7"/>
                <a:gd name="T13" fmla="*/ 7 h 13"/>
                <a:gd name="T14" fmla="*/ 7 w 7"/>
                <a:gd name="T15" fmla="*/ 4 h 13"/>
                <a:gd name="T16" fmla="*/ 5 w 7"/>
                <a:gd name="T17" fmla="*/ 1 h 13"/>
                <a:gd name="T18" fmla="*/ 4 w 7"/>
                <a:gd name="T19" fmla="*/ 0 h 13"/>
                <a:gd name="T20" fmla="*/ 2 w 7"/>
                <a:gd name="T21" fmla="*/ 0 h 13"/>
                <a:gd name="T22" fmla="*/ 0 w 7"/>
                <a:gd name="T23" fmla="*/ 1 h 13"/>
                <a:gd name="T24" fmla="*/ 0 w 7"/>
                <a:gd name="T25" fmla="*/ 6 h 13"/>
                <a:gd name="T26" fmla="*/ 0 w 7"/>
                <a:gd name="T27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" h="13">
                  <a:moveTo>
                    <a:pt x="0" y="6"/>
                  </a:moveTo>
                  <a:lnTo>
                    <a:pt x="0" y="9"/>
                  </a:lnTo>
                  <a:lnTo>
                    <a:pt x="0" y="11"/>
                  </a:lnTo>
                  <a:lnTo>
                    <a:pt x="1" y="13"/>
                  </a:lnTo>
                  <a:lnTo>
                    <a:pt x="5" y="13"/>
                  </a:lnTo>
                  <a:lnTo>
                    <a:pt x="7" y="11"/>
                  </a:lnTo>
                  <a:lnTo>
                    <a:pt x="7" y="7"/>
                  </a:lnTo>
                  <a:lnTo>
                    <a:pt x="7" y="4"/>
                  </a:lnTo>
                  <a:lnTo>
                    <a:pt x="5" y="1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6" name="Freeform 635"/>
            <p:cNvSpPr>
              <a:spLocks/>
            </p:cNvSpPr>
            <p:nvPr/>
          </p:nvSpPr>
          <p:spPr bwMode="auto">
            <a:xfrm>
              <a:off x="8803250" y="4658747"/>
              <a:ext cx="20759" cy="128322"/>
            </a:xfrm>
            <a:custGeom>
              <a:avLst/>
              <a:gdLst>
                <a:gd name="T0" fmla="*/ 4 w 34"/>
                <a:gd name="T1" fmla="*/ 84 h 193"/>
                <a:gd name="T2" fmla="*/ 4 w 34"/>
                <a:gd name="T3" fmla="*/ 93 h 193"/>
                <a:gd name="T4" fmla="*/ 3 w 34"/>
                <a:gd name="T5" fmla="*/ 105 h 193"/>
                <a:gd name="T6" fmla="*/ 6 w 34"/>
                <a:gd name="T7" fmla="*/ 122 h 193"/>
                <a:gd name="T8" fmla="*/ 4 w 34"/>
                <a:gd name="T9" fmla="*/ 130 h 193"/>
                <a:gd name="T10" fmla="*/ 0 w 34"/>
                <a:gd name="T11" fmla="*/ 139 h 193"/>
                <a:gd name="T12" fmla="*/ 0 w 34"/>
                <a:gd name="T13" fmla="*/ 146 h 193"/>
                <a:gd name="T14" fmla="*/ 1 w 34"/>
                <a:gd name="T15" fmla="*/ 156 h 193"/>
                <a:gd name="T16" fmla="*/ 3 w 34"/>
                <a:gd name="T17" fmla="*/ 165 h 193"/>
                <a:gd name="T18" fmla="*/ 3 w 34"/>
                <a:gd name="T19" fmla="*/ 173 h 193"/>
                <a:gd name="T20" fmla="*/ 7 w 34"/>
                <a:gd name="T21" fmla="*/ 182 h 193"/>
                <a:gd name="T22" fmla="*/ 7 w 34"/>
                <a:gd name="T23" fmla="*/ 190 h 193"/>
                <a:gd name="T24" fmla="*/ 9 w 34"/>
                <a:gd name="T25" fmla="*/ 193 h 193"/>
                <a:gd name="T26" fmla="*/ 11 w 34"/>
                <a:gd name="T27" fmla="*/ 189 h 193"/>
                <a:gd name="T28" fmla="*/ 17 w 34"/>
                <a:gd name="T29" fmla="*/ 183 h 193"/>
                <a:gd name="T30" fmla="*/ 20 w 34"/>
                <a:gd name="T31" fmla="*/ 172 h 193"/>
                <a:gd name="T32" fmla="*/ 24 w 34"/>
                <a:gd name="T33" fmla="*/ 156 h 193"/>
                <a:gd name="T34" fmla="*/ 27 w 34"/>
                <a:gd name="T35" fmla="*/ 133 h 193"/>
                <a:gd name="T36" fmla="*/ 26 w 34"/>
                <a:gd name="T37" fmla="*/ 123 h 193"/>
                <a:gd name="T38" fmla="*/ 27 w 34"/>
                <a:gd name="T39" fmla="*/ 116 h 193"/>
                <a:gd name="T40" fmla="*/ 33 w 34"/>
                <a:gd name="T41" fmla="*/ 110 h 193"/>
                <a:gd name="T42" fmla="*/ 34 w 34"/>
                <a:gd name="T43" fmla="*/ 87 h 193"/>
                <a:gd name="T44" fmla="*/ 30 w 34"/>
                <a:gd name="T45" fmla="*/ 77 h 193"/>
                <a:gd name="T46" fmla="*/ 30 w 34"/>
                <a:gd name="T47" fmla="*/ 66 h 193"/>
                <a:gd name="T48" fmla="*/ 30 w 34"/>
                <a:gd name="T49" fmla="*/ 59 h 193"/>
                <a:gd name="T50" fmla="*/ 32 w 34"/>
                <a:gd name="T51" fmla="*/ 46 h 193"/>
                <a:gd name="T52" fmla="*/ 34 w 34"/>
                <a:gd name="T53" fmla="*/ 29 h 193"/>
                <a:gd name="T54" fmla="*/ 33 w 34"/>
                <a:gd name="T55" fmla="*/ 0 h 193"/>
                <a:gd name="T56" fmla="*/ 29 w 34"/>
                <a:gd name="T57" fmla="*/ 9 h 193"/>
                <a:gd name="T58" fmla="*/ 30 w 34"/>
                <a:gd name="T59" fmla="*/ 21 h 193"/>
                <a:gd name="T60" fmla="*/ 26 w 34"/>
                <a:gd name="T61" fmla="*/ 31 h 193"/>
                <a:gd name="T62" fmla="*/ 17 w 34"/>
                <a:gd name="T63" fmla="*/ 39 h 193"/>
                <a:gd name="T64" fmla="*/ 13 w 34"/>
                <a:gd name="T65" fmla="*/ 50 h 193"/>
                <a:gd name="T66" fmla="*/ 10 w 34"/>
                <a:gd name="T67" fmla="*/ 57 h 193"/>
                <a:gd name="T68" fmla="*/ 11 w 34"/>
                <a:gd name="T69" fmla="*/ 64 h 193"/>
                <a:gd name="T70" fmla="*/ 13 w 34"/>
                <a:gd name="T71" fmla="*/ 70 h 193"/>
                <a:gd name="T72" fmla="*/ 6 w 34"/>
                <a:gd name="T73" fmla="*/ 8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4" h="193">
                  <a:moveTo>
                    <a:pt x="6" y="80"/>
                  </a:moveTo>
                  <a:lnTo>
                    <a:pt x="4" y="84"/>
                  </a:lnTo>
                  <a:lnTo>
                    <a:pt x="4" y="87"/>
                  </a:lnTo>
                  <a:lnTo>
                    <a:pt x="4" y="93"/>
                  </a:lnTo>
                  <a:lnTo>
                    <a:pt x="4" y="100"/>
                  </a:lnTo>
                  <a:lnTo>
                    <a:pt x="3" y="105"/>
                  </a:lnTo>
                  <a:lnTo>
                    <a:pt x="3" y="110"/>
                  </a:lnTo>
                  <a:lnTo>
                    <a:pt x="6" y="122"/>
                  </a:lnTo>
                  <a:lnTo>
                    <a:pt x="6" y="126"/>
                  </a:lnTo>
                  <a:lnTo>
                    <a:pt x="4" y="130"/>
                  </a:lnTo>
                  <a:lnTo>
                    <a:pt x="3" y="136"/>
                  </a:lnTo>
                  <a:lnTo>
                    <a:pt x="0" y="139"/>
                  </a:lnTo>
                  <a:lnTo>
                    <a:pt x="0" y="143"/>
                  </a:lnTo>
                  <a:lnTo>
                    <a:pt x="0" y="146"/>
                  </a:lnTo>
                  <a:lnTo>
                    <a:pt x="1" y="152"/>
                  </a:lnTo>
                  <a:lnTo>
                    <a:pt x="1" y="156"/>
                  </a:lnTo>
                  <a:lnTo>
                    <a:pt x="1" y="160"/>
                  </a:lnTo>
                  <a:lnTo>
                    <a:pt x="3" y="165"/>
                  </a:lnTo>
                  <a:lnTo>
                    <a:pt x="3" y="168"/>
                  </a:lnTo>
                  <a:lnTo>
                    <a:pt x="3" y="173"/>
                  </a:lnTo>
                  <a:lnTo>
                    <a:pt x="4" y="178"/>
                  </a:lnTo>
                  <a:lnTo>
                    <a:pt x="7" y="182"/>
                  </a:lnTo>
                  <a:lnTo>
                    <a:pt x="9" y="185"/>
                  </a:lnTo>
                  <a:lnTo>
                    <a:pt x="7" y="190"/>
                  </a:lnTo>
                  <a:lnTo>
                    <a:pt x="9" y="192"/>
                  </a:lnTo>
                  <a:lnTo>
                    <a:pt x="9" y="193"/>
                  </a:lnTo>
                  <a:lnTo>
                    <a:pt x="10" y="192"/>
                  </a:lnTo>
                  <a:lnTo>
                    <a:pt x="11" y="189"/>
                  </a:lnTo>
                  <a:lnTo>
                    <a:pt x="16" y="186"/>
                  </a:lnTo>
                  <a:lnTo>
                    <a:pt x="17" y="183"/>
                  </a:lnTo>
                  <a:lnTo>
                    <a:pt x="20" y="176"/>
                  </a:lnTo>
                  <a:lnTo>
                    <a:pt x="20" y="172"/>
                  </a:lnTo>
                  <a:lnTo>
                    <a:pt x="23" y="169"/>
                  </a:lnTo>
                  <a:lnTo>
                    <a:pt x="24" y="156"/>
                  </a:lnTo>
                  <a:lnTo>
                    <a:pt x="26" y="146"/>
                  </a:lnTo>
                  <a:lnTo>
                    <a:pt x="27" y="133"/>
                  </a:lnTo>
                  <a:lnTo>
                    <a:pt x="27" y="129"/>
                  </a:lnTo>
                  <a:lnTo>
                    <a:pt x="26" y="123"/>
                  </a:lnTo>
                  <a:lnTo>
                    <a:pt x="26" y="119"/>
                  </a:lnTo>
                  <a:lnTo>
                    <a:pt x="27" y="116"/>
                  </a:lnTo>
                  <a:lnTo>
                    <a:pt x="32" y="115"/>
                  </a:lnTo>
                  <a:lnTo>
                    <a:pt x="33" y="110"/>
                  </a:lnTo>
                  <a:lnTo>
                    <a:pt x="34" y="93"/>
                  </a:lnTo>
                  <a:lnTo>
                    <a:pt x="34" y="87"/>
                  </a:lnTo>
                  <a:lnTo>
                    <a:pt x="33" y="83"/>
                  </a:lnTo>
                  <a:lnTo>
                    <a:pt x="30" y="77"/>
                  </a:lnTo>
                  <a:lnTo>
                    <a:pt x="30" y="72"/>
                  </a:lnTo>
                  <a:lnTo>
                    <a:pt x="30" y="66"/>
                  </a:lnTo>
                  <a:lnTo>
                    <a:pt x="32" y="63"/>
                  </a:lnTo>
                  <a:lnTo>
                    <a:pt x="30" y="59"/>
                  </a:lnTo>
                  <a:lnTo>
                    <a:pt x="30" y="56"/>
                  </a:lnTo>
                  <a:lnTo>
                    <a:pt x="32" y="46"/>
                  </a:lnTo>
                  <a:lnTo>
                    <a:pt x="34" y="34"/>
                  </a:lnTo>
                  <a:lnTo>
                    <a:pt x="34" y="29"/>
                  </a:lnTo>
                  <a:lnTo>
                    <a:pt x="34" y="21"/>
                  </a:lnTo>
                  <a:lnTo>
                    <a:pt x="33" y="0"/>
                  </a:lnTo>
                  <a:lnTo>
                    <a:pt x="30" y="3"/>
                  </a:lnTo>
                  <a:lnTo>
                    <a:pt x="29" y="9"/>
                  </a:lnTo>
                  <a:lnTo>
                    <a:pt x="30" y="16"/>
                  </a:lnTo>
                  <a:lnTo>
                    <a:pt x="30" y="21"/>
                  </a:lnTo>
                  <a:lnTo>
                    <a:pt x="27" y="29"/>
                  </a:lnTo>
                  <a:lnTo>
                    <a:pt x="26" y="31"/>
                  </a:lnTo>
                  <a:lnTo>
                    <a:pt x="23" y="36"/>
                  </a:lnTo>
                  <a:lnTo>
                    <a:pt x="17" y="39"/>
                  </a:lnTo>
                  <a:lnTo>
                    <a:pt x="16" y="44"/>
                  </a:lnTo>
                  <a:lnTo>
                    <a:pt x="13" y="50"/>
                  </a:lnTo>
                  <a:lnTo>
                    <a:pt x="11" y="53"/>
                  </a:lnTo>
                  <a:lnTo>
                    <a:pt x="10" y="57"/>
                  </a:lnTo>
                  <a:lnTo>
                    <a:pt x="10" y="60"/>
                  </a:lnTo>
                  <a:lnTo>
                    <a:pt x="11" y="64"/>
                  </a:lnTo>
                  <a:lnTo>
                    <a:pt x="13" y="67"/>
                  </a:lnTo>
                  <a:lnTo>
                    <a:pt x="13" y="70"/>
                  </a:lnTo>
                  <a:lnTo>
                    <a:pt x="11" y="72"/>
                  </a:lnTo>
                  <a:lnTo>
                    <a:pt x="6" y="80"/>
                  </a:lnTo>
                  <a:lnTo>
                    <a:pt x="6" y="8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7" name="Freeform 636"/>
            <p:cNvSpPr>
              <a:spLocks/>
            </p:cNvSpPr>
            <p:nvPr/>
          </p:nvSpPr>
          <p:spPr bwMode="auto">
            <a:xfrm>
              <a:off x="8703116" y="5025192"/>
              <a:ext cx="30529" cy="124353"/>
            </a:xfrm>
            <a:custGeom>
              <a:avLst/>
              <a:gdLst>
                <a:gd name="T0" fmla="*/ 1 w 50"/>
                <a:gd name="T1" fmla="*/ 46 h 188"/>
                <a:gd name="T2" fmla="*/ 3 w 50"/>
                <a:gd name="T3" fmla="*/ 53 h 188"/>
                <a:gd name="T4" fmla="*/ 5 w 50"/>
                <a:gd name="T5" fmla="*/ 66 h 188"/>
                <a:gd name="T6" fmla="*/ 5 w 50"/>
                <a:gd name="T7" fmla="*/ 75 h 188"/>
                <a:gd name="T8" fmla="*/ 5 w 50"/>
                <a:gd name="T9" fmla="*/ 90 h 188"/>
                <a:gd name="T10" fmla="*/ 8 w 50"/>
                <a:gd name="T11" fmla="*/ 95 h 188"/>
                <a:gd name="T12" fmla="*/ 5 w 50"/>
                <a:gd name="T13" fmla="*/ 109 h 188"/>
                <a:gd name="T14" fmla="*/ 8 w 50"/>
                <a:gd name="T15" fmla="*/ 116 h 188"/>
                <a:gd name="T16" fmla="*/ 11 w 50"/>
                <a:gd name="T17" fmla="*/ 123 h 188"/>
                <a:gd name="T18" fmla="*/ 8 w 50"/>
                <a:gd name="T19" fmla="*/ 129 h 188"/>
                <a:gd name="T20" fmla="*/ 5 w 50"/>
                <a:gd name="T21" fmla="*/ 145 h 188"/>
                <a:gd name="T22" fmla="*/ 3 w 50"/>
                <a:gd name="T23" fmla="*/ 159 h 188"/>
                <a:gd name="T24" fmla="*/ 4 w 50"/>
                <a:gd name="T25" fmla="*/ 168 h 188"/>
                <a:gd name="T26" fmla="*/ 3 w 50"/>
                <a:gd name="T27" fmla="*/ 172 h 188"/>
                <a:gd name="T28" fmla="*/ 4 w 50"/>
                <a:gd name="T29" fmla="*/ 176 h 188"/>
                <a:gd name="T30" fmla="*/ 10 w 50"/>
                <a:gd name="T31" fmla="*/ 181 h 188"/>
                <a:gd name="T32" fmla="*/ 14 w 50"/>
                <a:gd name="T33" fmla="*/ 188 h 188"/>
                <a:gd name="T34" fmla="*/ 18 w 50"/>
                <a:gd name="T35" fmla="*/ 188 h 188"/>
                <a:gd name="T36" fmla="*/ 24 w 50"/>
                <a:gd name="T37" fmla="*/ 182 h 188"/>
                <a:gd name="T38" fmla="*/ 28 w 50"/>
                <a:gd name="T39" fmla="*/ 184 h 188"/>
                <a:gd name="T40" fmla="*/ 30 w 50"/>
                <a:gd name="T41" fmla="*/ 186 h 188"/>
                <a:gd name="T42" fmla="*/ 33 w 50"/>
                <a:gd name="T43" fmla="*/ 186 h 188"/>
                <a:gd name="T44" fmla="*/ 26 w 50"/>
                <a:gd name="T45" fmla="*/ 174 h 188"/>
                <a:gd name="T46" fmla="*/ 17 w 50"/>
                <a:gd name="T47" fmla="*/ 159 h 188"/>
                <a:gd name="T48" fmla="*/ 18 w 50"/>
                <a:gd name="T49" fmla="*/ 149 h 188"/>
                <a:gd name="T50" fmla="*/ 21 w 50"/>
                <a:gd name="T51" fmla="*/ 145 h 188"/>
                <a:gd name="T52" fmla="*/ 24 w 50"/>
                <a:gd name="T53" fmla="*/ 139 h 188"/>
                <a:gd name="T54" fmla="*/ 24 w 50"/>
                <a:gd name="T55" fmla="*/ 128 h 188"/>
                <a:gd name="T56" fmla="*/ 24 w 50"/>
                <a:gd name="T57" fmla="*/ 119 h 188"/>
                <a:gd name="T58" fmla="*/ 26 w 50"/>
                <a:gd name="T59" fmla="*/ 113 h 188"/>
                <a:gd name="T60" fmla="*/ 24 w 50"/>
                <a:gd name="T61" fmla="*/ 108 h 188"/>
                <a:gd name="T62" fmla="*/ 21 w 50"/>
                <a:gd name="T63" fmla="*/ 96 h 188"/>
                <a:gd name="T64" fmla="*/ 24 w 50"/>
                <a:gd name="T65" fmla="*/ 85 h 188"/>
                <a:gd name="T66" fmla="*/ 26 w 50"/>
                <a:gd name="T67" fmla="*/ 76 h 188"/>
                <a:gd name="T68" fmla="*/ 23 w 50"/>
                <a:gd name="T69" fmla="*/ 70 h 188"/>
                <a:gd name="T70" fmla="*/ 37 w 50"/>
                <a:gd name="T71" fmla="*/ 53 h 188"/>
                <a:gd name="T72" fmla="*/ 41 w 50"/>
                <a:gd name="T73" fmla="*/ 42 h 188"/>
                <a:gd name="T74" fmla="*/ 41 w 50"/>
                <a:gd name="T75" fmla="*/ 32 h 188"/>
                <a:gd name="T76" fmla="*/ 43 w 50"/>
                <a:gd name="T77" fmla="*/ 26 h 188"/>
                <a:gd name="T78" fmla="*/ 50 w 50"/>
                <a:gd name="T79" fmla="*/ 22 h 188"/>
                <a:gd name="T80" fmla="*/ 48 w 50"/>
                <a:gd name="T81" fmla="*/ 15 h 188"/>
                <a:gd name="T82" fmla="*/ 50 w 50"/>
                <a:gd name="T83" fmla="*/ 3 h 188"/>
                <a:gd name="T84" fmla="*/ 46 w 50"/>
                <a:gd name="T85" fmla="*/ 0 h 188"/>
                <a:gd name="T86" fmla="*/ 44 w 50"/>
                <a:gd name="T87" fmla="*/ 10 h 188"/>
                <a:gd name="T88" fmla="*/ 40 w 50"/>
                <a:gd name="T89" fmla="*/ 16 h 188"/>
                <a:gd name="T90" fmla="*/ 33 w 50"/>
                <a:gd name="T91" fmla="*/ 22 h 188"/>
                <a:gd name="T92" fmla="*/ 24 w 50"/>
                <a:gd name="T93" fmla="*/ 27 h 188"/>
                <a:gd name="T94" fmla="*/ 8 w 50"/>
                <a:gd name="T95" fmla="*/ 27 h 188"/>
                <a:gd name="T96" fmla="*/ 3 w 50"/>
                <a:gd name="T97" fmla="*/ 30 h 188"/>
                <a:gd name="T98" fmla="*/ 0 w 50"/>
                <a:gd name="T99" fmla="*/ 4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0" h="188">
                  <a:moveTo>
                    <a:pt x="0" y="40"/>
                  </a:moveTo>
                  <a:lnTo>
                    <a:pt x="1" y="46"/>
                  </a:lnTo>
                  <a:lnTo>
                    <a:pt x="3" y="49"/>
                  </a:lnTo>
                  <a:lnTo>
                    <a:pt x="3" y="53"/>
                  </a:lnTo>
                  <a:lnTo>
                    <a:pt x="4" y="60"/>
                  </a:lnTo>
                  <a:lnTo>
                    <a:pt x="5" y="66"/>
                  </a:lnTo>
                  <a:lnTo>
                    <a:pt x="7" y="70"/>
                  </a:lnTo>
                  <a:lnTo>
                    <a:pt x="5" y="75"/>
                  </a:lnTo>
                  <a:lnTo>
                    <a:pt x="5" y="85"/>
                  </a:lnTo>
                  <a:lnTo>
                    <a:pt x="5" y="90"/>
                  </a:lnTo>
                  <a:lnTo>
                    <a:pt x="7" y="95"/>
                  </a:lnTo>
                  <a:lnTo>
                    <a:pt x="8" y="95"/>
                  </a:lnTo>
                  <a:lnTo>
                    <a:pt x="7" y="100"/>
                  </a:lnTo>
                  <a:lnTo>
                    <a:pt x="5" y="109"/>
                  </a:lnTo>
                  <a:lnTo>
                    <a:pt x="7" y="113"/>
                  </a:lnTo>
                  <a:lnTo>
                    <a:pt x="8" y="116"/>
                  </a:lnTo>
                  <a:lnTo>
                    <a:pt x="10" y="121"/>
                  </a:lnTo>
                  <a:lnTo>
                    <a:pt x="11" y="123"/>
                  </a:lnTo>
                  <a:lnTo>
                    <a:pt x="10" y="128"/>
                  </a:lnTo>
                  <a:lnTo>
                    <a:pt x="8" y="129"/>
                  </a:lnTo>
                  <a:lnTo>
                    <a:pt x="5" y="138"/>
                  </a:lnTo>
                  <a:lnTo>
                    <a:pt x="5" y="145"/>
                  </a:lnTo>
                  <a:lnTo>
                    <a:pt x="4" y="152"/>
                  </a:lnTo>
                  <a:lnTo>
                    <a:pt x="3" y="159"/>
                  </a:lnTo>
                  <a:lnTo>
                    <a:pt x="3" y="164"/>
                  </a:lnTo>
                  <a:lnTo>
                    <a:pt x="4" y="168"/>
                  </a:lnTo>
                  <a:lnTo>
                    <a:pt x="4" y="169"/>
                  </a:lnTo>
                  <a:lnTo>
                    <a:pt x="3" y="172"/>
                  </a:lnTo>
                  <a:lnTo>
                    <a:pt x="3" y="175"/>
                  </a:lnTo>
                  <a:lnTo>
                    <a:pt x="4" y="176"/>
                  </a:lnTo>
                  <a:lnTo>
                    <a:pt x="8" y="178"/>
                  </a:lnTo>
                  <a:lnTo>
                    <a:pt x="10" y="181"/>
                  </a:lnTo>
                  <a:lnTo>
                    <a:pt x="11" y="185"/>
                  </a:lnTo>
                  <a:lnTo>
                    <a:pt x="14" y="188"/>
                  </a:lnTo>
                  <a:lnTo>
                    <a:pt x="16" y="188"/>
                  </a:lnTo>
                  <a:lnTo>
                    <a:pt x="18" y="188"/>
                  </a:lnTo>
                  <a:lnTo>
                    <a:pt x="21" y="184"/>
                  </a:lnTo>
                  <a:lnTo>
                    <a:pt x="24" y="182"/>
                  </a:lnTo>
                  <a:lnTo>
                    <a:pt x="26" y="182"/>
                  </a:lnTo>
                  <a:lnTo>
                    <a:pt x="28" y="184"/>
                  </a:lnTo>
                  <a:lnTo>
                    <a:pt x="30" y="185"/>
                  </a:lnTo>
                  <a:lnTo>
                    <a:pt x="30" y="186"/>
                  </a:lnTo>
                  <a:lnTo>
                    <a:pt x="33" y="186"/>
                  </a:lnTo>
                  <a:lnTo>
                    <a:pt x="33" y="186"/>
                  </a:lnTo>
                  <a:lnTo>
                    <a:pt x="33" y="184"/>
                  </a:lnTo>
                  <a:lnTo>
                    <a:pt x="26" y="174"/>
                  </a:lnTo>
                  <a:lnTo>
                    <a:pt x="20" y="164"/>
                  </a:lnTo>
                  <a:lnTo>
                    <a:pt x="17" y="159"/>
                  </a:lnTo>
                  <a:lnTo>
                    <a:pt x="18" y="152"/>
                  </a:lnTo>
                  <a:lnTo>
                    <a:pt x="18" y="149"/>
                  </a:lnTo>
                  <a:lnTo>
                    <a:pt x="17" y="145"/>
                  </a:lnTo>
                  <a:lnTo>
                    <a:pt x="21" y="145"/>
                  </a:lnTo>
                  <a:lnTo>
                    <a:pt x="23" y="143"/>
                  </a:lnTo>
                  <a:lnTo>
                    <a:pt x="24" y="139"/>
                  </a:lnTo>
                  <a:lnTo>
                    <a:pt x="26" y="131"/>
                  </a:lnTo>
                  <a:lnTo>
                    <a:pt x="24" y="128"/>
                  </a:lnTo>
                  <a:lnTo>
                    <a:pt x="24" y="123"/>
                  </a:lnTo>
                  <a:lnTo>
                    <a:pt x="24" y="119"/>
                  </a:lnTo>
                  <a:lnTo>
                    <a:pt x="26" y="116"/>
                  </a:lnTo>
                  <a:lnTo>
                    <a:pt x="26" y="113"/>
                  </a:lnTo>
                  <a:lnTo>
                    <a:pt x="26" y="112"/>
                  </a:lnTo>
                  <a:lnTo>
                    <a:pt x="24" y="108"/>
                  </a:lnTo>
                  <a:lnTo>
                    <a:pt x="23" y="102"/>
                  </a:lnTo>
                  <a:lnTo>
                    <a:pt x="21" y="96"/>
                  </a:lnTo>
                  <a:lnTo>
                    <a:pt x="23" y="92"/>
                  </a:lnTo>
                  <a:lnTo>
                    <a:pt x="24" y="85"/>
                  </a:lnTo>
                  <a:lnTo>
                    <a:pt x="26" y="79"/>
                  </a:lnTo>
                  <a:lnTo>
                    <a:pt x="26" y="76"/>
                  </a:lnTo>
                  <a:lnTo>
                    <a:pt x="24" y="72"/>
                  </a:lnTo>
                  <a:lnTo>
                    <a:pt x="23" y="70"/>
                  </a:lnTo>
                  <a:lnTo>
                    <a:pt x="26" y="65"/>
                  </a:lnTo>
                  <a:lnTo>
                    <a:pt x="37" y="53"/>
                  </a:lnTo>
                  <a:lnTo>
                    <a:pt x="40" y="49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41" y="32"/>
                  </a:lnTo>
                  <a:lnTo>
                    <a:pt x="41" y="29"/>
                  </a:lnTo>
                  <a:lnTo>
                    <a:pt x="43" y="26"/>
                  </a:lnTo>
                  <a:lnTo>
                    <a:pt x="47" y="23"/>
                  </a:lnTo>
                  <a:lnTo>
                    <a:pt x="50" y="22"/>
                  </a:lnTo>
                  <a:lnTo>
                    <a:pt x="50" y="19"/>
                  </a:lnTo>
                  <a:lnTo>
                    <a:pt x="48" y="15"/>
                  </a:lnTo>
                  <a:lnTo>
                    <a:pt x="48" y="9"/>
                  </a:lnTo>
                  <a:lnTo>
                    <a:pt x="50" y="3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3"/>
                  </a:lnTo>
                  <a:lnTo>
                    <a:pt x="44" y="10"/>
                  </a:lnTo>
                  <a:lnTo>
                    <a:pt x="43" y="15"/>
                  </a:lnTo>
                  <a:lnTo>
                    <a:pt x="40" y="16"/>
                  </a:lnTo>
                  <a:lnTo>
                    <a:pt x="37" y="17"/>
                  </a:lnTo>
                  <a:lnTo>
                    <a:pt x="33" y="22"/>
                  </a:lnTo>
                  <a:lnTo>
                    <a:pt x="30" y="26"/>
                  </a:lnTo>
                  <a:lnTo>
                    <a:pt x="24" y="27"/>
                  </a:lnTo>
                  <a:lnTo>
                    <a:pt x="16" y="27"/>
                  </a:lnTo>
                  <a:lnTo>
                    <a:pt x="8" y="27"/>
                  </a:lnTo>
                  <a:lnTo>
                    <a:pt x="4" y="27"/>
                  </a:lnTo>
                  <a:lnTo>
                    <a:pt x="3" y="30"/>
                  </a:lnTo>
                  <a:lnTo>
                    <a:pt x="0" y="35"/>
                  </a:lnTo>
                  <a:lnTo>
                    <a:pt x="0" y="40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8" name="Freeform 637"/>
            <p:cNvSpPr>
              <a:spLocks/>
            </p:cNvSpPr>
            <p:nvPr/>
          </p:nvSpPr>
          <p:spPr bwMode="auto">
            <a:xfrm>
              <a:off x="8775163" y="5060910"/>
              <a:ext cx="17096" cy="27781"/>
            </a:xfrm>
            <a:custGeom>
              <a:avLst/>
              <a:gdLst>
                <a:gd name="T0" fmla="*/ 8 w 27"/>
                <a:gd name="T1" fmla="*/ 13 h 41"/>
                <a:gd name="T2" fmla="*/ 7 w 27"/>
                <a:gd name="T3" fmla="*/ 14 h 41"/>
                <a:gd name="T4" fmla="*/ 5 w 27"/>
                <a:gd name="T5" fmla="*/ 15 h 41"/>
                <a:gd name="T6" fmla="*/ 5 w 27"/>
                <a:gd name="T7" fmla="*/ 17 h 41"/>
                <a:gd name="T8" fmla="*/ 8 w 27"/>
                <a:gd name="T9" fmla="*/ 17 h 41"/>
                <a:gd name="T10" fmla="*/ 8 w 27"/>
                <a:gd name="T11" fmla="*/ 18 h 41"/>
                <a:gd name="T12" fmla="*/ 8 w 27"/>
                <a:gd name="T13" fmla="*/ 20 h 41"/>
                <a:gd name="T14" fmla="*/ 5 w 27"/>
                <a:gd name="T15" fmla="*/ 20 h 41"/>
                <a:gd name="T16" fmla="*/ 1 w 27"/>
                <a:gd name="T17" fmla="*/ 24 h 41"/>
                <a:gd name="T18" fmla="*/ 0 w 27"/>
                <a:gd name="T19" fmla="*/ 28 h 41"/>
                <a:gd name="T20" fmla="*/ 0 w 27"/>
                <a:gd name="T21" fmla="*/ 31 h 41"/>
                <a:gd name="T22" fmla="*/ 1 w 27"/>
                <a:gd name="T23" fmla="*/ 34 h 41"/>
                <a:gd name="T24" fmla="*/ 2 w 27"/>
                <a:gd name="T25" fmla="*/ 35 h 41"/>
                <a:gd name="T26" fmla="*/ 4 w 27"/>
                <a:gd name="T27" fmla="*/ 40 h 41"/>
                <a:gd name="T28" fmla="*/ 5 w 27"/>
                <a:gd name="T29" fmla="*/ 41 h 41"/>
                <a:gd name="T30" fmla="*/ 7 w 27"/>
                <a:gd name="T31" fmla="*/ 40 h 41"/>
                <a:gd name="T32" fmla="*/ 7 w 27"/>
                <a:gd name="T33" fmla="*/ 37 h 41"/>
                <a:gd name="T34" fmla="*/ 7 w 27"/>
                <a:gd name="T35" fmla="*/ 35 h 41"/>
                <a:gd name="T36" fmla="*/ 7 w 27"/>
                <a:gd name="T37" fmla="*/ 35 h 41"/>
                <a:gd name="T38" fmla="*/ 10 w 27"/>
                <a:gd name="T39" fmla="*/ 35 h 41"/>
                <a:gd name="T40" fmla="*/ 13 w 27"/>
                <a:gd name="T41" fmla="*/ 38 h 41"/>
                <a:gd name="T42" fmla="*/ 15 w 27"/>
                <a:gd name="T43" fmla="*/ 38 h 41"/>
                <a:gd name="T44" fmla="*/ 17 w 27"/>
                <a:gd name="T45" fmla="*/ 37 h 41"/>
                <a:gd name="T46" fmla="*/ 17 w 27"/>
                <a:gd name="T47" fmla="*/ 35 h 41"/>
                <a:gd name="T48" fmla="*/ 17 w 27"/>
                <a:gd name="T49" fmla="*/ 33 h 41"/>
                <a:gd name="T50" fmla="*/ 15 w 27"/>
                <a:gd name="T51" fmla="*/ 30 h 41"/>
                <a:gd name="T52" fmla="*/ 15 w 27"/>
                <a:gd name="T53" fmla="*/ 28 h 41"/>
                <a:gd name="T54" fmla="*/ 18 w 27"/>
                <a:gd name="T55" fmla="*/ 25 h 41"/>
                <a:gd name="T56" fmla="*/ 20 w 27"/>
                <a:gd name="T57" fmla="*/ 21 h 41"/>
                <a:gd name="T58" fmla="*/ 20 w 27"/>
                <a:gd name="T59" fmla="*/ 18 h 41"/>
                <a:gd name="T60" fmla="*/ 21 w 27"/>
                <a:gd name="T61" fmla="*/ 17 h 41"/>
                <a:gd name="T62" fmla="*/ 23 w 27"/>
                <a:gd name="T63" fmla="*/ 15 h 41"/>
                <a:gd name="T64" fmla="*/ 23 w 27"/>
                <a:gd name="T65" fmla="*/ 14 h 41"/>
                <a:gd name="T66" fmla="*/ 21 w 27"/>
                <a:gd name="T67" fmla="*/ 14 h 41"/>
                <a:gd name="T68" fmla="*/ 20 w 27"/>
                <a:gd name="T69" fmla="*/ 13 h 41"/>
                <a:gd name="T70" fmla="*/ 20 w 27"/>
                <a:gd name="T71" fmla="*/ 13 h 41"/>
                <a:gd name="T72" fmla="*/ 21 w 27"/>
                <a:gd name="T73" fmla="*/ 11 h 41"/>
                <a:gd name="T74" fmla="*/ 23 w 27"/>
                <a:gd name="T75" fmla="*/ 11 h 41"/>
                <a:gd name="T76" fmla="*/ 23 w 27"/>
                <a:gd name="T77" fmla="*/ 10 h 41"/>
                <a:gd name="T78" fmla="*/ 25 w 27"/>
                <a:gd name="T79" fmla="*/ 7 h 41"/>
                <a:gd name="T80" fmla="*/ 27 w 27"/>
                <a:gd name="T81" fmla="*/ 4 h 41"/>
                <a:gd name="T82" fmla="*/ 27 w 27"/>
                <a:gd name="T83" fmla="*/ 1 h 41"/>
                <a:gd name="T84" fmla="*/ 25 w 27"/>
                <a:gd name="T85" fmla="*/ 0 h 41"/>
                <a:gd name="T86" fmla="*/ 23 w 27"/>
                <a:gd name="T87" fmla="*/ 0 h 41"/>
                <a:gd name="T88" fmla="*/ 20 w 27"/>
                <a:gd name="T89" fmla="*/ 0 h 41"/>
                <a:gd name="T90" fmla="*/ 17 w 27"/>
                <a:gd name="T91" fmla="*/ 3 h 41"/>
                <a:gd name="T92" fmla="*/ 11 w 27"/>
                <a:gd name="T93" fmla="*/ 4 h 41"/>
                <a:gd name="T94" fmla="*/ 11 w 27"/>
                <a:gd name="T95" fmla="*/ 7 h 41"/>
                <a:gd name="T96" fmla="*/ 8 w 27"/>
                <a:gd name="T97" fmla="*/ 13 h 41"/>
                <a:gd name="T98" fmla="*/ 8 w 27"/>
                <a:gd name="T99" fmla="*/ 1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" h="41">
                  <a:moveTo>
                    <a:pt x="8" y="13"/>
                  </a:moveTo>
                  <a:lnTo>
                    <a:pt x="7" y="14"/>
                  </a:lnTo>
                  <a:lnTo>
                    <a:pt x="5" y="15"/>
                  </a:lnTo>
                  <a:lnTo>
                    <a:pt x="5" y="17"/>
                  </a:lnTo>
                  <a:lnTo>
                    <a:pt x="8" y="17"/>
                  </a:lnTo>
                  <a:lnTo>
                    <a:pt x="8" y="18"/>
                  </a:lnTo>
                  <a:lnTo>
                    <a:pt x="8" y="20"/>
                  </a:lnTo>
                  <a:lnTo>
                    <a:pt x="5" y="20"/>
                  </a:lnTo>
                  <a:lnTo>
                    <a:pt x="1" y="24"/>
                  </a:lnTo>
                  <a:lnTo>
                    <a:pt x="0" y="28"/>
                  </a:lnTo>
                  <a:lnTo>
                    <a:pt x="0" y="31"/>
                  </a:lnTo>
                  <a:lnTo>
                    <a:pt x="1" y="34"/>
                  </a:lnTo>
                  <a:lnTo>
                    <a:pt x="2" y="35"/>
                  </a:lnTo>
                  <a:lnTo>
                    <a:pt x="4" y="40"/>
                  </a:lnTo>
                  <a:lnTo>
                    <a:pt x="5" y="41"/>
                  </a:lnTo>
                  <a:lnTo>
                    <a:pt x="7" y="40"/>
                  </a:lnTo>
                  <a:lnTo>
                    <a:pt x="7" y="37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10" y="35"/>
                  </a:lnTo>
                  <a:lnTo>
                    <a:pt x="13" y="38"/>
                  </a:lnTo>
                  <a:lnTo>
                    <a:pt x="15" y="38"/>
                  </a:lnTo>
                  <a:lnTo>
                    <a:pt x="17" y="37"/>
                  </a:lnTo>
                  <a:lnTo>
                    <a:pt x="17" y="35"/>
                  </a:lnTo>
                  <a:lnTo>
                    <a:pt x="17" y="33"/>
                  </a:lnTo>
                  <a:lnTo>
                    <a:pt x="15" y="30"/>
                  </a:lnTo>
                  <a:lnTo>
                    <a:pt x="15" y="28"/>
                  </a:lnTo>
                  <a:lnTo>
                    <a:pt x="18" y="25"/>
                  </a:lnTo>
                  <a:lnTo>
                    <a:pt x="20" y="21"/>
                  </a:lnTo>
                  <a:lnTo>
                    <a:pt x="20" y="18"/>
                  </a:lnTo>
                  <a:lnTo>
                    <a:pt x="21" y="17"/>
                  </a:lnTo>
                  <a:lnTo>
                    <a:pt x="23" y="15"/>
                  </a:lnTo>
                  <a:lnTo>
                    <a:pt x="23" y="14"/>
                  </a:lnTo>
                  <a:lnTo>
                    <a:pt x="21" y="14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1" y="11"/>
                  </a:lnTo>
                  <a:lnTo>
                    <a:pt x="23" y="11"/>
                  </a:lnTo>
                  <a:lnTo>
                    <a:pt x="23" y="10"/>
                  </a:lnTo>
                  <a:lnTo>
                    <a:pt x="25" y="7"/>
                  </a:lnTo>
                  <a:lnTo>
                    <a:pt x="27" y="4"/>
                  </a:lnTo>
                  <a:lnTo>
                    <a:pt x="27" y="1"/>
                  </a:lnTo>
                  <a:lnTo>
                    <a:pt x="25" y="0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17" y="3"/>
                  </a:lnTo>
                  <a:lnTo>
                    <a:pt x="11" y="4"/>
                  </a:lnTo>
                  <a:lnTo>
                    <a:pt x="11" y="7"/>
                  </a:lnTo>
                  <a:lnTo>
                    <a:pt x="8" y="13"/>
                  </a:lnTo>
                  <a:lnTo>
                    <a:pt x="8" y="13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49" name="Freeform 638"/>
            <p:cNvSpPr>
              <a:spLocks/>
            </p:cNvSpPr>
            <p:nvPr/>
          </p:nvSpPr>
          <p:spPr bwMode="auto">
            <a:xfrm>
              <a:off x="8761731" y="5124409"/>
              <a:ext cx="9769" cy="10583"/>
            </a:xfrm>
            <a:custGeom>
              <a:avLst/>
              <a:gdLst>
                <a:gd name="T0" fmla="*/ 7 w 17"/>
                <a:gd name="T1" fmla="*/ 15 h 15"/>
                <a:gd name="T2" fmla="*/ 10 w 17"/>
                <a:gd name="T3" fmla="*/ 15 h 15"/>
                <a:gd name="T4" fmla="*/ 13 w 17"/>
                <a:gd name="T5" fmla="*/ 15 h 15"/>
                <a:gd name="T6" fmla="*/ 15 w 17"/>
                <a:gd name="T7" fmla="*/ 15 h 15"/>
                <a:gd name="T8" fmla="*/ 17 w 17"/>
                <a:gd name="T9" fmla="*/ 14 h 15"/>
                <a:gd name="T10" fmla="*/ 17 w 17"/>
                <a:gd name="T11" fmla="*/ 11 h 15"/>
                <a:gd name="T12" fmla="*/ 17 w 17"/>
                <a:gd name="T13" fmla="*/ 7 h 15"/>
                <a:gd name="T14" fmla="*/ 15 w 17"/>
                <a:gd name="T15" fmla="*/ 4 h 15"/>
                <a:gd name="T16" fmla="*/ 15 w 17"/>
                <a:gd name="T17" fmla="*/ 1 h 15"/>
                <a:gd name="T18" fmla="*/ 15 w 17"/>
                <a:gd name="T19" fmla="*/ 0 h 15"/>
                <a:gd name="T20" fmla="*/ 14 w 17"/>
                <a:gd name="T21" fmla="*/ 0 h 15"/>
                <a:gd name="T22" fmla="*/ 13 w 17"/>
                <a:gd name="T23" fmla="*/ 1 h 15"/>
                <a:gd name="T24" fmla="*/ 11 w 17"/>
                <a:gd name="T25" fmla="*/ 4 h 15"/>
                <a:gd name="T26" fmla="*/ 8 w 17"/>
                <a:gd name="T27" fmla="*/ 4 h 15"/>
                <a:gd name="T28" fmla="*/ 7 w 17"/>
                <a:gd name="T29" fmla="*/ 2 h 15"/>
                <a:gd name="T30" fmla="*/ 5 w 17"/>
                <a:gd name="T31" fmla="*/ 2 h 15"/>
                <a:gd name="T32" fmla="*/ 5 w 17"/>
                <a:gd name="T33" fmla="*/ 4 h 15"/>
                <a:gd name="T34" fmla="*/ 5 w 17"/>
                <a:gd name="T35" fmla="*/ 7 h 15"/>
                <a:gd name="T36" fmla="*/ 4 w 17"/>
                <a:gd name="T37" fmla="*/ 10 h 15"/>
                <a:gd name="T38" fmla="*/ 1 w 17"/>
                <a:gd name="T39" fmla="*/ 11 h 15"/>
                <a:gd name="T40" fmla="*/ 0 w 17"/>
                <a:gd name="T41" fmla="*/ 13 h 15"/>
                <a:gd name="T42" fmla="*/ 1 w 17"/>
                <a:gd name="T43" fmla="*/ 14 h 15"/>
                <a:gd name="T44" fmla="*/ 3 w 17"/>
                <a:gd name="T45" fmla="*/ 15 h 15"/>
                <a:gd name="T46" fmla="*/ 7 w 17"/>
                <a:gd name="T47" fmla="*/ 15 h 15"/>
                <a:gd name="T48" fmla="*/ 7 w 17"/>
                <a:gd name="T4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" h="15">
                  <a:moveTo>
                    <a:pt x="7" y="15"/>
                  </a:moveTo>
                  <a:lnTo>
                    <a:pt x="10" y="15"/>
                  </a:lnTo>
                  <a:lnTo>
                    <a:pt x="13" y="15"/>
                  </a:lnTo>
                  <a:lnTo>
                    <a:pt x="15" y="15"/>
                  </a:lnTo>
                  <a:lnTo>
                    <a:pt x="17" y="14"/>
                  </a:lnTo>
                  <a:lnTo>
                    <a:pt x="17" y="11"/>
                  </a:lnTo>
                  <a:lnTo>
                    <a:pt x="17" y="7"/>
                  </a:lnTo>
                  <a:lnTo>
                    <a:pt x="15" y="4"/>
                  </a:lnTo>
                  <a:lnTo>
                    <a:pt x="15" y="1"/>
                  </a:lnTo>
                  <a:lnTo>
                    <a:pt x="15" y="0"/>
                  </a:lnTo>
                  <a:lnTo>
                    <a:pt x="14" y="0"/>
                  </a:lnTo>
                  <a:lnTo>
                    <a:pt x="13" y="1"/>
                  </a:lnTo>
                  <a:lnTo>
                    <a:pt x="11" y="4"/>
                  </a:lnTo>
                  <a:lnTo>
                    <a:pt x="8" y="4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4"/>
                  </a:lnTo>
                  <a:lnTo>
                    <a:pt x="5" y="7"/>
                  </a:lnTo>
                  <a:lnTo>
                    <a:pt x="4" y="10"/>
                  </a:lnTo>
                  <a:lnTo>
                    <a:pt x="1" y="11"/>
                  </a:lnTo>
                  <a:lnTo>
                    <a:pt x="0" y="13"/>
                  </a:lnTo>
                  <a:lnTo>
                    <a:pt x="1" y="14"/>
                  </a:lnTo>
                  <a:lnTo>
                    <a:pt x="3" y="15"/>
                  </a:lnTo>
                  <a:lnTo>
                    <a:pt x="7" y="15"/>
                  </a:lnTo>
                  <a:lnTo>
                    <a:pt x="7" y="15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0" name="Freeform 639"/>
            <p:cNvSpPr>
              <a:spLocks/>
            </p:cNvSpPr>
            <p:nvPr/>
          </p:nvSpPr>
          <p:spPr bwMode="auto">
            <a:xfrm>
              <a:off x="8712885" y="4056826"/>
              <a:ext cx="17096" cy="15875"/>
            </a:xfrm>
            <a:custGeom>
              <a:avLst/>
              <a:gdLst>
                <a:gd name="T0" fmla="*/ 20 w 28"/>
                <a:gd name="T1" fmla="*/ 1 h 22"/>
                <a:gd name="T2" fmla="*/ 14 w 28"/>
                <a:gd name="T3" fmla="*/ 0 h 22"/>
                <a:gd name="T4" fmla="*/ 11 w 28"/>
                <a:gd name="T5" fmla="*/ 2 h 22"/>
                <a:gd name="T6" fmla="*/ 7 w 28"/>
                <a:gd name="T7" fmla="*/ 4 h 22"/>
                <a:gd name="T8" fmla="*/ 2 w 28"/>
                <a:gd name="T9" fmla="*/ 8 h 22"/>
                <a:gd name="T10" fmla="*/ 0 w 28"/>
                <a:gd name="T11" fmla="*/ 15 h 22"/>
                <a:gd name="T12" fmla="*/ 1 w 28"/>
                <a:gd name="T13" fmla="*/ 18 h 22"/>
                <a:gd name="T14" fmla="*/ 5 w 28"/>
                <a:gd name="T15" fmla="*/ 22 h 22"/>
                <a:gd name="T16" fmla="*/ 17 w 28"/>
                <a:gd name="T17" fmla="*/ 22 h 22"/>
                <a:gd name="T18" fmla="*/ 24 w 28"/>
                <a:gd name="T19" fmla="*/ 17 h 22"/>
                <a:gd name="T20" fmla="*/ 25 w 28"/>
                <a:gd name="T21" fmla="*/ 11 h 22"/>
                <a:gd name="T22" fmla="*/ 28 w 28"/>
                <a:gd name="T23" fmla="*/ 5 h 22"/>
                <a:gd name="T24" fmla="*/ 28 w 28"/>
                <a:gd name="T25" fmla="*/ 4 h 22"/>
                <a:gd name="T26" fmla="*/ 24 w 28"/>
                <a:gd name="T27" fmla="*/ 2 h 22"/>
                <a:gd name="T28" fmla="*/ 20 w 28"/>
                <a:gd name="T29" fmla="*/ 1 h 22"/>
                <a:gd name="T30" fmla="*/ 20 w 28"/>
                <a:gd name="T31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2">
                  <a:moveTo>
                    <a:pt x="20" y="1"/>
                  </a:moveTo>
                  <a:lnTo>
                    <a:pt x="14" y="0"/>
                  </a:lnTo>
                  <a:lnTo>
                    <a:pt x="11" y="2"/>
                  </a:lnTo>
                  <a:lnTo>
                    <a:pt x="7" y="4"/>
                  </a:lnTo>
                  <a:lnTo>
                    <a:pt x="2" y="8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5" y="22"/>
                  </a:lnTo>
                  <a:lnTo>
                    <a:pt x="17" y="22"/>
                  </a:lnTo>
                  <a:lnTo>
                    <a:pt x="24" y="17"/>
                  </a:lnTo>
                  <a:lnTo>
                    <a:pt x="25" y="11"/>
                  </a:lnTo>
                  <a:lnTo>
                    <a:pt x="28" y="5"/>
                  </a:lnTo>
                  <a:lnTo>
                    <a:pt x="28" y="4"/>
                  </a:lnTo>
                  <a:lnTo>
                    <a:pt x="24" y="2"/>
                  </a:lnTo>
                  <a:lnTo>
                    <a:pt x="20" y="1"/>
                  </a:lnTo>
                  <a:lnTo>
                    <a:pt x="20" y="1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1" name="Freeform 640"/>
            <p:cNvSpPr>
              <a:spLocks/>
            </p:cNvSpPr>
            <p:nvPr/>
          </p:nvSpPr>
          <p:spPr bwMode="auto">
            <a:xfrm>
              <a:off x="8765394" y="5107212"/>
              <a:ext cx="6106" cy="6615"/>
            </a:xfrm>
            <a:custGeom>
              <a:avLst/>
              <a:gdLst>
                <a:gd name="T0" fmla="*/ 7 w 10"/>
                <a:gd name="T1" fmla="*/ 0 h 8"/>
                <a:gd name="T2" fmla="*/ 6 w 10"/>
                <a:gd name="T3" fmla="*/ 0 h 8"/>
                <a:gd name="T4" fmla="*/ 4 w 10"/>
                <a:gd name="T5" fmla="*/ 1 h 8"/>
                <a:gd name="T6" fmla="*/ 1 w 10"/>
                <a:gd name="T7" fmla="*/ 3 h 8"/>
                <a:gd name="T8" fmla="*/ 0 w 10"/>
                <a:gd name="T9" fmla="*/ 6 h 8"/>
                <a:gd name="T10" fmla="*/ 0 w 10"/>
                <a:gd name="T11" fmla="*/ 7 h 8"/>
                <a:gd name="T12" fmla="*/ 4 w 10"/>
                <a:gd name="T13" fmla="*/ 8 h 8"/>
                <a:gd name="T14" fmla="*/ 6 w 10"/>
                <a:gd name="T15" fmla="*/ 6 h 8"/>
                <a:gd name="T16" fmla="*/ 8 w 10"/>
                <a:gd name="T17" fmla="*/ 4 h 8"/>
                <a:gd name="T18" fmla="*/ 10 w 10"/>
                <a:gd name="T19" fmla="*/ 3 h 8"/>
                <a:gd name="T20" fmla="*/ 10 w 10"/>
                <a:gd name="T21" fmla="*/ 0 h 8"/>
                <a:gd name="T22" fmla="*/ 8 w 10"/>
                <a:gd name="T23" fmla="*/ 0 h 8"/>
                <a:gd name="T24" fmla="*/ 7 w 10"/>
                <a:gd name="T25" fmla="*/ 0 h 8"/>
                <a:gd name="T26" fmla="*/ 7 w 10"/>
                <a:gd name="T2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8">
                  <a:moveTo>
                    <a:pt x="7" y="0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7"/>
                  </a:lnTo>
                  <a:lnTo>
                    <a:pt x="4" y="8"/>
                  </a:lnTo>
                  <a:lnTo>
                    <a:pt x="6" y="6"/>
                  </a:lnTo>
                  <a:lnTo>
                    <a:pt x="8" y="4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2" name="Freeform 641"/>
            <p:cNvSpPr>
              <a:spLocks/>
            </p:cNvSpPr>
            <p:nvPr/>
          </p:nvSpPr>
          <p:spPr bwMode="auto">
            <a:xfrm>
              <a:off x="8765394" y="5137639"/>
              <a:ext cx="6106" cy="9260"/>
            </a:xfrm>
            <a:custGeom>
              <a:avLst/>
              <a:gdLst>
                <a:gd name="T0" fmla="*/ 8 w 8"/>
                <a:gd name="T1" fmla="*/ 2 h 15"/>
                <a:gd name="T2" fmla="*/ 6 w 8"/>
                <a:gd name="T3" fmla="*/ 0 h 15"/>
                <a:gd name="T4" fmla="*/ 4 w 8"/>
                <a:gd name="T5" fmla="*/ 3 h 15"/>
                <a:gd name="T6" fmla="*/ 4 w 8"/>
                <a:gd name="T7" fmla="*/ 6 h 15"/>
                <a:gd name="T8" fmla="*/ 3 w 8"/>
                <a:gd name="T9" fmla="*/ 7 h 15"/>
                <a:gd name="T10" fmla="*/ 0 w 8"/>
                <a:gd name="T11" fmla="*/ 10 h 15"/>
                <a:gd name="T12" fmla="*/ 1 w 8"/>
                <a:gd name="T13" fmla="*/ 13 h 15"/>
                <a:gd name="T14" fmla="*/ 1 w 8"/>
                <a:gd name="T15" fmla="*/ 13 h 15"/>
                <a:gd name="T16" fmla="*/ 3 w 8"/>
                <a:gd name="T17" fmla="*/ 15 h 15"/>
                <a:gd name="T18" fmla="*/ 3 w 8"/>
                <a:gd name="T19" fmla="*/ 10 h 15"/>
                <a:gd name="T20" fmla="*/ 4 w 8"/>
                <a:gd name="T21" fmla="*/ 7 h 15"/>
                <a:gd name="T22" fmla="*/ 7 w 8"/>
                <a:gd name="T23" fmla="*/ 6 h 15"/>
                <a:gd name="T24" fmla="*/ 7 w 8"/>
                <a:gd name="T25" fmla="*/ 5 h 15"/>
                <a:gd name="T26" fmla="*/ 7 w 8"/>
                <a:gd name="T27" fmla="*/ 3 h 15"/>
                <a:gd name="T28" fmla="*/ 8 w 8"/>
                <a:gd name="T29" fmla="*/ 2 h 15"/>
                <a:gd name="T30" fmla="*/ 8 w 8"/>
                <a:gd name="T31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15">
                  <a:moveTo>
                    <a:pt x="8" y="2"/>
                  </a:moveTo>
                  <a:lnTo>
                    <a:pt x="6" y="0"/>
                  </a:lnTo>
                  <a:lnTo>
                    <a:pt x="4" y="3"/>
                  </a:lnTo>
                  <a:lnTo>
                    <a:pt x="4" y="6"/>
                  </a:lnTo>
                  <a:lnTo>
                    <a:pt x="3" y="7"/>
                  </a:lnTo>
                  <a:lnTo>
                    <a:pt x="0" y="10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3" y="15"/>
                  </a:lnTo>
                  <a:lnTo>
                    <a:pt x="3" y="10"/>
                  </a:lnTo>
                  <a:lnTo>
                    <a:pt x="4" y="7"/>
                  </a:lnTo>
                  <a:lnTo>
                    <a:pt x="7" y="6"/>
                  </a:lnTo>
                  <a:lnTo>
                    <a:pt x="7" y="5"/>
                  </a:lnTo>
                  <a:lnTo>
                    <a:pt x="7" y="3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3" name="Freeform 642"/>
            <p:cNvSpPr>
              <a:spLocks/>
            </p:cNvSpPr>
            <p:nvPr/>
          </p:nvSpPr>
          <p:spPr bwMode="auto">
            <a:xfrm>
              <a:off x="8754404" y="5144253"/>
              <a:ext cx="8548" cy="3969"/>
            </a:xfrm>
            <a:custGeom>
              <a:avLst/>
              <a:gdLst>
                <a:gd name="T0" fmla="*/ 9 w 13"/>
                <a:gd name="T1" fmla="*/ 0 h 7"/>
                <a:gd name="T2" fmla="*/ 5 w 13"/>
                <a:gd name="T3" fmla="*/ 2 h 7"/>
                <a:gd name="T4" fmla="*/ 0 w 13"/>
                <a:gd name="T5" fmla="*/ 3 h 7"/>
                <a:gd name="T6" fmla="*/ 0 w 13"/>
                <a:gd name="T7" fmla="*/ 5 h 7"/>
                <a:gd name="T8" fmla="*/ 3 w 13"/>
                <a:gd name="T9" fmla="*/ 6 h 7"/>
                <a:gd name="T10" fmla="*/ 6 w 13"/>
                <a:gd name="T11" fmla="*/ 7 h 7"/>
                <a:gd name="T12" fmla="*/ 9 w 13"/>
                <a:gd name="T13" fmla="*/ 7 h 7"/>
                <a:gd name="T14" fmla="*/ 9 w 13"/>
                <a:gd name="T15" fmla="*/ 6 h 7"/>
                <a:gd name="T16" fmla="*/ 13 w 13"/>
                <a:gd name="T17" fmla="*/ 5 h 7"/>
                <a:gd name="T18" fmla="*/ 13 w 13"/>
                <a:gd name="T19" fmla="*/ 5 h 7"/>
                <a:gd name="T20" fmla="*/ 12 w 13"/>
                <a:gd name="T21" fmla="*/ 3 h 7"/>
                <a:gd name="T22" fmla="*/ 12 w 13"/>
                <a:gd name="T23" fmla="*/ 0 h 7"/>
                <a:gd name="T24" fmla="*/ 9 w 13"/>
                <a:gd name="T25" fmla="*/ 0 h 7"/>
                <a:gd name="T26" fmla="*/ 9 w 13"/>
                <a:gd name="T2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7">
                  <a:moveTo>
                    <a:pt x="9" y="0"/>
                  </a:moveTo>
                  <a:lnTo>
                    <a:pt x="5" y="2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6" y="7"/>
                  </a:lnTo>
                  <a:lnTo>
                    <a:pt x="9" y="7"/>
                  </a:lnTo>
                  <a:lnTo>
                    <a:pt x="9" y="6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4" name="Freeform 643"/>
            <p:cNvSpPr>
              <a:spLocks/>
            </p:cNvSpPr>
            <p:nvPr/>
          </p:nvSpPr>
          <p:spPr bwMode="auto">
            <a:xfrm>
              <a:off x="8793480" y="4215574"/>
              <a:ext cx="6106" cy="9260"/>
            </a:xfrm>
            <a:custGeom>
              <a:avLst/>
              <a:gdLst>
                <a:gd name="T0" fmla="*/ 5 w 10"/>
                <a:gd name="T1" fmla="*/ 14 h 14"/>
                <a:gd name="T2" fmla="*/ 3 w 10"/>
                <a:gd name="T3" fmla="*/ 14 h 14"/>
                <a:gd name="T4" fmla="*/ 1 w 10"/>
                <a:gd name="T5" fmla="*/ 13 h 14"/>
                <a:gd name="T6" fmla="*/ 0 w 10"/>
                <a:gd name="T7" fmla="*/ 10 h 14"/>
                <a:gd name="T8" fmla="*/ 0 w 10"/>
                <a:gd name="T9" fmla="*/ 4 h 14"/>
                <a:gd name="T10" fmla="*/ 0 w 10"/>
                <a:gd name="T11" fmla="*/ 1 h 14"/>
                <a:gd name="T12" fmla="*/ 3 w 10"/>
                <a:gd name="T13" fmla="*/ 0 h 14"/>
                <a:gd name="T14" fmla="*/ 5 w 10"/>
                <a:gd name="T15" fmla="*/ 0 h 14"/>
                <a:gd name="T16" fmla="*/ 7 w 10"/>
                <a:gd name="T17" fmla="*/ 0 h 14"/>
                <a:gd name="T18" fmla="*/ 10 w 10"/>
                <a:gd name="T19" fmla="*/ 3 h 14"/>
                <a:gd name="T20" fmla="*/ 10 w 10"/>
                <a:gd name="T21" fmla="*/ 4 h 14"/>
                <a:gd name="T22" fmla="*/ 8 w 10"/>
                <a:gd name="T23" fmla="*/ 8 h 14"/>
                <a:gd name="T24" fmla="*/ 7 w 10"/>
                <a:gd name="T25" fmla="*/ 11 h 14"/>
                <a:gd name="T26" fmla="*/ 5 w 10"/>
                <a:gd name="T2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14">
                  <a:moveTo>
                    <a:pt x="5" y="14"/>
                  </a:moveTo>
                  <a:lnTo>
                    <a:pt x="3" y="14"/>
                  </a:lnTo>
                  <a:lnTo>
                    <a:pt x="1" y="13"/>
                  </a:lnTo>
                  <a:lnTo>
                    <a:pt x="0" y="10"/>
                  </a:lnTo>
                  <a:lnTo>
                    <a:pt x="0" y="4"/>
                  </a:lnTo>
                  <a:lnTo>
                    <a:pt x="0" y="1"/>
                  </a:lnTo>
                  <a:lnTo>
                    <a:pt x="3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10" y="3"/>
                  </a:lnTo>
                  <a:lnTo>
                    <a:pt x="10" y="4"/>
                  </a:lnTo>
                  <a:lnTo>
                    <a:pt x="8" y="8"/>
                  </a:lnTo>
                  <a:lnTo>
                    <a:pt x="7" y="11"/>
                  </a:lnTo>
                  <a:lnTo>
                    <a:pt x="5" y="14"/>
                  </a:lnTo>
                  <a:close/>
                </a:path>
              </a:pathLst>
            </a:custGeom>
            <a:solidFill>
              <a:srgbClr val="939598"/>
            </a:solidFill>
            <a:ln w="4763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6" name="Freeform 645"/>
            <p:cNvSpPr>
              <a:spLocks/>
            </p:cNvSpPr>
            <p:nvPr/>
          </p:nvSpPr>
          <p:spPr bwMode="auto">
            <a:xfrm>
              <a:off x="6380503" y="3036867"/>
              <a:ext cx="583706" cy="996147"/>
            </a:xfrm>
            <a:custGeom>
              <a:avLst/>
              <a:gdLst>
                <a:gd name="T0" fmla="*/ 8 w 955"/>
                <a:gd name="T1" fmla="*/ 100 h 1507"/>
                <a:gd name="T2" fmla="*/ 114 w 955"/>
                <a:gd name="T3" fmla="*/ 285 h 1507"/>
                <a:gd name="T4" fmla="*/ 107 w 955"/>
                <a:gd name="T5" fmla="*/ 920 h 1507"/>
                <a:gd name="T6" fmla="*/ 508 w 955"/>
                <a:gd name="T7" fmla="*/ 1472 h 1507"/>
                <a:gd name="T8" fmla="*/ 955 w 955"/>
                <a:gd name="T9" fmla="*/ 1507 h 1507"/>
                <a:gd name="T10" fmla="*/ 869 w 955"/>
                <a:gd name="T11" fmla="*/ 1179 h 1507"/>
                <a:gd name="T12" fmla="*/ 431 w 955"/>
                <a:gd name="T13" fmla="*/ 872 h 1507"/>
                <a:gd name="T14" fmla="*/ 282 w 955"/>
                <a:gd name="T15" fmla="*/ 372 h 1507"/>
                <a:gd name="T16" fmla="*/ 81 w 955"/>
                <a:gd name="T17" fmla="*/ 66 h 1507"/>
                <a:gd name="T18" fmla="*/ 34 w 955"/>
                <a:gd name="T19" fmla="*/ 0 h 1507"/>
                <a:gd name="T20" fmla="*/ 0 w 955"/>
                <a:gd name="T21" fmla="*/ 100 h 1507"/>
                <a:gd name="T22" fmla="*/ 8 w 955"/>
                <a:gd name="T23" fmla="*/ 100 h 1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55" h="1507">
                  <a:moveTo>
                    <a:pt x="8" y="100"/>
                  </a:moveTo>
                  <a:lnTo>
                    <a:pt x="114" y="285"/>
                  </a:lnTo>
                  <a:lnTo>
                    <a:pt x="107" y="920"/>
                  </a:lnTo>
                  <a:lnTo>
                    <a:pt x="508" y="1472"/>
                  </a:lnTo>
                  <a:lnTo>
                    <a:pt x="955" y="1507"/>
                  </a:lnTo>
                  <a:lnTo>
                    <a:pt x="869" y="1179"/>
                  </a:lnTo>
                  <a:lnTo>
                    <a:pt x="431" y="872"/>
                  </a:lnTo>
                  <a:lnTo>
                    <a:pt x="282" y="372"/>
                  </a:lnTo>
                  <a:lnTo>
                    <a:pt x="81" y="66"/>
                  </a:lnTo>
                  <a:lnTo>
                    <a:pt x="34" y="0"/>
                  </a:lnTo>
                  <a:lnTo>
                    <a:pt x="0" y="100"/>
                  </a:lnTo>
                  <a:lnTo>
                    <a:pt x="8" y="100"/>
                  </a:lnTo>
                  <a:close/>
                </a:path>
              </a:pathLst>
            </a:custGeom>
            <a:solidFill>
              <a:srgbClr val="9395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57" name="Freeform 646"/>
            <p:cNvSpPr>
              <a:spLocks/>
            </p:cNvSpPr>
            <p:nvPr/>
          </p:nvSpPr>
          <p:spPr bwMode="auto">
            <a:xfrm>
              <a:off x="6380503" y="3036867"/>
              <a:ext cx="583706" cy="996147"/>
            </a:xfrm>
            <a:custGeom>
              <a:avLst/>
              <a:gdLst>
                <a:gd name="T0" fmla="*/ 8 w 955"/>
                <a:gd name="T1" fmla="*/ 100 h 1507"/>
                <a:gd name="T2" fmla="*/ 114 w 955"/>
                <a:gd name="T3" fmla="*/ 285 h 1507"/>
                <a:gd name="T4" fmla="*/ 107 w 955"/>
                <a:gd name="T5" fmla="*/ 920 h 1507"/>
                <a:gd name="T6" fmla="*/ 508 w 955"/>
                <a:gd name="T7" fmla="*/ 1472 h 1507"/>
                <a:gd name="T8" fmla="*/ 955 w 955"/>
                <a:gd name="T9" fmla="*/ 1507 h 1507"/>
                <a:gd name="T10" fmla="*/ 869 w 955"/>
                <a:gd name="T11" fmla="*/ 1179 h 1507"/>
                <a:gd name="T12" fmla="*/ 431 w 955"/>
                <a:gd name="T13" fmla="*/ 872 h 1507"/>
                <a:gd name="T14" fmla="*/ 282 w 955"/>
                <a:gd name="T15" fmla="*/ 372 h 1507"/>
                <a:gd name="T16" fmla="*/ 81 w 955"/>
                <a:gd name="T17" fmla="*/ 66 h 1507"/>
                <a:gd name="T18" fmla="*/ 34 w 955"/>
                <a:gd name="T19" fmla="*/ 0 h 1507"/>
                <a:gd name="T20" fmla="*/ 0 w 955"/>
                <a:gd name="T21" fmla="*/ 100 h 1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55" h="1507">
                  <a:moveTo>
                    <a:pt x="8" y="100"/>
                  </a:moveTo>
                  <a:lnTo>
                    <a:pt x="114" y="285"/>
                  </a:lnTo>
                  <a:lnTo>
                    <a:pt x="107" y="920"/>
                  </a:lnTo>
                  <a:lnTo>
                    <a:pt x="508" y="1472"/>
                  </a:lnTo>
                  <a:lnTo>
                    <a:pt x="955" y="1507"/>
                  </a:lnTo>
                  <a:lnTo>
                    <a:pt x="869" y="1179"/>
                  </a:lnTo>
                  <a:lnTo>
                    <a:pt x="431" y="872"/>
                  </a:lnTo>
                  <a:lnTo>
                    <a:pt x="282" y="372"/>
                  </a:lnTo>
                  <a:lnTo>
                    <a:pt x="81" y="66"/>
                  </a:lnTo>
                  <a:lnTo>
                    <a:pt x="34" y="0"/>
                  </a:lnTo>
                  <a:lnTo>
                    <a:pt x="0" y="10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60" name="Freeform 1133"/>
            <p:cNvSpPr>
              <a:spLocks/>
            </p:cNvSpPr>
            <p:nvPr/>
          </p:nvSpPr>
          <p:spPr bwMode="auto">
            <a:xfrm rot="466581">
              <a:off x="2242429" y="4419328"/>
              <a:ext cx="2570728" cy="1677899"/>
            </a:xfrm>
            <a:custGeom>
              <a:avLst/>
              <a:gdLst>
                <a:gd name="T0" fmla="*/ 409 w 1504"/>
                <a:gd name="T1" fmla="*/ 593 h 941"/>
                <a:gd name="T2" fmla="*/ 514 w 1504"/>
                <a:gd name="T3" fmla="*/ 680 h 941"/>
                <a:gd name="T4" fmla="*/ 575 w 1504"/>
                <a:gd name="T5" fmla="*/ 742 h 941"/>
                <a:gd name="T6" fmla="*/ 557 w 1504"/>
                <a:gd name="T7" fmla="*/ 783 h 941"/>
                <a:gd name="T8" fmla="*/ 568 w 1504"/>
                <a:gd name="T9" fmla="*/ 834 h 941"/>
                <a:gd name="T10" fmla="*/ 626 w 1504"/>
                <a:gd name="T11" fmla="*/ 888 h 941"/>
                <a:gd name="T12" fmla="*/ 716 w 1504"/>
                <a:gd name="T13" fmla="*/ 867 h 941"/>
                <a:gd name="T14" fmla="*/ 811 w 1504"/>
                <a:gd name="T15" fmla="*/ 831 h 941"/>
                <a:gd name="T16" fmla="*/ 900 w 1504"/>
                <a:gd name="T17" fmla="*/ 836 h 941"/>
                <a:gd name="T18" fmla="*/ 972 w 1504"/>
                <a:gd name="T19" fmla="*/ 870 h 941"/>
                <a:gd name="T20" fmla="*/ 1054 w 1504"/>
                <a:gd name="T21" fmla="*/ 880 h 941"/>
                <a:gd name="T22" fmla="*/ 1143 w 1504"/>
                <a:gd name="T23" fmla="*/ 918 h 941"/>
                <a:gd name="T24" fmla="*/ 1192 w 1504"/>
                <a:gd name="T25" fmla="*/ 908 h 941"/>
                <a:gd name="T26" fmla="*/ 1210 w 1504"/>
                <a:gd name="T27" fmla="*/ 801 h 941"/>
                <a:gd name="T28" fmla="*/ 1251 w 1504"/>
                <a:gd name="T29" fmla="*/ 775 h 941"/>
                <a:gd name="T30" fmla="*/ 1302 w 1504"/>
                <a:gd name="T31" fmla="*/ 765 h 941"/>
                <a:gd name="T32" fmla="*/ 1396 w 1504"/>
                <a:gd name="T33" fmla="*/ 688 h 941"/>
                <a:gd name="T34" fmla="*/ 1437 w 1504"/>
                <a:gd name="T35" fmla="*/ 616 h 941"/>
                <a:gd name="T36" fmla="*/ 1494 w 1504"/>
                <a:gd name="T37" fmla="*/ 565 h 941"/>
                <a:gd name="T38" fmla="*/ 1481 w 1504"/>
                <a:gd name="T39" fmla="*/ 540 h 941"/>
                <a:gd name="T40" fmla="*/ 1427 w 1504"/>
                <a:gd name="T41" fmla="*/ 522 h 941"/>
                <a:gd name="T42" fmla="*/ 1394 w 1504"/>
                <a:gd name="T43" fmla="*/ 468 h 941"/>
                <a:gd name="T44" fmla="*/ 1307 w 1504"/>
                <a:gd name="T45" fmla="*/ 455 h 941"/>
                <a:gd name="T46" fmla="*/ 1268 w 1504"/>
                <a:gd name="T47" fmla="*/ 417 h 941"/>
                <a:gd name="T48" fmla="*/ 1187 w 1504"/>
                <a:gd name="T49" fmla="*/ 266 h 941"/>
                <a:gd name="T50" fmla="*/ 1151 w 1504"/>
                <a:gd name="T51" fmla="*/ 212 h 941"/>
                <a:gd name="T52" fmla="*/ 1074 w 1504"/>
                <a:gd name="T53" fmla="*/ 238 h 941"/>
                <a:gd name="T54" fmla="*/ 1043 w 1504"/>
                <a:gd name="T55" fmla="*/ 225 h 941"/>
                <a:gd name="T56" fmla="*/ 1031 w 1504"/>
                <a:gd name="T57" fmla="*/ 197 h 941"/>
                <a:gd name="T58" fmla="*/ 997 w 1504"/>
                <a:gd name="T59" fmla="*/ 182 h 941"/>
                <a:gd name="T60" fmla="*/ 992 w 1504"/>
                <a:gd name="T61" fmla="*/ 146 h 941"/>
                <a:gd name="T62" fmla="*/ 949 w 1504"/>
                <a:gd name="T63" fmla="*/ 95 h 941"/>
                <a:gd name="T64" fmla="*/ 890 w 1504"/>
                <a:gd name="T65" fmla="*/ 100 h 941"/>
                <a:gd name="T66" fmla="*/ 803 w 1504"/>
                <a:gd name="T67" fmla="*/ 92 h 941"/>
                <a:gd name="T68" fmla="*/ 736 w 1504"/>
                <a:gd name="T69" fmla="*/ 87 h 941"/>
                <a:gd name="T70" fmla="*/ 639 w 1504"/>
                <a:gd name="T71" fmla="*/ 82 h 941"/>
                <a:gd name="T72" fmla="*/ 660 w 1504"/>
                <a:gd name="T73" fmla="*/ 125 h 941"/>
                <a:gd name="T74" fmla="*/ 606 w 1504"/>
                <a:gd name="T75" fmla="*/ 130 h 941"/>
                <a:gd name="T76" fmla="*/ 570 w 1504"/>
                <a:gd name="T77" fmla="*/ 161 h 941"/>
                <a:gd name="T78" fmla="*/ 583 w 1504"/>
                <a:gd name="T79" fmla="*/ 192 h 941"/>
                <a:gd name="T80" fmla="*/ 560 w 1504"/>
                <a:gd name="T81" fmla="*/ 240 h 941"/>
                <a:gd name="T82" fmla="*/ 514 w 1504"/>
                <a:gd name="T83" fmla="*/ 225 h 941"/>
                <a:gd name="T84" fmla="*/ 434 w 1504"/>
                <a:gd name="T85" fmla="*/ 151 h 941"/>
                <a:gd name="T86" fmla="*/ 365 w 1504"/>
                <a:gd name="T87" fmla="*/ 135 h 941"/>
                <a:gd name="T88" fmla="*/ 335 w 1504"/>
                <a:gd name="T89" fmla="*/ 66 h 941"/>
                <a:gd name="T90" fmla="*/ 299 w 1504"/>
                <a:gd name="T91" fmla="*/ 31 h 941"/>
                <a:gd name="T92" fmla="*/ 227 w 1504"/>
                <a:gd name="T93" fmla="*/ 13 h 941"/>
                <a:gd name="T94" fmla="*/ 156 w 1504"/>
                <a:gd name="T95" fmla="*/ 31 h 941"/>
                <a:gd name="T96" fmla="*/ 115 w 1504"/>
                <a:gd name="T97" fmla="*/ 0 h 941"/>
                <a:gd name="T98" fmla="*/ 58 w 1504"/>
                <a:gd name="T99" fmla="*/ 41 h 941"/>
                <a:gd name="T100" fmla="*/ 28 w 1504"/>
                <a:gd name="T101" fmla="*/ 100 h 941"/>
                <a:gd name="T102" fmla="*/ 48 w 1504"/>
                <a:gd name="T103" fmla="*/ 151 h 941"/>
                <a:gd name="T104" fmla="*/ 33 w 1504"/>
                <a:gd name="T105" fmla="*/ 233 h 941"/>
                <a:gd name="T106" fmla="*/ 140 w 1504"/>
                <a:gd name="T107" fmla="*/ 256 h 941"/>
                <a:gd name="T108" fmla="*/ 174 w 1504"/>
                <a:gd name="T109" fmla="*/ 307 h 941"/>
                <a:gd name="T110" fmla="*/ 104 w 1504"/>
                <a:gd name="T111" fmla="*/ 345 h 941"/>
                <a:gd name="T112" fmla="*/ 56 w 1504"/>
                <a:gd name="T113" fmla="*/ 366 h 941"/>
                <a:gd name="T114" fmla="*/ 5 w 1504"/>
                <a:gd name="T115" fmla="*/ 363 h 941"/>
                <a:gd name="T116" fmla="*/ 12 w 1504"/>
                <a:gd name="T117" fmla="*/ 448 h 941"/>
                <a:gd name="T118" fmla="*/ 25 w 1504"/>
                <a:gd name="T119" fmla="*/ 504 h 941"/>
                <a:gd name="T120" fmla="*/ 97 w 1504"/>
                <a:gd name="T121" fmla="*/ 570 h 941"/>
                <a:gd name="T122" fmla="*/ 345 w 1504"/>
                <a:gd name="T123" fmla="*/ 465 h 94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504"/>
                <a:gd name="T187" fmla="*/ 0 h 941"/>
                <a:gd name="T188" fmla="*/ 1504 w 1504"/>
                <a:gd name="T189" fmla="*/ 941 h 94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504" h="941">
                  <a:moveTo>
                    <a:pt x="345" y="465"/>
                  </a:moveTo>
                  <a:lnTo>
                    <a:pt x="345" y="465"/>
                  </a:lnTo>
                  <a:lnTo>
                    <a:pt x="345" y="471"/>
                  </a:lnTo>
                  <a:lnTo>
                    <a:pt x="347" y="476"/>
                  </a:lnTo>
                  <a:lnTo>
                    <a:pt x="355" y="486"/>
                  </a:lnTo>
                  <a:lnTo>
                    <a:pt x="365" y="494"/>
                  </a:lnTo>
                  <a:lnTo>
                    <a:pt x="368" y="501"/>
                  </a:lnTo>
                  <a:lnTo>
                    <a:pt x="381" y="529"/>
                  </a:lnTo>
                  <a:lnTo>
                    <a:pt x="396" y="565"/>
                  </a:lnTo>
                  <a:lnTo>
                    <a:pt x="409" y="593"/>
                  </a:lnTo>
                  <a:lnTo>
                    <a:pt x="419" y="622"/>
                  </a:lnTo>
                  <a:lnTo>
                    <a:pt x="422" y="637"/>
                  </a:lnTo>
                  <a:lnTo>
                    <a:pt x="424" y="645"/>
                  </a:lnTo>
                  <a:lnTo>
                    <a:pt x="429" y="647"/>
                  </a:lnTo>
                  <a:lnTo>
                    <a:pt x="460" y="655"/>
                  </a:lnTo>
                  <a:lnTo>
                    <a:pt x="481" y="662"/>
                  </a:lnTo>
                  <a:lnTo>
                    <a:pt x="491" y="668"/>
                  </a:lnTo>
                  <a:lnTo>
                    <a:pt x="504" y="675"/>
                  </a:lnTo>
                  <a:lnTo>
                    <a:pt x="514" y="680"/>
                  </a:lnTo>
                  <a:lnTo>
                    <a:pt x="521" y="680"/>
                  </a:lnTo>
                  <a:lnTo>
                    <a:pt x="539" y="683"/>
                  </a:lnTo>
                  <a:lnTo>
                    <a:pt x="547" y="683"/>
                  </a:lnTo>
                  <a:lnTo>
                    <a:pt x="552" y="688"/>
                  </a:lnTo>
                  <a:lnTo>
                    <a:pt x="557" y="698"/>
                  </a:lnTo>
                  <a:lnTo>
                    <a:pt x="562" y="711"/>
                  </a:lnTo>
                  <a:lnTo>
                    <a:pt x="568" y="737"/>
                  </a:lnTo>
                  <a:lnTo>
                    <a:pt x="570" y="739"/>
                  </a:lnTo>
                  <a:lnTo>
                    <a:pt x="575" y="742"/>
                  </a:lnTo>
                  <a:lnTo>
                    <a:pt x="580" y="744"/>
                  </a:lnTo>
                  <a:lnTo>
                    <a:pt x="585" y="749"/>
                  </a:lnTo>
                  <a:lnTo>
                    <a:pt x="585" y="757"/>
                  </a:lnTo>
                  <a:lnTo>
                    <a:pt x="583" y="757"/>
                  </a:lnTo>
                  <a:lnTo>
                    <a:pt x="578" y="760"/>
                  </a:lnTo>
                  <a:lnTo>
                    <a:pt x="573" y="762"/>
                  </a:lnTo>
                  <a:lnTo>
                    <a:pt x="575" y="770"/>
                  </a:lnTo>
                  <a:lnTo>
                    <a:pt x="568" y="772"/>
                  </a:lnTo>
                  <a:lnTo>
                    <a:pt x="560" y="778"/>
                  </a:lnTo>
                  <a:lnTo>
                    <a:pt x="557" y="783"/>
                  </a:lnTo>
                  <a:lnTo>
                    <a:pt x="555" y="790"/>
                  </a:lnTo>
                  <a:lnTo>
                    <a:pt x="555" y="793"/>
                  </a:lnTo>
                  <a:lnTo>
                    <a:pt x="557" y="793"/>
                  </a:lnTo>
                  <a:lnTo>
                    <a:pt x="565" y="795"/>
                  </a:lnTo>
                  <a:lnTo>
                    <a:pt x="570" y="801"/>
                  </a:lnTo>
                  <a:lnTo>
                    <a:pt x="573" y="801"/>
                  </a:lnTo>
                  <a:lnTo>
                    <a:pt x="575" y="803"/>
                  </a:lnTo>
                  <a:lnTo>
                    <a:pt x="570" y="818"/>
                  </a:lnTo>
                  <a:lnTo>
                    <a:pt x="568" y="826"/>
                  </a:lnTo>
                  <a:lnTo>
                    <a:pt x="568" y="834"/>
                  </a:lnTo>
                  <a:lnTo>
                    <a:pt x="570" y="849"/>
                  </a:lnTo>
                  <a:lnTo>
                    <a:pt x="573" y="854"/>
                  </a:lnTo>
                  <a:lnTo>
                    <a:pt x="575" y="857"/>
                  </a:lnTo>
                  <a:lnTo>
                    <a:pt x="588" y="859"/>
                  </a:lnTo>
                  <a:lnTo>
                    <a:pt x="603" y="862"/>
                  </a:lnTo>
                  <a:lnTo>
                    <a:pt x="616" y="867"/>
                  </a:lnTo>
                  <a:lnTo>
                    <a:pt x="621" y="870"/>
                  </a:lnTo>
                  <a:lnTo>
                    <a:pt x="624" y="872"/>
                  </a:lnTo>
                  <a:lnTo>
                    <a:pt x="626" y="888"/>
                  </a:lnTo>
                  <a:lnTo>
                    <a:pt x="631" y="893"/>
                  </a:lnTo>
                  <a:lnTo>
                    <a:pt x="639" y="893"/>
                  </a:lnTo>
                  <a:lnTo>
                    <a:pt x="649" y="893"/>
                  </a:lnTo>
                  <a:lnTo>
                    <a:pt x="657" y="890"/>
                  </a:lnTo>
                  <a:lnTo>
                    <a:pt x="670" y="885"/>
                  </a:lnTo>
                  <a:lnTo>
                    <a:pt x="683" y="875"/>
                  </a:lnTo>
                  <a:lnTo>
                    <a:pt x="698" y="867"/>
                  </a:lnTo>
                  <a:lnTo>
                    <a:pt x="706" y="867"/>
                  </a:lnTo>
                  <a:lnTo>
                    <a:pt x="716" y="867"/>
                  </a:lnTo>
                  <a:lnTo>
                    <a:pt x="729" y="865"/>
                  </a:lnTo>
                  <a:lnTo>
                    <a:pt x="741" y="859"/>
                  </a:lnTo>
                  <a:lnTo>
                    <a:pt x="754" y="854"/>
                  </a:lnTo>
                  <a:lnTo>
                    <a:pt x="767" y="852"/>
                  </a:lnTo>
                  <a:lnTo>
                    <a:pt x="772" y="852"/>
                  </a:lnTo>
                  <a:lnTo>
                    <a:pt x="777" y="852"/>
                  </a:lnTo>
                  <a:lnTo>
                    <a:pt x="782" y="849"/>
                  </a:lnTo>
                  <a:lnTo>
                    <a:pt x="790" y="839"/>
                  </a:lnTo>
                  <a:lnTo>
                    <a:pt x="798" y="834"/>
                  </a:lnTo>
                  <a:lnTo>
                    <a:pt x="803" y="831"/>
                  </a:lnTo>
                  <a:lnTo>
                    <a:pt x="811" y="831"/>
                  </a:lnTo>
                  <a:lnTo>
                    <a:pt x="821" y="834"/>
                  </a:lnTo>
                  <a:lnTo>
                    <a:pt x="831" y="839"/>
                  </a:lnTo>
                  <a:lnTo>
                    <a:pt x="846" y="849"/>
                  </a:lnTo>
                  <a:lnTo>
                    <a:pt x="862" y="859"/>
                  </a:lnTo>
                  <a:lnTo>
                    <a:pt x="869" y="865"/>
                  </a:lnTo>
                  <a:lnTo>
                    <a:pt x="877" y="865"/>
                  </a:lnTo>
                  <a:lnTo>
                    <a:pt x="882" y="865"/>
                  </a:lnTo>
                  <a:lnTo>
                    <a:pt x="885" y="859"/>
                  </a:lnTo>
                  <a:lnTo>
                    <a:pt x="892" y="849"/>
                  </a:lnTo>
                  <a:lnTo>
                    <a:pt x="900" y="836"/>
                  </a:lnTo>
                  <a:lnTo>
                    <a:pt x="905" y="834"/>
                  </a:lnTo>
                  <a:lnTo>
                    <a:pt x="913" y="831"/>
                  </a:lnTo>
                  <a:lnTo>
                    <a:pt x="921" y="834"/>
                  </a:lnTo>
                  <a:lnTo>
                    <a:pt x="928" y="836"/>
                  </a:lnTo>
                  <a:lnTo>
                    <a:pt x="941" y="847"/>
                  </a:lnTo>
                  <a:lnTo>
                    <a:pt x="951" y="857"/>
                  </a:lnTo>
                  <a:lnTo>
                    <a:pt x="956" y="862"/>
                  </a:lnTo>
                  <a:lnTo>
                    <a:pt x="961" y="867"/>
                  </a:lnTo>
                  <a:lnTo>
                    <a:pt x="967" y="870"/>
                  </a:lnTo>
                  <a:lnTo>
                    <a:pt x="972" y="870"/>
                  </a:lnTo>
                  <a:lnTo>
                    <a:pt x="982" y="870"/>
                  </a:lnTo>
                  <a:lnTo>
                    <a:pt x="992" y="867"/>
                  </a:lnTo>
                  <a:lnTo>
                    <a:pt x="1000" y="872"/>
                  </a:lnTo>
                  <a:lnTo>
                    <a:pt x="1008" y="875"/>
                  </a:lnTo>
                  <a:lnTo>
                    <a:pt x="1023" y="875"/>
                  </a:lnTo>
                  <a:lnTo>
                    <a:pt x="1031" y="875"/>
                  </a:lnTo>
                  <a:lnTo>
                    <a:pt x="1036" y="872"/>
                  </a:lnTo>
                  <a:lnTo>
                    <a:pt x="1046" y="875"/>
                  </a:lnTo>
                  <a:lnTo>
                    <a:pt x="1054" y="880"/>
                  </a:lnTo>
                  <a:lnTo>
                    <a:pt x="1064" y="882"/>
                  </a:lnTo>
                  <a:lnTo>
                    <a:pt x="1074" y="885"/>
                  </a:lnTo>
                  <a:lnTo>
                    <a:pt x="1077" y="888"/>
                  </a:lnTo>
                  <a:lnTo>
                    <a:pt x="1082" y="893"/>
                  </a:lnTo>
                  <a:lnTo>
                    <a:pt x="1100" y="898"/>
                  </a:lnTo>
                  <a:lnTo>
                    <a:pt x="1133" y="905"/>
                  </a:lnTo>
                  <a:lnTo>
                    <a:pt x="1138" y="908"/>
                  </a:lnTo>
                  <a:lnTo>
                    <a:pt x="1138" y="911"/>
                  </a:lnTo>
                  <a:lnTo>
                    <a:pt x="1141" y="916"/>
                  </a:lnTo>
                  <a:lnTo>
                    <a:pt x="1143" y="918"/>
                  </a:lnTo>
                  <a:lnTo>
                    <a:pt x="1151" y="926"/>
                  </a:lnTo>
                  <a:lnTo>
                    <a:pt x="1161" y="931"/>
                  </a:lnTo>
                  <a:lnTo>
                    <a:pt x="1171" y="936"/>
                  </a:lnTo>
                  <a:lnTo>
                    <a:pt x="1181" y="939"/>
                  </a:lnTo>
                  <a:lnTo>
                    <a:pt x="1184" y="941"/>
                  </a:lnTo>
                  <a:lnTo>
                    <a:pt x="1184" y="931"/>
                  </a:lnTo>
                  <a:lnTo>
                    <a:pt x="1184" y="921"/>
                  </a:lnTo>
                  <a:lnTo>
                    <a:pt x="1187" y="913"/>
                  </a:lnTo>
                  <a:lnTo>
                    <a:pt x="1192" y="908"/>
                  </a:lnTo>
                  <a:lnTo>
                    <a:pt x="1197" y="905"/>
                  </a:lnTo>
                  <a:lnTo>
                    <a:pt x="1207" y="900"/>
                  </a:lnTo>
                  <a:lnTo>
                    <a:pt x="1210" y="900"/>
                  </a:lnTo>
                  <a:lnTo>
                    <a:pt x="1212" y="898"/>
                  </a:lnTo>
                  <a:lnTo>
                    <a:pt x="1210" y="872"/>
                  </a:lnTo>
                  <a:lnTo>
                    <a:pt x="1207" y="854"/>
                  </a:lnTo>
                  <a:lnTo>
                    <a:pt x="1207" y="844"/>
                  </a:lnTo>
                  <a:lnTo>
                    <a:pt x="1205" y="834"/>
                  </a:lnTo>
                  <a:lnTo>
                    <a:pt x="1207" y="818"/>
                  </a:lnTo>
                  <a:lnTo>
                    <a:pt x="1210" y="801"/>
                  </a:lnTo>
                  <a:lnTo>
                    <a:pt x="1207" y="795"/>
                  </a:lnTo>
                  <a:lnTo>
                    <a:pt x="1205" y="793"/>
                  </a:lnTo>
                  <a:lnTo>
                    <a:pt x="1194" y="790"/>
                  </a:lnTo>
                  <a:lnTo>
                    <a:pt x="1187" y="788"/>
                  </a:lnTo>
                  <a:lnTo>
                    <a:pt x="1184" y="785"/>
                  </a:lnTo>
                  <a:lnTo>
                    <a:pt x="1189" y="780"/>
                  </a:lnTo>
                  <a:lnTo>
                    <a:pt x="1212" y="778"/>
                  </a:lnTo>
                  <a:lnTo>
                    <a:pt x="1240" y="778"/>
                  </a:lnTo>
                  <a:lnTo>
                    <a:pt x="1251" y="775"/>
                  </a:lnTo>
                  <a:lnTo>
                    <a:pt x="1258" y="772"/>
                  </a:lnTo>
                  <a:lnTo>
                    <a:pt x="1266" y="778"/>
                  </a:lnTo>
                  <a:lnTo>
                    <a:pt x="1274" y="780"/>
                  </a:lnTo>
                  <a:lnTo>
                    <a:pt x="1281" y="785"/>
                  </a:lnTo>
                  <a:lnTo>
                    <a:pt x="1289" y="788"/>
                  </a:lnTo>
                  <a:lnTo>
                    <a:pt x="1297" y="788"/>
                  </a:lnTo>
                  <a:lnTo>
                    <a:pt x="1302" y="783"/>
                  </a:lnTo>
                  <a:lnTo>
                    <a:pt x="1307" y="775"/>
                  </a:lnTo>
                  <a:lnTo>
                    <a:pt x="1309" y="772"/>
                  </a:lnTo>
                  <a:lnTo>
                    <a:pt x="1307" y="767"/>
                  </a:lnTo>
                  <a:lnTo>
                    <a:pt x="1302" y="765"/>
                  </a:lnTo>
                  <a:lnTo>
                    <a:pt x="1299" y="762"/>
                  </a:lnTo>
                  <a:lnTo>
                    <a:pt x="1297" y="760"/>
                  </a:lnTo>
                  <a:lnTo>
                    <a:pt x="1294" y="755"/>
                  </a:lnTo>
                  <a:lnTo>
                    <a:pt x="1299" y="749"/>
                  </a:lnTo>
                  <a:lnTo>
                    <a:pt x="1297" y="757"/>
                  </a:lnTo>
                  <a:lnTo>
                    <a:pt x="1299" y="749"/>
                  </a:lnTo>
                  <a:lnTo>
                    <a:pt x="1317" y="711"/>
                  </a:lnTo>
                  <a:lnTo>
                    <a:pt x="1338" y="670"/>
                  </a:lnTo>
                  <a:lnTo>
                    <a:pt x="1368" y="678"/>
                  </a:lnTo>
                  <a:lnTo>
                    <a:pt x="1396" y="688"/>
                  </a:lnTo>
                  <a:lnTo>
                    <a:pt x="1409" y="691"/>
                  </a:lnTo>
                  <a:lnTo>
                    <a:pt x="1419" y="691"/>
                  </a:lnTo>
                  <a:lnTo>
                    <a:pt x="1427" y="688"/>
                  </a:lnTo>
                  <a:lnTo>
                    <a:pt x="1432" y="683"/>
                  </a:lnTo>
                  <a:lnTo>
                    <a:pt x="1437" y="673"/>
                  </a:lnTo>
                  <a:lnTo>
                    <a:pt x="1440" y="668"/>
                  </a:lnTo>
                  <a:lnTo>
                    <a:pt x="1437" y="655"/>
                  </a:lnTo>
                  <a:lnTo>
                    <a:pt x="1435" y="629"/>
                  </a:lnTo>
                  <a:lnTo>
                    <a:pt x="1437" y="616"/>
                  </a:lnTo>
                  <a:lnTo>
                    <a:pt x="1442" y="611"/>
                  </a:lnTo>
                  <a:lnTo>
                    <a:pt x="1450" y="606"/>
                  </a:lnTo>
                  <a:lnTo>
                    <a:pt x="1458" y="604"/>
                  </a:lnTo>
                  <a:lnTo>
                    <a:pt x="1473" y="604"/>
                  </a:lnTo>
                  <a:lnTo>
                    <a:pt x="1478" y="601"/>
                  </a:lnTo>
                  <a:lnTo>
                    <a:pt x="1481" y="596"/>
                  </a:lnTo>
                  <a:lnTo>
                    <a:pt x="1483" y="588"/>
                  </a:lnTo>
                  <a:lnTo>
                    <a:pt x="1486" y="581"/>
                  </a:lnTo>
                  <a:lnTo>
                    <a:pt x="1491" y="573"/>
                  </a:lnTo>
                  <a:lnTo>
                    <a:pt x="1494" y="565"/>
                  </a:lnTo>
                  <a:lnTo>
                    <a:pt x="1501" y="565"/>
                  </a:lnTo>
                  <a:lnTo>
                    <a:pt x="1504" y="565"/>
                  </a:lnTo>
                  <a:lnTo>
                    <a:pt x="1504" y="560"/>
                  </a:lnTo>
                  <a:lnTo>
                    <a:pt x="1499" y="558"/>
                  </a:lnTo>
                  <a:lnTo>
                    <a:pt x="1496" y="552"/>
                  </a:lnTo>
                  <a:lnTo>
                    <a:pt x="1494" y="547"/>
                  </a:lnTo>
                  <a:lnTo>
                    <a:pt x="1494" y="532"/>
                  </a:lnTo>
                  <a:lnTo>
                    <a:pt x="1486" y="535"/>
                  </a:lnTo>
                  <a:lnTo>
                    <a:pt x="1481" y="540"/>
                  </a:lnTo>
                  <a:lnTo>
                    <a:pt x="1476" y="545"/>
                  </a:lnTo>
                  <a:lnTo>
                    <a:pt x="1465" y="547"/>
                  </a:lnTo>
                  <a:lnTo>
                    <a:pt x="1460" y="545"/>
                  </a:lnTo>
                  <a:lnTo>
                    <a:pt x="1455" y="537"/>
                  </a:lnTo>
                  <a:lnTo>
                    <a:pt x="1448" y="537"/>
                  </a:lnTo>
                  <a:lnTo>
                    <a:pt x="1437" y="535"/>
                  </a:lnTo>
                  <a:lnTo>
                    <a:pt x="1430" y="529"/>
                  </a:lnTo>
                  <a:lnTo>
                    <a:pt x="1427" y="527"/>
                  </a:lnTo>
                  <a:lnTo>
                    <a:pt x="1427" y="522"/>
                  </a:lnTo>
                  <a:lnTo>
                    <a:pt x="1427" y="512"/>
                  </a:lnTo>
                  <a:lnTo>
                    <a:pt x="1427" y="506"/>
                  </a:lnTo>
                  <a:lnTo>
                    <a:pt x="1422" y="504"/>
                  </a:lnTo>
                  <a:lnTo>
                    <a:pt x="1407" y="496"/>
                  </a:lnTo>
                  <a:lnTo>
                    <a:pt x="1402" y="491"/>
                  </a:lnTo>
                  <a:lnTo>
                    <a:pt x="1399" y="481"/>
                  </a:lnTo>
                  <a:lnTo>
                    <a:pt x="1399" y="478"/>
                  </a:lnTo>
                  <a:lnTo>
                    <a:pt x="1402" y="473"/>
                  </a:lnTo>
                  <a:lnTo>
                    <a:pt x="1394" y="468"/>
                  </a:lnTo>
                  <a:lnTo>
                    <a:pt x="1386" y="458"/>
                  </a:lnTo>
                  <a:lnTo>
                    <a:pt x="1376" y="450"/>
                  </a:lnTo>
                  <a:lnTo>
                    <a:pt x="1371" y="448"/>
                  </a:lnTo>
                  <a:lnTo>
                    <a:pt x="1366" y="448"/>
                  </a:lnTo>
                  <a:lnTo>
                    <a:pt x="1355" y="448"/>
                  </a:lnTo>
                  <a:lnTo>
                    <a:pt x="1345" y="450"/>
                  </a:lnTo>
                  <a:lnTo>
                    <a:pt x="1332" y="453"/>
                  </a:lnTo>
                  <a:lnTo>
                    <a:pt x="1320" y="455"/>
                  </a:lnTo>
                  <a:lnTo>
                    <a:pt x="1307" y="455"/>
                  </a:lnTo>
                  <a:lnTo>
                    <a:pt x="1297" y="455"/>
                  </a:lnTo>
                  <a:lnTo>
                    <a:pt x="1297" y="445"/>
                  </a:lnTo>
                  <a:lnTo>
                    <a:pt x="1294" y="440"/>
                  </a:lnTo>
                  <a:lnTo>
                    <a:pt x="1289" y="435"/>
                  </a:lnTo>
                  <a:lnTo>
                    <a:pt x="1289" y="427"/>
                  </a:lnTo>
                  <a:lnTo>
                    <a:pt x="1286" y="425"/>
                  </a:lnTo>
                  <a:lnTo>
                    <a:pt x="1284" y="419"/>
                  </a:lnTo>
                  <a:lnTo>
                    <a:pt x="1274" y="417"/>
                  </a:lnTo>
                  <a:lnTo>
                    <a:pt x="1268" y="417"/>
                  </a:lnTo>
                  <a:lnTo>
                    <a:pt x="1266" y="419"/>
                  </a:lnTo>
                  <a:lnTo>
                    <a:pt x="1261" y="430"/>
                  </a:lnTo>
                  <a:lnTo>
                    <a:pt x="1256" y="437"/>
                  </a:lnTo>
                  <a:lnTo>
                    <a:pt x="1251" y="440"/>
                  </a:lnTo>
                  <a:lnTo>
                    <a:pt x="1245" y="440"/>
                  </a:lnTo>
                  <a:lnTo>
                    <a:pt x="1243" y="437"/>
                  </a:lnTo>
                  <a:lnTo>
                    <a:pt x="1243" y="435"/>
                  </a:lnTo>
                  <a:lnTo>
                    <a:pt x="1228" y="391"/>
                  </a:lnTo>
                  <a:lnTo>
                    <a:pt x="1194" y="279"/>
                  </a:lnTo>
                  <a:lnTo>
                    <a:pt x="1187" y="266"/>
                  </a:lnTo>
                  <a:lnTo>
                    <a:pt x="1176" y="256"/>
                  </a:lnTo>
                  <a:lnTo>
                    <a:pt x="1156" y="235"/>
                  </a:lnTo>
                  <a:lnTo>
                    <a:pt x="1158" y="222"/>
                  </a:lnTo>
                  <a:lnTo>
                    <a:pt x="1164" y="222"/>
                  </a:lnTo>
                  <a:lnTo>
                    <a:pt x="1169" y="220"/>
                  </a:lnTo>
                  <a:lnTo>
                    <a:pt x="1171" y="217"/>
                  </a:lnTo>
                  <a:lnTo>
                    <a:pt x="1174" y="212"/>
                  </a:lnTo>
                  <a:lnTo>
                    <a:pt x="1164" y="212"/>
                  </a:lnTo>
                  <a:lnTo>
                    <a:pt x="1151" y="212"/>
                  </a:lnTo>
                  <a:lnTo>
                    <a:pt x="1141" y="215"/>
                  </a:lnTo>
                  <a:lnTo>
                    <a:pt x="1130" y="217"/>
                  </a:lnTo>
                  <a:lnTo>
                    <a:pt x="1118" y="220"/>
                  </a:lnTo>
                  <a:lnTo>
                    <a:pt x="1123" y="220"/>
                  </a:lnTo>
                  <a:lnTo>
                    <a:pt x="1112" y="222"/>
                  </a:lnTo>
                  <a:lnTo>
                    <a:pt x="1097" y="228"/>
                  </a:lnTo>
                  <a:lnTo>
                    <a:pt x="1089" y="230"/>
                  </a:lnTo>
                  <a:lnTo>
                    <a:pt x="1084" y="235"/>
                  </a:lnTo>
                  <a:lnTo>
                    <a:pt x="1079" y="238"/>
                  </a:lnTo>
                  <a:lnTo>
                    <a:pt x="1074" y="238"/>
                  </a:lnTo>
                  <a:lnTo>
                    <a:pt x="1069" y="238"/>
                  </a:lnTo>
                  <a:lnTo>
                    <a:pt x="1066" y="235"/>
                  </a:lnTo>
                  <a:lnTo>
                    <a:pt x="1061" y="233"/>
                  </a:lnTo>
                  <a:lnTo>
                    <a:pt x="1056" y="230"/>
                  </a:lnTo>
                  <a:lnTo>
                    <a:pt x="1051" y="230"/>
                  </a:lnTo>
                  <a:lnTo>
                    <a:pt x="1046" y="230"/>
                  </a:lnTo>
                  <a:lnTo>
                    <a:pt x="1046" y="228"/>
                  </a:lnTo>
                  <a:lnTo>
                    <a:pt x="1043" y="225"/>
                  </a:lnTo>
                  <a:lnTo>
                    <a:pt x="1046" y="220"/>
                  </a:lnTo>
                  <a:lnTo>
                    <a:pt x="1051" y="217"/>
                  </a:lnTo>
                  <a:lnTo>
                    <a:pt x="1056" y="215"/>
                  </a:lnTo>
                  <a:lnTo>
                    <a:pt x="1059" y="210"/>
                  </a:lnTo>
                  <a:lnTo>
                    <a:pt x="1056" y="207"/>
                  </a:lnTo>
                  <a:lnTo>
                    <a:pt x="1054" y="207"/>
                  </a:lnTo>
                  <a:lnTo>
                    <a:pt x="1046" y="207"/>
                  </a:lnTo>
                  <a:lnTo>
                    <a:pt x="1033" y="192"/>
                  </a:lnTo>
                  <a:lnTo>
                    <a:pt x="1031" y="197"/>
                  </a:lnTo>
                  <a:lnTo>
                    <a:pt x="1025" y="199"/>
                  </a:lnTo>
                  <a:lnTo>
                    <a:pt x="1023" y="199"/>
                  </a:lnTo>
                  <a:lnTo>
                    <a:pt x="1020" y="197"/>
                  </a:lnTo>
                  <a:lnTo>
                    <a:pt x="1018" y="187"/>
                  </a:lnTo>
                  <a:lnTo>
                    <a:pt x="1015" y="179"/>
                  </a:lnTo>
                  <a:lnTo>
                    <a:pt x="1013" y="176"/>
                  </a:lnTo>
                  <a:lnTo>
                    <a:pt x="1008" y="176"/>
                  </a:lnTo>
                  <a:lnTo>
                    <a:pt x="1005" y="176"/>
                  </a:lnTo>
                  <a:lnTo>
                    <a:pt x="1002" y="179"/>
                  </a:lnTo>
                  <a:lnTo>
                    <a:pt x="997" y="182"/>
                  </a:lnTo>
                  <a:lnTo>
                    <a:pt x="995" y="182"/>
                  </a:lnTo>
                  <a:lnTo>
                    <a:pt x="990" y="182"/>
                  </a:lnTo>
                  <a:lnTo>
                    <a:pt x="987" y="179"/>
                  </a:lnTo>
                  <a:lnTo>
                    <a:pt x="985" y="176"/>
                  </a:lnTo>
                  <a:lnTo>
                    <a:pt x="982" y="176"/>
                  </a:lnTo>
                  <a:lnTo>
                    <a:pt x="977" y="169"/>
                  </a:lnTo>
                  <a:lnTo>
                    <a:pt x="985" y="164"/>
                  </a:lnTo>
                  <a:lnTo>
                    <a:pt x="987" y="161"/>
                  </a:lnTo>
                  <a:lnTo>
                    <a:pt x="990" y="153"/>
                  </a:lnTo>
                  <a:lnTo>
                    <a:pt x="992" y="146"/>
                  </a:lnTo>
                  <a:lnTo>
                    <a:pt x="987" y="125"/>
                  </a:lnTo>
                  <a:lnTo>
                    <a:pt x="982" y="107"/>
                  </a:lnTo>
                  <a:lnTo>
                    <a:pt x="977" y="112"/>
                  </a:lnTo>
                  <a:lnTo>
                    <a:pt x="972" y="112"/>
                  </a:lnTo>
                  <a:lnTo>
                    <a:pt x="964" y="110"/>
                  </a:lnTo>
                  <a:lnTo>
                    <a:pt x="959" y="105"/>
                  </a:lnTo>
                  <a:lnTo>
                    <a:pt x="954" y="100"/>
                  </a:lnTo>
                  <a:lnTo>
                    <a:pt x="949" y="95"/>
                  </a:lnTo>
                  <a:lnTo>
                    <a:pt x="941" y="89"/>
                  </a:lnTo>
                  <a:lnTo>
                    <a:pt x="933" y="89"/>
                  </a:lnTo>
                  <a:lnTo>
                    <a:pt x="926" y="87"/>
                  </a:lnTo>
                  <a:lnTo>
                    <a:pt x="918" y="84"/>
                  </a:lnTo>
                  <a:lnTo>
                    <a:pt x="921" y="87"/>
                  </a:lnTo>
                  <a:lnTo>
                    <a:pt x="910" y="92"/>
                  </a:lnTo>
                  <a:lnTo>
                    <a:pt x="903" y="92"/>
                  </a:lnTo>
                  <a:lnTo>
                    <a:pt x="898" y="89"/>
                  </a:lnTo>
                  <a:lnTo>
                    <a:pt x="892" y="97"/>
                  </a:lnTo>
                  <a:lnTo>
                    <a:pt x="890" y="100"/>
                  </a:lnTo>
                  <a:lnTo>
                    <a:pt x="887" y="100"/>
                  </a:lnTo>
                  <a:lnTo>
                    <a:pt x="831" y="100"/>
                  </a:lnTo>
                  <a:lnTo>
                    <a:pt x="823" y="100"/>
                  </a:lnTo>
                  <a:lnTo>
                    <a:pt x="821" y="102"/>
                  </a:lnTo>
                  <a:lnTo>
                    <a:pt x="816" y="95"/>
                  </a:lnTo>
                  <a:lnTo>
                    <a:pt x="813" y="92"/>
                  </a:lnTo>
                  <a:lnTo>
                    <a:pt x="808" y="89"/>
                  </a:lnTo>
                  <a:lnTo>
                    <a:pt x="803" y="92"/>
                  </a:lnTo>
                  <a:lnTo>
                    <a:pt x="798" y="95"/>
                  </a:lnTo>
                  <a:lnTo>
                    <a:pt x="793" y="97"/>
                  </a:lnTo>
                  <a:lnTo>
                    <a:pt x="785" y="97"/>
                  </a:lnTo>
                  <a:lnTo>
                    <a:pt x="782" y="95"/>
                  </a:lnTo>
                  <a:lnTo>
                    <a:pt x="772" y="95"/>
                  </a:lnTo>
                  <a:lnTo>
                    <a:pt x="767" y="95"/>
                  </a:lnTo>
                  <a:lnTo>
                    <a:pt x="759" y="95"/>
                  </a:lnTo>
                  <a:lnTo>
                    <a:pt x="749" y="92"/>
                  </a:lnTo>
                  <a:lnTo>
                    <a:pt x="736" y="87"/>
                  </a:lnTo>
                  <a:lnTo>
                    <a:pt x="724" y="84"/>
                  </a:lnTo>
                  <a:lnTo>
                    <a:pt x="688" y="84"/>
                  </a:lnTo>
                  <a:lnTo>
                    <a:pt x="672" y="74"/>
                  </a:lnTo>
                  <a:lnTo>
                    <a:pt x="654" y="66"/>
                  </a:lnTo>
                  <a:lnTo>
                    <a:pt x="649" y="69"/>
                  </a:lnTo>
                  <a:lnTo>
                    <a:pt x="644" y="72"/>
                  </a:lnTo>
                  <a:lnTo>
                    <a:pt x="639" y="77"/>
                  </a:lnTo>
                  <a:lnTo>
                    <a:pt x="639" y="82"/>
                  </a:lnTo>
                  <a:lnTo>
                    <a:pt x="639" y="87"/>
                  </a:lnTo>
                  <a:lnTo>
                    <a:pt x="644" y="89"/>
                  </a:lnTo>
                  <a:lnTo>
                    <a:pt x="652" y="95"/>
                  </a:lnTo>
                  <a:lnTo>
                    <a:pt x="647" y="97"/>
                  </a:lnTo>
                  <a:lnTo>
                    <a:pt x="639" y="97"/>
                  </a:lnTo>
                  <a:lnTo>
                    <a:pt x="637" y="102"/>
                  </a:lnTo>
                  <a:lnTo>
                    <a:pt x="642" y="107"/>
                  </a:lnTo>
                  <a:lnTo>
                    <a:pt x="649" y="112"/>
                  </a:lnTo>
                  <a:lnTo>
                    <a:pt x="657" y="120"/>
                  </a:lnTo>
                  <a:lnTo>
                    <a:pt x="660" y="125"/>
                  </a:lnTo>
                  <a:lnTo>
                    <a:pt x="660" y="128"/>
                  </a:lnTo>
                  <a:lnTo>
                    <a:pt x="654" y="130"/>
                  </a:lnTo>
                  <a:lnTo>
                    <a:pt x="644" y="128"/>
                  </a:lnTo>
                  <a:lnTo>
                    <a:pt x="637" y="123"/>
                  </a:lnTo>
                  <a:lnTo>
                    <a:pt x="629" y="120"/>
                  </a:lnTo>
                  <a:lnTo>
                    <a:pt x="619" y="118"/>
                  </a:lnTo>
                  <a:lnTo>
                    <a:pt x="614" y="118"/>
                  </a:lnTo>
                  <a:lnTo>
                    <a:pt x="608" y="120"/>
                  </a:lnTo>
                  <a:lnTo>
                    <a:pt x="606" y="130"/>
                  </a:lnTo>
                  <a:lnTo>
                    <a:pt x="601" y="143"/>
                  </a:lnTo>
                  <a:lnTo>
                    <a:pt x="598" y="153"/>
                  </a:lnTo>
                  <a:lnTo>
                    <a:pt x="588" y="151"/>
                  </a:lnTo>
                  <a:lnTo>
                    <a:pt x="578" y="151"/>
                  </a:lnTo>
                  <a:lnTo>
                    <a:pt x="570" y="151"/>
                  </a:lnTo>
                  <a:lnTo>
                    <a:pt x="568" y="153"/>
                  </a:lnTo>
                  <a:lnTo>
                    <a:pt x="565" y="156"/>
                  </a:lnTo>
                  <a:lnTo>
                    <a:pt x="568" y="158"/>
                  </a:lnTo>
                  <a:lnTo>
                    <a:pt x="570" y="161"/>
                  </a:lnTo>
                  <a:lnTo>
                    <a:pt x="573" y="164"/>
                  </a:lnTo>
                  <a:lnTo>
                    <a:pt x="573" y="169"/>
                  </a:lnTo>
                  <a:lnTo>
                    <a:pt x="573" y="174"/>
                  </a:lnTo>
                  <a:lnTo>
                    <a:pt x="570" y="179"/>
                  </a:lnTo>
                  <a:lnTo>
                    <a:pt x="573" y="182"/>
                  </a:lnTo>
                  <a:lnTo>
                    <a:pt x="575" y="182"/>
                  </a:lnTo>
                  <a:lnTo>
                    <a:pt x="580" y="184"/>
                  </a:lnTo>
                  <a:lnTo>
                    <a:pt x="583" y="187"/>
                  </a:lnTo>
                  <a:lnTo>
                    <a:pt x="583" y="192"/>
                  </a:lnTo>
                  <a:lnTo>
                    <a:pt x="583" y="197"/>
                  </a:lnTo>
                  <a:lnTo>
                    <a:pt x="588" y="199"/>
                  </a:lnTo>
                  <a:lnTo>
                    <a:pt x="593" y="202"/>
                  </a:lnTo>
                  <a:lnTo>
                    <a:pt x="598" y="207"/>
                  </a:lnTo>
                  <a:lnTo>
                    <a:pt x="601" y="217"/>
                  </a:lnTo>
                  <a:lnTo>
                    <a:pt x="596" y="228"/>
                  </a:lnTo>
                  <a:lnTo>
                    <a:pt x="588" y="235"/>
                  </a:lnTo>
                  <a:lnTo>
                    <a:pt x="575" y="238"/>
                  </a:lnTo>
                  <a:lnTo>
                    <a:pt x="560" y="240"/>
                  </a:lnTo>
                  <a:lnTo>
                    <a:pt x="555" y="238"/>
                  </a:lnTo>
                  <a:lnTo>
                    <a:pt x="550" y="235"/>
                  </a:lnTo>
                  <a:lnTo>
                    <a:pt x="544" y="230"/>
                  </a:lnTo>
                  <a:lnTo>
                    <a:pt x="539" y="222"/>
                  </a:lnTo>
                  <a:lnTo>
                    <a:pt x="534" y="220"/>
                  </a:lnTo>
                  <a:lnTo>
                    <a:pt x="532" y="217"/>
                  </a:lnTo>
                  <a:lnTo>
                    <a:pt x="527" y="220"/>
                  </a:lnTo>
                  <a:lnTo>
                    <a:pt x="521" y="222"/>
                  </a:lnTo>
                  <a:lnTo>
                    <a:pt x="519" y="222"/>
                  </a:lnTo>
                  <a:lnTo>
                    <a:pt x="514" y="225"/>
                  </a:lnTo>
                  <a:lnTo>
                    <a:pt x="506" y="222"/>
                  </a:lnTo>
                  <a:lnTo>
                    <a:pt x="498" y="217"/>
                  </a:lnTo>
                  <a:lnTo>
                    <a:pt x="496" y="212"/>
                  </a:lnTo>
                  <a:lnTo>
                    <a:pt x="491" y="202"/>
                  </a:lnTo>
                  <a:lnTo>
                    <a:pt x="486" y="187"/>
                  </a:lnTo>
                  <a:lnTo>
                    <a:pt x="483" y="179"/>
                  </a:lnTo>
                  <a:lnTo>
                    <a:pt x="478" y="171"/>
                  </a:lnTo>
                  <a:lnTo>
                    <a:pt x="452" y="171"/>
                  </a:lnTo>
                  <a:lnTo>
                    <a:pt x="445" y="166"/>
                  </a:lnTo>
                  <a:lnTo>
                    <a:pt x="440" y="156"/>
                  </a:lnTo>
                  <a:lnTo>
                    <a:pt x="434" y="151"/>
                  </a:lnTo>
                  <a:lnTo>
                    <a:pt x="429" y="148"/>
                  </a:lnTo>
                  <a:lnTo>
                    <a:pt x="422" y="148"/>
                  </a:lnTo>
                  <a:lnTo>
                    <a:pt x="414" y="148"/>
                  </a:lnTo>
                  <a:lnTo>
                    <a:pt x="406" y="151"/>
                  </a:lnTo>
                  <a:lnTo>
                    <a:pt x="399" y="153"/>
                  </a:lnTo>
                  <a:lnTo>
                    <a:pt x="391" y="153"/>
                  </a:lnTo>
                  <a:lnTo>
                    <a:pt x="383" y="153"/>
                  </a:lnTo>
                  <a:lnTo>
                    <a:pt x="376" y="148"/>
                  </a:lnTo>
                  <a:lnTo>
                    <a:pt x="371" y="143"/>
                  </a:lnTo>
                  <a:lnTo>
                    <a:pt x="365" y="135"/>
                  </a:lnTo>
                  <a:lnTo>
                    <a:pt x="365" y="128"/>
                  </a:lnTo>
                  <a:lnTo>
                    <a:pt x="363" y="125"/>
                  </a:lnTo>
                  <a:lnTo>
                    <a:pt x="360" y="120"/>
                  </a:lnTo>
                  <a:lnTo>
                    <a:pt x="355" y="120"/>
                  </a:lnTo>
                  <a:lnTo>
                    <a:pt x="347" y="112"/>
                  </a:lnTo>
                  <a:lnTo>
                    <a:pt x="340" y="97"/>
                  </a:lnTo>
                  <a:lnTo>
                    <a:pt x="337" y="84"/>
                  </a:lnTo>
                  <a:lnTo>
                    <a:pt x="335" y="72"/>
                  </a:lnTo>
                  <a:lnTo>
                    <a:pt x="335" y="66"/>
                  </a:lnTo>
                  <a:lnTo>
                    <a:pt x="332" y="64"/>
                  </a:lnTo>
                  <a:lnTo>
                    <a:pt x="324" y="59"/>
                  </a:lnTo>
                  <a:lnTo>
                    <a:pt x="314" y="56"/>
                  </a:lnTo>
                  <a:lnTo>
                    <a:pt x="312" y="56"/>
                  </a:lnTo>
                  <a:lnTo>
                    <a:pt x="309" y="54"/>
                  </a:lnTo>
                  <a:lnTo>
                    <a:pt x="312" y="41"/>
                  </a:lnTo>
                  <a:lnTo>
                    <a:pt x="309" y="36"/>
                  </a:lnTo>
                  <a:lnTo>
                    <a:pt x="307" y="33"/>
                  </a:lnTo>
                  <a:lnTo>
                    <a:pt x="304" y="31"/>
                  </a:lnTo>
                  <a:lnTo>
                    <a:pt x="299" y="31"/>
                  </a:lnTo>
                  <a:lnTo>
                    <a:pt x="289" y="31"/>
                  </a:lnTo>
                  <a:lnTo>
                    <a:pt x="284" y="31"/>
                  </a:lnTo>
                  <a:lnTo>
                    <a:pt x="278" y="28"/>
                  </a:lnTo>
                  <a:lnTo>
                    <a:pt x="273" y="20"/>
                  </a:lnTo>
                  <a:lnTo>
                    <a:pt x="268" y="10"/>
                  </a:lnTo>
                  <a:lnTo>
                    <a:pt x="263" y="8"/>
                  </a:lnTo>
                  <a:lnTo>
                    <a:pt x="255" y="8"/>
                  </a:lnTo>
                  <a:lnTo>
                    <a:pt x="245" y="8"/>
                  </a:lnTo>
                  <a:lnTo>
                    <a:pt x="237" y="10"/>
                  </a:lnTo>
                  <a:lnTo>
                    <a:pt x="227" y="13"/>
                  </a:lnTo>
                  <a:lnTo>
                    <a:pt x="217" y="13"/>
                  </a:lnTo>
                  <a:lnTo>
                    <a:pt x="209" y="10"/>
                  </a:lnTo>
                  <a:lnTo>
                    <a:pt x="204" y="10"/>
                  </a:lnTo>
                  <a:lnTo>
                    <a:pt x="189" y="10"/>
                  </a:lnTo>
                  <a:lnTo>
                    <a:pt x="176" y="13"/>
                  </a:lnTo>
                  <a:lnTo>
                    <a:pt x="168" y="15"/>
                  </a:lnTo>
                  <a:lnTo>
                    <a:pt x="163" y="18"/>
                  </a:lnTo>
                  <a:lnTo>
                    <a:pt x="158" y="23"/>
                  </a:lnTo>
                  <a:lnTo>
                    <a:pt x="156" y="31"/>
                  </a:lnTo>
                  <a:lnTo>
                    <a:pt x="151" y="41"/>
                  </a:lnTo>
                  <a:lnTo>
                    <a:pt x="145" y="46"/>
                  </a:lnTo>
                  <a:lnTo>
                    <a:pt x="138" y="46"/>
                  </a:lnTo>
                  <a:lnTo>
                    <a:pt x="127" y="43"/>
                  </a:lnTo>
                  <a:lnTo>
                    <a:pt x="122" y="41"/>
                  </a:lnTo>
                  <a:lnTo>
                    <a:pt x="120" y="15"/>
                  </a:lnTo>
                  <a:lnTo>
                    <a:pt x="120" y="8"/>
                  </a:lnTo>
                  <a:lnTo>
                    <a:pt x="122" y="0"/>
                  </a:lnTo>
                  <a:lnTo>
                    <a:pt x="115" y="0"/>
                  </a:lnTo>
                  <a:lnTo>
                    <a:pt x="110" y="0"/>
                  </a:lnTo>
                  <a:lnTo>
                    <a:pt x="107" y="2"/>
                  </a:lnTo>
                  <a:lnTo>
                    <a:pt x="104" y="8"/>
                  </a:lnTo>
                  <a:lnTo>
                    <a:pt x="102" y="8"/>
                  </a:lnTo>
                  <a:lnTo>
                    <a:pt x="76" y="15"/>
                  </a:lnTo>
                  <a:lnTo>
                    <a:pt x="66" y="20"/>
                  </a:lnTo>
                  <a:lnTo>
                    <a:pt x="64" y="25"/>
                  </a:lnTo>
                  <a:lnTo>
                    <a:pt x="61" y="31"/>
                  </a:lnTo>
                  <a:lnTo>
                    <a:pt x="58" y="41"/>
                  </a:lnTo>
                  <a:lnTo>
                    <a:pt x="51" y="46"/>
                  </a:lnTo>
                  <a:lnTo>
                    <a:pt x="46" y="51"/>
                  </a:lnTo>
                  <a:lnTo>
                    <a:pt x="38" y="54"/>
                  </a:lnTo>
                  <a:lnTo>
                    <a:pt x="23" y="61"/>
                  </a:lnTo>
                  <a:lnTo>
                    <a:pt x="17" y="66"/>
                  </a:lnTo>
                  <a:lnTo>
                    <a:pt x="17" y="74"/>
                  </a:lnTo>
                  <a:lnTo>
                    <a:pt x="17" y="82"/>
                  </a:lnTo>
                  <a:lnTo>
                    <a:pt x="23" y="87"/>
                  </a:lnTo>
                  <a:lnTo>
                    <a:pt x="30" y="92"/>
                  </a:lnTo>
                  <a:lnTo>
                    <a:pt x="28" y="100"/>
                  </a:lnTo>
                  <a:lnTo>
                    <a:pt x="23" y="102"/>
                  </a:lnTo>
                  <a:lnTo>
                    <a:pt x="17" y="110"/>
                  </a:lnTo>
                  <a:lnTo>
                    <a:pt x="15" y="118"/>
                  </a:lnTo>
                  <a:lnTo>
                    <a:pt x="17" y="120"/>
                  </a:lnTo>
                  <a:lnTo>
                    <a:pt x="17" y="123"/>
                  </a:lnTo>
                  <a:lnTo>
                    <a:pt x="25" y="128"/>
                  </a:lnTo>
                  <a:lnTo>
                    <a:pt x="33" y="130"/>
                  </a:lnTo>
                  <a:lnTo>
                    <a:pt x="40" y="133"/>
                  </a:lnTo>
                  <a:lnTo>
                    <a:pt x="46" y="141"/>
                  </a:lnTo>
                  <a:lnTo>
                    <a:pt x="48" y="151"/>
                  </a:lnTo>
                  <a:lnTo>
                    <a:pt x="46" y="174"/>
                  </a:lnTo>
                  <a:lnTo>
                    <a:pt x="46" y="192"/>
                  </a:lnTo>
                  <a:lnTo>
                    <a:pt x="46" y="207"/>
                  </a:lnTo>
                  <a:lnTo>
                    <a:pt x="38" y="205"/>
                  </a:lnTo>
                  <a:lnTo>
                    <a:pt x="33" y="202"/>
                  </a:lnTo>
                  <a:lnTo>
                    <a:pt x="30" y="197"/>
                  </a:lnTo>
                  <a:lnTo>
                    <a:pt x="25" y="194"/>
                  </a:lnTo>
                  <a:lnTo>
                    <a:pt x="25" y="222"/>
                  </a:lnTo>
                  <a:lnTo>
                    <a:pt x="33" y="233"/>
                  </a:lnTo>
                  <a:lnTo>
                    <a:pt x="51" y="235"/>
                  </a:lnTo>
                  <a:lnTo>
                    <a:pt x="64" y="238"/>
                  </a:lnTo>
                  <a:lnTo>
                    <a:pt x="87" y="235"/>
                  </a:lnTo>
                  <a:lnTo>
                    <a:pt x="104" y="233"/>
                  </a:lnTo>
                  <a:lnTo>
                    <a:pt x="120" y="235"/>
                  </a:lnTo>
                  <a:lnTo>
                    <a:pt x="127" y="238"/>
                  </a:lnTo>
                  <a:lnTo>
                    <a:pt x="135" y="240"/>
                  </a:lnTo>
                  <a:lnTo>
                    <a:pt x="138" y="248"/>
                  </a:lnTo>
                  <a:lnTo>
                    <a:pt x="140" y="256"/>
                  </a:lnTo>
                  <a:lnTo>
                    <a:pt x="143" y="263"/>
                  </a:lnTo>
                  <a:lnTo>
                    <a:pt x="148" y="268"/>
                  </a:lnTo>
                  <a:lnTo>
                    <a:pt x="153" y="271"/>
                  </a:lnTo>
                  <a:lnTo>
                    <a:pt x="158" y="274"/>
                  </a:lnTo>
                  <a:lnTo>
                    <a:pt x="171" y="276"/>
                  </a:lnTo>
                  <a:lnTo>
                    <a:pt x="176" y="279"/>
                  </a:lnTo>
                  <a:lnTo>
                    <a:pt x="179" y="284"/>
                  </a:lnTo>
                  <a:lnTo>
                    <a:pt x="179" y="289"/>
                  </a:lnTo>
                  <a:lnTo>
                    <a:pt x="176" y="299"/>
                  </a:lnTo>
                  <a:lnTo>
                    <a:pt x="174" y="307"/>
                  </a:lnTo>
                  <a:lnTo>
                    <a:pt x="168" y="315"/>
                  </a:lnTo>
                  <a:lnTo>
                    <a:pt x="158" y="327"/>
                  </a:lnTo>
                  <a:lnTo>
                    <a:pt x="133" y="345"/>
                  </a:lnTo>
                  <a:lnTo>
                    <a:pt x="133" y="348"/>
                  </a:lnTo>
                  <a:lnTo>
                    <a:pt x="133" y="350"/>
                  </a:lnTo>
                  <a:lnTo>
                    <a:pt x="135" y="355"/>
                  </a:lnTo>
                  <a:lnTo>
                    <a:pt x="140" y="363"/>
                  </a:lnTo>
                  <a:lnTo>
                    <a:pt x="140" y="366"/>
                  </a:lnTo>
                  <a:lnTo>
                    <a:pt x="140" y="368"/>
                  </a:lnTo>
                  <a:lnTo>
                    <a:pt x="104" y="345"/>
                  </a:lnTo>
                  <a:lnTo>
                    <a:pt x="79" y="327"/>
                  </a:lnTo>
                  <a:lnTo>
                    <a:pt x="76" y="330"/>
                  </a:lnTo>
                  <a:lnTo>
                    <a:pt x="69" y="335"/>
                  </a:lnTo>
                  <a:lnTo>
                    <a:pt x="61" y="338"/>
                  </a:lnTo>
                  <a:lnTo>
                    <a:pt x="51" y="340"/>
                  </a:lnTo>
                  <a:lnTo>
                    <a:pt x="46" y="340"/>
                  </a:lnTo>
                  <a:lnTo>
                    <a:pt x="46" y="343"/>
                  </a:lnTo>
                  <a:lnTo>
                    <a:pt x="48" y="353"/>
                  </a:lnTo>
                  <a:lnTo>
                    <a:pt x="53" y="363"/>
                  </a:lnTo>
                  <a:lnTo>
                    <a:pt x="56" y="366"/>
                  </a:lnTo>
                  <a:lnTo>
                    <a:pt x="53" y="368"/>
                  </a:lnTo>
                  <a:lnTo>
                    <a:pt x="48" y="366"/>
                  </a:lnTo>
                  <a:lnTo>
                    <a:pt x="40" y="361"/>
                  </a:lnTo>
                  <a:lnTo>
                    <a:pt x="28" y="350"/>
                  </a:lnTo>
                  <a:lnTo>
                    <a:pt x="17" y="340"/>
                  </a:lnTo>
                  <a:lnTo>
                    <a:pt x="12" y="340"/>
                  </a:lnTo>
                  <a:lnTo>
                    <a:pt x="7" y="343"/>
                  </a:lnTo>
                  <a:lnTo>
                    <a:pt x="5" y="350"/>
                  </a:lnTo>
                  <a:lnTo>
                    <a:pt x="5" y="358"/>
                  </a:lnTo>
                  <a:lnTo>
                    <a:pt x="5" y="363"/>
                  </a:lnTo>
                  <a:lnTo>
                    <a:pt x="7" y="368"/>
                  </a:lnTo>
                  <a:lnTo>
                    <a:pt x="15" y="376"/>
                  </a:lnTo>
                  <a:lnTo>
                    <a:pt x="15" y="381"/>
                  </a:lnTo>
                  <a:lnTo>
                    <a:pt x="17" y="386"/>
                  </a:lnTo>
                  <a:lnTo>
                    <a:pt x="15" y="396"/>
                  </a:lnTo>
                  <a:lnTo>
                    <a:pt x="12" y="409"/>
                  </a:lnTo>
                  <a:lnTo>
                    <a:pt x="7" y="422"/>
                  </a:lnTo>
                  <a:lnTo>
                    <a:pt x="0" y="430"/>
                  </a:lnTo>
                  <a:lnTo>
                    <a:pt x="5" y="440"/>
                  </a:lnTo>
                  <a:lnTo>
                    <a:pt x="12" y="448"/>
                  </a:lnTo>
                  <a:lnTo>
                    <a:pt x="12" y="458"/>
                  </a:lnTo>
                  <a:lnTo>
                    <a:pt x="12" y="463"/>
                  </a:lnTo>
                  <a:lnTo>
                    <a:pt x="17" y="468"/>
                  </a:lnTo>
                  <a:lnTo>
                    <a:pt x="23" y="471"/>
                  </a:lnTo>
                  <a:lnTo>
                    <a:pt x="33" y="478"/>
                  </a:lnTo>
                  <a:lnTo>
                    <a:pt x="35" y="483"/>
                  </a:lnTo>
                  <a:lnTo>
                    <a:pt x="35" y="491"/>
                  </a:lnTo>
                  <a:lnTo>
                    <a:pt x="38" y="494"/>
                  </a:lnTo>
                  <a:lnTo>
                    <a:pt x="35" y="496"/>
                  </a:lnTo>
                  <a:lnTo>
                    <a:pt x="25" y="504"/>
                  </a:lnTo>
                  <a:lnTo>
                    <a:pt x="12" y="514"/>
                  </a:lnTo>
                  <a:lnTo>
                    <a:pt x="7" y="524"/>
                  </a:lnTo>
                  <a:lnTo>
                    <a:pt x="2" y="535"/>
                  </a:lnTo>
                  <a:lnTo>
                    <a:pt x="7" y="532"/>
                  </a:lnTo>
                  <a:lnTo>
                    <a:pt x="46" y="532"/>
                  </a:lnTo>
                  <a:lnTo>
                    <a:pt x="61" y="532"/>
                  </a:lnTo>
                  <a:lnTo>
                    <a:pt x="74" y="540"/>
                  </a:lnTo>
                  <a:lnTo>
                    <a:pt x="84" y="547"/>
                  </a:lnTo>
                  <a:lnTo>
                    <a:pt x="92" y="558"/>
                  </a:lnTo>
                  <a:lnTo>
                    <a:pt x="97" y="570"/>
                  </a:lnTo>
                  <a:lnTo>
                    <a:pt x="102" y="586"/>
                  </a:lnTo>
                  <a:lnTo>
                    <a:pt x="104" y="616"/>
                  </a:lnTo>
                  <a:lnTo>
                    <a:pt x="107" y="629"/>
                  </a:lnTo>
                  <a:lnTo>
                    <a:pt x="110" y="637"/>
                  </a:lnTo>
                  <a:lnTo>
                    <a:pt x="115" y="639"/>
                  </a:lnTo>
                  <a:lnTo>
                    <a:pt x="120" y="642"/>
                  </a:lnTo>
                  <a:lnTo>
                    <a:pt x="127" y="639"/>
                  </a:lnTo>
                  <a:lnTo>
                    <a:pt x="130" y="637"/>
                  </a:lnTo>
                  <a:lnTo>
                    <a:pt x="235" y="450"/>
                  </a:lnTo>
                  <a:lnTo>
                    <a:pt x="276" y="458"/>
                  </a:lnTo>
                  <a:lnTo>
                    <a:pt x="345" y="465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61" name="Freeform 1135"/>
            <p:cNvSpPr>
              <a:spLocks/>
            </p:cNvSpPr>
            <p:nvPr/>
          </p:nvSpPr>
          <p:spPr bwMode="auto">
            <a:xfrm>
              <a:off x="1748785" y="4841912"/>
              <a:ext cx="312738" cy="411344"/>
            </a:xfrm>
            <a:custGeom>
              <a:avLst/>
              <a:gdLst>
                <a:gd name="T0" fmla="*/ 7 w 197"/>
                <a:gd name="T1" fmla="*/ 139 h 238"/>
                <a:gd name="T2" fmla="*/ 10 w 197"/>
                <a:gd name="T3" fmla="*/ 126 h 238"/>
                <a:gd name="T4" fmla="*/ 23 w 197"/>
                <a:gd name="T5" fmla="*/ 118 h 238"/>
                <a:gd name="T6" fmla="*/ 2 w 197"/>
                <a:gd name="T7" fmla="*/ 92 h 238"/>
                <a:gd name="T8" fmla="*/ 2 w 197"/>
                <a:gd name="T9" fmla="*/ 77 h 238"/>
                <a:gd name="T10" fmla="*/ 13 w 197"/>
                <a:gd name="T11" fmla="*/ 77 h 238"/>
                <a:gd name="T12" fmla="*/ 20 w 197"/>
                <a:gd name="T13" fmla="*/ 80 h 238"/>
                <a:gd name="T14" fmla="*/ 25 w 197"/>
                <a:gd name="T15" fmla="*/ 72 h 238"/>
                <a:gd name="T16" fmla="*/ 18 w 197"/>
                <a:gd name="T17" fmla="*/ 57 h 238"/>
                <a:gd name="T18" fmla="*/ 18 w 197"/>
                <a:gd name="T19" fmla="*/ 44 h 238"/>
                <a:gd name="T20" fmla="*/ 33 w 197"/>
                <a:gd name="T21" fmla="*/ 39 h 238"/>
                <a:gd name="T22" fmla="*/ 36 w 197"/>
                <a:gd name="T23" fmla="*/ 31 h 238"/>
                <a:gd name="T24" fmla="*/ 30 w 197"/>
                <a:gd name="T25" fmla="*/ 16 h 238"/>
                <a:gd name="T26" fmla="*/ 30 w 197"/>
                <a:gd name="T27" fmla="*/ 3 h 238"/>
                <a:gd name="T28" fmla="*/ 38 w 197"/>
                <a:gd name="T29" fmla="*/ 0 h 238"/>
                <a:gd name="T30" fmla="*/ 51 w 197"/>
                <a:gd name="T31" fmla="*/ 16 h 238"/>
                <a:gd name="T32" fmla="*/ 56 w 197"/>
                <a:gd name="T33" fmla="*/ 31 h 238"/>
                <a:gd name="T34" fmla="*/ 84 w 197"/>
                <a:gd name="T35" fmla="*/ 52 h 238"/>
                <a:gd name="T36" fmla="*/ 89 w 197"/>
                <a:gd name="T37" fmla="*/ 46 h 238"/>
                <a:gd name="T38" fmla="*/ 89 w 197"/>
                <a:gd name="T39" fmla="*/ 18 h 238"/>
                <a:gd name="T40" fmla="*/ 97 w 197"/>
                <a:gd name="T41" fmla="*/ 13 h 238"/>
                <a:gd name="T42" fmla="*/ 110 w 197"/>
                <a:gd name="T43" fmla="*/ 23 h 238"/>
                <a:gd name="T44" fmla="*/ 112 w 197"/>
                <a:gd name="T45" fmla="*/ 64 h 238"/>
                <a:gd name="T46" fmla="*/ 130 w 197"/>
                <a:gd name="T47" fmla="*/ 80 h 238"/>
                <a:gd name="T48" fmla="*/ 140 w 197"/>
                <a:gd name="T49" fmla="*/ 77 h 238"/>
                <a:gd name="T50" fmla="*/ 148 w 197"/>
                <a:gd name="T51" fmla="*/ 75 h 238"/>
                <a:gd name="T52" fmla="*/ 174 w 197"/>
                <a:gd name="T53" fmla="*/ 75 h 238"/>
                <a:gd name="T54" fmla="*/ 181 w 197"/>
                <a:gd name="T55" fmla="*/ 72 h 238"/>
                <a:gd name="T56" fmla="*/ 176 w 197"/>
                <a:gd name="T57" fmla="*/ 144 h 238"/>
                <a:gd name="T58" fmla="*/ 192 w 197"/>
                <a:gd name="T59" fmla="*/ 169 h 238"/>
                <a:gd name="T60" fmla="*/ 194 w 197"/>
                <a:gd name="T61" fmla="*/ 185 h 238"/>
                <a:gd name="T62" fmla="*/ 171 w 197"/>
                <a:gd name="T63" fmla="*/ 172 h 238"/>
                <a:gd name="T64" fmla="*/ 151 w 197"/>
                <a:gd name="T65" fmla="*/ 177 h 238"/>
                <a:gd name="T66" fmla="*/ 123 w 197"/>
                <a:gd name="T67" fmla="*/ 210 h 238"/>
                <a:gd name="T68" fmla="*/ 102 w 197"/>
                <a:gd name="T69" fmla="*/ 223 h 238"/>
                <a:gd name="T70" fmla="*/ 100 w 197"/>
                <a:gd name="T71" fmla="*/ 210 h 238"/>
                <a:gd name="T72" fmla="*/ 89 w 197"/>
                <a:gd name="T73" fmla="*/ 218 h 238"/>
                <a:gd name="T74" fmla="*/ 79 w 197"/>
                <a:gd name="T75" fmla="*/ 238 h 238"/>
                <a:gd name="T76" fmla="*/ 71 w 197"/>
                <a:gd name="T77" fmla="*/ 238 h 238"/>
                <a:gd name="T78" fmla="*/ 59 w 197"/>
                <a:gd name="T79" fmla="*/ 218 h 238"/>
                <a:gd name="T80" fmla="*/ 51 w 197"/>
                <a:gd name="T81" fmla="*/ 200 h 238"/>
                <a:gd name="T82" fmla="*/ 56 w 197"/>
                <a:gd name="T83" fmla="*/ 185 h 238"/>
                <a:gd name="T84" fmla="*/ 66 w 197"/>
                <a:gd name="T85" fmla="*/ 192 h 238"/>
                <a:gd name="T86" fmla="*/ 69 w 197"/>
                <a:gd name="T87" fmla="*/ 182 h 238"/>
                <a:gd name="T88" fmla="*/ 74 w 197"/>
                <a:gd name="T89" fmla="*/ 172 h 238"/>
                <a:gd name="T90" fmla="*/ 84 w 197"/>
                <a:gd name="T91" fmla="*/ 179 h 238"/>
                <a:gd name="T92" fmla="*/ 87 w 197"/>
                <a:gd name="T93" fmla="*/ 151 h 238"/>
                <a:gd name="T94" fmla="*/ 71 w 197"/>
                <a:gd name="T95" fmla="*/ 149 h 238"/>
                <a:gd name="T96" fmla="*/ 20 w 197"/>
                <a:gd name="T97" fmla="*/ 154 h 238"/>
                <a:gd name="T98" fmla="*/ 0 w 197"/>
                <a:gd name="T99" fmla="*/ 149 h 23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97"/>
                <a:gd name="T151" fmla="*/ 0 h 238"/>
                <a:gd name="T152" fmla="*/ 197 w 197"/>
                <a:gd name="T153" fmla="*/ 238 h 23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97" h="238">
                  <a:moveTo>
                    <a:pt x="0" y="149"/>
                  </a:moveTo>
                  <a:lnTo>
                    <a:pt x="0" y="149"/>
                  </a:lnTo>
                  <a:lnTo>
                    <a:pt x="7" y="139"/>
                  </a:lnTo>
                  <a:lnTo>
                    <a:pt x="10" y="133"/>
                  </a:lnTo>
                  <a:lnTo>
                    <a:pt x="10" y="126"/>
                  </a:lnTo>
                  <a:lnTo>
                    <a:pt x="23" y="126"/>
                  </a:lnTo>
                  <a:lnTo>
                    <a:pt x="23" y="118"/>
                  </a:lnTo>
                  <a:lnTo>
                    <a:pt x="15" y="113"/>
                  </a:lnTo>
                  <a:lnTo>
                    <a:pt x="7" y="103"/>
                  </a:lnTo>
                  <a:lnTo>
                    <a:pt x="2" y="92"/>
                  </a:lnTo>
                  <a:lnTo>
                    <a:pt x="2" y="82"/>
                  </a:lnTo>
                  <a:lnTo>
                    <a:pt x="2" y="77"/>
                  </a:lnTo>
                  <a:lnTo>
                    <a:pt x="7" y="75"/>
                  </a:lnTo>
                  <a:lnTo>
                    <a:pt x="13" y="77"/>
                  </a:lnTo>
                  <a:lnTo>
                    <a:pt x="15" y="80"/>
                  </a:lnTo>
                  <a:lnTo>
                    <a:pt x="20" y="80"/>
                  </a:lnTo>
                  <a:lnTo>
                    <a:pt x="25" y="77"/>
                  </a:lnTo>
                  <a:lnTo>
                    <a:pt x="25" y="72"/>
                  </a:lnTo>
                  <a:lnTo>
                    <a:pt x="25" y="67"/>
                  </a:lnTo>
                  <a:lnTo>
                    <a:pt x="23" y="62"/>
                  </a:lnTo>
                  <a:lnTo>
                    <a:pt x="18" y="57"/>
                  </a:lnTo>
                  <a:lnTo>
                    <a:pt x="18" y="49"/>
                  </a:lnTo>
                  <a:lnTo>
                    <a:pt x="18" y="44"/>
                  </a:lnTo>
                  <a:lnTo>
                    <a:pt x="20" y="41"/>
                  </a:lnTo>
                  <a:lnTo>
                    <a:pt x="25" y="39"/>
                  </a:lnTo>
                  <a:lnTo>
                    <a:pt x="33" y="39"/>
                  </a:lnTo>
                  <a:lnTo>
                    <a:pt x="36" y="36"/>
                  </a:lnTo>
                  <a:lnTo>
                    <a:pt x="36" y="31"/>
                  </a:lnTo>
                  <a:lnTo>
                    <a:pt x="36" y="23"/>
                  </a:lnTo>
                  <a:lnTo>
                    <a:pt x="33" y="21"/>
                  </a:lnTo>
                  <a:lnTo>
                    <a:pt x="30" y="16"/>
                  </a:lnTo>
                  <a:lnTo>
                    <a:pt x="30" y="8"/>
                  </a:lnTo>
                  <a:lnTo>
                    <a:pt x="30" y="3"/>
                  </a:lnTo>
                  <a:lnTo>
                    <a:pt x="33" y="0"/>
                  </a:lnTo>
                  <a:lnTo>
                    <a:pt x="38" y="0"/>
                  </a:lnTo>
                  <a:lnTo>
                    <a:pt x="46" y="3"/>
                  </a:lnTo>
                  <a:lnTo>
                    <a:pt x="48" y="8"/>
                  </a:lnTo>
                  <a:lnTo>
                    <a:pt x="51" y="16"/>
                  </a:lnTo>
                  <a:lnTo>
                    <a:pt x="53" y="23"/>
                  </a:lnTo>
                  <a:lnTo>
                    <a:pt x="56" y="31"/>
                  </a:lnTo>
                  <a:lnTo>
                    <a:pt x="66" y="41"/>
                  </a:lnTo>
                  <a:lnTo>
                    <a:pt x="74" y="46"/>
                  </a:lnTo>
                  <a:lnTo>
                    <a:pt x="84" y="52"/>
                  </a:lnTo>
                  <a:lnTo>
                    <a:pt x="87" y="49"/>
                  </a:lnTo>
                  <a:lnTo>
                    <a:pt x="89" y="46"/>
                  </a:lnTo>
                  <a:lnTo>
                    <a:pt x="89" y="36"/>
                  </a:lnTo>
                  <a:lnTo>
                    <a:pt x="89" y="18"/>
                  </a:lnTo>
                  <a:lnTo>
                    <a:pt x="92" y="16"/>
                  </a:lnTo>
                  <a:lnTo>
                    <a:pt x="97" y="13"/>
                  </a:lnTo>
                  <a:lnTo>
                    <a:pt x="107" y="11"/>
                  </a:lnTo>
                  <a:lnTo>
                    <a:pt x="110" y="23"/>
                  </a:lnTo>
                  <a:lnTo>
                    <a:pt x="115" y="34"/>
                  </a:lnTo>
                  <a:lnTo>
                    <a:pt x="112" y="64"/>
                  </a:lnTo>
                  <a:lnTo>
                    <a:pt x="120" y="75"/>
                  </a:lnTo>
                  <a:lnTo>
                    <a:pt x="125" y="80"/>
                  </a:lnTo>
                  <a:lnTo>
                    <a:pt x="130" y="80"/>
                  </a:lnTo>
                  <a:lnTo>
                    <a:pt x="135" y="80"/>
                  </a:lnTo>
                  <a:lnTo>
                    <a:pt x="140" y="77"/>
                  </a:lnTo>
                  <a:lnTo>
                    <a:pt x="146" y="75"/>
                  </a:lnTo>
                  <a:lnTo>
                    <a:pt x="148" y="75"/>
                  </a:lnTo>
                  <a:lnTo>
                    <a:pt x="166" y="75"/>
                  </a:lnTo>
                  <a:lnTo>
                    <a:pt x="174" y="75"/>
                  </a:lnTo>
                  <a:lnTo>
                    <a:pt x="176" y="75"/>
                  </a:lnTo>
                  <a:lnTo>
                    <a:pt x="181" y="72"/>
                  </a:lnTo>
                  <a:lnTo>
                    <a:pt x="176" y="115"/>
                  </a:lnTo>
                  <a:lnTo>
                    <a:pt x="174" y="131"/>
                  </a:lnTo>
                  <a:lnTo>
                    <a:pt x="176" y="144"/>
                  </a:lnTo>
                  <a:lnTo>
                    <a:pt x="184" y="159"/>
                  </a:lnTo>
                  <a:lnTo>
                    <a:pt x="192" y="169"/>
                  </a:lnTo>
                  <a:lnTo>
                    <a:pt x="197" y="177"/>
                  </a:lnTo>
                  <a:lnTo>
                    <a:pt x="194" y="185"/>
                  </a:lnTo>
                  <a:lnTo>
                    <a:pt x="181" y="174"/>
                  </a:lnTo>
                  <a:lnTo>
                    <a:pt x="176" y="172"/>
                  </a:lnTo>
                  <a:lnTo>
                    <a:pt x="171" y="172"/>
                  </a:lnTo>
                  <a:lnTo>
                    <a:pt x="161" y="174"/>
                  </a:lnTo>
                  <a:lnTo>
                    <a:pt x="151" y="177"/>
                  </a:lnTo>
                  <a:lnTo>
                    <a:pt x="140" y="192"/>
                  </a:lnTo>
                  <a:lnTo>
                    <a:pt x="123" y="210"/>
                  </a:lnTo>
                  <a:lnTo>
                    <a:pt x="115" y="218"/>
                  </a:lnTo>
                  <a:lnTo>
                    <a:pt x="107" y="223"/>
                  </a:lnTo>
                  <a:lnTo>
                    <a:pt x="102" y="223"/>
                  </a:lnTo>
                  <a:lnTo>
                    <a:pt x="102" y="220"/>
                  </a:lnTo>
                  <a:lnTo>
                    <a:pt x="100" y="213"/>
                  </a:lnTo>
                  <a:lnTo>
                    <a:pt x="100" y="210"/>
                  </a:lnTo>
                  <a:lnTo>
                    <a:pt x="97" y="210"/>
                  </a:lnTo>
                  <a:lnTo>
                    <a:pt x="89" y="218"/>
                  </a:lnTo>
                  <a:lnTo>
                    <a:pt x="84" y="228"/>
                  </a:lnTo>
                  <a:lnTo>
                    <a:pt x="82" y="236"/>
                  </a:lnTo>
                  <a:lnTo>
                    <a:pt x="79" y="238"/>
                  </a:lnTo>
                  <a:lnTo>
                    <a:pt x="77" y="238"/>
                  </a:lnTo>
                  <a:lnTo>
                    <a:pt x="71" y="238"/>
                  </a:lnTo>
                  <a:lnTo>
                    <a:pt x="66" y="236"/>
                  </a:lnTo>
                  <a:lnTo>
                    <a:pt x="64" y="225"/>
                  </a:lnTo>
                  <a:lnTo>
                    <a:pt x="59" y="218"/>
                  </a:lnTo>
                  <a:lnTo>
                    <a:pt x="53" y="208"/>
                  </a:lnTo>
                  <a:lnTo>
                    <a:pt x="51" y="200"/>
                  </a:lnTo>
                  <a:lnTo>
                    <a:pt x="51" y="190"/>
                  </a:lnTo>
                  <a:lnTo>
                    <a:pt x="53" y="187"/>
                  </a:lnTo>
                  <a:lnTo>
                    <a:pt x="56" y="185"/>
                  </a:lnTo>
                  <a:lnTo>
                    <a:pt x="61" y="187"/>
                  </a:lnTo>
                  <a:lnTo>
                    <a:pt x="66" y="192"/>
                  </a:lnTo>
                  <a:lnTo>
                    <a:pt x="69" y="192"/>
                  </a:lnTo>
                  <a:lnTo>
                    <a:pt x="69" y="190"/>
                  </a:lnTo>
                  <a:lnTo>
                    <a:pt x="69" y="182"/>
                  </a:lnTo>
                  <a:lnTo>
                    <a:pt x="69" y="177"/>
                  </a:lnTo>
                  <a:lnTo>
                    <a:pt x="69" y="172"/>
                  </a:lnTo>
                  <a:lnTo>
                    <a:pt x="74" y="172"/>
                  </a:lnTo>
                  <a:lnTo>
                    <a:pt x="79" y="177"/>
                  </a:lnTo>
                  <a:lnTo>
                    <a:pt x="84" y="179"/>
                  </a:lnTo>
                  <a:lnTo>
                    <a:pt x="87" y="177"/>
                  </a:lnTo>
                  <a:lnTo>
                    <a:pt x="87" y="169"/>
                  </a:lnTo>
                  <a:lnTo>
                    <a:pt x="87" y="151"/>
                  </a:lnTo>
                  <a:lnTo>
                    <a:pt x="79" y="151"/>
                  </a:lnTo>
                  <a:lnTo>
                    <a:pt x="71" y="149"/>
                  </a:lnTo>
                  <a:lnTo>
                    <a:pt x="56" y="151"/>
                  </a:lnTo>
                  <a:lnTo>
                    <a:pt x="38" y="154"/>
                  </a:lnTo>
                  <a:lnTo>
                    <a:pt x="20" y="154"/>
                  </a:lnTo>
                  <a:lnTo>
                    <a:pt x="0" y="151"/>
                  </a:lnTo>
                  <a:lnTo>
                    <a:pt x="0" y="149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62" name="Freeform 1136"/>
            <p:cNvSpPr>
              <a:spLocks/>
            </p:cNvSpPr>
            <p:nvPr/>
          </p:nvSpPr>
          <p:spPr bwMode="auto">
            <a:xfrm rot="745392">
              <a:off x="1643411" y="4371690"/>
              <a:ext cx="339784" cy="521481"/>
            </a:xfrm>
            <a:custGeom>
              <a:avLst/>
              <a:gdLst>
                <a:gd name="T0" fmla="*/ 69 w 194"/>
                <a:gd name="T1" fmla="*/ 49 h 300"/>
                <a:gd name="T2" fmla="*/ 56 w 194"/>
                <a:gd name="T3" fmla="*/ 21 h 300"/>
                <a:gd name="T4" fmla="*/ 46 w 194"/>
                <a:gd name="T5" fmla="*/ 10 h 300"/>
                <a:gd name="T6" fmla="*/ 36 w 194"/>
                <a:gd name="T7" fmla="*/ 0 h 300"/>
                <a:gd name="T8" fmla="*/ 28 w 194"/>
                <a:gd name="T9" fmla="*/ 0 h 300"/>
                <a:gd name="T10" fmla="*/ 41 w 194"/>
                <a:gd name="T11" fmla="*/ 49 h 300"/>
                <a:gd name="T12" fmla="*/ 38 w 194"/>
                <a:gd name="T13" fmla="*/ 82 h 300"/>
                <a:gd name="T14" fmla="*/ 30 w 194"/>
                <a:gd name="T15" fmla="*/ 110 h 300"/>
                <a:gd name="T16" fmla="*/ 13 w 194"/>
                <a:gd name="T17" fmla="*/ 126 h 300"/>
                <a:gd name="T18" fmla="*/ 0 w 194"/>
                <a:gd name="T19" fmla="*/ 133 h 300"/>
                <a:gd name="T20" fmla="*/ 18 w 194"/>
                <a:gd name="T21" fmla="*/ 141 h 300"/>
                <a:gd name="T22" fmla="*/ 23 w 194"/>
                <a:gd name="T23" fmla="*/ 149 h 300"/>
                <a:gd name="T24" fmla="*/ 33 w 194"/>
                <a:gd name="T25" fmla="*/ 159 h 300"/>
                <a:gd name="T26" fmla="*/ 46 w 194"/>
                <a:gd name="T27" fmla="*/ 167 h 300"/>
                <a:gd name="T28" fmla="*/ 38 w 194"/>
                <a:gd name="T29" fmla="*/ 177 h 300"/>
                <a:gd name="T30" fmla="*/ 54 w 194"/>
                <a:gd name="T31" fmla="*/ 205 h 300"/>
                <a:gd name="T32" fmla="*/ 64 w 194"/>
                <a:gd name="T33" fmla="*/ 220 h 300"/>
                <a:gd name="T34" fmla="*/ 92 w 194"/>
                <a:gd name="T35" fmla="*/ 233 h 300"/>
                <a:gd name="T36" fmla="*/ 110 w 194"/>
                <a:gd name="T37" fmla="*/ 248 h 300"/>
                <a:gd name="T38" fmla="*/ 117 w 194"/>
                <a:gd name="T39" fmla="*/ 248 h 300"/>
                <a:gd name="T40" fmla="*/ 125 w 194"/>
                <a:gd name="T41" fmla="*/ 248 h 300"/>
                <a:gd name="T42" fmla="*/ 138 w 194"/>
                <a:gd name="T43" fmla="*/ 264 h 300"/>
                <a:gd name="T44" fmla="*/ 143 w 194"/>
                <a:gd name="T45" fmla="*/ 279 h 300"/>
                <a:gd name="T46" fmla="*/ 171 w 194"/>
                <a:gd name="T47" fmla="*/ 300 h 300"/>
                <a:gd name="T48" fmla="*/ 176 w 194"/>
                <a:gd name="T49" fmla="*/ 294 h 300"/>
                <a:gd name="T50" fmla="*/ 176 w 194"/>
                <a:gd name="T51" fmla="*/ 266 h 300"/>
                <a:gd name="T52" fmla="*/ 184 w 194"/>
                <a:gd name="T53" fmla="*/ 261 h 300"/>
                <a:gd name="T54" fmla="*/ 194 w 194"/>
                <a:gd name="T55" fmla="*/ 253 h 300"/>
                <a:gd name="T56" fmla="*/ 189 w 194"/>
                <a:gd name="T57" fmla="*/ 243 h 300"/>
                <a:gd name="T58" fmla="*/ 176 w 194"/>
                <a:gd name="T59" fmla="*/ 225 h 300"/>
                <a:gd name="T60" fmla="*/ 179 w 194"/>
                <a:gd name="T61" fmla="*/ 215 h 300"/>
                <a:gd name="T62" fmla="*/ 189 w 194"/>
                <a:gd name="T63" fmla="*/ 205 h 300"/>
                <a:gd name="T64" fmla="*/ 184 w 194"/>
                <a:gd name="T65" fmla="*/ 187 h 300"/>
                <a:gd name="T66" fmla="*/ 176 w 194"/>
                <a:gd name="T67" fmla="*/ 177 h 300"/>
                <a:gd name="T68" fmla="*/ 164 w 194"/>
                <a:gd name="T69" fmla="*/ 164 h 300"/>
                <a:gd name="T70" fmla="*/ 153 w 194"/>
                <a:gd name="T71" fmla="*/ 159 h 300"/>
                <a:gd name="T72" fmla="*/ 128 w 194"/>
                <a:gd name="T73" fmla="*/ 151 h 300"/>
                <a:gd name="T74" fmla="*/ 128 w 194"/>
                <a:gd name="T75" fmla="*/ 143 h 300"/>
                <a:gd name="T76" fmla="*/ 128 w 194"/>
                <a:gd name="T77" fmla="*/ 136 h 300"/>
                <a:gd name="T78" fmla="*/ 120 w 194"/>
                <a:gd name="T79" fmla="*/ 126 h 300"/>
                <a:gd name="T80" fmla="*/ 110 w 194"/>
                <a:gd name="T81" fmla="*/ 105 h 300"/>
                <a:gd name="T82" fmla="*/ 100 w 194"/>
                <a:gd name="T83" fmla="*/ 80 h 300"/>
                <a:gd name="T84" fmla="*/ 92 w 194"/>
                <a:gd name="T85" fmla="*/ 74 h 30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94"/>
                <a:gd name="T130" fmla="*/ 0 h 300"/>
                <a:gd name="T131" fmla="*/ 194 w 194"/>
                <a:gd name="T132" fmla="*/ 300 h 30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94" h="300">
                  <a:moveTo>
                    <a:pt x="92" y="74"/>
                  </a:moveTo>
                  <a:lnTo>
                    <a:pt x="92" y="74"/>
                  </a:lnTo>
                  <a:lnTo>
                    <a:pt x="69" y="49"/>
                  </a:lnTo>
                  <a:lnTo>
                    <a:pt x="59" y="33"/>
                  </a:lnTo>
                  <a:lnTo>
                    <a:pt x="56" y="26"/>
                  </a:lnTo>
                  <a:lnTo>
                    <a:pt x="56" y="21"/>
                  </a:lnTo>
                  <a:lnTo>
                    <a:pt x="51" y="16"/>
                  </a:lnTo>
                  <a:lnTo>
                    <a:pt x="46" y="10"/>
                  </a:lnTo>
                  <a:lnTo>
                    <a:pt x="38" y="3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28" y="0"/>
                  </a:lnTo>
                  <a:lnTo>
                    <a:pt x="36" y="28"/>
                  </a:lnTo>
                  <a:lnTo>
                    <a:pt x="38" y="41"/>
                  </a:lnTo>
                  <a:lnTo>
                    <a:pt x="41" y="49"/>
                  </a:lnTo>
                  <a:lnTo>
                    <a:pt x="41" y="69"/>
                  </a:lnTo>
                  <a:lnTo>
                    <a:pt x="38" y="82"/>
                  </a:lnTo>
                  <a:lnTo>
                    <a:pt x="36" y="97"/>
                  </a:lnTo>
                  <a:lnTo>
                    <a:pt x="30" y="110"/>
                  </a:lnTo>
                  <a:lnTo>
                    <a:pt x="23" y="120"/>
                  </a:lnTo>
                  <a:lnTo>
                    <a:pt x="13" y="126"/>
                  </a:lnTo>
                  <a:lnTo>
                    <a:pt x="2" y="131"/>
                  </a:lnTo>
                  <a:lnTo>
                    <a:pt x="0" y="133"/>
                  </a:lnTo>
                  <a:lnTo>
                    <a:pt x="2" y="136"/>
                  </a:lnTo>
                  <a:lnTo>
                    <a:pt x="10" y="138"/>
                  </a:lnTo>
                  <a:lnTo>
                    <a:pt x="18" y="141"/>
                  </a:lnTo>
                  <a:lnTo>
                    <a:pt x="23" y="143"/>
                  </a:lnTo>
                  <a:lnTo>
                    <a:pt x="23" y="149"/>
                  </a:lnTo>
                  <a:lnTo>
                    <a:pt x="23" y="151"/>
                  </a:lnTo>
                  <a:lnTo>
                    <a:pt x="25" y="156"/>
                  </a:lnTo>
                  <a:lnTo>
                    <a:pt x="33" y="159"/>
                  </a:lnTo>
                  <a:lnTo>
                    <a:pt x="41" y="164"/>
                  </a:lnTo>
                  <a:lnTo>
                    <a:pt x="46" y="167"/>
                  </a:lnTo>
                  <a:lnTo>
                    <a:pt x="46" y="169"/>
                  </a:lnTo>
                  <a:lnTo>
                    <a:pt x="38" y="177"/>
                  </a:lnTo>
                  <a:lnTo>
                    <a:pt x="46" y="184"/>
                  </a:lnTo>
                  <a:lnTo>
                    <a:pt x="51" y="192"/>
                  </a:lnTo>
                  <a:lnTo>
                    <a:pt x="54" y="205"/>
                  </a:lnTo>
                  <a:lnTo>
                    <a:pt x="54" y="215"/>
                  </a:lnTo>
                  <a:lnTo>
                    <a:pt x="64" y="220"/>
                  </a:lnTo>
                  <a:lnTo>
                    <a:pt x="74" y="223"/>
                  </a:lnTo>
                  <a:lnTo>
                    <a:pt x="84" y="228"/>
                  </a:lnTo>
                  <a:lnTo>
                    <a:pt x="92" y="233"/>
                  </a:lnTo>
                  <a:lnTo>
                    <a:pt x="102" y="243"/>
                  </a:lnTo>
                  <a:lnTo>
                    <a:pt x="110" y="248"/>
                  </a:lnTo>
                  <a:lnTo>
                    <a:pt x="117" y="248"/>
                  </a:lnTo>
                  <a:lnTo>
                    <a:pt x="120" y="248"/>
                  </a:lnTo>
                  <a:lnTo>
                    <a:pt x="125" y="248"/>
                  </a:lnTo>
                  <a:lnTo>
                    <a:pt x="133" y="251"/>
                  </a:lnTo>
                  <a:lnTo>
                    <a:pt x="135" y="256"/>
                  </a:lnTo>
                  <a:lnTo>
                    <a:pt x="138" y="264"/>
                  </a:lnTo>
                  <a:lnTo>
                    <a:pt x="140" y="271"/>
                  </a:lnTo>
                  <a:lnTo>
                    <a:pt x="143" y="279"/>
                  </a:lnTo>
                  <a:lnTo>
                    <a:pt x="153" y="289"/>
                  </a:lnTo>
                  <a:lnTo>
                    <a:pt x="161" y="294"/>
                  </a:lnTo>
                  <a:lnTo>
                    <a:pt x="171" y="300"/>
                  </a:lnTo>
                  <a:lnTo>
                    <a:pt x="174" y="297"/>
                  </a:lnTo>
                  <a:lnTo>
                    <a:pt x="176" y="294"/>
                  </a:lnTo>
                  <a:lnTo>
                    <a:pt x="176" y="284"/>
                  </a:lnTo>
                  <a:lnTo>
                    <a:pt x="176" y="266"/>
                  </a:lnTo>
                  <a:lnTo>
                    <a:pt x="179" y="264"/>
                  </a:lnTo>
                  <a:lnTo>
                    <a:pt x="184" y="261"/>
                  </a:lnTo>
                  <a:lnTo>
                    <a:pt x="194" y="259"/>
                  </a:lnTo>
                  <a:lnTo>
                    <a:pt x="194" y="253"/>
                  </a:lnTo>
                  <a:lnTo>
                    <a:pt x="192" y="248"/>
                  </a:lnTo>
                  <a:lnTo>
                    <a:pt x="189" y="243"/>
                  </a:lnTo>
                  <a:lnTo>
                    <a:pt x="184" y="241"/>
                  </a:lnTo>
                  <a:lnTo>
                    <a:pt x="179" y="236"/>
                  </a:lnTo>
                  <a:lnTo>
                    <a:pt x="176" y="225"/>
                  </a:lnTo>
                  <a:lnTo>
                    <a:pt x="176" y="220"/>
                  </a:lnTo>
                  <a:lnTo>
                    <a:pt x="179" y="215"/>
                  </a:lnTo>
                  <a:lnTo>
                    <a:pt x="184" y="210"/>
                  </a:lnTo>
                  <a:lnTo>
                    <a:pt x="189" y="205"/>
                  </a:lnTo>
                  <a:lnTo>
                    <a:pt x="187" y="200"/>
                  </a:lnTo>
                  <a:lnTo>
                    <a:pt x="187" y="195"/>
                  </a:lnTo>
                  <a:lnTo>
                    <a:pt x="184" y="187"/>
                  </a:lnTo>
                  <a:lnTo>
                    <a:pt x="181" y="182"/>
                  </a:lnTo>
                  <a:lnTo>
                    <a:pt x="176" y="177"/>
                  </a:lnTo>
                  <a:lnTo>
                    <a:pt x="169" y="172"/>
                  </a:lnTo>
                  <a:lnTo>
                    <a:pt x="164" y="167"/>
                  </a:lnTo>
                  <a:lnTo>
                    <a:pt x="164" y="164"/>
                  </a:lnTo>
                  <a:lnTo>
                    <a:pt x="164" y="161"/>
                  </a:lnTo>
                  <a:lnTo>
                    <a:pt x="153" y="159"/>
                  </a:lnTo>
                  <a:lnTo>
                    <a:pt x="140" y="159"/>
                  </a:lnTo>
                  <a:lnTo>
                    <a:pt x="130" y="154"/>
                  </a:lnTo>
                  <a:lnTo>
                    <a:pt x="128" y="151"/>
                  </a:lnTo>
                  <a:lnTo>
                    <a:pt x="125" y="146"/>
                  </a:lnTo>
                  <a:lnTo>
                    <a:pt x="128" y="143"/>
                  </a:lnTo>
                  <a:lnTo>
                    <a:pt x="130" y="141"/>
                  </a:lnTo>
                  <a:lnTo>
                    <a:pt x="128" y="136"/>
                  </a:lnTo>
                  <a:lnTo>
                    <a:pt x="125" y="133"/>
                  </a:lnTo>
                  <a:lnTo>
                    <a:pt x="123" y="131"/>
                  </a:lnTo>
                  <a:lnTo>
                    <a:pt x="120" y="126"/>
                  </a:lnTo>
                  <a:lnTo>
                    <a:pt x="115" y="118"/>
                  </a:lnTo>
                  <a:lnTo>
                    <a:pt x="110" y="105"/>
                  </a:lnTo>
                  <a:lnTo>
                    <a:pt x="105" y="87"/>
                  </a:lnTo>
                  <a:lnTo>
                    <a:pt x="100" y="80"/>
                  </a:lnTo>
                  <a:lnTo>
                    <a:pt x="92" y="74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63" name="Freeform 1131"/>
            <p:cNvSpPr>
              <a:spLocks/>
            </p:cNvSpPr>
            <p:nvPr/>
          </p:nvSpPr>
          <p:spPr bwMode="auto">
            <a:xfrm rot="350816">
              <a:off x="1376896" y="2956752"/>
              <a:ext cx="905256" cy="1059194"/>
            </a:xfrm>
            <a:custGeom>
              <a:avLst/>
              <a:gdLst>
                <a:gd name="T0" fmla="*/ 202 w 514"/>
                <a:gd name="T1" fmla="*/ 18 h 637"/>
                <a:gd name="T2" fmla="*/ 238 w 514"/>
                <a:gd name="T3" fmla="*/ 33 h 637"/>
                <a:gd name="T4" fmla="*/ 276 w 514"/>
                <a:gd name="T5" fmla="*/ 117 h 637"/>
                <a:gd name="T6" fmla="*/ 299 w 514"/>
                <a:gd name="T7" fmla="*/ 148 h 637"/>
                <a:gd name="T8" fmla="*/ 317 w 514"/>
                <a:gd name="T9" fmla="*/ 169 h 637"/>
                <a:gd name="T10" fmla="*/ 332 w 514"/>
                <a:gd name="T11" fmla="*/ 202 h 637"/>
                <a:gd name="T12" fmla="*/ 348 w 514"/>
                <a:gd name="T13" fmla="*/ 217 h 637"/>
                <a:gd name="T14" fmla="*/ 381 w 514"/>
                <a:gd name="T15" fmla="*/ 210 h 637"/>
                <a:gd name="T16" fmla="*/ 404 w 514"/>
                <a:gd name="T17" fmla="*/ 233 h 637"/>
                <a:gd name="T18" fmla="*/ 430 w 514"/>
                <a:gd name="T19" fmla="*/ 243 h 637"/>
                <a:gd name="T20" fmla="*/ 465 w 514"/>
                <a:gd name="T21" fmla="*/ 271 h 637"/>
                <a:gd name="T22" fmla="*/ 453 w 514"/>
                <a:gd name="T23" fmla="*/ 309 h 637"/>
                <a:gd name="T24" fmla="*/ 430 w 514"/>
                <a:gd name="T25" fmla="*/ 320 h 637"/>
                <a:gd name="T26" fmla="*/ 445 w 514"/>
                <a:gd name="T27" fmla="*/ 350 h 637"/>
                <a:gd name="T28" fmla="*/ 430 w 514"/>
                <a:gd name="T29" fmla="*/ 381 h 637"/>
                <a:gd name="T30" fmla="*/ 440 w 514"/>
                <a:gd name="T31" fmla="*/ 406 h 637"/>
                <a:gd name="T32" fmla="*/ 453 w 514"/>
                <a:gd name="T33" fmla="*/ 432 h 637"/>
                <a:gd name="T34" fmla="*/ 470 w 514"/>
                <a:gd name="T35" fmla="*/ 468 h 637"/>
                <a:gd name="T36" fmla="*/ 486 w 514"/>
                <a:gd name="T37" fmla="*/ 486 h 637"/>
                <a:gd name="T38" fmla="*/ 514 w 514"/>
                <a:gd name="T39" fmla="*/ 550 h 637"/>
                <a:gd name="T40" fmla="*/ 481 w 514"/>
                <a:gd name="T41" fmla="*/ 565 h 637"/>
                <a:gd name="T42" fmla="*/ 470 w 514"/>
                <a:gd name="T43" fmla="*/ 575 h 637"/>
                <a:gd name="T44" fmla="*/ 458 w 514"/>
                <a:gd name="T45" fmla="*/ 603 h 637"/>
                <a:gd name="T46" fmla="*/ 419 w 514"/>
                <a:gd name="T47" fmla="*/ 593 h 637"/>
                <a:gd name="T48" fmla="*/ 396 w 514"/>
                <a:gd name="T49" fmla="*/ 593 h 637"/>
                <a:gd name="T50" fmla="*/ 360 w 514"/>
                <a:gd name="T51" fmla="*/ 601 h 637"/>
                <a:gd name="T52" fmla="*/ 317 w 514"/>
                <a:gd name="T53" fmla="*/ 586 h 637"/>
                <a:gd name="T54" fmla="*/ 268 w 514"/>
                <a:gd name="T55" fmla="*/ 557 h 637"/>
                <a:gd name="T56" fmla="*/ 230 w 514"/>
                <a:gd name="T57" fmla="*/ 547 h 637"/>
                <a:gd name="T58" fmla="*/ 210 w 514"/>
                <a:gd name="T59" fmla="*/ 593 h 637"/>
                <a:gd name="T60" fmla="*/ 240 w 514"/>
                <a:gd name="T61" fmla="*/ 626 h 637"/>
                <a:gd name="T62" fmla="*/ 202 w 514"/>
                <a:gd name="T63" fmla="*/ 619 h 637"/>
                <a:gd name="T64" fmla="*/ 176 w 514"/>
                <a:gd name="T65" fmla="*/ 609 h 637"/>
                <a:gd name="T66" fmla="*/ 125 w 514"/>
                <a:gd name="T67" fmla="*/ 591 h 637"/>
                <a:gd name="T68" fmla="*/ 115 w 514"/>
                <a:gd name="T69" fmla="*/ 563 h 637"/>
                <a:gd name="T70" fmla="*/ 135 w 514"/>
                <a:gd name="T71" fmla="*/ 534 h 637"/>
                <a:gd name="T72" fmla="*/ 125 w 514"/>
                <a:gd name="T73" fmla="*/ 499 h 637"/>
                <a:gd name="T74" fmla="*/ 158 w 514"/>
                <a:gd name="T75" fmla="*/ 514 h 637"/>
                <a:gd name="T76" fmla="*/ 171 w 514"/>
                <a:gd name="T77" fmla="*/ 491 h 637"/>
                <a:gd name="T78" fmla="*/ 156 w 514"/>
                <a:gd name="T79" fmla="*/ 447 h 637"/>
                <a:gd name="T80" fmla="*/ 153 w 514"/>
                <a:gd name="T81" fmla="*/ 424 h 637"/>
                <a:gd name="T82" fmla="*/ 84 w 514"/>
                <a:gd name="T83" fmla="*/ 409 h 637"/>
                <a:gd name="T84" fmla="*/ 33 w 514"/>
                <a:gd name="T85" fmla="*/ 396 h 637"/>
                <a:gd name="T86" fmla="*/ 10 w 514"/>
                <a:gd name="T87" fmla="*/ 368 h 637"/>
                <a:gd name="T88" fmla="*/ 61 w 514"/>
                <a:gd name="T89" fmla="*/ 371 h 637"/>
                <a:gd name="T90" fmla="*/ 87 w 514"/>
                <a:gd name="T91" fmla="*/ 371 h 637"/>
                <a:gd name="T92" fmla="*/ 112 w 514"/>
                <a:gd name="T93" fmla="*/ 373 h 637"/>
                <a:gd name="T94" fmla="*/ 133 w 514"/>
                <a:gd name="T95" fmla="*/ 340 h 637"/>
                <a:gd name="T96" fmla="*/ 128 w 514"/>
                <a:gd name="T97" fmla="*/ 320 h 637"/>
                <a:gd name="T98" fmla="*/ 146 w 514"/>
                <a:gd name="T99" fmla="*/ 304 h 637"/>
                <a:gd name="T100" fmla="*/ 158 w 514"/>
                <a:gd name="T101" fmla="*/ 291 h 637"/>
                <a:gd name="T102" fmla="*/ 133 w 514"/>
                <a:gd name="T103" fmla="*/ 235 h 637"/>
                <a:gd name="T104" fmla="*/ 100 w 514"/>
                <a:gd name="T105" fmla="*/ 204 h 637"/>
                <a:gd name="T106" fmla="*/ 56 w 514"/>
                <a:gd name="T107" fmla="*/ 192 h 637"/>
                <a:gd name="T108" fmla="*/ 15 w 514"/>
                <a:gd name="T109" fmla="*/ 153 h 637"/>
                <a:gd name="T110" fmla="*/ 7 w 514"/>
                <a:gd name="T111" fmla="*/ 59 h 637"/>
                <a:gd name="T112" fmla="*/ 64 w 514"/>
                <a:gd name="T113" fmla="*/ 43 h 637"/>
                <a:gd name="T114" fmla="*/ 128 w 514"/>
                <a:gd name="T115" fmla="*/ 41 h 637"/>
                <a:gd name="T116" fmla="*/ 161 w 514"/>
                <a:gd name="T117" fmla="*/ 38 h 63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514"/>
                <a:gd name="T178" fmla="*/ 0 h 637"/>
                <a:gd name="T179" fmla="*/ 514 w 514"/>
                <a:gd name="T180" fmla="*/ 637 h 637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18 w 10000"/>
                <a:gd name="connsiteY40" fmla="*/ 3250 h 10000"/>
                <a:gd name="connsiteX41" fmla="*/ 7354 w 10000"/>
                <a:gd name="connsiteY41" fmla="*/ 3250 h 10000"/>
                <a:gd name="connsiteX42" fmla="*/ 7412 w 10000"/>
                <a:gd name="connsiteY42" fmla="*/ 3297 h 10000"/>
                <a:gd name="connsiteX43" fmla="*/ 7568 w 10000"/>
                <a:gd name="connsiteY43" fmla="*/ 3375 h 10000"/>
                <a:gd name="connsiteX44" fmla="*/ 7665 w 10000"/>
                <a:gd name="connsiteY44" fmla="*/ 3454 h 10000"/>
                <a:gd name="connsiteX45" fmla="*/ 7704 w 10000"/>
                <a:gd name="connsiteY45" fmla="*/ 3485 h 10000"/>
                <a:gd name="connsiteX46" fmla="*/ 7802 w 10000"/>
                <a:gd name="connsiteY46" fmla="*/ 3485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405 w 10000"/>
                <a:gd name="connsiteY125" fmla="*/ 9560 h 10000"/>
                <a:gd name="connsiteX126" fmla="*/ 8249 w 10000"/>
                <a:gd name="connsiteY126" fmla="*/ 9435 h 10000"/>
                <a:gd name="connsiteX127" fmla="*/ 8152 w 10000"/>
                <a:gd name="connsiteY127" fmla="*/ 9309 h 10000"/>
                <a:gd name="connsiteX128" fmla="*/ 8054 w 10000"/>
                <a:gd name="connsiteY128" fmla="*/ 9278 h 10000"/>
                <a:gd name="connsiteX129" fmla="*/ 7957 w 10000"/>
                <a:gd name="connsiteY129" fmla="*/ 9278 h 10000"/>
                <a:gd name="connsiteX130" fmla="*/ 7918 w 10000"/>
                <a:gd name="connsiteY130" fmla="*/ 9309 h 10000"/>
                <a:gd name="connsiteX131" fmla="*/ 7802 w 10000"/>
                <a:gd name="connsiteY131" fmla="*/ 9356 h 10000"/>
                <a:gd name="connsiteX132" fmla="*/ 7704 w 10000"/>
                <a:gd name="connsiteY132" fmla="*/ 9309 h 10000"/>
                <a:gd name="connsiteX133" fmla="*/ 7665 w 10000"/>
                <a:gd name="connsiteY133" fmla="*/ 9278 h 10000"/>
                <a:gd name="connsiteX134" fmla="*/ 7568 w 10000"/>
                <a:gd name="connsiteY134" fmla="*/ 9231 h 10000"/>
                <a:gd name="connsiteX135" fmla="*/ 7510 w 10000"/>
                <a:gd name="connsiteY135" fmla="*/ 9199 h 10000"/>
                <a:gd name="connsiteX136" fmla="*/ 7354 w 10000"/>
                <a:gd name="connsiteY136" fmla="*/ 9231 h 10000"/>
                <a:gd name="connsiteX137" fmla="*/ 7399 w 10000"/>
                <a:gd name="connsiteY137" fmla="*/ 9465 h 10000"/>
                <a:gd name="connsiteX138" fmla="*/ 7004 w 10000"/>
                <a:gd name="connsiteY138" fmla="*/ 9435 h 10000"/>
                <a:gd name="connsiteX139" fmla="*/ 7004 w 10000"/>
                <a:gd name="connsiteY139" fmla="*/ 9388 h 10000"/>
                <a:gd name="connsiteX140" fmla="*/ 6965 w 10000"/>
                <a:gd name="connsiteY140" fmla="*/ 9388 h 10000"/>
                <a:gd name="connsiteX141" fmla="*/ 6809 w 10000"/>
                <a:gd name="connsiteY141" fmla="*/ 9309 h 10000"/>
                <a:gd name="connsiteX142" fmla="*/ 6615 w 10000"/>
                <a:gd name="connsiteY142" fmla="*/ 9231 h 10000"/>
                <a:gd name="connsiteX143" fmla="*/ 6167 w 10000"/>
                <a:gd name="connsiteY143" fmla="*/ 9199 h 10000"/>
                <a:gd name="connsiteX144" fmla="*/ 6109 w 10000"/>
                <a:gd name="connsiteY144" fmla="*/ 9152 h 10000"/>
                <a:gd name="connsiteX145" fmla="*/ 5817 w 10000"/>
                <a:gd name="connsiteY145" fmla="*/ 9074 h 10000"/>
                <a:gd name="connsiteX146" fmla="*/ 5661 w 10000"/>
                <a:gd name="connsiteY146" fmla="*/ 9027 h 10000"/>
                <a:gd name="connsiteX147" fmla="*/ 5564 w 10000"/>
                <a:gd name="connsiteY147" fmla="*/ 8917 h 10000"/>
                <a:gd name="connsiteX148" fmla="*/ 5214 w 10000"/>
                <a:gd name="connsiteY148" fmla="*/ 8744 h 10000"/>
                <a:gd name="connsiteX149" fmla="*/ 4864 w 10000"/>
                <a:gd name="connsiteY149" fmla="*/ 8634 h 10000"/>
                <a:gd name="connsiteX150" fmla="*/ 4825 w 10000"/>
                <a:gd name="connsiteY150" fmla="*/ 8666 h 10000"/>
                <a:gd name="connsiteX151" fmla="*/ 4864 w 10000"/>
                <a:gd name="connsiteY151" fmla="*/ 8634 h 10000"/>
                <a:gd name="connsiteX152" fmla="*/ 4767 w 10000"/>
                <a:gd name="connsiteY152" fmla="*/ 8666 h 10000"/>
                <a:gd name="connsiteX153" fmla="*/ 4669 w 10000"/>
                <a:gd name="connsiteY153" fmla="*/ 8666 h 10000"/>
                <a:gd name="connsiteX154" fmla="*/ 4475 w 10000"/>
                <a:gd name="connsiteY154" fmla="*/ 8587 h 10000"/>
                <a:gd name="connsiteX155" fmla="*/ 4377 w 10000"/>
                <a:gd name="connsiteY155" fmla="*/ 8556 h 10000"/>
                <a:gd name="connsiteX156" fmla="*/ 4319 w 10000"/>
                <a:gd name="connsiteY156" fmla="*/ 8556 h 10000"/>
                <a:gd name="connsiteX157" fmla="*/ 4222 w 10000"/>
                <a:gd name="connsiteY157" fmla="*/ 8587 h 10000"/>
                <a:gd name="connsiteX158" fmla="*/ 4183 w 10000"/>
                <a:gd name="connsiteY158" fmla="*/ 8666 h 10000"/>
                <a:gd name="connsiteX159" fmla="*/ 4183 w 10000"/>
                <a:gd name="connsiteY159" fmla="*/ 8791 h 10000"/>
                <a:gd name="connsiteX160" fmla="*/ 4086 w 10000"/>
                <a:gd name="connsiteY160" fmla="*/ 9309 h 10000"/>
                <a:gd name="connsiteX161" fmla="*/ 4125 w 10000"/>
                <a:gd name="connsiteY161" fmla="*/ 9388 h 10000"/>
                <a:gd name="connsiteX162" fmla="*/ 4280 w 10000"/>
                <a:gd name="connsiteY162" fmla="*/ 9466 h 10000"/>
                <a:gd name="connsiteX163" fmla="*/ 4669 w 10000"/>
                <a:gd name="connsiteY163" fmla="*/ 9670 h 10000"/>
                <a:gd name="connsiteX164" fmla="*/ 4669 w 10000"/>
                <a:gd name="connsiteY164" fmla="*/ 9749 h 10000"/>
                <a:gd name="connsiteX165" fmla="*/ 4669 w 10000"/>
                <a:gd name="connsiteY165" fmla="*/ 9827 h 10000"/>
                <a:gd name="connsiteX166" fmla="*/ 4572 w 10000"/>
                <a:gd name="connsiteY166" fmla="*/ 9922 h 10000"/>
                <a:gd name="connsiteX167" fmla="*/ 4377 w 10000"/>
                <a:gd name="connsiteY167" fmla="*/ 10000 h 10000"/>
                <a:gd name="connsiteX168" fmla="*/ 4222 w 10000"/>
                <a:gd name="connsiteY168" fmla="*/ 9953 h 10000"/>
                <a:gd name="connsiteX169" fmla="*/ 4086 w 10000"/>
                <a:gd name="connsiteY169" fmla="*/ 9874 h 10000"/>
                <a:gd name="connsiteX170" fmla="*/ 3930 w 10000"/>
                <a:gd name="connsiteY170" fmla="*/ 9796 h 10000"/>
                <a:gd name="connsiteX171" fmla="*/ 3930 w 10000"/>
                <a:gd name="connsiteY171" fmla="*/ 9717 h 10000"/>
                <a:gd name="connsiteX172" fmla="*/ 3930 w 10000"/>
                <a:gd name="connsiteY172" fmla="*/ 9560 h 10000"/>
                <a:gd name="connsiteX173" fmla="*/ 3872 w 10000"/>
                <a:gd name="connsiteY173" fmla="*/ 9513 h 10000"/>
                <a:gd name="connsiteX174" fmla="*/ 3833 w 10000"/>
                <a:gd name="connsiteY174" fmla="*/ 9466 h 10000"/>
                <a:gd name="connsiteX175" fmla="*/ 3774 w 10000"/>
                <a:gd name="connsiteY175" fmla="*/ 9513 h 10000"/>
                <a:gd name="connsiteX176" fmla="*/ 3521 w 10000"/>
                <a:gd name="connsiteY176" fmla="*/ 9560 h 10000"/>
                <a:gd name="connsiteX177" fmla="*/ 3424 w 10000"/>
                <a:gd name="connsiteY177" fmla="*/ 9560 h 10000"/>
                <a:gd name="connsiteX178" fmla="*/ 3288 w 10000"/>
                <a:gd name="connsiteY178" fmla="*/ 9513 h 10000"/>
                <a:gd name="connsiteX179" fmla="*/ 3132 w 10000"/>
                <a:gd name="connsiteY179" fmla="*/ 9435 h 10000"/>
                <a:gd name="connsiteX180" fmla="*/ 2938 w 10000"/>
                <a:gd name="connsiteY180" fmla="*/ 9356 h 10000"/>
                <a:gd name="connsiteX181" fmla="*/ 2724 w 10000"/>
                <a:gd name="connsiteY181" fmla="*/ 9309 h 10000"/>
                <a:gd name="connsiteX182" fmla="*/ 2432 w 10000"/>
                <a:gd name="connsiteY182" fmla="*/ 9278 h 10000"/>
                <a:gd name="connsiteX183" fmla="*/ 2393 w 10000"/>
                <a:gd name="connsiteY183" fmla="*/ 9199 h 10000"/>
                <a:gd name="connsiteX184" fmla="*/ 2276 w 10000"/>
                <a:gd name="connsiteY184" fmla="*/ 9152 h 10000"/>
                <a:gd name="connsiteX185" fmla="*/ 2179 w 10000"/>
                <a:gd name="connsiteY185" fmla="*/ 9074 h 10000"/>
                <a:gd name="connsiteX186" fmla="*/ 2179 w 10000"/>
                <a:gd name="connsiteY186" fmla="*/ 8948 h 10000"/>
                <a:gd name="connsiteX187" fmla="*/ 2179 w 10000"/>
                <a:gd name="connsiteY187" fmla="*/ 8870 h 10000"/>
                <a:gd name="connsiteX188" fmla="*/ 2237 w 10000"/>
                <a:gd name="connsiteY188" fmla="*/ 8838 h 10000"/>
                <a:gd name="connsiteX189" fmla="*/ 2335 w 10000"/>
                <a:gd name="connsiteY189" fmla="*/ 8791 h 10000"/>
                <a:gd name="connsiteX190" fmla="*/ 2490 w 10000"/>
                <a:gd name="connsiteY190" fmla="*/ 8791 h 10000"/>
                <a:gd name="connsiteX191" fmla="*/ 2529 w 10000"/>
                <a:gd name="connsiteY191" fmla="*/ 8744 h 10000"/>
                <a:gd name="connsiteX192" fmla="*/ 2626 w 10000"/>
                <a:gd name="connsiteY192" fmla="*/ 8713 h 10000"/>
                <a:gd name="connsiteX193" fmla="*/ 2685 w 10000"/>
                <a:gd name="connsiteY193" fmla="*/ 8556 h 10000"/>
                <a:gd name="connsiteX194" fmla="*/ 2626 w 10000"/>
                <a:gd name="connsiteY194" fmla="*/ 8383 h 10000"/>
                <a:gd name="connsiteX195" fmla="*/ 2588 w 10000"/>
                <a:gd name="connsiteY195" fmla="*/ 8195 h 10000"/>
                <a:gd name="connsiteX196" fmla="*/ 2432 w 10000"/>
                <a:gd name="connsiteY196" fmla="*/ 8022 h 10000"/>
                <a:gd name="connsiteX197" fmla="*/ 2393 w 10000"/>
                <a:gd name="connsiteY197" fmla="*/ 7991 h 10000"/>
                <a:gd name="connsiteX198" fmla="*/ 2335 w 10000"/>
                <a:gd name="connsiteY198" fmla="*/ 7943 h 10000"/>
                <a:gd name="connsiteX199" fmla="*/ 2393 w 10000"/>
                <a:gd name="connsiteY199" fmla="*/ 7865 h 10000"/>
                <a:gd name="connsiteX200" fmla="*/ 2432 w 10000"/>
                <a:gd name="connsiteY200" fmla="*/ 7834 h 10000"/>
                <a:gd name="connsiteX201" fmla="*/ 2490 w 10000"/>
                <a:gd name="connsiteY201" fmla="*/ 7834 h 10000"/>
                <a:gd name="connsiteX202" fmla="*/ 2588 w 10000"/>
                <a:gd name="connsiteY202" fmla="*/ 7834 h 10000"/>
                <a:gd name="connsiteX203" fmla="*/ 2685 w 10000"/>
                <a:gd name="connsiteY203" fmla="*/ 7834 h 10000"/>
                <a:gd name="connsiteX204" fmla="*/ 2782 w 10000"/>
                <a:gd name="connsiteY204" fmla="*/ 7912 h 10000"/>
                <a:gd name="connsiteX205" fmla="*/ 2938 w 10000"/>
                <a:gd name="connsiteY205" fmla="*/ 7991 h 10000"/>
                <a:gd name="connsiteX206" fmla="*/ 3074 w 10000"/>
                <a:gd name="connsiteY206" fmla="*/ 8069 h 10000"/>
                <a:gd name="connsiteX207" fmla="*/ 3230 w 10000"/>
                <a:gd name="connsiteY207" fmla="*/ 8100 h 10000"/>
                <a:gd name="connsiteX208" fmla="*/ 3230 w 10000"/>
                <a:gd name="connsiteY208" fmla="*/ 8069 h 10000"/>
                <a:gd name="connsiteX209" fmla="*/ 3288 w 10000"/>
                <a:gd name="connsiteY209" fmla="*/ 8069 h 10000"/>
                <a:gd name="connsiteX210" fmla="*/ 3327 w 10000"/>
                <a:gd name="connsiteY210" fmla="*/ 7912 h 10000"/>
                <a:gd name="connsiteX211" fmla="*/ 3327 w 10000"/>
                <a:gd name="connsiteY211" fmla="*/ 7786 h 10000"/>
                <a:gd name="connsiteX212" fmla="*/ 3327 w 10000"/>
                <a:gd name="connsiteY212" fmla="*/ 7708 h 10000"/>
                <a:gd name="connsiteX213" fmla="*/ 3230 w 10000"/>
                <a:gd name="connsiteY213" fmla="*/ 7582 h 10000"/>
                <a:gd name="connsiteX214" fmla="*/ 2977 w 10000"/>
                <a:gd name="connsiteY214" fmla="*/ 7378 h 10000"/>
                <a:gd name="connsiteX215" fmla="*/ 2685 w 10000"/>
                <a:gd name="connsiteY215" fmla="*/ 7064 h 10000"/>
                <a:gd name="connsiteX216" fmla="*/ 2724 w 10000"/>
                <a:gd name="connsiteY216" fmla="*/ 6986 h 10000"/>
                <a:gd name="connsiteX217" fmla="*/ 2782 w 10000"/>
                <a:gd name="connsiteY217" fmla="*/ 6986 h 10000"/>
                <a:gd name="connsiteX218" fmla="*/ 3035 w 10000"/>
                <a:gd name="connsiteY218" fmla="*/ 7017 h 10000"/>
                <a:gd name="connsiteX219" fmla="*/ 3230 w 10000"/>
                <a:gd name="connsiteY219" fmla="*/ 7017 h 10000"/>
                <a:gd name="connsiteX220" fmla="*/ 3288 w 10000"/>
                <a:gd name="connsiteY220" fmla="*/ 7017 h 10000"/>
                <a:gd name="connsiteX221" fmla="*/ 3288 w 10000"/>
                <a:gd name="connsiteY221" fmla="*/ 6986 h 10000"/>
                <a:gd name="connsiteX222" fmla="*/ 3171 w 10000"/>
                <a:gd name="connsiteY222" fmla="*/ 6829 h 10000"/>
                <a:gd name="connsiteX223" fmla="*/ 2977 w 10000"/>
                <a:gd name="connsiteY223" fmla="*/ 6656 h 10000"/>
                <a:gd name="connsiteX224" fmla="*/ 2840 w 10000"/>
                <a:gd name="connsiteY224" fmla="*/ 6546 h 10000"/>
                <a:gd name="connsiteX225" fmla="*/ 2588 w 10000"/>
                <a:gd name="connsiteY225" fmla="*/ 6468 h 10000"/>
                <a:gd name="connsiteX226" fmla="*/ 2335 w 10000"/>
                <a:gd name="connsiteY226" fmla="*/ 6421 h 10000"/>
                <a:gd name="connsiteX227" fmla="*/ 1634 w 10000"/>
                <a:gd name="connsiteY227" fmla="*/ 6421 h 10000"/>
                <a:gd name="connsiteX228" fmla="*/ 1245 w 10000"/>
                <a:gd name="connsiteY228" fmla="*/ 6374 h 10000"/>
                <a:gd name="connsiteX229" fmla="*/ 1089 w 10000"/>
                <a:gd name="connsiteY229" fmla="*/ 6421 h 10000"/>
                <a:gd name="connsiteX230" fmla="*/ 992 w 10000"/>
                <a:gd name="connsiteY230" fmla="*/ 6468 h 10000"/>
                <a:gd name="connsiteX231" fmla="*/ 934 w 10000"/>
                <a:gd name="connsiteY231" fmla="*/ 6546 h 10000"/>
                <a:gd name="connsiteX232" fmla="*/ 798 w 10000"/>
                <a:gd name="connsiteY232" fmla="*/ 6295 h 10000"/>
                <a:gd name="connsiteX233" fmla="*/ 642 w 10000"/>
                <a:gd name="connsiteY233" fmla="*/ 6217 h 10000"/>
                <a:gd name="connsiteX234" fmla="*/ 447 w 10000"/>
                <a:gd name="connsiteY234" fmla="*/ 6138 h 10000"/>
                <a:gd name="connsiteX235" fmla="*/ 195 w 10000"/>
                <a:gd name="connsiteY235" fmla="*/ 5934 h 10000"/>
                <a:gd name="connsiteX236" fmla="*/ 97 w 10000"/>
                <a:gd name="connsiteY236" fmla="*/ 5824 h 10000"/>
                <a:gd name="connsiteX237" fmla="*/ 97 w 10000"/>
                <a:gd name="connsiteY237" fmla="*/ 5699 h 10000"/>
                <a:gd name="connsiteX238" fmla="*/ 195 w 10000"/>
                <a:gd name="connsiteY238" fmla="*/ 5777 h 10000"/>
                <a:gd name="connsiteX239" fmla="*/ 292 w 10000"/>
                <a:gd name="connsiteY239" fmla="*/ 5824 h 10000"/>
                <a:gd name="connsiteX240" fmla="*/ 447 w 10000"/>
                <a:gd name="connsiteY240" fmla="*/ 5856 h 10000"/>
                <a:gd name="connsiteX241" fmla="*/ 584 w 10000"/>
                <a:gd name="connsiteY241" fmla="*/ 5856 h 10000"/>
                <a:gd name="connsiteX242" fmla="*/ 700 w 10000"/>
                <a:gd name="connsiteY242" fmla="*/ 5824 h 10000"/>
                <a:gd name="connsiteX243" fmla="*/ 1187 w 10000"/>
                <a:gd name="connsiteY243" fmla="*/ 5824 h 10000"/>
                <a:gd name="connsiteX244" fmla="*/ 1342 w 10000"/>
                <a:gd name="connsiteY244" fmla="*/ 5651 h 10000"/>
                <a:gd name="connsiteX245" fmla="*/ 1381 w 10000"/>
                <a:gd name="connsiteY245" fmla="*/ 5573 h 10000"/>
                <a:gd name="connsiteX246" fmla="*/ 1498 w 10000"/>
                <a:gd name="connsiteY246" fmla="*/ 5573 h 10000"/>
                <a:gd name="connsiteX247" fmla="*/ 1537 w 10000"/>
                <a:gd name="connsiteY247" fmla="*/ 5573 h 10000"/>
                <a:gd name="connsiteX248" fmla="*/ 1595 w 10000"/>
                <a:gd name="connsiteY248" fmla="*/ 5651 h 10000"/>
                <a:gd name="connsiteX249" fmla="*/ 1693 w 10000"/>
                <a:gd name="connsiteY249" fmla="*/ 5824 h 10000"/>
                <a:gd name="connsiteX250" fmla="*/ 1732 w 10000"/>
                <a:gd name="connsiteY250" fmla="*/ 5981 h 10000"/>
                <a:gd name="connsiteX251" fmla="*/ 1829 w 10000"/>
                <a:gd name="connsiteY251" fmla="*/ 6060 h 10000"/>
                <a:gd name="connsiteX252" fmla="*/ 1946 w 10000"/>
                <a:gd name="connsiteY252" fmla="*/ 6060 h 10000"/>
                <a:gd name="connsiteX253" fmla="*/ 2043 w 10000"/>
                <a:gd name="connsiteY253" fmla="*/ 6060 h 10000"/>
                <a:gd name="connsiteX254" fmla="*/ 2082 w 10000"/>
                <a:gd name="connsiteY254" fmla="*/ 6013 h 10000"/>
                <a:gd name="connsiteX255" fmla="*/ 2179 w 10000"/>
                <a:gd name="connsiteY255" fmla="*/ 5856 h 10000"/>
                <a:gd name="connsiteX256" fmla="*/ 2237 w 10000"/>
                <a:gd name="connsiteY256" fmla="*/ 5542 h 10000"/>
                <a:gd name="connsiteX257" fmla="*/ 2335 w 10000"/>
                <a:gd name="connsiteY257" fmla="*/ 5463 h 10000"/>
                <a:gd name="connsiteX258" fmla="*/ 2432 w 10000"/>
                <a:gd name="connsiteY258" fmla="*/ 5463 h 10000"/>
                <a:gd name="connsiteX259" fmla="*/ 2529 w 10000"/>
                <a:gd name="connsiteY259" fmla="*/ 5416 h 10000"/>
                <a:gd name="connsiteX260" fmla="*/ 2588 w 10000"/>
                <a:gd name="connsiteY260" fmla="*/ 5338 h 10000"/>
                <a:gd name="connsiteX261" fmla="*/ 2529 w 10000"/>
                <a:gd name="connsiteY261" fmla="*/ 5259 h 10000"/>
                <a:gd name="connsiteX262" fmla="*/ 2490 w 10000"/>
                <a:gd name="connsiteY262" fmla="*/ 5212 h 10000"/>
                <a:gd name="connsiteX263" fmla="*/ 2432 w 10000"/>
                <a:gd name="connsiteY263" fmla="*/ 5181 h 10000"/>
                <a:gd name="connsiteX264" fmla="*/ 2432 w 10000"/>
                <a:gd name="connsiteY264" fmla="*/ 5133 h 10000"/>
                <a:gd name="connsiteX265" fmla="*/ 2432 w 10000"/>
                <a:gd name="connsiteY265" fmla="*/ 5055 h 10000"/>
                <a:gd name="connsiteX266" fmla="*/ 2490 w 10000"/>
                <a:gd name="connsiteY266" fmla="*/ 5024 h 10000"/>
                <a:gd name="connsiteX267" fmla="*/ 2685 w 10000"/>
                <a:gd name="connsiteY267" fmla="*/ 5024 h 10000"/>
                <a:gd name="connsiteX268" fmla="*/ 2840 w 10000"/>
                <a:gd name="connsiteY268" fmla="*/ 5024 h 10000"/>
                <a:gd name="connsiteX269" fmla="*/ 2879 w 10000"/>
                <a:gd name="connsiteY269" fmla="*/ 4976 h 10000"/>
                <a:gd name="connsiteX270" fmla="*/ 2938 w 10000"/>
                <a:gd name="connsiteY270" fmla="*/ 4898 h 10000"/>
                <a:gd name="connsiteX271" fmla="*/ 2879 w 10000"/>
                <a:gd name="connsiteY271" fmla="*/ 4851 h 10000"/>
                <a:gd name="connsiteX272" fmla="*/ 2840 w 10000"/>
                <a:gd name="connsiteY272" fmla="*/ 4772 h 10000"/>
                <a:gd name="connsiteX273" fmla="*/ 2782 w 10000"/>
                <a:gd name="connsiteY273" fmla="*/ 4741 h 10000"/>
                <a:gd name="connsiteX274" fmla="*/ 2782 w 10000"/>
                <a:gd name="connsiteY274" fmla="*/ 4694 h 10000"/>
                <a:gd name="connsiteX275" fmla="*/ 2840 w 10000"/>
                <a:gd name="connsiteY275" fmla="*/ 4647 h 10000"/>
                <a:gd name="connsiteX276" fmla="*/ 2879 w 10000"/>
                <a:gd name="connsiteY276" fmla="*/ 4615 h 10000"/>
                <a:gd name="connsiteX277" fmla="*/ 3074 w 10000"/>
                <a:gd name="connsiteY277" fmla="*/ 4568 h 10000"/>
                <a:gd name="connsiteX278" fmla="*/ 2782 w 10000"/>
                <a:gd name="connsiteY278" fmla="*/ 4411 h 10000"/>
                <a:gd name="connsiteX279" fmla="*/ 2685 w 10000"/>
                <a:gd name="connsiteY279" fmla="*/ 4333 h 10000"/>
                <a:gd name="connsiteX280" fmla="*/ 2626 w 10000"/>
                <a:gd name="connsiteY280" fmla="*/ 4207 h 10000"/>
                <a:gd name="connsiteX281" fmla="*/ 2626 w 10000"/>
                <a:gd name="connsiteY281" fmla="*/ 3925 h 10000"/>
                <a:gd name="connsiteX282" fmla="*/ 2626 w 10000"/>
                <a:gd name="connsiteY282" fmla="*/ 3815 h 10000"/>
                <a:gd name="connsiteX283" fmla="*/ 2588 w 10000"/>
                <a:gd name="connsiteY283" fmla="*/ 3689 h 10000"/>
                <a:gd name="connsiteX284" fmla="*/ 2490 w 10000"/>
                <a:gd name="connsiteY284" fmla="*/ 3658 h 10000"/>
                <a:gd name="connsiteX285" fmla="*/ 2276 w 10000"/>
                <a:gd name="connsiteY285" fmla="*/ 3564 h 10000"/>
                <a:gd name="connsiteX286" fmla="*/ 2043 w 10000"/>
                <a:gd name="connsiteY286" fmla="*/ 3375 h 10000"/>
                <a:gd name="connsiteX287" fmla="*/ 1984 w 10000"/>
                <a:gd name="connsiteY287" fmla="*/ 3297 h 10000"/>
                <a:gd name="connsiteX288" fmla="*/ 1946 w 10000"/>
                <a:gd name="connsiteY288" fmla="*/ 3203 h 10000"/>
                <a:gd name="connsiteX289" fmla="*/ 1829 w 10000"/>
                <a:gd name="connsiteY289" fmla="*/ 3203 h 10000"/>
                <a:gd name="connsiteX290" fmla="*/ 1693 w 10000"/>
                <a:gd name="connsiteY290" fmla="*/ 3203 h 10000"/>
                <a:gd name="connsiteX291" fmla="*/ 1634 w 10000"/>
                <a:gd name="connsiteY291" fmla="*/ 3250 h 10000"/>
                <a:gd name="connsiteX292" fmla="*/ 1537 w 10000"/>
                <a:gd name="connsiteY292" fmla="*/ 3250 h 10000"/>
                <a:gd name="connsiteX293" fmla="*/ 1342 w 10000"/>
                <a:gd name="connsiteY293" fmla="*/ 3171 h 10000"/>
                <a:gd name="connsiteX294" fmla="*/ 1089 w 10000"/>
                <a:gd name="connsiteY294" fmla="*/ 3014 h 10000"/>
                <a:gd name="connsiteX295" fmla="*/ 934 w 10000"/>
                <a:gd name="connsiteY295" fmla="*/ 2967 h 10000"/>
                <a:gd name="connsiteX296" fmla="*/ 739 w 10000"/>
                <a:gd name="connsiteY296" fmla="*/ 2920 h 10000"/>
                <a:gd name="connsiteX297" fmla="*/ 642 w 10000"/>
                <a:gd name="connsiteY297" fmla="*/ 2841 h 10000"/>
                <a:gd name="connsiteX298" fmla="*/ 486 w 10000"/>
                <a:gd name="connsiteY298" fmla="*/ 2684 h 10000"/>
                <a:gd name="connsiteX299" fmla="*/ 292 w 10000"/>
                <a:gd name="connsiteY299" fmla="*/ 2402 h 10000"/>
                <a:gd name="connsiteX300" fmla="*/ 97 w 10000"/>
                <a:gd name="connsiteY300" fmla="*/ 2009 h 10000"/>
                <a:gd name="connsiteX301" fmla="*/ 39 w 10000"/>
                <a:gd name="connsiteY301" fmla="*/ 1601 h 10000"/>
                <a:gd name="connsiteX302" fmla="*/ 0 w 10000"/>
                <a:gd name="connsiteY302" fmla="*/ 1397 h 10000"/>
                <a:gd name="connsiteX303" fmla="*/ 39 w 10000"/>
                <a:gd name="connsiteY303" fmla="*/ 1193 h 10000"/>
                <a:gd name="connsiteX304" fmla="*/ 97 w 10000"/>
                <a:gd name="connsiteY304" fmla="*/ 1036 h 10000"/>
                <a:gd name="connsiteX305" fmla="*/ 136 w 10000"/>
                <a:gd name="connsiteY305" fmla="*/ 926 h 10000"/>
                <a:gd name="connsiteX306" fmla="*/ 253 w 10000"/>
                <a:gd name="connsiteY306" fmla="*/ 832 h 10000"/>
                <a:gd name="connsiteX307" fmla="*/ 389 w 10000"/>
                <a:gd name="connsiteY307" fmla="*/ 801 h 10000"/>
                <a:gd name="connsiteX308" fmla="*/ 642 w 10000"/>
                <a:gd name="connsiteY308" fmla="*/ 801 h 10000"/>
                <a:gd name="connsiteX309" fmla="*/ 934 w 10000"/>
                <a:gd name="connsiteY309" fmla="*/ 754 h 10000"/>
                <a:gd name="connsiteX310" fmla="*/ 1148 w 10000"/>
                <a:gd name="connsiteY310" fmla="*/ 722 h 10000"/>
                <a:gd name="connsiteX311" fmla="*/ 1245 w 10000"/>
                <a:gd name="connsiteY311" fmla="*/ 675 h 10000"/>
                <a:gd name="connsiteX312" fmla="*/ 1342 w 10000"/>
                <a:gd name="connsiteY312" fmla="*/ 597 h 10000"/>
                <a:gd name="connsiteX313" fmla="*/ 1440 w 10000"/>
                <a:gd name="connsiteY313" fmla="*/ 565 h 10000"/>
                <a:gd name="connsiteX314" fmla="*/ 1537 w 10000"/>
                <a:gd name="connsiteY314" fmla="*/ 565 h 10000"/>
                <a:gd name="connsiteX315" fmla="*/ 1946 w 10000"/>
                <a:gd name="connsiteY315" fmla="*/ 565 h 10000"/>
                <a:gd name="connsiteX316" fmla="*/ 2276 w 10000"/>
                <a:gd name="connsiteY316" fmla="*/ 597 h 10000"/>
                <a:gd name="connsiteX317" fmla="*/ 2490 w 10000"/>
                <a:gd name="connsiteY317" fmla="*/ 644 h 10000"/>
                <a:gd name="connsiteX318" fmla="*/ 2626 w 10000"/>
                <a:gd name="connsiteY318" fmla="*/ 722 h 10000"/>
                <a:gd name="connsiteX319" fmla="*/ 2782 w 10000"/>
                <a:gd name="connsiteY319" fmla="*/ 754 h 10000"/>
                <a:gd name="connsiteX320" fmla="*/ 2879 w 10000"/>
                <a:gd name="connsiteY320" fmla="*/ 722 h 10000"/>
                <a:gd name="connsiteX321" fmla="*/ 2977 w 10000"/>
                <a:gd name="connsiteY321" fmla="*/ 675 h 10000"/>
                <a:gd name="connsiteX322" fmla="*/ 3132 w 10000"/>
                <a:gd name="connsiteY322" fmla="*/ 597 h 10000"/>
                <a:gd name="connsiteX323" fmla="*/ 3288 w 10000"/>
                <a:gd name="connsiteY323" fmla="*/ 518 h 10000"/>
                <a:gd name="connsiteX324" fmla="*/ 3482 w 10000"/>
                <a:gd name="connsiteY324" fmla="*/ 283 h 10000"/>
                <a:gd name="connsiteX325" fmla="*/ 3638 w 10000"/>
                <a:gd name="connsiteY325" fmla="*/ 78 h 10000"/>
                <a:gd name="connsiteX326" fmla="*/ 3735 w 10000"/>
                <a:gd name="connsiteY326" fmla="*/ 0 h 10000"/>
                <a:gd name="connsiteX327" fmla="*/ 3638 w 10000"/>
                <a:gd name="connsiteY327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18 w 10000"/>
                <a:gd name="connsiteY40" fmla="*/ 3250 h 10000"/>
                <a:gd name="connsiteX41" fmla="*/ 7354 w 10000"/>
                <a:gd name="connsiteY41" fmla="*/ 3250 h 10000"/>
                <a:gd name="connsiteX42" fmla="*/ 7412 w 10000"/>
                <a:gd name="connsiteY42" fmla="*/ 3297 h 10000"/>
                <a:gd name="connsiteX43" fmla="*/ 7568 w 10000"/>
                <a:gd name="connsiteY43" fmla="*/ 3375 h 10000"/>
                <a:gd name="connsiteX44" fmla="*/ 7665 w 10000"/>
                <a:gd name="connsiteY44" fmla="*/ 3454 h 10000"/>
                <a:gd name="connsiteX45" fmla="*/ 7704 w 10000"/>
                <a:gd name="connsiteY45" fmla="*/ 3485 h 10000"/>
                <a:gd name="connsiteX46" fmla="*/ 7802 w 10000"/>
                <a:gd name="connsiteY46" fmla="*/ 3485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405 w 10000"/>
                <a:gd name="connsiteY125" fmla="*/ 9560 h 10000"/>
                <a:gd name="connsiteX126" fmla="*/ 8249 w 10000"/>
                <a:gd name="connsiteY126" fmla="*/ 9435 h 10000"/>
                <a:gd name="connsiteX127" fmla="*/ 8152 w 10000"/>
                <a:gd name="connsiteY127" fmla="*/ 9309 h 10000"/>
                <a:gd name="connsiteX128" fmla="*/ 8054 w 10000"/>
                <a:gd name="connsiteY128" fmla="*/ 9278 h 10000"/>
                <a:gd name="connsiteX129" fmla="*/ 7957 w 10000"/>
                <a:gd name="connsiteY129" fmla="*/ 9278 h 10000"/>
                <a:gd name="connsiteX130" fmla="*/ 7918 w 10000"/>
                <a:gd name="connsiteY130" fmla="*/ 9309 h 10000"/>
                <a:gd name="connsiteX131" fmla="*/ 7802 w 10000"/>
                <a:gd name="connsiteY131" fmla="*/ 9356 h 10000"/>
                <a:gd name="connsiteX132" fmla="*/ 7704 w 10000"/>
                <a:gd name="connsiteY132" fmla="*/ 9309 h 10000"/>
                <a:gd name="connsiteX133" fmla="*/ 7665 w 10000"/>
                <a:gd name="connsiteY133" fmla="*/ 9278 h 10000"/>
                <a:gd name="connsiteX134" fmla="*/ 7568 w 10000"/>
                <a:gd name="connsiteY134" fmla="*/ 9231 h 10000"/>
                <a:gd name="connsiteX135" fmla="*/ 7417 w 10000"/>
                <a:gd name="connsiteY135" fmla="*/ 9522 h 10000"/>
                <a:gd name="connsiteX136" fmla="*/ 7354 w 10000"/>
                <a:gd name="connsiteY136" fmla="*/ 9231 h 10000"/>
                <a:gd name="connsiteX137" fmla="*/ 7399 w 10000"/>
                <a:gd name="connsiteY137" fmla="*/ 9465 h 10000"/>
                <a:gd name="connsiteX138" fmla="*/ 7004 w 10000"/>
                <a:gd name="connsiteY138" fmla="*/ 9435 h 10000"/>
                <a:gd name="connsiteX139" fmla="*/ 7004 w 10000"/>
                <a:gd name="connsiteY139" fmla="*/ 9388 h 10000"/>
                <a:gd name="connsiteX140" fmla="*/ 6965 w 10000"/>
                <a:gd name="connsiteY140" fmla="*/ 9388 h 10000"/>
                <a:gd name="connsiteX141" fmla="*/ 6809 w 10000"/>
                <a:gd name="connsiteY141" fmla="*/ 9309 h 10000"/>
                <a:gd name="connsiteX142" fmla="*/ 6615 w 10000"/>
                <a:gd name="connsiteY142" fmla="*/ 9231 h 10000"/>
                <a:gd name="connsiteX143" fmla="*/ 6167 w 10000"/>
                <a:gd name="connsiteY143" fmla="*/ 9199 h 10000"/>
                <a:gd name="connsiteX144" fmla="*/ 6109 w 10000"/>
                <a:gd name="connsiteY144" fmla="*/ 9152 h 10000"/>
                <a:gd name="connsiteX145" fmla="*/ 5817 w 10000"/>
                <a:gd name="connsiteY145" fmla="*/ 9074 h 10000"/>
                <a:gd name="connsiteX146" fmla="*/ 5661 w 10000"/>
                <a:gd name="connsiteY146" fmla="*/ 9027 h 10000"/>
                <a:gd name="connsiteX147" fmla="*/ 5564 w 10000"/>
                <a:gd name="connsiteY147" fmla="*/ 8917 h 10000"/>
                <a:gd name="connsiteX148" fmla="*/ 5214 w 10000"/>
                <a:gd name="connsiteY148" fmla="*/ 8744 h 10000"/>
                <a:gd name="connsiteX149" fmla="*/ 4864 w 10000"/>
                <a:gd name="connsiteY149" fmla="*/ 8634 h 10000"/>
                <a:gd name="connsiteX150" fmla="*/ 4825 w 10000"/>
                <a:gd name="connsiteY150" fmla="*/ 8666 h 10000"/>
                <a:gd name="connsiteX151" fmla="*/ 4864 w 10000"/>
                <a:gd name="connsiteY151" fmla="*/ 8634 h 10000"/>
                <a:gd name="connsiteX152" fmla="*/ 4767 w 10000"/>
                <a:gd name="connsiteY152" fmla="*/ 8666 h 10000"/>
                <a:gd name="connsiteX153" fmla="*/ 4669 w 10000"/>
                <a:gd name="connsiteY153" fmla="*/ 8666 h 10000"/>
                <a:gd name="connsiteX154" fmla="*/ 4475 w 10000"/>
                <a:gd name="connsiteY154" fmla="*/ 8587 h 10000"/>
                <a:gd name="connsiteX155" fmla="*/ 4377 w 10000"/>
                <a:gd name="connsiteY155" fmla="*/ 8556 h 10000"/>
                <a:gd name="connsiteX156" fmla="*/ 4319 w 10000"/>
                <a:gd name="connsiteY156" fmla="*/ 8556 h 10000"/>
                <a:gd name="connsiteX157" fmla="*/ 4222 w 10000"/>
                <a:gd name="connsiteY157" fmla="*/ 8587 h 10000"/>
                <a:gd name="connsiteX158" fmla="*/ 4183 w 10000"/>
                <a:gd name="connsiteY158" fmla="*/ 8666 h 10000"/>
                <a:gd name="connsiteX159" fmla="*/ 4183 w 10000"/>
                <a:gd name="connsiteY159" fmla="*/ 8791 h 10000"/>
                <a:gd name="connsiteX160" fmla="*/ 4086 w 10000"/>
                <a:gd name="connsiteY160" fmla="*/ 9309 h 10000"/>
                <a:gd name="connsiteX161" fmla="*/ 4125 w 10000"/>
                <a:gd name="connsiteY161" fmla="*/ 9388 h 10000"/>
                <a:gd name="connsiteX162" fmla="*/ 4280 w 10000"/>
                <a:gd name="connsiteY162" fmla="*/ 9466 h 10000"/>
                <a:gd name="connsiteX163" fmla="*/ 4669 w 10000"/>
                <a:gd name="connsiteY163" fmla="*/ 9670 h 10000"/>
                <a:gd name="connsiteX164" fmla="*/ 4669 w 10000"/>
                <a:gd name="connsiteY164" fmla="*/ 9749 h 10000"/>
                <a:gd name="connsiteX165" fmla="*/ 4669 w 10000"/>
                <a:gd name="connsiteY165" fmla="*/ 9827 h 10000"/>
                <a:gd name="connsiteX166" fmla="*/ 4572 w 10000"/>
                <a:gd name="connsiteY166" fmla="*/ 9922 h 10000"/>
                <a:gd name="connsiteX167" fmla="*/ 4377 w 10000"/>
                <a:gd name="connsiteY167" fmla="*/ 10000 h 10000"/>
                <a:gd name="connsiteX168" fmla="*/ 4222 w 10000"/>
                <a:gd name="connsiteY168" fmla="*/ 9953 h 10000"/>
                <a:gd name="connsiteX169" fmla="*/ 4086 w 10000"/>
                <a:gd name="connsiteY169" fmla="*/ 9874 h 10000"/>
                <a:gd name="connsiteX170" fmla="*/ 3930 w 10000"/>
                <a:gd name="connsiteY170" fmla="*/ 9796 h 10000"/>
                <a:gd name="connsiteX171" fmla="*/ 3930 w 10000"/>
                <a:gd name="connsiteY171" fmla="*/ 9717 h 10000"/>
                <a:gd name="connsiteX172" fmla="*/ 3930 w 10000"/>
                <a:gd name="connsiteY172" fmla="*/ 9560 h 10000"/>
                <a:gd name="connsiteX173" fmla="*/ 3872 w 10000"/>
                <a:gd name="connsiteY173" fmla="*/ 9513 h 10000"/>
                <a:gd name="connsiteX174" fmla="*/ 3833 w 10000"/>
                <a:gd name="connsiteY174" fmla="*/ 9466 h 10000"/>
                <a:gd name="connsiteX175" fmla="*/ 3774 w 10000"/>
                <a:gd name="connsiteY175" fmla="*/ 9513 h 10000"/>
                <a:gd name="connsiteX176" fmla="*/ 3521 w 10000"/>
                <a:gd name="connsiteY176" fmla="*/ 9560 h 10000"/>
                <a:gd name="connsiteX177" fmla="*/ 3424 w 10000"/>
                <a:gd name="connsiteY177" fmla="*/ 9560 h 10000"/>
                <a:gd name="connsiteX178" fmla="*/ 3288 w 10000"/>
                <a:gd name="connsiteY178" fmla="*/ 9513 h 10000"/>
                <a:gd name="connsiteX179" fmla="*/ 3132 w 10000"/>
                <a:gd name="connsiteY179" fmla="*/ 9435 h 10000"/>
                <a:gd name="connsiteX180" fmla="*/ 2938 w 10000"/>
                <a:gd name="connsiteY180" fmla="*/ 9356 h 10000"/>
                <a:gd name="connsiteX181" fmla="*/ 2724 w 10000"/>
                <a:gd name="connsiteY181" fmla="*/ 9309 h 10000"/>
                <a:gd name="connsiteX182" fmla="*/ 2432 w 10000"/>
                <a:gd name="connsiteY182" fmla="*/ 9278 h 10000"/>
                <a:gd name="connsiteX183" fmla="*/ 2393 w 10000"/>
                <a:gd name="connsiteY183" fmla="*/ 9199 h 10000"/>
                <a:gd name="connsiteX184" fmla="*/ 2276 w 10000"/>
                <a:gd name="connsiteY184" fmla="*/ 9152 h 10000"/>
                <a:gd name="connsiteX185" fmla="*/ 2179 w 10000"/>
                <a:gd name="connsiteY185" fmla="*/ 9074 h 10000"/>
                <a:gd name="connsiteX186" fmla="*/ 2179 w 10000"/>
                <a:gd name="connsiteY186" fmla="*/ 8948 h 10000"/>
                <a:gd name="connsiteX187" fmla="*/ 2179 w 10000"/>
                <a:gd name="connsiteY187" fmla="*/ 8870 h 10000"/>
                <a:gd name="connsiteX188" fmla="*/ 2237 w 10000"/>
                <a:gd name="connsiteY188" fmla="*/ 8838 h 10000"/>
                <a:gd name="connsiteX189" fmla="*/ 2335 w 10000"/>
                <a:gd name="connsiteY189" fmla="*/ 8791 h 10000"/>
                <a:gd name="connsiteX190" fmla="*/ 2490 w 10000"/>
                <a:gd name="connsiteY190" fmla="*/ 8791 h 10000"/>
                <a:gd name="connsiteX191" fmla="*/ 2529 w 10000"/>
                <a:gd name="connsiteY191" fmla="*/ 8744 h 10000"/>
                <a:gd name="connsiteX192" fmla="*/ 2626 w 10000"/>
                <a:gd name="connsiteY192" fmla="*/ 8713 h 10000"/>
                <a:gd name="connsiteX193" fmla="*/ 2685 w 10000"/>
                <a:gd name="connsiteY193" fmla="*/ 8556 h 10000"/>
                <a:gd name="connsiteX194" fmla="*/ 2626 w 10000"/>
                <a:gd name="connsiteY194" fmla="*/ 8383 h 10000"/>
                <a:gd name="connsiteX195" fmla="*/ 2588 w 10000"/>
                <a:gd name="connsiteY195" fmla="*/ 8195 h 10000"/>
                <a:gd name="connsiteX196" fmla="*/ 2432 w 10000"/>
                <a:gd name="connsiteY196" fmla="*/ 8022 h 10000"/>
                <a:gd name="connsiteX197" fmla="*/ 2393 w 10000"/>
                <a:gd name="connsiteY197" fmla="*/ 7991 h 10000"/>
                <a:gd name="connsiteX198" fmla="*/ 2335 w 10000"/>
                <a:gd name="connsiteY198" fmla="*/ 7943 h 10000"/>
                <a:gd name="connsiteX199" fmla="*/ 2393 w 10000"/>
                <a:gd name="connsiteY199" fmla="*/ 7865 h 10000"/>
                <a:gd name="connsiteX200" fmla="*/ 2432 w 10000"/>
                <a:gd name="connsiteY200" fmla="*/ 7834 h 10000"/>
                <a:gd name="connsiteX201" fmla="*/ 2490 w 10000"/>
                <a:gd name="connsiteY201" fmla="*/ 7834 h 10000"/>
                <a:gd name="connsiteX202" fmla="*/ 2588 w 10000"/>
                <a:gd name="connsiteY202" fmla="*/ 7834 h 10000"/>
                <a:gd name="connsiteX203" fmla="*/ 2685 w 10000"/>
                <a:gd name="connsiteY203" fmla="*/ 7834 h 10000"/>
                <a:gd name="connsiteX204" fmla="*/ 2782 w 10000"/>
                <a:gd name="connsiteY204" fmla="*/ 7912 h 10000"/>
                <a:gd name="connsiteX205" fmla="*/ 2938 w 10000"/>
                <a:gd name="connsiteY205" fmla="*/ 7991 h 10000"/>
                <a:gd name="connsiteX206" fmla="*/ 3074 w 10000"/>
                <a:gd name="connsiteY206" fmla="*/ 8069 h 10000"/>
                <a:gd name="connsiteX207" fmla="*/ 3230 w 10000"/>
                <a:gd name="connsiteY207" fmla="*/ 8100 h 10000"/>
                <a:gd name="connsiteX208" fmla="*/ 3230 w 10000"/>
                <a:gd name="connsiteY208" fmla="*/ 8069 h 10000"/>
                <a:gd name="connsiteX209" fmla="*/ 3288 w 10000"/>
                <a:gd name="connsiteY209" fmla="*/ 8069 h 10000"/>
                <a:gd name="connsiteX210" fmla="*/ 3327 w 10000"/>
                <a:gd name="connsiteY210" fmla="*/ 7912 h 10000"/>
                <a:gd name="connsiteX211" fmla="*/ 3327 w 10000"/>
                <a:gd name="connsiteY211" fmla="*/ 7786 h 10000"/>
                <a:gd name="connsiteX212" fmla="*/ 3327 w 10000"/>
                <a:gd name="connsiteY212" fmla="*/ 7708 h 10000"/>
                <a:gd name="connsiteX213" fmla="*/ 3230 w 10000"/>
                <a:gd name="connsiteY213" fmla="*/ 7582 h 10000"/>
                <a:gd name="connsiteX214" fmla="*/ 2977 w 10000"/>
                <a:gd name="connsiteY214" fmla="*/ 7378 h 10000"/>
                <a:gd name="connsiteX215" fmla="*/ 2685 w 10000"/>
                <a:gd name="connsiteY215" fmla="*/ 7064 h 10000"/>
                <a:gd name="connsiteX216" fmla="*/ 2724 w 10000"/>
                <a:gd name="connsiteY216" fmla="*/ 6986 h 10000"/>
                <a:gd name="connsiteX217" fmla="*/ 2782 w 10000"/>
                <a:gd name="connsiteY217" fmla="*/ 6986 h 10000"/>
                <a:gd name="connsiteX218" fmla="*/ 3035 w 10000"/>
                <a:gd name="connsiteY218" fmla="*/ 7017 h 10000"/>
                <a:gd name="connsiteX219" fmla="*/ 3230 w 10000"/>
                <a:gd name="connsiteY219" fmla="*/ 7017 h 10000"/>
                <a:gd name="connsiteX220" fmla="*/ 3288 w 10000"/>
                <a:gd name="connsiteY220" fmla="*/ 7017 h 10000"/>
                <a:gd name="connsiteX221" fmla="*/ 3288 w 10000"/>
                <a:gd name="connsiteY221" fmla="*/ 6986 h 10000"/>
                <a:gd name="connsiteX222" fmla="*/ 3171 w 10000"/>
                <a:gd name="connsiteY222" fmla="*/ 6829 h 10000"/>
                <a:gd name="connsiteX223" fmla="*/ 2977 w 10000"/>
                <a:gd name="connsiteY223" fmla="*/ 6656 h 10000"/>
                <a:gd name="connsiteX224" fmla="*/ 2840 w 10000"/>
                <a:gd name="connsiteY224" fmla="*/ 6546 h 10000"/>
                <a:gd name="connsiteX225" fmla="*/ 2588 w 10000"/>
                <a:gd name="connsiteY225" fmla="*/ 6468 h 10000"/>
                <a:gd name="connsiteX226" fmla="*/ 2335 w 10000"/>
                <a:gd name="connsiteY226" fmla="*/ 6421 h 10000"/>
                <a:gd name="connsiteX227" fmla="*/ 1634 w 10000"/>
                <a:gd name="connsiteY227" fmla="*/ 6421 h 10000"/>
                <a:gd name="connsiteX228" fmla="*/ 1245 w 10000"/>
                <a:gd name="connsiteY228" fmla="*/ 6374 h 10000"/>
                <a:gd name="connsiteX229" fmla="*/ 1089 w 10000"/>
                <a:gd name="connsiteY229" fmla="*/ 6421 h 10000"/>
                <a:gd name="connsiteX230" fmla="*/ 992 w 10000"/>
                <a:gd name="connsiteY230" fmla="*/ 6468 h 10000"/>
                <a:gd name="connsiteX231" fmla="*/ 934 w 10000"/>
                <a:gd name="connsiteY231" fmla="*/ 6546 h 10000"/>
                <a:gd name="connsiteX232" fmla="*/ 798 w 10000"/>
                <a:gd name="connsiteY232" fmla="*/ 6295 h 10000"/>
                <a:gd name="connsiteX233" fmla="*/ 642 w 10000"/>
                <a:gd name="connsiteY233" fmla="*/ 6217 h 10000"/>
                <a:gd name="connsiteX234" fmla="*/ 447 w 10000"/>
                <a:gd name="connsiteY234" fmla="*/ 6138 h 10000"/>
                <a:gd name="connsiteX235" fmla="*/ 195 w 10000"/>
                <a:gd name="connsiteY235" fmla="*/ 5934 h 10000"/>
                <a:gd name="connsiteX236" fmla="*/ 97 w 10000"/>
                <a:gd name="connsiteY236" fmla="*/ 5824 h 10000"/>
                <a:gd name="connsiteX237" fmla="*/ 97 w 10000"/>
                <a:gd name="connsiteY237" fmla="*/ 5699 h 10000"/>
                <a:gd name="connsiteX238" fmla="*/ 195 w 10000"/>
                <a:gd name="connsiteY238" fmla="*/ 5777 h 10000"/>
                <a:gd name="connsiteX239" fmla="*/ 292 w 10000"/>
                <a:gd name="connsiteY239" fmla="*/ 5824 h 10000"/>
                <a:gd name="connsiteX240" fmla="*/ 447 w 10000"/>
                <a:gd name="connsiteY240" fmla="*/ 5856 h 10000"/>
                <a:gd name="connsiteX241" fmla="*/ 584 w 10000"/>
                <a:gd name="connsiteY241" fmla="*/ 5856 h 10000"/>
                <a:gd name="connsiteX242" fmla="*/ 700 w 10000"/>
                <a:gd name="connsiteY242" fmla="*/ 5824 h 10000"/>
                <a:gd name="connsiteX243" fmla="*/ 1187 w 10000"/>
                <a:gd name="connsiteY243" fmla="*/ 5824 h 10000"/>
                <a:gd name="connsiteX244" fmla="*/ 1342 w 10000"/>
                <a:gd name="connsiteY244" fmla="*/ 5651 h 10000"/>
                <a:gd name="connsiteX245" fmla="*/ 1381 w 10000"/>
                <a:gd name="connsiteY245" fmla="*/ 5573 h 10000"/>
                <a:gd name="connsiteX246" fmla="*/ 1498 w 10000"/>
                <a:gd name="connsiteY246" fmla="*/ 5573 h 10000"/>
                <a:gd name="connsiteX247" fmla="*/ 1537 w 10000"/>
                <a:gd name="connsiteY247" fmla="*/ 5573 h 10000"/>
                <a:gd name="connsiteX248" fmla="*/ 1595 w 10000"/>
                <a:gd name="connsiteY248" fmla="*/ 5651 h 10000"/>
                <a:gd name="connsiteX249" fmla="*/ 1693 w 10000"/>
                <a:gd name="connsiteY249" fmla="*/ 5824 h 10000"/>
                <a:gd name="connsiteX250" fmla="*/ 1732 w 10000"/>
                <a:gd name="connsiteY250" fmla="*/ 5981 h 10000"/>
                <a:gd name="connsiteX251" fmla="*/ 1829 w 10000"/>
                <a:gd name="connsiteY251" fmla="*/ 6060 h 10000"/>
                <a:gd name="connsiteX252" fmla="*/ 1946 w 10000"/>
                <a:gd name="connsiteY252" fmla="*/ 6060 h 10000"/>
                <a:gd name="connsiteX253" fmla="*/ 2043 w 10000"/>
                <a:gd name="connsiteY253" fmla="*/ 6060 h 10000"/>
                <a:gd name="connsiteX254" fmla="*/ 2082 w 10000"/>
                <a:gd name="connsiteY254" fmla="*/ 6013 h 10000"/>
                <a:gd name="connsiteX255" fmla="*/ 2179 w 10000"/>
                <a:gd name="connsiteY255" fmla="*/ 5856 h 10000"/>
                <a:gd name="connsiteX256" fmla="*/ 2237 w 10000"/>
                <a:gd name="connsiteY256" fmla="*/ 5542 h 10000"/>
                <a:gd name="connsiteX257" fmla="*/ 2335 w 10000"/>
                <a:gd name="connsiteY257" fmla="*/ 5463 h 10000"/>
                <a:gd name="connsiteX258" fmla="*/ 2432 w 10000"/>
                <a:gd name="connsiteY258" fmla="*/ 5463 h 10000"/>
                <a:gd name="connsiteX259" fmla="*/ 2529 w 10000"/>
                <a:gd name="connsiteY259" fmla="*/ 5416 h 10000"/>
                <a:gd name="connsiteX260" fmla="*/ 2588 w 10000"/>
                <a:gd name="connsiteY260" fmla="*/ 5338 h 10000"/>
                <a:gd name="connsiteX261" fmla="*/ 2529 w 10000"/>
                <a:gd name="connsiteY261" fmla="*/ 5259 h 10000"/>
                <a:gd name="connsiteX262" fmla="*/ 2490 w 10000"/>
                <a:gd name="connsiteY262" fmla="*/ 5212 h 10000"/>
                <a:gd name="connsiteX263" fmla="*/ 2432 w 10000"/>
                <a:gd name="connsiteY263" fmla="*/ 5181 h 10000"/>
                <a:gd name="connsiteX264" fmla="*/ 2432 w 10000"/>
                <a:gd name="connsiteY264" fmla="*/ 5133 h 10000"/>
                <a:gd name="connsiteX265" fmla="*/ 2432 w 10000"/>
                <a:gd name="connsiteY265" fmla="*/ 5055 h 10000"/>
                <a:gd name="connsiteX266" fmla="*/ 2490 w 10000"/>
                <a:gd name="connsiteY266" fmla="*/ 5024 h 10000"/>
                <a:gd name="connsiteX267" fmla="*/ 2685 w 10000"/>
                <a:gd name="connsiteY267" fmla="*/ 5024 h 10000"/>
                <a:gd name="connsiteX268" fmla="*/ 2840 w 10000"/>
                <a:gd name="connsiteY268" fmla="*/ 5024 h 10000"/>
                <a:gd name="connsiteX269" fmla="*/ 2879 w 10000"/>
                <a:gd name="connsiteY269" fmla="*/ 4976 h 10000"/>
                <a:gd name="connsiteX270" fmla="*/ 2938 w 10000"/>
                <a:gd name="connsiteY270" fmla="*/ 4898 h 10000"/>
                <a:gd name="connsiteX271" fmla="*/ 2879 w 10000"/>
                <a:gd name="connsiteY271" fmla="*/ 4851 h 10000"/>
                <a:gd name="connsiteX272" fmla="*/ 2840 w 10000"/>
                <a:gd name="connsiteY272" fmla="*/ 4772 h 10000"/>
                <a:gd name="connsiteX273" fmla="*/ 2782 w 10000"/>
                <a:gd name="connsiteY273" fmla="*/ 4741 h 10000"/>
                <a:gd name="connsiteX274" fmla="*/ 2782 w 10000"/>
                <a:gd name="connsiteY274" fmla="*/ 4694 h 10000"/>
                <a:gd name="connsiteX275" fmla="*/ 2840 w 10000"/>
                <a:gd name="connsiteY275" fmla="*/ 4647 h 10000"/>
                <a:gd name="connsiteX276" fmla="*/ 2879 w 10000"/>
                <a:gd name="connsiteY276" fmla="*/ 4615 h 10000"/>
                <a:gd name="connsiteX277" fmla="*/ 3074 w 10000"/>
                <a:gd name="connsiteY277" fmla="*/ 4568 h 10000"/>
                <a:gd name="connsiteX278" fmla="*/ 2782 w 10000"/>
                <a:gd name="connsiteY278" fmla="*/ 4411 h 10000"/>
                <a:gd name="connsiteX279" fmla="*/ 2685 w 10000"/>
                <a:gd name="connsiteY279" fmla="*/ 4333 h 10000"/>
                <a:gd name="connsiteX280" fmla="*/ 2626 w 10000"/>
                <a:gd name="connsiteY280" fmla="*/ 4207 h 10000"/>
                <a:gd name="connsiteX281" fmla="*/ 2626 w 10000"/>
                <a:gd name="connsiteY281" fmla="*/ 3925 h 10000"/>
                <a:gd name="connsiteX282" fmla="*/ 2626 w 10000"/>
                <a:gd name="connsiteY282" fmla="*/ 3815 h 10000"/>
                <a:gd name="connsiteX283" fmla="*/ 2588 w 10000"/>
                <a:gd name="connsiteY283" fmla="*/ 3689 h 10000"/>
                <a:gd name="connsiteX284" fmla="*/ 2490 w 10000"/>
                <a:gd name="connsiteY284" fmla="*/ 3658 h 10000"/>
                <a:gd name="connsiteX285" fmla="*/ 2276 w 10000"/>
                <a:gd name="connsiteY285" fmla="*/ 3564 h 10000"/>
                <a:gd name="connsiteX286" fmla="*/ 2043 w 10000"/>
                <a:gd name="connsiteY286" fmla="*/ 3375 h 10000"/>
                <a:gd name="connsiteX287" fmla="*/ 1984 w 10000"/>
                <a:gd name="connsiteY287" fmla="*/ 3297 h 10000"/>
                <a:gd name="connsiteX288" fmla="*/ 1946 w 10000"/>
                <a:gd name="connsiteY288" fmla="*/ 3203 h 10000"/>
                <a:gd name="connsiteX289" fmla="*/ 1829 w 10000"/>
                <a:gd name="connsiteY289" fmla="*/ 3203 h 10000"/>
                <a:gd name="connsiteX290" fmla="*/ 1693 w 10000"/>
                <a:gd name="connsiteY290" fmla="*/ 3203 h 10000"/>
                <a:gd name="connsiteX291" fmla="*/ 1634 w 10000"/>
                <a:gd name="connsiteY291" fmla="*/ 3250 h 10000"/>
                <a:gd name="connsiteX292" fmla="*/ 1537 w 10000"/>
                <a:gd name="connsiteY292" fmla="*/ 3250 h 10000"/>
                <a:gd name="connsiteX293" fmla="*/ 1342 w 10000"/>
                <a:gd name="connsiteY293" fmla="*/ 3171 h 10000"/>
                <a:gd name="connsiteX294" fmla="*/ 1089 w 10000"/>
                <a:gd name="connsiteY294" fmla="*/ 3014 h 10000"/>
                <a:gd name="connsiteX295" fmla="*/ 934 w 10000"/>
                <a:gd name="connsiteY295" fmla="*/ 2967 h 10000"/>
                <a:gd name="connsiteX296" fmla="*/ 739 w 10000"/>
                <a:gd name="connsiteY296" fmla="*/ 2920 h 10000"/>
                <a:gd name="connsiteX297" fmla="*/ 642 w 10000"/>
                <a:gd name="connsiteY297" fmla="*/ 2841 h 10000"/>
                <a:gd name="connsiteX298" fmla="*/ 486 w 10000"/>
                <a:gd name="connsiteY298" fmla="*/ 2684 h 10000"/>
                <a:gd name="connsiteX299" fmla="*/ 292 w 10000"/>
                <a:gd name="connsiteY299" fmla="*/ 2402 h 10000"/>
                <a:gd name="connsiteX300" fmla="*/ 97 w 10000"/>
                <a:gd name="connsiteY300" fmla="*/ 2009 h 10000"/>
                <a:gd name="connsiteX301" fmla="*/ 39 w 10000"/>
                <a:gd name="connsiteY301" fmla="*/ 1601 h 10000"/>
                <a:gd name="connsiteX302" fmla="*/ 0 w 10000"/>
                <a:gd name="connsiteY302" fmla="*/ 1397 h 10000"/>
                <a:gd name="connsiteX303" fmla="*/ 39 w 10000"/>
                <a:gd name="connsiteY303" fmla="*/ 1193 h 10000"/>
                <a:gd name="connsiteX304" fmla="*/ 97 w 10000"/>
                <a:gd name="connsiteY304" fmla="*/ 1036 h 10000"/>
                <a:gd name="connsiteX305" fmla="*/ 136 w 10000"/>
                <a:gd name="connsiteY305" fmla="*/ 926 h 10000"/>
                <a:gd name="connsiteX306" fmla="*/ 253 w 10000"/>
                <a:gd name="connsiteY306" fmla="*/ 832 h 10000"/>
                <a:gd name="connsiteX307" fmla="*/ 389 w 10000"/>
                <a:gd name="connsiteY307" fmla="*/ 801 h 10000"/>
                <a:gd name="connsiteX308" fmla="*/ 642 w 10000"/>
                <a:gd name="connsiteY308" fmla="*/ 801 h 10000"/>
                <a:gd name="connsiteX309" fmla="*/ 934 w 10000"/>
                <a:gd name="connsiteY309" fmla="*/ 754 h 10000"/>
                <a:gd name="connsiteX310" fmla="*/ 1148 w 10000"/>
                <a:gd name="connsiteY310" fmla="*/ 722 h 10000"/>
                <a:gd name="connsiteX311" fmla="*/ 1245 w 10000"/>
                <a:gd name="connsiteY311" fmla="*/ 675 h 10000"/>
                <a:gd name="connsiteX312" fmla="*/ 1342 w 10000"/>
                <a:gd name="connsiteY312" fmla="*/ 597 h 10000"/>
                <a:gd name="connsiteX313" fmla="*/ 1440 w 10000"/>
                <a:gd name="connsiteY313" fmla="*/ 565 h 10000"/>
                <a:gd name="connsiteX314" fmla="*/ 1537 w 10000"/>
                <a:gd name="connsiteY314" fmla="*/ 565 h 10000"/>
                <a:gd name="connsiteX315" fmla="*/ 1946 w 10000"/>
                <a:gd name="connsiteY315" fmla="*/ 565 h 10000"/>
                <a:gd name="connsiteX316" fmla="*/ 2276 w 10000"/>
                <a:gd name="connsiteY316" fmla="*/ 597 h 10000"/>
                <a:gd name="connsiteX317" fmla="*/ 2490 w 10000"/>
                <a:gd name="connsiteY317" fmla="*/ 644 h 10000"/>
                <a:gd name="connsiteX318" fmla="*/ 2626 w 10000"/>
                <a:gd name="connsiteY318" fmla="*/ 722 h 10000"/>
                <a:gd name="connsiteX319" fmla="*/ 2782 w 10000"/>
                <a:gd name="connsiteY319" fmla="*/ 754 h 10000"/>
                <a:gd name="connsiteX320" fmla="*/ 2879 w 10000"/>
                <a:gd name="connsiteY320" fmla="*/ 722 h 10000"/>
                <a:gd name="connsiteX321" fmla="*/ 2977 w 10000"/>
                <a:gd name="connsiteY321" fmla="*/ 675 h 10000"/>
                <a:gd name="connsiteX322" fmla="*/ 3132 w 10000"/>
                <a:gd name="connsiteY322" fmla="*/ 597 h 10000"/>
                <a:gd name="connsiteX323" fmla="*/ 3288 w 10000"/>
                <a:gd name="connsiteY323" fmla="*/ 518 h 10000"/>
                <a:gd name="connsiteX324" fmla="*/ 3482 w 10000"/>
                <a:gd name="connsiteY324" fmla="*/ 283 h 10000"/>
                <a:gd name="connsiteX325" fmla="*/ 3638 w 10000"/>
                <a:gd name="connsiteY325" fmla="*/ 78 h 10000"/>
                <a:gd name="connsiteX326" fmla="*/ 3735 w 10000"/>
                <a:gd name="connsiteY326" fmla="*/ 0 h 10000"/>
                <a:gd name="connsiteX327" fmla="*/ 3638 w 10000"/>
                <a:gd name="connsiteY327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18 w 10000"/>
                <a:gd name="connsiteY40" fmla="*/ 3250 h 10000"/>
                <a:gd name="connsiteX41" fmla="*/ 7354 w 10000"/>
                <a:gd name="connsiteY41" fmla="*/ 3250 h 10000"/>
                <a:gd name="connsiteX42" fmla="*/ 7412 w 10000"/>
                <a:gd name="connsiteY42" fmla="*/ 3297 h 10000"/>
                <a:gd name="connsiteX43" fmla="*/ 7568 w 10000"/>
                <a:gd name="connsiteY43" fmla="*/ 3375 h 10000"/>
                <a:gd name="connsiteX44" fmla="*/ 7665 w 10000"/>
                <a:gd name="connsiteY44" fmla="*/ 3454 h 10000"/>
                <a:gd name="connsiteX45" fmla="*/ 7704 w 10000"/>
                <a:gd name="connsiteY45" fmla="*/ 3485 h 10000"/>
                <a:gd name="connsiteX46" fmla="*/ 7802 w 10000"/>
                <a:gd name="connsiteY46" fmla="*/ 3485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405 w 10000"/>
                <a:gd name="connsiteY125" fmla="*/ 9560 h 10000"/>
                <a:gd name="connsiteX126" fmla="*/ 8249 w 10000"/>
                <a:gd name="connsiteY126" fmla="*/ 9435 h 10000"/>
                <a:gd name="connsiteX127" fmla="*/ 8152 w 10000"/>
                <a:gd name="connsiteY127" fmla="*/ 9309 h 10000"/>
                <a:gd name="connsiteX128" fmla="*/ 8054 w 10000"/>
                <a:gd name="connsiteY128" fmla="*/ 9278 h 10000"/>
                <a:gd name="connsiteX129" fmla="*/ 7957 w 10000"/>
                <a:gd name="connsiteY129" fmla="*/ 9278 h 10000"/>
                <a:gd name="connsiteX130" fmla="*/ 7918 w 10000"/>
                <a:gd name="connsiteY130" fmla="*/ 9309 h 10000"/>
                <a:gd name="connsiteX131" fmla="*/ 7802 w 10000"/>
                <a:gd name="connsiteY131" fmla="*/ 9356 h 10000"/>
                <a:gd name="connsiteX132" fmla="*/ 7704 w 10000"/>
                <a:gd name="connsiteY132" fmla="*/ 9309 h 10000"/>
                <a:gd name="connsiteX133" fmla="*/ 7665 w 10000"/>
                <a:gd name="connsiteY133" fmla="*/ 9278 h 10000"/>
                <a:gd name="connsiteX134" fmla="*/ 7538 w 10000"/>
                <a:gd name="connsiteY134" fmla="*/ 9639 h 10000"/>
                <a:gd name="connsiteX135" fmla="*/ 7417 w 10000"/>
                <a:gd name="connsiteY135" fmla="*/ 9522 h 10000"/>
                <a:gd name="connsiteX136" fmla="*/ 7354 w 10000"/>
                <a:gd name="connsiteY136" fmla="*/ 9231 h 10000"/>
                <a:gd name="connsiteX137" fmla="*/ 7399 w 10000"/>
                <a:gd name="connsiteY137" fmla="*/ 9465 h 10000"/>
                <a:gd name="connsiteX138" fmla="*/ 7004 w 10000"/>
                <a:gd name="connsiteY138" fmla="*/ 9435 h 10000"/>
                <a:gd name="connsiteX139" fmla="*/ 7004 w 10000"/>
                <a:gd name="connsiteY139" fmla="*/ 9388 h 10000"/>
                <a:gd name="connsiteX140" fmla="*/ 6965 w 10000"/>
                <a:gd name="connsiteY140" fmla="*/ 9388 h 10000"/>
                <a:gd name="connsiteX141" fmla="*/ 6809 w 10000"/>
                <a:gd name="connsiteY141" fmla="*/ 9309 h 10000"/>
                <a:gd name="connsiteX142" fmla="*/ 6615 w 10000"/>
                <a:gd name="connsiteY142" fmla="*/ 9231 h 10000"/>
                <a:gd name="connsiteX143" fmla="*/ 6167 w 10000"/>
                <a:gd name="connsiteY143" fmla="*/ 9199 h 10000"/>
                <a:gd name="connsiteX144" fmla="*/ 6109 w 10000"/>
                <a:gd name="connsiteY144" fmla="*/ 9152 h 10000"/>
                <a:gd name="connsiteX145" fmla="*/ 5817 w 10000"/>
                <a:gd name="connsiteY145" fmla="*/ 9074 h 10000"/>
                <a:gd name="connsiteX146" fmla="*/ 5661 w 10000"/>
                <a:gd name="connsiteY146" fmla="*/ 9027 h 10000"/>
                <a:gd name="connsiteX147" fmla="*/ 5564 w 10000"/>
                <a:gd name="connsiteY147" fmla="*/ 8917 h 10000"/>
                <a:gd name="connsiteX148" fmla="*/ 5214 w 10000"/>
                <a:gd name="connsiteY148" fmla="*/ 8744 h 10000"/>
                <a:gd name="connsiteX149" fmla="*/ 4864 w 10000"/>
                <a:gd name="connsiteY149" fmla="*/ 8634 h 10000"/>
                <a:gd name="connsiteX150" fmla="*/ 4825 w 10000"/>
                <a:gd name="connsiteY150" fmla="*/ 8666 h 10000"/>
                <a:gd name="connsiteX151" fmla="*/ 4864 w 10000"/>
                <a:gd name="connsiteY151" fmla="*/ 8634 h 10000"/>
                <a:gd name="connsiteX152" fmla="*/ 4767 w 10000"/>
                <a:gd name="connsiteY152" fmla="*/ 8666 h 10000"/>
                <a:gd name="connsiteX153" fmla="*/ 4669 w 10000"/>
                <a:gd name="connsiteY153" fmla="*/ 8666 h 10000"/>
                <a:gd name="connsiteX154" fmla="*/ 4475 w 10000"/>
                <a:gd name="connsiteY154" fmla="*/ 8587 h 10000"/>
                <a:gd name="connsiteX155" fmla="*/ 4377 w 10000"/>
                <a:gd name="connsiteY155" fmla="*/ 8556 h 10000"/>
                <a:gd name="connsiteX156" fmla="*/ 4319 w 10000"/>
                <a:gd name="connsiteY156" fmla="*/ 8556 h 10000"/>
                <a:gd name="connsiteX157" fmla="*/ 4222 w 10000"/>
                <a:gd name="connsiteY157" fmla="*/ 8587 h 10000"/>
                <a:gd name="connsiteX158" fmla="*/ 4183 w 10000"/>
                <a:gd name="connsiteY158" fmla="*/ 8666 h 10000"/>
                <a:gd name="connsiteX159" fmla="*/ 4183 w 10000"/>
                <a:gd name="connsiteY159" fmla="*/ 8791 h 10000"/>
                <a:gd name="connsiteX160" fmla="*/ 4086 w 10000"/>
                <a:gd name="connsiteY160" fmla="*/ 9309 h 10000"/>
                <a:gd name="connsiteX161" fmla="*/ 4125 w 10000"/>
                <a:gd name="connsiteY161" fmla="*/ 9388 h 10000"/>
                <a:gd name="connsiteX162" fmla="*/ 4280 w 10000"/>
                <a:gd name="connsiteY162" fmla="*/ 9466 h 10000"/>
                <a:gd name="connsiteX163" fmla="*/ 4669 w 10000"/>
                <a:gd name="connsiteY163" fmla="*/ 9670 h 10000"/>
                <a:gd name="connsiteX164" fmla="*/ 4669 w 10000"/>
                <a:gd name="connsiteY164" fmla="*/ 9749 h 10000"/>
                <a:gd name="connsiteX165" fmla="*/ 4669 w 10000"/>
                <a:gd name="connsiteY165" fmla="*/ 9827 h 10000"/>
                <a:gd name="connsiteX166" fmla="*/ 4572 w 10000"/>
                <a:gd name="connsiteY166" fmla="*/ 9922 h 10000"/>
                <a:gd name="connsiteX167" fmla="*/ 4377 w 10000"/>
                <a:gd name="connsiteY167" fmla="*/ 10000 h 10000"/>
                <a:gd name="connsiteX168" fmla="*/ 4222 w 10000"/>
                <a:gd name="connsiteY168" fmla="*/ 9953 h 10000"/>
                <a:gd name="connsiteX169" fmla="*/ 4086 w 10000"/>
                <a:gd name="connsiteY169" fmla="*/ 9874 h 10000"/>
                <a:gd name="connsiteX170" fmla="*/ 3930 w 10000"/>
                <a:gd name="connsiteY170" fmla="*/ 9796 h 10000"/>
                <a:gd name="connsiteX171" fmla="*/ 3930 w 10000"/>
                <a:gd name="connsiteY171" fmla="*/ 9717 h 10000"/>
                <a:gd name="connsiteX172" fmla="*/ 3930 w 10000"/>
                <a:gd name="connsiteY172" fmla="*/ 9560 h 10000"/>
                <a:gd name="connsiteX173" fmla="*/ 3872 w 10000"/>
                <a:gd name="connsiteY173" fmla="*/ 9513 h 10000"/>
                <a:gd name="connsiteX174" fmla="*/ 3833 w 10000"/>
                <a:gd name="connsiteY174" fmla="*/ 9466 h 10000"/>
                <a:gd name="connsiteX175" fmla="*/ 3774 w 10000"/>
                <a:gd name="connsiteY175" fmla="*/ 9513 h 10000"/>
                <a:gd name="connsiteX176" fmla="*/ 3521 w 10000"/>
                <a:gd name="connsiteY176" fmla="*/ 9560 h 10000"/>
                <a:gd name="connsiteX177" fmla="*/ 3424 w 10000"/>
                <a:gd name="connsiteY177" fmla="*/ 9560 h 10000"/>
                <a:gd name="connsiteX178" fmla="*/ 3288 w 10000"/>
                <a:gd name="connsiteY178" fmla="*/ 9513 h 10000"/>
                <a:gd name="connsiteX179" fmla="*/ 3132 w 10000"/>
                <a:gd name="connsiteY179" fmla="*/ 9435 h 10000"/>
                <a:gd name="connsiteX180" fmla="*/ 2938 w 10000"/>
                <a:gd name="connsiteY180" fmla="*/ 9356 h 10000"/>
                <a:gd name="connsiteX181" fmla="*/ 2724 w 10000"/>
                <a:gd name="connsiteY181" fmla="*/ 9309 h 10000"/>
                <a:gd name="connsiteX182" fmla="*/ 2432 w 10000"/>
                <a:gd name="connsiteY182" fmla="*/ 9278 h 10000"/>
                <a:gd name="connsiteX183" fmla="*/ 2393 w 10000"/>
                <a:gd name="connsiteY183" fmla="*/ 9199 h 10000"/>
                <a:gd name="connsiteX184" fmla="*/ 2276 w 10000"/>
                <a:gd name="connsiteY184" fmla="*/ 9152 h 10000"/>
                <a:gd name="connsiteX185" fmla="*/ 2179 w 10000"/>
                <a:gd name="connsiteY185" fmla="*/ 9074 h 10000"/>
                <a:gd name="connsiteX186" fmla="*/ 2179 w 10000"/>
                <a:gd name="connsiteY186" fmla="*/ 8948 h 10000"/>
                <a:gd name="connsiteX187" fmla="*/ 2179 w 10000"/>
                <a:gd name="connsiteY187" fmla="*/ 8870 h 10000"/>
                <a:gd name="connsiteX188" fmla="*/ 2237 w 10000"/>
                <a:gd name="connsiteY188" fmla="*/ 8838 h 10000"/>
                <a:gd name="connsiteX189" fmla="*/ 2335 w 10000"/>
                <a:gd name="connsiteY189" fmla="*/ 8791 h 10000"/>
                <a:gd name="connsiteX190" fmla="*/ 2490 w 10000"/>
                <a:gd name="connsiteY190" fmla="*/ 8791 h 10000"/>
                <a:gd name="connsiteX191" fmla="*/ 2529 w 10000"/>
                <a:gd name="connsiteY191" fmla="*/ 8744 h 10000"/>
                <a:gd name="connsiteX192" fmla="*/ 2626 w 10000"/>
                <a:gd name="connsiteY192" fmla="*/ 8713 h 10000"/>
                <a:gd name="connsiteX193" fmla="*/ 2685 w 10000"/>
                <a:gd name="connsiteY193" fmla="*/ 8556 h 10000"/>
                <a:gd name="connsiteX194" fmla="*/ 2626 w 10000"/>
                <a:gd name="connsiteY194" fmla="*/ 8383 h 10000"/>
                <a:gd name="connsiteX195" fmla="*/ 2588 w 10000"/>
                <a:gd name="connsiteY195" fmla="*/ 8195 h 10000"/>
                <a:gd name="connsiteX196" fmla="*/ 2432 w 10000"/>
                <a:gd name="connsiteY196" fmla="*/ 8022 h 10000"/>
                <a:gd name="connsiteX197" fmla="*/ 2393 w 10000"/>
                <a:gd name="connsiteY197" fmla="*/ 7991 h 10000"/>
                <a:gd name="connsiteX198" fmla="*/ 2335 w 10000"/>
                <a:gd name="connsiteY198" fmla="*/ 7943 h 10000"/>
                <a:gd name="connsiteX199" fmla="*/ 2393 w 10000"/>
                <a:gd name="connsiteY199" fmla="*/ 7865 h 10000"/>
                <a:gd name="connsiteX200" fmla="*/ 2432 w 10000"/>
                <a:gd name="connsiteY200" fmla="*/ 7834 h 10000"/>
                <a:gd name="connsiteX201" fmla="*/ 2490 w 10000"/>
                <a:gd name="connsiteY201" fmla="*/ 7834 h 10000"/>
                <a:gd name="connsiteX202" fmla="*/ 2588 w 10000"/>
                <a:gd name="connsiteY202" fmla="*/ 7834 h 10000"/>
                <a:gd name="connsiteX203" fmla="*/ 2685 w 10000"/>
                <a:gd name="connsiteY203" fmla="*/ 7834 h 10000"/>
                <a:gd name="connsiteX204" fmla="*/ 2782 w 10000"/>
                <a:gd name="connsiteY204" fmla="*/ 7912 h 10000"/>
                <a:gd name="connsiteX205" fmla="*/ 2938 w 10000"/>
                <a:gd name="connsiteY205" fmla="*/ 7991 h 10000"/>
                <a:gd name="connsiteX206" fmla="*/ 3074 w 10000"/>
                <a:gd name="connsiteY206" fmla="*/ 8069 h 10000"/>
                <a:gd name="connsiteX207" fmla="*/ 3230 w 10000"/>
                <a:gd name="connsiteY207" fmla="*/ 8100 h 10000"/>
                <a:gd name="connsiteX208" fmla="*/ 3230 w 10000"/>
                <a:gd name="connsiteY208" fmla="*/ 8069 h 10000"/>
                <a:gd name="connsiteX209" fmla="*/ 3288 w 10000"/>
                <a:gd name="connsiteY209" fmla="*/ 8069 h 10000"/>
                <a:gd name="connsiteX210" fmla="*/ 3327 w 10000"/>
                <a:gd name="connsiteY210" fmla="*/ 7912 h 10000"/>
                <a:gd name="connsiteX211" fmla="*/ 3327 w 10000"/>
                <a:gd name="connsiteY211" fmla="*/ 7786 h 10000"/>
                <a:gd name="connsiteX212" fmla="*/ 3327 w 10000"/>
                <a:gd name="connsiteY212" fmla="*/ 7708 h 10000"/>
                <a:gd name="connsiteX213" fmla="*/ 3230 w 10000"/>
                <a:gd name="connsiteY213" fmla="*/ 7582 h 10000"/>
                <a:gd name="connsiteX214" fmla="*/ 2977 w 10000"/>
                <a:gd name="connsiteY214" fmla="*/ 7378 h 10000"/>
                <a:gd name="connsiteX215" fmla="*/ 2685 w 10000"/>
                <a:gd name="connsiteY215" fmla="*/ 7064 h 10000"/>
                <a:gd name="connsiteX216" fmla="*/ 2724 w 10000"/>
                <a:gd name="connsiteY216" fmla="*/ 6986 h 10000"/>
                <a:gd name="connsiteX217" fmla="*/ 2782 w 10000"/>
                <a:gd name="connsiteY217" fmla="*/ 6986 h 10000"/>
                <a:gd name="connsiteX218" fmla="*/ 3035 w 10000"/>
                <a:gd name="connsiteY218" fmla="*/ 7017 h 10000"/>
                <a:gd name="connsiteX219" fmla="*/ 3230 w 10000"/>
                <a:gd name="connsiteY219" fmla="*/ 7017 h 10000"/>
                <a:gd name="connsiteX220" fmla="*/ 3288 w 10000"/>
                <a:gd name="connsiteY220" fmla="*/ 7017 h 10000"/>
                <a:gd name="connsiteX221" fmla="*/ 3288 w 10000"/>
                <a:gd name="connsiteY221" fmla="*/ 6986 h 10000"/>
                <a:gd name="connsiteX222" fmla="*/ 3171 w 10000"/>
                <a:gd name="connsiteY222" fmla="*/ 6829 h 10000"/>
                <a:gd name="connsiteX223" fmla="*/ 2977 w 10000"/>
                <a:gd name="connsiteY223" fmla="*/ 6656 h 10000"/>
                <a:gd name="connsiteX224" fmla="*/ 2840 w 10000"/>
                <a:gd name="connsiteY224" fmla="*/ 6546 h 10000"/>
                <a:gd name="connsiteX225" fmla="*/ 2588 w 10000"/>
                <a:gd name="connsiteY225" fmla="*/ 6468 h 10000"/>
                <a:gd name="connsiteX226" fmla="*/ 2335 w 10000"/>
                <a:gd name="connsiteY226" fmla="*/ 6421 h 10000"/>
                <a:gd name="connsiteX227" fmla="*/ 1634 w 10000"/>
                <a:gd name="connsiteY227" fmla="*/ 6421 h 10000"/>
                <a:gd name="connsiteX228" fmla="*/ 1245 w 10000"/>
                <a:gd name="connsiteY228" fmla="*/ 6374 h 10000"/>
                <a:gd name="connsiteX229" fmla="*/ 1089 w 10000"/>
                <a:gd name="connsiteY229" fmla="*/ 6421 h 10000"/>
                <a:gd name="connsiteX230" fmla="*/ 992 w 10000"/>
                <a:gd name="connsiteY230" fmla="*/ 6468 h 10000"/>
                <a:gd name="connsiteX231" fmla="*/ 934 w 10000"/>
                <a:gd name="connsiteY231" fmla="*/ 6546 h 10000"/>
                <a:gd name="connsiteX232" fmla="*/ 798 w 10000"/>
                <a:gd name="connsiteY232" fmla="*/ 6295 h 10000"/>
                <a:gd name="connsiteX233" fmla="*/ 642 w 10000"/>
                <a:gd name="connsiteY233" fmla="*/ 6217 h 10000"/>
                <a:gd name="connsiteX234" fmla="*/ 447 w 10000"/>
                <a:gd name="connsiteY234" fmla="*/ 6138 h 10000"/>
                <a:gd name="connsiteX235" fmla="*/ 195 w 10000"/>
                <a:gd name="connsiteY235" fmla="*/ 5934 h 10000"/>
                <a:gd name="connsiteX236" fmla="*/ 97 w 10000"/>
                <a:gd name="connsiteY236" fmla="*/ 5824 h 10000"/>
                <a:gd name="connsiteX237" fmla="*/ 97 w 10000"/>
                <a:gd name="connsiteY237" fmla="*/ 5699 h 10000"/>
                <a:gd name="connsiteX238" fmla="*/ 195 w 10000"/>
                <a:gd name="connsiteY238" fmla="*/ 5777 h 10000"/>
                <a:gd name="connsiteX239" fmla="*/ 292 w 10000"/>
                <a:gd name="connsiteY239" fmla="*/ 5824 h 10000"/>
                <a:gd name="connsiteX240" fmla="*/ 447 w 10000"/>
                <a:gd name="connsiteY240" fmla="*/ 5856 h 10000"/>
                <a:gd name="connsiteX241" fmla="*/ 584 w 10000"/>
                <a:gd name="connsiteY241" fmla="*/ 5856 h 10000"/>
                <a:gd name="connsiteX242" fmla="*/ 700 w 10000"/>
                <a:gd name="connsiteY242" fmla="*/ 5824 h 10000"/>
                <a:gd name="connsiteX243" fmla="*/ 1187 w 10000"/>
                <a:gd name="connsiteY243" fmla="*/ 5824 h 10000"/>
                <a:gd name="connsiteX244" fmla="*/ 1342 w 10000"/>
                <a:gd name="connsiteY244" fmla="*/ 5651 h 10000"/>
                <a:gd name="connsiteX245" fmla="*/ 1381 w 10000"/>
                <a:gd name="connsiteY245" fmla="*/ 5573 h 10000"/>
                <a:gd name="connsiteX246" fmla="*/ 1498 w 10000"/>
                <a:gd name="connsiteY246" fmla="*/ 5573 h 10000"/>
                <a:gd name="connsiteX247" fmla="*/ 1537 w 10000"/>
                <a:gd name="connsiteY247" fmla="*/ 5573 h 10000"/>
                <a:gd name="connsiteX248" fmla="*/ 1595 w 10000"/>
                <a:gd name="connsiteY248" fmla="*/ 5651 h 10000"/>
                <a:gd name="connsiteX249" fmla="*/ 1693 w 10000"/>
                <a:gd name="connsiteY249" fmla="*/ 5824 h 10000"/>
                <a:gd name="connsiteX250" fmla="*/ 1732 w 10000"/>
                <a:gd name="connsiteY250" fmla="*/ 5981 h 10000"/>
                <a:gd name="connsiteX251" fmla="*/ 1829 w 10000"/>
                <a:gd name="connsiteY251" fmla="*/ 6060 h 10000"/>
                <a:gd name="connsiteX252" fmla="*/ 1946 w 10000"/>
                <a:gd name="connsiteY252" fmla="*/ 6060 h 10000"/>
                <a:gd name="connsiteX253" fmla="*/ 2043 w 10000"/>
                <a:gd name="connsiteY253" fmla="*/ 6060 h 10000"/>
                <a:gd name="connsiteX254" fmla="*/ 2082 w 10000"/>
                <a:gd name="connsiteY254" fmla="*/ 6013 h 10000"/>
                <a:gd name="connsiteX255" fmla="*/ 2179 w 10000"/>
                <a:gd name="connsiteY255" fmla="*/ 5856 h 10000"/>
                <a:gd name="connsiteX256" fmla="*/ 2237 w 10000"/>
                <a:gd name="connsiteY256" fmla="*/ 5542 h 10000"/>
                <a:gd name="connsiteX257" fmla="*/ 2335 w 10000"/>
                <a:gd name="connsiteY257" fmla="*/ 5463 h 10000"/>
                <a:gd name="connsiteX258" fmla="*/ 2432 w 10000"/>
                <a:gd name="connsiteY258" fmla="*/ 5463 h 10000"/>
                <a:gd name="connsiteX259" fmla="*/ 2529 w 10000"/>
                <a:gd name="connsiteY259" fmla="*/ 5416 h 10000"/>
                <a:gd name="connsiteX260" fmla="*/ 2588 w 10000"/>
                <a:gd name="connsiteY260" fmla="*/ 5338 h 10000"/>
                <a:gd name="connsiteX261" fmla="*/ 2529 w 10000"/>
                <a:gd name="connsiteY261" fmla="*/ 5259 h 10000"/>
                <a:gd name="connsiteX262" fmla="*/ 2490 w 10000"/>
                <a:gd name="connsiteY262" fmla="*/ 5212 h 10000"/>
                <a:gd name="connsiteX263" fmla="*/ 2432 w 10000"/>
                <a:gd name="connsiteY263" fmla="*/ 5181 h 10000"/>
                <a:gd name="connsiteX264" fmla="*/ 2432 w 10000"/>
                <a:gd name="connsiteY264" fmla="*/ 5133 h 10000"/>
                <a:gd name="connsiteX265" fmla="*/ 2432 w 10000"/>
                <a:gd name="connsiteY265" fmla="*/ 5055 h 10000"/>
                <a:gd name="connsiteX266" fmla="*/ 2490 w 10000"/>
                <a:gd name="connsiteY266" fmla="*/ 5024 h 10000"/>
                <a:gd name="connsiteX267" fmla="*/ 2685 w 10000"/>
                <a:gd name="connsiteY267" fmla="*/ 5024 h 10000"/>
                <a:gd name="connsiteX268" fmla="*/ 2840 w 10000"/>
                <a:gd name="connsiteY268" fmla="*/ 5024 h 10000"/>
                <a:gd name="connsiteX269" fmla="*/ 2879 w 10000"/>
                <a:gd name="connsiteY269" fmla="*/ 4976 h 10000"/>
                <a:gd name="connsiteX270" fmla="*/ 2938 w 10000"/>
                <a:gd name="connsiteY270" fmla="*/ 4898 h 10000"/>
                <a:gd name="connsiteX271" fmla="*/ 2879 w 10000"/>
                <a:gd name="connsiteY271" fmla="*/ 4851 h 10000"/>
                <a:gd name="connsiteX272" fmla="*/ 2840 w 10000"/>
                <a:gd name="connsiteY272" fmla="*/ 4772 h 10000"/>
                <a:gd name="connsiteX273" fmla="*/ 2782 w 10000"/>
                <a:gd name="connsiteY273" fmla="*/ 4741 h 10000"/>
                <a:gd name="connsiteX274" fmla="*/ 2782 w 10000"/>
                <a:gd name="connsiteY274" fmla="*/ 4694 h 10000"/>
                <a:gd name="connsiteX275" fmla="*/ 2840 w 10000"/>
                <a:gd name="connsiteY275" fmla="*/ 4647 h 10000"/>
                <a:gd name="connsiteX276" fmla="*/ 2879 w 10000"/>
                <a:gd name="connsiteY276" fmla="*/ 4615 h 10000"/>
                <a:gd name="connsiteX277" fmla="*/ 3074 w 10000"/>
                <a:gd name="connsiteY277" fmla="*/ 4568 h 10000"/>
                <a:gd name="connsiteX278" fmla="*/ 2782 w 10000"/>
                <a:gd name="connsiteY278" fmla="*/ 4411 h 10000"/>
                <a:gd name="connsiteX279" fmla="*/ 2685 w 10000"/>
                <a:gd name="connsiteY279" fmla="*/ 4333 h 10000"/>
                <a:gd name="connsiteX280" fmla="*/ 2626 w 10000"/>
                <a:gd name="connsiteY280" fmla="*/ 4207 h 10000"/>
                <a:gd name="connsiteX281" fmla="*/ 2626 w 10000"/>
                <a:gd name="connsiteY281" fmla="*/ 3925 h 10000"/>
                <a:gd name="connsiteX282" fmla="*/ 2626 w 10000"/>
                <a:gd name="connsiteY282" fmla="*/ 3815 h 10000"/>
                <a:gd name="connsiteX283" fmla="*/ 2588 w 10000"/>
                <a:gd name="connsiteY283" fmla="*/ 3689 h 10000"/>
                <a:gd name="connsiteX284" fmla="*/ 2490 w 10000"/>
                <a:gd name="connsiteY284" fmla="*/ 3658 h 10000"/>
                <a:gd name="connsiteX285" fmla="*/ 2276 w 10000"/>
                <a:gd name="connsiteY285" fmla="*/ 3564 h 10000"/>
                <a:gd name="connsiteX286" fmla="*/ 2043 w 10000"/>
                <a:gd name="connsiteY286" fmla="*/ 3375 h 10000"/>
                <a:gd name="connsiteX287" fmla="*/ 1984 w 10000"/>
                <a:gd name="connsiteY287" fmla="*/ 3297 h 10000"/>
                <a:gd name="connsiteX288" fmla="*/ 1946 w 10000"/>
                <a:gd name="connsiteY288" fmla="*/ 3203 h 10000"/>
                <a:gd name="connsiteX289" fmla="*/ 1829 w 10000"/>
                <a:gd name="connsiteY289" fmla="*/ 3203 h 10000"/>
                <a:gd name="connsiteX290" fmla="*/ 1693 w 10000"/>
                <a:gd name="connsiteY290" fmla="*/ 3203 h 10000"/>
                <a:gd name="connsiteX291" fmla="*/ 1634 w 10000"/>
                <a:gd name="connsiteY291" fmla="*/ 3250 h 10000"/>
                <a:gd name="connsiteX292" fmla="*/ 1537 w 10000"/>
                <a:gd name="connsiteY292" fmla="*/ 3250 h 10000"/>
                <a:gd name="connsiteX293" fmla="*/ 1342 w 10000"/>
                <a:gd name="connsiteY293" fmla="*/ 3171 h 10000"/>
                <a:gd name="connsiteX294" fmla="*/ 1089 w 10000"/>
                <a:gd name="connsiteY294" fmla="*/ 3014 h 10000"/>
                <a:gd name="connsiteX295" fmla="*/ 934 w 10000"/>
                <a:gd name="connsiteY295" fmla="*/ 2967 h 10000"/>
                <a:gd name="connsiteX296" fmla="*/ 739 w 10000"/>
                <a:gd name="connsiteY296" fmla="*/ 2920 h 10000"/>
                <a:gd name="connsiteX297" fmla="*/ 642 w 10000"/>
                <a:gd name="connsiteY297" fmla="*/ 2841 h 10000"/>
                <a:gd name="connsiteX298" fmla="*/ 486 w 10000"/>
                <a:gd name="connsiteY298" fmla="*/ 2684 h 10000"/>
                <a:gd name="connsiteX299" fmla="*/ 292 w 10000"/>
                <a:gd name="connsiteY299" fmla="*/ 2402 h 10000"/>
                <a:gd name="connsiteX300" fmla="*/ 97 w 10000"/>
                <a:gd name="connsiteY300" fmla="*/ 2009 h 10000"/>
                <a:gd name="connsiteX301" fmla="*/ 39 w 10000"/>
                <a:gd name="connsiteY301" fmla="*/ 1601 h 10000"/>
                <a:gd name="connsiteX302" fmla="*/ 0 w 10000"/>
                <a:gd name="connsiteY302" fmla="*/ 1397 h 10000"/>
                <a:gd name="connsiteX303" fmla="*/ 39 w 10000"/>
                <a:gd name="connsiteY303" fmla="*/ 1193 h 10000"/>
                <a:gd name="connsiteX304" fmla="*/ 97 w 10000"/>
                <a:gd name="connsiteY304" fmla="*/ 1036 h 10000"/>
                <a:gd name="connsiteX305" fmla="*/ 136 w 10000"/>
                <a:gd name="connsiteY305" fmla="*/ 926 h 10000"/>
                <a:gd name="connsiteX306" fmla="*/ 253 w 10000"/>
                <a:gd name="connsiteY306" fmla="*/ 832 h 10000"/>
                <a:gd name="connsiteX307" fmla="*/ 389 w 10000"/>
                <a:gd name="connsiteY307" fmla="*/ 801 h 10000"/>
                <a:gd name="connsiteX308" fmla="*/ 642 w 10000"/>
                <a:gd name="connsiteY308" fmla="*/ 801 h 10000"/>
                <a:gd name="connsiteX309" fmla="*/ 934 w 10000"/>
                <a:gd name="connsiteY309" fmla="*/ 754 h 10000"/>
                <a:gd name="connsiteX310" fmla="*/ 1148 w 10000"/>
                <a:gd name="connsiteY310" fmla="*/ 722 h 10000"/>
                <a:gd name="connsiteX311" fmla="*/ 1245 w 10000"/>
                <a:gd name="connsiteY311" fmla="*/ 675 h 10000"/>
                <a:gd name="connsiteX312" fmla="*/ 1342 w 10000"/>
                <a:gd name="connsiteY312" fmla="*/ 597 h 10000"/>
                <a:gd name="connsiteX313" fmla="*/ 1440 w 10000"/>
                <a:gd name="connsiteY313" fmla="*/ 565 h 10000"/>
                <a:gd name="connsiteX314" fmla="*/ 1537 w 10000"/>
                <a:gd name="connsiteY314" fmla="*/ 565 h 10000"/>
                <a:gd name="connsiteX315" fmla="*/ 1946 w 10000"/>
                <a:gd name="connsiteY315" fmla="*/ 565 h 10000"/>
                <a:gd name="connsiteX316" fmla="*/ 2276 w 10000"/>
                <a:gd name="connsiteY316" fmla="*/ 597 h 10000"/>
                <a:gd name="connsiteX317" fmla="*/ 2490 w 10000"/>
                <a:gd name="connsiteY317" fmla="*/ 644 h 10000"/>
                <a:gd name="connsiteX318" fmla="*/ 2626 w 10000"/>
                <a:gd name="connsiteY318" fmla="*/ 722 h 10000"/>
                <a:gd name="connsiteX319" fmla="*/ 2782 w 10000"/>
                <a:gd name="connsiteY319" fmla="*/ 754 h 10000"/>
                <a:gd name="connsiteX320" fmla="*/ 2879 w 10000"/>
                <a:gd name="connsiteY320" fmla="*/ 722 h 10000"/>
                <a:gd name="connsiteX321" fmla="*/ 2977 w 10000"/>
                <a:gd name="connsiteY321" fmla="*/ 675 h 10000"/>
                <a:gd name="connsiteX322" fmla="*/ 3132 w 10000"/>
                <a:gd name="connsiteY322" fmla="*/ 597 h 10000"/>
                <a:gd name="connsiteX323" fmla="*/ 3288 w 10000"/>
                <a:gd name="connsiteY323" fmla="*/ 518 h 10000"/>
                <a:gd name="connsiteX324" fmla="*/ 3482 w 10000"/>
                <a:gd name="connsiteY324" fmla="*/ 283 h 10000"/>
                <a:gd name="connsiteX325" fmla="*/ 3638 w 10000"/>
                <a:gd name="connsiteY325" fmla="*/ 78 h 10000"/>
                <a:gd name="connsiteX326" fmla="*/ 3735 w 10000"/>
                <a:gd name="connsiteY326" fmla="*/ 0 h 10000"/>
                <a:gd name="connsiteX327" fmla="*/ 3638 w 10000"/>
                <a:gd name="connsiteY327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18 w 10000"/>
                <a:gd name="connsiteY40" fmla="*/ 3250 h 10000"/>
                <a:gd name="connsiteX41" fmla="*/ 7354 w 10000"/>
                <a:gd name="connsiteY41" fmla="*/ 3250 h 10000"/>
                <a:gd name="connsiteX42" fmla="*/ 7412 w 10000"/>
                <a:gd name="connsiteY42" fmla="*/ 3297 h 10000"/>
                <a:gd name="connsiteX43" fmla="*/ 7568 w 10000"/>
                <a:gd name="connsiteY43" fmla="*/ 3375 h 10000"/>
                <a:gd name="connsiteX44" fmla="*/ 7665 w 10000"/>
                <a:gd name="connsiteY44" fmla="*/ 3454 h 10000"/>
                <a:gd name="connsiteX45" fmla="*/ 7704 w 10000"/>
                <a:gd name="connsiteY45" fmla="*/ 3485 h 10000"/>
                <a:gd name="connsiteX46" fmla="*/ 7802 w 10000"/>
                <a:gd name="connsiteY46" fmla="*/ 3485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405 w 10000"/>
                <a:gd name="connsiteY125" fmla="*/ 9560 h 10000"/>
                <a:gd name="connsiteX126" fmla="*/ 8249 w 10000"/>
                <a:gd name="connsiteY126" fmla="*/ 9435 h 10000"/>
                <a:gd name="connsiteX127" fmla="*/ 8152 w 10000"/>
                <a:gd name="connsiteY127" fmla="*/ 9309 h 10000"/>
                <a:gd name="connsiteX128" fmla="*/ 8054 w 10000"/>
                <a:gd name="connsiteY128" fmla="*/ 9278 h 10000"/>
                <a:gd name="connsiteX129" fmla="*/ 7957 w 10000"/>
                <a:gd name="connsiteY129" fmla="*/ 9278 h 10000"/>
                <a:gd name="connsiteX130" fmla="*/ 7918 w 10000"/>
                <a:gd name="connsiteY130" fmla="*/ 9309 h 10000"/>
                <a:gd name="connsiteX131" fmla="*/ 7802 w 10000"/>
                <a:gd name="connsiteY131" fmla="*/ 9356 h 10000"/>
                <a:gd name="connsiteX132" fmla="*/ 7704 w 10000"/>
                <a:gd name="connsiteY132" fmla="*/ 9309 h 10000"/>
                <a:gd name="connsiteX133" fmla="*/ 7802 w 10000"/>
                <a:gd name="connsiteY133" fmla="*/ 9761 h 10000"/>
                <a:gd name="connsiteX134" fmla="*/ 7538 w 10000"/>
                <a:gd name="connsiteY134" fmla="*/ 9639 h 10000"/>
                <a:gd name="connsiteX135" fmla="*/ 7417 w 10000"/>
                <a:gd name="connsiteY135" fmla="*/ 9522 h 10000"/>
                <a:gd name="connsiteX136" fmla="*/ 7354 w 10000"/>
                <a:gd name="connsiteY136" fmla="*/ 9231 h 10000"/>
                <a:gd name="connsiteX137" fmla="*/ 7399 w 10000"/>
                <a:gd name="connsiteY137" fmla="*/ 9465 h 10000"/>
                <a:gd name="connsiteX138" fmla="*/ 7004 w 10000"/>
                <a:gd name="connsiteY138" fmla="*/ 9435 h 10000"/>
                <a:gd name="connsiteX139" fmla="*/ 7004 w 10000"/>
                <a:gd name="connsiteY139" fmla="*/ 9388 h 10000"/>
                <a:gd name="connsiteX140" fmla="*/ 6965 w 10000"/>
                <a:gd name="connsiteY140" fmla="*/ 9388 h 10000"/>
                <a:gd name="connsiteX141" fmla="*/ 6809 w 10000"/>
                <a:gd name="connsiteY141" fmla="*/ 9309 h 10000"/>
                <a:gd name="connsiteX142" fmla="*/ 6615 w 10000"/>
                <a:gd name="connsiteY142" fmla="*/ 9231 h 10000"/>
                <a:gd name="connsiteX143" fmla="*/ 6167 w 10000"/>
                <a:gd name="connsiteY143" fmla="*/ 9199 h 10000"/>
                <a:gd name="connsiteX144" fmla="*/ 6109 w 10000"/>
                <a:gd name="connsiteY144" fmla="*/ 9152 h 10000"/>
                <a:gd name="connsiteX145" fmla="*/ 5817 w 10000"/>
                <a:gd name="connsiteY145" fmla="*/ 9074 h 10000"/>
                <a:gd name="connsiteX146" fmla="*/ 5661 w 10000"/>
                <a:gd name="connsiteY146" fmla="*/ 9027 h 10000"/>
                <a:gd name="connsiteX147" fmla="*/ 5564 w 10000"/>
                <a:gd name="connsiteY147" fmla="*/ 8917 h 10000"/>
                <a:gd name="connsiteX148" fmla="*/ 5214 w 10000"/>
                <a:gd name="connsiteY148" fmla="*/ 8744 h 10000"/>
                <a:gd name="connsiteX149" fmla="*/ 4864 w 10000"/>
                <a:gd name="connsiteY149" fmla="*/ 8634 h 10000"/>
                <a:gd name="connsiteX150" fmla="*/ 4825 w 10000"/>
                <a:gd name="connsiteY150" fmla="*/ 8666 h 10000"/>
                <a:gd name="connsiteX151" fmla="*/ 4864 w 10000"/>
                <a:gd name="connsiteY151" fmla="*/ 8634 h 10000"/>
                <a:gd name="connsiteX152" fmla="*/ 4767 w 10000"/>
                <a:gd name="connsiteY152" fmla="*/ 8666 h 10000"/>
                <a:gd name="connsiteX153" fmla="*/ 4669 w 10000"/>
                <a:gd name="connsiteY153" fmla="*/ 8666 h 10000"/>
                <a:gd name="connsiteX154" fmla="*/ 4475 w 10000"/>
                <a:gd name="connsiteY154" fmla="*/ 8587 h 10000"/>
                <a:gd name="connsiteX155" fmla="*/ 4377 w 10000"/>
                <a:gd name="connsiteY155" fmla="*/ 8556 h 10000"/>
                <a:gd name="connsiteX156" fmla="*/ 4319 w 10000"/>
                <a:gd name="connsiteY156" fmla="*/ 8556 h 10000"/>
                <a:gd name="connsiteX157" fmla="*/ 4222 w 10000"/>
                <a:gd name="connsiteY157" fmla="*/ 8587 h 10000"/>
                <a:gd name="connsiteX158" fmla="*/ 4183 w 10000"/>
                <a:gd name="connsiteY158" fmla="*/ 8666 h 10000"/>
                <a:gd name="connsiteX159" fmla="*/ 4183 w 10000"/>
                <a:gd name="connsiteY159" fmla="*/ 8791 h 10000"/>
                <a:gd name="connsiteX160" fmla="*/ 4086 w 10000"/>
                <a:gd name="connsiteY160" fmla="*/ 9309 h 10000"/>
                <a:gd name="connsiteX161" fmla="*/ 4125 w 10000"/>
                <a:gd name="connsiteY161" fmla="*/ 9388 h 10000"/>
                <a:gd name="connsiteX162" fmla="*/ 4280 w 10000"/>
                <a:gd name="connsiteY162" fmla="*/ 9466 h 10000"/>
                <a:gd name="connsiteX163" fmla="*/ 4669 w 10000"/>
                <a:gd name="connsiteY163" fmla="*/ 9670 h 10000"/>
                <a:gd name="connsiteX164" fmla="*/ 4669 w 10000"/>
                <a:gd name="connsiteY164" fmla="*/ 9749 h 10000"/>
                <a:gd name="connsiteX165" fmla="*/ 4669 w 10000"/>
                <a:gd name="connsiteY165" fmla="*/ 9827 h 10000"/>
                <a:gd name="connsiteX166" fmla="*/ 4572 w 10000"/>
                <a:gd name="connsiteY166" fmla="*/ 9922 h 10000"/>
                <a:gd name="connsiteX167" fmla="*/ 4377 w 10000"/>
                <a:gd name="connsiteY167" fmla="*/ 10000 h 10000"/>
                <a:gd name="connsiteX168" fmla="*/ 4222 w 10000"/>
                <a:gd name="connsiteY168" fmla="*/ 9953 h 10000"/>
                <a:gd name="connsiteX169" fmla="*/ 4086 w 10000"/>
                <a:gd name="connsiteY169" fmla="*/ 9874 h 10000"/>
                <a:gd name="connsiteX170" fmla="*/ 3930 w 10000"/>
                <a:gd name="connsiteY170" fmla="*/ 9796 h 10000"/>
                <a:gd name="connsiteX171" fmla="*/ 3930 w 10000"/>
                <a:gd name="connsiteY171" fmla="*/ 9717 h 10000"/>
                <a:gd name="connsiteX172" fmla="*/ 3930 w 10000"/>
                <a:gd name="connsiteY172" fmla="*/ 9560 h 10000"/>
                <a:gd name="connsiteX173" fmla="*/ 3872 w 10000"/>
                <a:gd name="connsiteY173" fmla="*/ 9513 h 10000"/>
                <a:gd name="connsiteX174" fmla="*/ 3833 w 10000"/>
                <a:gd name="connsiteY174" fmla="*/ 9466 h 10000"/>
                <a:gd name="connsiteX175" fmla="*/ 3774 w 10000"/>
                <a:gd name="connsiteY175" fmla="*/ 9513 h 10000"/>
                <a:gd name="connsiteX176" fmla="*/ 3521 w 10000"/>
                <a:gd name="connsiteY176" fmla="*/ 9560 h 10000"/>
                <a:gd name="connsiteX177" fmla="*/ 3424 w 10000"/>
                <a:gd name="connsiteY177" fmla="*/ 9560 h 10000"/>
                <a:gd name="connsiteX178" fmla="*/ 3288 w 10000"/>
                <a:gd name="connsiteY178" fmla="*/ 9513 h 10000"/>
                <a:gd name="connsiteX179" fmla="*/ 3132 w 10000"/>
                <a:gd name="connsiteY179" fmla="*/ 9435 h 10000"/>
                <a:gd name="connsiteX180" fmla="*/ 2938 w 10000"/>
                <a:gd name="connsiteY180" fmla="*/ 9356 h 10000"/>
                <a:gd name="connsiteX181" fmla="*/ 2724 w 10000"/>
                <a:gd name="connsiteY181" fmla="*/ 9309 h 10000"/>
                <a:gd name="connsiteX182" fmla="*/ 2432 w 10000"/>
                <a:gd name="connsiteY182" fmla="*/ 9278 h 10000"/>
                <a:gd name="connsiteX183" fmla="*/ 2393 w 10000"/>
                <a:gd name="connsiteY183" fmla="*/ 9199 h 10000"/>
                <a:gd name="connsiteX184" fmla="*/ 2276 w 10000"/>
                <a:gd name="connsiteY184" fmla="*/ 9152 h 10000"/>
                <a:gd name="connsiteX185" fmla="*/ 2179 w 10000"/>
                <a:gd name="connsiteY185" fmla="*/ 9074 h 10000"/>
                <a:gd name="connsiteX186" fmla="*/ 2179 w 10000"/>
                <a:gd name="connsiteY186" fmla="*/ 8948 h 10000"/>
                <a:gd name="connsiteX187" fmla="*/ 2179 w 10000"/>
                <a:gd name="connsiteY187" fmla="*/ 8870 h 10000"/>
                <a:gd name="connsiteX188" fmla="*/ 2237 w 10000"/>
                <a:gd name="connsiteY188" fmla="*/ 8838 h 10000"/>
                <a:gd name="connsiteX189" fmla="*/ 2335 w 10000"/>
                <a:gd name="connsiteY189" fmla="*/ 8791 h 10000"/>
                <a:gd name="connsiteX190" fmla="*/ 2490 w 10000"/>
                <a:gd name="connsiteY190" fmla="*/ 8791 h 10000"/>
                <a:gd name="connsiteX191" fmla="*/ 2529 w 10000"/>
                <a:gd name="connsiteY191" fmla="*/ 8744 h 10000"/>
                <a:gd name="connsiteX192" fmla="*/ 2626 w 10000"/>
                <a:gd name="connsiteY192" fmla="*/ 8713 h 10000"/>
                <a:gd name="connsiteX193" fmla="*/ 2685 w 10000"/>
                <a:gd name="connsiteY193" fmla="*/ 8556 h 10000"/>
                <a:gd name="connsiteX194" fmla="*/ 2626 w 10000"/>
                <a:gd name="connsiteY194" fmla="*/ 8383 h 10000"/>
                <a:gd name="connsiteX195" fmla="*/ 2588 w 10000"/>
                <a:gd name="connsiteY195" fmla="*/ 8195 h 10000"/>
                <a:gd name="connsiteX196" fmla="*/ 2432 w 10000"/>
                <a:gd name="connsiteY196" fmla="*/ 8022 h 10000"/>
                <a:gd name="connsiteX197" fmla="*/ 2393 w 10000"/>
                <a:gd name="connsiteY197" fmla="*/ 7991 h 10000"/>
                <a:gd name="connsiteX198" fmla="*/ 2335 w 10000"/>
                <a:gd name="connsiteY198" fmla="*/ 7943 h 10000"/>
                <a:gd name="connsiteX199" fmla="*/ 2393 w 10000"/>
                <a:gd name="connsiteY199" fmla="*/ 7865 h 10000"/>
                <a:gd name="connsiteX200" fmla="*/ 2432 w 10000"/>
                <a:gd name="connsiteY200" fmla="*/ 7834 h 10000"/>
                <a:gd name="connsiteX201" fmla="*/ 2490 w 10000"/>
                <a:gd name="connsiteY201" fmla="*/ 7834 h 10000"/>
                <a:gd name="connsiteX202" fmla="*/ 2588 w 10000"/>
                <a:gd name="connsiteY202" fmla="*/ 7834 h 10000"/>
                <a:gd name="connsiteX203" fmla="*/ 2685 w 10000"/>
                <a:gd name="connsiteY203" fmla="*/ 7834 h 10000"/>
                <a:gd name="connsiteX204" fmla="*/ 2782 w 10000"/>
                <a:gd name="connsiteY204" fmla="*/ 7912 h 10000"/>
                <a:gd name="connsiteX205" fmla="*/ 2938 w 10000"/>
                <a:gd name="connsiteY205" fmla="*/ 7991 h 10000"/>
                <a:gd name="connsiteX206" fmla="*/ 3074 w 10000"/>
                <a:gd name="connsiteY206" fmla="*/ 8069 h 10000"/>
                <a:gd name="connsiteX207" fmla="*/ 3230 w 10000"/>
                <a:gd name="connsiteY207" fmla="*/ 8100 h 10000"/>
                <a:gd name="connsiteX208" fmla="*/ 3230 w 10000"/>
                <a:gd name="connsiteY208" fmla="*/ 8069 h 10000"/>
                <a:gd name="connsiteX209" fmla="*/ 3288 w 10000"/>
                <a:gd name="connsiteY209" fmla="*/ 8069 h 10000"/>
                <a:gd name="connsiteX210" fmla="*/ 3327 w 10000"/>
                <a:gd name="connsiteY210" fmla="*/ 7912 h 10000"/>
                <a:gd name="connsiteX211" fmla="*/ 3327 w 10000"/>
                <a:gd name="connsiteY211" fmla="*/ 7786 h 10000"/>
                <a:gd name="connsiteX212" fmla="*/ 3327 w 10000"/>
                <a:gd name="connsiteY212" fmla="*/ 7708 h 10000"/>
                <a:gd name="connsiteX213" fmla="*/ 3230 w 10000"/>
                <a:gd name="connsiteY213" fmla="*/ 7582 h 10000"/>
                <a:gd name="connsiteX214" fmla="*/ 2977 w 10000"/>
                <a:gd name="connsiteY214" fmla="*/ 7378 h 10000"/>
                <a:gd name="connsiteX215" fmla="*/ 2685 w 10000"/>
                <a:gd name="connsiteY215" fmla="*/ 7064 h 10000"/>
                <a:gd name="connsiteX216" fmla="*/ 2724 w 10000"/>
                <a:gd name="connsiteY216" fmla="*/ 6986 h 10000"/>
                <a:gd name="connsiteX217" fmla="*/ 2782 w 10000"/>
                <a:gd name="connsiteY217" fmla="*/ 6986 h 10000"/>
                <a:gd name="connsiteX218" fmla="*/ 3035 w 10000"/>
                <a:gd name="connsiteY218" fmla="*/ 7017 h 10000"/>
                <a:gd name="connsiteX219" fmla="*/ 3230 w 10000"/>
                <a:gd name="connsiteY219" fmla="*/ 7017 h 10000"/>
                <a:gd name="connsiteX220" fmla="*/ 3288 w 10000"/>
                <a:gd name="connsiteY220" fmla="*/ 7017 h 10000"/>
                <a:gd name="connsiteX221" fmla="*/ 3288 w 10000"/>
                <a:gd name="connsiteY221" fmla="*/ 6986 h 10000"/>
                <a:gd name="connsiteX222" fmla="*/ 3171 w 10000"/>
                <a:gd name="connsiteY222" fmla="*/ 6829 h 10000"/>
                <a:gd name="connsiteX223" fmla="*/ 2977 w 10000"/>
                <a:gd name="connsiteY223" fmla="*/ 6656 h 10000"/>
                <a:gd name="connsiteX224" fmla="*/ 2840 w 10000"/>
                <a:gd name="connsiteY224" fmla="*/ 6546 h 10000"/>
                <a:gd name="connsiteX225" fmla="*/ 2588 w 10000"/>
                <a:gd name="connsiteY225" fmla="*/ 6468 h 10000"/>
                <a:gd name="connsiteX226" fmla="*/ 2335 w 10000"/>
                <a:gd name="connsiteY226" fmla="*/ 6421 h 10000"/>
                <a:gd name="connsiteX227" fmla="*/ 1634 w 10000"/>
                <a:gd name="connsiteY227" fmla="*/ 6421 h 10000"/>
                <a:gd name="connsiteX228" fmla="*/ 1245 w 10000"/>
                <a:gd name="connsiteY228" fmla="*/ 6374 h 10000"/>
                <a:gd name="connsiteX229" fmla="*/ 1089 w 10000"/>
                <a:gd name="connsiteY229" fmla="*/ 6421 h 10000"/>
                <a:gd name="connsiteX230" fmla="*/ 992 w 10000"/>
                <a:gd name="connsiteY230" fmla="*/ 6468 h 10000"/>
                <a:gd name="connsiteX231" fmla="*/ 934 w 10000"/>
                <a:gd name="connsiteY231" fmla="*/ 6546 h 10000"/>
                <a:gd name="connsiteX232" fmla="*/ 798 w 10000"/>
                <a:gd name="connsiteY232" fmla="*/ 6295 h 10000"/>
                <a:gd name="connsiteX233" fmla="*/ 642 w 10000"/>
                <a:gd name="connsiteY233" fmla="*/ 6217 h 10000"/>
                <a:gd name="connsiteX234" fmla="*/ 447 w 10000"/>
                <a:gd name="connsiteY234" fmla="*/ 6138 h 10000"/>
                <a:gd name="connsiteX235" fmla="*/ 195 w 10000"/>
                <a:gd name="connsiteY235" fmla="*/ 5934 h 10000"/>
                <a:gd name="connsiteX236" fmla="*/ 97 w 10000"/>
                <a:gd name="connsiteY236" fmla="*/ 5824 h 10000"/>
                <a:gd name="connsiteX237" fmla="*/ 97 w 10000"/>
                <a:gd name="connsiteY237" fmla="*/ 5699 h 10000"/>
                <a:gd name="connsiteX238" fmla="*/ 195 w 10000"/>
                <a:gd name="connsiteY238" fmla="*/ 5777 h 10000"/>
                <a:gd name="connsiteX239" fmla="*/ 292 w 10000"/>
                <a:gd name="connsiteY239" fmla="*/ 5824 h 10000"/>
                <a:gd name="connsiteX240" fmla="*/ 447 w 10000"/>
                <a:gd name="connsiteY240" fmla="*/ 5856 h 10000"/>
                <a:gd name="connsiteX241" fmla="*/ 584 w 10000"/>
                <a:gd name="connsiteY241" fmla="*/ 5856 h 10000"/>
                <a:gd name="connsiteX242" fmla="*/ 700 w 10000"/>
                <a:gd name="connsiteY242" fmla="*/ 5824 h 10000"/>
                <a:gd name="connsiteX243" fmla="*/ 1187 w 10000"/>
                <a:gd name="connsiteY243" fmla="*/ 5824 h 10000"/>
                <a:gd name="connsiteX244" fmla="*/ 1342 w 10000"/>
                <a:gd name="connsiteY244" fmla="*/ 5651 h 10000"/>
                <a:gd name="connsiteX245" fmla="*/ 1381 w 10000"/>
                <a:gd name="connsiteY245" fmla="*/ 5573 h 10000"/>
                <a:gd name="connsiteX246" fmla="*/ 1498 w 10000"/>
                <a:gd name="connsiteY246" fmla="*/ 5573 h 10000"/>
                <a:gd name="connsiteX247" fmla="*/ 1537 w 10000"/>
                <a:gd name="connsiteY247" fmla="*/ 5573 h 10000"/>
                <a:gd name="connsiteX248" fmla="*/ 1595 w 10000"/>
                <a:gd name="connsiteY248" fmla="*/ 5651 h 10000"/>
                <a:gd name="connsiteX249" fmla="*/ 1693 w 10000"/>
                <a:gd name="connsiteY249" fmla="*/ 5824 h 10000"/>
                <a:gd name="connsiteX250" fmla="*/ 1732 w 10000"/>
                <a:gd name="connsiteY250" fmla="*/ 5981 h 10000"/>
                <a:gd name="connsiteX251" fmla="*/ 1829 w 10000"/>
                <a:gd name="connsiteY251" fmla="*/ 6060 h 10000"/>
                <a:gd name="connsiteX252" fmla="*/ 1946 w 10000"/>
                <a:gd name="connsiteY252" fmla="*/ 6060 h 10000"/>
                <a:gd name="connsiteX253" fmla="*/ 2043 w 10000"/>
                <a:gd name="connsiteY253" fmla="*/ 6060 h 10000"/>
                <a:gd name="connsiteX254" fmla="*/ 2082 w 10000"/>
                <a:gd name="connsiteY254" fmla="*/ 6013 h 10000"/>
                <a:gd name="connsiteX255" fmla="*/ 2179 w 10000"/>
                <a:gd name="connsiteY255" fmla="*/ 5856 h 10000"/>
                <a:gd name="connsiteX256" fmla="*/ 2237 w 10000"/>
                <a:gd name="connsiteY256" fmla="*/ 5542 h 10000"/>
                <a:gd name="connsiteX257" fmla="*/ 2335 w 10000"/>
                <a:gd name="connsiteY257" fmla="*/ 5463 h 10000"/>
                <a:gd name="connsiteX258" fmla="*/ 2432 w 10000"/>
                <a:gd name="connsiteY258" fmla="*/ 5463 h 10000"/>
                <a:gd name="connsiteX259" fmla="*/ 2529 w 10000"/>
                <a:gd name="connsiteY259" fmla="*/ 5416 h 10000"/>
                <a:gd name="connsiteX260" fmla="*/ 2588 w 10000"/>
                <a:gd name="connsiteY260" fmla="*/ 5338 h 10000"/>
                <a:gd name="connsiteX261" fmla="*/ 2529 w 10000"/>
                <a:gd name="connsiteY261" fmla="*/ 5259 h 10000"/>
                <a:gd name="connsiteX262" fmla="*/ 2490 w 10000"/>
                <a:gd name="connsiteY262" fmla="*/ 5212 h 10000"/>
                <a:gd name="connsiteX263" fmla="*/ 2432 w 10000"/>
                <a:gd name="connsiteY263" fmla="*/ 5181 h 10000"/>
                <a:gd name="connsiteX264" fmla="*/ 2432 w 10000"/>
                <a:gd name="connsiteY264" fmla="*/ 5133 h 10000"/>
                <a:gd name="connsiteX265" fmla="*/ 2432 w 10000"/>
                <a:gd name="connsiteY265" fmla="*/ 5055 h 10000"/>
                <a:gd name="connsiteX266" fmla="*/ 2490 w 10000"/>
                <a:gd name="connsiteY266" fmla="*/ 5024 h 10000"/>
                <a:gd name="connsiteX267" fmla="*/ 2685 w 10000"/>
                <a:gd name="connsiteY267" fmla="*/ 5024 h 10000"/>
                <a:gd name="connsiteX268" fmla="*/ 2840 w 10000"/>
                <a:gd name="connsiteY268" fmla="*/ 5024 h 10000"/>
                <a:gd name="connsiteX269" fmla="*/ 2879 w 10000"/>
                <a:gd name="connsiteY269" fmla="*/ 4976 h 10000"/>
                <a:gd name="connsiteX270" fmla="*/ 2938 w 10000"/>
                <a:gd name="connsiteY270" fmla="*/ 4898 h 10000"/>
                <a:gd name="connsiteX271" fmla="*/ 2879 w 10000"/>
                <a:gd name="connsiteY271" fmla="*/ 4851 h 10000"/>
                <a:gd name="connsiteX272" fmla="*/ 2840 w 10000"/>
                <a:gd name="connsiteY272" fmla="*/ 4772 h 10000"/>
                <a:gd name="connsiteX273" fmla="*/ 2782 w 10000"/>
                <a:gd name="connsiteY273" fmla="*/ 4741 h 10000"/>
                <a:gd name="connsiteX274" fmla="*/ 2782 w 10000"/>
                <a:gd name="connsiteY274" fmla="*/ 4694 h 10000"/>
                <a:gd name="connsiteX275" fmla="*/ 2840 w 10000"/>
                <a:gd name="connsiteY275" fmla="*/ 4647 h 10000"/>
                <a:gd name="connsiteX276" fmla="*/ 2879 w 10000"/>
                <a:gd name="connsiteY276" fmla="*/ 4615 h 10000"/>
                <a:gd name="connsiteX277" fmla="*/ 3074 w 10000"/>
                <a:gd name="connsiteY277" fmla="*/ 4568 h 10000"/>
                <a:gd name="connsiteX278" fmla="*/ 2782 w 10000"/>
                <a:gd name="connsiteY278" fmla="*/ 4411 h 10000"/>
                <a:gd name="connsiteX279" fmla="*/ 2685 w 10000"/>
                <a:gd name="connsiteY279" fmla="*/ 4333 h 10000"/>
                <a:gd name="connsiteX280" fmla="*/ 2626 w 10000"/>
                <a:gd name="connsiteY280" fmla="*/ 4207 h 10000"/>
                <a:gd name="connsiteX281" fmla="*/ 2626 w 10000"/>
                <a:gd name="connsiteY281" fmla="*/ 3925 h 10000"/>
                <a:gd name="connsiteX282" fmla="*/ 2626 w 10000"/>
                <a:gd name="connsiteY282" fmla="*/ 3815 h 10000"/>
                <a:gd name="connsiteX283" fmla="*/ 2588 w 10000"/>
                <a:gd name="connsiteY283" fmla="*/ 3689 h 10000"/>
                <a:gd name="connsiteX284" fmla="*/ 2490 w 10000"/>
                <a:gd name="connsiteY284" fmla="*/ 3658 h 10000"/>
                <a:gd name="connsiteX285" fmla="*/ 2276 w 10000"/>
                <a:gd name="connsiteY285" fmla="*/ 3564 h 10000"/>
                <a:gd name="connsiteX286" fmla="*/ 2043 w 10000"/>
                <a:gd name="connsiteY286" fmla="*/ 3375 h 10000"/>
                <a:gd name="connsiteX287" fmla="*/ 1984 w 10000"/>
                <a:gd name="connsiteY287" fmla="*/ 3297 h 10000"/>
                <a:gd name="connsiteX288" fmla="*/ 1946 w 10000"/>
                <a:gd name="connsiteY288" fmla="*/ 3203 h 10000"/>
                <a:gd name="connsiteX289" fmla="*/ 1829 w 10000"/>
                <a:gd name="connsiteY289" fmla="*/ 3203 h 10000"/>
                <a:gd name="connsiteX290" fmla="*/ 1693 w 10000"/>
                <a:gd name="connsiteY290" fmla="*/ 3203 h 10000"/>
                <a:gd name="connsiteX291" fmla="*/ 1634 w 10000"/>
                <a:gd name="connsiteY291" fmla="*/ 3250 h 10000"/>
                <a:gd name="connsiteX292" fmla="*/ 1537 w 10000"/>
                <a:gd name="connsiteY292" fmla="*/ 3250 h 10000"/>
                <a:gd name="connsiteX293" fmla="*/ 1342 w 10000"/>
                <a:gd name="connsiteY293" fmla="*/ 3171 h 10000"/>
                <a:gd name="connsiteX294" fmla="*/ 1089 w 10000"/>
                <a:gd name="connsiteY294" fmla="*/ 3014 h 10000"/>
                <a:gd name="connsiteX295" fmla="*/ 934 w 10000"/>
                <a:gd name="connsiteY295" fmla="*/ 2967 h 10000"/>
                <a:gd name="connsiteX296" fmla="*/ 739 w 10000"/>
                <a:gd name="connsiteY296" fmla="*/ 2920 h 10000"/>
                <a:gd name="connsiteX297" fmla="*/ 642 w 10000"/>
                <a:gd name="connsiteY297" fmla="*/ 2841 h 10000"/>
                <a:gd name="connsiteX298" fmla="*/ 486 w 10000"/>
                <a:gd name="connsiteY298" fmla="*/ 2684 h 10000"/>
                <a:gd name="connsiteX299" fmla="*/ 292 w 10000"/>
                <a:gd name="connsiteY299" fmla="*/ 2402 h 10000"/>
                <a:gd name="connsiteX300" fmla="*/ 97 w 10000"/>
                <a:gd name="connsiteY300" fmla="*/ 2009 h 10000"/>
                <a:gd name="connsiteX301" fmla="*/ 39 w 10000"/>
                <a:gd name="connsiteY301" fmla="*/ 1601 h 10000"/>
                <a:gd name="connsiteX302" fmla="*/ 0 w 10000"/>
                <a:gd name="connsiteY302" fmla="*/ 1397 h 10000"/>
                <a:gd name="connsiteX303" fmla="*/ 39 w 10000"/>
                <a:gd name="connsiteY303" fmla="*/ 1193 h 10000"/>
                <a:gd name="connsiteX304" fmla="*/ 97 w 10000"/>
                <a:gd name="connsiteY304" fmla="*/ 1036 h 10000"/>
                <a:gd name="connsiteX305" fmla="*/ 136 w 10000"/>
                <a:gd name="connsiteY305" fmla="*/ 926 h 10000"/>
                <a:gd name="connsiteX306" fmla="*/ 253 w 10000"/>
                <a:gd name="connsiteY306" fmla="*/ 832 h 10000"/>
                <a:gd name="connsiteX307" fmla="*/ 389 w 10000"/>
                <a:gd name="connsiteY307" fmla="*/ 801 h 10000"/>
                <a:gd name="connsiteX308" fmla="*/ 642 w 10000"/>
                <a:gd name="connsiteY308" fmla="*/ 801 h 10000"/>
                <a:gd name="connsiteX309" fmla="*/ 934 w 10000"/>
                <a:gd name="connsiteY309" fmla="*/ 754 h 10000"/>
                <a:gd name="connsiteX310" fmla="*/ 1148 w 10000"/>
                <a:gd name="connsiteY310" fmla="*/ 722 h 10000"/>
                <a:gd name="connsiteX311" fmla="*/ 1245 w 10000"/>
                <a:gd name="connsiteY311" fmla="*/ 675 h 10000"/>
                <a:gd name="connsiteX312" fmla="*/ 1342 w 10000"/>
                <a:gd name="connsiteY312" fmla="*/ 597 h 10000"/>
                <a:gd name="connsiteX313" fmla="*/ 1440 w 10000"/>
                <a:gd name="connsiteY313" fmla="*/ 565 h 10000"/>
                <a:gd name="connsiteX314" fmla="*/ 1537 w 10000"/>
                <a:gd name="connsiteY314" fmla="*/ 565 h 10000"/>
                <a:gd name="connsiteX315" fmla="*/ 1946 w 10000"/>
                <a:gd name="connsiteY315" fmla="*/ 565 h 10000"/>
                <a:gd name="connsiteX316" fmla="*/ 2276 w 10000"/>
                <a:gd name="connsiteY316" fmla="*/ 597 h 10000"/>
                <a:gd name="connsiteX317" fmla="*/ 2490 w 10000"/>
                <a:gd name="connsiteY317" fmla="*/ 644 h 10000"/>
                <a:gd name="connsiteX318" fmla="*/ 2626 w 10000"/>
                <a:gd name="connsiteY318" fmla="*/ 722 h 10000"/>
                <a:gd name="connsiteX319" fmla="*/ 2782 w 10000"/>
                <a:gd name="connsiteY319" fmla="*/ 754 h 10000"/>
                <a:gd name="connsiteX320" fmla="*/ 2879 w 10000"/>
                <a:gd name="connsiteY320" fmla="*/ 722 h 10000"/>
                <a:gd name="connsiteX321" fmla="*/ 2977 w 10000"/>
                <a:gd name="connsiteY321" fmla="*/ 675 h 10000"/>
                <a:gd name="connsiteX322" fmla="*/ 3132 w 10000"/>
                <a:gd name="connsiteY322" fmla="*/ 597 h 10000"/>
                <a:gd name="connsiteX323" fmla="*/ 3288 w 10000"/>
                <a:gd name="connsiteY323" fmla="*/ 518 h 10000"/>
                <a:gd name="connsiteX324" fmla="*/ 3482 w 10000"/>
                <a:gd name="connsiteY324" fmla="*/ 283 h 10000"/>
                <a:gd name="connsiteX325" fmla="*/ 3638 w 10000"/>
                <a:gd name="connsiteY325" fmla="*/ 78 h 10000"/>
                <a:gd name="connsiteX326" fmla="*/ 3735 w 10000"/>
                <a:gd name="connsiteY326" fmla="*/ 0 h 10000"/>
                <a:gd name="connsiteX327" fmla="*/ 3638 w 10000"/>
                <a:gd name="connsiteY327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18 w 10000"/>
                <a:gd name="connsiteY40" fmla="*/ 3250 h 10000"/>
                <a:gd name="connsiteX41" fmla="*/ 7354 w 10000"/>
                <a:gd name="connsiteY41" fmla="*/ 3250 h 10000"/>
                <a:gd name="connsiteX42" fmla="*/ 7412 w 10000"/>
                <a:gd name="connsiteY42" fmla="*/ 3297 h 10000"/>
                <a:gd name="connsiteX43" fmla="*/ 7568 w 10000"/>
                <a:gd name="connsiteY43" fmla="*/ 3375 h 10000"/>
                <a:gd name="connsiteX44" fmla="*/ 7665 w 10000"/>
                <a:gd name="connsiteY44" fmla="*/ 3454 h 10000"/>
                <a:gd name="connsiteX45" fmla="*/ 7704 w 10000"/>
                <a:gd name="connsiteY45" fmla="*/ 3485 h 10000"/>
                <a:gd name="connsiteX46" fmla="*/ 7802 w 10000"/>
                <a:gd name="connsiteY46" fmla="*/ 3485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405 w 10000"/>
                <a:gd name="connsiteY125" fmla="*/ 9560 h 10000"/>
                <a:gd name="connsiteX126" fmla="*/ 8249 w 10000"/>
                <a:gd name="connsiteY126" fmla="*/ 9435 h 10000"/>
                <a:gd name="connsiteX127" fmla="*/ 8152 w 10000"/>
                <a:gd name="connsiteY127" fmla="*/ 9309 h 10000"/>
                <a:gd name="connsiteX128" fmla="*/ 8054 w 10000"/>
                <a:gd name="connsiteY128" fmla="*/ 9278 h 10000"/>
                <a:gd name="connsiteX129" fmla="*/ 7957 w 10000"/>
                <a:gd name="connsiteY129" fmla="*/ 9278 h 10000"/>
                <a:gd name="connsiteX130" fmla="*/ 7776 w 10000"/>
                <a:gd name="connsiteY130" fmla="*/ 9884 h 10000"/>
                <a:gd name="connsiteX131" fmla="*/ 7802 w 10000"/>
                <a:gd name="connsiteY131" fmla="*/ 9356 h 10000"/>
                <a:gd name="connsiteX132" fmla="*/ 7704 w 10000"/>
                <a:gd name="connsiteY132" fmla="*/ 9309 h 10000"/>
                <a:gd name="connsiteX133" fmla="*/ 7802 w 10000"/>
                <a:gd name="connsiteY133" fmla="*/ 9761 h 10000"/>
                <a:gd name="connsiteX134" fmla="*/ 7538 w 10000"/>
                <a:gd name="connsiteY134" fmla="*/ 9639 h 10000"/>
                <a:gd name="connsiteX135" fmla="*/ 7417 w 10000"/>
                <a:gd name="connsiteY135" fmla="*/ 9522 h 10000"/>
                <a:gd name="connsiteX136" fmla="*/ 7354 w 10000"/>
                <a:gd name="connsiteY136" fmla="*/ 9231 h 10000"/>
                <a:gd name="connsiteX137" fmla="*/ 7399 w 10000"/>
                <a:gd name="connsiteY137" fmla="*/ 9465 h 10000"/>
                <a:gd name="connsiteX138" fmla="*/ 7004 w 10000"/>
                <a:gd name="connsiteY138" fmla="*/ 9435 h 10000"/>
                <a:gd name="connsiteX139" fmla="*/ 7004 w 10000"/>
                <a:gd name="connsiteY139" fmla="*/ 9388 h 10000"/>
                <a:gd name="connsiteX140" fmla="*/ 6965 w 10000"/>
                <a:gd name="connsiteY140" fmla="*/ 9388 h 10000"/>
                <a:gd name="connsiteX141" fmla="*/ 6809 w 10000"/>
                <a:gd name="connsiteY141" fmla="*/ 9309 h 10000"/>
                <a:gd name="connsiteX142" fmla="*/ 6615 w 10000"/>
                <a:gd name="connsiteY142" fmla="*/ 9231 h 10000"/>
                <a:gd name="connsiteX143" fmla="*/ 6167 w 10000"/>
                <a:gd name="connsiteY143" fmla="*/ 9199 h 10000"/>
                <a:gd name="connsiteX144" fmla="*/ 6109 w 10000"/>
                <a:gd name="connsiteY144" fmla="*/ 9152 h 10000"/>
                <a:gd name="connsiteX145" fmla="*/ 5817 w 10000"/>
                <a:gd name="connsiteY145" fmla="*/ 9074 h 10000"/>
                <a:gd name="connsiteX146" fmla="*/ 5661 w 10000"/>
                <a:gd name="connsiteY146" fmla="*/ 9027 h 10000"/>
                <a:gd name="connsiteX147" fmla="*/ 5564 w 10000"/>
                <a:gd name="connsiteY147" fmla="*/ 8917 h 10000"/>
                <a:gd name="connsiteX148" fmla="*/ 5214 w 10000"/>
                <a:gd name="connsiteY148" fmla="*/ 8744 h 10000"/>
                <a:gd name="connsiteX149" fmla="*/ 4864 w 10000"/>
                <a:gd name="connsiteY149" fmla="*/ 8634 h 10000"/>
                <a:gd name="connsiteX150" fmla="*/ 4825 w 10000"/>
                <a:gd name="connsiteY150" fmla="*/ 8666 h 10000"/>
                <a:gd name="connsiteX151" fmla="*/ 4864 w 10000"/>
                <a:gd name="connsiteY151" fmla="*/ 8634 h 10000"/>
                <a:gd name="connsiteX152" fmla="*/ 4767 w 10000"/>
                <a:gd name="connsiteY152" fmla="*/ 8666 h 10000"/>
                <a:gd name="connsiteX153" fmla="*/ 4669 w 10000"/>
                <a:gd name="connsiteY153" fmla="*/ 8666 h 10000"/>
                <a:gd name="connsiteX154" fmla="*/ 4475 w 10000"/>
                <a:gd name="connsiteY154" fmla="*/ 8587 h 10000"/>
                <a:gd name="connsiteX155" fmla="*/ 4377 w 10000"/>
                <a:gd name="connsiteY155" fmla="*/ 8556 h 10000"/>
                <a:gd name="connsiteX156" fmla="*/ 4319 w 10000"/>
                <a:gd name="connsiteY156" fmla="*/ 8556 h 10000"/>
                <a:gd name="connsiteX157" fmla="*/ 4222 w 10000"/>
                <a:gd name="connsiteY157" fmla="*/ 8587 h 10000"/>
                <a:gd name="connsiteX158" fmla="*/ 4183 w 10000"/>
                <a:gd name="connsiteY158" fmla="*/ 8666 h 10000"/>
                <a:gd name="connsiteX159" fmla="*/ 4183 w 10000"/>
                <a:gd name="connsiteY159" fmla="*/ 8791 h 10000"/>
                <a:gd name="connsiteX160" fmla="*/ 4086 w 10000"/>
                <a:gd name="connsiteY160" fmla="*/ 9309 h 10000"/>
                <a:gd name="connsiteX161" fmla="*/ 4125 w 10000"/>
                <a:gd name="connsiteY161" fmla="*/ 9388 h 10000"/>
                <a:gd name="connsiteX162" fmla="*/ 4280 w 10000"/>
                <a:gd name="connsiteY162" fmla="*/ 9466 h 10000"/>
                <a:gd name="connsiteX163" fmla="*/ 4669 w 10000"/>
                <a:gd name="connsiteY163" fmla="*/ 9670 h 10000"/>
                <a:gd name="connsiteX164" fmla="*/ 4669 w 10000"/>
                <a:gd name="connsiteY164" fmla="*/ 9749 h 10000"/>
                <a:gd name="connsiteX165" fmla="*/ 4669 w 10000"/>
                <a:gd name="connsiteY165" fmla="*/ 9827 h 10000"/>
                <a:gd name="connsiteX166" fmla="*/ 4572 w 10000"/>
                <a:gd name="connsiteY166" fmla="*/ 9922 h 10000"/>
                <a:gd name="connsiteX167" fmla="*/ 4377 w 10000"/>
                <a:gd name="connsiteY167" fmla="*/ 10000 h 10000"/>
                <a:gd name="connsiteX168" fmla="*/ 4222 w 10000"/>
                <a:gd name="connsiteY168" fmla="*/ 9953 h 10000"/>
                <a:gd name="connsiteX169" fmla="*/ 4086 w 10000"/>
                <a:gd name="connsiteY169" fmla="*/ 9874 h 10000"/>
                <a:gd name="connsiteX170" fmla="*/ 3930 w 10000"/>
                <a:gd name="connsiteY170" fmla="*/ 9796 h 10000"/>
                <a:gd name="connsiteX171" fmla="*/ 3930 w 10000"/>
                <a:gd name="connsiteY171" fmla="*/ 9717 h 10000"/>
                <a:gd name="connsiteX172" fmla="*/ 3930 w 10000"/>
                <a:gd name="connsiteY172" fmla="*/ 9560 h 10000"/>
                <a:gd name="connsiteX173" fmla="*/ 3872 w 10000"/>
                <a:gd name="connsiteY173" fmla="*/ 9513 h 10000"/>
                <a:gd name="connsiteX174" fmla="*/ 3833 w 10000"/>
                <a:gd name="connsiteY174" fmla="*/ 9466 h 10000"/>
                <a:gd name="connsiteX175" fmla="*/ 3774 w 10000"/>
                <a:gd name="connsiteY175" fmla="*/ 9513 h 10000"/>
                <a:gd name="connsiteX176" fmla="*/ 3521 w 10000"/>
                <a:gd name="connsiteY176" fmla="*/ 9560 h 10000"/>
                <a:gd name="connsiteX177" fmla="*/ 3424 w 10000"/>
                <a:gd name="connsiteY177" fmla="*/ 9560 h 10000"/>
                <a:gd name="connsiteX178" fmla="*/ 3288 w 10000"/>
                <a:gd name="connsiteY178" fmla="*/ 9513 h 10000"/>
                <a:gd name="connsiteX179" fmla="*/ 3132 w 10000"/>
                <a:gd name="connsiteY179" fmla="*/ 9435 h 10000"/>
                <a:gd name="connsiteX180" fmla="*/ 2938 w 10000"/>
                <a:gd name="connsiteY180" fmla="*/ 9356 h 10000"/>
                <a:gd name="connsiteX181" fmla="*/ 2724 w 10000"/>
                <a:gd name="connsiteY181" fmla="*/ 9309 h 10000"/>
                <a:gd name="connsiteX182" fmla="*/ 2432 w 10000"/>
                <a:gd name="connsiteY182" fmla="*/ 9278 h 10000"/>
                <a:gd name="connsiteX183" fmla="*/ 2393 w 10000"/>
                <a:gd name="connsiteY183" fmla="*/ 9199 h 10000"/>
                <a:gd name="connsiteX184" fmla="*/ 2276 w 10000"/>
                <a:gd name="connsiteY184" fmla="*/ 9152 h 10000"/>
                <a:gd name="connsiteX185" fmla="*/ 2179 w 10000"/>
                <a:gd name="connsiteY185" fmla="*/ 9074 h 10000"/>
                <a:gd name="connsiteX186" fmla="*/ 2179 w 10000"/>
                <a:gd name="connsiteY186" fmla="*/ 8948 h 10000"/>
                <a:gd name="connsiteX187" fmla="*/ 2179 w 10000"/>
                <a:gd name="connsiteY187" fmla="*/ 8870 h 10000"/>
                <a:gd name="connsiteX188" fmla="*/ 2237 w 10000"/>
                <a:gd name="connsiteY188" fmla="*/ 8838 h 10000"/>
                <a:gd name="connsiteX189" fmla="*/ 2335 w 10000"/>
                <a:gd name="connsiteY189" fmla="*/ 8791 h 10000"/>
                <a:gd name="connsiteX190" fmla="*/ 2490 w 10000"/>
                <a:gd name="connsiteY190" fmla="*/ 8791 h 10000"/>
                <a:gd name="connsiteX191" fmla="*/ 2529 w 10000"/>
                <a:gd name="connsiteY191" fmla="*/ 8744 h 10000"/>
                <a:gd name="connsiteX192" fmla="*/ 2626 w 10000"/>
                <a:gd name="connsiteY192" fmla="*/ 8713 h 10000"/>
                <a:gd name="connsiteX193" fmla="*/ 2685 w 10000"/>
                <a:gd name="connsiteY193" fmla="*/ 8556 h 10000"/>
                <a:gd name="connsiteX194" fmla="*/ 2626 w 10000"/>
                <a:gd name="connsiteY194" fmla="*/ 8383 h 10000"/>
                <a:gd name="connsiteX195" fmla="*/ 2588 w 10000"/>
                <a:gd name="connsiteY195" fmla="*/ 8195 h 10000"/>
                <a:gd name="connsiteX196" fmla="*/ 2432 w 10000"/>
                <a:gd name="connsiteY196" fmla="*/ 8022 h 10000"/>
                <a:gd name="connsiteX197" fmla="*/ 2393 w 10000"/>
                <a:gd name="connsiteY197" fmla="*/ 7991 h 10000"/>
                <a:gd name="connsiteX198" fmla="*/ 2335 w 10000"/>
                <a:gd name="connsiteY198" fmla="*/ 7943 h 10000"/>
                <a:gd name="connsiteX199" fmla="*/ 2393 w 10000"/>
                <a:gd name="connsiteY199" fmla="*/ 7865 h 10000"/>
                <a:gd name="connsiteX200" fmla="*/ 2432 w 10000"/>
                <a:gd name="connsiteY200" fmla="*/ 7834 h 10000"/>
                <a:gd name="connsiteX201" fmla="*/ 2490 w 10000"/>
                <a:gd name="connsiteY201" fmla="*/ 7834 h 10000"/>
                <a:gd name="connsiteX202" fmla="*/ 2588 w 10000"/>
                <a:gd name="connsiteY202" fmla="*/ 7834 h 10000"/>
                <a:gd name="connsiteX203" fmla="*/ 2685 w 10000"/>
                <a:gd name="connsiteY203" fmla="*/ 7834 h 10000"/>
                <a:gd name="connsiteX204" fmla="*/ 2782 w 10000"/>
                <a:gd name="connsiteY204" fmla="*/ 7912 h 10000"/>
                <a:gd name="connsiteX205" fmla="*/ 2938 w 10000"/>
                <a:gd name="connsiteY205" fmla="*/ 7991 h 10000"/>
                <a:gd name="connsiteX206" fmla="*/ 3074 w 10000"/>
                <a:gd name="connsiteY206" fmla="*/ 8069 h 10000"/>
                <a:gd name="connsiteX207" fmla="*/ 3230 w 10000"/>
                <a:gd name="connsiteY207" fmla="*/ 8100 h 10000"/>
                <a:gd name="connsiteX208" fmla="*/ 3230 w 10000"/>
                <a:gd name="connsiteY208" fmla="*/ 8069 h 10000"/>
                <a:gd name="connsiteX209" fmla="*/ 3288 w 10000"/>
                <a:gd name="connsiteY209" fmla="*/ 8069 h 10000"/>
                <a:gd name="connsiteX210" fmla="*/ 3327 w 10000"/>
                <a:gd name="connsiteY210" fmla="*/ 7912 h 10000"/>
                <a:gd name="connsiteX211" fmla="*/ 3327 w 10000"/>
                <a:gd name="connsiteY211" fmla="*/ 7786 h 10000"/>
                <a:gd name="connsiteX212" fmla="*/ 3327 w 10000"/>
                <a:gd name="connsiteY212" fmla="*/ 7708 h 10000"/>
                <a:gd name="connsiteX213" fmla="*/ 3230 w 10000"/>
                <a:gd name="connsiteY213" fmla="*/ 7582 h 10000"/>
                <a:gd name="connsiteX214" fmla="*/ 2977 w 10000"/>
                <a:gd name="connsiteY214" fmla="*/ 7378 h 10000"/>
                <a:gd name="connsiteX215" fmla="*/ 2685 w 10000"/>
                <a:gd name="connsiteY215" fmla="*/ 7064 h 10000"/>
                <a:gd name="connsiteX216" fmla="*/ 2724 w 10000"/>
                <a:gd name="connsiteY216" fmla="*/ 6986 h 10000"/>
                <a:gd name="connsiteX217" fmla="*/ 2782 w 10000"/>
                <a:gd name="connsiteY217" fmla="*/ 6986 h 10000"/>
                <a:gd name="connsiteX218" fmla="*/ 3035 w 10000"/>
                <a:gd name="connsiteY218" fmla="*/ 7017 h 10000"/>
                <a:gd name="connsiteX219" fmla="*/ 3230 w 10000"/>
                <a:gd name="connsiteY219" fmla="*/ 7017 h 10000"/>
                <a:gd name="connsiteX220" fmla="*/ 3288 w 10000"/>
                <a:gd name="connsiteY220" fmla="*/ 7017 h 10000"/>
                <a:gd name="connsiteX221" fmla="*/ 3288 w 10000"/>
                <a:gd name="connsiteY221" fmla="*/ 6986 h 10000"/>
                <a:gd name="connsiteX222" fmla="*/ 3171 w 10000"/>
                <a:gd name="connsiteY222" fmla="*/ 6829 h 10000"/>
                <a:gd name="connsiteX223" fmla="*/ 2977 w 10000"/>
                <a:gd name="connsiteY223" fmla="*/ 6656 h 10000"/>
                <a:gd name="connsiteX224" fmla="*/ 2840 w 10000"/>
                <a:gd name="connsiteY224" fmla="*/ 6546 h 10000"/>
                <a:gd name="connsiteX225" fmla="*/ 2588 w 10000"/>
                <a:gd name="connsiteY225" fmla="*/ 6468 h 10000"/>
                <a:gd name="connsiteX226" fmla="*/ 2335 w 10000"/>
                <a:gd name="connsiteY226" fmla="*/ 6421 h 10000"/>
                <a:gd name="connsiteX227" fmla="*/ 1634 w 10000"/>
                <a:gd name="connsiteY227" fmla="*/ 6421 h 10000"/>
                <a:gd name="connsiteX228" fmla="*/ 1245 w 10000"/>
                <a:gd name="connsiteY228" fmla="*/ 6374 h 10000"/>
                <a:gd name="connsiteX229" fmla="*/ 1089 w 10000"/>
                <a:gd name="connsiteY229" fmla="*/ 6421 h 10000"/>
                <a:gd name="connsiteX230" fmla="*/ 992 w 10000"/>
                <a:gd name="connsiteY230" fmla="*/ 6468 h 10000"/>
                <a:gd name="connsiteX231" fmla="*/ 934 w 10000"/>
                <a:gd name="connsiteY231" fmla="*/ 6546 h 10000"/>
                <a:gd name="connsiteX232" fmla="*/ 798 w 10000"/>
                <a:gd name="connsiteY232" fmla="*/ 6295 h 10000"/>
                <a:gd name="connsiteX233" fmla="*/ 642 w 10000"/>
                <a:gd name="connsiteY233" fmla="*/ 6217 h 10000"/>
                <a:gd name="connsiteX234" fmla="*/ 447 w 10000"/>
                <a:gd name="connsiteY234" fmla="*/ 6138 h 10000"/>
                <a:gd name="connsiteX235" fmla="*/ 195 w 10000"/>
                <a:gd name="connsiteY235" fmla="*/ 5934 h 10000"/>
                <a:gd name="connsiteX236" fmla="*/ 97 w 10000"/>
                <a:gd name="connsiteY236" fmla="*/ 5824 h 10000"/>
                <a:gd name="connsiteX237" fmla="*/ 97 w 10000"/>
                <a:gd name="connsiteY237" fmla="*/ 5699 h 10000"/>
                <a:gd name="connsiteX238" fmla="*/ 195 w 10000"/>
                <a:gd name="connsiteY238" fmla="*/ 5777 h 10000"/>
                <a:gd name="connsiteX239" fmla="*/ 292 w 10000"/>
                <a:gd name="connsiteY239" fmla="*/ 5824 h 10000"/>
                <a:gd name="connsiteX240" fmla="*/ 447 w 10000"/>
                <a:gd name="connsiteY240" fmla="*/ 5856 h 10000"/>
                <a:gd name="connsiteX241" fmla="*/ 584 w 10000"/>
                <a:gd name="connsiteY241" fmla="*/ 5856 h 10000"/>
                <a:gd name="connsiteX242" fmla="*/ 700 w 10000"/>
                <a:gd name="connsiteY242" fmla="*/ 5824 h 10000"/>
                <a:gd name="connsiteX243" fmla="*/ 1187 w 10000"/>
                <a:gd name="connsiteY243" fmla="*/ 5824 h 10000"/>
                <a:gd name="connsiteX244" fmla="*/ 1342 w 10000"/>
                <a:gd name="connsiteY244" fmla="*/ 5651 h 10000"/>
                <a:gd name="connsiteX245" fmla="*/ 1381 w 10000"/>
                <a:gd name="connsiteY245" fmla="*/ 5573 h 10000"/>
                <a:gd name="connsiteX246" fmla="*/ 1498 w 10000"/>
                <a:gd name="connsiteY246" fmla="*/ 5573 h 10000"/>
                <a:gd name="connsiteX247" fmla="*/ 1537 w 10000"/>
                <a:gd name="connsiteY247" fmla="*/ 5573 h 10000"/>
                <a:gd name="connsiteX248" fmla="*/ 1595 w 10000"/>
                <a:gd name="connsiteY248" fmla="*/ 5651 h 10000"/>
                <a:gd name="connsiteX249" fmla="*/ 1693 w 10000"/>
                <a:gd name="connsiteY249" fmla="*/ 5824 h 10000"/>
                <a:gd name="connsiteX250" fmla="*/ 1732 w 10000"/>
                <a:gd name="connsiteY250" fmla="*/ 5981 h 10000"/>
                <a:gd name="connsiteX251" fmla="*/ 1829 w 10000"/>
                <a:gd name="connsiteY251" fmla="*/ 6060 h 10000"/>
                <a:gd name="connsiteX252" fmla="*/ 1946 w 10000"/>
                <a:gd name="connsiteY252" fmla="*/ 6060 h 10000"/>
                <a:gd name="connsiteX253" fmla="*/ 2043 w 10000"/>
                <a:gd name="connsiteY253" fmla="*/ 6060 h 10000"/>
                <a:gd name="connsiteX254" fmla="*/ 2082 w 10000"/>
                <a:gd name="connsiteY254" fmla="*/ 6013 h 10000"/>
                <a:gd name="connsiteX255" fmla="*/ 2179 w 10000"/>
                <a:gd name="connsiteY255" fmla="*/ 5856 h 10000"/>
                <a:gd name="connsiteX256" fmla="*/ 2237 w 10000"/>
                <a:gd name="connsiteY256" fmla="*/ 5542 h 10000"/>
                <a:gd name="connsiteX257" fmla="*/ 2335 w 10000"/>
                <a:gd name="connsiteY257" fmla="*/ 5463 h 10000"/>
                <a:gd name="connsiteX258" fmla="*/ 2432 w 10000"/>
                <a:gd name="connsiteY258" fmla="*/ 5463 h 10000"/>
                <a:gd name="connsiteX259" fmla="*/ 2529 w 10000"/>
                <a:gd name="connsiteY259" fmla="*/ 5416 h 10000"/>
                <a:gd name="connsiteX260" fmla="*/ 2588 w 10000"/>
                <a:gd name="connsiteY260" fmla="*/ 5338 h 10000"/>
                <a:gd name="connsiteX261" fmla="*/ 2529 w 10000"/>
                <a:gd name="connsiteY261" fmla="*/ 5259 h 10000"/>
                <a:gd name="connsiteX262" fmla="*/ 2490 w 10000"/>
                <a:gd name="connsiteY262" fmla="*/ 5212 h 10000"/>
                <a:gd name="connsiteX263" fmla="*/ 2432 w 10000"/>
                <a:gd name="connsiteY263" fmla="*/ 5181 h 10000"/>
                <a:gd name="connsiteX264" fmla="*/ 2432 w 10000"/>
                <a:gd name="connsiteY264" fmla="*/ 5133 h 10000"/>
                <a:gd name="connsiteX265" fmla="*/ 2432 w 10000"/>
                <a:gd name="connsiteY265" fmla="*/ 5055 h 10000"/>
                <a:gd name="connsiteX266" fmla="*/ 2490 w 10000"/>
                <a:gd name="connsiteY266" fmla="*/ 5024 h 10000"/>
                <a:gd name="connsiteX267" fmla="*/ 2685 w 10000"/>
                <a:gd name="connsiteY267" fmla="*/ 5024 h 10000"/>
                <a:gd name="connsiteX268" fmla="*/ 2840 w 10000"/>
                <a:gd name="connsiteY268" fmla="*/ 5024 h 10000"/>
                <a:gd name="connsiteX269" fmla="*/ 2879 w 10000"/>
                <a:gd name="connsiteY269" fmla="*/ 4976 h 10000"/>
                <a:gd name="connsiteX270" fmla="*/ 2938 w 10000"/>
                <a:gd name="connsiteY270" fmla="*/ 4898 h 10000"/>
                <a:gd name="connsiteX271" fmla="*/ 2879 w 10000"/>
                <a:gd name="connsiteY271" fmla="*/ 4851 h 10000"/>
                <a:gd name="connsiteX272" fmla="*/ 2840 w 10000"/>
                <a:gd name="connsiteY272" fmla="*/ 4772 h 10000"/>
                <a:gd name="connsiteX273" fmla="*/ 2782 w 10000"/>
                <a:gd name="connsiteY273" fmla="*/ 4741 h 10000"/>
                <a:gd name="connsiteX274" fmla="*/ 2782 w 10000"/>
                <a:gd name="connsiteY274" fmla="*/ 4694 h 10000"/>
                <a:gd name="connsiteX275" fmla="*/ 2840 w 10000"/>
                <a:gd name="connsiteY275" fmla="*/ 4647 h 10000"/>
                <a:gd name="connsiteX276" fmla="*/ 2879 w 10000"/>
                <a:gd name="connsiteY276" fmla="*/ 4615 h 10000"/>
                <a:gd name="connsiteX277" fmla="*/ 3074 w 10000"/>
                <a:gd name="connsiteY277" fmla="*/ 4568 h 10000"/>
                <a:gd name="connsiteX278" fmla="*/ 2782 w 10000"/>
                <a:gd name="connsiteY278" fmla="*/ 4411 h 10000"/>
                <a:gd name="connsiteX279" fmla="*/ 2685 w 10000"/>
                <a:gd name="connsiteY279" fmla="*/ 4333 h 10000"/>
                <a:gd name="connsiteX280" fmla="*/ 2626 w 10000"/>
                <a:gd name="connsiteY280" fmla="*/ 4207 h 10000"/>
                <a:gd name="connsiteX281" fmla="*/ 2626 w 10000"/>
                <a:gd name="connsiteY281" fmla="*/ 3925 h 10000"/>
                <a:gd name="connsiteX282" fmla="*/ 2626 w 10000"/>
                <a:gd name="connsiteY282" fmla="*/ 3815 h 10000"/>
                <a:gd name="connsiteX283" fmla="*/ 2588 w 10000"/>
                <a:gd name="connsiteY283" fmla="*/ 3689 h 10000"/>
                <a:gd name="connsiteX284" fmla="*/ 2490 w 10000"/>
                <a:gd name="connsiteY284" fmla="*/ 3658 h 10000"/>
                <a:gd name="connsiteX285" fmla="*/ 2276 w 10000"/>
                <a:gd name="connsiteY285" fmla="*/ 3564 h 10000"/>
                <a:gd name="connsiteX286" fmla="*/ 2043 w 10000"/>
                <a:gd name="connsiteY286" fmla="*/ 3375 h 10000"/>
                <a:gd name="connsiteX287" fmla="*/ 1984 w 10000"/>
                <a:gd name="connsiteY287" fmla="*/ 3297 h 10000"/>
                <a:gd name="connsiteX288" fmla="*/ 1946 w 10000"/>
                <a:gd name="connsiteY288" fmla="*/ 3203 h 10000"/>
                <a:gd name="connsiteX289" fmla="*/ 1829 w 10000"/>
                <a:gd name="connsiteY289" fmla="*/ 3203 h 10000"/>
                <a:gd name="connsiteX290" fmla="*/ 1693 w 10000"/>
                <a:gd name="connsiteY290" fmla="*/ 3203 h 10000"/>
                <a:gd name="connsiteX291" fmla="*/ 1634 w 10000"/>
                <a:gd name="connsiteY291" fmla="*/ 3250 h 10000"/>
                <a:gd name="connsiteX292" fmla="*/ 1537 w 10000"/>
                <a:gd name="connsiteY292" fmla="*/ 3250 h 10000"/>
                <a:gd name="connsiteX293" fmla="*/ 1342 w 10000"/>
                <a:gd name="connsiteY293" fmla="*/ 3171 h 10000"/>
                <a:gd name="connsiteX294" fmla="*/ 1089 w 10000"/>
                <a:gd name="connsiteY294" fmla="*/ 3014 h 10000"/>
                <a:gd name="connsiteX295" fmla="*/ 934 w 10000"/>
                <a:gd name="connsiteY295" fmla="*/ 2967 h 10000"/>
                <a:gd name="connsiteX296" fmla="*/ 739 w 10000"/>
                <a:gd name="connsiteY296" fmla="*/ 2920 h 10000"/>
                <a:gd name="connsiteX297" fmla="*/ 642 w 10000"/>
                <a:gd name="connsiteY297" fmla="*/ 2841 h 10000"/>
                <a:gd name="connsiteX298" fmla="*/ 486 w 10000"/>
                <a:gd name="connsiteY298" fmla="*/ 2684 h 10000"/>
                <a:gd name="connsiteX299" fmla="*/ 292 w 10000"/>
                <a:gd name="connsiteY299" fmla="*/ 2402 h 10000"/>
                <a:gd name="connsiteX300" fmla="*/ 97 w 10000"/>
                <a:gd name="connsiteY300" fmla="*/ 2009 h 10000"/>
                <a:gd name="connsiteX301" fmla="*/ 39 w 10000"/>
                <a:gd name="connsiteY301" fmla="*/ 1601 h 10000"/>
                <a:gd name="connsiteX302" fmla="*/ 0 w 10000"/>
                <a:gd name="connsiteY302" fmla="*/ 1397 h 10000"/>
                <a:gd name="connsiteX303" fmla="*/ 39 w 10000"/>
                <a:gd name="connsiteY303" fmla="*/ 1193 h 10000"/>
                <a:gd name="connsiteX304" fmla="*/ 97 w 10000"/>
                <a:gd name="connsiteY304" fmla="*/ 1036 h 10000"/>
                <a:gd name="connsiteX305" fmla="*/ 136 w 10000"/>
                <a:gd name="connsiteY305" fmla="*/ 926 h 10000"/>
                <a:gd name="connsiteX306" fmla="*/ 253 w 10000"/>
                <a:gd name="connsiteY306" fmla="*/ 832 h 10000"/>
                <a:gd name="connsiteX307" fmla="*/ 389 w 10000"/>
                <a:gd name="connsiteY307" fmla="*/ 801 h 10000"/>
                <a:gd name="connsiteX308" fmla="*/ 642 w 10000"/>
                <a:gd name="connsiteY308" fmla="*/ 801 h 10000"/>
                <a:gd name="connsiteX309" fmla="*/ 934 w 10000"/>
                <a:gd name="connsiteY309" fmla="*/ 754 h 10000"/>
                <a:gd name="connsiteX310" fmla="*/ 1148 w 10000"/>
                <a:gd name="connsiteY310" fmla="*/ 722 h 10000"/>
                <a:gd name="connsiteX311" fmla="*/ 1245 w 10000"/>
                <a:gd name="connsiteY311" fmla="*/ 675 h 10000"/>
                <a:gd name="connsiteX312" fmla="*/ 1342 w 10000"/>
                <a:gd name="connsiteY312" fmla="*/ 597 h 10000"/>
                <a:gd name="connsiteX313" fmla="*/ 1440 w 10000"/>
                <a:gd name="connsiteY313" fmla="*/ 565 h 10000"/>
                <a:gd name="connsiteX314" fmla="*/ 1537 w 10000"/>
                <a:gd name="connsiteY314" fmla="*/ 565 h 10000"/>
                <a:gd name="connsiteX315" fmla="*/ 1946 w 10000"/>
                <a:gd name="connsiteY315" fmla="*/ 565 h 10000"/>
                <a:gd name="connsiteX316" fmla="*/ 2276 w 10000"/>
                <a:gd name="connsiteY316" fmla="*/ 597 h 10000"/>
                <a:gd name="connsiteX317" fmla="*/ 2490 w 10000"/>
                <a:gd name="connsiteY317" fmla="*/ 644 h 10000"/>
                <a:gd name="connsiteX318" fmla="*/ 2626 w 10000"/>
                <a:gd name="connsiteY318" fmla="*/ 722 h 10000"/>
                <a:gd name="connsiteX319" fmla="*/ 2782 w 10000"/>
                <a:gd name="connsiteY319" fmla="*/ 754 h 10000"/>
                <a:gd name="connsiteX320" fmla="*/ 2879 w 10000"/>
                <a:gd name="connsiteY320" fmla="*/ 722 h 10000"/>
                <a:gd name="connsiteX321" fmla="*/ 2977 w 10000"/>
                <a:gd name="connsiteY321" fmla="*/ 675 h 10000"/>
                <a:gd name="connsiteX322" fmla="*/ 3132 w 10000"/>
                <a:gd name="connsiteY322" fmla="*/ 597 h 10000"/>
                <a:gd name="connsiteX323" fmla="*/ 3288 w 10000"/>
                <a:gd name="connsiteY323" fmla="*/ 518 h 10000"/>
                <a:gd name="connsiteX324" fmla="*/ 3482 w 10000"/>
                <a:gd name="connsiteY324" fmla="*/ 283 h 10000"/>
                <a:gd name="connsiteX325" fmla="*/ 3638 w 10000"/>
                <a:gd name="connsiteY325" fmla="*/ 78 h 10000"/>
                <a:gd name="connsiteX326" fmla="*/ 3735 w 10000"/>
                <a:gd name="connsiteY326" fmla="*/ 0 h 10000"/>
                <a:gd name="connsiteX327" fmla="*/ 3638 w 10000"/>
                <a:gd name="connsiteY327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18 w 10000"/>
                <a:gd name="connsiteY40" fmla="*/ 3250 h 10000"/>
                <a:gd name="connsiteX41" fmla="*/ 7354 w 10000"/>
                <a:gd name="connsiteY41" fmla="*/ 3250 h 10000"/>
                <a:gd name="connsiteX42" fmla="*/ 7412 w 10000"/>
                <a:gd name="connsiteY42" fmla="*/ 3297 h 10000"/>
                <a:gd name="connsiteX43" fmla="*/ 7568 w 10000"/>
                <a:gd name="connsiteY43" fmla="*/ 3375 h 10000"/>
                <a:gd name="connsiteX44" fmla="*/ 7665 w 10000"/>
                <a:gd name="connsiteY44" fmla="*/ 3454 h 10000"/>
                <a:gd name="connsiteX45" fmla="*/ 7704 w 10000"/>
                <a:gd name="connsiteY45" fmla="*/ 3485 h 10000"/>
                <a:gd name="connsiteX46" fmla="*/ 7802 w 10000"/>
                <a:gd name="connsiteY46" fmla="*/ 3485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405 w 10000"/>
                <a:gd name="connsiteY125" fmla="*/ 9560 h 10000"/>
                <a:gd name="connsiteX126" fmla="*/ 8249 w 10000"/>
                <a:gd name="connsiteY126" fmla="*/ 9435 h 10000"/>
                <a:gd name="connsiteX127" fmla="*/ 8152 w 10000"/>
                <a:gd name="connsiteY127" fmla="*/ 9309 h 10000"/>
                <a:gd name="connsiteX128" fmla="*/ 8054 w 10000"/>
                <a:gd name="connsiteY128" fmla="*/ 9278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802 w 10000"/>
                <a:gd name="connsiteY131" fmla="*/ 9356 h 10000"/>
                <a:gd name="connsiteX132" fmla="*/ 7704 w 10000"/>
                <a:gd name="connsiteY132" fmla="*/ 9309 h 10000"/>
                <a:gd name="connsiteX133" fmla="*/ 7802 w 10000"/>
                <a:gd name="connsiteY133" fmla="*/ 9761 h 10000"/>
                <a:gd name="connsiteX134" fmla="*/ 7538 w 10000"/>
                <a:gd name="connsiteY134" fmla="*/ 9639 h 10000"/>
                <a:gd name="connsiteX135" fmla="*/ 7417 w 10000"/>
                <a:gd name="connsiteY135" fmla="*/ 9522 h 10000"/>
                <a:gd name="connsiteX136" fmla="*/ 7354 w 10000"/>
                <a:gd name="connsiteY136" fmla="*/ 9231 h 10000"/>
                <a:gd name="connsiteX137" fmla="*/ 7399 w 10000"/>
                <a:gd name="connsiteY137" fmla="*/ 9465 h 10000"/>
                <a:gd name="connsiteX138" fmla="*/ 7004 w 10000"/>
                <a:gd name="connsiteY138" fmla="*/ 9435 h 10000"/>
                <a:gd name="connsiteX139" fmla="*/ 7004 w 10000"/>
                <a:gd name="connsiteY139" fmla="*/ 9388 h 10000"/>
                <a:gd name="connsiteX140" fmla="*/ 6965 w 10000"/>
                <a:gd name="connsiteY140" fmla="*/ 9388 h 10000"/>
                <a:gd name="connsiteX141" fmla="*/ 6809 w 10000"/>
                <a:gd name="connsiteY141" fmla="*/ 9309 h 10000"/>
                <a:gd name="connsiteX142" fmla="*/ 6615 w 10000"/>
                <a:gd name="connsiteY142" fmla="*/ 9231 h 10000"/>
                <a:gd name="connsiteX143" fmla="*/ 6167 w 10000"/>
                <a:gd name="connsiteY143" fmla="*/ 9199 h 10000"/>
                <a:gd name="connsiteX144" fmla="*/ 6109 w 10000"/>
                <a:gd name="connsiteY144" fmla="*/ 9152 h 10000"/>
                <a:gd name="connsiteX145" fmla="*/ 5817 w 10000"/>
                <a:gd name="connsiteY145" fmla="*/ 9074 h 10000"/>
                <a:gd name="connsiteX146" fmla="*/ 5661 w 10000"/>
                <a:gd name="connsiteY146" fmla="*/ 9027 h 10000"/>
                <a:gd name="connsiteX147" fmla="*/ 5564 w 10000"/>
                <a:gd name="connsiteY147" fmla="*/ 8917 h 10000"/>
                <a:gd name="connsiteX148" fmla="*/ 5214 w 10000"/>
                <a:gd name="connsiteY148" fmla="*/ 8744 h 10000"/>
                <a:gd name="connsiteX149" fmla="*/ 4864 w 10000"/>
                <a:gd name="connsiteY149" fmla="*/ 8634 h 10000"/>
                <a:gd name="connsiteX150" fmla="*/ 4825 w 10000"/>
                <a:gd name="connsiteY150" fmla="*/ 8666 h 10000"/>
                <a:gd name="connsiteX151" fmla="*/ 4864 w 10000"/>
                <a:gd name="connsiteY151" fmla="*/ 8634 h 10000"/>
                <a:gd name="connsiteX152" fmla="*/ 4767 w 10000"/>
                <a:gd name="connsiteY152" fmla="*/ 8666 h 10000"/>
                <a:gd name="connsiteX153" fmla="*/ 4669 w 10000"/>
                <a:gd name="connsiteY153" fmla="*/ 8666 h 10000"/>
                <a:gd name="connsiteX154" fmla="*/ 4475 w 10000"/>
                <a:gd name="connsiteY154" fmla="*/ 8587 h 10000"/>
                <a:gd name="connsiteX155" fmla="*/ 4377 w 10000"/>
                <a:gd name="connsiteY155" fmla="*/ 8556 h 10000"/>
                <a:gd name="connsiteX156" fmla="*/ 4319 w 10000"/>
                <a:gd name="connsiteY156" fmla="*/ 8556 h 10000"/>
                <a:gd name="connsiteX157" fmla="*/ 4222 w 10000"/>
                <a:gd name="connsiteY157" fmla="*/ 8587 h 10000"/>
                <a:gd name="connsiteX158" fmla="*/ 4183 w 10000"/>
                <a:gd name="connsiteY158" fmla="*/ 8666 h 10000"/>
                <a:gd name="connsiteX159" fmla="*/ 4183 w 10000"/>
                <a:gd name="connsiteY159" fmla="*/ 8791 h 10000"/>
                <a:gd name="connsiteX160" fmla="*/ 4086 w 10000"/>
                <a:gd name="connsiteY160" fmla="*/ 9309 h 10000"/>
                <a:gd name="connsiteX161" fmla="*/ 4125 w 10000"/>
                <a:gd name="connsiteY161" fmla="*/ 9388 h 10000"/>
                <a:gd name="connsiteX162" fmla="*/ 4280 w 10000"/>
                <a:gd name="connsiteY162" fmla="*/ 9466 h 10000"/>
                <a:gd name="connsiteX163" fmla="*/ 4669 w 10000"/>
                <a:gd name="connsiteY163" fmla="*/ 9670 h 10000"/>
                <a:gd name="connsiteX164" fmla="*/ 4669 w 10000"/>
                <a:gd name="connsiteY164" fmla="*/ 9749 h 10000"/>
                <a:gd name="connsiteX165" fmla="*/ 4669 w 10000"/>
                <a:gd name="connsiteY165" fmla="*/ 9827 h 10000"/>
                <a:gd name="connsiteX166" fmla="*/ 4572 w 10000"/>
                <a:gd name="connsiteY166" fmla="*/ 9922 h 10000"/>
                <a:gd name="connsiteX167" fmla="*/ 4377 w 10000"/>
                <a:gd name="connsiteY167" fmla="*/ 10000 h 10000"/>
                <a:gd name="connsiteX168" fmla="*/ 4222 w 10000"/>
                <a:gd name="connsiteY168" fmla="*/ 9953 h 10000"/>
                <a:gd name="connsiteX169" fmla="*/ 4086 w 10000"/>
                <a:gd name="connsiteY169" fmla="*/ 9874 h 10000"/>
                <a:gd name="connsiteX170" fmla="*/ 3930 w 10000"/>
                <a:gd name="connsiteY170" fmla="*/ 9796 h 10000"/>
                <a:gd name="connsiteX171" fmla="*/ 3930 w 10000"/>
                <a:gd name="connsiteY171" fmla="*/ 9717 h 10000"/>
                <a:gd name="connsiteX172" fmla="*/ 3930 w 10000"/>
                <a:gd name="connsiteY172" fmla="*/ 9560 h 10000"/>
                <a:gd name="connsiteX173" fmla="*/ 3872 w 10000"/>
                <a:gd name="connsiteY173" fmla="*/ 9513 h 10000"/>
                <a:gd name="connsiteX174" fmla="*/ 3833 w 10000"/>
                <a:gd name="connsiteY174" fmla="*/ 9466 h 10000"/>
                <a:gd name="connsiteX175" fmla="*/ 3774 w 10000"/>
                <a:gd name="connsiteY175" fmla="*/ 9513 h 10000"/>
                <a:gd name="connsiteX176" fmla="*/ 3521 w 10000"/>
                <a:gd name="connsiteY176" fmla="*/ 9560 h 10000"/>
                <a:gd name="connsiteX177" fmla="*/ 3424 w 10000"/>
                <a:gd name="connsiteY177" fmla="*/ 9560 h 10000"/>
                <a:gd name="connsiteX178" fmla="*/ 3288 w 10000"/>
                <a:gd name="connsiteY178" fmla="*/ 9513 h 10000"/>
                <a:gd name="connsiteX179" fmla="*/ 3132 w 10000"/>
                <a:gd name="connsiteY179" fmla="*/ 9435 h 10000"/>
                <a:gd name="connsiteX180" fmla="*/ 2938 w 10000"/>
                <a:gd name="connsiteY180" fmla="*/ 9356 h 10000"/>
                <a:gd name="connsiteX181" fmla="*/ 2724 w 10000"/>
                <a:gd name="connsiteY181" fmla="*/ 9309 h 10000"/>
                <a:gd name="connsiteX182" fmla="*/ 2432 w 10000"/>
                <a:gd name="connsiteY182" fmla="*/ 9278 h 10000"/>
                <a:gd name="connsiteX183" fmla="*/ 2393 w 10000"/>
                <a:gd name="connsiteY183" fmla="*/ 9199 h 10000"/>
                <a:gd name="connsiteX184" fmla="*/ 2276 w 10000"/>
                <a:gd name="connsiteY184" fmla="*/ 9152 h 10000"/>
                <a:gd name="connsiteX185" fmla="*/ 2179 w 10000"/>
                <a:gd name="connsiteY185" fmla="*/ 9074 h 10000"/>
                <a:gd name="connsiteX186" fmla="*/ 2179 w 10000"/>
                <a:gd name="connsiteY186" fmla="*/ 8948 h 10000"/>
                <a:gd name="connsiteX187" fmla="*/ 2179 w 10000"/>
                <a:gd name="connsiteY187" fmla="*/ 8870 h 10000"/>
                <a:gd name="connsiteX188" fmla="*/ 2237 w 10000"/>
                <a:gd name="connsiteY188" fmla="*/ 8838 h 10000"/>
                <a:gd name="connsiteX189" fmla="*/ 2335 w 10000"/>
                <a:gd name="connsiteY189" fmla="*/ 8791 h 10000"/>
                <a:gd name="connsiteX190" fmla="*/ 2490 w 10000"/>
                <a:gd name="connsiteY190" fmla="*/ 8791 h 10000"/>
                <a:gd name="connsiteX191" fmla="*/ 2529 w 10000"/>
                <a:gd name="connsiteY191" fmla="*/ 8744 h 10000"/>
                <a:gd name="connsiteX192" fmla="*/ 2626 w 10000"/>
                <a:gd name="connsiteY192" fmla="*/ 8713 h 10000"/>
                <a:gd name="connsiteX193" fmla="*/ 2685 w 10000"/>
                <a:gd name="connsiteY193" fmla="*/ 8556 h 10000"/>
                <a:gd name="connsiteX194" fmla="*/ 2626 w 10000"/>
                <a:gd name="connsiteY194" fmla="*/ 8383 h 10000"/>
                <a:gd name="connsiteX195" fmla="*/ 2588 w 10000"/>
                <a:gd name="connsiteY195" fmla="*/ 8195 h 10000"/>
                <a:gd name="connsiteX196" fmla="*/ 2432 w 10000"/>
                <a:gd name="connsiteY196" fmla="*/ 8022 h 10000"/>
                <a:gd name="connsiteX197" fmla="*/ 2393 w 10000"/>
                <a:gd name="connsiteY197" fmla="*/ 7991 h 10000"/>
                <a:gd name="connsiteX198" fmla="*/ 2335 w 10000"/>
                <a:gd name="connsiteY198" fmla="*/ 7943 h 10000"/>
                <a:gd name="connsiteX199" fmla="*/ 2393 w 10000"/>
                <a:gd name="connsiteY199" fmla="*/ 7865 h 10000"/>
                <a:gd name="connsiteX200" fmla="*/ 2432 w 10000"/>
                <a:gd name="connsiteY200" fmla="*/ 7834 h 10000"/>
                <a:gd name="connsiteX201" fmla="*/ 2490 w 10000"/>
                <a:gd name="connsiteY201" fmla="*/ 7834 h 10000"/>
                <a:gd name="connsiteX202" fmla="*/ 2588 w 10000"/>
                <a:gd name="connsiteY202" fmla="*/ 7834 h 10000"/>
                <a:gd name="connsiteX203" fmla="*/ 2685 w 10000"/>
                <a:gd name="connsiteY203" fmla="*/ 7834 h 10000"/>
                <a:gd name="connsiteX204" fmla="*/ 2782 w 10000"/>
                <a:gd name="connsiteY204" fmla="*/ 7912 h 10000"/>
                <a:gd name="connsiteX205" fmla="*/ 2938 w 10000"/>
                <a:gd name="connsiteY205" fmla="*/ 7991 h 10000"/>
                <a:gd name="connsiteX206" fmla="*/ 3074 w 10000"/>
                <a:gd name="connsiteY206" fmla="*/ 8069 h 10000"/>
                <a:gd name="connsiteX207" fmla="*/ 3230 w 10000"/>
                <a:gd name="connsiteY207" fmla="*/ 8100 h 10000"/>
                <a:gd name="connsiteX208" fmla="*/ 3230 w 10000"/>
                <a:gd name="connsiteY208" fmla="*/ 8069 h 10000"/>
                <a:gd name="connsiteX209" fmla="*/ 3288 w 10000"/>
                <a:gd name="connsiteY209" fmla="*/ 8069 h 10000"/>
                <a:gd name="connsiteX210" fmla="*/ 3327 w 10000"/>
                <a:gd name="connsiteY210" fmla="*/ 7912 h 10000"/>
                <a:gd name="connsiteX211" fmla="*/ 3327 w 10000"/>
                <a:gd name="connsiteY211" fmla="*/ 7786 h 10000"/>
                <a:gd name="connsiteX212" fmla="*/ 3327 w 10000"/>
                <a:gd name="connsiteY212" fmla="*/ 7708 h 10000"/>
                <a:gd name="connsiteX213" fmla="*/ 3230 w 10000"/>
                <a:gd name="connsiteY213" fmla="*/ 7582 h 10000"/>
                <a:gd name="connsiteX214" fmla="*/ 2977 w 10000"/>
                <a:gd name="connsiteY214" fmla="*/ 7378 h 10000"/>
                <a:gd name="connsiteX215" fmla="*/ 2685 w 10000"/>
                <a:gd name="connsiteY215" fmla="*/ 7064 h 10000"/>
                <a:gd name="connsiteX216" fmla="*/ 2724 w 10000"/>
                <a:gd name="connsiteY216" fmla="*/ 6986 h 10000"/>
                <a:gd name="connsiteX217" fmla="*/ 2782 w 10000"/>
                <a:gd name="connsiteY217" fmla="*/ 6986 h 10000"/>
                <a:gd name="connsiteX218" fmla="*/ 3035 w 10000"/>
                <a:gd name="connsiteY218" fmla="*/ 7017 h 10000"/>
                <a:gd name="connsiteX219" fmla="*/ 3230 w 10000"/>
                <a:gd name="connsiteY219" fmla="*/ 7017 h 10000"/>
                <a:gd name="connsiteX220" fmla="*/ 3288 w 10000"/>
                <a:gd name="connsiteY220" fmla="*/ 7017 h 10000"/>
                <a:gd name="connsiteX221" fmla="*/ 3288 w 10000"/>
                <a:gd name="connsiteY221" fmla="*/ 6986 h 10000"/>
                <a:gd name="connsiteX222" fmla="*/ 3171 w 10000"/>
                <a:gd name="connsiteY222" fmla="*/ 6829 h 10000"/>
                <a:gd name="connsiteX223" fmla="*/ 2977 w 10000"/>
                <a:gd name="connsiteY223" fmla="*/ 6656 h 10000"/>
                <a:gd name="connsiteX224" fmla="*/ 2840 w 10000"/>
                <a:gd name="connsiteY224" fmla="*/ 6546 h 10000"/>
                <a:gd name="connsiteX225" fmla="*/ 2588 w 10000"/>
                <a:gd name="connsiteY225" fmla="*/ 6468 h 10000"/>
                <a:gd name="connsiteX226" fmla="*/ 2335 w 10000"/>
                <a:gd name="connsiteY226" fmla="*/ 6421 h 10000"/>
                <a:gd name="connsiteX227" fmla="*/ 1634 w 10000"/>
                <a:gd name="connsiteY227" fmla="*/ 6421 h 10000"/>
                <a:gd name="connsiteX228" fmla="*/ 1245 w 10000"/>
                <a:gd name="connsiteY228" fmla="*/ 6374 h 10000"/>
                <a:gd name="connsiteX229" fmla="*/ 1089 w 10000"/>
                <a:gd name="connsiteY229" fmla="*/ 6421 h 10000"/>
                <a:gd name="connsiteX230" fmla="*/ 992 w 10000"/>
                <a:gd name="connsiteY230" fmla="*/ 6468 h 10000"/>
                <a:gd name="connsiteX231" fmla="*/ 934 w 10000"/>
                <a:gd name="connsiteY231" fmla="*/ 6546 h 10000"/>
                <a:gd name="connsiteX232" fmla="*/ 798 w 10000"/>
                <a:gd name="connsiteY232" fmla="*/ 6295 h 10000"/>
                <a:gd name="connsiteX233" fmla="*/ 642 w 10000"/>
                <a:gd name="connsiteY233" fmla="*/ 6217 h 10000"/>
                <a:gd name="connsiteX234" fmla="*/ 447 w 10000"/>
                <a:gd name="connsiteY234" fmla="*/ 6138 h 10000"/>
                <a:gd name="connsiteX235" fmla="*/ 195 w 10000"/>
                <a:gd name="connsiteY235" fmla="*/ 5934 h 10000"/>
                <a:gd name="connsiteX236" fmla="*/ 97 w 10000"/>
                <a:gd name="connsiteY236" fmla="*/ 5824 h 10000"/>
                <a:gd name="connsiteX237" fmla="*/ 97 w 10000"/>
                <a:gd name="connsiteY237" fmla="*/ 5699 h 10000"/>
                <a:gd name="connsiteX238" fmla="*/ 195 w 10000"/>
                <a:gd name="connsiteY238" fmla="*/ 5777 h 10000"/>
                <a:gd name="connsiteX239" fmla="*/ 292 w 10000"/>
                <a:gd name="connsiteY239" fmla="*/ 5824 h 10000"/>
                <a:gd name="connsiteX240" fmla="*/ 447 w 10000"/>
                <a:gd name="connsiteY240" fmla="*/ 5856 h 10000"/>
                <a:gd name="connsiteX241" fmla="*/ 584 w 10000"/>
                <a:gd name="connsiteY241" fmla="*/ 5856 h 10000"/>
                <a:gd name="connsiteX242" fmla="*/ 700 w 10000"/>
                <a:gd name="connsiteY242" fmla="*/ 5824 h 10000"/>
                <a:gd name="connsiteX243" fmla="*/ 1187 w 10000"/>
                <a:gd name="connsiteY243" fmla="*/ 5824 h 10000"/>
                <a:gd name="connsiteX244" fmla="*/ 1342 w 10000"/>
                <a:gd name="connsiteY244" fmla="*/ 5651 h 10000"/>
                <a:gd name="connsiteX245" fmla="*/ 1381 w 10000"/>
                <a:gd name="connsiteY245" fmla="*/ 5573 h 10000"/>
                <a:gd name="connsiteX246" fmla="*/ 1498 w 10000"/>
                <a:gd name="connsiteY246" fmla="*/ 5573 h 10000"/>
                <a:gd name="connsiteX247" fmla="*/ 1537 w 10000"/>
                <a:gd name="connsiteY247" fmla="*/ 5573 h 10000"/>
                <a:gd name="connsiteX248" fmla="*/ 1595 w 10000"/>
                <a:gd name="connsiteY248" fmla="*/ 5651 h 10000"/>
                <a:gd name="connsiteX249" fmla="*/ 1693 w 10000"/>
                <a:gd name="connsiteY249" fmla="*/ 5824 h 10000"/>
                <a:gd name="connsiteX250" fmla="*/ 1732 w 10000"/>
                <a:gd name="connsiteY250" fmla="*/ 5981 h 10000"/>
                <a:gd name="connsiteX251" fmla="*/ 1829 w 10000"/>
                <a:gd name="connsiteY251" fmla="*/ 6060 h 10000"/>
                <a:gd name="connsiteX252" fmla="*/ 1946 w 10000"/>
                <a:gd name="connsiteY252" fmla="*/ 6060 h 10000"/>
                <a:gd name="connsiteX253" fmla="*/ 2043 w 10000"/>
                <a:gd name="connsiteY253" fmla="*/ 6060 h 10000"/>
                <a:gd name="connsiteX254" fmla="*/ 2082 w 10000"/>
                <a:gd name="connsiteY254" fmla="*/ 6013 h 10000"/>
                <a:gd name="connsiteX255" fmla="*/ 2179 w 10000"/>
                <a:gd name="connsiteY255" fmla="*/ 5856 h 10000"/>
                <a:gd name="connsiteX256" fmla="*/ 2237 w 10000"/>
                <a:gd name="connsiteY256" fmla="*/ 5542 h 10000"/>
                <a:gd name="connsiteX257" fmla="*/ 2335 w 10000"/>
                <a:gd name="connsiteY257" fmla="*/ 5463 h 10000"/>
                <a:gd name="connsiteX258" fmla="*/ 2432 w 10000"/>
                <a:gd name="connsiteY258" fmla="*/ 5463 h 10000"/>
                <a:gd name="connsiteX259" fmla="*/ 2529 w 10000"/>
                <a:gd name="connsiteY259" fmla="*/ 5416 h 10000"/>
                <a:gd name="connsiteX260" fmla="*/ 2588 w 10000"/>
                <a:gd name="connsiteY260" fmla="*/ 5338 h 10000"/>
                <a:gd name="connsiteX261" fmla="*/ 2529 w 10000"/>
                <a:gd name="connsiteY261" fmla="*/ 5259 h 10000"/>
                <a:gd name="connsiteX262" fmla="*/ 2490 w 10000"/>
                <a:gd name="connsiteY262" fmla="*/ 5212 h 10000"/>
                <a:gd name="connsiteX263" fmla="*/ 2432 w 10000"/>
                <a:gd name="connsiteY263" fmla="*/ 5181 h 10000"/>
                <a:gd name="connsiteX264" fmla="*/ 2432 w 10000"/>
                <a:gd name="connsiteY264" fmla="*/ 5133 h 10000"/>
                <a:gd name="connsiteX265" fmla="*/ 2432 w 10000"/>
                <a:gd name="connsiteY265" fmla="*/ 5055 h 10000"/>
                <a:gd name="connsiteX266" fmla="*/ 2490 w 10000"/>
                <a:gd name="connsiteY266" fmla="*/ 5024 h 10000"/>
                <a:gd name="connsiteX267" fmla="*/ 2685 w 10000"/>
                <a:gd name="connsiteY267" fmla="*/ 5024 h 10000"/>
                <a:gd name="connsiteX268" fmla="*/ 2840 w 10000"/>
                <a:gd name="connsiteY268" fmla="*/ 5024 h 10000"/>
                <a:gd name="connsiteX269" fmla="*/ 2879 w 10000"/>
                <a:gd name="connsiteY269" fmla="*/ 4976 h 10000"/>
                <a:gd name="connsiteX270" fmla="*/ 2938 w 10000"/>
                <a:gd name="connsiteY270" fmla="*/ 4898 h 10000"/>
                <a:gd name="connsiteX271" fmla="*/ 2879 w 10000"/>
                <a:gd name="connsiteY271" fmla="*/ 4851 h 10000"/>
                <a:gd name="connsiteX272" fmla="*/ 2840 w 10000"/>
                <a:gd name="connsiteY272" fmla="*/ 4772 h 10000"/>
                <a:gd name="connsiteX273" fmla="*/ 2782 w 10000"/>
                <a:gd name="connsiteY273" fmla="*/ 4741 h 10000"/>
                <a:gd name="connsiteX274" fmla="*/ 2782 w 10000"/>
                <a:gd name="connsiteY274" fmla="*/ 4694 h 10000"/>
                <a:gd name="connsiteX275" fmla="*/ 2840 w 10000"/>
                <a:gd name="connsiteY275" fmla="*/ 4647 h 10000"/>
                <a:gd name="connsiteX276" fmla="*/ 2879 w 10000"/>
                <a:gd name="connsiteY276" fmla="*/ 4615 h 10000"/>
                <a:gd name="connsiteX277" fmla="*/ 3074 w 10000"/>
                <a:gd name="connsiteY277" fmla="*/ 4568 h 10000"/>
                <a:gd name="connsiteX278" fmla="*/ 2782 w 10000"/>
                <a:gd name="connsiteY278" fmla="*/ 4411 h 10000"/>
                <a:gd name="connsiteX279" fmla="*/ 2685 w 10000"/>
                <a:gd name="connsiteY279" fmla="*/ 4333 h 10000"/>
                <a:gd name="connsiteX280" fmla="*/ 2626 w 10000"/>
                <a:gd name="connsiteY280" fmla="*/ 4207 h 10000"/>
                <a:gd name="connsiteX281" fmla="*/ 2626 w 10000"/>
                <a:gd name="connsiteY281" fmla="*/ 3925 h 10000"/>
                <a:gd name="connsiteX282" fmla="*/ 2626 w 10000"/>
                <a:gd name="connsiteY282" fmla="*/ 3815 h 10000"/>
                <a:gd name="connsiteX283" fmla="*/ 2588 w 10000"/>
                <a:gd name="connsiteY283" fmla="*/ 3689 h 10000"/>
                <a:gd name="connsiteX284" fmla="*/ 2490 w 10000"/>
                <a:gd name="connsiteY284" fmla="*/ 3658 h 10000"/>
                <a:gd name="connsiteX285" fmla="*/ 2276 w 10000"/>
                <a:gd name="connsiteY285" fmla="*/ 3564 h 10000"/>
                <a:gd name="connsiteX286" fmla="*/ 2043 w 10000"/>
                <a:gd name="connsiteY286" fmla="*/ 3375 h 10000"/>
                <a:gd name="connsiteX287" fmla="*/ 1984 w 10000"/>
                <a:gd name="connsiteY287" fmla="*/ 3297 h 10000"/>
                <a:gd name="connsiteX288" fmla="*/ 1946 w 10000"/>
                <a:gd name="connsiteY288" fmla="*/ 3203 h 10000"/>
                <a:gd name="connsiteX289" fmla="*/ 1829 w 10000"/>
                <a:gd name="connsiteY289" fmla="*/ 3203 h 10000"/>
                <a:gd name="connsiteX290" fmla="*/ 1693 w 10000"/>
                <a:gd name="connsiteY290" fmla="*/ 3203 h 10000"/>
                <a:gd name="connsiteX291" fmla="*/ 1634 w 10000"/>
                <a:gd name="connsiteY291" fmla="*/ 3250 h 10000"/>
                <a:gd name="connsiteX292" fmla="*/ 1537 w 10000"/>
                <a:gd name="connsiteY292" fmla="*/ 3250 h 10000"/>
                <a:gd name="connsiteX293" fmla="*/ 1342 w 10000"/>
                <a:gd name="connsiteY293" fmla="*/ 3171 h 10000"/>
                <a:gd name="connsiteX294" fmla="*/ 1089 w 10000"/>
                <a:gd name="connsiteY294" fmla="*/ 3014 h 10000"/>
                <a:gd name="connsiteX295" fmla="*/ 934 w 10000"/>
                <a:gd name="connsiteY295" fmla="*/ 2967 h 10000"/>
                <a:gd name="connsiteX296" fmla="*/ 739 w 10000"/>
                <a:gd name="connsiteY296" fmla="*/ 2920 h 10000"/>
                <a:gd name="connsiteX297" fmla="*/ 642 w 10000"/>
                <a:gd name="connsiteY297" fmla="*/ 2841 h 10000"/>
                <a:gd name="connsiteX298" fmla="*/ 486 w 10000"/>
                <a:gd name="connsiteY298" fmla="*/ 2684 h 10000"/>
                <a:gd name="connsiteX299" fmla="*/ 292 w 10000"/>
                <a:gd name="connsiteY299" fmla="*/ 2402 h 10000"/>
                <a:gd name="connsiteX300" fmla="*/ 97 w 10000"/>
                <a:gd name="connsiteY300" fmla="*/ 2009 h 10000"/>
                <a:gd name="connsiteX301" fmla="*/ 39 w 10000"/>
                <a:gd name="connsiteY301" fmla="*/ 1601 h 10000"/>
                <a:gd name="connsiteX302" fmla="*/ 0 w 10000"/>
                <a:gd name="connsiteY302" fmla="*/ 1397 h 10000"/>
                <a:gd name="connsiteX303" fmla="*/ 39 w 10000"/>
                <a:gd name="connsiteY303" fmla="*/ 1193 h 10000"/>
                <a:gd name="connsiteX304" fmla="*/ 97 w 10000"/>
                <a:gd name="connsiteY304" fmla="*/ 1036 h 10000"/>
                <a:gd name="connsiteX305" fmla="*/ 136 w 10000"/>
                <a:gd name="connsiteY305" fmla="*/ 926 h 10000"/>
                <a:gd name="connsiteX306" fmla="*/ 253 w 10000"/>
                <a:gd name="connsiteY306" fmla="*/ 832 h 10000"/>
                <a:gd name="connsiteX307" fmla="*/ 389 w 10000"/>
                <a:gd name="connsiteY307" fmla="*/ 801 h 10000"/>
                <a:gd name="connsiteX308" fmla="*/ 642 w 10000"/>
                <a:gd name="connsiteY308" fmla="*/ 801 h 10000"/>
                <a:gd name="connsiteX309" fmla="*/ 934 w 10000"/>
                <a:gd name="connsiteY309" fmla="*/ 754 h 10000"/>
                <a:gd name="connsiteX310" fmla="*/ 1148 w 10000"/>
                <a:gd name="connsiteY310" fmla="*/ 722 h 10000"/>
                <a:gd name="connsiteX311" fmla="*/ 1245 w 10000"/>
                <a:gd name="connsiteY311" fmla="*/ 675 h 10000"/>
                <a:gd name="connsiteX312" fmla="*/ 1342 w 10000"/>
                <a:gd name="connsiteY312" fmla="*/ 597 h 10000"/>
                <a:gd name="connsiteX313" fmla="*/ 1440 w 10000"/>
                <a:gd name="connsiteY313" fmla="*/ 565 h 10000"/>
                <a:gd name="connsiteX314" fmla="*/ 1537 w 10000"/>
                <a:gd name="connsiteY314" fmla="*/ 565 h 10000"/>
                <a:gd name="connsiteX315" fmla="*/ 1946 w 10000"/>
                <a:gd name="connsiteY315" fmla="*/ 565 h 10000"/>
                <a:gd name="connsiteX316" fmla="*/ 2276 w 10000"/>
                <a:gd name="connsiteY316" fmla="*/ 597 h 10000"/>
                <a:gd name="connsiteX317" fmla="*/ 2490 w 10000"/>
                <a:gd name="connsiteY317" fmla="*/ 644 h 10000"/>
                <a:gd name="connsiteX318" fmla="*/ 2626 w 10000"/>
                <a:gd name="connsiteY318" fmla="*/ 722 h 10000"/>
                <a:gd name="connsiteX319" fmla="*/ 2782 w 10000"/>
                <a:gd name="connsiteY319" fmla="*/ 754 h 10000"/>
                <a:gd name="connsiteX320" fmla="*/ 2879 w 10000"/>
                <a:gd name="connsiteY320" fmla="*/ 722 h 10000"/>
                <a:gd name="connsiteX321" fmla="*/ 2977 w 10000"/>
                <a:gd name="connsiteY321" fmla="*/ 675 h 10000"/>
                <a:gd name="connsiteX322" fmla="*/ 3132 w 10000"/>
                <a:gd name="connsiteY322" fmla="*/ 597 h 10000"/>
                <a:gd name="connsiteX323" fmla="*/ 3288 w 10000"/>
                <a:gd name="connsiteY323" fmla="*/ 518 h 10000"/>
                <a:gd name="connsiteX324" fmla="*/ 3482 w 10000"/>
                <a:gd name="connsiteY324" fmla="*/ 283 h 10000"/>
                <a:gd name="connsiteX325" fmla="*/ 3638 w 10000"/>
                <a:gd name="connsiteY325" fmla="*/ 78 h 10000"/>
                <a:gd name="connsiteX326" fmla="*/ 3735 w 10000"/>
                <a:gd name="connsiteY326" fmla="*/ 0 h 10000"/>
                <a:gd name="connsiteX327" fmla="*/ 3638 w 10000"/>
                <a:gd name="connsiteY327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18 w 10000"/>
                <a:gd name="connsiteY40" fmla="*/ 3250 h 10000"/>
                <a:gd name="connsiteX41" fmla="*/ 7354 w 10000"/>
                <a:gd name="connsiteY41" fmla="*/ 3250 h 10000"/>
                <a:gd name="connsiteX42" fmla="*/ 7412 w 10000"/>
                <a:gd name="connsiteY42" fmla="*/ 3297 h 10000"/>
                <a:gd name="connsiteX43" fmla="*/ 7568 w 10000"/>
                <a:gd name="connsiteY43" fmla="*/ 3375 h 10000"/>
                <a:gd name="connsiteX44" fmla="*/ 7665 w 10000"/>
                <a:gd name="connsiteY44" fmla="*/ 3454 h 10000"/>
                <a:gd name="connsiteX45" fmla="*/ 7704 w 10000"/>
                <a:gd name="connsiteY45" fmla="*/ 3485 h 10000"/>
                <a:gd name="connsiteX46" fmla="*/ 7802 w 10000"/>
                <a:gd name="connsiteY46" fmla="*/ 3485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405 w 10000"/>
                <a:gd name="connsiteY125" fmla="*/ 9560 h 10000"/>
                <a:gd name="connsiteX126" fmla="*/ 8249 w 10000"/>
                <a:gd name="connsiteY126" fmla="*/ 9435 h 10000"/>
                <a:gd name="connsiteX127" fmla="*/ 8152 w 10000"/>
                <a:gd name="connsiteY127" fmla="*/ 9309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802 w 10000"/>
                <a:gd name="connsiteY131" fmla="*/ 9356 h 10000"/>
                <a:gd name="connsiteX132" fmla="*/ 7704 w 10000"/>
                <a:gd name="connsiteY132" fmla="*/ 9309 h 10000"/>
                <a:gd name="connsiteX133" fmla="*/ 7802 w 10000"/>
                <a:gd name="connsiteY133" fmla="*/ 9761 h 10000"/>
                <a:gd name="connsiteX134" fmla="*/ 7538 w 10000"/>
                <a:gd name="connsiteY134" fmla="*/ 9639 h 10000"/>
                <a:gd name="connsiteX135" fmla="*/ 7417 w 10000"/>
                <a:gd name="connsiteY135" fmla="*/ 9522 h 10000"/>
                <a:gd name="connsiteX136" fmla="*/ 7354 w 10000"/>
                <a:gd name="connsiteY136" fmla="*/ 9231 h 10000"/>
                <a:gd name="connsiteX137" fmla="*/ 7399 w 10000"/>
                <a:gd name="connsiteY137" fmla="*/ 9465 h 10000"/>
                <a:gd name="connsiteX138" fmla="*/ 7004 w 10000"/>
                <a:gd name="connsiteY138" fmla="*/ 9435 h 10000"/>
                <a:gd name="connsiteX139" fmla="*/ 7004 w 10000"/>
                <a:gd name="connsiteY139" fmla="*/ 9388 h 10000"/>
                <a:gd name="connsiteX140" fmla="*/ 6965 w 10000"/>
                <a:gd name="connsiteY140" fmla="*/ 9388 h 10000"/>
                <a:gd name="connsiteX141" fmla="*/ 6809 w 10000"/>
                <a:gd name="connsiteY141" fmla="*/ 9309 h 10000"/>
                <a:gd name="connsiteX142" fmla="*/ 6615 w 10000"/>
                <a:gd name="connsiteY142" fmla="*/ 9231 h 10000"/>
                <a:gd name="connsiteX143" fmla="*/ 6167 w 10000"/>
                <a:gd name="connsiteY143" fmla="*/ 9199 h 10000"/>
                <a:gd name="connsiteX144" fmla="*/ 6109 w 10000"/>
                <a:gd name="connsiteY144" fmla="*/ 9152 h 10000"/>
                <a:gd name="connsiteX145" fmla="*/ 5817 w 10000"/>
                <a:gd name="connsiteY145" fmla="*/ 9074 h 10000"/>
                <a:gd name="connsiteX146" fmla="*/ 5661 w 10000"/>
                <a:gd name="connsiteY146" fmla="*/ 9027 h 10000"/>
                <a:gd name="connsiteX147" fmla="*/ 5564 w 10000"/>
                <a:gd name="connsiteY147" fmla="*/ 8917 h 10000"/>
                <a:gd name="connsiteX148" fmla="*/ 5214 w 10000"/>
                <a:gd name="connsiteY148" fmla="*/ 8744 h 10000"/>
                <a:gd name="connsiteX149" fmla="*/ 4864 w 10000"/>
                <a:gd name="connsiteY149" fmla="*/ 8634 h 10000"/>
                <a:gd name="connsiteX150" fmla="*/ 4825 w 10000"/>
                <a:gd name="connsiteY150" fmla="*/ 8666 h 10000"/>
                <a:gd name="connsiteX151" fmla="*/ 4864 w 10000"/>
                <a:gd name="connsiteY151" fmla="*/ 8634 h 10000"/>
                <a:gd name="connsiteX152" fmla="*/ 4767 w 10000"/>
                <a:gd name="connsiteY152" fmla="*/ 8666 h 10000"/>
                <a:gd name="connsiteX153" fmla="*/ 4669 w 10000"/>
                <a:gd name="connsiteY153" fmla="*/ 8666 h 10000"/>
                <a:gd name="connsiteX154" fmla="*/ 4475 w 10000"/>
                <a:gd name="connsiteY154" fmla="*/ 8587 h 10000"/>
                <a:gd name="connsiteX155" fmla="*/ 4377 w 10000"/>
                <a:gd name="connsiteY155" fmla="*/ 8556 h 10000"/>
                <a:gd name="connsiteX156" fmla="*/ 4319 w 10000"/>
                <a:gd name="connsiteY156" fmla="*/ 8556 h 10000"/>
                <a:gd name="connsiteX157" fmla="*/ 4222 w 10000"/>
                <a:gd name="connsiteY157" fmla="*/ 8587 h 10000"/>
                <a:gd name="connsiteX158" fmla="*/ 4183 w 10000"/>
                <a:gd name="connsiteY158" fmla="*/ 8666 h 10000"/>
                <a:gd name="connsiteX159" fmla="*/ 4183 w 10000"/>
                <a:gd name="connsiteY159" fmla="*/ 8791 h 10000"/>
                <a:gd name="connsiteX160" fmla="*/ 4086 w 10000"/>
                <a:gd name="connsiteY160" fmla="*/ 9309 h 10000"/>
                <a:gd name="connsiteX161" fmla="*/ 4125 w 10000"/>
                <a:gd name="connsiteY161" fmla="*/ 9388 h 10000"/>
                <a:gd name="connsiteX162" fmla="*/ 4280 w 10000"/>
                <a:gd name="connsiteY162" fmla="*/ 9466 h 10000"/>
                <a:gd name="connsiteX163" fmla="*/ 4669 w 10000"/>
                <a:gd name="connsiteY163" fmla="*/ 9670 h 10000"/>
                <a:gd name="connsiteX164" fmla="*/ 4669 w 10000"/>
                <a:gd name="connsiteY164" fmla="*/ 9749 h 10000"/>
                <a:gd name="connsiteX165" fmla="*/ 4669 w 10000"/>
                <a:gd name="connsiteY165" fmla="*/ 9827 h 10000"/>
                <a:gd name="connsiteX166" fmla="*/ 4572 w 10000"/>
                <a:gd name="connsiteY166" fmla="*/ 9922 h 10000"/>
                <a:gd name="connsiteX167" fmla="*/ 4377 w 10000"/>
                <a:gd name="connsiteY167" fmla="*/ 10000 h 10000"/>
                <a:gd name="connsiteX168" fmla="*/ 4222 w 10000"/>
                <a:gd name="connsiteY168" fmla="*/ 9953 h 10000"/>
                <a:gd name="connsiteX169" fmla="*/ 4086 w 10000"/>
                <a:gd name="connsiteY169" fmla="*/ 9874 h 10000"/>
                <a:gd name="connsiteX170" fmla="*/ 3930 w 10000"/>
                <a:gd name="connsiteY170" fmla="*/ 9796 h 10000"/>
                <a:gd name="connsiteX171" fmla="*/ 3930 w 10000"/>
                <a:gd name="connsiteY171" fmla="*/ 9717 h 10000"/>
                <a:gd name="connsiteX172" fmla="*/ 3930 w 10000"/>
                <a:gd name="connsiteY172" fmla="*/ 9560 h 10000"/>
                <a:gd name="connsiteX173" fmla="*/ 3872 w 10000"/>
                <a:gd name="connsiteY173" fmla="*/ 9513 h 10000"/>
                <a:gd name="connsiteX174" fmla="*/ 3833 w 10000"/>
                <a:gd name="connsiteY174" fmla="*/ 9466 h 10000"/>
                <a:gd name="connsiteX175" fmla="*/ 3774 w 10000"/>
                <a:gd name="connsiteY175" fmla="*/ 9513 h 10000"/>
                <a:gd name="connsiteX176" fmla="*/ 3521 w 10000"/>
                <a:gd name="connsiteY176" fmla="*/ 9560 h 10000"/>
                <a:gd name="connsiteX177" fmla="*/ 3424 w 10000"/>
                <a:gd name="connsiteY177" fmla="*/ 9560 h 10000"/>
                <a:gd name="connsiteX178" fmla="*/ 3288 w 10000"/>
                <a:gd name="connsiteY178" fmla="*/ 9513 h 10000"/>
                <a:gd name="connsiteX179" fmla="*/ 3132 w 10000"/>
                <a:gd name="connsiteY179" fmla="*/ 9435 h 10000"/>
                <a:gd name="connsiteX180" fmla="*/ 2938 w 10000"/>
                <a:gd name="connsiteY180" fmla="*/ 9356 h 10000"/>
                <a:gd name="connsiteX181" fmla="*/ 2724 w 10000"/>
                <a:gd name="connsiteY181" fmla="*/ 9309 h 10000"/>
                <a:gd name="connsiteX182" fmla="*/ 2432 w 10000"/>
                <a:gd name="connsiteY182" fmla="*/ 9278 h 10000"/>
                <a:gd name="connsiteX183" fmla="*/ 2393 w 10000"/>
                <a:gd name="connsiteY183" fmla="*/ 9199 h 10000"/>
                <a:gd name="connsiteX184" fmla="*/ 2276 w 10000"/>
                <a:gd name="connsiteY184" fmla="*/ 9152 h 10000"/>
                <a:gd name="connsiteX185" fmla="*/ 2179 w 10000"/>
                <a:gd name="connsiteY185" fmla="*/ 9074 h 10000"/>
                <a:gd name="connsiteX186" fmla="*/ 2179 w 10000"/>
                <a:gd name="connsiteY186" fmla="*/ 8948 h 10000"/>
                <a:gd name="connsiteX187" fmla="*/ 2179 w 10000"/>
                <a:gd name="connsiteY187" fmla="*/ 8870 h 10000"/>
                <a:gd name="connsiteX188" fmla="*/ 2237 w 10000"/>
                <a:gd name="connsiteY188" fmla="*/ 8838 h 10000"/>
                <a:gd name="connsiteX189" fmla="*/ 2335 w 10000"/>
                <a:gd name="connsiteY189" fmla="*/ 8791 h 10000"/>
                <a:gd name="connsiteX190" fmla="*/ 2490 w 10000"/>
                <a:gd name="connsiteY190" fmla="*/ 8791 h 10000"/>
                <a:gd name="connsiteX191" fmla="*/ 2529 w 10000"/>
                <a:gd name="connsiteY191" fmla="*/ 8744 h 10000"/>
                <a:gd name="connsiteX192" fmla="*/ 2626 w 10000"/>
                <a:gd name="connsiteY192" fmla="*/ 8713 h 10000"/>
                <a:gd name="connsiteX193" fmla="*/ 2685 w 10000"/>
                <a:gd name="connsiteY193" fmla="*/ 8556 h 10000"/>
                <a:gd name="connsiteX194" fmla="*/ 2626 w 10000"/>
                <a:gd name="connsiteY194" fmla="*/ 8383 h 10000"/>
                <a:gd name="connsiteX195" fmla="*/ 2588 w 10000"/>
                <a:gd name="connsiteY195" fmla="*/ 8195 h 10000"/>
                <a:gd name="connsiteX196" fmla="*/ 2432 w 10000"/>
                <a:gd name="connsiteY196" fmla="*/ 8022 h 10000"/>
                <a:gd name="connsiteX197" fmla="*/ 2393 w 10000"/>
                <a:gd name="connsiteY197" fmla="*/ 7991 h 10000"/>
                <a:gd name="connsiteX198" fmla="*/ 2335 w 10000"/>
                <a:gd name="connsiteY198" fmla="*/ 7943 h 10000"/>
                <a:gd name="connsiteX199" fmla="*/ 2393 w 10000"/>
                <a:gd name="connsiteY199" fmla="*/ 7865 h 10000"/>
                <a:gd name="connsiteX200" fmla="*/ 2432 w 10000"/>
                <a:gd name="connsiteY200" fmla="*/ 7834 h 10000"/>
                <a:gd name="connsiteX201" fmla="*/ 2490 w 10000"/>
                <a:gd name="connsiteY201" fmla="*/ 7834 h 10000"/>
                <a:gd name="connsiteX202" fmla="*/ 2588 w 10000"/>
                <a:gd name="connsiteY202" fmla="*/ 7834 h 10000"/>
                <a:gd name="connsiteX203" fmla="*/ 2685 w 10000"/>
                <a:gd name="connsiteY203" fmla="*/ 7834 h 10000"/>
                <a:gd name="connsiteX204" fmla="*/ 2782 w 10000"/>
                <a:gd name="connsiteY204" fmla="*/ 7912 h 10000"/>
                <a:gd name="connsiteX205" fmla="*/ 2938 w 10000"/>
                <a:gd name="connsiteY205" fmla="*/ 7991 h 10000"/>
                <a:gd name="connsiteX206" fmla="*/ 3074 w 10000"/>
                <a:gd name="connsiteY206" fmla="*/ 8069 h 10000"/>
                <a:gd name="connsiteX207" fmla="*/ 3230 w 10000"/>
                <a:gd name="connsiteY207" fmla="*/ 8100 h 10000"/>
                <a:gd name="connsiteX208" fmla="*/ 3230 w 10000"/>
                <a:gd name="connsiteY208" fmla="*/ 8069 h 10000"/>
                <a:gd name="connsiteX209" fmla="*/ 3288 w 10000"/>
                <a:gd name="connsiteY209" fmla="*/ 8069 h 10000"/>
                <a:gd name="connsiteX210" fmla="*/ 3327 w 10000"/>
                <a:gd name="connsiteY210" fmla="*/ 7912 h 10000"/>
                <a:gd name="connsiteX211" fmla="*/ 3327 w 10000"/>
                <a:gd name="connsiteY211" fmla="*/ 7786 h 10000"/>
                <a:gd name="connsiteX212" fmla="*/ 3327 w 10000"/>
                <a:gd name="connsiteY212" fmla="*/ 7708 h 10000"/>
                <a:gd name="connsiteX213" fmla="*/ 3230 w 10000"/>
                <a:gd name="connsiteY213" fmla="*/ 7582 h 10000"/>
                <a:gd name="connsiteX214" fmla="*/ 2977 w 10000"/>
                <a:gd name="connsiteY214" fmla="*/ 7378 h 10000"/>
                <a:gd name="connsiteX215" fmla="*/ 2685 w 10000"/>
                <a:gd name="connsiteY215" fmla="*/ 7064 h 10000"/>
                <a:gd name="connsiteX216" fmla="*/ 2724 w 10000"/>
                <a:gd name="connsiteY216" fmla="*/ 6986 h 10000"/>
                <a:gd name="connsiteX217" fmla="*/ 2782 w 10000"/>
                <a:gd name="connsiteY217" fmla="*/ 6986 h 10000"/>
                <a:gd name="connsiteX218" fmla="*/ 3035 w 10000"/>
                <a:gd name="connsiteY218" fmla="*/ 7017 h 10000"/>
                <a:gd name="connsiteX219" fmla="*/ 3230 w 10000"/>
                <a:gd name="connsiteY219" fmla="*/ 7017 h 10000"/>
                <a:gd name="connsiteX220" fmla="*/ 3288 w 10000"/>
                <a:gd name="connsiteY220" fmla="*/ 7017 h 10000"/>
                <a:gd name="connsiteX221" fmla="*/ 3288 w 10000"/>
                <a:gd name="connsiteY221" fmla="*/ 6986 h 10000"/>
                <a:gd name="connsiteX222" fmla="*/ 3171 w 10000"/>
                <a:gd name="connsiteY222" fmla="*/ 6829 h 10000"/>
                <a:gd name="connsiteX223" fmla="*/ 2977 w 10000"/>
                <a:gd name="connsiteY223" fmla="*/ 6656 h 10000"/>
                <a:gd name="connsiteX224" fmla="*/ 2840 w 10000"/>
                <a:gd name="connsiteY224" fmla="*/ 6546 h 10000"/>
                <a:gd name="connsiteX225" fmla="*/ 2588 w 10000"/>
                <a:gd name="connsiteY225" fmla="*/ 6468 h 10000"/>
                <a:gd name="connsiteX226" fmla="*/ 2335 w 10000"/>
                <a:gd name="connsiteY226" fmla="*/ 6421 h 10000"/>
                <a:gd name="connsiteX227" fmla="*/ 1634 w 10000"/>
                <a:gd name="connsiteY227" fmla="*/ 6421 h 10000"/>
                <a:gd name="connsiteX228" fmla="*/ 1245 w 10000"/>
                <a:gd name="connsiteY228" fmla="*/ 6374 h 10000"/>
                <a:gd name="connsiteX229" fmla="*/ 1089 w 10000"/>
                <a:gd name="connsiteY229" fmla="*/ 6421 h 10000"/>
                <a:gd name="connsiteX230" fmla="*/ 992 w 10000"/>
                <a:gd name="connsiteY230" fmla="*/ 6468 h 10000"/>
                <a:gd name="connsiteX231" fmla="*/ 934 w 10000"/>
                <a:gd name="connsiteY231" fmla="*/ 6546 h 10000"/>
                <a:gd name="connsiteX232" fmla="*/ 798 w 10000"/>
                <a:gd name="connsiteY232" fmla="*/ 6295 h 10000"/>
                <a:gd name="connsiteX233" fmla="*/ 642 w 10000"/>
                <a:gd name="connsiteY233" fmla="*/ 6217 h 10000"/>
                <a:gd name="connsiteX234" fmla="*/ 447 w 10000"/>
                <a:gd name="connsiteY234" fmla="*/ 6138 h 10000"/>
                <a:gd name="connsiteX235" fmla="*/ 195 w 10000"/>
                <a:gd name="connsiteY235" fmla="*/ 5934 h 10000"/>
                <a:gd name="connsiteX236" fmla="*/ 97 w 10000"/>
                <a:gd name="connsiteY236" fmla="*/ 5824 h 10000"/>
                <a:gd name="connsiteX237" fmla="*/ 97 w 10000"/>
                <a:gd name="connsiteY237" fmla="*/ 5699 h 10000"/>
                <a:gd name="connsiteX238" fmla="*/ 195 w 10000"/>
                <a:gd name="connsiteY238" fmla="*/ 5777 h 10000"/>
                <a:gd name="connsiteX239" fmla="*/ 292 w 10000"/>
                <a:gd name="connsiteY239" fmla="*/ 5824 h 10000"/>
                <a:gd name="connsiteX240" fmla="*/ 447 w 10000"/>
                <a:gd name="connsiteY240" fmla="*/ 5856 h 10000"/>
                <a:gd name="connsiteX241" fmla="*/ 584 w 10000"/>
                <a:gd name="connsiteY241" fmla="*/ 5856 h 10000"/>
                <a:gd name="connsiteX242" fmla="*/ 700 w 10000"/>
                <a:gd name="connsiteY242" fmla="*/ 5824 h 10000"/>
                <a:gd name="connsiteX243" fmla="*/ 1187 w 10000"/>
                <a:gd name="connsiteY243" fmla="*/ 5824 h 10000"/>
                <a:gd name="connsiteX244" fmla="*/ 1342 w 10000"/>
                <a:gd name="connsiteY244" fmla="*/ 5651 h 10000"/>
                <a:gd name="connsiteX245" fmla="*/ 1381 w 10000"/>
                <a:gd name="connsiteY245" fmla="*/ 5573 h 10000"/>
                <a:gd name="connsiteX246" fmla="*/ 1498 w 10000"/>
                <a:gd name="connsiteY246" fmla="*/ 5573 h 10000"/>
                <a:gd name="connsiteX247" fmla="*/ 1537 w 10000"/>
                <a:gd name="connsiteY247" fmla="*/ 5573 h 10000"/>
                <a:gd name="connsiteX248" fmla="*/ 1595 w 10000"/>
                <a:gd name="connsiteY248" fmla="*/ 5651 h 10000"/>
                <a:gd name="connsiteX249" fmla="*/ 1693 w 10000"/>
                <a:gd name="connsiteY249" fmla="*/ 5824 h 10000"/>
                <a:gd name="connsiteX250" fmla="*/ 1732 w 10000"/>
                <a:gd name="connsiteY250" fmla="*/ 5981 h 10000"/>
                <a:gd name="connsiteX251" fmla="*/ 1829 w 10000"/>
                <a:gd name="connsiteY251" fmla="*/ 6060 h 10000"/>
                <a:gd name="connsiteX252" fmla="*/ 1946 w 10000"/>
                <a:gd name="connsiteY252" fmla="*/ 6060 h 10000"/>
                <a:gd name="connsiteX253" fmla="*/ 2043 w 10000"/>
                <a:gd name="connsiteY253" fmla="*/ 6060 h 10000"/>
                <a:gd name="connsiteX254" fmla="*/ 2082 w 10000"/>
                <a:gd name="connsiteY254" fmla="*/ 6013 h 10000"/>
                <a:gd name="connsiteX255" fmla="*/ 2179 w 10000"/>
                <a:gd name="connsiteY255" fmla="*/ 5856 h 10000"/>
                <a:gd name="connsiteX256" fmla="*/ 2237 w 10000"/>
                <a:gd name="connsiteY256" fmla="*/ 5542 h 10000"/>
                <a:gd name="connsiteX257" fmla="*/ 2335 w 10000"/>
                <a:gd name="connsiteY257" fmla="*/ 5463 h 10000"/>
                <a:gd name="connsiteX258" fmla="*/ 2432 w 10000"/>
                <a:gd name="connsiteY258" fmla="*/ 5463 h 10000"/>
                <a:gd name="connsiteX259" fmla="*/ 2529 w 10000"/>
                <a:gd name="connsiteY259" fmla="*/ 5416 h 10000"/>
                <a:gd name="connsiteX260" fmla="*/ 2588 w 10000"/>
                <a:gd name="connsiteY260" fmla="*/ 5338 h 10000"/>
                <a:gd name="connsiteX261" fmla="*/ 2529 w 10000"/>
                <a:gd name="connsiteY261" fmla="*/ 5259 h 10000"/>
                <a:gd name="connsiteX262" fmla="*/ 2490 w 10000"/>
                <a:gd name="connsiteY262" fmla="*/ 5212 h 10000"/>
                <a:gd name="connsiteX263" fmla="*/ 2432 w 10000"/>
                <a:gd name="connsiteY263" fmla="*/ 5181 h 10000"/>
                <a:gd name="connsiteX264" fmla="*/ 2432 w 10000"/>
                <a:gd name="connsiteY264" fmla="*/ 5133 h 10000"/>
                <a:gd name="connsiteX265" fmla="*/ 2432 w 10000"/>
                <a:gd name="connsiteY265" fmla="*/ 5055 h 10000"/>
                <a:gd name="connsiteX266" fmla="*/ 2490 w 10000"/>
                <a:gd name="connsiteY266" fmla="*/ 5024 h 10000"/>
                <a:gd name="connsiteX267" fmla="*/ 2685 w 10000"/>
                <a:gd name="connsiteY267" fmla="*/ 5024 h 10000"/>
                <a:gd name="connsiteX268" fmla="*/ 2840 w 10000"/>
                <a:gd name="connsiteY268" fmla="*/ 5024 h 10000"/>
                <a:gd name="connsiteX269" fmla="*/ 2879 w 10000"/>
                <a:gd name="connsiteY269" fmla="*/ 4976 h 10000"/>
                <a:gd name="connsiteX270" fmla="*/ 2938 w 10000"/>
                <a:gd name="connsiteY270" fmla="*/ 4898 h 10000"/>
                <a:gd name="connsiteX271" fmla="*/ 2879 w 10000"/>
                <a:gd name="connsiteY271" fmla="*/ 4851 h 10000"/>
                <a:gd name="connsiteX272" fmla="*/ 2840 w 10000"/>
                <a:gd name="connsiteY272" fmla="*/ 4772 h 10000"/>
                <a:gd name="connsiteX273" fmla="*/ 2782 w 10000"/>
                <a:gd name="connsiteY273" fmla="*/ 4741 h 10000"/>
                <a:gd name="connsiteX274" fmla="*/ 2782 w 10000"/>
                <a:gd name="connsiteY274" fmla="*/ 4694 h 10000"/>
                <a:gd name="connsiteX275" fmla="*/ 2840 w 10000"/>
                <a:gd name="connsiteY275" fmla="*/ 4647 h 10000"/>
                <a:gd name="connsiteX276" fmla="*/ 2879 w 10000"/>
                <a:gd name="connsiteY276" fmla="*/ 4615 h 10000"/>
                <a:gd name="connsiteX277" fmla="*/ 3074 w 10000"/>
                <a:gd name="connsiteY277" fmla="*/ 4568 h 10000"/>
                <a:gd name="connsiteX278" fmla="*/ 2782 w 10000"/>
                <a:gd name="connsiteY278" fmla="*/ 4411 h 10000"/>
                <a:gd name="connsiteX279" fmla="*/ 2685 w 10000"/>
                <a:gd name="connsiteY279" fmla="*/ 4333 h 10000"/>
                <a:gd name="connsiteX280" fmla="*/ 2626 w 10000"/>
                <a:gd name="connsiteY280" fmla="*/ 4207 h 10000"/>
                <a:gd name="connsiteX281" fmla="*/ 2626 w 10000"/>
                <a:gd name="connsiteY281" fmla="*/ 3925 h 10000"/>
                <a:gd name="connsiteX282" fmla="*/ 2626 w 10000"/>
                <a:gd name="connsiteY282" fmla="*/ 3815 h 10000"/>
                <a:gd name="connsiteX283" fmla="*/ 2588 w 10000"/>
                <a:gd name="connsiteY283" fmla="*/ 3689 h 10000"/>
                <a:gd name="connsiteX284" fmla="*/ 2490 w 10000"/>
                <a:gd name="connsiteY284" fmla="*/ 3658 h 10000"/>
                <a:gd name="connsiteX285" fmla="*/ 2276 w 10000"/>
                <a:gd name="connsiteY285" fmla="*/ 3564 h 10000"/>
                <a:gd name="connsiteX286" fmla="*/ 2043 w 10000"/>
                <a:gd name="connsiteY286" fmla="*/ 3375 h 10000"/>
                <a:gd name="connsiteX287" fmla="*/ 1984 w 10000"/>
                <a:gd name="connsiteY287" fmla="*/ 3297 h 10000"/>
                <a:gd name="connsiteX288" fmla="*/ 1946 w 10000"/>
                <a:gd name="connsiteY288" fmla="*/ 3203 h 10000"/>
                <a:gd name="connsiteX289" fmla="*/ 1829 w 10000"/>
                <a:gd name="connsiteY289" fmla="*/ 3203 h 10000"/>
                <a:gd name="connsiteX290" fmla="*/ 1693 w 10000"/>
                <a:gd name="connsiteY290" fmla="*/ 3203 h 10000"/>
                <a:gd name="connsiteX291" fmla="*/ 1634 w 10000"/>
                <a:gd name="connsiteY291" fmla="*/ 3250 h 10000"/>
                <a:gd name="connsiteX292" fmla="*/ 1537 w 10000"/>
                <a:gd name="connsiteY292" fmla="*/ 3250 h 10000"/>
                <a:gd name="connsiteX293" fmla="*/ 1342 w 10000"/>
                <a:gd name="connsiteY293" fmla="*/ 3171 h 10000"/>
                <a:gd name="connsiteX294" fmla="*/ 1089 w 10000"/>
                <a:gd name="connsiteY294" fmla="*/ 3014 h 10000"/>
                <a:gd name="connsiteX295" fmla="*/ 934 w 10000"/>
                <a:gd name="connsiteY295" fmla="*/ 2967 h 10000"/>
                <a:gd name="connsiteX296" fmla="*/ 739 w 10000"/>
                <a:gd name="connsiteY296" fmla="*/ 2920 h 10000"/>
                <a:gd name="connsiteX297" fmla="*/ 642 w 10000"/>
                <a:gd name="connsiteY297" fmla="*/ 2841 h 10000"/>
                <a:gd name="connsiteX298" fmla="*/ 486 w 10000"/>
                <a:gd name="connsiteY298" fmla="*/ 2684 h 10000"/>
                <a:gd name="connsiteX299" fmla="*/ 292 w 10000"/>
                <a:gd name="connsiteY299" fmla="*/ 2402 h 10000"/>
                <a:gd name="connsiteX300" fmla="*/ 97 w 10000"/>
                <a:gd name="connsiteY300" fmla="*/ 2009 h 10000"/>
                <a:gd name="connsiteX301" fmla="*/ 39 w 10000"/>
                <a:gd name="connsiteY301" fmla="*/ 1601 h 10000"/>
                <a:gd name="connsiteX302" fmla="*/ 0 w 10000"/>
                <a:gd name="connsiteY302" fmla="*/ 1397 h 10000"/>
                <a:gd name="connsiteX303" fmla="*/ 39 w 10000"/>
                <a:gd name="connsiteY303" fmla="*/ 1193 h 10000"/>
                <a:gd name="connsiteX304" fmla="*/ 97 w 10000"/>
                <a:gd name="connsiteY304" fmla="*/ 1036 h 10000"/>
                <a:gd name="connsiteX305" fmla="*/ 136 w 10000"/>
                <a:gd name="connsiteY305" fmla="*/ 926 h 10000"/>
                <a:gd name="connsiteX306" fmla="*/ 253 w 10000"/>
                <a:gd name="connsiteY306" fmla="*/ 832 h 10000"/>
                <a:gd name="connsiteX307" fmla="*/ 389 w 10000"/>
                <a:gd name="connsiteY307" fmla="*/ 801 h 10000"/>
                <a:gd name="connsiteX308" fmla="*/ 642 w 10000"/>
                <a:gd name="connsiteY308" fmla="*/ 801 h 10000"/>
                <a:gd name="connsiteX309" fmla="*/ 934 w 10000"/>
                <a:gd name="connsiteY309" fmla="*/ 754 h 10000"/>
                <a:gd name="connsiteX310" fmla="*/ 1148 w 10000"/>
                <a:gd name="connsiteY310" fmla="*/ 722 h 10000"/>
                <a:gd name="connsiteX311" fmla="*/ 1245 w 10000"/>
                <a:gd name="connsiteY311" fmla="*/ 675 h 10000"/>
                <a:gd name="connsiteX312" fmla="*/ 1342 w 10000"/>
                <a:gd name="connsiteY312" fmla="*/ 597 h 10000"/>
                <a:gd name="connsiteX313" fmla="*/ 1440 w 10000"/>
                <a:gd name="connsiteY313" fmla="*/ 565 h 10000"/>
                <a:gd name="connsiteX314" fmla="*/ 1537 w 10000"/>
                <a:gd name="connsiteY314" fmla="*/ 565 h 10000"/>
                <a:gd name="connsiteX315" fmla="*/ 1946 w 10000"/>
                <a:gd name="connsiteY315" fmla="*/ 565 h 10000"/>
                <a:gd name="connsiteX316" fmla="*/ 2276 w 10000"/>
                <a:gd name="connsiteY316" fmla="*/ 597 h 10000"/>
                <a:gd name="connsiteX317" fmla="*/ 2490 w 10000"/>
                <a:gd name="connsiteY317" fmla="*/ 644 h 10000"/>
                <a:gd name="connsiteX318" fmla="*/ 2626 w 10000"/>
                <a:gd name="connsiteY318" fmla="*/ 722 h 10000"/>
                <a:gd name="connsiteX319" fmla="*/ 2782 w 10000"/>
                <a:gd name="connsiteY319" fmla="*/ 754 h 10000"/>
                <a:gd name="connsiteX320" fmla="*/ 2879 w 10000"/>
                <a:gd name="connsiteY320" fmla="*/ 722 h 10000"/>
                <a:gd name="connsiteX321" fmla="*/ 2977 w 10000"/>
                <a:gd name="connsiteY321" fmla="*/ 675 h 10000"/>
                <a:gd name="connsiteX322" fmla="*/ 3132 w 10000"/>
                <a:gd name="connsiteY322" fmla="*/ 597 h 10000"/>
                <a:gd name="connsiteX323" fmla="*/ 3288 w 10000"/>
                <a:gd name="connsiteY323" fmla="*/ 518 h 10000"/>
                <a:gd name="connsiteX324" fmla="*/ 3482 w 10000"/>
                <a:gd name="connsiteY324" fmla="*/ 283 h 10000"/>
                <a:gd name="connsiteX325" fmla="*/ 3638 w 10000"/>
                <a:gd name="connsiteY325" fmla="*/ 78 h 10000"/>
                <a:gd name="connsiteX326" fmla="*/ 3735 w 10000"/>
                <a:gd name="connsiteY326" fmla="*/ 0 h 10000"/>
                <a:gd name="connsiteX327" fmla="*/ 3638 w 10000"/>
                <a:gd name="connsiteY327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18 w 10000"/>
                <a:gd name="connsiteY40" fmla="*/ 3250 h 10000"/>
                <a:gd name="connsiteX41" fmla="*/ 7354 w 10000"/>
                <a:gd name="connsiteY41" fmla="*/ 3250 h 10000"/>
                <a:gd name="connsiteX42" fmla="*/ 7412 w 10000"/>
                <a:gd name="connsiteY42" fmla="*/ 3297 h 10000"/>
                <a:gd name="connsiteX43" fmla="*/ 7568 w 10000"/>
                <a:gd name="connsiteY43" fmla="*/ 3375 h 10000"/>
                <a:gd name="connsiteX44" fmla="*/ 7665 w 10000"/>
                <a:gd name="connsiteY44" fmla="*/ 3454 h 10000"/>
                <a:gd name="connsiteX45" fmla="*/ 7704 w 10000"/>
                <a:gd name="connsiteY45" fmla="*/ 3485 h 10000"/>
                <a:gd name="connsiteX46" fmla="*/ 7802 w 10000"/>
                <a:gd name="connsiteY46" fmla="*/ 3485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405 w 10000"/>
                <a:gd name="connsiteY125" fmla="*/ 9560 h 10000"/>
                <a:gd name="connsiteX126" fmla="*/ 8249 w 10000"/>
                <a:gd name="connsiteY126" fmla="*/ 9435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802 w 10000"/>
                <a:gd name="connsiteY131" fmla="*/ 9356 h 10000"/>
                <a:gd name="connsiteX132" fmla="*/ 7704 w 10000"/>
                <a:gd name="connsiteY132" fmla="*/ 9309 h 10000"/>
                <a:gd name="connsiteX133" fmla="*/ 7802 w 10000"/>
                <a:gd name="connsiteY133" fmla="*/ 9761 h 10000"/>
                <a:gd name="connsiteX134" fmla="*/ 7538 w 10000"/>
                <a:gd name="connsiteY134" fmla="*/ 9639 h 10000"/>
                <a:gd name="connsiteX135" fmla="*/ 7417 w 10000"/>
                <a:gd name="connsiteY135" fmla="*/ 9522 h 10000"/>
                <a:gd name="connsiteX136" fmla="*/ 7354 w 10000"/>
                <a:gd name="connsiteY136" fmla="*/ 9231 h 10000"/>
                <a:gd name="connsiteX137" fmla="*/ 7399 w 10000"/>
                <a:gd name="connsiteY137" fmla="*/ 9465 h 10000"/>
                <a:gd name="connsiteX138" fmla="*/ 7004 w 10000"/>
                <a:gd name="connsiteY138" fmla="*/ 9435 h 10000"/>
                <a:gd name="connsiteX139" fmla="*/ 7004 w 10000"/>
                <a:gd name="connsiteY139" fmla="*/ 9388 h 10000"/>
                <a:gd name="connsiteX140" fmla="*/ 6965 w 10000"/>
                <a:gd name="connsiteY140" fmla="*/ 9388 h 10000"/>
                <a:gd name="connsiteX141" fmla="*/ 6809 w 10000"/>
                <a:gd name="connsiteY141" fmla="*/ 9309 h 10000"/>
                <a:gd name="connsiteX142" fmla="*/ 6615 w 10000"/>
                <a:gd name="connsiteY142" fmla="*/ 9231 h 10000"/>
                <a:gd name="connsiteX143" fmla="*/ 6167 w 10000"/>
                <a:gd name="connsiteY143" fmla="*/ 9199 h 10000"/>
                <a:gd name="connsiteX144" fmla="*/ 6109 w 10000"/>
                <a:gd name="connsiteY144" fmla="*/ 9152 h 10000"/>
                <a:gd name="connsiteX145" fmla="*/ 5817 w 10000"/>
                <a:gd name="connsiteY145" fmla="*/ 9074 h 10000"/>
                <a:gd name="connsiteX146" fmla="*/ 5661 w 10000"/>
                <a:gd name="connsiteY146" fmla="*/ 9027 h 10000"/>
                <a:gd name="connsiteX147" fmla="*/ 5564 w 10000"/>
                <a:gd name="connsiteY147" fmla="*/ 8917 h 10000"/>
                <a:gd name="connsiteX148" fmla="*/ 5214 w 10000"/>
                <a:gd name="connsiteY148" fmla="*/ 8744 h 10000"/>
                <a:gd name="connsiteX149" fmla="*/ 4864 w 10000"/>
                <a:gd name="connsiteY149" fmla="*/ 8634 h 10000"/>
                <a:gd name="connsiteX150" fmla="*/ 4825 w 10000"/>
                <a:gd name="connsiteY150" fmla="*/ 8666 h 10000"/>
                <a:gd name="connsiteX151" fmla="*/ 4864 w 10000"/>
                <a:gd name="connsiteY151" fmla="*/ 8634 h 10000"/>
                <a:gd name="connsiteX152" fmla="*/ 4767 w 10000"/>
                <a:gd name="connsiteY152" fmla="*/ 8666 h 10000"/>
                <a:gd name="connsiteX153" fmla="*/ 4669 w 10000"/>
                <a:gd name="connsiteY153" fmla="*/ 8666 h 10000"/>
                <a:gd name="connsiteX154" fmla="*/ 4475 w 10000"/>
                <a:gd name="connsiteY154" fmla="*/ 8587 h 10000"/>
                <a:gd name="connsiteX155" fmla="*/ 4377 w 10000"/>
                <a:gd name="connsiteY155" fmla="*/ 8556 h 10000"/>
                <a:gd name="connsiteX156" fmla="*/ 4319 w 10000"/>
                <a:gd name="connsiteY156" fmla="*/ 8556 h 10000"/>
                <a:gd name="connsiteX157" fmla="*/ 4222 w 10000"/>
                <a:gd name="connsiteY157" fmla="*/ 8587 h 10000"/>
                <a:gd name="connsiteX158" fmla="*/ 4183 w 10000"/>
                <a:gd name="connsiteY158" fmla="*/ 8666 h 10000"/>
                <a:gd name="connsiteX159" fmla="*/ 4183 w 10000"/>
                <a:gd name="connsiteY159" fmla="*/ 8791 h 10000"/>
                <a:gd name="connsiteX160" fmla="*/ 4086 w 10000"/>
                <a:gd name="connsiteY160" fmla="*/ 9309 h 10000"/>
                <a:gd name="connsiteX161" fmla="*/ 4125 w 10000"/>
                <a:gd name="connsiteY161" fmla="*/ 9388 h 10000"/>
                <a:gd name="connsiteX162" fmla="*/ 4280 w 10000"/>
                <a:gd name="connsiteY162" fmla="*/ 9466 h 10000"/>
                <a:gd name="connsiteX163" fmla="*/ 4669 w 10000"/>
                <a:gd name="connsiteY163" fmla="*/ 9670 h 10000"/>
                <a:gd name="connsiteX164" fmla="*/ 4669 w 10000"/>
                <a:gd name="connsiteY164" fmla="*/ 9749 h 10000"/>
                <a:gd name="connsiteX165" fmla="*/ 4669 w 10000"/>
                <a:gd name="connsiteY165" fmla="*/ 9827 h 10000"/>
                <a:gd name="connsiteX166" fmla="*/ 4572 w 10000"/>
                <a:gd name="connsiteY166" fmla="*/ 9922 h 10000"/>
                <a:gd name="connsiteX167" fmla="*/ 4377 w 10000"/>
                <a:gd name="connsiteY167" fmla="*/ 10000 h 10000"/>
                <a:gd name="connsiteX168" fmla="*/ 4222 w 10000"/>
                <a:gd name="connsiteY168" fmla="*/ 9953 h 10000"/>
                <a:gd name="connsiteX169" fmla="*/ 4086 w 10000"/>
                <a:gd name="connsiteY169" fmla="*/ 9874 h 10000"/>
                <a:gd name="connsiteX170" fmla="*/ 3930 w 10000"/>
                <a:gd name="connsiteY170" fmla="*/ 9796 h 10000"/>
                <a:gd name="connsiteX171" fmla="*/ 3930 w 10000"/>
                <a:gd name="connsiteY171" fmla="*/ 9717 h 10000"/>
                <a:gd name="connsiteX172" fmla="*/ 3930 w 10000"/>
                <a:gd name="connsiteY172" fmla="*/ 9560 h 10000"/>
                <a:gd name="connsiteX173" fmla="*/ 3872 w 10000"/>
                <a:gd name="connsiteY173" fmla="*/ 9513 h 10000"/>
                <a:gd name="connsiteX174" fmla="*/ 3833 w 10000"/>
                <a:gd name="connsiteY174" fmla="*/ 9466 h 10000"/>
                <a:gd name="connsiteX175" fmla="*/ 3774 w 10000"/>
                <a:gd name="connsiteY175" fmla="*/ 9513 h 10000"/>
                <a:gd name="connsiteX176" fmla="*/ 3521 w 10000"/>
                <a:gd name="connsiteY176" fmla="*/ 9560 h 10000"/>
                <a:gd name="connsiteX177" fmla="*/ 3424 w 10000"/>
                <a:gd name="connsiteY177" fmla="*/ 9560 h 10000"/>
                <a:gd name="connsiteX178" fmla="*/ 3288 w 10000"/>
                <a:gd name="connsiteY178" fmla="*/ 9513 h 10000"/>
                <a:gd name="connsiteX179" fmla="*/ 3132 w 10000"/>
                <a:gd name="connsiteY179" fmla="*/ 9435 h 10000"/>
                <a:gd name="connsiteX180" fmla="*/ 2938 w 10000"/>
                <a:gd name="connsiteY180" fmla="*/ 9356 h 10000"/>
                <a:gd name="connsiteX181" fmla="*/ 2724 w 10000"/>
                <a:gd name="connsiteY181" fmla="*/ 9309 h 10000"/>
                <a:gd name="connsiteX182" fmla="*/ 2432 w 10000"/>
                <a:gd name="connsiteY182" fmla="*/ 9278 h 10000"/>
                <a:gd name="connsiteX183" fmla="*/ 2393 w 10000"/>
                <a:gd name="connsiteY183" fmla="*/ 9199 h 10000"/>
                <a:gd name="connsiteX184" fmla="*/ 2276 w 10000"/>
                <a:gd name="connsiteY184" fmla="*/ 9152 h 10000"/>
                <a:gd name="connsiteX185" fmla="*/ 2179 w 10000"/>
                <a:gd name="connsiteY185" fmla="*/ 9074 h 10000"/>
                <a:gd name="connsiteX186" fmla="*/ 2179 w 10000"/>
                <a:gd name="connsiteY186" fmla="*/ 8948 h 10000"/>
                <a:gd name="connsiteX187" fmla="*/ 2179 w 10000"/>
                <a:gd name="connsiteY187" fmla="*/ 8870 h 10000"/>
                <a:gd name="connsiteX188" fmla="*/ 2237 w 10000"/>
                <a:gd name="connsiteY188" fmla="*/ 8838 h 10000"/>
                <a:gd name="connsiteX189" fmla="*/ 2335 w 10000"/>
                <a:gd name="connsiteY189" fmla="*/ 8791 h 10000"/>
                <a:gd name="connsiteX190" fmla="*/ 2490 w 10000"/>
                <a:gd name="connsiteY190" fmla="*/ 8791 h 10000"/>
                <a:gd name="connsiteX191" fmla="*/ 2529 w 10000"/>
                <a:gd name="connsiteY191" fmla="*/ 8744 h 10000"/>
                <a:gd name="connsiteX192" fmla="*/ 2626 w 10000"/>
                <a:gd name="connsiteY192" fmla="*/ 8713 h 10000"/>
                <a:gd name="connsiteX193" fmla="*/ 2685 w 10000"/>
                <a:gd name="connsiteY193" fmla="*/ 8556 h 10000"/>
                <a:gd name="connsiteX194" fmla="*/ 2626 w 10000"/>
                <a:gd name="connsiteY194" fmla="*/ 8383 h 10000"/>
                <a:gd name="connsiteX195" fmla="*/ 2588 w 10000"/>
                <a:gd name="connsiteY195" fmla="*/ 8195 h 10000"/>
                <a:gd name="connsiteX196" fmla="*/ 2432 w 10000"/>
                <a:gd name="connsiteY196" fmla="*/ 8022 h 10000"/>
                <a:gd name="connsiteX197" fmla="*/ 2393 w 10000"/>
                <a:gd name="connsiteY197" fmla="*/ 7991 h 10000"/>
                <a:gd name="connsiteX198" fmla="*/ 2335 w 10000"/>
                <a:gd name="connsiteY198" fmla="*/ 7943 h 10000"/>
                <a:gd name="connsiteX199" fmla="*/ 2393 w 10000"/>
                <a:gd name="connsiteY199" fmla="*/ 7865 h 10000"/>
                <a:gd name="connsiteX200" fmla="*/ 2432 w 10000"/>
                <a:gd name="connsiteY200" fmla="*/ 7834 h 10000"/>
                <a:gd name="connsiteX201" fmla="*/ 2490 w 10000"/>
                <a:gd name="connsiteY201" fmla="*/ 7834 h 10000"/>
                <a:gd name="connsiteX202" fmla="*/ 2588 w 10000"/>
                <a:gd name="connsiteY202" fmla="*/ 7834 h 10000"/>
                <a:gd name="connsiteX203" fmla="*/ 2685 w 10000"/>
                <a:gd name="connsiteY203" fmla="*/ 7834 h 10000"/>
                <a:gd name="connsiteX204" fmla="*/ 2782 w 10000"/>
                <a:gd name="connsiteY204" fmla="*/ 7912 h 10000"/>
                <a:gd name="connsiteX205" fmla="*/ 2938 w 10000"/>
                <a:gd name="connsiteY205" fmla="*/ 7991 h 10000"/>
                <a:gd name="connsiteX206" fmla="*/ 3074 w 10000"/>
                <a:gd name="connsiteY206" fmla="*/ 8069 h 10000"/>
                <a:gd name="connsiteX207" fmla="*/ 3230 w 10000"/>
                <a:gd name="connsiteY207" fmla="*/ 8100 h 10000"/>
                <a:gd name="connsiteX208" fmla="*/ 3230 w 10000"/>
                <a:gd name="connsiteY208" fmla="*/ 8069 h 10000"/>
                <a:gd name="connsiteX209" fmla="*/ 3288 w 10000"/>
                <a:gd name="connsiteY209" fmla="*/ 8069 h 10000"/>
                <a:gd name="connsiteX210" fmla="*/ 3327 w 10000"/>
                <a:gd name="connsiteY210" fmla="*/ 7912 h 10000"/>
                <a:gd name="connsiteX211" fmla="*/ 3327 w 10000"/>
                <a:gd name="connsiteY211" fmla="*/ 7786 h 10000"/>
                <a:gd name="connsiteX212" fmla="*/ 3327 w 10000"/>
                <a:gd name="connsiteY212" fmla="*/ 7708 h 10000"/>
                <a:gd name="connsiteX213" fmla="*/ 3230 w 10000"/>
                <a:gd name="connsiteY213" fmla="*/ 7582 h 10000"/>
                <a:gd name="connsiteX214" fmla="*/ 2977 w 10000"/>
                <a:gd name="connsiteY214" fmla="*/ 7378 h 10000"/>
                <a:gd name="connsiteX215" fmla="*/ 2685 w 10000"/>
                <a:gd name="connsiteY215" fmla="*/ 7064 h 10000"/>
                <a:gd name="connsiteX216" fmla="*/ 2724 w 10000"/>
                <a:gd name="connsiteY216" fmla="*/ 6986 h 10000"/>
                <a:gd name="connsiteX217" fmla="*/ 2782 w 10000"/>
                <a:gd name="connsiteY217" fmla="*/ 6986 h 10000"/>
                <a:gd name="connsiteX218" fmla="*/ 3035 w 10000"/>
                <a:gd name="connsiteY218" fmla="*/ 7017 h 10000"/>
                <a:gd name="connsiteX219" fmla="*/ 3230 w 10000"/>
                <a:gd name="connsiteY219" fmla="*/ 7017 h 10000"/>
                <a:gd name="connsiteX220" fmla="*/ 3288 w 10000"/>
                <a:gd name="connsiteY220" fmla="*/ 7017 h 10000"/>
                <a:gd name="connsiteX221" fmla="*/ 3288 w 10000"/>
                <a:gd name="connsiteY221" fmla="*/ 6986 h 10000"/>
                <a:gd name="connsiteX222" fmla="*/ 3171 w 10000"/>
                <a:gd name="connsiteY222" fmla="*/ 6829 h 10000"/>
                <a:gd name="connsiteX223" fmla="*/ 2977 w 10000"/>
                <a:gd name="connsiteY223" fmla="*/ 6656 h 10000"/>
                <a:gd name="connsiteX224" fmla="*/ 2840 w 10000"/>
                <a:gd name="connsiteY224" fmla="*/ 6546 h 10000"/>
                <a:gd name="connsiteX225" fmla="*/ 2588 w 10000"/>
                <a:gd name="connsiteY225" fmla="*/ 6468 h 10000"/>
                <a:gd name="connsiteX226" fmla="*/ 2335 w 10000"/>
                <a:gd name="connsiteY226" fmla="*/ 6421 h 10000"/>
                <a:gd name="connsiteX227" fmla="*/ 1634 w 10000"/>
                <a:gd name="connsiteY227" fmla="*/ 6421 h 10000"/>
                <a:gd name="connsiteX228" fmla="*/ 1245 w 10000"/>
                <a:gd name="connsiteY228" fmla="*/ 6374 h 10000"/>
                <a:gd name="connsiteX229" fmla="*/ 1089 w 10000"/>
                <a:gd name="connsiteY229" fmla="*/ 6421 h 10000"/>
                <a:gd name="connsiteX230" fmla="*/ 992 w 10000"/>
                <a:gd name="connsiteY230" fmla="*/ 6468 h 10000"/>
                <a:gd name="connsiteX231" fmla="*/ 934 w 10000"/>
                <a:gd name="connsiteY231" fmla="*/ 6546 h 10000"/>
                <a:gd name="connsiteX232" fmla="*/ 798 w 10000"/>
                <a:gd name="connsiteY232" fmla="*/ 6295 h 10000"/>
                <a:gd name="connsiteX233" fmla="*/ 642 w 10000"/>
                <a:gd name="connsiteY233" fmla="*/ 6217 h 10000"/>
                <a:gd name="connsiteX234" fmla="*/ 447 w 10000"/>
                <a:gd name="connsiteY234" fmla="*/ 6138 h 10000"/>
                <a:gd name="connsiteX235" fmla="*/ 195 w 10000"/>
                <a:gd name="connsiteY235" fmla="*/ 5934 h 10000"/>
                <a:gd name="connsiteX236" fmla="*/ 97 w 10000"/>
                <a:gd name="connsiteY236" fmla="*/ 5824 h 10000"/>
                <a:gd name="connsiteX237" fmla="*/ 97 w 10000"/>
                <a:gd name="connsiteY237" fmla="*/ 5699 h 10000"/>
                <a:gd name="connsiteX238" fmla="*/ 195 w 10000"/>
                <a:gd name="connsiteY238" fmla="*/ 5777 h 10000"/>
                <a:gd name="connsiteX239" fmla="*/ 292 w 10000"/>
                <a:gd name="connsiteY239" fmla="*/ 5824 h 10000"/>
                <a:gd name="connsiteX240" fmla="*/ 447 w 10000"/>
                <a:gd name="connsiteY240" fmla="*/ 5856 h 10000"/>
                <a:gd name="connsiteX241" fmla="*/ 584 w 10000"/>
                <a:gd name="connsiteY241" fmla="*/ 5856 h 10000"/>
                <a:gd name="connsiteX242" fmla="*/ 700 w 10000"/>
                <a:gd name="connsiteY242" fmla="*/ 5824 h 10000"/>
                <a:gd name="connsiteX243" fmla="*/ 1187 w 10000"/>
                <a:gd name="connsiteY243" fmla="*/ 5824 h 10000"/>
                <a:gd name="connsiteX244" fmla="*/ 1342 w 10000"/>
                <a:gd name="connsiteY244" fmla="*/ 5651 h 10000"/>
                <a:gd name="connsiteX245" fmla="*/ 1381 w 10000"/>
                <a:gd name="connsiteY245" fmla="*/ 5573 h 10000"/>
                <a:gd name="connsiteX246" fmla="*/ 1498 w 10000"/>
                <a:gd name="connsiteY246" fmla="*/ 5573 h 10000"/>
                <a:gd name="connsiteX247" fmla="*/ 1537 w 10000"/>
                <a:gd name="connsiteY247" fmla="*/ 5573 h 10000"/>
                <a:gd name="connsiteX248" fmla="*/ 1595 w 10000"/>
                <a:gd name="connsiteY248" fmla="*/ 5651 h 10000"/>
                <a:gd name="connsiteX249" fmla="*/ 1693 w 10000"/>
                <a:gd name="connsiteY249" fmla="*/ 5824 h 10000"/>
                <a:gd name="connsiteX250" fmla="*/ 1732 w 10000"/>
                <a:gd name="connsiteY250" fmla="*/ 5981 h 10000"/>
                <a:gd name="connsiteX251" fmla="*/ 1829 w 10000"/>
                <a:gd name="connsiteY251" fmla="*/ 6060 h 10000"/>
                <a:gd name="connsiteX252" fmla="*/ 1946 w 10000"/>
                <a:gd name="connsiteY252" fmla="*/ 6060 h 10000"/>
                <a:gd name="connsiteX253" fmla="*/ 2043 w 10000"/>
                <a:gd name="connsiteY253" fmla="*/ 6060 h 10000"/>
                <a:gd name="connsiteX254" fmla="*/ 2082 w 10000"/>
                <a:gd name="connsiteY254" fmla="*/ 6013 h 10000"/>
                <a:gd name="connsiteX255" fmla="*/ 2179 w 10000"/>
                <a:gd name="connsiteY255" fmla="*/ 5856 h 10000"/>
                <a:gd name="connsiteX256" fmla="*/ 2237 w 10000"/>
                <a:gd name="connsiteY256" fmla="*/ 5542 h 10000"/>
                <a:gd name="connsiteX257" fmla="*/ 2335 w 10000"/>
                <a:gd name="connsiteY257" fmla="*/ 5463 h 10000"/>
                <a:gd name="connsiteX258" fmla="*/ 2432 w 10000"/>
                <a:gd name="connsiteY258" fmla="*/ 5463 h 10000"/>
                <a:gd name="connsiteX259" fmla="*/ 2529 w 10000"/>
                <a:gd name="connsiteY259" fmla="*/ 5416 h 10000"/>
                <a:gd name="connsiteX260" fmla="*/ 2588 w 10000"/>
                <a:gd name="connsiteY260" fmla="*/ 5338 h 10000"/>
                <a:gd name="connsiteX261" fmla="*/ 2529 w 10000"/>
                <a:gd name="connsiteY261" fmla="*/ 5259 h 10000"/>
                <a:gd name="connsiteX262" fmla="*/ 2490 w 10000"/>
                <a:gd name="connsiteY262" fmla="*/ 5212 h 10000"/>
                <a:gd name="connsiteX263" fmla="*/ 2432 w 10000"/>
                <a:gd name="connsiteY263" fmla="*/ 5181 h 10000"/>
                <a:gd name="connsiteX264" fmla="*/ 2432 w 10000"/>
                <a:gd name="connsiteY264" fmla="*/ 5133 h 10000"/>
                <a:gd name="connsiteX265" fmla="*/ 2432 w 10000"/>
                <a:gd name="connsiteY265" fmla="*/ 5055 h 10000"/>
                <a:gd name="connsiteX266" fmla="*/ 2490 w 10000"/>
                <a:gd name="connsiteY266" fmla="*/ 5024 h 10000"/>
                <a:gd name="connsiteX267" fmla="*/ 2685 w 10000"/>
                <a:gd name="connsiteY267" fmla="*/ 5024 h 10000"/>
                <a:gd name="connsiteX268" fmla="*/ 2840 w 10000"/>
                <a:gd name="connsiteY268" fmla="*/ 5024 h 10000"/>
                <a:gd name="connsiteX269" fmla="*/ 2879 w 10000"/>
                <a:gd name="connsiteY269" fmla="*/ 4976 h 10000"/>
                <a:gd name="connsiteX270" fmla="*/ 2938 w 10000"/>
                <a:gd name="connsiteY270" fmla="*/ 4898 h 10000"/>
                <a:gd name="connsiteX271" fmla="*/ 2879 w 10000"/>
                <a:gd name="connsiteY271" fmla="*/ 4851 h 10000"/>
                <a:gd name="connsiteX272" fmla="*/ 2840 w 10000"/>
                <a:gd name="connsiteY272" fmla="*/ 4772 h 10000"/>
                <a:gd name="connsiteX273" fmla="*/ 2782 w 10000"/>
                <a:gd name="connsiteY273" fmla="*/ 4741 h 10000"/>
                <a:gd name="connsiteX274" fmla="*/ 2782 w 10000"/>
                <a:gd name="connsiteY274" fmla="*/ 4694 h 10000"/>
                <a:gd name="connsiteX275" fmla="*/ 2840 w 10000"/>
                <a:gd name="connsiteY275" fmla="*/ 4647 h 10000"/>
                <a:gd name="connsiteX276" fmla="*/ 2879 w 10000"/>
                <a:gd name="connsiteY276" fmla="*/ 4615 h 10000"/>
                <a:gd name="connsiteX277" fmla="*/ 3074 w 10000"/>
                <a:gd name="connsiteY277" fmla="*/ 4568 h 10000"/>
                <a:gd name="connsiteX278" fmla="*/ 2782 w 10000"/>
                <a:gd name="connsiteY278" fmla="*/ 4411 h 10000"/>
                <a:gd name="connsiteX279" fmla="*/ 2685 w 10000"/>
                <a:gd name="connsiteY279" fmla="*/ 4333 h 10000"/>
                <a:gd name="connsiteX280" fmla="*/ 2626 w 10000"/>
                <a:gd name="connsiteY280" fmla="*/ 4207 h 10000"/>
                <a:gd name="connsiteX281" fmla="*/ 2626 w 10000"/>
                <a:gd name="connsiteY281" fmla="*/ 3925 h 10000"/>
                <a:gd name="connsiteX282" fmla="*/ 2626 w 10000"/>
                <a:gd name="connsiteY282" fmla="*/ 3815 h 10000"/>
                <a:gd name="connsiteX283" fmla="*/ 2588 w 10000"/>
                <a:gd name="connsiteY283" fmla="*/ 3689 h 10000"/>
                <a:gd name="connsiteX284" fmla="*/ 2490 w 10000"/>
                <a:gd name="connsiteY284" fmla="*/ 3658 h 10000"/>
                <a:gd name="connsiteX285" fmla="*/ 2276 w 10000"/>
                <a:gd name="connsiteY285" fmla="*/ 3564 h 10000"/>
                <a:gd name="connsiteX286" fmla="*/ 2043 w 10000"/>
                <a:gd name="connsiteY286" fmla="*/ 3375 h 10000"/>
                <a:gd name="connsiteX287" fmla="*/ 1984 w 10000"/>
                <a:gd name="connsiteY287" fmla="*/ 3297 h 10000"/>
                <a:gd name="connsiteX288" fmla="*/ 1946 w 10000"/>
                <a:gd name="connsiteY288" fmla="*/ 3203 h 10000"/>
                <a:gd name="connsiteX289" fmla="*/ 1829 w 10000"/>
                <a:gd name="connsiteY289" fmla="*/ 3203 h 10000"/>
                <a:gd name="connsiteX290" fmla="*/ 1693 w 10000"/>
                <a:gd name="connsiteY290" fmla="*/ 3203 h 10000"/>
                <a:gd name="connsiteX291" fmla="*/ 1634 w 10000"/>
                <a:gd name="connsiteY291" fmla="*/ 3250 h 10000"/>
                <a:gd name="connsiteX292" fmla="*/ 1537 w 10000"/>
                <a:gd name="connsiteY292" fmla="*/ 3250 h 10000"/>
                <a:gd name="connsiteX293" fmla="*/ 1342 w 10000"/>
                <a:gd name="connsiteY293" fmla="*/ 3171 h 10000"/>
                <a:gd name="connsiteX294" fmla="*/ 1089 w 10000"/>
                <a:gd name="connsiteY294" fmla="*/ 3014 h 10000"/>
                <a:gd name="connsiteX295" fmla="*/ 934 w 10000"/>
                <a:gd name="connsiteY295" fmla="*/ 2967 h 10000"/>
                <a:gd name="connsiteX296" fmla="*/ 739 w 10000"/>
                <a:gd name="connsiteY296" fmla="*/ 2920 h 10000"/>
                <a:gd name="connsiteX297" fmla="*/ 642 w 10000"/>
                <a:gd name="connsiteY297" fmla="*/ 2841 h 10000"/>
                <a:gd name="connsiteX298" fmla="*/ 486 w 10000"/>
                <a:gd name="connsiteY298" fmla="*/ 2684 h 10000"/>
                <a:gd name="connsiteX299" fmla="*/ 292 w 10000"/>
                <a:gd name="connsiteY299" fmla="*/ 2402 h 10000"/>
                <a:gd name="connsiteX300" fmla="*/ 97 w 10000"/>
                <a:gd name="connsiteY300" fmla="*/ 2009 h 10000"/>
                <a:gd name="connsiteX301" fmla="*/ 39 w 10000"/>
                <a:gd name="connsiteY301" fmla="*/ 1601 h 10000"/>
                <a:gd name="connsiteX302" fmla="*/ 0 w 10000"/>
                <a:gd name="connsiteY302" fmla="*/ 1397 h 10000"/>
                <a:gd name="connsiteX303" fmla="*/ 39 w 10000"/>
                <a:gd name="connsiteY303" fmla="*/ 1193 h 10000"/>
                <a:gd name="connsiteX304" fmla="*/ 97 w 10000"/>
                <a:gd name="connsiteY304" fmla="*/ 1036 h 10000"/>
                <a:gd name="connsiteX305" fmla="*/ 136 w 10000"/>
                <a:gd name="connsiteY305" fmla="*/ 926 h 10000"/>
                <a:gd name="connsiteX306" fmla="*/ 253 w 10000"/>
                <a:gd name="connsiteY306" fmla="*/ 832 h 10000"/>
                <a:gd name="connsiteX307" fmla="*/ 389 w 10000"/>
                <a:gd name="connsiteY307" fmla="*/ 801 h 10000"/>
                <a:gd name="connsiteX308" fmla="*/ 642 w 10000"/>
                <a:gd name="connsiteY308" fmla="*/ 801 h 10000"/>
                <a:gd name="connsiteX309" fmla="*/ 934 w 10000"/>
                <a:gd name="connsiteY309" fmla="*/ 754 h 10000"/>
                <a:gd name="connsiteX310" fmla="*/ 1148 w 10000"/>
                <a:gd name="connsiteY310" fmla="*/ 722 h 10000"/>
                <a:gd name="connsiteX311" fmla="*/ 1245 w 10000"/>
                <a:gd name="connsiteY311" fmla="*/ 675 h 10000"/>
                <a:gd name="connsiteX312" fmla="*/ 1342 w 10000"/>
                <a:gd name="connsiteY312" fmla="*/ 597 h 10000"/>
                <a:gd name="connsiteX313" fmla="*/ 1440 w 10000"/>
                <a:gd name="connsiteY313" fmla="*/ 565 h 10000"/>
                <a:gd name="connsiteX314" fmla="*/ 1537 w 10000"/>
                <a:gd name="connsiteY314" fmla="*/ 565 h 10000"/>
                <a:gd name="connsiteX315" fmla="*/ 1946 w 10000"/>
                <a:gd name="connsiteY315" fmla="*/ 565 h 10000"/>
                <a:gd name="connsiteX316" fmla="*/ 2276 w 10000"/>
                <a:gd name="connsiteY316" fmla="*/ 597 h 10000"/>
                <a:gd name="connsiteX317" fmla="*/ 2490 w 10000"/>
                <a:gd name="connsiteY317" fmla="*/ 644 h 10000"/>
                <a:gd name="connsiteX318" fmla="*/ 2626 w 10000"/>
                <a:gd name="connsiteY318" fmla="*/ 722 h 10000"/>
                <a:gd name="connsiteX319" fmla="*/ 2782 w 10000"/>
                <a:gd name="connsiteY319" fmla="*/ 754 h 10000"/>
                <a:gd name="connsiteX320" fmla="*/ 2879 w 10000"/>
                <a:gd name="connsiteY320" fmla="*/ 722 h 10000"/>
                <a:gd name="connsiteX321" fmla="*/ 2977 w 10000"/>
                <a:gd name="connsiteY321" fmla="*/ 675 h 10000"/>
                <a:gd name="connsiteX322" fmla="*/ 3132 w 10000"/>
                <a:gd name="connsiteY322" fmla="*/ 597 h 10000"/>
                <a:gd name="connsiteX323" fmla="*/ 3288 w 10000"/>
                <a:gd name="connsiteY323" fmla="*/ 518 h 10000"/>
                <a:gd name="connsiteX324" fmla="*/ 3482 w 10000"/>
                <a:gd name="connsiteY324" fmla="*/ 283 h 10000"/>
                <a:gd name="connsiteX325" fmla="*/ 3638 w 10000"/>
                <a:gd name="connsiteY325" fmla="*/ 78 h 10000"/>
                <a:gd name="connsiteX326" fmla="*/ 3735 w 10000"/>
                <a:gd name="connsiteY326" fmla="*/ 0 h 10000"/>
                <a:gd name="connsiteX327" fmla="*/ 3638 w 10000"/>
                <a:gd name="connsiteY327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18 w 10000"/>
                <a:gd name="connsiteY40" fmla="*/ 3250 h 10000"/>
                <a:gd name="connsiteX41" fmla="*/ 7354 w 10000"/>
                <a:gd name="connsiteY41" fmla="*/ 3250 h 10000"/>
                <a:gd name="connsiteX42" fmla="*/ 7412 w 10000"/>
                <a:gd name="connsiteY42" fmla="*/ 3297 h 10000"/>
                <a:gd name="connsiteX43" fmla="*/ 7568 w 10000"/>
                <a:gd name="connsiteY43" fmla="*/ 3375 h 10000"/>
                <a:gd name="connsiteX44" fmla="*/ 7665 w 10000"/>
                <a:gd name="connsiteY44" fmla="*/ 3454 h 10000"/>
                <a:gd name="connsiteX45" fmla="*/ 7704 w 10000"/>
                <a:gd name="connsiteY45" fmla="*/ 3485 h 10000"/>
                <a:gd name="connsiteX46" fmla="*/ 7802 w 10000"/>
                <a:gd name="connsiteY46" fmla="*/ 3485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249 w 10000"/>
                <a:gd name="connsiteY126" fmla="*/ 9435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802 w 10000"/>
                <a:gd name="connsiteY131" fmla="*/ 9356 h 10000"/>
                <a:gd name="connsiteX132" fmla="*/ 7704 w 10000"/>
                <a:gd name="connsiteY132" fmla="*/ 9309 h 10000"/>
                <a:gd name="connsiteX133" fmla="*/ 7802 w 10000"/>
                <a:gd name="connsiteY133" fmla="*/ 9761 h 10000"/>
                <a:gd name="connsiteX134" fmla="*/ 7538 w 10000"/>
                <a:gd name="connsiteY134" fmla="*/ 9639 h 10000"/>
                <a:gd name="connsiteX135" fmla="*/ 7417 w 10000"/>
                <a:gd name="connsiteY135" fmla="*/ 9522 h 10000"/>
                <a:gd name="connsiteX136" fmla="*/ 7354 w 10000"/>
                <a:gd name="connsiteY136" fmla="*/ 9231 h 10000"/>
                <a:gd name="connsiteX137" fmla="*/ 7399 w 10000"/>
                <a:gd name="connsiteY137" fmla="*/ 9465 h 10000"/>
                <a:gd name="connsiteX138" fmla="*/ 7004 w 10000"/>
                <a:gd name="connsiteY138" fmla="*/ 9435 h 10000"/>
                <a:gd name="connsiteX139" fmla="*/ 7004 w 10000"/>
                <a:gd name="connsiteY139" fmla="*/ 9388 h 10000"/>
                <a:gd name="connsiteX140" fmla="*/ 6965 w 10000"/>
                <a:gd name="connsiteY140" fmla="*/ 9388 h 10000"/>
                <a:gd name="connsiteX141" fmla="*/ 6809 w 10000"/>
                <a:gd name="connsiteY141" fmla="*/ 9309 h 10000"/>
                <a:gd name="connsiteX142" fmla="*/ 6615 w 10000"/>
                <a:gd name="connsiteY142" fmla="*/ 9231 h 10000"/>
                <a:gd name="connsiteX143" fmla="*/ 6167 w 10000"/>
                <a:gd name="connsiteY143" fmla="*/ 9199 h 10000"/>
                <a:gd name="connsiteX144" fmla="*/ 6109 w 10000"/>
                <a:gd name="connsiteY144" fmla="*/ 9152 h 10000"/>
                <a:gd name="connsiteX145" fmla="*/ 5817 w 10000"/>
                <a:gd name="connsiteY145" fmla="*/ 9074 h 10000"/>
                <a:gd name="connsiteX146" fmla="*/ 5661 w 10000"/>
                <a:gd name="connsiteY146" fmla="*/ 9027 h 10000"/>
                <a:gd name="connsiteX147" fmla="*/ 5564 w 10000"/>
                <a:gd name="connsiteY147" fmla="*/ 8917 h 10000"/>
                <a:gd name="connsiteX148" fmla="*/ 5214 w 10000"/>
                <a:gd name="connsiteY148" fmla="*/ 8744 h 10000"/>
                <a:gd name="connsiteX149" fmla="*/ 4864 w 10000"/>
                <a:gd name="connsiteY149" fmla="*/ 8634 h 10000"/>
                <a:gd name="connsiteX150" fmla="*/ 4825 w 10000"/>
                <a:gd name="connsiteY150" fmla="*/ 8666 h 10000"/>
                <a:gd name="connsiteX151" fmla="*/ 4864 w 10000"/>
                <a:gd name="connsiteY151" fmla="*/ 8634 h 10000"/>
                <a:gd name="connsiteX152" fmla="*/ 4767 w 10000"/>
                <a:gd name="connsiteY152" fmla="*/ 8666 h 10000"/>
                <a:gd name="connsiteX153" fmla="*/ 4669 w 10000"/>
                <a:gd name="connsiteY153" fmla="*/ 8666 h 10000"/>
                <a:gd name="connsiteX154" fmla="*/ 4475 w 10000"/>
                <a:gd name="connsiteY154" fmla="*/ 8587 h 10000"/>
                <a:gd name="connsiteX155" fmla="*/ 4377 w 10000"/>
                <a:gd name="connsiteY155" fmla="*/ 8556 h 10000"/>
                <a:gd name="connsiteX156" fmla="*/ 4319 w 10000"/>
                <a:gd name="connsiteY156" fmla="*/ 8556 h 10000"/>
                <a:gd name="connsiteX157" fmla="*/ 4222 w 10000"/>
                <a:gd name="connsiteY157" fmla="*/ 8587 h 10000"/>
                <a:gd name="connsiteX158" fmla="*/ 4183 w 10000"/>
                <a:gd name="connsiteY158" fmla="*/ 8666 h 10000"/>
                <a:gd name="connsiteX159" fmla="*/ 4183 w 10000"/>
                <a:gd name="connsiteY159" fmla="*/ 8791 h 10000"/>
                <a:gd name="connsiteX160" fmla="*/ 4086 w 10000"/>
                <a:gd name="connsiteY160" fmla="*/ 9309 h 10000"/>
                <a:gd name="connsiteX161" fmla="*/ 4125 w 10000"/>
                <a:gd name="connsiteY161" fmla="*/ 9388 h 10000"/>
                <a:gd name="connsiteX162" fmla="*/ 4280 w 10000"/>
                <a:gd name="connsiteY162" fmla="*/ 9466 h 10000"/>
                <a:gd name="connsiteX163" fmla="*/ 4669 w 10000"/>
                <a:gd name="connsiteY163" fmla="*/ 9670 h 10000"/>
                <a:gd name="connsiteX164" fmla="*/ 4669 w 10000"/>
                <a:gd name="connsiteY164" fmla="*/ 9749 h 10000"/>
                <a:gd name="connsiteX165" fmla="*/ 4669 w 10000"/>
                <a:gd name="connsiteY165" fmla="*/ 9827 h 10000"/>
                <a:gd name="connsiteX166" fmla="*/ 4572 w 10000"/>
                <a:gd name="connsiteY166" fmla="*/ 9922 h 10000"/>
                <a:gd name="connsiteX167" fmla="*/ 4377 w 10000"/>
                <a:gd name="connsiteY167" fmla="*/ 10000 h 10000"/>
                <a:gd name="connsiteX168" fmla="*/ 4222 w 10000"/>
                <a:gd name="connsiteY168" fmla="*/ 9953 h 10000"/>
                <a:gd name="connsiteX169" fmla="*/ 4086 w 10000"/>
                <a:gd name="connsiteY169" fmla="*/ 9874 h 10000"/>
                <a:gd name="connsiteX170" fmla="*/ 3930 w 10000"/>
                <a:gd name="connsiteY170" fmla="*/ 9796 h 10000"/>
                <a:gd name="connsiteX171" fmla="*/ 3930 w 10000"/>
                <a:gd name="connsiteY171" fmla="*/ 9717 h 10000"/>
                <a:gd name="connsiteX172" fmla="*/ 3930 w 10000"/>
                <a:gd name="connsiteY172" fmla="*/ 9560 h 10000"/>
                <a:gd name="connsiteX173" fmla="*/ 3872 w 10000"/>
                <a:gd name="connsiteY173" fmla="*/ 9513 h 10000"/>
                <a:gd name="connsiteX174" fmla="*/ 3833 w 10000"/>
                <a:gd name="connsiteY174" fmla="*/ 9466 h 10000"/>
                <a:gd name="connsiteX175" fmla="*/ 3774 w 10000"/>
                <a:gd name="connsiteY175" fmla="*/ 9513 h 10000"/>
                <a:gd name="connsiteX176" fmla="*/ 3521 w 10000"/>
                <a:gd name="connsiteY176" fmla="*/ 9560 h 10000"/>
                <a:gd name="connsiteX177" fmla="*/ 3424 w 10000"/>
                <a:gd name="connsiteY177" fmla="*/ 9560 h 10000"/>
                <a:gd name="connsiteX178" fmla="*/ 3288 w 10000"/>
                <a:gd name="connsiteY178" fmla="*/ 9513 h 10000"/>
                <a:gd name="connsiteX179" fmla="*/ 3132 w 10000"/>
                <a:gd name="connsiteY179" fmla="*/ 9435 h 10000"/>
                <a:gd name="connsiteX180" fmla="*/ 2938 w 10000"/>
                <a:gd name="connsiteY180" fmla="*/ 9356 h 10000"/>
                <a:gd name="connsiteX181" fmla="*/ 2724 w 10000"/>
                <a:gd name="connsiteY181" fmla="*/ 9309 h 10000"/>
                <a:gd name="connsiteX182" fmla="*/ 2432 w 10000"/>
                <a:gd name="connsiteY182" fmla="*/ 9278 h 10000"/>
                <a:gd name="connsiteX183" fmla="*/ 2393 w 10000"/>
                <a:gd name="connsiteY183" fmla="*/ 9199 h 10000"/>
                <a:gd name="connsiteX184" fmla="*/ 2276 w 10000"/>
                <a:gd name="connsiteY184" fmla="*/ 9152 h 10000"/>
                <a:gd name="connsiteX185" fmla="*/ 2179 w 10000"/>
                <a:gd name="connsiteY185" fmla="*/ 9074 h 10000"/>
                <a:gd name="connsiteX186" fmla="*/ 2179 w 10000"/>
                <a:gd name="connsiteY186" fmla="*/ 8948 h 10000"/>
                <a:gd name="connsiteX187" fmla="*/ 2179 w 10000"/>
                <a:gd name="connsiteY187" fmla="*/ 8870 h 10000"/>
                <a:gd name="connsiteX188" fmla="*/ 2237 w 10000"/>
                <a:gd name="connsiteY188" fmla="*/ 8838 h 10000"/>
                <a:gd name="connsiteX189" fmla="*/ 2335 w 10000"/>
                <a:gd name="connsiteY189" fmla="*/ 8791 h 10000"/>
                <a:gd name="connsiteX190" fmla="*/ 2490 w 10000"/>
                <a:gd name="connsiteY190" fmla="*/ 8791 h 10000"/>
                <a:gd name="connsiteX191" fmla="*/ 2529 w 10000"/>
                <a:gd name="connsiteY191" fmla="*/ 8744 h 10000"/>
                <a:gd name="connsiteX192" fmla="*/ 2626 w 10000"/>
                <a:gd name="connsiteY192" fmla="*/ 8713 h 10000"/>
                <a:gd name="connsiteX193" fmla="*/ 2685 w 10000"/>
                <a:gd name="connsiteY193" fmla="*/ 8556 h 10000"/>
                <a:gd name="connsiteX194" fmla="*/ 2626 w 10000"/>
                <a:gd name="connsiteY194" fmla="*/ 8383 h 10000"/>
                <a:gd name="connsiteX195" fmla="*/ 2588 w 10000"/>
                <a:gd name="connsiteY195" fmla="*/ 8195 h 10000"/>
                <a:gd name="connsiteX196" fmla="*/ 2432 w 10000"/>
                <a:gd name="connsiteY196" fmla="*/ 8022 h 10000"/>
                <a:gd name="connsiteX197" fmla="*/ 2393 w 10000"/>
                <a:gd name="connsiteY197" fmla="*/ 7991 h 10000"/>
                <a:gd name="connsiteX198" fmla="*/ 2335 w 10000"/>
                <a:gd name="connsiteY198" fmla="*/ 7943 h 10000"/>
                <a:gd name="connsiteX199" fmla="*/ 2393 w 10000"/>
                <a:gd name="connsiteY199" fmla="*/ 7865 h 10000"/>
                <a:gd name="connsiteX200" fmla="*/ 2432 w 10000"/>
                <a:gd name="connsiteY200" fmla="*/ 7834 h 10000"/>
                <a:gd name="connsiteX201" fmla="*/ 2490 w 10000"/>
                <a:gd name="connsiteY201" fmla="*/ 7834 h 10000"/>
                <a:gd name="connsiteX202" fmla="*/ 2588 w 10000"/>
                <a:gd name="connsiteY202" fmla="*/ 7834 h 10000"/>
                <a:gd name="connsiteX203" fmla="*/ 2685 w 10000"/>
                <a:gd name="connsiteY203" fmla="*/ 7834 h 10000"/>
                <a:gd name="connsiteX204" fmla="*/ 2782 w 10000"/>
                <a:gd name="connsiteY204" fmla="*/ 7912 h 10000"/>
                <a:gd name="connsiteX205" fmla="*/ 2938 w 10000"/>
                <a:gd name="connsiteY205" fmla="*/ 7991 h 10000"/>
                <a:gd name="connsiteX206" fmla="*/ 3074 w 10000"/>
                <a:gd name="connsiteY206" fmla="*/ 8069 h 10000"/>
                <a:gd name="connsiteX207" fmla="*/ 3230 w 10000"/>
                <a:gd name="connsiteY207" fmla="*/ 8100 h 10000"/>
                <a:gd name="connsiteX208" fmla="*/ 3230 w 10000"/>
                <a:gd name="connsiteY208" fmla="*/ 8069 h 10000"/>
                <a:gd name="connsiteX209" fmla="*/ 3288 w 10000"/>
                <a:gd name="connsiteY209" fmla="*/ 8069 h 10000"/>
                <a:gd name="connsiteX210" fmla="*/ 3327 w 10000"/>
                <a:gd name="connsiteY210" fmla="*/ 7912 h 10000"/>
                <a:gd name="connsiteX211" fmla="*/ 3327 w 10000"/>
                <a:gd name="connsiteY211" fmla="*/ 7786 h 10000"/>
                <a:gd name="connsiteX212" fmla="*/ 3327 w 10000"/>
                <a:gd name="connsiteY212" fmla="*/ 7708 h 10000"/>
                <a:gd name="connsiteX213" fmla="*/ 3230 w 10000"/>
                <a:gd name="connsiteY213" fmla="*/ 7582 h 10000"/>
                <a:gd name="connsiteX214" fmla="*/ 2977 w 10000"/>
                <a:gd name="connsiteY214" fmla="*/ 7378 h 10000"/>
                <a:gd name="connsiteX215" fmla="*/ 2685 w 10000"/>
                <a:gd name="connsiteY215" fmla="*/ 7064 h 10000"/>
                <a:gd name="connsiteX216" fmla="*/ 2724 w 10000"/>
                <a:gd name="connsiteY216" fmla="*/ 6986 h 10000"/>
                <a:gd name="connsiteX217" fmla="*/ 2782 w 10000"/>
                <a:gd name="connsiteY217" fmla="*/ 6986 h 10000"/>
                <a:gd name="connsiteX218" fmla="*/ 3035 w 10000"/>
                <a:gd name="connsiteY218" fmla="*/ 7017 h 10000"/>
                <a:gd name="connsiteX219" fmla="*/ 3230 w 10000"/>
                <a:gd name="connsiteY219" fmla="*/ 7017 h 10000"/>
                <a:gd name="connsiteX220" fmla="*/ 3288 w 10000"/>
                <a:gd name="connsiteY220" fmla="*/ 7017 h 10000"/>
                <a:gd name="connsiteX221" fmla="*/ 3288 w 10000"/>
                <a:gd name="connsiteY221" fmla="*/ 6986 h 10000"/>
                <a:gd name="connsiteX222" fmla="*/ 3171 w 10000"/>
                <a:gd name="connsiteY222" fmla="*/ 6829 h 10000"/>
                <a:gd name="connsiteX223" fmla="*/ 2977 w 10000"/>
                <a:gd name="connsiteY223" fmla="*/ 6656 h 10000"/>
                <a:gd name="connsiteX224" fmla="*/ 2840 w 10000"/>
                <a:gd name="connsiteY224" fmla="*/ 6546 h 10000"/>
                <a:gd name="connsiteX225" fmla="*/ 2588 w 10000"/>
                <a:gd name="connsiteY225" fmla="*/ 6468 h 10000"/>
                <a:gd name="connsiteX226" fmla="*/ 2335 w 10000"/>
                <a:gd name="connsiteY226" fmla="*/ 6421 h 10000"/>
                <a:gd name="connsiteX227" fmla="*/ 1634 w 10000"/>
                <a:gd name="connsiteY227" fmla="*/ 6421 h 10000"/>
                <a:gd name="connsiteX228" fmla="*/ 1245 w 10000"/>
                <a:gd name="connsiteY228" fmla="*/ 6374 h 10000"/>
                <a:gd name="connsiteX229" fmla="*/ 1089 w 10000"/>
                <a:gd name="connsiteY229" fmla="*/ 6421 h 10000"/>
                <a:gd name="connsiteX230" fmla="*/ 992 w 10000"/>
                <a:gd name="connsiteY230" fmla="*/ 6468 h 10000"/>
                <a:gd name="connsiteX231" fmla="*/ 934 w 10000"/>
                <a:gd name="connsiteY231" fmla="*/ 6546 h 10000"/>
                <a:gd name="connsiteX232" fmla="*/ 798 w 10000"/>
                <a:gd name="connsiteY232" fmla="*/ 6295 h 10000"/>
                <a:gd name="connsiteX233" fmla="*/ 642 w 10000"/>
                <a:gd name="connsiteY233" fmla="*/ 6217 h 10000"/>
                <a:gd name="connsiteX234" fmla="*/ 447 w 10000"/>
                <a:gd name="connsiteY234" fmla="*/ 6138 h 10000"/>
                <a:gd name="connsiteX235" fmla="*/ 195 w 10000"/>
                <a:gd name="connsiteY235" fmla="*/ 5934 h 10000"/>
                <a:gd name="connsiteX236" fmla="*/ 97 w 10000"/>
                <a:gd name="connsiteY236" fmla="*/ 5824 h 10000"/>
                <a:gd name="connsiteX237" fmla="*/ 97 w 10000"/>
                <a:gd name="connsiteY237" fmla="*/ 5699 h 10000"/>
                <a:gd name="connsiteX238" fmla="*/ 195 w 10000"/>
                <a:gd name="connsiteY238" fmla="*/ 5777 h 10000"/>
                <a:gd name="connsiteX239" fmla="*/ 292 w 10000"/>
                <a:gd name="connsiteY239" fmla="*/ 5824 h 10000"/>
                <a:gd name="connsiteX240" fmla="*/ 447 w 10000"/>
                <a:gd name="connsiteY240" fmla="*/ 5856 h 10000"/>
                <a:gd name="connsiteX241" fmla="*/ 584 w 10000"/>
                <a:gd name="connsiteY241" fmla="*/ 5856 h 10000"/>
                <a:gd name="connsiteX242" fmla="*/ 700 w 10000"/>
                <a:gd name="connsiteY242" fmla="*/ 5824 h 10000"/>
                <a:gd name="connsiteX243" fmla="*/ 1187 w 10000"/>
                <a:gd name="connsiteY243" fmla="*/ 5824 h 10000"/>
                <a:gd name="connsiteX244" fmla="*/ 1342 w 10000"/>
                <a:gd name="connsiteY244" fmla="*/ 5651 h 10000"/>
                <a:gd name="connsiteX245" fmla="*/ 1381 w 10000"/>
                <a:gd name="connsiteY245" fmla="*/ 5573 h 10000"/>
                <a:gd name="connsiteX246" fmla="*/ 1498 w 10000"/>
                <a:gd name="connsiteY246" fmla="*/ 5573 h 10000"/>
                <a:gd name="connsiteX247" fmla="*/ 1537 w 10000"/>
                <a:gd name="connsiteY247" fmla="*/ 5573 h 10000"/>
                <a:gd name="connsiteX248" fmla="*/ 1595 w 10000"/>
                <a:gd name="connsiteY248" fmla="*/ 5651 h 10000"/>
                <a:gd name="connsiteX249" fmla="*/ 1693 w 10000"/>
                <a:gd name="connsiteY249" fmla="*/ 5824 h 10000"/>
                <a:gd name="connsiteX250" fmla="*/ 1732 w 10000"/>
                <a:gd name="connsiteY250" fmla="*/ 5981 h 10000"/>
                <a:gd name="connsiteX251" fmla="*/ 1829 w 10000"/>
                <a:gd name="connsiteY251" fmla="*/ 6060 h 10000"/>
                <a:gd name="connsiteX252" fmla="*/ 1946 w 10000"/>
                <a:gd name="connsiteY252" fmla="*/ 6060 h 10000"/>
                <a:gd name="connsiteX253" fmla="*/ 2043 w 10000"/>
                <a:gd name="connsiteY253" fmla="*/ 6060 h 10000"/>
                <a:gd name="connsiteX254" fmla="*/ 2082 w 10000"/>
                <a:gd name="connsiteY254" fmla="*/ 6013 h 10000"/>
                <a:gd name="connsiteX255" fmla="*/ 2179 w 10000"/>
                <a:gd name="connsiteY255" fmla="*/ 5856 h 10000"/>
                <a:gd name="connsiteX256" fmla="*/ 2237 w 10000"/>
                <a:gd name="connsiteY256" fmla="*/ 5542 h 10000"/>
                <a:gd name="connsiteX257" fmla="*/ 2335 w 10000"/>
                <a:gd name="connsiteY257" fmla="*/ 5463 h 10000"/>
                <a:gd name="connsiteX258" fmla="*/ 2432 w 10000"/>
                <a:gd name="connsiteY258" fmla="*/ 5463 h 10000"/>
                <a:gd name="connsiteX259" fmla="*/ 2529 w 10000"/>
                <a:gd name="connsiteY259" fmla="*/ 5416 h 10000"/>
                <a:gd name="connsiteX260" fmla="*/ 2588 w 10000"/>
                <a:gd name="connsiteY260" fmla="*/ 5338 h 10000"/>
                <a:gd name="connsiteX261" fmla="*/ 2529 w 10000"/>
                <a:gd name="connsiteY261" fmla="*/ 5259 h 10000"/>
                <a:gd name="connsiteX262" fmla="*/ 2490 w 10000"/>
                <a:gd name="connsiteY262" fmla="*/ 5212 h 10000"/>
                <a:gd name="connsiteX263" fmla="*/ 2432 w 10000"/>
                <a:gd name="connsiteY263" fmla="*/ 5181 h 10000"/>
                <a:gd name="connsiteX264" fmla="*/ 2432 w 10000"/>
                <a:gd name="connsiteY264" fmla="*/ 5133 h 10000"/>
                <a:gd name="connsiteX265" fmla="*/ 2432 w 10000"/>
                <a:gd name="connsiteY265" fmla="*/ 5055 h 10000"/>
                <a:gd name="connsiteX266" fmla="*/ 2490 w 10000"/>
                <a:gd name="connsiteY266" fmla="*/ 5024 h 10000"/>
                <a:gd name="connsiteX267" fmla="*/ 2685 w 10000"/>
                <a:gd name="connsiteY267" fmla="*/ 5024 h 10000"/>
                <a:gd name="connsiteX268" fmla="*/ 2840 w 10000"/>
                <a:gd name="connsiteY268" fmla="*/ 5024 h 10000"/>
                <a:gd name="connsiteX269" fmla="*/ 2879 w 10000"/>
                <a:gd name="connsiteY269" fmla="*/ 4976 h 10000"/>
                <a:gd name="connsiteX270" fmla="*/ 2938 w 10000"/>
                <a:gd name="connsiteY270" fmla="*/ 4898 h 10000"/>
                <a:gd name="connsiteX271" fmla="*/ 2879 w 10000"/>
                <a:gd name="connsiteY271" fmla="*/ 4851 h 10000"/>
                <a:gd name="connsiteX272" fmla="*/ 2840 w 10000"/>
                <a:gd name="connsiteY272" fmla="*/ 4772 h 10000"/>
                <a:gd name="connsiteX273" fmla="*/ 2782 w 10000"/>
                <a:gd name="connsiteY273" fmla="*/ 4741 h 10000"/>
                <a:gd name="connsiteX274" fmla="*/ 2782 w 10000"/>
                <a:gd name="connsiteY274" fmla="*/ 4694 h 10000"/>
                <a:gd name="connsiteX275" fmla="*/ 2840 w 10000"/>
                <a:gd name="connsiteY275" fmla="*/ 4647 h 10000"/>
                <a:gd name="connsiteX276" fmla="*/ 2879 w 10000"/>
                <a:gd name="connsiteY276" fmla="*/ 4615 h 10000"/>
                <a:gd name="connsiteX277" fmla="*/ 3074 w 10000"/>
                <a:gd name="connsiteY277" fmla="*/ 4568 h 10000"/>
                <a:gd name="connsiteX278" fmla="*/ 2782 w 10000"/>
                <a:gd name="connsiteY278" fmla="*/ 4411 h 10000"/>
                <a:gd name="connsiteX279" fmla="*/ 2685 w 10000"/>
                <a:gd name="connsiteY279" fmla="*/ 4333 h 10000"/>
                <a:gd name="connsiteX280" fmla="*/ 2626 w 10000"/>
                <a:gd name="connsiteY280" fmla="*/ 4207 h 10000"/>
                <a:gd name="connsiteX281" fmla="*/ 2626 w 10000"/>
                <a:gd name="connsiteY281" fmla="*/ 3925 h 10000"/>
                <a:gd name="connsiteX282" fmla="*/ 2626 w 10000"/>
                <a:gd name="connsiteY282" fmla="*/ 3815 h 10000"/>
                <a:gd name="connsiteX283" fmla="*/ 2588 w 10000"/>
                <a:gd name="connsiteY283" fmla="*/ 3689 h 10000"/>
                <a:gd name="connsiteX284" fmla="*/ 2490 w 10000"/>
                <a:gd name="connsiteY284" fmla="*/ 3658 h 10000"/>
                <a:gd name="connsiteX285" fmla="*/ 2276 w 10000"/>
                <a:gd name="connsiteY285" fmla="*/ 3564 h 10000"/>
                <a:gd name="connsiteX286" fmla="*/ 2043 w 10000"/>
                <a:gd name="connsiteY286" fmla="*/ 3375 h 10000"/>
                <a:gd name="connsiteX287" fmla="*/ 1984 w 10000"/>
                <a:gd name="connsiteY287" fmla="*/ 3297 h 10000"/>
                <a:gd name="connsiteX288" fmla="*/ 1946 w 10000"/>
                <a:gd name="connsiteY288" fmla="*/ 3203 h 10000"/>
                <a:gd name="connsiteX289" fmla="*/ 1829 w 10000"/>
                <a:gd name="connsiteY289" fmla="*/ 3203 h 10000"/>
                <a:gd name="connsiteX290" fmla="*/ 1693 w 10000"/>
                <a:gd name="connsiteY290" fmla="*/ 3203 h 10000"/>
                <a:gd name="connsiteX291" fmla="*/ 1634 w 10000"/>
                <a:gd name="connsiteY291" fmla="*/ 3250 h 10000"/>
                <a:gd name="connsiteX292" fmla="*/ 1537 w 10000"/>
                <a:gd name="connsiteY292" fmla="*/ 3250 h 10000"/>
                <a:gd name="connsiteX293" fmla="*/ 1342 w 10000"/>
                <a:gd name="connsiteY293" fmla="*/ 3171 h 10000"/>
                <a:gd name="connsiteX294" fmla="*/ 1089 w 10000"/>
                <a:gd name="connsiteY294" fmla="*/ 3014 h 10000"/>
                <a:gd name="connsiteX295" fmla="*/ 934 w 10000"/>
                <a:gd name="connsiteY295" fmla="*/ 2967 h 10000"/>
                <a:gd name="connsiteX296" fmla="*/ 739 w 10000"/>
                <a:gd name="connsiteY296" fmla="*/ 2920 h 10000"/>
                <a:gd name="connsiteX297" fmla="*/ 642 w 10000"/>
                <a:gd name="connsiteY297" fmla="*/ 2841 h 10000"/>
                <a:gd name="connsiteX298" fmla="*/ 486 w 10000"/>
                <a:gd name="connsiteY298" fmla="*/ 2684 h 10000"/>
                <a:gd name="connsiteX299" fmla="*/ 292 w 10000"/>
                <a:gd name="connsiteY299" fmla="*/ 2402 h 10000"/>
                <a:gd name="connsiteX300" fmla="*/ 97 w 10000"/>
                <a:gd name="connsiteY300" fmla="*/ 2009 h 10000"/>
                <a:gd name="connsiteX301" fmla="*/ 39 w 10000"/>
                <a:gd name="connsiteY301" fmla="*/ 1601 h 10000"/>
                <a:gd name="connsiteX302" fmla="*/ 0 w 10000"/>
                <a:gd name="connsiteY302" fmla="*/ 1397 h 10000"/>
                <a:gd name="connsiteX303" fmla="*/ 39 w 10000"/>
                <a:gd name="connsiteY303" fmla="*/ 1193 h 10000"/>
                <a:gd name="connsiteX304" fmla="*/ 97 w 10000"/>
                <a:gd name="connsiteY304" fmla="*/ 1036 h 10000"/>
                <a:gd name="connsiteX305" fmla="*/ 136 w 10000"/>
                <a:gd name="connsiteY305" fmla="*/ 926 h 10000"/>
                <a:gd name="connsiteX306" fmla="*/ 253 w 10000"/>
                <a:gd name="connsiteY306" fmla="*/ 832 h 10000"/>
                <a:gd name="connsiteX307" fmla="*/ 389 w 10000"/>
                <a:gd name="connsiteY307" fmla="*/ 801 h 10000"/>
                <a:gd name="connsiteX308" fmla="*/ 642 w 10000"/>
                <a:gd name="connsiteY308" fmla="*/ 801 h 10000"/>
                <a:gd name="connsiteX309" fmla="*/ 934 w 10000"/>
                <a:gd name="connsiteY309" fmla="*/ 754 h 10000"/>
                <a:gd name="connsiteX310" fmla="*/ 1148 w 10000"/>
                <a:gd name="connsiteY310" fmla="*/ 722 h 10000"/>
                <a:gd name="connsiteX311" fmla="*/ 1245 w 10000"/>
                <a:gd name="connsiteY311" fmla="*/ 675 h 10000"/>
                <a:gd name="connsiteX312" fmla="*/ 1342 w 10000"/>
                <a:gd name="connsiteY312" fmla="*/ 597 h 10000"/>
                <a:gd name="connsiteX313" fmla="*/ 1440 w 10000"/>
                <a:gd name="connsiteY313" fmla="*/ 565 h 10000"/>
                <a:gd name="connsiteX314" fmla="*/ 1537 w 10000"/>
                <a:gd name="connsiteY314" fmla="*/ 565 h 10000"/>
                <a:gd name="connsiteX315" fmla="*/ 1946 w 10000"/>
                <a:gd name="connsiteY315" fmla="*/ 565 h 10000"/>
                <a:gd name="connsiteX316" fmla="*/ 2276 w 10000"/>
                <a:gd name="connsiteY316" fmla="*/ 597 h 10000"/>
                <a:gd name="connsiteX317" fmla="*/ 2490 w 10000"/>
                <a:gd name="connsiteY317" fmla="*/ 644 h 10000"/>
                <a:gd name="connsiteX318" fmla="*/ 2626 w 10000"/>
                <a:gd name="connsiteY318" fmla="*/ 722 h 10000"/>
                <a:gd name="connsiteX319" fmla="*/ 2782 w 10000"/>
                <a:gd name="connsiteY319" fmla="*/ 754 h 10000"/>
                <a:gd name="connsiteX320" fmla="*/ 2879 w 10000"/>
                <a:gd name="connsiteY320" fmla="*/ 722 h 10000"/>
                <a:gd name="connsiteX321" fmla="*/ 2977 w 10000"/>
                <a:gd name="connsiteY321" fmla="*/ 675 h 10000"/>
                <a:gd name="connsiteX322" fmla="*/ 3132 w 10000"/>
                <a:gd name="connsiteY322" fmla="*/ 597 h 10000"/>
                <a:gd name="connsiteX323" fmla="*/ 3288 w 10000"/>
                <a:gd name="connsiteY323" fmla="*/ 518 h 10000"/>
                <a:gd name="connsiteX324" fmla="*/ 3482 w 10000"/>
                <a:gd name="connsiteY324" fmla="*/ 283 h 10000"/>
                <a:gd name="connsiteX325" fmla="*/ 3638 w 10000"/>
                <a:gd name="connsiteY325" fmla="*/ 78 h 10000"/>
                <a:gd name="connsiteX326" fmla="*/ 3735 w 10000"/>
                <a:gd name="connsiteY326" fmla="*/ 0 h 10000"/>
                <a:gd name="connsiteX327" fmla="*/ 3638 w 10000"/>
                <a:gd name="connsiteY327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18 w 10000"/>
                <a:gd name="connsiteY40" fmla="*/ 3250 h 10000"/>
                <a:gd name="connsiteX41" fmla="*/ 7354 w 10000"/>
                <a:gd name="connsiteY41" fmla="*/ 3250 h 10000"/>
                <a:gd name="connsiteX42" fmla="*/ 7412 w 10000"/>
                <a:gd name="connsiteY42" fmla="*/ 3297 h 10000"/>
                <a:gd name="connsiteX43" fmla="*/ 7568 w 10000"/>
                <a:gd name="connsiteY43" fmla="*/ 3375 h 10000"/>
                <a:gd name="connsiteX44" fmla="*/ 7665 w 10000"/>
                <a:gd name="connsiteY44" fmla="*/ 3454 h 10000"/>
                <a:gd name="connsiteX45" fmla="*/ 7704 w 10000"/>
                <a:gd name="connsiteY45" fmla="*/ 3485 h 10000"/>
                <a:gd name="connsiteX46" fmla="*/ 7802 w 10000"/>
                <a:gd name="connsiteY46" fmla="*/ 3485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802 w 10000"/>
                <a:gd name="connsiteY131" fmla="*/ 9356 h 10000"/>
                <a:gd name="connsiteX132" fmla="*/ 7704 w 10000"/>
                <a:gd name="connsiteY132" fmla="*/ 9309 h 10000"/>
                <a:gd name="connsiteX133" fmla="*/ 7802 w 10000"/>
                <a:gd name="connsiteY133" fmla="*/ 9761 h 10000"/>
                <a:gd name="connsiteX134" fmla="*/ 7538 w 10000"/>
                <a:gd name="connsiteY134" fmla="*/ 9639 h 10000"/>
                <a:gd name="connsiteX135" fmla="*/ 7417 w 10000"/>
                <a:gd name="connsiteY135" fmla="*/ 9522 h 10000"/>
                <a:gd name="connsiteX136" fmla="*/ 7354 w 10000"/>
                <a:gd name="connsiteY136" fmla="*/ 9231 h 10000"/>
                <a:gd name="connsiteX137" fmla="*/ 7399 w 10000"/>
                <a:gd name="connsiteY137" fmla="*/ 9465 h 10000"/>
                <a:gd name="connsiteX138" fmla="*/ 7004 w 10000"/>
                <a:gd name="connsiteY138" fmla="*/ 9435 h 10000"/>
                <a:gd name="connsiteX139" fmla="*/ 7004 w 10000"/>
                <a:gd name="connsiteY139" fmla="*/ 9388 h 10000"/>
                <a:gd name="connsiteX140" fmla="*/ 6965 w 10000"/>
                <a:gd name="connsiteY140" fmla="*/ 9388 h 10000"/>
                <a:gd name="connsiteX141" fmla="*/ 6809 w 10000"/>
                <a:gd name="connsiteY141" fmla="*/ 9309 h 10000"/>
                <a:gd name="connsiteX142" fmla="*/ 6615 w 10000"/>
                <a:gd name="connsiteY142" fmla="*/ 9231 h 10000"/>
                <a:gd name="connsiteX143" fmla="*/ 6167 w 10000"/>
                <a:gd name="connsiteY143" fmla="*/ 9199 h 10000"/>
                <a:gd name="connsiteX144" fmla="*/ 6109 w 10000"/>
                <a:gd name="connsiteY144" fmla="*/ 9152 h 10000"/>
                <a:gd name="connsiteX145" fmla="*/ 5817 w 10000"/>
                <a:gd name="connsiteY145" fmla="*/ 9074 h 10000"/>
                <a:gd name="connsiteX146" fmla="*/ 5661 w 10000"/>
                <a:gd name="connsiteY146" fmla="*/ 9027 h 10000"/>
                <a:gd name="connsiteX147" fmla="*/ 5564 w 10000"/>
                <a:gd name="connsiteY147" fmla="*/ 8917 h 10000"/>
                <a:gd name="connsiteX148" fmla="*/ 5214 w 10000"/>
                <a:gd name="connsiteY148" fmla="*/ 8744 h 10000"/>
                <a:gd name="connsiteX149" fmla="*/ 4864 w 10000"/>
                <a:gd name="connsiteY149" fmla="*/ 8634 h 10000"/>
                <a:gd name="connsiteX150" fmla="*/ 4825 w 10000"/>
                <a:gd name="connsiteY150" fmla="*/ 8666 h 10000"/>
                <a:gd name="connsiteX151" fmla="*/ 4864 w 10000"/>
                <a:gd name="connsiteY151" fmla="*/ 8634 h 10000"/>
                <a:gd name="connsiteX152" fmla="*/ 4767 w 10000"/>
                <a:gd name="connsiteY152" fmla="*/ 8666 h 10000"/>
                <a:gd name="connsiteX153" fmla="*/ 4669 w 10000"/>
                <a:gd name="connsiteY153" fmla="*/ 8666 h 10000"/>
                <a:gd name="connsiteX154" fmla="*/ 4475 w 10000"/>
                <a:gd name="connsiteY154" fmla="*/ 8587 h 10000"/>
                <a:gd name="connsiteX155" fmla="*/ 4377 w 10000"/>
                <a:gd name="connsiteY155" fmla="*/ 8556 h 10000"/>
                <a:gd name="connsiteX156" fmla="*/ 4319 w 10000"/>
                <a:gd name="connsiteY156" fmla="*/ 8556 h 10000"/>
                <a:gd name="connsiteX157" fmla="*/ 4222 w 10000"/>
                <a:gd name="connsiteY157" fmla="*/ 8587 h 10000"/>
                <a:gd name="connsiteX158" fmla="*/ 4183 w 10000"/>
                <a:gd name="connsiteY158" fmla="*/ 8666 h 10000"/>
                <a:gd name="connsiteX159" fmla="*/ 4183 w 10000"/>
                <a:gd name="connsiteY159" fmla="*/ 8791 h 10000"/>
                <a:gd name="connsiteX160" fmla="*/ 4086 w 10000"/>
                <a:gd name="connsiteY160" fmla="*/ 9309 h 10000"/>
                <a:gd name="connsiteX161" fmla="*/ 4125 w 10000"/>
                <a:gd name="connsiteY161" fmla="*/ 9388 h 10000"/>
                <a:gd name="connsiteX162" fmla="*/ 4280 w 10000"/>
                <a:gd name="connsiteY162" fmla="*/ 9466 h 10000"/>
                <a:gd name="connsiteX163" fmla="*/ 4669 w 10000"/>
                <a:gd name="connsiteY163" fmla="*/ 9670 h 10000"/>
                <a:gd name="connsiteX164" fmla="*/ 4669 w 10000"/>
                <a:gd name="connsiteY164" fmla="*/ 9749 h 10000"/>
                <a:gd name="connsiteX165" fmla="*/ 4669 w 10000"/>
                <a:gd name="connsiteY165" fmla="*/ 9827 h 10000"/>
                <a:gd name="connsiteX166" fmla="*/ 4572 w 10000"/>
                <a:gd name="connsiteY166" fmla="*/ 9922 h 10000"/>
                <a:gd name="connsiteX167" fmla="*/ 4377 w 10000"/>
                <a:gd name="connsiteY167" fmla="*/ 10000 h 10000"/>
                <a:gd name="connsiteX168" fmla="*/ 4222 w 10000"/>
                <a:gd name="connsiteY168" fmla="*/ 9953 h 10000"/>
                <a:gd name="connsiteX169" fmla="*/ 4086 w 10000"/>
                <a:gd name="connsiteY169" fmla="*/ 9874 h 10000"/>
                <a:gd name="connsiteX170" fmla="*/ 3930 w 10000"/>
                <a:gd name="connsiteY170" fmla="*/ 9796 h 10000"/>
                <a:gd name="connsiteX171" fmla="*/ 3930 w 10000"/>
                <a:gd name="connsiteY171" fmla="*/ 9717 h 10000"/>
                <a:gd name="connsiteX172" fmla="*/ 3930 w 10000"/>
                <a:gd name="connsiteY172" fmla="*/ 9560 h 10000"/>
                <a:gd name="connsiteX173" fmla="*/ 3872 w 10000"/>
                <a:gd name="connsiteY173" fmla="*/ 9513 h 10000"/>
                <a:gd name="connsiteX174" fmla="*/ 3833 w 10000"/>
                <a:gd name="connsiteY174" fmla="*/ 9466 h 10000"/>
                <a:gd name="connsiteX175" fmla="*/ 3774 w 10000"/>
                <a:gd name="connsiteY175" fmla="*/ 9513 h 10000"/>
                <a:gd name="connsiteX176" fmla="*/ 3521 w 10000"/>
                <a:gd name="connsiteY176" fmla="*/ 9560 h 10000"/>
                <a:gd name="connsiteX177" fmla="*/ 3424 w 10000"/>
                <a:gd name="connsiteY177" fmla="*/ 9560 h 10000"/>
                <a:gd name="connsiteX178" fmla="*/ 3288 w 10000"/>
                <a:gd name="connsiteY178" fmla="*/ 9513 h 10000"/>
                <a:gd name="connsiteX179" fmla="*/ 3132 w 10000"/>
                <a:gd name="connsiteY179" fmla="*/ 9435 h 10000"/>
                <a:gd name="connsiteX180" fmla="*/ 2938 w 10000"/>
                <a:gd name="connsiteY180" fmla="*/ 9356 h 10000"/>
                <a:gd name="connsiteX181" fmla="*/ 2724 w 10000"/>
                <a:gd name="connsiteY181" fmla="*/ 9309 h 10000"/>
                <a:gd name="connsiteX182" fmla="*/ 2432 w 10000"/>
                <a:gd name="connsiteY182" fmla="*/ 9278 h 10000"/>
                <a:gd name="connsiteX183" fmla="*/ 2393 w 10000"/>
                <a:gd name="connsiteY183" fmla="*/ 9199 h 10000"/>
                <a:gd name="connsiteX184" fmla="*/ 2276 w 10000"/>
                <a:gd name="connsiteY184" fmla="*/ 9152 h 10000"/>
                <a:gd name="connsiteX185" fmla="*/ 2179 w 10000"/>
                <a:gd name="connsiteY185" fmla="*/ 9074 h 10000"/>
                <a:gd name="connsiteX186" fmla="*/ 2179 w 10000"/>
                <a:gd name="connsiteY186" fmla="*/ 8948 h 10000"/>
                <a:gd name="connsiteX187" fmla="*/ 2179 w 10000"/>
                <a:gd name="connsiteY187" fmla="*/ 8870 h 10000"/>
                <a:gd name="connsiteX188" fmla="*/ 2237 w 10000"/>
                <a:gd name="connsiteY188" fmla="*/ 8838 h 10000"/>
                <a:gd name="connsiteX189" fmla="*/ 2335 w 10000"/>
                <a:gd name="connsiteY189" fmla="*/ 8791 h 10000"/>
                <a:gd name="connsiteX190" fmla="*/ 2490 w 10000"/>
                <a:gd name="connsiteY190" fmla="*/ 8791 h 10000"/>
                <a:gd name="connsiteX191" fmla="*/ 2529 w 10000"/>
                <a:gd name="connsiteY191" fmla="*/ 8744 h 10000"/>
                <a:gd name="connsiteX192" fmla="*/ 2626 w 10000"/>
                <a:gd name="connsiteY192" fmla="*/ 8713 h 10000"/>
                <a:gd name="connsiteX193" fmla="*/ 2685 w 10000"/>
                <a:gd name="connsiteY193" fmla="*/ 8556 h 10000"/>
                <a:gd name="connsiteX194" fmla="*/ 2626 w 10000"/>
                <a:gd name="connsiteY194" fmla="*/ 8383 h 10000"/>
                <a:gd name="connsiteX195" fmla="*/ 2588 w 10000"/>
                <a:gd name="connsiteY195" fmla="*/ 8195 h 10000"/>
                <a:gd name="connsiteX196" fmla="*/ 2432 w 10000"/>
                <a:gd name="connsiteY196" fmla="*/ 8022 h 10000"/>
                <a:gd name="connsiteX197" fmla="*/ 2393 w 10000"/>
                <a:gd name="connsiteY197" fmla="*/ 7991 h 10000"/>
                <a:gd name="connsiteX198" fmla="*/ 2335 w 10000"/>
                <a:gd name="connsiteY198" fmla="*/ 7943 h 10000"/>
                <a:gd name="connsiteX199" fmla="*/ 2393 w 10000"/>
                <a:gd name="connsiteY199" fmla="*/ 7865 h 10000"/>
                <a:gd name="connsiteX200" fmla="*/ 2432 w 10000"/>
                <a:gd name="connsiteY200" fmla="*/ 7834 h 10000"/>
                <a:gd name="connsiteX201" fmla="*/ 2490 w 10000"/>
                <a:gd name="connsiteY201" fmla="*/ 7834 h 10000"/>
                <a:gd name="connsiteX202" fmla="*/ 2588 w 10000"/>
                <a:gd name="connsiteY202" fmla="*/ 7834 h 10000"/>
                <a:gd name="connsiteX203" fmla="*/ 2685 w 10000"/>
                <a:gd name="connsiteY203" fmla="*/ 7834 h 10000"/>
                <a:gd name="connsiteX204" fmla="*/ 2782 w 10000"/>
                <a:gd name="connsiteY204" fmla="*/ 7912 h 10000"/>
                <a:gd name="connsiteX205" fmla="*/ 2938 w 10000"/>
                <a:gd name="connsiteY205" fmla="*/ 7991 h 10000"/>
                <a:gd name="connsiteX206" fmla="*/ 3074 w 10000"/>
                <a:gd name="connsiteY206" fmla="*/ 8069 h 10000"/>
                <a:gd name="connsiteX207" fmla="*/ 3230 w 10000"/>
                <a:gd name="connsiteY207" fmla="*/ 8100 h 10000"/>
                <a:gd name="connsiteX208" fmla="*/ 3230 w 10000"/>
                <a:gd name="connsiteY208" fmla="*/ 8069 h 10000"/>
                <a:gd name="connsiteX209" fmla="*/ 3288 w 10000"/>
                <a:gd name="connsiteY209" fmla="*/ 8069 h 10000"/>
                <a:gd name="connsiteX210" fmla="*/ 3327 w 10000"/>
                <a:gd name="connsiteY210" fmla="*/ 7912 h 10000"/>
                <a:gd name="connsiteX211" fmla="*/ 3327 w 10000"/>
                <a:gd name="connsiteY211" fmla="*/ 7786 h 10000"/>
                <a:gd name="connsiteX212" fmla="*/ 3327 w 10000"/>
                <a:gd name="connsiteY212" fmla="*/ 7708 h 10000"/>
                <a:gd name="connsiteX213" fmla="*/ 3230 w 10000"/>
                <a:gd name="connsiteY213" fmla="*/ 7582 h 10000"/>
                <a:gd name="connsiteX214" fmla="*/ 2977 w 10000"/>
                <a:gd name="connsiteY214" fmla="*/ 7378 h 10000"/>
                <a:gd name="connsiteX215" fmla="*/ 2685 w 10000"/>
                <a:gd name="connsiteY215" fmla="*/ 7064 h 10000"/>
                <a:gd name="connsiteX216" fmla="*/ 2724 w 10000"/>
                <a:gd name="connsiteY216" fmla="*/ 6986 h 10000"/>
                <a:gd name="connsiteX217" fmla="*/ 2782 w 10000"/>
                <a:gd name="connsiteY217" fmla="*/ 6986 h 10000"/>
                <a:gd name="connsiteX218" fmla="*/ 3035 w 10000"/>
                <a:gd name="connsiteY218" fmla="*/ 7017 h 10000"/>
                <a:gd name="connsiteX219" fmla="*/ 3230 w 10000"/>
                <a:gd name="connsiteY219" fmla="*/ 7017 h 10000"/>
                <a:gd name="connsiteX220" fmla="*/ 3288 w 10000"/>
                <a:gd name="connsiteY220" fmla="*/ 7017 h 10000"/>
                <a:gd name="connsiteX221" fmla="*/ 3288 w 10000"/>
                <a:gd name="connsiteY221" fmla="*/ 6986 h 10000"/>
                <a:gd name="connsiteX222" fmla="*/ 3171 w 10000"/>
                <a:gd name="connsiteY222" fmla="*/ 6829 h 10000"/>
                <a:gd name="connsiteX223" fmla="*/ 2977 w 10000"/>
                <a:gd name="connsiteY223" fmla="*/ 6656 h 10000"/>
                <a:gd name="connsiteX224" fmla="*/ 2840 w 10000"/>
                <a:gd name="connsiteY224" fmla="*/ 6546 h 10000"/>
                <a:gd name="connsiteX225" fmla="*/ 2588 w 10000"/>
                <a:gd name="connsiteY225" fmla="*/ 6468 h 10000"/>
                <a:gd name="connsiteX226" fmla="*/ 2335 w 10000"/>
                <a:gd name="connsiteY226" fmla="*/ 6421 h 10000"/>
                <a:gd name="connsiteX227" fmla="*/ 1634 w 10000"/>
                <a:gd name="connsiteY227" fmla="*/ 6421 h 10000"/>
                <a:gd name="connsiteX228" fmla="*/ 1245 w 10000"/>
                <a:gd name="connsiteY228" fmla="*/ 6374 h 10000"/>
                <a:gd name="connsiteX229" fmla="*/ 1089 w 10000"/>
                <a:gd name="connsiteY229" fmla="*/ 6421 h 10000"/>
                <a:gd name="connsiteX230" fmla="*/ 992 w 10000"/>
                <a:gd name="connsiteY230" fmla="*/ 6468 h 10000"/>
                <a:gd name="connsiteX231" fmla="*/ 934 w 10000"/>
                <a:gd name="connsiteY231" fmla="*/ 6546 h 10000"/>
                <a:gd name="connsiteX232" fmla="*/ 798 w 10000"/>
                <a:gd name="connsiteY232" fmla="*/ 6295 h 10000"/>
                <a:gd name="connsiteX233" fmla="*/ 642 w 10000"/>
                <a:gd name="connsiteY233" fmla="*/ 6217 h 10000"/>
                <a:gd name="connsiteX234" fmla="*/ 447 w 10000"/>
                <a:gd name="connsiteY234" fmla="*/ 6138 h 10000"/>
                <a:gd name="connsiteX235" fmla="*/ 195 w 10000"/>
                <a:gd name="connsiteY235" fmla="*/ 5934 h 10000"/>
                <a:gd name="connsiteX236" fmla="*/ 97 w 10000"/>
                <a:gd name="connsiteY236" fmla="*/ 5824 h 10000"/>
                <a:gd name="connsiteX237" fmla="*/ 97 w 10000"/>
                <a:gd name="connsiteY237" fmla="*/ 5699 h 10000"/>
                <a:gd name="connsiteX238" fmla="*/ 195 w 10000"/>
                <a:gd name="connsiteY238" fmla="*/ 5777 h 10000"/>
                <a:gd name="connsiteX239" fmla="*/ 292 w 10000"/>
                <a:gd name="connsiteY239" fmla="*/ 5824 h 10000"/>
                <a:gd name="connsiteX240" fmla="*/ 447 w 10000"/>
                <a:gd name="connsiteY240" fmla="*/ 5856 h 10000"/>
                <a:gd name="connsiteX241" fmla="*/ 584 w 10000"/>
                <a:gd name="connsiteY241" fmla="*/ 5856 h 10000"/>
                <a:gd name="connsiteX242" fmla="*/ 700 w 10000"/>
                <a:gd name="connsiteY242" fmla="*/ 5824 h 10000"/>
                <a:gd name="connsiteX243" fmla="*/ 1187 w 10000"/>
                <a:gd name="connsiteY243" fmla="*/ 5824 h 10000"/>
                <a:gd name="connsiteX244" fmla="*/ 1342 w 10000"/>
                <a:gd name="connsiteY244" fmla="*/ 5651 h 10000"/>
                <a:gd name="connsiteX245" fmla="*/ 1381 w 10000"/>
                <a:gd name="connsiteY245" fmla="*/ 5573 h 10000"/>
                <a:gd name="connsiteX246" fmla="*/ 1498 w 10000"/>
                <a:gd name="connsiteY246" fmla="*/ 5573 h 10000"/>
                <a:gd name="connsiteX247" fmla="*/ 1537 w 10000"/>
                <a:gd name="connsiteY247" fmla="*/ 5573 h 10000"/>
                <a:gd name="connsiteX248" fmla="*/ 1595 w 10000"/>
                <a:gd name="connsiteY248" fmla="*/ 5651 h 10000"/>
                <a:gd name="connsiteX249" fmla="*/ 1693 w 10000"/>
                <a:gd name="connsiteY249" fmla="*/ 5824 h 10000"/>
                <a:gd name="connsiteX250" fmla="*/ 1732 w 10000"/>
                <a:gd name="connsiteY250" fmla="*/ 5981 h 10000"/>
                <a:gd name="connsiteX251" fmla="*/ 1829 w 10000"/>
                <a:gd name="connsiteY251" fmla="*/ 6060 h 10000"/>
                <a:gd name="connsiteX252" fmla="*/ 1946 w 10000"/>
                <a:gd name="connsiteY252" fmla="*/ 6060 h 10000"/>
                <a:gd name="connsiteX253" fmla="*/ 2043 w 10000"/>
                <a:gd name="connsiteY253" fmla="*/ 6060 h 10000"/>
                <a:gd name="connsiteX254" fmla="*/ 2082 w 10000"/>
                <a:gd name="connsiteY254" fmla="*/ 6013 h 10000"/>
                <a:gd name="connsiteX255" fmla="*/ 2179 w 10000"/>
                <a:gd name="connsiteY255" fmla="*/ 5856 h 10000"/>
                <a:gd name="connsiteX256" fmla="*/ 2237 w 10000"/>
                <a:gd name="connsiteY256" fmla="*/ 5542 h 10000"/>
                <a:gd name="connsiteX257" fmla="*/ 2335 w 10000"/>
                <a:gd name="connsiteY257" fmla="*/ 5463 h 10000"/>
                <a:gd name="connsiteX258" fmla="*/ 2432 w 10000"/>
                <a:gd name="connsiteY258" fmla="*/ 5463 h 10000"/>
                <a:gd name="connsiteX259" fmla="*/ 2529 w 10000"/>
                <a:gd name="connsiteY259" fmla="*/ 5416 h 10000"/>
                <a:gd name="connsiteX260" fmla="*/ 2588 w 10000"/>
                <a:gd name="connsiteY260" fmla="*/ 5338 h 10000"/>
                <a:gd name="connsiteX261" fmla="*/ 2529 w 10000"/>
                <a:gd name="connsiteY261" fmla="*/ 5259 h 10000"/>
                <a:gd name="connsiteX262" fmla="*/ 2490 w 10000"/>
                <a:gd name="connsiteY262" fmla="*/ 5212 h 10000"/>
                <a:gd name="connsiteX263" fmla="*/ 2432 w 10000"/>
                <a:gd name="connsiteY263" fmla="*/ 5181 h 10000"/>
                <a:gd name="connsiteX264" fmla="*/ 2432 w 10000"/>
                <a:gd name="connsiteY264" fmla="*/ 5133 h 10000"/>
                <a:gd name="connsiteX265" fmla="*/ 2432 w 10000"/>
                <a:gd name="connsiteY265" fmla="*/ 5055 h 10000"/>
                <a:gd name="connsiteX266" fmla="*/ 2490 w 10000"/>
                <a:gd name="connsiteY266" fmla="*/ 5024 h 10000"/>
                <a:gd name="connsiteX267" fmla="*/ 2685 w 10000"/>
                <a:gd name="connsiteY267" fmla="*/ 5024 h 10000"/>
                <a:gd name="connsiteX268" fmla="*/ 2840 w 10000"/>
                <a:gd name="connsiteY268" fmla="*/ 5024 h 10000"/>
                <a:gd name="connsiteX269" fmla="*/ 2879 w 10000"/>
                <a:gd name="connsiteY269" fmla="*/ 4976 h 10000"/>
                <a:gd name="connsiteX270" fmla="*/ 2938 w 10000"/>
                <a:gd name="connsiteY270" fmla="*/ 4898 h 10000"/>
                <a:gd name="connsiteX271" fmla="*/ 2879 w 10000"/>
                <a:gd name="connsiteY271" fmla="*/ 4851 h 10000"/>
                <a:gd name="connsiteX272" fmla="*/ 2840 w 10000"/>
                <a:gd name="connsiteY272" fmla="*/ 4772 h 10000"/>
                <a:gd name="connsiteX273" fmla="*/ 2782 w 10000"/>
                <a:gd name="connsiteY273" fmla="*/ 4741 h 10000"/>
                <a:gd name="connsiteX274" fmla="*/ 2782 w 10000"/>
                <a:gd name="connsiteY274" fmla="*/ 4694 h 10000"/>
                <a:gd name="connsiteX275" fmla="*/ 2840 w 10000"/>
                <a:gd name="connsiteY275" fmla="*/ 4647 h 10000"/>
                <a:gd name="connsiteX276" fmla="*/ 2879 w 10000"/>
                <a:gd name="connsiteY276" fmla="*/ 4615 h 10000"/>
                <a:gd name="connsiteX277" fmla="*/ 3074 w 10000"/>
                <a:gd name="connsiteY277" fmla="*/ 4568 h 10000"/>
                <a:gd name="connsiteX278" fmla="*/ 2782 w 10000"/>
                <a:gd name="connsiteY278" fmla="*/ 4411 h 10000"/>
                <a:gd name="connsiteX279" fmla="*/ 2685 w 10000"/>
                <a:gd name="connsiteY279" fmla="*/ 4333 h 10000"/>
                <a:gd name="connsiteX280" fmla="*/ 2626 w 10000"/>
                <a:gd name="connsiteY280" fmla="*/ 4207 h 10000"/>
                <a:gd name="connsiteX281" fmla="*/ 2626 w 10000"/>
                <a:gd name="connsiteY281" fmla="*/ 3925 h 10000"/>
                <a:gd name="connsiteX282" fmla="*/ 2626 w 10000"/>
                <a:gd name="connsiteY282" fmla="*/ 3815 h 10000"/>
                <a:gd name="connsiteX283" fmla="*/ 2588 w 10000"/>
                <a:gd name="connsiteY283" fmla="*/ 3689 h 10000"/>
                <a:gd name="connsiteX284" fmla="*/ 2490 w 10000"/>
                <a:gd name="connsiteY284" fmla="*/ 3658 h 10000"/>
                <a:gd name="connsiteX285" fmla="*/ 2276 w 10000"/>
                <a:gd name="connsiteY285" fmla="*/ 3564 h 10000"/>
                <a:gd name="connsiteX286" fmla="*/ 2043 w 10000"/>
                <a:gd name="connsiteY286" fmla="*/ 3375 h 10000"/>
                <a:gd name="connsiteX287" fmla="*/ 1984 w 10000"/>
                <a:gd name="connsiteY287" fmla="*/ 3297 h 10000"/>
                <a:gd name="connsiteX288" fmla="*/ 1946 w 10000"/>
                <a:gd name="connsiteY288" fmla="*/ 3203 h 10000"/>
                <a:gd name="connsiteX289" fmla="*/ 1829 w 10000"/>
                <a:gd name="connsiteY289" fmla="*/ 3203 h 10000"/>
                <a:gd name="connsiteX290" fmla="*/ 1693 w 10000"/>
                <a:gd name="connsiteY290" fmla="*/ 3203 h 10000"/>
                <a:gd name="connsiteX291" fmla="*/ 1634 w 10000"/>
                <a:gd name="connsiteY291" fmla="*/ 3250 h 10000"/>
                <a:gd name="connsiteX292" fmla="*/ 1537 w 10000"/>
                <a:gd name="connsiteY292" fmla="*/ 3250 h 10000"/>
                <a:gd name="connsiteX293" fmla="*/ 1342 w 10000"/>
                <a:gd name="connsiteY293" fmla="*/ 3171 h 10000"/>
                <a:gd name="connsiteX294" fmla="*/ 1089 w 10000"/>
                <a:gd name="connsiteY294" fmla="*/ 3014 h 10000"/>
                <a:gd name="connsiteX295" fmla="*/ 934 w 10000"/>
                <a:gd name="connsiteY295" fmla="*/ 2967 h 10000"/>
                <a:gd name="connsiteX296" fmla="*/ 739 w 10000"/>
                <a:gd name="connsiteY296" fmla="*/ 2920 h 10000"/>
                <a:gd name="connsiteX297" fmla="*/ 642 w 10000"/>
                <a:gd name="connsiteY297" fmla="*/ 2841 h 10000"/>
                <a:gd name="connsiteX298" fmla="*/ 486 w 10000"/>
                <a:gd name="connsiteY298" fmla="*/ 2684 h 10000"/>
                <a:gd name="connsiteX299" fmla="*/ 292 w 10000"/>
                <a:gd name="connsiteY299" fmla="*/ 2402 h 10000"/>
                <a:gd name="connsiteX300" fmla="*/ 97 w 10000"/>
                <a:gd name="connsiteY300" fmla="*/ 2009 h 10000"/>
                <a:gd name="connsiteX301" fmla="*/ 39 w 10000"/>
                <a:gd name="connsiteY301" fmla="*/ 1601 h 10000"/>
                <a:gd name="connsiteX302" fmla="*/ 0 w 10000"/>
                <a:gd name="connsiteY302" fmla="*/ 1397 h 10000"/>
                <a:gd name="connsiteX303" fmla="*/ 39 w 10000"/>
                <a:gd name="connsiteY303" fmla="*/ 1193 h 10000"/>
                <a:gd name="connsiteX304" fmla="*/ 97 w 10000"/>
                <a:gd name="connsiteY304" fmla="*/ 1036 h 10000"/>
                <a:gd name="connsiteX305" fmla="*/ 136 w 10000"/>
                <a:gd name="connsiteY305" fmla="*/ 926 h 10000"/>
                <a:gd name="connsiteX306" fmla="*/ 253 w 10000"/>
                <a:gd name="connsiteY306" fmla="*/ 832 h 10000"/>
                <a:gd name="connsiteX307" fmla="*/ 389 w 10000"/>
                <a:gd name="connsiteY307" fmla="*/ 801 h 10000"/>
                <a:gd name="connsiteX308" fmla="*/ 642 w 10000"/>
                <a:gd name="connsiteY308" fmla="*/ 801 h 10000"/>
                <a:gd name="connsiteX309" fmla="*/ 934 w 10000"/>
                <a:gd name="connsiteY309" fmla="*/ 754 h 10000"/>
                <a:gd name="connsiteX310" fmla="*/ 1148 w 10000"/>
                <a:gd name="connsiteY310" fmla="*/ 722 h 10000"/>
                <a:gd name="connsiteX311" fmla="*/ 1245 w 10000"/>
                <a:gd name="connsiteY311" fmla="*/ 675 h 10000"/>
                <a:gd name="connsiteX312" fmla="*/ 1342 w 10000"/>
                <a:gd name="connsiteY312" fmla="*/ 597 h 10000"/>
                <a:gd name="connsiteX313" fmla="*/ 1440 w 10000"/>
                <a:gd name="connsiteY313" fmla="*/ 565 h 10000"/>
                <a:gd name="connsiteX314" fmla="*/ 1537 w 10000"/>
                <a:gd name="connsiteY314" fmla="*/ 565 h 10000"/>
                <a:gd name="connsiteX315" fmla="*/ 1946 w 10000"/>
                <a:gd name="connsiteY315" fmla="*/ 565 h 10000"/>
                <a:gd name="connsiteX316" fmla="*/ 2276 w 10000"/>
                <a:gd name="connsiteY316" fmla="*/ 597 h 10000"/>
                <a:gd name="connsiteX317" fmla="*/ 2490 w 10000"/>
                <a:gd name="connsiteY317" fmla="*/ 644 h 10000"/>
                <a:gd name="connsiteX318" fmla="*/ 2626 w 10000"/>
                <a:gd name="connsiteY318" fmla="*/ 722 h 10000"/>
                <a:gd name="connsiteX319" fmla="*/ 2782 w 10000"/>
                <a:gd name="connsiteY319" fmla="*/ 754 h 10000"/>
                <a:gd name="connsiteX320" fmla="*/ 2879 w 10000"/>
                <a:gd name="connsiteY320" fmla="*/ 722 h 10000"/>
                <a:gd name="connsiteX321" fmla="*/ 2977 w 10000"/>
                <a:gd name="connsiteY321" fmla="*/ 675 h 10000"/>
                <a:gd name="connsiteX322" fmla="*/ 3132 w 10000"/>
                <a:gd name="connsiteY322" fmla="*/ 597 h 10000"/>
                <a:gd name="connsiteX323" fmla="*/ 3288 w 10000"/>
                <a:gd name="connsiteY323" fmla="*/ 518 h 10000"/>
                <a:gd name="connsiteX324" fmla="*/ 3482 w 10000"/>
                <a:gd name="connsiteY324" fmla="*/ 283 h 10000"/>
                <a:gd name="connsiteX325" fmla="*/ 3638 w 10000"/>
                <a:gd name="connsiteY325" fmla="*/ 78 h 10000"/>
                <a:gd name="connsiteX326" fmla="*/ 3735 w 10000"/>
                <a:gd name="connsiteY326" fmla="*/ 0 h 10000"/>
                <a:gd name="connsiteX327" fmla="*/ 3638 w 10000"/>
                <a:gd name="connsiteY327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18 w 10000"/>
                <a:gd name="connsiteY40" fmla="*/ 3250 h 10000"/>
                <a:gd name="connsiteX41" fmla="*/ 7354 w 10000"/>
                <a:gd name="connsiteY41" fmla="*/ 3250 h 10000"/>
                <a:gd name="connsiteX42" fmla="*/ 7412 w 10000"/>
                <a:gd name="connsiteY42" fmla="*/ 3297 h 10000"/>
                <a:gd name="connsiteX43" fmla="*/ 7568 w 10000"/>
                <a:gd name="connsiteY43" fmla="*/ 3375 h 10000"/>
                <a:gd name="connsiteX44" fmla="*/ 7665 w 10000"/>
                <a:gd name="connsiteY44" fmla="*/ 3454 h 10000"/>
                <a:gd name="connsiteX45" fmla="*/ 7704 w 10000"/>
                <a:gd name="connsiteY45" fmla="*/ 3485 h 10000"/>
                <a:gd name="connsiteX46" fmla="*/ 7802 w 10000"/>
                <a:gd name="connsiteY46" fmla="*/ 3485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802 w 10000"/>
                <a:gd name="connsiteY131" fmla="*/ 9356 h 10000"/>
                <a:gd name="connsiteX132" fmla="*/ 7739 w 10000"/>
                <a:gd name="connsiteY132" fmla="*/ 9599 h 10000"/>
                <a:gd name="connsiteX133" fmla="*/ 7802 w 10000"/>
                <a:gd name="connsiteY133" fmla="*/ 9761 h 10000"/>
                <a:gd name="connsiteX134" fmla="*/ 7538 w 10000"/>
                <a:gd name="connsiteY134" fmla="*/ 9639 h 10000"/>
                <a:gd name="connsiteX135" fmla="*/ 7417 w 10000"/>
                <a:gd name="connsiteY135" fmla="*/ 9522 h 10000"/>
                <a:gd name="connsiteX136" fmla="*/ 7354 w 10000"/>
                <a:gd name="connsiteY136" fmla="*/ 9231 h 10000"/>
                <a:gd name="connsiteX137" fmla="*/ 7399 w 10000"/>
                <a:gd name="connsiteY137" fmla="*/ 9465 h 10000"/>
                <a:gd name="connsiteX138" fmla="*/ 7004 w 10000"/>
                <a:gd name="connsiteY138" fmla="*/ 9435 h 10000"/>
                <a:gd name="connsiteX139" fmla="*/ 7004 w 10000"/>
                <a:gd name="connsiteY139" fmla="*/ 9388 h 10000"/>
                <a:gd name="connsiteX140" fmla="*/ 6965 w 10000"/>
                <a:gd name="connsiteY140" fmla="*/ 9388 h 10000"/>
                <a:gd name="connsiteX141" fmla="*/ 6809 w 10000"/>
                <a:gd name="connsiteY141" fmla="*/ 9309 h 10000"/>
                <a:gd name="connsiteX142" fmla="*/ 6615 w 10000"/>
                <a:gd name="connsiteY142" fmla="*/ 9231 h 10000"/>
                <a:gd name="connsiteX143" fmla="*/ 6167 w 10000"/>
                <a:gd name="connsiteY143" fmla="*/ 9199 h 10000"/>
                <a:gd name="connsiteX144" fmla="*/ 6109 w 10000"/>
                <a:gd name="connsiteY144" fmla="*/ 9152 h 10000"/>
                <a:gd name="connsiteX145" fmla="*/ 5817 w 10000"/>
                <a:gd name="connsiteY145" fmla="*/ 9074 h 10000"/>
                <a:gd name="connsiteX146" fmla="*/ 5661 w 10000"/>
                <a:gd name="connsiteY146" fmla="*/ 9027 h 10000"/>
                <a:gd name="connsiteX147" fmla="*/ 5564 w 10000"/>
                <a:gd name="connsiteY147" fmla="*/ 8917 h 10000"/>
                <a:gd name="connsiteX148" fmla="*/ 5214 w 10000"/>
                <a:gd name="connsiteY148" fmla="*/ 8744 h 10000"/>
                <a:gd name="connsiteX149" fmla="*/ 4864 w 10000"/>
                <a:gd name="connsiteY149" fmla="*/ 8634 h 10000"/>
                <a:gd name="connsiteX150" fmla="*/ 4825 w 10000"/>
                <a:gd name="connsiteY150" fmla="*/ 8666 h 10000"/>
                <a:gd name="connsiteX151" fmla="*/ 4864 w 10000"/>
                <a:gd name="connsiteY151" fmla="*/ 8634 h 10000"/>
                <a:gd name="connsiteX152" fmla="*/ 4767 w 10000"/>
                <a:gd name="connsiteY152" fmla="*/ 8666 h 10000"/>
                <a:gd name="connsiteX153" fmla="*/ 4669 w 10000"/>
                <a:gd name="connsiteY153" fmla="*/ 8666 h 10000"/>
                <a:gd name="connsiteX154" fmla="*/ 4475 w 10000"/>
                <a:gd name="connsiteY154" fmla="*/ 8587 h 10000"/>
                <a:gd name="connsiteX155" fmla="*/ 4377 w 10000"/>
                <a:gd name="connsiteY155" fmla="*/ 8556 h 10000"/>
                <a:gd name="connsiteX156" fmla="*/ 4319 w 10000"/>
                <a:gd name="connsiteY156" fmla="*/ 8556 h 10000"/>
                <a:gd name="connsiteX157" fmla="*/ 4222 w 10000"/>
                <a:gd name="connsiteY157" fmla="*/ 8587 h 10000"/>
                <a:gd name="connsiteX158" fmla="*/ 4183 w 10000"/>
                <a:gd name="connsiteY158" fmla="*/ 8666 h 10000"/>
                <a:gd name="connsiteX159" fmla="*/ 4183 w 10000"/>
                <a:gd name="connsiteY159" fmla="*/ 8791 h 10000"/>
                <a:gd name="connsiteX160" fmla="*/ 4086 w 10000"/>
                <a:gd name="connsiteY160" fmla="*/ 9309 h 10000"/>
                <a:gd name="connsiteX161" fmla="*/ 4125 w 10000"/>
                <a:gd name="connsiteY161" fmla="*/ 9388 h 10000"/>
                <a:gd name="connsiteX162" fmla="*/ 4280 w 10000"/>
                <a:gd name="connsiteY162" fmla="*/ 9466 h 10000"/>
                <a:gd name="connsiteX163" fmla="*/ 4669 w 10000"/>
                <a:gd name="connsiteY163" fmla="*/ 9670 h 10000"/>
                <a:gd name="connsiteX164" fmla="*/ 4669 w 10000"/>
                <a:gd name="connsiteY164" fmla="*/ 9749 h 10000"/>
                <a:gd name="connsiteX165" fmla="*/ 4669 w 10000"/>
                <a:gd name="connsiteY165" fmla="*/ 9827 h 10000"/>
                <a:gd name="connsiteX166" fmla="*/ 4572 w 10000"/>
                <a:gd name="connsiteY166" fmla="*/ 9922 h 10000"/>
                <a:gd name="connsiteX167" fmla="*/ 4377 w 10000"/>
                <a:gd name="connsiteY167" fmla="*/ 10000 h 10000"/>
                <a:gd name="connsiteX168" fmla="*/ 4222 w 10000"/>
                <a:gd name="connsiteY168" fmla="*/ 9953 h 10000"/>
                <a:gd name="connsiteX169" fmla="*/ 4086 w 10000"/>
                <a:gd name="connsiteY169" fmla="*/ 9874 h 10000"/>
                <a:gd name="connsiteX170" fmla="*/ 3930 w 10000"/>
                <a:gd name="connsiteY170" fmla="*/ 9796 h 10000"/>
                <a:gd name="connsiteX171" fmla="*/ 3930 w 10000"/>
                <a:gd name="connsiteY171" fmla="*/ 9717 h 10000"/>
                <a:gd name="connsiteX172" fmla="*/ 3930 w 10000"/>
                <a:gd name="connsiteY172" fmla="*/ 9560 h 10000"/>
                <a:gd name="connsiteX173" fmla="*/ 3872 w 10000"/>
                <a:gd name="connsiteY173" fmla="*/ 9513 h 10000"/>
                <a:gd name="connsiteX174" fmla="*/ 3833 w 10000"/>
                <a:gd name="connsiteY174" fmla="*/ 9466 h 10000"/>
                <a:gd name="connsiteX175" fmla="*/ 3774 w 10000"/>
                <a:gd name="connsiteY175" fmla="*/ 9513 h 10000"/>
                <a:gd name="connsiteX176" fmla="*/ 3521 w 10000"/>
                <a:gd name="connsiteY176" fmla="*/ 9560 h 10000"/>
                <a:gd name="connsiteX177" fmla="*/ 3424 w 10000"/>
                <a:gd name="connsiteY177" fmla="*/ 9560 h 10000"/>
                <a:gd name="connsiteX178" fmla="*/ 3288 w 10000"/>
                <a:gd name="connsiteY178" fmla="*/ 9513 h 10000"/>
                <a:gd name="connsiteX179" fmla="*/ 3132 w 10000"/>
                <a:gd name="connsiteY179" fmla="*/ 9435 h 10000"/>
                <a:gd name="connsiteX180" fmla="*/ 2938 w 10000"/>
                <a:gd name="connsiteY180" fmla="*/ 9356 h 10000"/>
                <a:gd name="connsiteX181" fmla="*/ 2724 w 10000"/>
                <a:gd name="connsiteY181" fmla="*/ 9309 h 10000"/>
                <a:gd name="connsiteX182" fmla="*/ 2432 w 10000"/>
                <a:gd name="connsiteY182" fmla="*/ 9278 h 10000"/>
                <a:gd name="connsiteX183" fmla="*/ 2393 w 10000"/>
                <a:gd name="connsiteY183" fmla="*/ 9199 h 10000"/>
                <a:gd name="connsiteX184" fmla="*/ 2276 w 10000"/>
                <a:gd name="connsiteY184" fmla="*/ 9152 h 10000"/>
                <a:gd name="connsiteX185" fmla="*/ 2179 w 10000"/>
                <a:gd name="connsiteY185" fmla="*/ 9074 h 10000"/>
                <a:gd name="connsiteX186" fmla="*/ 2179 w 10000"/>
                <a:gd name="connsiteY186" fmla="*/ 8948 h 10000"/>
                <a:gd name="connsiteX187" fmla="*/ 2179 w 10000"/>
                <a:gd name="connsiteY187" fmla="*/ 8870 h 10000"/>
                <a:gd name="connsiteX188" fmla="*/ 2237 w 10000"/>
                <a:gd name="connsiteY188" fmla="*/ 8838 h 10000"/>
                <a:gd name="connsiteX189" fmla="*/ 2335 w 10000"/>
                <a:gd name="connsiteY189" fmla="*/ 8791 h 10000"/>
                <a:gd name="connsiteX190" fmla="*/ 2490 w 10000"/>
                <a:gd name="connsiteY190" fmla="*/ 8791 h 10000"/>
                <a:gd name="connsiteX191" fmla="*/ 2529 w 10000"/>
                <a:gd name="connsiteY191" fmla="*/ 8744 h 10000"/>
                <a:gd name="connsiteX192" fmla="*/ 2626 w 10000"/>
                <a:gd name="connsiteY192" fmla="*/ 8713 h 10000"/>
                <a:gd name="connsiteX193" fmla="*/ 2685 w 10000"/>
                <a:gd name="connsiteY193" fmla="*/ 8556 h 10000"/>
                <a:gd name="connsiteX194" fmla="*/ 2626 w 10000"/>
                <a:gd name="connsiteY194" fmla="*/ 8383 h 10000"/>
                <a:gd name="connsiteX195" fmla="*/ 2588 w 10000"/>
                <a:gd name="connsiteY195" fmla="*/ 8195 h 10000"/>
                <a:gd name="connsiteX196" fmla="*/ 2432 w 10000"/>
                <a:gd name="connsiteY196" fmla="*/ 8022 h 10000"/>
                <a:gd name="connsiteX197" fmla="*/ 2393 w 10000"/>
                <a:gd name="connsiteY197" fmla="*/ 7991 h 10000"/>
                <a:gd name="connsiteX198" fmla="*/ 2335 w 10000"/>
                <a:gd name="connsiteY198" fmla="*/ 7943 h 10000"/>
                <a:gd name="connsiteX199" fmla="*/ 2393 w 10000"/>
                <a:gd name="connsiteY199" fmla="*/ 7865 h 10000"/>
                <a:gd name="connsiteX200" fmla="*/ 2432 w 10000"/>
                <a:gd name="connsiteY200" fmla="*/ 7834 h 10000"/>
                <a:gd name="connsiteX201" fmla="*/ 2490 w 10000"/>
                <a:gd name="connsiteY201" fmla="*/ 7834 h 10000"/>
                <a:gd name="connsiteX202" fmla="*/ 2588 w 10000"/>
                <a:gd name="connsiteY202" fmla="*/ 7834 h 10000"/>
                <a:gd name="connsiteX203" fmla="*/ 2685 w 10000"/>
                <a:gd name="connsiteY203" fmla="*/ 7834 h 10000"/>
                <a:gd name="connsiteX204" fmla="*/ 2782 w 10000"/>
                <a:gd name="connsiteY204" fmla="*/ 7912 h 10000"/>
                <a:gd name="connsiteX205" fmla="*/ 2938 w 10000"/>
                <a:gd name="connsiteY205" fmla="*/ 7991 h 10000"/>
                <a:gd name="connsiteX206" fmla="*/ 3074 w 10000"/>
                <a:gd name="connsiteY206" fmla="*/ 8069 h 10000"/>
                <a:gd name="connsiteX207" fmla="*/ 3230 w 10000"/>
                <a:gd name="connsiteY207" fmla="*/ 8100 h 10000"/>
                <a:gd name="connsiteX208" fmla="*/ 3230 w 10000"/>
                <a:gd name="connsiteY208" fmla="*/ 8069 h 10000"/>
                <a:gd name="connsiteX209" fmla="*/ 3288 w 10000"/>
                <a:gd name="connsiteY209" fmla="*/ 8069 h 10000"/>
                <a:gd name="connsiteX210" fmla="*/ 3327 w 10000"/>
                <a:gd name="connsiteY210" fmla="*/ 7912 h 10000"/>
                <a:gd name="connsiteX211" fmla="*/ 3327 w 10000"/>
                <a:gd name="connsiteY211" fmla="*/ 7786 h 10000"/>
                <a:gd name="connsiteX212" fmla="*/ 3327 w 10000"/>
                <a:gd name="connsiteY212" fmla="*/ 7708 h 10000"/>
                <a:gd name="connsiteX213" fmla="*/ 3230 w 10000"/>
                <a:gd name="connsiteY213" fmla="*/ 7582 h 10000"/>
                <a:gd name="connsiteX214" fmla="*/ 2977 w 10000"/>
                <a:gd name="connsiteY214" fmla="*/ 7378 h 10000"/>
                <a:gd name="connsiteX215" fmla="*/ 2685 w 10000"/>
                <a:gd name="connsiteY215" fmla="*/ 7064 h 10000"/>
                <a:gd name="connsiteX216" fmla="*/ 2724 w 10000"/>
                <a:gd name="connsiteY216" fmla="*/ 6986 h 10000"/>
                <a:gd name="connsiteX217" fmla="*/ 2782 w 10000"/>
                <a:gd name="connsiteY217" fmla="*/ 6986 h 10000"/>
                <a:gd name="connsiteX218" fmla="*/ 3035 w 10000"/>
                <a:gd name="connsiteY218" fmla="*/ 7017 h 10000"/>
                <a:gd name="connsiteX219" fmla="*/ 3230 w 10000"/>
                <a:gd name="connsiteY219" fmla="*/ 7017 h 10000"/>
                <a:gd name="connsiteX220" fmla="*/ 3288 w 10000"/>
                <a:gd name="connsiteY220" fmla="*/ 7017 h 10000"/>
                <a:gd name="connsiteX221" fmla="*/ 3288 w 10000"/>
                <a:gd name="connsiteY221" fmla="*/ 6986 h 10000"/>
                <a:gd name="connsiteX222" fmla="*/ 3171 w 10000"/>
                <a:gd name="connsiteY222" fmla="*/ 6829 h 10000"/>
                <a:gd name="connsiteX223" fmla="*/ 2977 w 10000"/>
                <a:gd name="connsiteY223" fmla="*/ 6656 h 10000"/>
                <a:gd name="connsiteX224" fmla="*/ 2840 w 10000"/>
                <a:gd name="connsiteY224" fmla="*/ 6546 h 10000"/>
                <a:gd name="connsiteX225" fmla="*/ 2588 w 10000"/>
                <a:gd name="connsiteY225" fmla="*/ 6468 h 10000"/>
                <a:gd name="connsiteX226" fmla="*/ 2335 w 10000"/>
                <a:gd name="connsiteY226" fmla="*/ 6421 h 10000"/>
                <a:gd name="connsiteX227" fmla="*/ 1634 w 10000"/>
                <a:gd name="connsiteY227" fmla="*/ 6421 h 10000"/>
                <a:gd name="connsiteX228" fmla="*/ 1245 w 10000"/>
                <a:gd name="connsiteY228" fmla="*/ 6374 h 10000"/>
                <a:gd name="connsiteX229" fmla="*/ 1089 w 10000"/>
                <a:gd name="connsiteY229" fmla="*/ 6421 h 10000"/>
                <a:gd name="connsiteX230" fmla="*/ 992 w 10000"/>
                <a:gd name="connsiteY230" fmla="*/ 6468 h 10000"/>
                <a:gd name="connsiteX231" fmla="*/ 934 w 10000"/>
                <a:gd name="connsiteY231" fmla="*/ 6546 h 10000"/>
                <a:gd name="connsiteX232" fmla="*/ 798 w 10000"/>
                <a:gd name="connsiteY232" fmla="*/ 6295 h 10000"/>
                <a:gd name="connsiteX233" fmla="*/ 642 w 10000"/>
                <a:gd name="connsiteY233" fmla="*/ 6217 h 10000"/>
                <a:gd name="connsiteX234" fmla="*/ 447 w 10000"/>
                <a:gd name="connsiteY234" fmla="*/ 6138 h 10000"/>
                <a:gd name="connsiteX235" fmla="*/ 195 w 10000"/>
                <a:gd name="connsiteY235" fmla="*/ 5934 h 10000"/>
                <a:gd name="connsiteX236" fmla="*/ 97 w 10000"/>
                <a:gd name="connsiteY236" fmla="*/ 5824 h 10000"/>
                <a:gd name="connsiteX237" fmla="*/ 97 w 10000"/>
                <a:gd name="connsiteY237" fmla="*/ 5699 h 10000"/>
                <a:gd name="connsiteX238" fmla="*/ 195 w 10000"/>
                <a:gd name="connsiteY238" fmla="*/ 5777 h 10000"/>
                <a:gd name="connsiteX239" fmla="*/ 292 w 10000"/>
                <a:gd name="connsiteY239" fmla="*/ 5824 h 10000"/>
                <a:gd name="connsiteX240" fmla="*/ 447 w 10000"/>
                <a:gd name="connsiteY240" fmla="*/ 5856 h 10000"/>
                <a:gd name="connsiteX241" fmla="*/ 584 w 10000"/>
                <a:gd name="connsiteY241" fmla="*/ 5856 h 10000"/>
                <a:gd name="connsiteX242" fmla="*/ 700 w 10000"/>
                <a:gd name="connsiteY242" fmla="*/ 5824 h 10000"/>
                <a:gd name="connsiteX243" fmla="*/ 1187 w 10000"/>
                <a:gd name="connsiteY243" fmla="*/ 5824 h 10000"/>
                <a:gd name="connsiteX244" fmla="*/ 1342 w 10000"/>
                <a:gd name="connsiteY244" fmla="*/ 5651 h 10000"/>
                <a:gd name="connsiteX245" fmla="*/ 1381 w 10000"/>
                <a:gd name="connsiteY245" fmla="*/ 5573 h 10000"/>
                <a:gd name="connsiteX246" fmla="*/ 1498 w 10000"/>
                <a:gd name="connsiteY246" fmla="*/ 5573 h 10000"/>
                <a:gd name="connsiteX247" fmla="*/ 1537 w 10000"/>
                <a:gd name="connsiteY247" fmla="*/ 5573 h 10000"/>
                <a:gd name="connsiteX248" fmla="*/ 1595 w 10000"/>
                <a:gd name="connsiteY248" fmla="*/ 5651 h 10000"/>
                <a:gd name="connsiteX249" fmla="*/ 1693 w 10000"/>
                <a:gd name="connsiteY249" fmla="*/ 5824 h 10000"/>
                <a:gd name="connsiteX250" fmla="*/ 1732 w 10000"/>
                <a:gd name="connsiteY250" fmla="*/ 5981 h 10000"/>
                <a:gd name="connsiteX251" fmla="*/ 1829 w 10000"/>
                <a:gd name="connsiteY251" fmla="*/ 6060 h 10000"/>
                <a:gd name="connsiteX252" fmla="*/ 1946 w 10000"/>
                <a:gd name="connsiteY252" fmla="*/ 6060 h 10000"/>
                <a:gd name="connsiteX253" fmla="*/ 2043 w 10000"/>
                <a:gd name="connsiteY253" fmla="*/ 6060 h 10000"/>
                <a:gd name="connsiteX254" fmla="*/ 2082 w 10000"/>
                <a:gd name="connsiteY254" fmla="*/ 6013 h 10000"/>
                <a:gd name="connsiteX255" fmla="*/ 2179 w 10000"/>
                <a:gd name="connsiteY255" fmla="*/ 5856 h 10000"/>
                <a:gd name="connsiteX256" fmla="*/ 2237 w 10000"/>
                <a:gd name="connsiteY256" fmla="*/ 5542 h 10000"/>
                <a:gd name="connsiteX257" fmla="*/ 2335 w 10000"/>
                <a:gd name="connsiteY257" fmla="*/ 5463 h 10000"/>
                <a:gd name="connsiteX258" fmla="*/ 2432 w 10000"/>
                <a:gd name="connsiteY258" fmla="*/ 5463 h 10000"/>
                <a:gd name="connsiteX259" fmla="*/ 2529 w 10000"/>
                <a:gd name="connsiteY259" fmla="*/ 5416 h 10000"/>
                <a:gd name="connsiteX260" fmla="*/ 2588 w 10000"/>
                <a:gd name="connsiteY260" fmla="*/ 5338 h 10000"/>
                <a:gd name="connsiteX261" fmla="*/ 2529 w 10000"/>
                <a:gd name="connsiteY261" fmla="*/ 5259 h 10000"/>
                <a:gd name="connsiteX262" fmla="*/ 2490 w 10000"/>
                <a:gd name="connsiteY262" fmla="*/ 5212 h 10000"/>
                <a:gd name="connsiteX263" fmla="*/ 2432 w 10000"/>
                <a:gd name="connsiteY263" fmla="*/ 5181 h 10000"/>
                <a:gd name="connsiteX264" fmla="*/ 2432 w 10000"/>
                <a:gd name="connsiteY264" fmla="*/ 5133 h 10000"/>
                <a:gd name="connsiteX265" fmla="*/ 2432 w 10000"/>
                <a:gd name="connsiteY265" fmla="*/ 5055 h 10000"/>
                <a:gd name="connsiteX266" fmla="*/ 2490 w 10000"/>
                <a:gd name="connsiteY266" fmla="*/ 5024 h 10000"/>
                <a:gd name="connsiteX267" fmla="*/ 2685 w 10000"/>
                <a:gd name="connsiteY267" fmla="*/ 5024 h 10000"/>
                <a:gd name="connsiteX268" fmla="*/ 2840 w 10000"/>
                <a:gd name="connsiteY268" fmla="*/ 5024 h 10000"/>
                <a:gd name="connsiteX269" fmla="*/ 2879 w 10000"/>
                <a:gd name="connsiteY269" fmla="*/ 4976 h 10000"/>
                <a:gd name="connsiteX270" fmla="*/ 2938 w 10000"/>
                <a:gd name="connsiteY270" fmla="*/ 4898 h 10000"/>
                <a:gd name="connsiteX271" fmla="*/ 2879 w 10000"/>
                <a:gd name="connsiteY271" fmla="*/ 4851 h 10000"/>
                <a:gd name="connsiteX272" fmla="*/ 2840 w 10000"/>
                <a:gd name="connsiteY272" fmla="*/ 4772 h 10000"/>
                <a:gd name="connsiteX273" fmla="*/ 2782 w 10000"/>
                <a:gd name="connsiteY273" fmla="*/ 4741 h 10000"/>
                <a:gd name="connsiteX274" fmla="*/ 2782 w 10000"/>
                <a:gd name="connsiteY274" fmla="*/ 4694 h 10000"/>
                <a:gd name="connsiteX275" fmla="*/ 2840 w 10000"/>
                <a:gd name="connsiteY275" fmla="*/ 4647 h 10000"/>
                <a:gd name="connsiteX276" fmla="*/ 2879 w 10000"/>
                <a:gd name="connsiteY276" fmla="*/ 4615 h 10000"/>
                <a:gd name="connsiteX277" fmla="*/ 3074 w 10000"/>
                <a:gd name="connsiteY277" fmla="*/ 4568 h 10000"/>
                <a:gd name="connsiteX278" fmla="*/ 2782 w 10000"/>
                <a:gd name="connsiteY278" fmla="*/ 4411 h 10000"/>
                <a:gd name="connsiteX279" fmla="*/ 2685 w 10000"/>
                <a:gd name="connsiteY279" fmla="*/ 4333 h 10000"/>
                <a:gd name="connsiteX280" fmla="*/ 2626 w 10000"/>
                <a:gd name="connsiteY280" fmla="*/ 4207 h 10000"/>
                <a:gd name="connsiteX281" fmla="*/ 2626 w 10000"/>
                <a:gd name="connsiteY281" fmla="*/ 3925 h 10000"/>
                <a:gd name="connsiteX282" fmla="*/ 2626 w 10000"/>
                <a:gd name="connsiteY282" fmla="*/ 3815 h 10000"/>
                <a:gd name="connsiteX283" fmla="*/ 2588 w 10000"/>
                <a:gd name="connsiteY283" fmla="*/ 3689 h 10000"/>
                <a:gd name="connsiteX284" fmla="*/ 2490 w 10000"/>
                <a:gd name="connsiteY284" fmla="*/ 3658 h 10000"/>
                <a:gd name="connsiteX285" fmla="*/ 2276 w 10000"/>
                <a:gd name="connsiteY285" fmla="*/ 3564 h 10000"/>
                <a:gd name="connsiteX286" fmla="*/ 2043 w 10000"/>
                <a:gd name="connsiteY286" fmla="*/ 3375 h 10000"/>
                <a:gd name="connsiteX287" fmla="*/ 1984 w 10000"/>
                <a:gd name="connsiteY287" fmla="*/ 3297 h 10000"/>
                <a:gd name="connsiteX288" fmla="*/ 1946 w 10000"/>
                <a:gd name="connsiteY288" fmla="*/ 3203 h 10000"/>
                <a:gd name="connsiteX289" fmla="*/ 1829 w 10000"/>
                <a:gd name="connsiteY289" fmla="*/ 3203 h 10000"/>
                <a:gd name="connsiteX290" fmla="*/ 1693 w 10000"/>
                <a:gd name="connsiteY290" fmla="*/ 3203 h 10000"/>
                <a:gd name="connsiteX291" fmla="*/ 1634 w 10000"/>
                <a:gd name="connsiteY291" fmla="*/ 3250 h 10000"/>
                <a:gd name="connsiteX292" fmla="*/ 1537 w 10000"/>
                <a:gd name="connsiteY292" fmla="*/ 3250 h 10000"/>
                <a:gd name="connsiteX293" fmla="*/ 1342 w 10000"/>
                <a:gd name="connsiteY293" fmla="*/ 3171 h 10000"/>
                <a:gd name="connsiteX294" fmla="*/ 1089 w 10000"/>
                <a:gd name="connsiteY294" fmla="*/ 3014 h 10000"/>
                <a:gd name="connsiteX295" fmla="*/ 934 w 10000"/>
                <a:gd name="connsiteY295" fmla="*/ 2967 h 10000"/>
                <a:gd name="connsiteX296" fmla="*/ 739 w 10000"/>
                <a:gd name="connsiteY296" fmla="*/ 2920 h 10000"/>
                <a:gd name="connsiteX297" fmla="*/ 642 w 10000"/>
                <a:gd name="connsiteY297" fmla="*/ 2841 h 10000"/>
                <a:gd name="connsiteX298" fmla="*/ 486 w 10000"/>
                <a:gd name="connsiteY298" fmla="*/ 2684 h 10000"/>
                <a:gd name="connsiteX299" fmla="*/ 292 w 10000"/>
                <a:gd name="connsiteY299" fmla="*/ 2402 h 10000"/>
                <a:gd name="connsiteX300" fmla="*/ 97 w 10000"/>
                <a:gd name="connsiteY300" fmla="*/ 2009 h 10000"/>
                <a:gd name="connsiteX301" fmla="*/ 39 w 10000"/>
                <a:gd name="connsiteY301" fmla="*/ 1601 h 10000"/>
                <a:gd name="connsiteX302" fmla="*/ 0 w 10000"/>
                <a:gd name="connsiteY302" fmla="*/ 1397 h 10000"/>
                <a:gd name="connsiteX303" fmla="*/ 39 w 10000"/>
                <a:gd name="connsiteY303" fmla="*/ 1193 h 10000"/>
                <a:gd name="connsiteX304" fmla="*/ 97 w 10000"/>
                <a:gd name="connsiteY304" fmla="*/ 1036 h 10000"/>
                <a:gd name="connsiteX305" fmla="*/ 136 w 10000"/>
                <a:gd name="connsiteY305" fmla="*/ 926 h 10000"/>
                <a:gd name="connsiteX306" fmla="*/ 253 w 10000"/>
                <a:gd name="connsiteY306" fmla="*/ 832 h 10000"/>
                <a:gd name="connsiteX307" fmla="*/ 389 w 10000"/>
                <a:gd name="connsiteY307" fmla="*/ 801 h 10000"/>
                <a:gd name="connsiteX308" fmla="*/ 642 w 10000"/>
                <a:gd name="connsiteY308" fmla="*/ 801 h 10000"/>
                <a:gd name="connsiteX309" fmla="*/ 934 w 10000"/>
                <a:gd name="connsiteY309" fmla="*/ 754 h 10000"/>
                <a:gd name="connsiteX310" fmla="*/ 1148 w 10000"/>
                <a:gd name="connsiteY310" fmla="*/ 722 h 10000"/>
                <a:gd name="connsiteX311" fmla="*/ 1245 w 10000"/>
                <a:gd name="connsiteY311" fmla="*/ 675 h 10000"/>
                <a:gd name="connsiteX312" fmla="*/ 1342 w 10000"/>
                <a:gd name="connsiteY312" fmla="*/ 597 h 10000"/>
                <a:gd name="connsiteX313" fmla="*/ 1440 w 10000"/>
                <a:gd name="connsiteY313" fmla="*/ 565 h 10000"/>
                <a:gd name="connsiteX314" fmla="*/ 1537 w 10000"/>
                <a:gd name="connsiteY314" fmla="*/ 565 h 10000"/>
                <a:gd name="connsiteX315" fmla="*/ 1946 w 10000"/>
                <a:gd name="connsiteY315" fmla="*/ 565 h 10000"/>
                <a:gd name="connsiteX316" fmla="*/ 2276 w 10000"/>
                <a:gd name="connsiteY316" fmla="*/ 597 h 10000"/>
                <a:gd name="connsiteX317" fmla="*/ 2490 w 10000"/>
                <a:gd name="connsiteY317" fmla="*/ 644 h 10000"/>
                <a:gd name="connsiteX318" fmla="*/ 2626 w 10000"/>
                <a:gd name="connsiteY318" fmla="*/ 722 h 10000"/>
                <a:gd name="connsiteX319" fmla="*/ 2782 w 10000"/>
                <a:gd name="connsiteY319" fmla="*/ 754 h 10000"/>
                <a:gd name="connsiteX320" fmla="*/ 2879 w 10000"/>
                <a:gd name="connsiteY320" fmla="*/ 722 h 10000"/>
                <a:gd name="connsiteX321" fmla="*/ 2977 w 10000"/>
                <a:gd name="connsiteY321" fmla="*/ 675 h 10000"/>
                <a:gd name="connsiteX322" fmla="*/ 3132 w 10000"/>
                <a:gd name="connsiteY322" fmla="*/ 597 h 10000"/>
                <a:gd name="connsiteX323" fmla="*/ 3288 w 10000"/>
                <a:gd name="connsiteY323" fmla="*/ 518 h 10000"/>
                <a:gd name="connsiteX324" fmla="*/ 3482 w 10000"/>
                <a:gd name="connsiteY324" fmla="*/ 283 h 10000"/>
                <a:gd name="connsiteX325" fmla="*/ 3638 w 10000"/>
                <a:gd name="connsiteY325" fmla="*/ 78 h 10000"/>
                <a:gd name="connsiteX326" fmla="*/ 3735 w 10000"/>
                <a:gd name="connsiteY326" fmla="*/ 0 h 10000"/>
                <a:gd name="connsiteX327" fmla="*/ 3638 w 10000"/>
                <a:gd name="connsiteY327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18 w 10000"/>
                <a:gd name="connsiteY40" fmla="*/ 3250 h 10000"/>
                <a:gd name="connsiteX41" fmla="*/ 7354 w 10000"/>
                <a:gd name="connsiteY41" fmla="*/ 3250 h 10000"/>
                <a:gd name="connsiteX42" fmla="*/ 7412 w 10000"/>
                <a:gd name="connsiteY42" fmla="*/ 3297 h 10000"/>
                <a:gd name="connsiteX43" fmla="*/ 7568 w 10000"/>
                <a:gd name="connsiteY43" fmla="*/ 3375 h 10000"/>
                <a:gd name="connsiteX44" fmla="*/ 7665 w 10000"/>
                <a:gd name="connsiteY44" fmla="*/ 3454 h 10000"/>
                <a:gd name="connsiteX45" fmla="*/ 7704 w 10000"/>
                <a:gd name="connsiteY45" fmla="*/ 3485 h 10000"/>
                <a:gd name="connsiteX46" fmla="*/ 7802 w 10000"/>
                <a:gd name="connsiteY46" fmla="*/ 3485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538 w 10000"/>
                <a:gd name="connsiteY133" fmla="*/ 9639 h 10000"/>
                <a:gd name="connsiteX134" fmla="*/ 7417 w 10000"/>
                <a:gd name="connsiteY134" fmla="*/ 9522 h 10000"/>
                <a:gd name="connsiteX135" fmla="*/ 7354 w 10000"/>
                <a:gd name="connsiteY135" fmla="*/ 9231 h 10000"/>
                <a:gd name="connsiteX136" fmla="*/ 7399 w 10000"/>
                <a:gd name="connsiteY136" fmla="*/ 9465 h 10000"/>
                <a:gd name="connsiteX137" fmla="*/ 7004 w 10000"/>
                <a:gd name="connsiteY137" fmla="*/ 9435 h 10000"/>
                <a:gd name="connsiteX138" fmla="*/ 7004 w 10000"/>
                <a:gd name="connsiteY138" fmla="*/ 9388 h 10000"/>
                <a:gd name="connsiteX139" fmla="*/ 6965 w 10000"/>
                <a:gd name="connsiteY139" fmla="*/ 9388 h 10000"/>
                <a:gd name="connsiteX140" fmla="*/ 6809 w 10000"/>
                <a:gd name="connsiteY140" fmla="*/ 9309 h 10000"/>
                <a:gd name="connsiteX141" fmla="*/ 6615 w 10000"/>
                <a:gd name="connsiteY141" fmla="*/ 9231 h 10000"/>
                <a:gd name="connsiteX142" fmla="*/ 6167 w 10000"/>
                <a:gd name="connsiteY142" fmla="*/ 9199 h 10000"/>
                <a:gd name="connsiteX143" fmla="*/ 6109 w 10000"/>
                <a:gd name="connsiteY143" fmla="*/ 9152 h 10000"/>
                <a:gd name="connsiteX144" fmla="*/ 5817 w 10000"/>
                <a:gd name="connsiteY144" fmla="*/ 9074 h 10000"/>
                <a:gd name="connsiteX145" fmla="*/ 5661 w 10000"/>
                <a:gd name="connsiteY145" fmla="*/ 9027 h 10000"/>
                <a:gd name="connsiteX146" fmla="*/ 5564 w 10000"/>
                <a:gd name="connsiteY146" fmla="*/ 8917 h 10000"/>
                <a:gd name="connsiteX147" fmla="*/ 5214 w 10000"/>
                <a:gd name="connsiteY147" fmla="*/ 8744 h 10000"/>
                <a:gd name="connsiteX148" fmla="*/ 4864 w 10000"/>
                <a:gd name="connsiteY148" fmla="*/ 8634 h 10000"/>
                <a:gd name="connsiteX149" fmla="*/ 4825 w 10000"/>
                <a:gd name="connsiteY149" fmla="*/ 8666 h 10000"/>
                <a:gd name="connsiteX150" fmla="*/ 4864 w 10000"/>
                <a:gd name="connsiteY150" fmla="*/ 8634 h 10000"/>
                <a:gd name="connsiteX151" fmla="*/ 4767 w 10000"/>
                <a:gd name="connsiteY151" fmla="*/ 8666 h 10000"/>
                <a:gd name="connsiteX152" fmla="*/ 4669 w 10000"/>
                <a:gd name="connsiteY152" fmla="*/ 8666 h 10000"/>
                <a:gd name="connsiteX153" fmla="*/ 4475 w 10000"/>
                <a:gd name="connsiteY153" fmla="*/ 8587 h 10000"/>
                <a:gd name="connsiteX154" fmla="*/ 4377 w 10000"/>
                <a:gd name="connsiteY154" fmla="*/ 8556 h 10000"/>
                <a:gd name="connsiteX155" fmla="*/ 4319 w 10000"/>
                <a:gd name="connsiteY155" fmla="*/ 8556 h 10000"/>
                <a:gd name="connsiteX156" fmla="*/ 4222 w 10000"/>
                <a:gd name="connsiteY156" fmla="*/ 8587 h 10000"/>
                <a:gd name="connsiteX157" fmla="*/ 4183 w 10000"/>
                <a:gd name="connsiteY157" fmla="*/ 8666 h 10000"/>
                <a:gd name="connsiteX158" fmla="*/ 4183 w 10000"/>
                <a:gd name="connsiteY158" fmla="*/ 8791 h 10000"/>
                <a:gd name="connsiteX159" fmla="*/ 4086 w 10000"/>
                <a:gd name="connsiteY159" fmla="*/ 9309 h 10000"/>
                <a:gd name="connsiteX160" fmla="*/ 4125 w 10000"/>
                <a:gd name="connsiteY160" fmla="*/ 9388 h 10000"/>
                <a:gd name="connsiteX161" fmla="*/ 4280 w 10000"/>
                <a:gd name="connsiteY161" fmla="*/ 9466 h 10000"/>
                <a:gd name="connsiteX162" fmla="*/ 4669 w 10000"/>
                <a:gd name="connsiteY162" fmla="*/ 9670 h 10000"/>
                <a:gd name="connsiteX163" fmla="*/ 4669 w 10000"/>
                <a:gd name="connsiteY163" fmla="*/ 9749 h 10000"/>
                <a:gd name="connsiteX164" fmla="*/ 4669 w 10000"/>
                <a:gd name="connsiteY164" fmla="*/ 9827 h 10000"/>
                <a:gd name="connsiteX165" fmla="*/ 4572 w 10000"/>
                <a:gd name="connsiteY165" fmla="*/ 9922 h 10000"/>
                <a:gd name="connsiteX166" fmla="*/ 4377 w 10000"/>
                <a:gd name="connsiteY166" fmla="*/ 10000 h 10000"/>
                <a:gd name="connsiteX167" fmla="*/ 4222 w 10000"/>
                <a:gd name="connsiteY167" fmla="*/ 9953 h 10000"/>
                <a:gd name="connsiteX168" fmla="*/ 4086 w 10000"/>
                <a:gd name="connsiteY168" fmla="*/ 9874 h 10000"/>
                <a:gd name="connsiteX169" fmla="*/ 3930 w 10000"/>
                <a:gd name="connsiteY169" fmla="*/ 9796 h 10000"/>
                <a:gd name="connsiteX170" fmla="*/ 3930 w 10000"/>
                <a:gd name="connsiteY170" fmla="*/ 9717 h 10000"/>
                <a:gd name="connsiteX171" fmla="*/ 3930 w 10000"/>
                <a:gd name="connsiteY171" fmla="*/ 9560 h 10000"/>
                <a:gd name="connsiteX172" fmla="*/ 3872 w 10000"/>
                <a:gd name="connsiteY172" fmla="*/ 9513 h 10000"/>
                <a:gd name="connsiteX173" fmla="*/ 3833 w 10000"/>
                <a:gd name="connsiteY173" fmla="*/ 9466 h 10000"/>
                <a:gd name="connsiteX174" fmla="*/ 3774 w 10000"/>
                <a:gd name="connsiteY174" fmla="*/ 9513 h 10000"/>
                <a:gd name="connsiteX175" fmla="*/ 3521 w 10000"/>
                <a:gd name="connsiteY175" fmla="*/ 9560 h 10000"/>
                <a:gd name="connsiteX176" fmla="*/ 3424 w 10000"/>
                <a:gd name="connsiteY176" fmla="*/ 9560 h 10000"/>
                <a:gd name="connsiteX177" fmla="*/ 3288 w 10000"/>
                <a:gd name="connsiteY177" fmla="*/ 9513 h 10000"/>
                <a:gd name="connsiteX178" fmla="*/ 3132 w 10000"/>
                <a:gd name="connsiteY178" fmla="*/ 9435 h 10000"/>
                <a:gd name="connsiteX179" fmla="*/ 2938 w 10000"/>
                <a:gd name="connsiteY179" fmla="*/ 9356 h 10000"/>
                <a:gd name="connsiteX180" fmla="*/ 2724 w 10000"/>
                <a:gd name="connsiteY180" fmla="*/ 9309 h 10000"/>
                <a:gd name="connsiteX181" fmla="*/ 2432 w 10000"/>
                <a:gd name="connsiteY181" fmla="*/ 9278 h 10000"/>
                <a:gd name="connsiteX182" fmla="*/ 2393 w 10000"/>
                <a:gd name="connsiteY182" fmla="*/ 9199 h 10000"/>
                <a:gd name="connsiteX183" fmla="*/ 2276 w 10000"/>
                <a:gd name="connsiteY183" fmla="*/ 9152 h 10000"/>
                <a:gd name="connsiteX184" fmla="*/ 2179 w 10000"/>
                <a:gd name="connsiteY184" fmla="*/ 9074 h 10000"/>
                <a:gd name="connsiteX185" fmla="*/ 2179 w 10000"/>
                <a:gd name="connsiteY185" fmla="*/ 8948 h 10000"/>
                <a:gd name="connsiteX186" fmla="*/ 2179 w 10000"/>
                <a:gd name="connsiteY186" fmla="*/ 8870 h 10000"/>
                <a:gd name="connsiteX187" fmla="*/ 2237 w 10000"/>
                <a:gd name="connsiteY187" fmla="*/ 8838 h 10000"/>
                <a:gd name="connsiteX188" fmla="*/ 2335 w 10000"/>
                <a:gd name="connsiteY188" fmla="*/ 8791 h 10000"/>
                <a:gd name="connsiteX189" fmla="*/ 2490 w 10000"/>
                <a:gd name="connsiteY189" fmla="*/ 8791 h 10000"/>
                <a:gd name="connsiteX190" fmla="*/ 2529 w 10000"/>
                <a:gd name="connsiteY190" fmla="*/ 8744 h 10000"/>
                <a:gd name="connsiteX191" fmla="*/ 2626 w 10000"/>
                <a:gd name="connsiteY191" fmla="*/ 8713 h 10000"/>
                <a:gd name="connsiteX192" fmla="*/ 2685 w 10000"/>
                <a:gd name="connsiteY192" fmla="*/ 8556 h 10000"/>
                <a:gd name="connsiteX193" fmla="*/ 2626 w 10000"/>
                <a:gd name="connsiteY193" fmla="*/ 8383 h 10000"/>
                <a:gd name="connsiteX194" fmla="*/ 2588 w 10000"/>
                <a:gd name="connsiteY194" fmla="*/ 8195 h 10000"/>
                <a:gd name="connsiteX195" fmla="*/ 2432 w 10000"/>
                <a:gd name="connsiteY195" fmla="*/ 8022 h 10000"/>
                <a:gd name="connsiteX196" fmla="*/ 2393 w 10000"/>
                <a:gd name="connsiteY196" fmla="*/ 7991 h 10000"/>
                <a:gd name="connsiteX197" fmla="*/ 2335 w 10000"/>
                <a:gd name="connsiteY197" fmla="*/ 7943 h 10000"/>
                <a:gd name="connsiteX198" fmla="*/ 2393 w 10000"/>
                <a:gd name="connsiteY198" fmla="*/ 7865 h 10000"/>
                <a:gd name="connsiteX199" fmla="*/ 2432 w 10000"/>
                <a:gd name="connsiteY199" fmla="*/ 7834 h 10000"/>
                <a:gd name="connsiteX200" fmla="*/ 2490 w 10000"/>
                <a:gd name="connsiteY200" fmla="*/ 7834 h 10000"/>
                <a:gd name="connsiteX201" fmla="*/ 2588 w 10000"/>
                <a:gd name="connsiteY201" fmla="*/ 7834 h 10000"/>
                <a:gd name="connsiteX202" fmla="*/ 2685 w 10000"/>
                <a:gd name="connsiteY202" fmla="*/ 7834 h 10000"/>
                <a:gd name="connsiteX203" fmla="*/ 2782 w 10000"/>
                <a:gd name="connsiteY203" fmla="*/ 7912 h 10000"/>
                <a:gd name="connsiteX204" fmla="*/ 2938 w 10000"/>
                <a:gd name="connsiteY204" fmla="*/ 7991 h 10000"/>
                <a:gd name="connsiteX205" fmla="*/ 3074 w 10000"/>
                <a:gd name="connsiteY205" fmla="*/ 8069 h 10000"/>
                <a:gd name="connsiteX206" fmla="*/ 3230 w 10000"/>
                <a:gd name="connsiteY206" fmla="*/ 8100 h 10000"/>
                <a:gd name="connsiteX207" fmla="*/ 3230 w 10000"/>
                <a:gd name="connsiteY207" fmla="*/ 8069 h 10000"/>
                <a:gd name="connsiteX208" fmla="*/ 3288 w 10000"/>
                <a:gd name="connsiteY208" fmla="*/ 8069 h 10000"/>
                <a:gd name="connsiteX209" fmla="*/ 3327 w 10000"/>
                <a:gd name="connsiteY209" fmla="*/ 7912 h 10000"/>
                <a:gd name="connsiteX210" fmla="*/ 3327 w 10000"/>
                <a:gd name="connsiteY210" fmla="*/ 7786 h 10000"/>
                <a:gd name="connsiteX211" fmla="*/ 3327 w 10000"/>
                <a:gd name="connsiteY211" fmla="*/ 7708 h 10000"/>
                <a:gd name="connsiteX212" fmla="*/ 3230 w 10000"/>
                <a:gd name="connsiteY212" fmla="*/ 7582 h 10000"/>
                <a:gd name="connsiteX213" fmla="*/ 2977 w 10000"/>
                <a:gd name="connsiteY213" fmla="*/ 7378 h 10000"/>
                <a:gd name="connsiteX214" fmla="*/ 2685 w 10000"/>
                <a:gd name="connsiteY214" fmla="*/ 7064 h 10000"/>
                <a:gd name="connsiteX215" fmla="*/ 2724 w 10000"/>
                <a:gd name="connsiteY215" fmla="*/ 6986 h 10000"/>
                <a:gd name="connsiteX216" fmla="*/ 2782 w 10000"/>
                <a:gd name="connsiteY216" fmla="*/ 6986 h 10000"/>
                <a:gd name="connsiteX217" fmla="*/ 3035 w 10000"/>
                <a:gd name="connsiteY217" fmla="*/ 7017 h 10000"/>
                <a:gd name="connsiteX218" fmla="*/ 3230 w 10000"/>
                <a:gd name="connsiteY218" fmla="*/ 7017 h 10000"/>
                <a:gd name="connsiteX219" fmla="*/ 3288 w 10000"/>
                <a:gd name="connsiteY219" fmla="*/ 7017 h 10000"/>
                <a:gd name="connsiteX220" fmla="*/ 3288 w 10000"/>
                <a:gd name="connsiteY220" fmla="*/ 6986 h 10000"/>
                <a:gd name="connsiteX221" fmla="*/ 3171 w 10000"/>
                <a:gd name="connsiteY221" fmla="*/ 6829 h 10000"/>
                <a:gd name="connsiteX222" fmla="*/ 2977 w 10000"/>
                <a:gd name="connsiteY222" fmla="*/ 6656 h 10000"/>
                <a:gd name="connsiteX223" fmla="*/ 2840 w 10000"/>
                <a:gd name="connsiteY223" fmla="*/ 6546 h 10000"/>
                <a:gd name="connsiteX224" fmla="*/ 2588 w 10000"/>
                <a:gd name="connsiteY224" fmla="*/ 6468 h 10000"/>
                <a:gd name="connsiteX225" fmla="*/ 2335 w 10000"/>
                <a:gd name="connsiteY225" fmla="*/ 6421 h 10000"/>
                <a:gd name="connsiteX226" fmla="*/ 1634 w 10000"/>
                <a:gd name="connsiteY226" fmla="*/ 6421 h 10000"/>
                <a:gd name="connsiteX227" fmla="*/ 1245 w 10000"/>
                <a:gd name="connsiteY227" fmla="*/ 6374 h 10000"/>
                <a:gd name="connsiteX228" fmla="*/ 1089 w 10000"/>
                <a:gd name="connsiteY228" fmla="*/ 6421 h 10000"/>
                <a:gd name="connsiteX229" fmla="*/ 992 w 10000"/>
                <a:gd name="connsiteY229" fmla="*/ 6468 h 10000"/>
                <a:gd name="connsiteX230" fmla="*/ 934 w 10000"/>
                <a:gd name="connsiteY230" fmla="*/ 6546 h 10000"/>
                <a:gd name="connsiteX231" fmla="*/ 798 w 10000"/>
                <a:gd name="connsiteY231" fmla="*/ 6295 h 10000"/>
                <a:gd name="connsiteX232" fmla="*/ 642 w 10000"/>
                <a:gd name="connsiteY232" fmla="*/ 6217 h 10000"/>
                <a:gd name="connsiteX233" fmla="*/ 447 w 10000"/>
                <a:gd name="connsiteY233" fmla="*/ 6138 h 10000"/>
                <a:gd name="connsiteX234" fmla="*/ 195 w 10000"/>
                <a:gd name="connsiteY234" fmla="*/ 5934 h 10000"/>
                <a:gd name="connsiteX235" fmla="*/ 97 w 10000"/>
                <a:gd name="connsiteY235" fmla="*/ 5824 h 10000"/>
                <a:gd name="connsiteX236" fmla="*/ 97 w 10000"/>
                <a:gd name="connsiteY236" fmla="*/ 5699 h 10000"/>
                <a:gd name="connsiteX237" fmla="*/ 195 w 10000"/>
                <a:gd name="connsiteY237" fmla="*/ 5777 h 10000"/>
                <a:gd name="connsiteX238" fmla="*/ 292 w 10000"/>
                <a:gd name="connsiteY238" fmla="*/ 5824 h 10000"/>
                <a:gd name="connsiteX239" fmla="*/ 447 w 10000"/>
                <a:gd name="connsiteY239" fmla="*/ 5856 h 10000"/>
                <a:gd name="connsiteX240" fmla="*/ 584 w 10000"/>
                <a:gd name="connsiteY240" fmla="*/ 5856 h 10000"/>
                <a:gd name="connsiteX241" fmla="*/ 700 w 10000"/>
                <a:gd name="connsiteY241" fmla="*/ 5824 h 10000"/>
                <a:gd name="connsiteX242" fmla="*/ 1187 w 10000"/>
                <a:gd name="connsiteY242" fmla="*/ 5824 h 10000"/>
                <a:gd name="connsiteX243" fmla="*/ 1342 w 10000"/>
                <a:gd name="connsiteY243" fmla="*/ 5651 h 10000"/>
                <a:gd name="connsiteX244" fmla="*/ 1381 w 10000"/>
                <a:gd name="connsiteY244" fmla="*/ 5573 h 10000"/>
                <a:gd name="connsiteX245" fmla="*/ 1498 w 10000"/>
                <a:gd name="connsiteY245" fmla="*/ 5573 h 10000"/>
                <a:gd name="connsiteX246" fmla="*/ 1537 w 10000"/>
                <a:gd name="connsiteY246" fmla="*/ 5573 h 10000"/>
                <a:gd name="connsiteX247" fmla="*/ 1595 w 10000"/>
                <a:gd name="connsiteY247" fmla="*/ 5651 h 10000"/>
                <a:gd name="connsiteX248" fmla="*/ 1693 w 10000"/>
                <a:gd name="connsiteY248" fmla="*/ 5824 h 10000"/>
                <a:gd name="connsiteX249" fmla="*/ 1732 w 10000"/>
                <a:gd name="connsiteY249" fmla="*/ 5981 h 10000"/>
                <a:gd name="connsiteX250" fmla="*/ 1829 w 10000"/>
                <a:gd name="connsiteY250" fmla="*/ 6060 h 10000"/>
                <a:gd name="connsiteX251" fmla="*/ 1946 w 10000"/>
                <a:gd name="connsiteY251" fmla="*/ 6060 h 10000"/>
                <a:gd name="connsiteX252" fmla="*/ 2043 w 10000"/>
                <a:gd name="connsiteY252" fmla="*/ 6060 h 10000"/>
                <a:gd name="connsiteX253" fmla="*/ 2082 w 10000"/>
                <a:gd name="connsiteY253" fmla="*/ 6013 h 10000"/>
                <a:gd name="connsiteX254" fmla="*/ 2179 w 10000"/>
                <a:gd name="connsiteY254" fmla="*/ 5856 h 10000"/>
                <a:gd name="connsiteX255" fmla="*/ 2237 w 10000"/>
                <a:gd name="connsiteY255" fmla="*/ 5542 h 10000"/>
                <a:gd name="connsiteX256" fmla="*/ 2335 w 10000"/>
                <a:gd name="connsiteY256" fmla="*/ 5463 h 10000"/>
                <a:gd name="connsiteX257" fmla="*/ 2432 w 10000"/>
                <a:gd name="connsiteY257" fmla="*/ 5463 h 10000"/>
                <a:gd name="connsiteX258" fmla="*/ 2529 w 10000"/>
                <a:gd name="connsiteY258" fmla="*/ 5416 h 10000"/>
                <a:gd name="connsiteX259" fmla="*/ 2588 w 10000"/>
                <a:gd name="connsiteY259" fmla="*/ 5338 h 10000"/>
                <a:gd name="connsiteX260" fmla="*/ 2529 w 10000"/>
                <a:gd name="connsiteY260" fmla="*/ 5259 h 10000"/>
                <a:gd name="connsiteX261" fmla="*/ 2490 w 10000"/>
                <a:gd name="connsiteY261" fmla="*/ 5212 h 10000"/>
                <a:gd name="connsiteX262" fmla="*/ 2432 w 10000"/>
                <a:gd name="connsiteY262" fmla="*/ 5181 h 10000"/>
                <a:gd name="connsiteX263" fmla="*/ 2432 w 10000"/>
                <a:gd name="connsiteY263" fmla="*/ 5133 h 10000"/>
                <a:gd name="connsiteX264" fmla="*/ 2432 w 10000"/>
                <a:gd name="connsiteY264" fmla="*/ 5055 h 10000"/>
                <a:gd name="connsiteX265" fmla="*/ 2490 w 10000"/>
                <a:gd name="connsiteY265" fmla="*/ 5024 h 10000"/>
                <a:gd name="connsiteX266" fmla="*/ 2685 w 10000"/>
                <a:gd name="connsiteY266" fmla="*/ 5024 h 10000"/>
                <a:gd name="connsiteX267" fmla="*/ 2840 w 10000"/>
                <a:gd name="connsiteY267" fmla="*/ 5024 h 10000"/>
                <a:gd name="connsiteX268" fmla="*/ 2879 w 10000"/>
                <a:gd name="connsiteY268" fmla="*/ 4976 h 10000"/>
                <a:gd name="connsiteX269" fmla="*/ 2938 w 10000"/>
                <a:gd name="connsiteY269" fmla="*/ 4898 h 10000"/>
                <a:gd name="connsiteX270" fmla="*/ 2879 w 10000"/>
                <a:gd name="connsiteY270" fmla="*/ 4851 h 10000"/>
                <a:gd name="connsiteX271" fmla="*/ 2840 w 10000"/>
                <a:gd name="connsiteY271" fmla="*/ 4772 h 10000"/>
                <a:gd name="connsiteX272" fmla="*/ 2782 w 10000"/>
                <a:gd name="connsiteY272" fmla="*/ 4741 h 10000"/>
                <a:gd name="connsiteX273" fmla="*/ 2782 w 10000"/>
                <a:gd name="connsiteY273" fmla="*/ 4694 h 10000"/>
                <a:gd name="connsiteX274" fmla="*/ 2840 w 10000"/>
                <a:gd name="connsiteY274" fmla="*/ 4647 h 10000"/>
                <a:gd name="connsiteX275" fmla="*/ 2879 w 10000"/>
                <a:gd name="connsiteY275" fmla="*/ 4615 h 10000"/>
                <a:gd name="connsiteX276" fmla="*/ 3074 w 10000"/>
                <a:gd name="connsiteY276" fmla="*/ 4568 h 10000"/>
                <a:gd name="connsiteX277" fmla="*/ 2782 w 10000"/>
                <a:gd name="connsiteY277" fmla="*/ 4411 h 10000"/>
                <a:gd name="connsiteX278" fmla="*/ 2685 w 10000"/>
                <a:gd name="connsiteY278" fmla="*/ 4333 h 10000"/>
                <a:gd name="connsiteX279" fmla="*/ 2626 w 10000"/>
                <a:gd name="connsiteY279" fmla="*/ 4207 h 10000"/>
                <a:gd name="connsiteX280" fmla="*/ 2626 w 10000"/>
                <a:gd name="connsiteY280" fmla="*/ 3925 h 10000"/>
                <a:gd name="connsiteX281" fmla="*/ 2626 w 10000"/>
                <a:gd name="connsiteY281" fmla="*/ 3815 h 10000"/>
                <a:gd name="connsiteX282" fmla="*/ 2588 w 10000"/>
                <a:gd name="connsiteY282" fmla="*/ 3689 h 10000"/>
                <a:gd name="connsiteX283" fmla="*/ 2490 w 10000"/>
                <a:gd name="connsiteY283" fmla="*/ 3658 h 10000"/>
                <a:gd name="connsiteX284" fmla="*/ 2276 w 10000"/>
                <a:gd name="connsiteY284" fmla="*/ 3564 h 10000"/>
                <a:gd name="connsiteX285" fmla="*/ 2043 w 10000"/>
                <a:gd name="connsiteY285" fmla="*/ 3375 h 10000"/>
                <a:gd name="connsiteX286" fmla="*/ 1984 w 10000"/>
                <a:gd name="connsiteY286" fmla="*/ 3297 h 10000"/>
                <a:gd name="connsiteX287" fmla="*/ 1946 w 10000"/>
                <a:gd name="connsiteY287" fmla="*/ 3203 h 10000"/>
                <a:gd name="connsiteX288" fmla="*/ 1829 w 10000"/>
                <a:gd name="connsiteY288" fmla="*/ 3203 h 10000"/>
                <a:gd name="connsiteX289" fmla="*/ 1693 w 10000"/>
                <a:gd name="connsiteY289" fmla="*/ 3203 h 10000"/>
                <a:gd name="connsiteX290" fmla="*/ 1634 w 10000"/>
                <a:gd name="connsiteY290" fmla="*/ 3250 h 10000"/>
                <a:gd name="connsiteX291" fmla="*/ 1537 w 10000"/>
                <a:gd name="connsiteY291" fmla="*/ 3250 h 10000"/>
                <a:gd name="connsiteX292" fmla="*/ 1342 w 10000"/>
                <a:gd name="connsiteY292" fmla="*/ 3171 h 10000"/>
                <a:gd name="connsiteX293" fmla="*/ 1089 w 10000"/>
                <a:gd name="connsiteY293" fmla="*/ 3014 h 10000"/>
                <a:gd name="connsiteX294" fmla="*/ 934 w 10000"/>
                <a:gd name="connsiteY294" fmla="*/ 2967 h 10000"/>
                <a:gd name="connsiteX295" fmla="*/ 739 w 10000"/>
                <a:gd name="connsiteY295" fmla="*/ 2920 h 10000"/>
                <a:gd name="connsiteX296" fmla="*/ 642 w 10000"/>
                <a:gd name="connsiteY296" fmla="*/ 2841 h 10000"/>
                <a:gd name="connsiteX297" fmla="*/ 486 w 10000"/>
                <a:gd name="connsiteY297" fmla="*/ 2684 h 10000"/>
                <a:gd name="connsiteX298" fmla="*/ 292 w 10000"/>
                <a:gd name="connsiteY298" fmla="*/ 2402 h 10000"/>
                <a:gd name="connsiteX299" fmla="*/ 97 w 10000"/>
                <a:gd name="connsiteY299" fmla="*/ 2009 h 10000"/>
                <a:gd name="connsiteX300" fmla="*/ 39 w 10000"/>
                <a:gd name="connsiteY300" fmla="*/ 1601 h 10000"/>
                <a:gd name="connsiteX301" fmla="*/ 0 w 10000"/>
                <a:gd name="connsiteY301" fmla="*/ 1397 h 10000"/>
                <a:gd name="connsiteX302" fmla="*/ 39 w 10000"/>
                <a:gd name="connsiteY302" fmla="*/ 1193 h 10000"/>
                <a:gd name="connsiteX303" fmla="*/ 97 w 10000"/>
                <a:gd name="connsiteY303" fmla="*/ 1036 h 10000"/>
                <a:gd name="connsiteX304" fmla="*/ 136 w 10000"/>
                <a:gd name="connsiteY304" fmla="*/ 926 h 10000"/>
                <a:gd name="connsiteX305" fmla="*/ 253 w 10000"/>
                <a:gd name="connsiteY305" fmla="*/ 832 h 10000"/>
                <a:gd name="connsiteX306" fmla="*/ 389 w 10000"/>
                <a:gd name="connsiteY306" fmla="*/ 801 h 10000"/>
                <a:gd name="connsiteX307" fmla="*/ 642 w 10000"/>
                <a:gd name="connsiteY307" fmla="*/ 801 h 10000"/>
                <a:gd name="connsiteX308" fmla="*/ 934 w 10000"/>
                <a:gd name="connsiteY308" fmla="*/ 754 h 10000"/>
                <a:gd name="connsiteX309" fmla="*/ 1148 w 10000"/>
                <a:gd name="connsiteY309" fmla="*/ 722 h 10000"/>
                <a:gd name="connsiteX310" fmla="*/ 1245 w 10000"/>
                <a:gd name="connsiteY310" fmla="*/ 675 h 10000"/>
                <a:gd name="connsiteX311" fmla="*/ 1342 w 10000"/>
                <a:gd name="connsiteY311" fmla="*/ 597 h 10000"/>
                <a:gd name="connsiteX312" fmla="*/ 1440 w 10000"/>
                <a:gd name="connsiteY312" fmla="*/ 565 h 10000"/>
                <a:gd name="connsiteX313" fmla="*/ 1537 w 10000"/>
                <a:gd name="connsiteY313" fmla="*/ 565 h 10000"/>
                <a:gd name="connsiteX314" fmla="*/ 1946 w 10000"/>
                <a:gd name="connsiteY314" fmla="*/ 565 h 10000"/>
                <a:gd name="connsiteX315" fmla="*/ 2276 w 10000"/>
                <a:gd name="connsiteY315" fmla="*/ 597 h 10000"/>
                <a:gd name="connsiteX316" fmla="*/ 2490 w 10000"/>
                <a:gd name="connsiteY316" fmla="*/ 644 h 10000"/>
                <a:gd name="connsiteX317" fmla="*/ 2626 w 10000"/>
                <a:gd name="connsiteY317" fmla="*/ 722 h 10000"/>
                <a:gd name="connsiteX318" fmla="*/ 2782 w 10000"/>
                <a:gd name="connsiteY318" fmla="*/ 754 h 10000"/>
                <a:gd name="connsiteX319" fmla="*/ 2879 w 10000"/>
                <a:gd name="connsiteY319" fmla="*/ 722 h 10000"/>
                <a:gd name="connsiteX320" fmla="*/ 2977 w 10000"/>
                <a:gd name="connsiteY320" fmla="*/ 675 h 10000"/>
                <a:gd name="connsiteX321" fmla="*/ 3132 w 10000"/>
                <a:gd name="connsiteY321" fmla="*/ 597 h 10000"/>
                <a:gd name="connsiteX322" fmla="*/ 3288 w 10000"/>
                <a:gd name="connsiteY322" fmla="*/ 518 h 10000"/>
                <a:gd name="connsiteX323" fmla="*/ 3482 w 10000"/>
                <a:gd name="connsiteY323" fmla="*/ 283 h 10000"/>
                <a:gd name="connsiteX324" fmla="*/ 3638 w 10000"/>
                <a:gd name="connsiteY324" fmla="*/ 78 h 10000"/>
                <a:gd name="connsiteX325" fmla="*/ 3735 w 10000"/>
                <a:gd name="connsiteY325" fmla="*/ 0 h 10000"/>
                <a:gd name="connsiteX326" fmla="*/ 3638 w 10000"/>
                <a:gd name="connsiteY326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18 w 10000"/>
                <a:gd name="connsiteY40" fmla="*/ 3250 h 10000"/>
                <a:gd name="connsiteX41" fmla="*/ 7354 w 10000"/>
                <a:gd name="connsiteY41" fmla="*/ 3250 h 10000"/>
                <a:gd name="connsiteX42" fmla="*/ 7412 w 10000"/>
                <a:gd name="connsiteY42" fmla="*/ 3297 h 10000"/>
                <a:gd name="connsiteX43" fmla="*/ 7568 w 10000"/>
                <a:gd name="connsiteY43" fmla="*/ 3375 h 10000"/>
                <a:gd name="connsiteX44" fmla="*/ 7665 w 10000"/>
                <a:gd name="connsiteY44" fmla="*/ 3454 h 10000"/>
                <a:gd name="connsiteX45" fmla="*/ 7704 w 10000"/>
                <a:gd name="connsiteY45" fmla="*/ 3485 h 10000"/>
                <a:gd name="connsiteX46" fmla="*/ 7802 w 10000"/>
                <a:gd name="connsiteY46" fmla="*/ 3485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538 w 10000"/>
                <a:gd name="connsiteY133" fmla="*/ 9639 h 10000"/>
                <a:gd name="connsiteX134" fmla="*/ 7417 w 10000"/>
                <a:gd name="connsiteY134" fmla="*/ 9522 h 10000"/>
                <a:gd name="connsiteX135" fmla="*/ 7399 w 10000"/>
                <a:gd name="connsiteY135" fmla="*/ 9465 h 10000"/>
                <a:gd name="connsiteX136" fmla="*/ 7004 w 10000"/>
                <a:gd name="connsiteY136" fmla="*/ 9435 h 10000"/>
                <a:gd name="connsiteX137" fmla="*/ 7004 w 10000"/>
                <a:gd name="connsiteY137" fmla="*/ 9388 h 10000"/>
                <a:gd name="connsiteX138" fmla="*/ 6965 w 10000"/>
                <a:gd name="connsiteY138" fmla="*/ 9388 h 10000"/>
                <a:gd name="connsiteX139" fmla="*/ 6809 w 10000"/>
                <a:gd name="connsiteY139" fmla="*/ 9309 h 10000"/>
                <a:gd name="connsiteX140" fmla="*/ 6615 w 10000"/>
                <a:gd name="connsiteY140" fmla="*/ 9231 h 10000"/>
                <a:gd name="connsiteX141" fmla="*/ 6167 w 10000"/>
                <a:gd name="connsiteY141" fmla="*/ 9199 h 10000"/>
                <a:gd name="connsiteX142" fmla="*/ 6109 w 10000"/>
                <a:gd name="connsiteY142" fmla="*/ 9152 h 10000"/>
                <a:gd name="connsiteX143" fmla="*/ 5817 w 10000"/>
                <a:gd name="connsiteY143" fmla="*/ 9074 h 10000"/>
                <a:gd name="connsiteX144" fmla="*/ 5661 w 10000"/>
                <a:gd name="connsiteY144" fmla="*/ 9027 h 10000"/>
                <a:gd name="connsiteX145" fmla="*/ 5564 w 10000"/>
                <a:gd name="connsiteY145" fmla="*/ 8917 h 10000"/>
                <a:gd name="connsiteX146" fmla="*/ 5214 w 10000"/>
                <a:gd name="connsiteY146" fmla="*/ 8744 h 10000"/>
                <a:gd name="connsiteX147" fmla="*/ 4864 w 10000"/>
                <a:gd name="connsiteY147" fmla="*/ 8634 h 10000"/>
                <a:gd name="connsiteX148" fmla="*/ 4825 w 10000"/>
                <a:gd name="connsiteY148" fmla="*/ 8666 h 10000"/>
                <a:gd name="connsiteX149" fmla="*/ 4864 w 10000"/>
                <a:gd name="connsiteY149" fmla="*/ 8634 h 10000"/>
                <a:gd name="connsiteX150" fmla="*/ 4767 w 10000"/>
                <a:gd name="connsiteY150" fmla="*/ 8666 h 10000"/>
                <a:gd name="connsiteX151" fmla="*/ 4669 w 10000"/>
                <a:gd name="connsiteY151" fmla="*/ 8666 h 10000"/>
                <a:gd name="connsiteX152" fmla="*/ 4475 w 10000"/>
                <a:gd name="connsiteY152" fmla="*/ 8587 h 10000"/>
                <a:gd name="connsiteX153" fmla="*/ 4377 w 10000"/>
                <a:gd name="connsiteY153" fmla="*/ 8556 h 10000"/>
                <a:gd name="connsiteX154" fmla="*/ 4319 w 10000"/>
                <a:gd name="connsiteY154" fmla="*/ 8556 h 10000"/>
                <a:gd name="connsiteX155" fmla="*/ 4222 w 10000"/>
                <a:gd name="connsiteY155" fmla="*/ 8587 h 10000"/>
                <a:gd name="connsiteX156" fmla="*/ 4183 w 10000"/>
                <a:gd name="connsiteY156" fmla="*/ 8666 h 10000"/>
                <a:gd name="connsiteX157" fmla="*/ 4183 w 10000"/>
                <a:gd name="connsiteY157" fmla="*/ 8791 h 10000"/>
                <a:gd name="connsiteX158" fmla="*/ 4086 w 10000"/>
                <a:gd name="connsiteY158" fmla="*/ 9309 h 10000"/>
                <a:gd name="connsiteX159" fmla="*/ 4125 w 10000"/>
                <a:gd name="connsiteY159" fmla="*/ 9388 h 10000"/>
                <a:gd name="connsiteX160" fmla="*/ 4280 w 10000"/>
                <a:gd name="connsiteY160" fmla="*/ 9466 h 10000"/>
                <a:gd name="connsiteX161" fmla="*/ 4669 w 10000"/>
                <a:gd name="connsiteY161" fmla="*/ 9670 h 10000"/>
                <a:gd name="connsiteX162" fmla="*/ 4669 w 10000"/>
                <a:gd name="connsiteY162" fmla="*/ 9749 h 10000"/>
                <a:gd name="connsiteX163" fmla="*/ 4669 w 10000"/>
                <a:gd name="connsiteY163" fmla="*/ 9827 h 10000"/>
                <a:gd name="connsiteX164" fmla="*/ 4572 w 10000"/>
                <a:gd name="connsiteY164" fmla="*/ 9922 h 10000"/>
                <a:gd name="connsiteX165" fmla="*/ 4377 w 10000"/>
                <a:gd name="connsiteY165" fmla="*/ 10000 h 10000"/>
                <a:gd name="connsiteX166" fmla="*/ 4222 w 10000"/>
                <a:gd name="connsiteY166" fmla="*/ 9953 h 10000"/>
                <a:gd name="connsiteX167" fmla="*/ 4086 w 10000"/>
                <a:gd name="connsiteY167" fmla="*/ 9874 h 10000"/>
                <a:gd name="connsiteX168" fmla="*/ 3930 w 10000"/>
                <a:gd name="connsiteY168" fmla="*/ 9796 h 10000"/>
                <a:gd name="connsiteX169" fmla="*/ 3930 w 10000"/>
                <a:gd name="connsiteY169" fmla="*/ 9717 h 10000"/>
                <a:gd name="connsiteX170" fmla="*/ 3930 w 10000"/>
                <a:gd name="connsiteY170" fmla="*/ 9560 h 10000"/>
                <a:gd name="connsiteX171" fmla="*/ 3872 w 10000"/>
                <a:gd name="connsiteY171" fmla="*/ 9513 h 10000"/>
                <a:gd name="connsiteX172" fmla="*/ 3833 w 10000"/>
                <a:gd name="connsiteY172" fmla="*/ 9466 h 10000"/>
                <a:gd name="connsiteX173" fmla="*/ 3774 w 10000"/>
                <a:gd name="connsiteY173" fmla="*/ 9513 h 10000"/>
                <a:gd name="connsiteX174" fmla="*/ 3521 w 10000"/>
                <a:gd name="connsiteY174" fmla="*/ 9560 h 10000"/>
                <a:gd name="connsiteX175" fmla="*/ 3424 w 10000"/>
                <a:gd name="connsiteY175" fmla="*/ 9560 h 10000"/>
                <a:gd name="connsiteX176" fmla="*/ 3288 w 10000"/>
                <a:gd name="connsiteY176" fmla="*/ 9513 h 10000"/>
                <a:gd name="connsiteX177" fmla="*/ 3132 w 10000"/>
                <a:gd name="connsiteY177" fmla="*/ 9435 h 10000"/>
                <a:gd name="connsiteX178" fmla="*/ 2938 w 10000"/>
                <a:gd name="connsiteY178" fmla="*/ 9356 h 10000"/>
                <a:gd name="connsiteX179" fmla="*/ 2724 w 10000"/>
                <a:gd name="connsiteY179" fmla="*/ 9309 h 10000"/>
                <a:gd name="connsiteX180" fmla="*/ 2432 w 10000"/>
                <a:gd name="connsiteY180" fmla="*/ 9278 h 10000"/>
                <a:gd name="connsiteX181" fmla="*/ 2393 w 10000"/>
                <a:gd name="connsiteY181" fmla="*/ 9199 h 10000"/>
                <a:gd name="connsiteX182" fmla="*/ 2276 w 10000"/>
                <a:gd name="connsiteY182" fmla="*/ 9152 h 10000"/>
                <a:gd name="connsiteX183" fmla="*/ 2179 w 10000"/>
                <a:gd name="connsiteY183" fmla="*/ 9074 h 10000"/>
                <a:gd name="connsiteX184" fmla="*/ 2179 w 10000"/>
                <a:gd name="connsiteY184" fmla="*/ 8948 h 10000"/>
                <a:gd name="connsiteX185" fmla="*/ 2179 w 10000"/>
                <a:gd name="connsiteY185" fmla="*/ 8870 h 10000"/>
                <a:gd name="connsiteX186" fmla="*/ 2237 w 10000"/>
                <a:gd name="connsiteY186" fmla="*/ 8838 h 10000"/>
                <a:gd name="connsiteX187" fmla="*/ 2335 w 10000"/>
                <a:gd name="connsiteY187" fmla="*/ 8791 h 10000"/>
                <a:gd name="connsiteX188" fmla="*/ 2490 w 10000"/>
                <a:gd name="connsiteY188" fmla="*/ 8791 h 10000"/>
                <a:gd name="connsiteX189" fmla="*/ 2529 w 10000"/>
                <a:gd name="connsiteY189" fmla="*/ 8744 h 10000"/>
                <a:gd name="connsiteX190" fmla="*/ 2626 w 10000"/>
                <a:gd name="connsiteY190" fmla="*/ 8713 h 10000"/>
                <a:gd name="connsiteX191" fmla="*/ 2685 w 10000"/>
                <a:gd name="connsiteY191" fmla="*/ 8556 h 10000"/>
                <a:gd name="connsiteX192" fmla="*/ 2626 w 10000"/>
                <a:gd name="connsiteY192" fmla="*/ 8383 h 10000"/>
                <a:gd name="connsiteX193" fmla="*/ 2588 w 10000"/>
                <a:gd name="connsiteY193" fmla="*/ 8195 h 10000"/>
                <a:gd name="connsiteX194" fmla="*/ 2432 w 10000"/>
                <a:gd name="connsiteY194" fmla="*/ 8022 h 10000"/>
                <a:gd name="connsiteX195" fmla="*/ 2393 w 10000"/>
                <a:gd name="connsiteY195" fmla="*/ 7991 h 10000"/>
                <a:gd name="connsiteX196" fmla="*/ 2335 w 10000"/>
                <a:gd name="connsiteY196" fmla="*/ 7943 h 10000"/>
                <a:gd name="connsiteX197" fmla="*/ 2393 w 10000"/>
                <a:gd name="connsiteY197" fmla="*/ 7865 h 10000"/>
                <a:gd name="connsiteX198" fmla="*/ 2432 w 10000"/>
                <a:gd name="connsiteY198" fmla="*/ 7834 h 10000"/>
                <a:gd name="connsiteX199" fmla="*/ 2490 w 10000"/>
                <a:gd name="connsiteY199" fmla="*/ 7834 h 10000"/>
                <a:gd name="connsiteX200" fmla="*/ 2588 w 10000"/>
                <a:gd name="connsiteY200" fmla="*/ 7834 h 10000"/>
                <a:gd name="connsiteX201" fmla="*/ 2685 w 10000"/>
                <a:gd name="connsiteY201" fmla="*/ 7834 h 10000"/>
                <a:gd name="connsiteX202" fmla="*/ 2782 w 10000"/>
                <a:gd name="connsiteY202" fmla="*/ 7912 h 10000"/>
                <a:gd name="connsiteX203" fmla="*/ 2938 w 10000"/>
                <a:gd name="connsiteY203" fmla="*/ 7991 h 10000"/>
                <a:gd name="connsiteX204" fmla="*/ 3074 w 10000"/>
                <a:gd name="connsiteY204" fmla="*/ 8069 h 10000"/>
                <a:gd name="connsiteX205" fmla="*/ 3230 w 10000"/>
                <a:gd name="connsiteY205" fmla="*/ 8100 h 10000"/>
                <a:gd name="connsiteX206" fmla="*/ 3230 w 10000"/>
                <a:gd name="connsiteY206" fmla="*/ 8069 h 10000"/>
                <a:gd name="connsiteX207" fmla="*/ 3288 w 10000"/>
                <a:gd name="connsiteY207" fmla="*/ 8069 h 10000"/>
                <a:gd name="connsiteX208" fmla="*/ 3327 w 10000"/>
                <a:gd name="connsiteY208" fmla="*/ 7912 h 10000"/>
                <a:gd name="connsiteX209" fmla="*/ 3327 w 10000"/>
                <a:gd name="connsiteY209" fmla="*/ 7786 h 10000"/>
                <a:gd name="connsiteX210" fmla="*/ 3327 w 10000"/>
                <a:gd name="connsiteY210" fmla="*/ 7708 h 10000"/>
                <a:gd name="connsiteX211" fmla="*/ 3230 w 10000"/>
                <a:gd name="connsiteY211" fmla="*/ 7582 h 10000"/>
                <a:gd name="connsiteX212" fmla="*/ 2977 w 10000"/>
                <a:gd name="connsiteY212" fmla="*/ 7378 h 10000"/>
                <a:gd name="connsiteX213" fmla="*/ 2685 w 10000"/>
                <a:gd name="connsiteY213" fmla="*/ 7064 h 10000"/>
                <a:gd name="connsiteX214" fmla="*/ 2724 w 10000"/>
                <a:gd name="connsiteY214" fmla="*/ 6986 h 10000"/>
                <a:gd name="connsiteX215" fmla="*/ 2782 w 10000"/>
                <a:gd name="connsiteY215" fmla="*/ 6986 h 10000"/>
                <a:gd name="connsiteX216" fmla="*/ 3035 w 10000"/>
                <a:gd name="connsiteY216" fmla="*/ 7017 h 10000"/>
                <a:gd name="connsiteX217" fmla="*/ 3230 w 10000"/>
                <a:gd name="connsiteY217" fmla="*/ 7017 h 10000"/>
                <a:gd name="connsiteX218" fmla="*/ 3288 w 10000"/>
                <a:gd name="connsiteY218" fmla="*/ 7017 h 10000"/>
                <a:gd name="connsiteX219" fmla="*/ 3288 w 10000"/>
                <a:gd name="connsiteY219" fmla="*/ 6986 h 10000"/>
                <a:gd name="connsiteX220" fmla="*/ 3171 w 10000"/>
                <a:gd name="connsiteY220" fmla="*/ 6829 h 10000"/>
                <a:gd name="connsiteX221" fmla="*/ 2977 w 10000"/>
                <a:gd name="connsiteY221" fmla="*/ 6656 h 10000"/>
                <a:gd name="connsiteX222" fmla="*/ 2840 w 10000"/>
                <a:gd name="connsiteY222" fmla="*/ 6546 h 10000"/>
                <a:gd name="connsiteX223" fmla="*/ 2588 w 10000"/>
                <a:gd name="connsiteY223" fmla="*/ 6468 h 10000"/>
                <a:gd name="connsiteX224" fmla="*/ 2335 w 10000"/>
                <a:gd name="connsiteY224" fmla="*/ 6421 h 10000"/>
                <a:gd name="connsiteX225" fmla="*/ 1634 w 10000"/>
                <a:gd name="connsiteY225" fmla="*/ 6421 h 10000"/>
                <a:gd name="connsiteX226" fmla="*/ 1245 w 10000"/>
                <a:gd name="connsiteY226" fmla="*/ 6374 h 10000"/>
                <a:gd name="connsiteX227" fmla="*/ 1089 w 10000"/>
                <a:gd name="connsiteY227" fmla="*/ 6421 h 10000"/>
                <a:gd name="connsiteX228" fmla="*/ 992 w 10000"/>
                <a:gd name="connsiteY228" fmla="*/ 6468 h 10000"/>
                <a:gd name="connsiteX229" fmla="*/ 934 w 10000"/>
                <a:gd name="connsiteY229" fmla="*/ 6546 h 10000"/>
                <a:gd name="connsiteX230" fmla="*/ 798 w 10000"/>
                <a:gd name="connsiteY230" fmla="*/ 6295 h 10000"/>
                <a:gd name="connsiteX231" fmla="*/ 642 w 10000"/>
                <a:gd name="connsiteY231" fmla="*/ 6217 h 10000"/>
                <a:gd name="connsiteX232" fmla="*/ 447 w 10000"/>
                <a:gd name="connsiteY232" fmla="*/ 6138 h 10000"/>
                <a:gd name="connsiteX233" fmla="*/ 195 w 10000"/>
                <a:gd name="connsiteY233" fmla="*/ 5934 h 10000"/>
                <a:gd name="connsiteX234" fmla="*/ 97 w 10000"/>
                <a:gd name="connsiteY234" fmla="*/ 5824 h 10000"/>
                <a:gd name="connsiteX235" fmla="*/ 97 w 10000"/>
                <a:gd name="connsiteY235" fmla="*/ 5699 h 10000"/>
                <a:gd name="connsiteX236" fmla="*/ 195 w 10000"/>
                <a:gd name="connsiteY236" fmla="*/ 5777 h 10000"/>
                <a:gd name="connsiteX237" fmla="*/ 292 w 10000"/>
                <a:gd name="connsiteY237" fmla="*/ 5824 h 10000"/>
                <a:gd name="connsiteX238" fmla="*/ 447 w 10000"/>
                <a:gd name="connsiteY238" fmla="*/ 5856 h 10000"/>
                <a:gd name="connsiteX239" fmla="*/ 584 w 10000"/>
                <a:gd name="connsiteY239" fmla="*/ 5856 h 10000"/>
                <a:gd name="connsiteX240" fmla="*/ 700 w 10000"/>
                <a:gd name="connsiteY240" fmla="*/ 5824 h 10000"/>
                <a:gd name="connsiteX241" fmla="*/ 1187 w 10000"/>
                <a:gd name="connsiteY241" fmla="*/ 5824 h 10000"/>
                <a:gd name="connsiteX242" fmla="*/ 1342 w 10000"/>
                <a:gd name="connsiteY242" fmla="*/ 5651 h 10000"/>
                <a:gd name="connsiteX243" fmla="*/ 1381 w 10000"/>
                <a:gd name="connsiteY243" fmla="*/ 5573 h 10000"/>
                <a:gd name="connsiteX244" fmla="*/ 1498 w 10000"/>
                <a:gd name="connsiteY244" fmla="*/ 5573 h 10000"/>
                <a:gd name="connsiteX245" fmla="*/ 1537 w 10000"/>
                <a:gd name="connsiteY245" fmla="*/ 5573 h 10000"/>
                <a:gd name="connsiteX246" fmla="*/ 1595 w 10000"/>
                <a:gd name="connsiteY246" fmla="*/ 5651 h 10000"/>
                <a:gd name="connsiteX247" fmla="*/ 1693 w 10000"/>
                <a:gd name="connsiteY247" fmla="*/ 5824 h 10000"/>
                <a:gd name="connsiteX248" fmla="*/ 1732 w 10000"/>
                <a:gd name="connsiteY248" fmla="*/ 5981 h 10000"/>
                <a:gd name="connsiteX249" fmla="*/ 1829 w 10000"/>
                <a:gd name="connsiteY249" fmla="*/ 6060 h 10000"/>
                <a:gd name="connsiteX250" fmla="*/ 1946 w 10000"/>
                <a:gd name="connsiteY250" fmla="*/ 6060 h 10000"/>
                <a:gd name="connsiteX251" fmla="*/ 2043 w 10000"/>
                <a:gd name="connsiteY251" fmla="*/ 6060 h 10000"/>
                <a:gd name="connsiteX252" fmla="*/ 2082 w 10000"/>
                <a:gd name="connsiteY252" fmla="*/ 6013 h 10000"/>
                <a:gd name="connsiteX253" fmla="*/ 2179 w 10000"/>
                <a:gd name="connsiteY253" fmla="*/ 5856 h 10000"/>
                <a:gd name="connsiteX254" fmla="*/ 2237 w 10000"/>
                <a:gd name="connsiteY254" fmla="*/ 5542 h 10000"/>
                <a:gd name="connsiteX255" fmla="*/ 2335 w 10000"/>
                <a:gd name="connsiteY255" fmla="*/ 5463 h 10000"/>
                <a:gd name="connsiteX256" fmla="*/ 2432 w 10000"/>
                <a:gd name="connsiteY256" fmla="*/ 5463 h 10000"/>
                <a:gd name="connsiteX257" fmla="*/ 2529 w 10000"/>
                <a:gd name="connsiteY257" fmla="*/ 5416 h 10000"/>
                <a:gd name="connsiteX258" fmla="*/ 2588 w 10000"/>
                <a:gd name="connsiteY258" fmla="*/ 5338 h 10000"/>
                <a:gd name="connsiteX259" fmla="*/ 2529 w 10000"/>
                <a:gd name="connsiteY259" fmla="*/ 5259 h 10000"/>
                <a:gd name="connsiteX260" fmla="*/ 2490 w 10000"/>
                <a:gd name="connsiteY260" fmla="*/ 5212 h 10000"/>
                <a:gd name="connsiteX261" fmla="*/ 2432 w 10000"/>
                <a:gd name="connsiteY261" fmla="*/ 5181 h 10000"/>
                <a:gd name="connsiteX262" fmla="*/ 2432 w 10000"/>
                <a:gd name="connsiteY262" fmla="*/ 5133 h 10000"/>
                <a:gd name="connsiteX263" fmla="*/ 2432 w 10000"/>
                <a:gd name="connsiteY263" fmla="*/ 5055 h 10000"/>
                <a:gd name="connsiteX264" fmla="*/ 2490 w 10000"/>
                <a:gd name="connsiteY264" fmla="*/ 5024 h 10000"/>
                <a:gd name="connsiteX265" fmla="*/ 2685 w 10000"/>
                <a:gd name="connsiteY265" fmla="*/ 5024 h 10000"/>
                <a:gd name="connsiteX266" fmla="*/ 2840 w 10000"/>
                <a:gd name="connsiteY266" fmla="*/ 5024 h 10000"/>
                <a:gd name="connsiteX267" fmla="*/ 2879 w 10000"/>
                <a:gd name="connsiteY267" fmla="*/ 4976 h 10000"/>
                <a:gd name="connsiteX268" fmla="*/ 2938 w 10000"/>
                <a:gd name="connsiteY268" fmla="*/ 4898 h 10000"/>
                <a:gd name="connsiteX269" fmla="*/ 2879 w 10000"/>
                <a:gd name="connsiteY269" fmla="*/ 4851 h 10000"/>
                <a:gd name="connsiteX270" fmla="*/ 2840 w 10000"/>
                <a:gd name="connsiteY270" fmla="*/ 4772 h 10000"/>
                <a:gd name="connsiteX271" fmla="*/ 2782 w 10000"/>
                <a:gd name="connsiteY271" fmla="*/ 4741 h 10000"/>
                <a:gd name="connsiteX272" fmla="*/ 2782 w 10000"/>
                <a:gd name="connsiteY272" fmla="*/ 4694 h 10000"/>
                <a:gd name="connsiteX273" fmla="*/ 2840 w 10000"/>
                <a:gd name="connsiteY273" fmla="*/ 4647 h 10000"/>
                <a:gd name="connsiteX274" fmla="*/ 2879 w 10000"/>
                <a:gd name="connsiteY274" fmla="*/ 4615 h 10000"/>
                <a:gd name="connsiteX275" fmla="*/ 3074 w 10000"/>
                <a:gd name="connsiteY275" fmla="*/ 4568 h 10000"/>
                <a:gd name="connsiteX276" fmla="*/ 2782 w 10000"/>
                <a:gd name="connsiteY276" fmla="*/ 4411 h 10000"/>
                <a:gd name="connsiteX277" fmla="*/ 2685 w 10000"/>
                <a:gd name="connsiteY277" fmla="*/ 4333 h 10000"/>
                <a:gd name="connsiteX278" fmla="*/ 2626 w 10000"/>
                <a:gd name="connsiteY278" fmla="*/ 4207 h 10000"/>
                <a:gd name="connsiteX279" fmla="*/ 2626 w 10000"/>
                <a:gd name="connsiteY279" fmla="*/ 3925 h 10000"/>
                <a:gd name="connsiteX280" fmla="*/ 2626 w 10000"/>
                <a:gd name="connsiteY280" fmla="*/ 3815 h 10000"/>
                <a:gd name="connsiteX281" fmla="*/ 2588 w 10000"/>
                <a:gd name="connsiteY281" fmla="*/ 3689 h 10000"/>
                <a:gd name="connsiteX282" fmla="*/ 2490 w 10000"/>
                <a:gd name="connsiteY282" fmla="*/ 3658 h 10000"/>
                <a:gd name="connsiteX283" fmla="*/ 2276 w 10000"/>
                <a:gd name="connsiteY283" fmla="*/ 3564 h 10000"/>
                <a:gd name="connsiteX284" fmla="*/ 2043 w 10000"/>
                <a:gd name="connsiteY284" fmla="*/ 3375 h 10000"/>
                <a:gd name="connsiteX285" fmla="*/ 1984 w 10000"/>
                <a:gd name="connsiteY285" fmla="*/ 3297 h 10000"/>
                <a:gd name="connsiteX286" fmla="*/ 1946 w 10000"/>
                <a:gd name="connsiteY286" fmla="*/ 3203 h 10000"/>
                <a:gd name="connsiteX287" fmla="*/ 1829 w 10000"/>
                <a:gd name="connsiteY287" fmla="*/ 3203 h 10000"/>
                <a:gd name="connsiteX288" fmla="*/ 1693 w 10000"/>
                <a:gd name="connsiteY288" fmla="*/ 3203 h 10000"/>
                <a:gd name="connsiteX289" fmla="*/ 1634 w 10000"/>
                <a:gd name="connsiteY289" fmla="*/ 3250 h 10000"/>
                <a:gd name="connsiteX290" fmla="*/ 1537 w 10000"/>
                <a:gd name="connsiteY290" fmla="*/ 3250 h 10000"/>
                <a:gd name="connsiteX291" fmla="*/ 1342 w 10000"/>
                <a:gd name="connsiteY291" fmla="*/ 3171 h 10000"/>
                <a:gd name="connsiteX292" fmla="*/ 1089 w 10000"/>
                <a:gd name="connsiteY292" fmla="*/ 3014 h 10000"/>
                <a:gd name="connsiteX293" fmla="*/ 934 w 10000"/>
                <a:gd name="connsiteY293" fmla="*/ 2967 h 10000"/>
                <a:gd name="connsiteX294" fmla="*/ 739 w 10000"/>
                <a:gd name="connsiteY294" fmla="*/ 2920 h 10000"/>
                <a:gd name="connsiteX295" fmla="*/ 642 w 10000"/>
                <a:gd name="connsiteY295" fmla="*/ 2841 h 10000"/>
                <a:gd name="connsiteX296" fmla="*/ 486 w 10000"/>
                <a:gd name="connsiteY296" fmla="*/ 2684 h 10000"/>
                <a:gd name="connsiteX297" fmla="*/ 292 w 10000"/>
                <a:gd name="connsiteY297" fmla="*/ 2402 h 10000"/>
                <a:gd name="connsiteX298" fmla="*/ 97 w 10000"/>
                <a:gd name="connsiteY298" fmla="*/ 2009 h 10000"/>
                <a:gd name="connsiteX299" fmla="*/ 39 w 10000"/>
                <a:gd name="connsiteY299" fmla="*/ 1601 h 10000"/>
                <a:gd name="connsiteX300" fmla="*/ 0 w 10000"/>
                <a:gd name="connsiteY300" fmla="*/ 1397 h 10000"/>
                <a:gd name="connsiteX301" fmla="*/ 39 w 10000"/>
                <a:gd name="connsiteY301" fmla="*/ 1193 h 10000"/>
                <a:gd name="connsiteX302" fmla="*/ 97 w 10000"/>
                <a:gd name="connsiteY302" fmla="*/ 1036 h 10000"/>
                <a:gd name="connsiteX303" fmla="*/ 136 w 10000"/>
                <a:gd name="connsiteY303" fmla="*/ 926 h 10000"/>
                <a:gd name="connsiteX304" fmla="*/ 253 w 10000"/>
                <a:gd name="connsiteY304" fmla="*/ 832 h 10000"/>
                <a:gd name="connsiteX305" fmla="*/ 389 w 10000"/>
                <a:gd name="connsiteY305" fmla="*/ 801 h 10000"/>
                <a:gd name="connsiteX306" fmla="*/ 642 w 10000"/>
                <a:gd name="connsiteY306" fmla="*/ 801 h 10000"/>
                <a:gd name="connsiteX307" fmla="*/ 934 w 10000"/>
                <a:gd name="connsiteY307" fmla="*/ 754 h 10000"/>
                <a:gd name="connsiteX308" fmla="*/ 1148 w 10000"/>
                <a:gd name="connsiteY308" fmla="*/ 722 h 10000"/>
                <a:gd name="connsiteX309" fmla="*/ 1245 w 10000"/>
                <a:gd name="connsiteY309" fmla="*/ 675 h 10000"/>
                <a:gd name="connsiteX310" fmla="*/ 1342 w 10000"/>
                <a:gd name="connsiteY310" fmla="*/ 597 h 10000"/>
                <a:gd name="connsiteX311" fmla="*/ 1440 w 10000"/>
                <a:gd name="connsiteY311" fmla="*/ 565 h 10000"/>
                <a:gd name="connsiteX312" fmla="*/ 1537 w 10000"/>
                <a:gd name="connsiteY312" fmla="*/ 565 h 10000"/>
                <a:gd name="connsiteX313" fmla="*/ 1946 w 10000"/>
                <a:gd name="connsiteY313" fmla="*/ 565 h 10000"/>
                <a:gd name="connsiteX314" fmla="*/ 2276 w 10000"/>
                <a:gd name="connsiteY314" fmla="*/ 597 h 10000"/>
                <a:gd name="connsiteX315" fmla="*/ 2490 w 10000"/>
                <a:gd name="connsiteY315" fmla="*/ 644 h 10000"/>
                <a:gd name="connsiteX316" fmla="*/ 2626 w 10000"/>
                <a:gd name="connsiteY316" fmla="*/ 722 h 10000"/>
                <a:gd name="connsiteX317" fmla="*/ 2782 w 10000"/>
                <a:gd name="connsiteY317" fmla="*/ 754 h 10000"/>
                <a:gd name="connsiteX318" fmla="*/ 2879 w 10000"/>
                <a:gd name="connsiteY318" fmla="*/ 722 h 10000"/>
                <a:gd name="connsiteX319" fmla="*/ 2977 w 10000"/>
                <a:gd name="connsiteY319" fmla="*/ 675 h 10000"/>
                <a:gd name="connsiteX320" fmla="*/ 3132 w 10000"/>
                <a:gd name="connsiteY320" fmla="*/ 597 h 10000"/>
                <a:gd name="connsiteX321" fmla="*/ 3288 w 10000"/>
                <a:gd name="connsiteY321" fmla="*/ 518 h 10000"/>
                <a:gd name="connsiteX322" fmla="*/ 3482 w 10000"/>
                <a:gd name="connsiteY322" fmla="*/ 283 h 10000"/>
                <a:gd name="connsiteX323" fmla="*/ 3638 w 10000"/>
                <a:gd name="connsiteY323" fmla="*/ 78 h 10000"/>
                <a:gd name="connsiteX324" fmla="*/ 3735 w 10000"/>
                <a:gd name="connsiteY324" fmla="*/ 0 h 10000"/>
                <a:gd name="connsiteX325" fmla="*/ 3638 w 10000"/>
                <a:gd name="connsiteY325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18 w 10000"/>
                <a:gd name="connsiteY40" fmla="*/ 3250 h 10000"/>
                <a:gd name="connsiteX41" fmla="*/ 7354 w 10000"/>
                <a:gd name="connsiteY41" fmla="*/ 3250 h 10000"/>
                <a:gd name="connsiteX42" fmla="*/ 7412 w 10000"/>
                <a:gd name="connsiteY42" fmla="*/ 3297 h 10000"/>
                <a:gd name="connsiteX43" fmla="*/ 7568 w 10000"/>
                <a:gd name="connsiteY43" fmla="*/ 3375 h 10000"/>
                <a:gd name="connsiteX44" fmla="*/ 7665 w 10000"/>
                <a:gd name="connsiteY44" fmla="*/ 3454 h 10000"/>
                <a:gd name="connsiteX45" fmla="*/ 7704 w 10000"/>
                <a:gd name="connsiteY45" fmla="*/ 3485 h 10000"/>
                <a:gd name="connsiteX46" fmla="*/ 7802 w 10000"/>
                <a:gd name="connsiteY46" fmla="*/ 3485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18 w 10000"/>
                <a:gd name="connsiteY40" fmla="*/ 3250 h 10000"/>
                <a:gd name="connsiteX41" fmla="*/ 7354 w 10000"/>
                <a:gd name="connsiteY41" fmla="*/ 3250 h 10000"/>
                <a:gd name="connsiteX42" fmla="*/ 7412 w 10000"/>
                <a:gd name="connsiteY42" fmla="*/ 3297 h 10000"/>
                <a:gd name="connsiteX43" fmla="*/ 7759 w 10000"/>
                <a:gd name="connsiteY43" fmla="*/ 3201 h 10000"/>
                <a:gd name="connsiteX44" fmla="*/ 7665 w 10000"/>
                <a:gd name="connsiteY44" fmla="*/ 3454 h 10000"/>
                <a:gd name="connsiteX45" fmla="*/ 7704 w 10000"/>
                <a:gd name="connsiteY45" fmla="*/ 3485 h 10000"/>
                <a:gd name="connsiteX46" fmla="*/ 7802 w 10000"/>
                <a:gd name="connsiteY46" fmla="*/ 3485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18 w 10000"/>
                <a:gd name="connsiteY40" fmla="*/ 3250 h 10000"/>
                <a:gd name="connsiteX41" fmla="*/ 7354 w 10000"/>
                <a:gd name="connsiteY41" fmla="*/ 3250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665 w 10000"/>
                <a:gd name="connsiteY44" fmla="*/ 3454 h 10000"/>
                <a:gd name="connsiteX45" fmla="*/ 7704 w 10000"/>
                <a:gd name="connsiteY45" fmla="*/ 3485 h 10000"/>
                <a:gd name="connsiteX46" fmla="*/ 7802 w 10000"/>
                <a:gd name="connsiteY46" fmla="*/ 3485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354 w 10000"/>
                <a:gd name="connsiteY41" fmla="*/ 3250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665 w 10000"/>
                <a:gd name="connsiteY44" fmla="*/ 3454 h 10000"/>
                <a:gd name="connsiteX45" fmla="*/ 7704 w 10000"/>
                <a:gd name="connsiteY45" fmla="*/ 3485 h 10000"/>
                <a:gd name="connsiteX46" fmla="*/ 7802 w 10000"/>
                <a:gd name="connsiteY46" fmla="*/ 3485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665 w 10000"/>
                <a:gd name="connsiteY44" fmla="*/ 3454 h 10000"/>
                <a:gd name="connsiteX45" fmla="*/ 7704 w 10000"/>
                <a:gd name="connsiteY45" fmla="*/ 3485 h 10000"/>
                <a:gd name="connsiteX46" fmla="*/ 7802 w 10000"/>
                <a:gd name="connsiteY46" fmla="*/ 3485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665 w 10000"/>
                <a:gd name="connsiteY44" fmla="*/ 3454 h 10000"/>
                <a:gd name="connsiteX45" fmla="*/ 7704 w 10000"/>
                <a:gd name="connsiteY45" fmla="*/ 3485 h 10000"/>
                <a:gd name="connsiteX46" fmla="*/ 8050 w 10000"/>
                <a:gd name="connsiteY46" fmla="*/ 3351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665 w 10000"/>
                <a:gd name="connsiteY44" fmla="*/ 3454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802 w 10000"/>
                <a:gd name="connsiteY47" fmla="*/ 3564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665 w 10000"/>
                <a:gd name="connsiteY44" fmla="*/ 3454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016 w 10000"/>
                <a:gd name="connsiteY50" fmla="*/ 3689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860 w 10000"/>
                <a:gd name="connsiteY48" fmla="*/ 3658 h 10000"/>
                <a:gd name="connsiteX49" fmla="*/ 7918 w 10000"/>
                <a:gd name="connsiteY49" fmla="*/ 3689 h 10000"/>
                <a:gd name="connsiteX50" fmla="*/ 8235 w 10000"/>
                <a:gd name="connsiteY50" fmla="*/ 3310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860 w 10000"/>
                <a:gd name="connsiteY48" fmla="*/ 3658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152 w 10000"/>
                <a:gd name="connsiteY51" fmla="*/ 3689 h 10000"/>
                <a:gd name="connsiteX52" fmla="*/ 8249 w 10000"/>
                <a:gd name="connsiteY52" fmla="*/ 3611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152 w 10000"/>
                <a:gd name="connsiteY51" fmla="*/ 3689 h 10000"/>
                <a:gd name="connsiteX52" fmla="*/ 8570 w 10000"/>
                <a:gd name="connsiteY52" fmla="*/ 3425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366 w 10000"/>
                <a:gd name="connsiteY53" fmla="*/ 3815 h 10000"/>
                <a:gd name="connsiteX54" fmla="*/ 8502 w 10000"/>
                <a:gd name="connsiteY54" fmla="*/ 3972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366 w 10000"/>
                <a:gd name="connsiteY53" fmla="*/ 3815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669 w 10000"/>
                <a:gd name="connsiteY53" fmla="*/ 3698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852 w 10000"/>
                <a:gd name="connsiteY56" fmla="*/ 4097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518 w 10000"/>
                <a:gd name="connsiteY33" fmla="*/ 3375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669 w 10000"/>
                <a:gd name="connsiteY53" fmla="*/ 3698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922 w 10000"/>
                <a:gd name="connsiteY56" fmla="*/ 4023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18 w 10000"/>
                <a:gd name="connsiteY32" fmla="*/ 3250 h 10000"/>
                <a:gd name="connsiteX33" fmla="*/ 6670 w 10000"/>
                <a:gd name="connsiteY33" fmla="*/ 3317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669 w 10000"/>
                <a:gd name="connsiteY53" fmla="*/ 3698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922 w 10000"/>
                <a:gd name="connsiteY56" fmla="*/ 4023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59 w 10000"/>
                <a:gd name="connsiteY31" fmla="*/ 3171 h 10000"/>
                <a:gd name="connsiteX32" fmla="*/ 6505 w 10000"/>
                <a:gd name="connsiteY32" fmla="*/ 3139 h 10000"/>
                <a:gd name="connsiteX33" fmla="*/ 6670 w 10000"/>
                <a:gd name="connsiteY33" fmla="*/ 3317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669 w 10000"/>
                <a:gd name="connsiteY53" fmla="*/ 3698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922 w 10000"/>
                <a:gd name="connsiteY56" fmla="*/ 4023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167 w 10000"/>
                <a:gd name="connsiteY29" fmla="*/ 3014 h 10000"/>
                <a:gd name="connsiteX30" fmla="*/ 6265 w 10000"/>
                <a:gd name="connsiteY30" fmla="*/ 3046 h 10000"/>
                <a:gd name="connsiteX31" fmla="*/ 6425 w 10000"/>
                <a:gd name="connsiteY31" fmla="*/ 3106 h 10000"/>
                <a:gd name="connsiteX32" fmla="*/ 6505 w 10000"/>
                <a:gd name="connsiteY32" fmla="*/ 3139 h 10000"/>
                <a:gd name="connsiteX33" fmla="*/ 6670 w 10000"/>
                <a:gd name="connsiteY33" fmla="*/ 3317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669 w 10000"/>
                <a:gd name="connsiteY53" fmla="*/ 3698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922 w 10000"/>
                <a:gd name="connsiteY56" fmla="*/ 4023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167 w 10000"/>
                <a:gd name="connsiteY27" fmla="*/ 2653 h 10000"/>
                <a:gd name="connsiteX28" fmla="*/ 6109 w 10000"/>
                <a:gd name="connsiteY28" fmla="*/ 2920 h 10000"/>
                <a:gd name="connsiteX29" fmla="*/ 6214 w 10000"/>
                <a:gd name="connsiteY29" fmla="*/ 2965 h 10000"/>
                <a:gd name="connsiteX30" fmla="*/ 6265 w 10000"/>
                <a:gd name="connsiteY30" fmla="*/ 3046 h 10000"/>
                <a:gd name="connsiteX31" fmla="*/ 6425 w 10000"/>
                <a:gd name="connsiteY31" fmla="*/ 3106 h 10000"/>
                <a:gd name="connsiteX32" fmla="*/ 6505 w 10000"/>
                <a:gd name="connsiteY32" fmla="*/ 3139 h 10000"/>
                <a:gd name="connsiteX33" fmla="*/ 6670 w 10000"/>
                <a:gd name="connsiteY33" fmla="*/ 3317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669 w 10000"/>
                <a:gd name="connsiteY53" fmla="*/ 3698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922 w 10000"/>
                <a:gd name="connsiteY56" fmla="*/ 4023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5875 w 10000"/>
                <a:gd name="connsiteY25" fmla="*/ 2559 h 10000"/>
                <a:gd name="connsiteX26" fmla="*/ 5914 w 10000"/>
                <a:gd name="connsiteY26" fmla="*/ 2606 h 10000"/>
                <a:gd name="connsiteX27" fmla="*/ 6214 w 10000"/>
                <a:gd name="connsiteY27" fmla="*/ 2604 h 10000"/>
                <a:gd name="connsiteX28" fmla="*/ 6109 w 10000"/>
                <a:gd name="connsiteY28" fmla="*/ 2920 h 10000"/>
                <a:gd name="connsiteX29" fmla="*/ 6214 w 10000"/>
                <a:gd name="connsiteY29" fmla="*/ 2965 h 10000"/>
                <a:gd name="connsiteX30" fmla="*/ 6265 w 10000"/>
                <a:gd name="connsiteY30" fmla="*/ 3046 h 10000"/>
                <a:gd name="connsiteX31" fmla="*/ 6425 w 10000"/>
                <a:gd name="connsiteY31" fmla="*/ 3106 h 10000"/>
                <a:gd name="connsiteX32" fmla="*/ 6505 w 10000"/>
                <a:gd name="connsiteY32" fmla="*/ 3139 h 10000"/>
                <a:gd name="connsiteX33" fmla="*/ 6670 w 10000"/>
                <a:gd name="connsiteY33" fmla="*/ 3317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669 w 10000"/>
                <a:gd name="connsiteY53" fmla="*/ 3698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922 w 10000"/>
                <a:gd name="connsiteY56" fmla="*/ 4023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17 w 10000"/>
                <a:gd name="connsiteY23" fmla="*/ 2402 h 10000"/>
                <a:gd name="connsiteX24" fmla="*/ 5817 w 10000"/>
                <a:gd name="connsiteY24" fmla="*/ 2527 h 10000"/>
                <a:gd name="connsiteX25" fmla="*/ 6000 w 10000"/>
                <a:gd name="connsiteY25" fmla="*/ 2503 h 10000"/>
                <a:gd name="connsiteX26" fmla="*/ 5914 w 10000"/>
                <a:gd name="connsiteY26" fmla="*/ 2606 h 10000"/>
                <a:gd name="connsiteX27" fmla="*/ 6214 w 10000"/>
                <a:gd name="connsiteY27" fmla="*/ 2604 h 10000"/>
                <a:gd name="connsiteX28" fmla="*/ 6109 w 10000"/>
                <a:gd name="connsiteY28" fmla="*/ 2920 h 10000"/>
                <a:gd name="connsiteX29" fmla="*/ 6214 w 10000"/>
                <a:gd name="connsiteY29" fmla="*/ 2965 h 10000"/>
                <a:gd name="connsiteX30" fmla="*/ 6265 w 10000"/>
                <a:gd name="connsiteY30" fmla="*/ 3046 h 10000"/>
                <a:gd name="connsiteX31" fmla="*/ 6425 w 10000"/>
                <a:gd name="connsiteY31" fmla="*/ 3106 h 10000"/>
                <a:gd name="connsiteX32" fmla="*/ 6505 w 10000"/>
                <a:gd name="connsiteY32" fmla="*/ 3139 h 10000"/>
                <a:gd name="connsiteX33" fmla="*/ 6670 w 10000"/>
                <a:gd name="connsiteY33" fmla="*/ 3317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669 w 10000"/>
                <a:gd name="connsiteY53" fmla="*/ 3698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922 w 10000"/>
                <a:gd name="connsiteY56" fmla="*/ 4023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64 w 10000"/>
                <a:gd name="connsiteY23" fmla="*/ 2353 h 10000"/>
                <a:gd name="connsiteX24" fmla="*/ 5817 w 10000"/>
                <a:gd name="connsiteY24" fmla="*/ 2527 h 10000"/>
                <a:gd name="connsiteX25" fmla="*/ 6000 w 10000"/>
                <a:gd name="connsiteY25" fmla="*/ 2503 h 10000"/>
                <a:gd name="connsiteX26" fmla="*/ 5914 w 10000"/>
                <a:gd name="connsiteY26" fmla="*/ 2606 h 10000"/>
                <a:gd name="connsiteX27" fmla="*/ 6214 w 10000"/>
                <a:gd name="connsiteY27" fmla="*/ 2604 h 10000"/>
                <a:gd name="connsiteX28" fmla="*/ 6109 w 10000"/>
                <a:gd name="connsiteY28" fmla="*/ 2920 h 10000"/>
                <a:gd name="connsiteX29" fmla="*/ 6214 w 10000"/>
                <a:gd name="connsiteY29" fmla="*/ 2965 h 10000"/>
                <a:gd name="connsiteX30" fmla="*/ 6265 w 10000"/>
                <a:gd name="connsiteY30" fmla="*/ 3046 h 10000"/>
                <a:gd name="connsiteX31" fmla="*/ 6425 w 10000"/>
                <a:gd name="connsiteY31" fmla="*/ 3106 h 10000"/>
                <a:gd name="connsiteX32" fmla="*/ 6505 w 10000"/>
                <a:gd name="connsiteY32" fmla="*/ 3139 h 10000"/>
                <a:gd name="connsiteX33" fmla="*/ 6670 w 10000"/>
                <a:gd name="connsiteY33" fmla="*/ 3317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669 w 10000"/>
                <a:gd name="connsiteY53" fmla="*/ 3698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922 w 10000"/>
                <a:gd name="connsiteY56" fmla="*/ 4023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64 w 10000"/>
                <a:gd name="connsiteY23" fmla="*/ 2353 h 10000"/>
                <a:gd name="connsiteX24" fmla="*/ 5817 w 10000"/>
                <a:gd name="connsiteY24" fmla="*/ 2527 h 10000"/>
                <a:gd name="connsiteX25" fmla="*/ 6000 w 10000"/>
                <a:gd name="connsiteY25" fmla="*/ 2503 h 10000"/>
                <a:gd name="connsiteX26" fmla="*/ 5914 w 10000"/>
                <a:gd name="connsiteY26" fmla="*/ 2606 h 10000"/>
                <a:gd name="connsiteX27" fmla="*/ 6214 w 10000"/>
                <a:gd name="connsiteY27" fmla="*/ 2604 h 10000"/>
                <a:gd name="connsiteX28" fmla="*/ 6109 w 10000"/>
                <a:gd name="connsiteY28" fmla="*/ 2920 h 10000"/>
                <a:gd name="connsiteX29" fmla="*/ 6214 w 10000"/>
                <a:gd name="connsiteY29" fmla="*/ 2965 h 10000"/>
                <a:gd name="connsiteX30" fmla="*/ 6265 w 10000"/>
                <a:gd name="connsiteY30" fmla="*/ 3046 h 10000"/>
                <a:gd name="connsiteX31" fmla="*/ 6425 w 10000"/>
                <a:gd name="connsiteY31" fmla="*/ 3106 h 10000"/>
                <a:gd name="connsiteX32" fmla="*/ 6505 w 10000"/>
                <a:gd name="connsiteY32" fmla="*/ 3139 h 10000"/>
                <a:gd name="connsiteX33" fmla="*/ 6670 w 10000"/>
                <a:gd name="connsiteY33" fmla="*/ 3317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669 w 10000"/>
                <a:gd name="connsiteY53" fmla="*/ 3698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922 w 10000"/>
                <a:gd name="connsiteY56" fmla="*/ 4023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64 w 10000"/>
                <a:gd name="connsiteY23" fmla="*/ 2353 h 10000"/>
                <a:gd name="connsiteX24" fmla="*/ 5817 w 10000"/>
                <a:gd name="connsiteY24" fmla="*/ 2527 h 10000"/>
                <a:gd name="connsiteX25" fmla="*/ 6000 w 10000"/>
                <a:gd name="connsiteY25" fmla="*/ 2503 h 10000"/>
                <a:gd name="connsiteX26" fmla="*/ 5914 w 10000"/>
                <a:gd name="connsiteY26" fmla="*/ 2606 h 10000"/>
                <a:gd name="connsiteX27" fmla="*/ 6214 w 10000"/>
                <a:gd name="connsiteY27" fmla="*/ 2604 h 10000"/>
                <a:gd name="connsiteX28" fmla="*/ 6109 w 10000"/>
                <a:gd name="connsiteY28" fmla="*/ 2920 h 10000"/>
                <a:gd name="connsiteX29" fmla="*/ 6345 w 10000"/>
                <a:gd name="connsiteY29" fmla="*/ 2954 h 10000"/>
                <a:gd name="connsiteX30" fmla="*/ 6265 w 10000"/>
                <a:gd name="connsiteY30" fmla="*/ 3046 h 10000"/>
                <a:gd name="connsiteX31" fmla="*/ 6425 w 10000"/>
                <a:gd name="connsiteY31" fmla="*/ 3106 h 10000"/>
                <a:gd name="connsiteX32" fmla="*/ 6505 w 10000"/>
                <a:gd name="connsiteY32" fmla="*/ 3139 h 10000"/>
                <a:gd name="connsiteX33" fmla="*/ 6670 w 10000"/>
                <a:gd name="connsiteY33" fmla="*/ 3317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669 w 10000"/>
                <a:gd name="connsiteY53" fmla="*/ 3698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922 w 10000"/>
                <a:gd name="connsiteY56" fmla="*/ 4023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64 w 10000"/>
                <a:gd name="connsiteY23" fmla="*/ 2353 h 10000"/>
                <a:gd name="connsiteX24" fmla="*/ 5817 w 10000"/>
                <a:gd name="connsiteY24" fmla="*/ 2527 h 10000"/>
                <a:gd name="connsiteX25" fmla="*/ 6000 w 10000"/>
                <a:gd name="connsiteY25" fmla="*/ 2503 h 10000"/>
                <a:gd name="connsiteX26" fmla="*/ 5914 w 10000"/>
                <a:gd name="connsiteY26" fmla="*/ 2606 h 10000"/>
                <a:gd name="connsiteX27" fmla="*/ 6214 w 10000"/>
                <a:gd name="connsiteY27" fmla="*/ 2604 h 10000"/>
                <a:gd name="connsiteX28" fmla="*/ 6292 w 10000"/>
                <a:gd name="connsiteY28" fmla="*/ 2904 h 10000"/>
                <a:gd name="connsiteX29" fmla="*/ 6345 w 10000"/>
                <a:gd name="connsiteY29" fmla="*/ 2954 h 10000"/>
                <a:gd name="connsiteX30" fmla="*/ 6265 w 10000"/>
                <a:gd name="connsiteY30" fmla="*/ 3046 h 10000"/>
                <a:gd name="connsiteX31" fmla="*/ 6425 w 10000"/>
                <a:gd name="connsiteY31" fmla="*/ 3106 h 10000"/>
                <a:gd name="connsiteX32" fmla="*/ 6505 w 10000"/>
                <a:gd name="connsiteY32" fmla="*/ 3139 h 10000"/>
                <a:gd name="connsiteX33" fmla="*/ 6670 w 10000"/>
                <a:gd name="connsiteY33" fmla="*/ 3317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669 w 10000"/>
                <a:gd name="connsiteY53" fmla="*/ 3698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922 w 10000"/>
                <a:gd name="connsiteY56" fmla="*/ 4023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64 w 10000"/>
                <a:gd name="connsiteY23" fmla="*/ 2353 h 10000"/>
                <a:gd name="connsiteX24" fmla="*/ 5817 w 10000"/>
                <a:gd name="connsiteY24" fmla="*/ 2527 h 10000"/>
                <a:gd name="connsiteX25" fmla="*/ 6000 w 10000"/>
                <a:gd name="connsiteY25" fmla="*/ 2503 h 10000"/>
                <a:gd name="connsiteX26" fmla="*/ 5914 w 10000"/>
                <a:gd name="connsiteY26" fmla="*/ 2606 h 10000"/>
                <a:gd name="connsiteX27" fmla="*/ 6214 w 10000"/>
                <a:gd name="connsiteY27" fmla="*/ 2604 h 10000"/>
                <a:gd name="connsiteX28" fmla="*/ 6292 w 10000"/>
                <a:gd name="connsiteY28" fmla="*/ 2904 h 10000"/>
                <a:gd name="connsiteX29" fmla="*/ 6345 w 10000"/>
                <a:gd name="connsiteY29" fmla="*/ 2954 h 10000"/>
                <a:gd name="connsiteX30" fmla="*/ 6265 w 10000"/>
                <a:gd name="connsiteY30" fmla="*/ 3046 h 10000"/>
                <a:gd name="connsiteX31" fmla="*/ 6425 w 10000"/>
                <a:gd name="connsiteY31" fmla="*/ 3106 h 10000"/>
                <a:gd name="connsiteX32" fmla="*/ 6584 w 10000"/>
                <a:gd name="connsiteY32" fmla="*/ 3132 h 10000"/>
                <a:gd name="connsiteX33" fmla="*/ 6670 w 10000"/>
                <a:gd name="connsiteY33" fmla="*/ 3317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669 w 10000"/>
                <a:gd name="connsiteY53" fmla="*/ 3698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922 w 10000"/>
                <a:gd name="connsiteY56" fmla="*/ 4023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661 w 10000"/>
                <a:gd name="connsiteY20" fmla="*/ 2198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08 w 10000"/>
                <a:gd name="connsiteY23" fmla="*/ 2178 h 10000"/>
                <a:gd name="connsiteX24" fmla="*/ 5817 w 10000"/>
                <a:gd name="connsiteY24" fmla="*/ 2527 h 10000"/>
                <a:gd name="connsiteX25" fmla="*/ 6000 w 10000"/>
                <a:gd name="connsiteY25" fmla="*/ 2503 h 10000"/>
                <a:gd name="connsiteX26" fmla="*/ 5914 w 10000"/>
                <a:gd name="connsiteY26" fmla="*/ 2606 h 10000"/>
                <a:gd name="connsiteX27" fmla="*/ 6214 w 10000"/>
                <a:gd name="connsiteY27" fmla="*/ 2604 h 10000"/>
                <a:gd name="connsiteX28" fmla="*/ 6292 w 10000"/>
                <a:gd name="connsiteY28" fmla="*/ 2904 h 10000"/>
                <a:gd name="connsiteX29" fmla="*/ 6345 w 10000"/>
                <a:gd name="connsiteY29" fmla="*/ 2954 h 10000"/>
                <a:gd name="connsiteX30" fmla="*/ 6265 w 10000"/>
                <a:gd name="connsiteY30" fmla="*/ 3046 h 10000"/>
                <a:gd name="connsiteX31" fmla="*/ 6425 w 10000"/>
                <a:gd name="connsiteY31" fmla="*/ 3106 h 10000"/>
                <a:gd name="connsiteX32" fmla="*/ 6584 w 10000"/>
                <a:gd name="connsiteY32" fmla="*/ 3132 h 10000"/>
                <a:gd name="connsiteX33" fmla="*/ 6670 w 10000"/>
                <a:gd name="connsiteY33" fmla="*/ 3317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669 w 10000"/>
                <a:gd name="connsiteY53" fmla="*/ 3698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922 w 10000"/>
                <a:gd name="connsiteY56" fmla="*/ 4023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828 w 10000"/>
                <a:gd name="connsiteY20" fmla="*/ 2123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08 w 10000"/>
                <a:gd name="connsiteY23" fmla="*/ 2178 h 10000"/>
                <a:gd name="connsiteX24" fmla="*/ 5817 w 10000"/>
                <a:gd name="connsiteY24" fmla="*/ 2527 h 10000"/>
                <a:gd name="connsiteX25" fmla="*/ 6000 w 10000"/>
                <a:gd name="connsiteY25" fmla="*/ 2503 h 10000"/>
                <a:gd name="connsiteX26" fmla="*/ 5914 w 10000"/>
                <a:gd name="connsiteY26" fmla="*/ 2606 h 10000"/>
                <a:gd name="connsiteX27" fmla="*/ 6214 w 10000"/>
                <a:gd name="connsiteY27" fmla="*/ 2604 h 10000"/>
                <a:gd name="connsiteX28" fmla="*/ 6292 w 10000"/>
                <a:gd name="connsiteY28" fmla="*/ 2904 h 10000"/>
                <a:gd name="connsiteX29" fmla="*/ 6345 w 10000"/>
                <a:gd name="connsiteY29" fmla="*/ 2954 h 10000"/>
                <a:gd name="connsiteX30" fmla="*/ 6265 w 10000"/>
                <a:gd name="connsiteY30" fmla="*/ 3046 h 10000"/>
                <a:gd name="connsiteX31" fmla="*/ 6425 w 10000"/>
                <a:gd name="connsiteY31" fmla="*/ 3106 h 10000"/>
                <a:gd name="connsiteX32" fmla="*/ 6584 w 10000"/>
                <a:gd name="connsiteY32" fmla="*/ 3132 h 10000"/>
                <a:gd name="connsiteX33" fmla="*/ 6670 w 10000"/>
                <a:gd name="connsiteY33" fmla="*/ 3317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669 w 10000"/>
                <a:gd name="connsiteY53" fmla="*/ 3698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922 w 10000"/>
                <a:gd name="connsiteY56" fmla="*/ 4023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669 w 10000"/>
                <a:gd name="connsiteY161" fmla="*/ 9749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828 w 10000"/>
                <a:gd name="connsiteY20" fmla="*/ 2123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08 w 10000"/>
                <a:gd name="connsiteY23" fmla="*/ 2178 h 10000"/>
                <a:gd name="connsiteX24" fmla="*/ 5817 w 10000"/>
                <a:gd name="connsiteY24" fmla="*/ 2527 h 10000"/>
                <a:gd name="connsiteX25" fmla="*/ 6000 w 10000"/>
                <a:gd name="connsiteY25" fmla="*/ 2503 h 10000"/>
                <a:gd name="connsiteX26" fmla="*/ 5914 w 10000"/>
                <a:gd name="connsiteY26" fmla="*/ 2606 h 10000"/>
                <a:gd name="connsiteX27" fmla="*/ 6214 w 10000"/>
                <a:gd name="connsiteY27" fmla="*/ 2604 h 10000"/>
                <a:gd name="connsiteX28" fmla="*/ 6292 w 10000"/>
                <a:gd name="connsiteY28" fmla="*/ 2904 h 10000"/>
                <a:gd name="connsiteX29" fmla="*/ 6345 w 10000"/>
                <a:gd name="connsiteY29" fmla="*/ 2954 h 10000"/>
                <a:gd name="connsiteX30" fmla="*/ 6265 w 10000"/>
                <a:gd name="connsiteY30" fmla="*/ 3046 h 10000"/>
                <a:gd name="connsiteX31" fmla="*/ 6425 w 10000"/>
                <a:gd name="connsiteY31" fmla="*/ 3106 h 10000"/>
                <a:gd name="connsiteX32" fmla="*/ 6584 w 10000"/>
                <a:gd name="connsiteY32" fmla="*/ 3132 h 10000"/>
                <a:gd name="connsiteX33" fmla="*/ 6670 w 10000"/>
                <a:gd name="connsiteY33" fmla="*/ 3317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669 w 10000"/>
                <a:gd name="connsiteY53" fmla="*/ 3698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922 w 10000"/>
                <a:gd name="connsiteY56" fmla="*/ 4023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273 w 10000"/>
                <a:gd name="connsiteY161" fmla="*/ 9536 h 10000"/>
                <a:gd name="connsiteX162" fmla="*/ 4669 w 10000"/>
                <a:gd name="connsiteY162" fmla="*/ 9827 h 10000"/>
                <a:gd name="connsiteX163" fmla="*/ 4572 w 10000"/>
                <a:gd name="connsiteY163" fmla="*/ 9922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828 w 10000"/>
                <a:gd name="connsiteY20" fmla="*/ 2123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08 w 10000"/>
                <a:gd name="connsiteY23" fmla="*/ 2178 h 10000"/>
                <a:gd name="connsiteX24" fmla="*/ 5817 w 10000"/>
                <a:gd name="connsiteY24" fmla="*/ 2527 h 10000"/>
                <a:gd name="connsiteX25" fmla="*/ 6000 w 10000"/>
                <a:gd name="connsiteY25" fmla="*/ 2503 h 10000"/>
                <a:gd name="connsiteX26" fmla="*/ 5914 w 10000"/>
                <a:gd name="connsiteY26" fmla="*/ 2606 h 10000"/>
                <a:gd name="connsiteX27" fmla="*/ 6214 w 10000"/>
                <a:gd name="connsiteY27" fmla="*/ 2604 h 10000"/>
                <a:gd name="connsiteX28" fmla="*/ 6292 w 10000"/>
                <a:gd name="connsiteY28" fmla="*/ 2904 h 10000"/>
                <a:gd name="connsiteX29" fmla="*/ 6345 w 10000"/>
                <a:gd name="connsiteY29" fmla="*/ 2954 h 10000"/>
                <a:gd name="connsiteX30" fmla="*/ 6265 w 10000"/>
                <a:gd name="connsiteY30" fmla="*/ 3046 h 10000"/>
                <a:gd name="connsiteX31" fmla="*/ 6425 w 10000"/>
                <a:gd name="connsiteY31" fmla="*/ 3106 h 10000"/>
                <a:gd name="connsiteX32" fmla="*/ 6584 w 10000"/>
                <a:gd name="connsiteY32" fmla="*/ 3132 h 10000"/>
                <a:gd name="connsiteX33" fmla="*/ 6670 w 10000"/>
                <a:gd name="connsiteY33" fmla="*/ 3317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669 w 10000"/>
                <a:gd name="connsiteY53" fmla="*/ 3698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922 w 10000"/>
                <a:gd name="connsiteY56" fmla="*/ 4023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273 w 10000"/>
                <a:gd name="connsiteY161" fmla="*/ 9536 h 10000"/>
                <a:gd name="connsiteX162" fmla="*/ 4669 w 10000"/>
                <a:gd name="connsiteY162" fmla="*/ 9827 h 10000"/>
                <a:gd name="connsiteX163" fmla="*/ 4090 w 10000"/>
                <a:gd name="connsiteY163" fmla="*/ 9649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828 w 10000"/>
                <a:gd name="connsiteY20" fmla="*/ 2123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08 w 10000"/>
                <a:gd name="connsiteY23" fmla="*/ 2178 h 10000"/>
                <a:gd name="connsiteX24" fmla="*/ 5817 w 10000"/>
                <a:gd name="connsiteY24" fmla="*/ 2527 h 10000"/>
                <a:gd name="connsiteX25" fmla="*/ 6000 w 10000"/>
                <a:gd name="connsiteY25" fmla="*/ 2503 h 10000"/>
                <a:gd name="connsiteX26" fmla="*/ 5914 w 10000"/>
                <a:gd name="connsiteY26" fmla="*/ 2606 h 10000"/>
                <a:gd name="connsiteX27" fmla="*/ 6214 w 10000"/>
                <a:gd name="connsiteY27" fmla="*/ 2604 h 10000"/>
                <a:gd name="connsiteX28" fmla="*/ 6292 w 10000"/>
                <a:gd name="connsiteY28" fmla="*/ 2904 h 10000"/>
                <a:gd name="connsiteX29" fmla="*/ 6345 w 10000"/>
                <a:gd name="connsiteY29" fmla="*/ 2954 h 10000"/>
                <a:gd name="connsiteX30" fmla="*/ 6265 w 10000"/>
                <a:gd name="connsiteY30" fmla="*/ 3046 h 10000"/>
                <a:gd name="connsiteX31" fmla="*/ 6425 w 10000"/>
                <a:gd name="connsiteY31" fmla="*/ 3106 h 10000"/>
                <a:gd name="connsiteX32" fmla="*/ 6584 w 10000"/>
                <a:gd name="connsiteY32" fmla="*/ 3132 h 10000"/>
                <a:gd name="connsiteX33" fmla="*/ 6670 w 10000"/>
                <a:gd name="connsiteY33" fmla="*/ 3317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669 w 10000"/>
                <a:gd name="connsiteY53" fmla="*/ 3698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922 w 10000"/>
                <a:gd name="connsiteY56" fmla="*/ 4023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669 w 10000"/>
                <a:gd name="connsiteY160" fmla="*/ 9670 h 10000"/>
                <a:gd name="connsiteX161" fmla="*/ 4273 w 10000"/>
                <a:gd name="connsiteY161" fmla="*/ 9536 h 10000"/>
                <a:gd name="connsiteX162" fmla="*/ 4189 w 10000"/>
                <a:gd name="connsiteY162" fmla="*/ 9576 h 10000"/>
                <a:gd name="connsiteX163" fmla="*/ 4090 w 10000"/>
                <a:gd name="connsiteY163" fmla="*/ 9649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4 h 10000"/>
                <a:gd name="connsiteX5" fmla="*/ 3930 w 10000"/>
                <a:gd name="connsiteY5" fmla="*/ 283 h 10000"/>
                <a:gd name="connsiteX6" fmla="*/ 4027 w 10000"/>
                <a:gd name="connsiteY6" fmla="*/ 283 h 10000"/>
                <a:gd name="connsiteX7" fmla="*/ 4183 w 10000"/>
                <a:gd name="connsiteY7" fmla="*/ 314 h 10000"/>
                <a:gd name="connsiteX8" fmla="*/ 4280 w 10000"/>
                <a:gd name="connsiteY8" fmla="*/ 314 h 10000"/>
                <a:gd name="connsiteX9" fmla="*/ 4377 w 10000"/>
                <a:gd name="connsiteY9" fmla="*/ 314 h 10000"/>
                <a:gd name="connsiteX10" fmla="*/ 4533 w 10000"/>
                <a:gd name="connsiteY10" fmla="*/ 392 h 10000"/>
                <a:gd name="connsiteX11" fmla="*/ 4630 w 10000"/>
                <a:gd name="connsiteY11" fmla="*/ 518 h 10000"/>
                <a:gd name="connsiteX12" fmla="*/ 4767 w 10000"/>
                <a:gd name="connsiteY12" fmla="*/ 754 h 10000"/>
                <a:gd name="connsiteX13" fmla="*/ 5019 w 10000"/>
                <a:gd name="connsiteY13" fmla="*/ 1115 h 10000"/>
                <a:gd name="connsiteX14" fmla="*/ 5272 w 10000"/>
                <a:gd name="connsiteY14" fmla="*/ 1523 h 10000"/>
                <a:gd name="connsiteX15" fmla="*/ 5311 w 10000"/>
                <a:gd name="connsiteY15" fmla="*/ 1758 h 10000"/>
                <a:gd name="connsiteX16" fmla="*/ 5370 w 10000"/>
                <a:gd name="connsiteY16" fmla="*/ 1837 h 10000"/>
                <a:gd name="connsiteX17" fmla="*/ 5525 w 10000"/>
                <a:gd name="connsiteY17" fmla="*/ 1884 h 10000"/>
                <a:gd name="connsiteX18" fmla="*/ 5525 w 10000"/>
                <a:gd name="connsiteY18" fmla="*/ 2009 h 10000"/>
                <a:gd name="connsiteX19" fmla="*/ 5564 w 10000"/>
                <a:gd name="connsiteY19" fmla="*/ 2088 h 10000"/>
                <a:gd name="connsiteX20" fmla="*/ 5828 w 10000"/>
                <a:gd name="connsiteY20" fmla="*/ 2123 h 10000"/>
                <a:gd name="connsiteX21" fmla="*/ 5778 w 10000"/>
                <a:gd name="connsiteY21" fmla="*/ 2292 h 10000"/>
                <a:gd name="connsiteX22" fmla="*/ 5817 w 10000"/>
                <a:gd name="connsiteY22" fmla="*/ 2323 h 10000"/>
                <a:gd name="connsiteX23" fmla="*/ 5808 w 10000"/>
                <a:gd name="connsiteY23" fmla="*/ 2178 h 10000"/>
                <a:gd name="connsiteX24" fmla="*/ 5817 w 10000"/>
                <a:gd name="connsiteY24" fmla="*/ 2527 h 10000"/>
                <a:gd name="connsiteX25" fmla="*/ 6000 w 10000"/>
                <a:gd name="connsiteY25" fmla="*/ 2503 h 10000"/>
                <a:gd name="connsiteX26" fmla="*/ 5914 w 10000"/>
                <a:gd name="connsiteY26" fmla="*/ 2606 h 10000"/>
                <a:gd name="connsiteX27" fmla="*/ 6214 w 10000"/>
                <a:gd name="connsiteY27" fmla="*/ 2604 h 10000"/>
                <a:gd name="connsiteX28" fmla="*/ 6292 w 10000"/>
                <a:gd name="connsiteY28" fmla="*/ 2904 h 10000"/>
                <a:gd name="connsiteX29" fmla="*/ 6345 w 10000"/>
                <a:gd name="connsiteY29" fmla="*/ 2954 h 10000"/>
                <a:gd name="connsiteX30" fmla="*/ 6265 w 10000"/>
                <a:gd name="connsiteY30" fmla="*/ 3046 h 10000"/>
                <a:gd name="connsiteX31" fmla="*/ 6425 w 10000"/>
                <a:gd name="connsiteY31" fmla="*/ 3106 h 10000"/>
                <a:gd name="connsiteX32" fmla="*/ 6584 w 10000"/>
                <a:gd name="connsiteY32" fmla="*/ 3132 h 10000"/>
                <a:gd name="connsiteX33" fmla="*/ 6670 w 10000"/>
                <a:gd name="connsiteY33" fmla="*/ 3317 h 10000"/>
                <a:gd name="connsiteX34" fmla="*/ 6556 w 10000"/>
                <a:gd name="connsiteY34" fmla="*/ 3485 h 10000"/>
                <a:gd name="connsiteX35" fmla="*/ 6615 w 10000"/>
                <a:gd name="connsiteY35" fmla="*/ 3532 h 10000"/>
                <a:gd name="connsiteX36" fmla="*/ 6673 w 10000"/>
                <a:gd name="connsiteY36" fmla="*/ 3485 h 10000"/>
                <a:gd name="connsiteX37" fmla="*/ 6770 w 10000"/>
                <a:gd name="connsiteY37" fmla="*/ 3407 h 10000"/>
                <a:gd name="connsiteX38" fmla="*/ 6809 w 10000"/>
                <a:gd name="connsiteY38" fmla="*/ 3297 h 10000"/>
                <a:gd name="connsiteX39" fmla="*/ 7004 w 10000"/>
                <a:gd name="connsiteY39" fmla="*/ 3250 h 10000"/>
                <a:gd name="connsiteX40" fmla="*/ 7223 w 10000"/>
                <a:gd name="connsiteY40" fmla="*/ 3069 h 10000"/>
                <a:gd name="connsiteX41" fmla="*/ 7236 w 10000"/>
                <a:gd name="connsiteY41" fmla="*/ 3148 h 10000"/>
                <a:gd name="connsiteX42" fmla="*/ 7364 w 10000"/>
                <a:gd name="connsiteY42" fmla="*/ 3121 h 10000"/>
                <a:gd name="connsiteX43" fmla="*/ 7759 w 10000"/>
                <a:gd name="connsiteY43" fmla="*/ 3201 h 10000"/>
                <a:gd name="connsiteX44" fmla="*/ 7829 w 10000"/>
                <a:gd name="connsiteY44" fmla="*/ 3282 h 10000"/>
                <a:gd name="connsiteX45" fmla="*/ 7976 w 10000"/>
                <a:gd name="connsiteY45" fmla="*/ 3326 h 10000"/>
                <a:gd name="connsiteX46" fmla="*/ 8050 w 10000"/>
                <a:gd name="connsiteY46" fmla="*/ 3351 h 10000"/>
                <a:gd name="connsiteX47" fmla="*/ 7909 w 10000"/>
                <a:gd name="connsiteY47" fmla="*/ 3352 h 10000"/>
                <a:gd name="connsiteX48" fmla="*/ 7961 w 10000"/>
                <a:gd name="connsiteY48" fmla="*/ 3401 h 10000"/>
                <a:gd name="connsiteX49" fmla="*/ 8009 w 10000"/>
                <a:gd name="connsiteY49" fmla="*/ 3343 h 10000"/>
                <a:gd name="connsiteX50" fmla="*/ 8235 w 10000"/>
                <a:gd name="connsiteY50" fmla="*/ 3310 h 10000"/>
                <a:gd name="connsiteX51" fmla="*/ 8416 w 10000"/>
                <a:gd name="connsiteY51" fmla="*/ 3463 h 10000"/>
                <a:gd name="connsiteX52" fmla="*/ 8570 w 10000"/>
                <a:gd name="connsiteY52" fmla="*/ 3425 h 10000"/>
                <a:gd name="connsiteX53" fmla="*/ 8669 w 10000"/>
                <a:gd name="connsiteY53" fmla="*/ 3698 h 10000"/>
                <a:gd name="connsiteX54" fmla="*/ 8800 w 10000"/>
                <a:gd name="connsiteY54" fmla="*/ 3811 h 10000"/>
                <a:gd name="connsiteX55" fmla="*/ 8658 w 10000"/>
                <a:gd name="connsiteY55" fmla="*/ 4050 h 10000"/>
                <a:gd name="connsiteX56" fmla="*/ 8922 w 10000"/>
                <a:gd name="connsiteY56" fmla="*/ 4023 h 10000"/>
                <a:gd name="connsiteX57" fmla="*/ 9008 w 10000"/>
                <a:gd name="connsiteY57" fmla="*/ 4129 h 10000"/>
                <a:gd name="connsiteX58" fmla="*/ 9047 w 10000"/>
                <a:gd name="connsiteY58" fmla="*/ 4207 h 10000"/>
                <a:gd name="connsiteX59" fmla="*/ 9047 w 10000"/>
                <a:gd name="connsiteY59" fmla="*/ 4254 h 10000"/>
                <a:gd name="connsiteX60" fmla="*/ 9008 w 10000"/>
                <a:gd name="connsiteY60" fmla="*/ 4380 h 10000"/>
                <a:gd name="connsiteX61" fmla="*/ 9008 w 10000"/>
                <a:gd name="connsiteY61" fmla="*/ 4458 h 10000"/>
                <a:gd name="connsiteX62" fmla="*/ 8911 w 10000"/>
                <a:gd name="connsiteY62" fmla="*/ 4568 h 10000"/>
                <a:gd name="connsiteX63" fmla="*/ 8911 w 10000"/>
                <a:gd name="connsiteY63" fmla="*/ 4819 h 10000"/>
                <a:gd name="connsiteX64" fmla="*/ 8813 w 10000"/>
                <a:gd name="connsiteY64" fmla="*/ 4851 h 10000"/>
                <a:gd name="connsiteX65" fmla="*/ 8755 w 10000"/>
                <a:gd name="connsiteY65" fmla="*/ 4819 h 10000"/>
                <a:gd name="connsiteX66" fmla="*/ 8696 w 10000"/>
                <a:gd name="connsiteY66" fmla="*/ 4819 h 10000"/>
                <a:gd name="connsiteX67" fmla="*/ 8560 w 10000"/>
                <a:gd name="connsiteY67" fmla="*/ 4851 h 10000"/>
                <a:gd name="connsiteX68" fmla="*/ 8463 w 10000"/>
                <a:gd name="connsiteY68" fmla="*/ 4898 h 10000"/>
                <a:gd name="connsiteX69" fmla="*/ 8366 w 10000"/>
                <a:gd name="connsiteY69" fmla="*/ 5024 h 10000"/>
                <a:gd name="connsiteX70" fmla="*/ 8307 w 10000"/>
                <a:gd name="connsiteY70" fmla="*/ 5102 h 10000"/>
                <a:gd name="connsiteX71" fmla="*/ 8366 w 10000"/>
                <a:gd name="connsiteY71" fmla="*/ 5212 h 10000"/>
                <a:gd name="connsiteX72" fmla="*/ 8405 w 10000"/>
                <a:gd name="connsiteY72" fmla="*/ 5290 h 10000"/>
                <a:gd name="connsiteX73" fmla="*/ 8599 w 10000"/>
                <a:gd name="connsiteY73" fmla="*/ 5416 h 10000"/>
                <a:gd name="connsiteX74" fmla="*/ 8658 w 10000"/>
                <a:gd name="connsiteY74" fmla="*/ 5495 h 10000"/>
                <a:gd name="connsiteX75" fmla="*/ 8658 w 10000"/>
                <a:gd name="connsiteY75" fmla="*/ 5573 h 10000"/>
                <a:gd name="connsiteX76" fmla="*/ 8658 w 10000"/>
                <a:gd name="connsiteY76" fmla="*/ 5699 h 10000"/>
                <a:gd name="connsiteX77" fmla="*/ 8599 w 10000"/>
                <a:gd name="connsiteY77" fmla="*/ 5824 h 10000"/>
                <a:gd name="connsiteX78" fmla="*/ 8560 w 10000"/>
                <a:gd name="connsiteY78" fmla="*/ 5934 h 10000"/>
                <a:gd name="connsiteX79" fmla="*/ 8366 w 10000"/>
                <a:gd name="connsiteY79" fmla="*/ 5981 h 10000"/>
                <a:gd name="connsiteX80" fmla="*/ 8307 w 10000"/>
                <a:gd name="connsiteY80" fmla="*/ 6060 h 10000"/>
                <a:gd name="connsiteX81" fmla="*/ 8249 w 10000"/>
                <a:gd name="connsiteY81" fmla="*/ 6107 h 10000"/>
                <a:gd name="connsiteX82" fmla="*/ 8307 w 10000"/>
                <a:gd name="connsiteY82" fmla="*/ 6217 h 10000"/>
                <a:gd name="connsiteX83" fmla="*/ 8405 w 10000"/>
                <a:gd name="connsiteY83" fmla="*/ 6295 h 10000"/>
                <a:gd name="connsiteX84" fmla="*/ 8502 w 10000"/>
                <a:gd name="connsiteY84" fmla="*/ 6342 h 10000"/>
                <a:gd name="connsiteX85" fmla="*/ 8560 w 10000"/>
                <a:gd name="connsiteY85" fmla="*/ 6374 h 10000"/>
                <a:gd name="connsiteX86" fmla="*/ 8599 w 10000"/>
                <a:gd name="connsiteY86" fmla="*/ 6499 h 10000"/>
                <a:gd name="connsiteX87" fmla="*/ 8599 w 10000"/>
                <a:gd name="connsiteY87" fmla="*/ 6578 h 10000"/>
                <a:gd name="connsiteX88" fmla="*/ 8658 w 10000"/>
                <a:gd name="connsiteY88" fmla="*/ 6656 h 10000"/>
                <a:gd name="connsiteX89" fmla="*/ 8696 w 10000"/>
                <a:gd name="connsiteY89" fmla="*/ 6750 h 10000"/>
                <a:gd name="connsiteX90" fmla="*/ 8813 w 10000"/>
                <a:gd name="connsiteY90" fmla="*/ 6782 h 10000"/>
                <a:gd name="connsiteX91" fmla="*/ 8949 w 10000"/>
                <a:gd name="connsiteY91" fmla="*/ 6829 h 10000"/>
                <a:gd name="connsiteX92" fmla="*/ 9105 w 10000"/>
                <a:gd name="connsiteY92" fmla="*/ 6860 h 10000"/>
                <a:gd name="connsiteX93" fmla="*/ 9144 w 10000"/>
                <a:gd name="connsiteY93" fmla="*/ 6939 h 10000"/>
                <a:gd name="connsiteX94" fmla="*/ 9144 w 10000"/>
                <a:gd name="connsiteY94" fmla="*/ 7190 h 10000"/>
                <a:gd name="connsiteX95" fmla="*/ 9144 w 10000"/>
                <a:gd name="connsiteY95" fmla="*/ 7347 h 10000"/>
                <a:gd name="connsiteX96" fmla="*/ 9144 w 10000"/>
                <a:gd name="connsiteY96" fmla="*/ 7425 h 10000"/>
                <a:gd name="connsiteX97" fmla="*/ 9202 w 10000"/>
                <a:gd name="connsiteY97" fmla="*/ 7473 h 10000"/>
                <a:gd name="connsiteX98" fmla="*/ 9261 w 10000"/>
                <a:gd name="connsiteY98" fmla="*/ 7551 h 10000"/>
                <a:gd name="connsiteX99" fmla="*/ 9358 w 10000"/>
                <a:gd name="connsiteY99" fmla="*/ 7551 h 10000"/>
                <a:gd name="connsiteX100" fmla="*/ 9397 w 10000"/>
                <a:gd name="connsiteY100" fmla="*/ 7582 h 10000"/>
                <a:gd name="connsiteX101" fmla="*/ 9455 w 10000"/>
                <a:gd name="connsiteY101" fmla="*/ 7630 h 10000"/>
                <a:gd name="connsiteX102" fmla="*/ 9650 w 10000"/>
                <a:gd name="connsiteY102" fmla="*/ 7943 h 10000"/>
                <a:gd name="connsiteX103" fmla="*/ 9747 w 10000"/>
                <a:gd name="connsiteY103" fmla="*/ 8148 h 10000"/>
                <a:gd name="connsiteX104" fmla="*/ 9844 w 10000"/>
                <a:gd name="connsiteY104" fmla="*/ 8352 h 10000"/>
                <a:gd name="connsiteX105" fmla="*/ 10000 w 10000"/>
                <a:gd name="connsiteY105" fmla="*/ 8634 h 10000"/>
                <a:gd name="connsiteX106" fmla="*/ 9942 w 10000"/>
                <a:gd name="connsiteY106" fmla="*/ 8666 h 10000"/>
                <a:gd name="connsiteX107" fmla="*/ 9942 w 10000"/>
                <a:gd name="connsiteY107" fmla="*/ 8744 h 10000"/>
                <a:gd name="connsiteX108" fmla="*/ 9844 w 10000"/>
                <a:gd name="connsiteY108" fmla="*/ 8838 h 10000"/>
                <a:gd name="connsiteX109" fmla="*/ 9708 w 10000"/>
                <a:gd name="connsiteY109" fmla="*/ 8870 h 10000"/>
                <a:gd name="connsiteX110" fmla="*/ 9358 w 10000"/>
                <a:gd name="connsiteY110" fmla="*/ 8870 h 10000"/>
                <a:gd name="connsiteX111" fmla="*/ 9397 w 10000"/>
                <a:gd name="connsiteY111" fmla="*/ 8948 h 10000"/>
                <a:gd name="connsiteX112" fmla="*/ 9397 w 10000"/>
                <a:gd name="connsiteY112" fmla="*/ 8995 h 10000"/>
                <a:gd name="connsiteX113" fmla="*/ 9494 w 10000"/>
                <a:gd name="connsiteY113" fmla="*/ 9074 h 10000"/>
                <a:gd name="connsiteX114" fmla="*/ 9358 w 10000"/>
                <a:gd name="connsiteY114" fmla="*/ 9074 h 10000"/>
                <a:gd name="connsiteX115" fmla="*/ 9261 w 10000"/>
                <a:gd name="connsiteY115" fmla="*/ 9074 h 10000"/>
                <a:gd name="connsiteX116" fmla="*/ 9144 w 10000"/>
                <a:gd name="connsiteY116" fmla="*/ 9027 h 10000"/>
                <a:gd name="connsiteX117" fmla="*/ 9047 w 10000"/>
                <a:gd name="connsiteY117" fmla="*/ 9074 h 10000"/>
                <a:gd name="connsiteX118" fmla="*/ 9047 w 10000"/>
                <a:gd name="connsiteY118" fmla="*/ 9152 h 10000"/>
                <a:gd name="connsiteX119" fmla="*/ 9047 w 10000"/>
                <a:gd name="connsiteY119" fmla="*/ 9199 h 10000"/>
                <a:gd name="connsiteX120" fmla="*/ 9008 w 10000"/>
                <a:gd name="connsiteY120" fmla="*/ 9356 h 10000"/>
                <a:gd name="connsiteX121" fmla="*/ 8911 w 10000"/>
                <a:gd name="connsiteY121" fmla="*/ 9466 h 10000"/>
                <a:gd name="connsiteX122" fmla="*/ 8755 w 10000"/>
                <a:gd name="connsiteY122" fmla="*/ 9592 h 10000"/>
                <a:gd name="connsiteX123" fmla="*/ 8560 w 10000"/>
                <a:gd name="connsiteY123" fmla="*/ 9639 h 10000"/>
                <a:gd name="connsiteX124" fmla="*/ 8502 w 10000"/>
                <a:gd name="connsiteY124" fmla="*/ 9592 h 10000"/>
                <a:gd name="connsiteX125" fmla="*/ 8238 w 10000"/>
                <a:gd name="connsiteY125" fmla="*/ 9710 h 10000"/>
                <a:gd name="connsiteX126" fmla="*/ 8182 w 10000"/>
                <a:gd name="connsiteY126" fmla="*/ 9756 h 10000"/>
                <a:gd name="connsiteX127" fmla="*/ 8122 w 10000"/>
                <a:gd name="connsiteY127" fmla="*/ 9717 h 10000"/>
                <a:gd name="connsiteX128" fmla="*/ 8000 w 10000"/>
                <a:gd name="connsiteY128" fmla="*/ 9711 h 10000"/>
                <a:gd name="connsiteX129" fmla="*/ 7828 w 10000"/>
                <a:gd name="connsiteY129" fmla="*/ 9965 h 10000"/>
                <a:gd name="connsiteX130" fmla="*/ 7776 w 10000"/>
                <a:gd name="connsiteY130" fmla="*/ 9884 h 10000"/>
                <a:gd name="connsiteX131" fmla="*/ 7739 w 10000"/>
                <a:gd name="connsiteY131" fmla="*/ 9599 h 10000"/>
                <a:gd name="connsiteX132" fmla="*/ 7802 w 10000"/>
                <a:gd name="connsiteY132" fmla="*/ 9761 h 10000"/>
                <a:gd name="connsiteX133" fmla="*/ 7417 w 10000"/>
                <a:gd name="connsiteY133" fmla="*/ 9522 h 10000"/>
                <a:gd name="connsiteX134" fmla="*/ 7399 w 10000"/>
                <a:gd name="connsiteY134" fmla="*/ 9465 h 10000"/>
                <a:gd name="connsiteX135" fmla="*/ 7004 w 10000"/>
                <a:gd name="connsiteY135" fmla="*/ 9435 h 10000"/>
                <a:gd name="connsiteX136" fmla="*/ 7004 w 10000"/>
                <a:gd name="connsiteY136" fmla="*/ 9388 h 10000"/>
                <a:gd name="connsiteX137" fmla="*/ 6965 w 10000"/>
                <a:gd name="connsiteY137" fmla="*/ 9388 h 10000"/>
                <a:gd name="connsiteX138" fmla="*/ 6809 w 10000"/>
                <a:gd name="connsiteY138" fmla="*/ 9309 h 10000"/>
                <a:gd name="connsiteX139" fmla="*/ 6615 w 10000"/>
                <a:gd name="connsiteY139" fmla="*/ 9231 h 10000"/>
                <a:gd name="connsiteX140" fmla="*/ 6167 w 10000"/>
                <a:gd name="connsiteY140" fmla="*/ 9199 h 10000"/>
                <a:gd name="connsiteX141" fmla="*/ 6109 w 10000"/>
                <a:gd name="connsiteY141" fmla="*/ 9152 h 10000"/>
                <a:gd name="connsiteX142" fmla="*/ 5817 w 10000"/>
                <a:gd name="connsiteY142" fmla="*/ 9074 h 10000"/>
                <a:gd name="connsiteX143" fmla="*/ 5661 w 10000"/>
                <a:gd name="connsiteY143" fmla="*/ 9027 h 10000"/>
                <a:gd name="connsiteX144" fmla="*/ 5564 w 10000"/>
                <a:gd name="connsiteY144" fmla="*/ 8917 h 10000"/>
                <a:gd name="connsiteX145" fmla="*/ 5214 w 10000"/>
                <a:gd name="connsiteY145" fmla="*/ 8744 h 10000"/>
                <a:gd name="connsiteX146" fmla="*/ 4864 w 10000"/>
                <a:gd name="connsiteY146" fmla="*/ 8634 h 10000"/>
                <a:gd name="connsiteX147" fmla="*/ 4825 w 10000"/>
                <a:gd name="connsiteY147" fmla="*/ 8666 h 10000"/>
                <a:gd name="connsiteX148" fmla="*/ 4864 w 10000"/>
                <a:gd name="connsiteY148" fmla="*/ 8634 h 10000"/>
                <a:gd name="connsiteX149" fmla="*/ 4767 w 10000"/>
                <a:gd name="connsiteY149" fmla="*/ 8666 h 10000"/>
                <a:gd name="connsiteX150" fmla="*/ 4669 w 10000"/>
                <a:gd name="connsiteY150" fmla="*/ 8666 h 10000"/>
                <a:gd name="connsiteX151" fmla="*/ 4475 w 10000"/>
                <a:gd name="connsiteY151" fmla="*/ 8587 h 10000"/>
                <a:gd name="connsiteX152" fmla="*/ 4377 w 10000"/>
                <a:gd name="connsiteY152" fmla="*/ 8556 h 10000"/>
                <a:gd name="connsiteX153" fmla="*/ 4319 w 10000"/>
                <a:gd name="connsiteY153" fmla="*/ 8556 h 10000"/>
                <a:gd name="connsiteX154" fmla="*/ 4222 w 10000"/>
                <a:gd name="connsiteY154" fmla="*/ 8587 h 10000"/>
                <a:gd name="connsiteX155" fmla="*/ 4183 w 10000"/>
                <a:gd name="connsiteY155" fmla="*/ 8666 h 10000"/>
                <a:gd name="connsiteX156" fmla="*/ 4183 w 10000"/>
                <a:gd name="connsiteY156" fmla="*/ 8791 h 10000"/>
                <a:gd name="connsiteX157" fmla="*/ 4086 w 10000"/>
                <a:gd name="connsiteY157" fmla="*/ 9309 h 10000"/>
                <a:gd name="connsiteX158" fmla="*/ 4125 w 10000"/>
                <a:gd name="connsiteY158" fmla="*/ 9388 h 10000"/>
                <a:gd name="connsiteX159" fmla="*/ 4280 w 10000"/>
                <a:gd name="connsiteY159" fmla="*/ 9466 h 10000"/>
                <a:gd name="connsiteX160" fmla="*/ 4113 w 10000"/>
                <a:gd name="connsiteY160" fmla="*/ 9448 h 10000"/>
                <a:gd name="connsiteX161" fmla="*/ 4273 w 10000"/>
                <a:gd name="connsiteY161" fmla="*/ 9536 h 10000"/>
                <a:gd name="connsiteX162" fmla="*/ 4189 w 10000"/>
                <a:gd name="connsiteY162" fmla="*/ 9576 h 10000"/>
                <a:gd name="connsiteX163" fmla="*/ 4090 w 10000"/>
                <a:gd name="connsiteY163" fmla="*/ 9649 h 10000"/>
                <a:gd name="connsiteX164" fmla="*/ 4377 w 10000"/>
                <a:gd name="connsiteY164" fmla="*/ 10000 h 10000"/>
                <a:gd name="connsiteX165" fmla="*/ 4222 w 10000"/>
                <a:gd name="connsiteY165" fmla="*/ 9953 h 10000"/>
                <a:gd name="connsiteX166" fmla="*/ 4086 w 10000"/>
                <a:gd name="connsiteY166" fmla="*/ 9874 h 10000"/>
                <a:gd name="connsiteX167" fmla="*/ 3930 w 10000"/>
                <a:gd name="connsiteY167" fmla="*/ 9796 h 10000"/>
                <a:gd name="connsiteX168" fmla="*/ 3930 w 10000"/>
                <a:gd name="connsiteY168" fmla="*/ 9717 h 10000"/>
                <a:gd name="connsiteX169" fmla="*/ 3930 w 10000"/>
                <a:gd name="connsiteY169" fmla="*/ 9560 h 10000"/>
                <a:gd name="connsiteX170" fmla="*/ 3872 w 10000"/>
                <a:gd name="connsiteY170" fmla="*/ 9513 h 10000"/>
                <a:gd name="connsiteX171" fmla="*/ 3833 w 10000"/>
                <a:gd name="connsiteY171" fmla="*/ 9466 h 10000"/>
                <a:gd name="connsiteX172" fmla="*/ 3774 w 10000"/>
                <a:gd name="connsiteY172" fmla="*/ 9513 h 10000"/>
                <a:gd name="connsiteX173" fmla="*/ 3521 w 10000"/>
                <a:gd name="connsiteY173" fmla="*/ 9560 h 10000"/>
                <a:gd name="connsiteX174" fmla="*/ 3424 w 10000"/>
                <a:gd name="connsiteY174" fmla="*/ 9560 h 10000"/>
                <a:gd name="connsiteX175" fmla="*/ 3288 w 10000"/>
                <a:gd name="connsiteY175" fmla="*/ 9513 h 10000"/>
                <a:gd name="connsiteX176" fmla="*/ 3132 w 10000"/>
                <a:gd name="connsiteY176" fmla="*/ 9435 h 10000"/>
                <a:gd name="connsiteX177" fmla="*/ 2938 w 10000"/>
                <a:gd name="connsiteY177" fmla="*/ 9356 h 10000"/>
                <a:gd name="connsiteX178" fmla="*/ 2724 w 10000"/>
                <a:gd name="connsiteY178" fmla="*/ 9309 h 10000"/>
                <a:gd name="connsiteX179" fmla="*/ 2432 w 10000"/>
                <a:gd name="connsiteY179" fmla="*/ 9278 h 10000"/>
                <a:gd name="connsiteX180" fmla="*/ 2393 w 10000"/>
                <a:gd name="connsiteY180" fmla="*/ 9199 h 10000"/>
                <a:gd name="connsiteX181" fmla="*/ 2276 w 10000"/>
                <a:gd name="connsiteY181" fmla="*/ 9152 h 10000"/>
                <a:gd name="connsiteX182" fmla="*/ 2179 w 10000"/>
                <a:gd name="connsiteY182" fmla="*/ 9074 h 10000"/>
                <a:gd name="connsiteX183" fmla="*/ 2179 w 10000"/>
                <a:gd name="connsiteY183" fmla="*/ 8948 h 10000"/>
                <a:gd name="connsiteX184" fmla="*/ 2179 w 10000"/>
                <a:gd name="connsiteY184" fmla="*/ 8870 h 10000"/>
                <a:gd name="connsiteX185" fmla="*/ 2237 w 10000"/>
                <a:gd name="connsiteY185" fmla="*/ 8838 h 10000"/>
                <a:gd name="connsiteX186" fmla="*/ 2335 w 10000"/>
                <a:gd name="connsiteY186" fmla="*/ 8791 h 10000"/>
                <a:gd name="connsiteX187" fmla="*/ 2490 w 10000"/>
                <a:gd name="connsiteY187" fmla="*/ 8791 h 10000"/>
                <a:gd name="connsiteX188" fmla="*/ 2529 w 10000"/>
                <a:gd name="connsiteY188" fmla="*/ 8744 h 10000"/>
                <a:gd name="connsiteX189" fmla="*/ 2626 w 10000"/>
                <a:gd name="connsiteY189" fmla="*/ 8713 h 10000"/>
                <a:gd name="connsiteX190" fmla="*/ 2685 w 10000"/>
                <a:gd name="connsiteY190" fmla="*/ 8556 h 10000"/>
                <a:gd name="connsiteX191" fmla="*/ 2626 w 10000"/>
                <a:gd name="connsiteY191" fmla="*/ 8383 h 10000"/>
                <a:gd name="connsiteX192" fmla="*/ 2588 w 10000"/>
                <a:gd name="connsiteY192" fmla="*/ 8195 h 10000"/>
                <a:gd name="connsiteX193" fmla="*/ 2432 w 10000"/>
                <a:gd name="connsiteY193" fmla="*/ 8022 h 10000"/>
                <a:gd name="connsiteX194" fmla="*/ 2393 w 10000"/>
                <a:gd name="connsiteY194" fmla="*/ 7991 h 10000"/>
                <a:gd name="connsiteX195" fmla="*/ 2335 w 10000"/>
                <a:gd name="connsiteY195" fmla="*/ 7943 h 10000"/>
                <a:gd name="connsiteX196" fmla="*/ 2393 w 10000"/>
                <a:gd name="connsiteY196" fmla="*/ 7865 h 10000"/>
                <a:gd name="connsiteX197" fmla="*/ 2432 w 10000"/>
                <a:gd name="connsiteY197" fmla="*/ 7834 h 10000"/>
                <a:gd name="connsiteX198" fmla="*/ 2490 w 10000"/>
                <a:gd name="connsiteY198" fmla="*/ 7834 h 10000"/>
                <a:gd name="connsiteX199" fmla="*/ 2588 w 10000"/>
                <a:gd name="connsiteY199" fmla="*/ 7834 h 10000"/>
                <a:gd name="connsiteX200" fmla="*/ 2685 w 10000"/>
                <a:gd name="connsiteY200" fmla="*/ 7834 h 10000"/>
                <a:gd name="connsiteX201" fmla="*/ 2782 w 10000"/>
                <a:gd name="connsiteY201" fmla="*/ 7912 h 10000"/>
                <a:gd name="connsiteX202" fmla="*/ 2938 w 10000"/>
                <a:gd name="connsiteY202" fmla="*/ 7991 h 10000"/>
                <a:gd name="connsiteX203" fmla="*/ 3074 w 10000"/>
                <a:gd name="connsiteY203" fmla="*/ 8069 h 10000"/>
                <a:gd name="connsiteX204" fmla="*/ 3230 w 10000"/>
                <a:gd name="connsiteY204" fmla="*/ 8100 h 10000"/>
                <a:gd name="connsiteX205" fmla="*/ 3230 w 10000"/>
                <a:gd name="connsiteY205" fmla="*/ 8069 h 10000"/>
                <a:gd name="connsiteX206" fmla="*/ 3288 w 10000"/>
                <a:gd name="connsiteY206" fmla="*/ 8069 h 10000"/>
                <a:gd name="connsiteX207" fmla="*/ 3327 w 10000"/>
                <a:gd name="connsiteY207" fmla="*/ 7912 h 10000"/>
                <a:gd name="connsiteX208" fmla="*/ 3327 w 10000"/>
                <a:gd name="connsiteY208" fmla="*/ 7786 h 10000"/>
                <a:gd name="connsiteX209" fmla="*/ 3327 w 10000"/>
                <a:gd name="connsiteY209" fmla="*/ 7708 h 10000"/>
                <a:gd name="connsiteX210" fmla="*/ 3230 w 10000"/>
                <a:gd name="connsiteY210" fmla="*/ 7582 h 10000"/>
                <a:gd name="connsiteX211" fmla="*/ 2977 w 10000"/>
                <a:gd name="connsiteY211" fmla="*/ 7378 h 10000"/>
                <a:gd name="connsiteX212" fmla="*/ 2685 w 10000"/>
                <a:gd name="connsiteY212" fmla="*/ 7064 h 10000"/>
                <a:gd name="connsiteX213" fmla="*/ 2724 w 10000"/>
                <a:gd name="connsiteY213" fmla="*/ 6986 h 10000"/>
                <a:gd name="connsiteX214" fmla="*/ 2782 w 10000"/>
                <a:gd name="connsiteY214" fmla="*/ 6986 h 10000"/>
                <a:gd name="connsiteX215" fmla="*/ 3035 w 10000"/>
                <a:gd name="connsiteY215" fmla="*/ 7017 h 10000"/>
                <a:gd name="connsiteX216" fmla="*/ 3230 w 10000"/>
                <a:gd name="connsiteY216" fmla="*/ 7017 h 10000"/>
                <a:gd name="connsiteX217" fmla="*/ 3288 w 10000"/>
                <a:gd name="connsiteY217" fmla="*/ 7017 h 10000"/>
                <a:gd name="connsiteX218" fmla="*/ 3288 w 10000"/>
                <a:gd name="connsiteY218" fmla="*/ 6986 h 10000"/>
                <a:gd name="connsiteX219" fmla="*/ 3171 w 10000"/>
                <a:gd name="connsiteY219" fmla="*/ 6829 h 10000"/>
                <a:gd name="connsiteX220" fmla="*/ 2977 w 10000"/>
                <a:gd name="connsiteY220" fmla="*/ 6656 h 10000"/>
                <a:gd name="connsiteX221" fmla="*/ 2840 w 10000"/>
                <a:gd name="connsiteY221" fmla="*/ 6546 h 10000"/>
                <a:gd name="connsiteX222" fmla="*/ 2588 w 10000"/>
                <a:gd name="connsiteY222" fmla="*/ 6468 h 10000"/>
                <a:gd name="connsiteX223" fmla="*/ 2335 w 10000"/>
                <a:gd name="connsiteY223" fmla="*/ 6421 h 10000"/>
                <a:gd name="connsiteX224" fmla="*/ 1634 w 10000"/>
                <a:gd name="connsiteY224" fmla="*/ 6421 h 10000"/>
                <a:gd name="connsiteX225" fmla="*/ 1245 w 10000"/>
                <a:gd name="connsiteY225" fmla="*/ 6374 h 10000"/>
                <a:gd name="connsiteX226" fmla="*/ 1089 w 10000"/>
                <a:gd name="connsiteY226" fmla="*/ 6421 h 10000"/>
                <a:gd name="connsiteX227" fmla="*/ 992 w 10000"/>
                <a:gd name="connsiteY227" fmla="*/ 6468 h 10000"/>
                <a:gd name="connsiteX228" fmla="*/ 934 w 10000"/>
                <a:gd name="connsiteY228" fmla="*/ 6546 h 10000"/>
                <a:gd name="connsiteX229" fmla="*/ 798 w 10000"/>
                <a:gd name="connsiteY229" fmla="*/ 6295 h 10000"/>
                <a:gd name="connsiteX230" fmla="*/ 642 w 10000"/>
                <a:gd name="connsiteY230" fmla="*/ 6217 h 10000"/>
                <a:gd name="connsiteX231" fmla="*/ 447 w 10000"/>
                <a:gd name="connsiteY231" fmla="*/ 6138 h 10000"/>
                <a:gd name="connsiteX232" fmla="*/ 195 w 10000"/>
                <a:gd name="connsiteY232" fmla="*/ 5934 h 10000"/>
                <a:gd name="connsiteX233" fmla="*/ 97 w 10000"/>
                <a:gd name="connsiteY233" fmla="*/ 5824 h 10000"/>
                <a:gd name="connsiteX234" fmla="*/ 97 w 10000"/>
                <a:gd name="connsiteY234" fmla="*/ 5699 h 10000"/>
                <a:gd name="connsiteX235" fmla="*/ 195 w 10000"/>
                <a:gd name="connsiteY235" fmla="*/ 5777 h 10000"/>
                <a:gd name="connsiteX236" fmla="*/ 292 w 10000"/>
                <a:gd name="connsiteY236" fmla="*/ 5824 h 10000"/>
                <a:gd name="connsiteX237" fmla="*/ 447 w 10000"/>
                <a:gd name="connsiteY237" fmla="*/ 5856 h 10000"/>
                <a:gd name="connsiteX238" fmla="*/ 584 w 10000"/>
                <a:gd name="connsiteY238" fmla="*/ 5856 h 10000"/>
                <a:gd name="connsiteX239" fmla="*/ 700 w 10000"/>
                <a:gd name="connsiteY239" fmla="*/ 5824 h 10000"/>
                <a:gd name="connsiteX240" fmla="*/ 1187 w 10000"/>
                <a:gd name="connsiteY240" fmla="*/ 5824 h 10000"/>
                <a:gd name="connsiteX241" fmla="*/ 1342 w 10000"/>
                <a:gd name="connsiteY241" fmla="*/ 5651 h 10000"/>
                <a:gd name="connsiteX242" fmla="*/ 1381 w 10000"/>
                <a:gd name="connsiteY242" fmla="*/ 5573 h 10000"/>
                <a:gd name="connsiteX243" fmla="*/ 1498 w 10000"/>
                <a:gd name="connsiteY243" fmla="*/ 5573 h 10000"/>
                <a:gd name="connsiteX244" fmla="*/ 1537 w 10000"/>
                <a:gd name="connsiteY244" fmla="*/ 5573 h 10000"/>
                <a:gd name="connsiteX245" fmla="*/ 1595 w 10000"/>
                <a:gd name="connsiteY245" fmla="*/ 5651 h 10000"/>
                <a:gd name="connsiteX246" fmla="*/ 1693 w 10000"/>
                <a:gd name="connsiteY246" fmla="*/ 5824 h 10000"/>
                <a:gd name="connsiteX247" fmla="*/ 1732 w 10000"/>
                <a:gd name="connsiteY247" fmla="*/ 5981 h 10000"/>
                <a:gd name="connsiteX248" fmla="*/ 1829 w 10000"/>
                <a:gd name="connsiteY248" fmla="*/ 6060 h 10000"/>
                <a:gd name="connsiteX249" fmla="*/ 1946 w 10000"/>
                <a:gd name="connsiteY249" fmla="*/ 6060 h 10000"/>
                <a:gd name="connsiteX250" fmla="*/ 2043 w 10000"/>
                <a:gd name="connsiteY250" fmla="*/ 6060 h 10000"/>
                <a:gd name="connsiteX251" fmla="*/ 2082 w 10000"/>
                <a:gd name="connsiteY251" fmla="*/ 6013 h 10000"/>
                <a:gd name="connsiteX252" fmla="*/ 2179 w 10000"/>
                <a:gd name="connsiteY252" fmla="*/ 5856 h 10000"/>
                <a:gd name="connsiteX253" fmla="*/ 2237 w 10000"/>
                <a:gd name="connsiteY253" fmla="*/ 5542 h 10000"/>
                <a:gd name="connsiteX254" fmla="*/ 2335 w 10000"/>
                <a:gd name="connsiteY254" fmla="*/ 5463 h 10000"/>
                <a:gd name="connsiteX255" fmla="*/ 2432 w 10000"/>
                <a:gd name="connsiteY255" fmla="*/ 5463 h 10000"/>
                <a:gd name="connsiteX256" fmla="*/ 2529 w 10000"/>
                <a:gd name="connsiteY256" fmla="*/ 5416 h 10000"/>
                <a:gd name="connsiteX257" fmla="*/ 2588 w 10000"/>
                <a:gd name="connsiteY257" fmla="*/ 5338 h 10000"/>
                <a:gd name="connsiteX258" fmla="*/ 2529 w 10000"/>
                <a:gd name="connsiteY258" fmla="*/ 5259 h 10000"/>
                <a:gd name="connsiteX259" fmla="*/ 2490 w 10000"/>
                <a:gd name="connsiteY259" fmla="*/ 5212 h 10000"/>
                <a:gd name="connsiteX260" fmla="*/ 2432 w 10000"/>
                <a:gd name="connsiteY260" fmla="*/ 5181 h 10000"/>
                <a:gd name="connsiteX261" fmla="*/ 2432 w 10000"/>
                <a:gd name="connsiteY261" fmla="*/ 5133 h 10000"/>
                <a:gd name="connsiteX262" fmla="*/ 2432 w 10000"/>
                <a:gd name="connsiteY262" fmla="*/ 5055 h 10000"/>
                <a:gd name="connsiteX263" fmla="*/ 2490 w 10000"/>
                <a:gd name="connsiteY263" fmla="*/ 5024 h 10000"/>
                <a:gd name="connsiteX264" fmla="*/ 2685 w 10000"/>
                <a:gd name="connsiteY264" fmla="*/ 5024 h 10000"/>
                <a:gd name="connsiteX265" fmla="*/ 2840 w 10000"/>
                <a:gd name="connsiteY265" fmla="*/ 5024 h 10000"/>
                <a:gd name="connsiteX266" fmla="*/ 2879 w 10000"/>
                <a:gd name="connsiteY266" fmla="*/ 4976 h 10000"/>
                <a:gd name="connsiteX267" fmla="*/ 2938 w 10000"/>
                <a:gd name="connsiteY267" fmla="*/ 4898 h 10000"/>
                <a:gd name="connsiteX268" fmla="*/ 2879 w 10000"/>
                <a:gd name="connsiteY268" fmla="*/ 4851 h 10000"/>
                <a:gd name="connsiteX269" fmla="*/ 2840 w 10000"/>
                <a:gd name="connsiteY269" fmla="*/ 4772 h 10000"/>
                <a:gd name="connsiteX270" fmla="*/ 2782 w 10000"/>
                <a:gd name="connsiteY270" fmla="*/ 4741 h 10000"/>
                <a:gd name="connsiteX271" fmla="*/ 2782 w 10000"/>
                <a:gd name="connsiteY271" fmla="*/ 4694 h 10000"/>
                <a:gd name="connsiteX272" fmla="*/ 2840 w 10000"/>
                <a:gd name="connsiteY272" fmla="*/ 4647 h 10000"/>
                <a:gd name="connsiteX273" fmla="*/ 2879 w 10000"/>
                <a:gd name="connsiteY273" fmla="*/ 4615 h 10000"/>
                <a:gd name="connsiteX274" fmla="*/ 3074 w 10000"/>
                <a:gd name="connsiteY274" fmla="*/ 4568 h 10000"/>
                <a:gd name="connsiteX275" fmla="*/ 2782 w 10000"/>
                <a:gd name="connsiteY275" fmla="*/ 4411 h 10000"/>
                <a:gd name="connsiteX276" fmla="*/ 2685 w 10000"/>
                <a:gd name="connsiteY276" fmla="*/ 4333 h 10000"/>
                <a:gd name="connsiteX277" fmla="*/ 2626 w 10000"/>
                <a:gd name="connsiteY277" fmla="*/ 4207 h 10000"/>
                <a:gd name="connsiteX278" fmla="*/ 2626 w 10000"/>
                <a:gd name="connsiteY278" fmla="*/ 3925 h 10000"/>
                <a:gd name="connsiteX279" fmla="*/ 2626 w 10000"/>
                <a:gd name="connsiteY279" fmla="*/ 3815 h 10000"/>
                <a:gd name="connsiteX280" fmla="*/ 2588 w 10000"/>
                <a:gd name="connsiteY280" fmla="*/ 3689 h 10000"/>
                <a:gd name="connsiteX281" fmla="*/ 2490 w 10000"/>
                <a:gd name="connsiteY281" fmla="*/ 3658 h 10000"/>
                <a:gd name="connsiteX282" fmla="*/ 2276 w 10000"/>
                <a:gd name="connsiteY282" fmla="*/ 3564 h 10000"/>
                <a:gd name="connsiteX283" fmla="*/ 2043 w 10000"/>
                <a:gd name="connsiteY283" fmla="*/ 3375 h 10000"/>
                <a:gd name="connsiteX284" fmla="*/ 1984 w 10000"/>
                <a:gd name="connsiteY284" fmla="*/ 3297 h 10000"/>
                <a:gd name="connsiteX285" fmla="*/ 1946 w 10000"/>
                <a:gd name="connsiteY285" fmla="*/ 3203 h 10000"/>
                <a:gd name="connsiteX286" fmla="*/ 1829 w 10000"/>
                <a:gd name="connsiteY286" fmla="*/ 3203 h 10000"/>
                <a:gd name="connsiteX287" fmla="*/ 1693 w 10000"/>
                <a:gd name="connsiteY287" fmla="*/ 3203 h 10000"/>
                <a:gd name="connsiteX288" fmla="*/ 1634 w 10000"/>
                <a:gd name="connsiteY288" fmla="*/ 3250 h 10000"/>
                <a:gd name="connsiteX289" fmla="*/ 1537 w 10000"/>
                <a:gd name="connsiteY289" fmla="*/ 3250 h 10000"/>
                <a:gd name="connsiteX290" fmla="*/ 1342 w 10000"/>
                <a:gd name="connsiteY290" fmla="*/ 3171 h 10000"/>
                <a:gd name="connsiteX291" fmla="*/ 1089 w 10000"/>
                <a:gd name="connsiteY291" fmla="*/ 3014 h 10000"/>
                <a:gd name="connsiteX292" fmla="*/ 934 w 10000"/>
                <a:gd name="connsiteY292" fmla="*/ 2967 h 10000"/>
                <a:gd name="connsiteX293" fmla="*/ 739 w 10000"/>
                <a:gd name="connsiteY293" fmla="*/ 2920 h 10000"/>
                <a:gd name="connsiteX294" fmla="*/ 642 w 10000"/>
                <a:gd name="connsiteY294" fmla="*/ 2841 h 10000"/>
                <a:gd name="connsiteX295" fmla="*/ 486 w 10000"/>
                <a:gd name="connsiteY295" fmla="*/ 2684 h 10000"/>
                <a:gd name="connsiteX296" fmla="*/ 292 w 10000"/>
                <a:gd name="connsiteY296" fmla="*/ 2402 h 10000"/>
                <a:gd name="connsiteX297" fmla="*/ 97 w 10000"/>
                <a:gd name="connsiteY297" fmla="*/ 2009 h 10000"/>
                <a:gd name="connsiteX298" fmla="*/ 39 w 10000"/>
                <a:gd name="connsiteY298" fmla="*/ 1601 h 10000"/>
                <a:gd name="connsiteX299" fmla="*/ 0 w 10000"/>
                <a:gd name="connsiteY299" fmla="*/ 1397 h 10000"/>
                <a:gd name="connsiteX300" fmla="*/ 39 w 10000"/>
                <a:gd name="connsiteY300" fmla="*/ 1193 h 10000"/>
                <a:gd name="connsiteX301" fmla="*/ 97 w 10000"/>
                <a:gd name="connsiteY301" fmla="*/ 1036 h 10000"/>
                <a:gd name="connsiteX302" fmla="*/ 136 w 10000"/>
                <a:gd name="connsiteY302" fmla="*/ 926 h 10000"/>
                <a:gd name="connsiteX303" fmla="*/ 253 w 10000"/>
                <a:gd name="connsiteY303" fmla="*/ 832 h 10000"/>
                <a:gd name="connsiteX304" fmla="*/ 389 w 10000"/>
                <a:gd name="connsiteY304" fmla="*/ 801 h 10000"/>
                <a:gd name="connsiteX305" fmla="*/ 642 w 10000"/>
                <a:gd name="connsiteY305" fmla="*/ 801 h 10000"/>
                <a:gd name="connsiteX306" fmla="*/ 934 w 10000"/>
                <a:gd name="connsiteY306" fmla="*/ 754 h 10000"/>
                <a:gd name="connsiteX307" fmla="*/ 1148 w 10000"/>
                <a:gd name="connsiteY307" fmla="*/ 722 h 10000"/>
                <a:gd name="connsiteX308" fmla="*/ 1245 w 10000"/>
                <a:gd name="connsiteY308" fmla="*/ 675 h 10000"/>
                <a:gd name="connsiteX309" fmla="*/ 1342 w 10000"/>
                <a:gd name="connsiteY309" fmla="*/ 597 h 10000"/>
                <a:gd name="connsiteX310" fmla="*/ 1440 w 10000"/>
                <a:gd name="connsiteY310" fmla="*/ 565 h 10000"/>
                <a:gd name="connsiteX311" fmla="*/ 1537 w 10000"/>
                <a:gd name="connsiteY311" fmla="*/ 565 h 10000"/>
                <a:gd name="connsiteX312" fmla="*/ 1946 w 10000"/>
                <a:gd name="connsiteY312" fmla="*/ 565 h 10000"/>
                <a:gd name="connsiteX313" fmla="*/ 2276 w 10000"/>
                <a:gd name="connsiteY313" fmla="*/ 597 h 10000"/>
                <a:gd name="connsiteX314" fmla="*/ 2490 w 10000"/>
                <a:gd name="connsiteY314" fmla="*/ 644 h 10000"/>
                <a:gd name="connsiteX315" fmla="*/ 2626 w 10000"/>
                <a:gd name="connsiteY315" fmla="*/ 722 h 10000"/>
                <a:gd name="connsiteX316" fmla="*/ 2782 w 10000"/>
                <a:gd name="connsiteY316" fmla="*/ 754 h 10000"/>
                <a:gd name="connsiteX317" fmla="*/ 2879 w 10000"/>
                <a:gd name="connsiteY317" fmla="*/ 722 h 10000"/>
                <a:gd name="connsiteX318" fmla="*/ 2977 w 10000"/>
                <a:gd name="connsiteY318" fmla="*/ 675 h 10000"/>
                <a:gd name="connsiteX319" fmla="*/ 3132 w 10000"/>
                <a:gd name="connsiteY319" fmla="*/ 597 h 10000"/>
                <a:gd name="connsiteX320" fmla="*/ 3288 w 10000"/>
                <a:gd name="connsiteY320" fmla="*/ 518 h 10000"/>
                <a:gd name="connsiteX321" fmla="*/ 3482 w 10000"/>
                <a:gd name="connsiteY321" fmla="*/ 283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9965"/>
                <a:gd name="connsiteX1" fmla="*/ 3638 w 10000"/>
                <a:gd name="connsiteY1" fmla="*/ 0 h 9965"/>
                <a:gd name="connsiteX2" fmla="*/ 3735 w 10000"/>
                <a:gd name="connsiteY2" fmla="*/ 31 h 9965"/>
                <a:gd name="connsiteX3" fmla="*/ 3833 w 10000"/>
                <a:gd name="connsiteY3" fmla="*/ 110 h 9965"/>
                <a:gd name="connsiteX4" fmla="*/ 3872 w 10000"/>
                <a:gd name="connsiteY4" fmla="*/ 204 h 9965"/>
                <a:gd name="connsiteX5" fmla="*/ 3930 w 10000"/>
                <a:gd name="connsiteY5" fmla="*/ 283 h 9965"/>
                <a:gd name="connsiteX6" fmla="*/ 4027 w 10000"/>
                <a:gd name="connsiteY6" fmla="*/ 283 h 9965"/>
                <a:gd name="connsiteX7" fmla="*/ 4183 w 10000"/>
                <a:gd name="connsiteY7" fmla="*/ 314 h 9965"/>
                <a:gd name="connsiteX8" fmla="*/ 4280 w 10000"/>
                <a:gd name="connsiteY8" fmla="*/ 314 h 9965"/>
                <a:gd name="connsiteX9" fmla="*/ 4377 w 10000"/>
                <a:gd name="connsiteY9" fmla="*/ 314 h 9965"/>
                <a:gd name="connsiteX10" fmla="*/ 4533 w 10000"/>
                <a:gd name="connsiteY10" fmla="*/ 392 h 9965"/>
                <a:gd name="connsiteX11" fmla="*/ 4630 w 10000"/>
                <a:gd name="connsiteY11" fmla="*/ 518 h 9965"/>
                <a:gd name="connsiteX12" fmla="*/ 4767 w 10000"/>
                <a:gd name="connsiteY12" fmla="*/ 754 h 9965"/>
                <a:gd name="connsiteX13" fmla="*/ 5019 w 10000"/>
                <a:gd name="connsiteY13" fmla="*/ 1115 h 9965"/>
                <a:gd name="connsiteX14" fmla="*/ 5272 w 10000"/>
                <a:gd name="connsiteY14" fmla="*/ 1523 h 9965"/>
                <a:gd name="connsiteX15" fmla="*/ 5311 w 10000"/>
                <a:gd name="connsiteY15" fmla="*/ 1758 h 9965"/>
                <a:gd name="connsiteX16" fmla="*/ 5370 w 10000"/>
                <a:gd name="connsiteY16" fmla="*/ 1837 h 9965"/>
                <a:gd name="connsiteX17" fmla="*/ 5525 w 10000"/>
                <a:gd name="connsiteY17" fmla="*/ 1884 h 9965"/>
                <a:gd name="connsiteX18" fmla="*/ 5525 w 10000"/>
                <a:gd name="connsiteY18" fmla="*/ 2009 h 9965"/>
                <a:gd name="connsiteX19" fmla="*/ 5564 w 10000"/>
                <a:gd name="connsiteY19" fmla="*/ 2088 h 9965"/>
                <a:gd name="connsiteX20" fmla="*/ 5828 w 10000"/>
                <a:gd name="connsiteY20" fmla="*/ 2123 h 9965"/>
                <a:gd name="connsiteX21" fmla="*/ 5778 w 10000"/>
                <a:gd name="connsiteY21" fmla="*/ 2292 h 9965"/>
                <a:gd name="connsiteX22" fmla="*/ 5817 w 10000"/>
                <a:gd name="connsiteY22" fmla="*/ 2323 h 9965"/>
                <a:gd name="connsiteX23" fmla="*/ 5808 w 10000"/>
                <a:gd name="connsiteY23" fmla="*/ 2178 h 9965"/>
                <a:gd name="connsiteX24" fmla="*/ 5817 w 10000"/>
                <a:gd name="connsiteY24" fmla="*/ 2527 h 9965"/>
                <a:gd name="connsiteX25" fmla="*/ 6000 w 10000"/>
                <a:gd name="connsiteY25" fmla="*/ 2503 h 9965"/>
                <a:gd name="connsiteX26" fmla="*/ 5914 w 10000"/>
                <a:gd name="connsiteY26" fmla="*/ 2606 h 9965"/>
                <a:gd name="connsiteX27" fmla="*/ 6214 w 10000"/>
                <a:gd name="connsiteY27" fmla="*/ 2604 h 9965"/>
                <a:gd name="connsiteX28" fmla="*/ 6292 w 10000"/>
                <a:gd name="connsiteY28" fmla="*/ 2904 h 9965"/>
                <a:gd name="connsiteX29" fmla="*/ 6345 w 10000"/>
                <a:gd name="connsiteY29" fmla="*/ 2954 h 9965"/>
                <a:gd name="connsiteX30" fmla="*/ 6265 w 10000"/>
                <a:gd name="connsiteY30" fmla="*/ 3046 h 9965"/>
                <a:gd name="connsiteX31" fmla="*/ 6425 w 10000"/>
                <a:gd name="connsiteY31" fmla="*/ 3106 h 9965"/>
                <a:gd name="connsiteX32" fmla="*/ 6584 w 10000"/>
                <a:gd name="connsiteY32" fmla="*/ 3132 h 9965"/>
                <a:gd name="connsiteX33" fmla="*/ 6670 w 10000"/>
                <a:gd name="connsiteY33" fmla="*/ 3317 h 9965"/>
                <a:gd name="connsiteX34" fmla="*/ 6556 w 10000"/>
                <a:gd name="connsiteY34" fmla="*/ 3485 h 9965"/>
                <a:gd name="connsiteX35" fmla="*/ 6615 w 10000"/>
                <a:gd name="connsiteY35" fmla="*/ 3532 h 9965"/>
                <a:gd name="connsiteX36" fmla="*/ 6673 w 10000"/>
                <a:gd name="connsiteY36" fmla="*/ 3485 h 9965"/>
                <a:gd name="connsiteX37" fmla="*/ 6770 w 10000"/>
                <a:gd name="connsiteY37" fmla="*/ 3407 h 9965"/>
                <a:gd name="connsiteX38" fmla="*/ 6809 w 10000"/>
                <a:gd name="connsiteY38" fmla="*/ 3297 h 9965"/>
                <a:gd name="connsiteX39" fmla="*/ 7004 w 10000"/>
                <a:gd name="connsiteY39" fmla="*/ 3250 h 9965"/>
                <a:gd name="connsiteX40" fmla="*/ 7223 w 10000"/>
                <a:gd name="connsiteY40" fmla="*/ 3069 h 9965"/>
                <a:gd name="connsiteX41" fmla="*/ 7236 w 10000"/>
                <a:gd name="connsiteY41" fmla="*/ 3148 h 9965"/>
                <a:gd name="connsiteX42" fmla="*/ 7364 w 10000"/>
                <a:gd name="connsiteY42" fmla="*/ 3121 h 9965"/>
                <a:gd name="connsiteX43" fmla="*/ 7759 w 10000"/>
                <a:gd name="connsiteY43" fmla="*/ 3201 h 9965"/>
                <a:gd name="connsiteX44" fmla="*/ 7829 w 10000"/>
                <a:gd name="connsiteY44" fmla="*/ 3282 h 9965"/>
                <a:gd name="connsiteX45" fmla="*/ 7976 w 10000"/>
                <a:gd name="connsiteY45" fmla="*/ 3326 h 9965"/>
                <a:gd name="connsiteX46" fmla="*/ 8050 w 10000"/>
                <a:gd name="connsiteY46" fmla="*/ 3351 h 9965"/>
                <a:gd name="connsiteX47" fmla="*/ 7909 w 10000"/>
                <a:gd name="connsiteY47" fmla="*/ 3352 h 9965"/>
                <a:gd name="connsiteX48" fmla="*/ 7961 w 10000"/>
                <a:gd name="connsiteY48" fmla="*/ 3401 h 9965"/>
                <a:gd name="connsiteX49" fmla="*/ 8009 w 10000"/>
                <a:gd name="connsiteY49" fmla="*/ 3343 h 9965"/>
                <a:gd name="connsiteX50" fmla="*/ 8235 w 10000"/>
                <a:gd name="connsiteY50" fmla="*/ 3310 h 9965"/>
                <a:gd name="connsiteX51" fmla="*/ 8416 w 10000"/>
                <a:gd name="connsiteY51" fmla="*/ 3463 h 9965"/>
                <a:gd name="connsiteX52" fmla="*/ 8570 w 10000"/>
                <a:gd name="connsiteY52" fmla="*/ 3425 h 9965"/>
                <a:gd name="connsiteX53" fmla="*/ 8669 w 10000"/>
                <a:gd name="connsiteY53" fmla="*/ 3698 h 9965"/>
                <a:gd name="connsiteX54" fmla="*/ 8800 w 10000"/>
                <a:gd name="connsiteY54" fmla="*/ 3811 h 9965"/>
                <a:gd name="connsiteX55" fmla="*/ 8658 w 10000"/>
                <a:gd name="connsiteY55" fmla="*/ 4050 h 9965"/>
                <a:gd name="connsiteX56" fmla="*/ 8922 w 10000"/>
                <a:gd name="connsiteY56" fmla="*/ 4023 h 9965"/>
                <a:gd name="connsiteX57" fmla="*/ 9008 w 10000"/>
                <a:gd name="connsiteY57" fmla="*/ 4129 h 9965"/>
                <a:gd name="connsiteX58" fmla="*/ 9047 w 10000"/>
                <a:gd name="connsiteY58" fmla="*/ 4207 h 9965"/>
                <a:gd name="connsiteX59" fmla="*/ 9047 w 10000"/>
                <a:gd name="connsiteY59" fmla="*/ 4254 h 9965"/>
                <a:gd name="connsiteX60" fmla="*/ 9008 w 10000"/>
                <a:gd name="connsiteY60" fmla="*/ 4380 h 9965"/>
                <a:gd name="connsiteX61" fmla="*/ 9008 w 10000"/>
                <a:gd name="connsiteY61" fmla="*/ 4458 h 9965"/>
                <a:gd name="connsiteX62" fmla="*/ 8911 w 10000"/>
                <a:gd name="connsiteY62" fmla="*/ 4568 h 9965"/>
                <a:gd name="connsiteX63" fmla="*/ 8911 w 10000"/>
                <a:gd name="connsiteY63" fmla="*/ 4819 h 9965"/>
                <a:gd name="connsiteX64" fmla="*/ 8813 w 10000"/>
                <a:gd name="connsiteY64" fmla="*/ 4851 h 9965"/>
                <a:gd name="connsiteX65" fmla="*/ 8755 w 10000"/>
                <a:gd name="connsiteY65" fmla="*/ 4819 h 9965"/>
                <a:gd name="connsiteX66" fmla="*/ 8696 w 10000"/>
                <a:gd name="connsiteY66" fmla="*/ 4819 h 9965"/>
                <a:gd name="connsiteX67" fmla="*/ 8560 w 10000"/>
                <a:gd name="connsiteY67" fmla="*/ 4851 h 9965"/>
                <a:gd name="connsiteX68" fmla="*/ 8463 w 10000"/>
                <a:gd name="connsiteY68" fmla="*/ 4898 h 9965"/>
                <a:gd name="connsiteX69" fmla="*/ 8366 w 10000"/>
                <a:gd name="connsiteY69" fmla="*/ 5024 h 9965"/>
                <a:gd name="connsiteX70" fmla="*/ 8307 w 10000"/>
                <a:gd name="connsiteY70" fmla="*/ 5102 h 9965"/>
                <a:gd name="connsiteX71" fmla="*/ 8366 w 10000"/>
                <a:gd name="connsiteY71" fmla="*/ 5212 h 9965"/>
                <a:gd name="connsiteX72" fmla="*/ 8405 w 10000"/>
                <a:gd name="connsiteY72" fmla="*/ 5290 h 9965"/>
                <a:gd name="connsiteX73" fmla="*/ 8599 w 10000"/>
                <a:gd name="connsiteY73" fmla="*/ 5416 h 9965"/>
                <a:gd name="connsiteX74" fmla="*/ 8658 w 10000"/>
                <a:gd name="connsiteY74" fmla="*/ 5495 h 9965"/>
                <a:gd name="connsiteX75" fmla="*/ 8658 w 10000"/>
                <a:gd name="connsiteY75" fmla="*/ 5573 h 9965"/>
                <a:gd name="connsiteX76" fmla="*/ 8658 w 10000"/>
                <a:gd name="connsiteY76" fmla="*/ 5699 h 9965"/>
                <a:gd name="connsiteX77" fmla="*/ 8599 w 10000"/>
                <a:gd name="connsiteY77" fmla="*/ 5824 h 9965"/>
                <a:gd name="connsiteX78" fmla="*/ 8560 w 10000"/>
                <a:gd name="connsiteY78" fmla="*/ 5934 h 9965"/>
                <a:gd name="connsiteX79" fmla="*/ 8366 w 10000"/>
                <a:gd name="connsiteY79" fmla="*/ 5981 h 9965"/>
                <a:gd name="connsiteX80" fmla="*/ 8307 w 10000"/>
                <a:gd name="connsiteY80" fmla="*/ 6060 h 9965"/>
                <a:gd name="connsiteX81" fmla="*/ 8249 w 10000"/>
                <a:gd name="connsiteY81" fmla="*/ 6107 h 9965"/>
                <a:gd name="connsiteX82" fmla="*/ 8307 w 10000"/>
                <a:gd name="connsiteY82" fmla="*/ 6217 h 9965"/>
                <a:gd name="connsiteX83" fmla="*/ 8405 w 10000"/>
                <a:gd name="connsiteY83" fmla="*/ 6295 h 9965"/>
                <a:gd name="connsiteX84" fmla="*/ 8502 w 10000"/>
                <a:gd name="connsiteY84" fmla="*/ 6342 h 9965"/>
                <a:gd name="connsiteX85" fmla="*/ 8560 w 10000"/>
                <a:gd name="connsiteY85" fmla="*/ 6374 h 9965"/>
                <a:gd name="connsiteX86" fmla="*/ 8599 w 10000"/>
                <a:gd name="connsiteY86" fmla="*/ 6499 h 9965"/>
                <a:gd name="connsiteX87" fmla="*/ 8599 w 10000"/>
                <a:gd name="connsiteY87" fmla="*/ 6578 h 9965"/>
                <a:gd name="connsiteX88" fmla="*/ 8658 w 10000"/>
                <a:gd name="connsiteY88" fmla="*/ 6656 h 9965"/>
                <a:gd name="connsiteX89" fmla="*/ 8696 w 10000"/>
                <a:gd name="connsiteY89" fmla="*/ 6750 h 9965"/>
                <a:gd name="connsiteX90" fmla="*/ 8813 w 10000"/>
                <a:gd name="connsiteY90" fmla="*/ 6782 h 9965"/>
                <a:gd name="connsiteX91" fmla="*/ 8949 w 10000"/>
                <a:gd name="connsiteY91" fmla="*/ 6829 h 9965"/>
                <a:gd name="connsiteX92" fmla="*/ 9105 w 10000"/>
                <a:gd name="connsiteY92" fmla="*/ 6860 h 9965"/>
                <a:gd name="connsiteX93" fmla="*/ 9144 w 10000"/>
                <a:gd name="connsiteY93" fmla="*/ 6939 h 9965"/>
                <a:gd name="connsiteX94" fmla="*/ 9144 w 10000"/>
                <a:gd name="connsiteY94" fmla="*/ 7190 h 9965"/>
                <a:gd name="connsiteX95" fmla="*/ 9144 w 10000"/>
                <a:gd name="connsiteY95" fmla="*/ 7347 h 9965"/>
                <a:gd name="connsiteX96" fmla="*/ 9144 w 10000"/>
                <a:gd name="connsiteY96" fmla="*/ 7425 h 9965"/>
                <a:gd name="connsiteX97" fmla="*/ 9202 w 10000"/>
                <a:gd name="connsiteY97" fmla="*/ 7473 h 9965"/>
                <a:gd name="connsiteX98" fmla="*/ 9261 w 10000"/>
                <a:gd name="connsiteY98" fmla="*/ 7551 h 9965"/>
                <a:gd name="connsiteX99" fmla="*/ 9358 w 10000"/>
                <a:gd name="connsiteY99" fmla="*/ 7551 h 9965"/>
                <a:gd name="connsiteX100" fmla="*/ 9397 w 10000"/>
                <a:gd name="connsiteY100" fmla="*/ 7582 h 9965"/>
                <a:gd name="connsiteX101" fmla="*/ 9455 w 10000"/>
                <a:gd name="connsiteY101" fmla="*/ 7630 h 9965"/>
                <a:gd name="connsiteX102" fmla="*/ 9650 w 10000"/>
                <a:gd name="connsiteY102" fmla="*/ 7943 h 9965"/>
                <a:gd name="connsiteX103" fmla="*/ 9747 w 10000"/>
                <a:gd name="connsiteY103" fmla="*/ 8148 h 9965"/>
                <a:gd name="connsiteX104" fmla="*/ 9844 w 10000"/>
                <a:gd name="connsiteY104" fmla="*/ 8352 h 9965"/>
                <a:gd name="connsiteX105" fmla="*/ 10000 w 10000"/>
                <a:gd name="connsiteY105" fmla="*/ 8634 h 9965"/>
                <a:gd name="connsiteX106" fmla="*/ 9942 w 10000"/>
                <a:gd name="connsiteY106" fmla="*/ 8666 h 9965"/>
                <a:gd name="connsiteX107" fmla="*/ 9942 w 10000"/>
                <a:gd name="connsiteY107" fmla="*/ 8744 h 9965"/>
                <a:gd name="connsiteX108" fmla="*/ 9844 w 10000"/>
                <a:gd name="connsiteY108" fmla="*/ 8838 h 9965"/>
                <a:gd name="connsiteX109" fmla="*/ 9708 w 10000"/>
                <a:gd name="connsiteY109" fmla="*/ 8870 h 9965"/>
                <a:gd name="connsiteX110" fmla="*/ 9358 w 10000"/>
                <a:gd name="connsiteY110" fmla="*/ 8870 h 9965"/>
                <a:gd name="connsiteX111" fmla="*/ 9397 w 10000"/>
                <a:gd name="connsiteY111" fmla="*/ 8948 h 9965"/>
                <a:gd name="connsiteX112" fmla="*/ 9397 w 10000"/>
                <a:gd name="connsiteY112" fmla="*/ 8995 h 9965"/>
                <a:gd name="connsiteX113" fmla="*/ 9494 w 10000"/>
                <a:gd name="connsiteY113" fmla="*/ 9074 h 9965"/>
                <a:gd name="connsiteX114" fmla="*/ 9358 w 10000"/>
                <a:gd name="connsiteY114" fmla="*/ 9074 h 9965"/>
                <a:gd name="connsiteX115" fmla="*/ 9261 w 10000"/>
                <a:gd name="connsiteY115" fmla="*/ 9074 h 9965"/>
                <a:gd name="connsiteX116" fmla="*/ 9144 w 10000"/>
                <a:gd name="connsiteY116" fmla="*/ 9027 h 9965"/>
                <a:gd name="connsiteX117" fmla="*/ 9047 w 10000"/>
                <a:gd name="connsiteY117" fmla="*/ 9074 h 9965"/>
                <a:gd name="connsiteX118" fmla="*/ 9047 w 10000"/>
                <a:gd name="connsiteY118" fmla="*/ 9152 h 9965"/>
                <a:gd name="connsiteX119" fmla="*/ 9047 w 10000"/>
                <a:gd name="connsiteY119" fmla="*/ 9199 h 9965"/>
                <a:gd name="connsiteX120" fmla="*/ 9008 w 10000"/>
                <a:gd name="connsiteY120" fmla="*/ 9356 h 9965"/>
                <a:gd name="connsiteX121" fmla="*/ 8911 w 10000"/>
                <a:gd name="connsiteY121" fmla="*/ 9466 h 9965"/>
                <a:gd name="connsiteX122" fmla="*/ 8755 w 10000"/>
                <a:gd name="connsiteY122" fmla="*/ 9592 h 9965"/>
                <a:gd name="connsiteX123" fmla="*/ 8560 w 10000"/>
                <a:gd name="connsiteY123" fmla="*/ 9639 h 9965"/>
                <a:gd name="connsiteX124" fmla="*/ 8502 w 10000"/>
                <a:gd name="connsiteY124" fmla="*/ 9592 h 9965"/>
                <a:gd name="connsiteX125" fmla="*/ 8238 w 10000"/>
                <a:gd name="connsiteY125" fmla="*/ 9710 h 9965"/>
                <a:gd name="connsiteX126" fmla="*/ 8182 w 10000"/>
                <a:gd name="connsiteY126" fmla="*/ 9756 h 9965"/>
                <a:gd name="connsiteX127" fmla="*/ 8122 w 10000"/>
                <a:gd name="connsiteY127" fmla="*/ 9717 h 9965"/>
                <a:gd name="connsiteX128" fmla="*/ 8000 w 10000"/>
                <a:gd name="connsiteY128" fmla="*/ 9711 h 9965"/>
                <a:gd name="connsiteX129" fmla="*/ 7828 w 10000"/>
                <a:gd name="connsiteY129" fmla="*/ 9965 h 9965"/>
                <a:gd name="connsiteX130" fmla="*/ 7776 w 10000"/>
                <a:gd name="connsiteY130" fmla="*/ 9884 h 9965"/>
                <a:gd name="connsiteX131" fmla="*/ 7739 w 10000"/>
                <a:gd name="connsiteY131" fmla="*/ 9599 h 9965"/>
                <a:gd name="connsiteX132" fmla="*/ 7802 w 10000"/>
                <a:gd name="connsiteY132" fmla="*/ 9761 h 9965"/>
                <a:gd name="connsiteX133" fmla="*/ 7417 w 10000"/>
                <a:gd name="connsiteY133" fmla="*/ 9522 h 9965"/>
                <a:gd name="connsiteX134" fmla="*/ 7399 w 10000"/>
                <a:gd name="connsiteY134" fmla="*/ 9465 h 9965"/>
                <a:gd name="connsiteX135" fmla="*/ 7004 w 10000"/>
                <a:gd name="connsiteY135" fmla="*/ 9435 h 9965"/>
                <a:gd name="connsiteX136" fmla="*/ 7004 w 10000"/>
                <a:gd name="connsiteY136" fmla="*/ 9388 h 9965"/>
                <a:gd name="connsiteX137" fmla="*/ 6965 w 10000"/>
                <a:gd name="connsiteY137" fmla="*/ 9388 h 9965"/>
                <a:gd name="connsiteX138" fmla="*/ 6809 w 10000"/>
                <a:gd name="connsiteY138" fmla="*/ 9309 h 9965"/>
                <a:gd name="connsiteX139" fmla="*/ 6615 w 10000"/>
                <a:gd name="connsiteY139" fmla="*/ 9231 h 9965"/>
                <a:gd name="connsiteX140" fmla="*/ 6167 w 10000"/>
                <a:gd name="connsiteY140" fmla="*/ 9199 h 9965"/>
                <a:gd name="connsiteX141" fmla="*/ 6109 w 10000"/>
                <a:gd name="connsiteY141" fmla="*/ 9152 h 9965"/>
                <a:gd name="connsiteX142" fmla="*/ 5817 w 10000"/>
                <a:gd name="connsiteY142" fmla="*/ 9074 h 9965"/>
                <a:gd name="connsiteX143" fmla="*/ 5661 w 10000"/>
                <a:gd name="connsiteY143" fmla="*/ 9027 h 9965"/>
                <a:gd name="connsiteX144" fmla="*/ 5564 w 10000"/>
                <a:gd name="connsiteY144" fmla="*/ 8917 h 9965"/>
                <a:gd name="connsiteX145" fmla="*/ 5214 w 10000"/>
                <a:gd name="connsiteY145" fmla="*/ 8744 h 9965"/>
                <a:gd name="connsiteX146" fmla="*/ 4864 w 10000"/>
                <a:gd name="connsiteY146" fmla="*/ 8634 h 9965"/>
                <a:gd name="connsiteX147" fmla="*/ 4825 w 10000"/>
                <a:gd name="connsiteY147" fmla="*/ 8666 h 9965"/>
                <a:gd name="connsiteX148" fmla="*/ 4864 w 10000"/>
                <a:gd name="connsiteY148" fmla="*/ 8634 h 9965"/>
                <a:gd name="connsiteX149" fmla="*/ 4767 w 10000"/>
                <a:gd name="connsiteY149" fmla="*/ 8666 h 9965"/>
                <a:gd name="connsiteX150" fmla="*/ 4669 w 10000"/>
                <a:gd name="connsiteY150" fmla="*/ 8666 h 9965"/>
                <a:gd name="connsiteX151" fmla="*/ 4475 w 10000"/>
                <a:gd name="connsiteY151" fmla="*/ 8587 h 9965"/>
                <a:gd name="connsiteX152" fmla="*/ 4377 w 10000"/>
                <a:gd name="connsiteY152" fmla="*/ 8556 h 9965"/>
                <a:gd name="connsiteX153" fmla="*/ 4319 w 10000"/>
                <a:gd name="connsiteY153" fmla="*/ 8556 h 9965"/>
                <a:gd name="connsiteX154" fmla="*/ 4222 w 10000"/>
                <a:gd name="connsiteY154" fmla="*/ 8587 h 9965"/>
                <a:gd name="connsiteX155" fmla="*/ 4183 w 10000"/>
                <a:gd name="connsiteY155" fmla="*/ 8666 h 9965"/>
                <a:gd name="connsiteX156" fmla="*/ 4183 w 10000"/>
                <a:gd name="connsiteY156" fmla="*/ 8791 h 9965"/>
                <a:gd name="connsiteX157" fmla="*/ 4086 w 10000"/>
                <a:gd name="connsiteY157" fmla="*/ 9309 h 9965"/>
                <a:gd name="connsiteX158" fmla="*/ 4125 w 10000"/>
                <a:gd name="connsiteY158" fmla="*/ 9388 h 9965"/>
                <a:gd name="connsiteX159" fmla="*/ 4280 w 10000"/>
                <a:gd name="connsiteY159" fmla="*/ 9466 h 9965"/>
                <a:gd name="connsiteX160" fmla="*/ 4113 w 10000"/>
                <a:gd name="connsiteY160" fmla="*/ 9448 h 9965"/>
                <a:gd name="connsiteX161" fmla="*/ 4273 w 10000"/>
                <a:gd name="connsiteY161" fmla="*/ 9536 h 9965"/>
                <a:gd name="connsiteX162" fmla="*/ 4189 w 10000"/>
                <a:gd name="connsiteY162" fmla="*/ 9576 h 9965"/>
                <a:gd name="connsiteX163" fmla="*/ 4090 w 10000"/>
                <a:gd name="connsiteY163" fmla="*/ 9649 h 9965"/>
                <a:gd name="connsiteX164" fmla="*/ 4038 w 10000"/>
                <a:gd name="connsiteY164" fmla="*/ 9602 h 9965"/>
                <a:gd name="connsiteX165" fmla="*/ 4222 w 10000"/>
                <a:gd name="connsiteY165" fmla="*/ 9953 h 9965"/>
                <a:gd name="connsiteX166" fmla="*/ 4086 w 10000"/>
                <a:gd name="connsiteY166" fmla="*/ 9874 h 9965"/>
                <a:gd name="connsiteX167" fmla="*/ 3930 w 10000"/>
                <a:gd name="connsiteY167" fmla="*/ 9796 h 9965"/>
                <a:gd name="connsiteX168" fmla="*/ 3930 w 10000"/>
                <a:gd name="connsiteY168" fmla="*/ 9717 h 9965"/>
                <a:gd name="connsiteX169" fmla="*/ 3930 w 10000"/>
                <a:gd name="connsiteY169" fmla="*/ 9560 h 9965"/>
                <a:gd name="connsiteX170" fmla="*/ 3872 w 10000"/>
                <a:gd name="connsiteY170" fmla="*/ 9513 h 9965"/>
                <a:gd name="connsiteX171" fmla="*/ 3833 w 10000"/>
                <a:gd name="connsiteY171" fmla="*/ 9466 h 9965"/>
                <a:gd name="connsiteX172" fmla="*/ 3774 w 10000"/>
                <a:gd name="connsiteY172" fmla="*/ 9513 h 9965"/>
                <a:gd name="connsiteX173" fmla="*/ 3521 w 10000"/>
                <a:gd name="connsiteY173" fmla="*/ 9560 h 9965"/>
                <a:gd name="connsiteX174" fmla="*/ 3424 w 10000"/>
                <a:gd name="connsiteY174" fmla="*/ 9560 h 9965"/>
                <a:gd name="connsiteX175" fmla="*/ 3288 w 10000"/>
                <a:gd name="connsiteY175" fmla="*/ 9513 h 9965"/>
                <a:gd name="connsiteX176" fmla="*/ 3132 w 10000"/>
                <a:gd name="connsiteY176" fmla="*/ 9435 h 9965"/>
                <a:gd name="connsiteX177" fmla="*/ 2938 w 10000"/>
                <a:gd name="connsiteY177" fmla="*/ 9356 h 9965"/>
                <a:gd name="connsiteX178" fmla="*/ 2724 w 10000"/>
                <a:gd name="connsiteY178" fmla="*/ 9309 h 9965"/>
                <a:gd name="connsiteX179" fmla="*/ 2432 w 10000"/>
                <a:gd name="connsiteY179" fmla="*/ 9278 h 9965"/>
                <a:gd name="connsiteX180" fmla="*/ 2393 w 10000"/>
                <a:gd name="connsiteY180" fmla="*/ 9199 h 9965"/>
                <a:gd name="connsiteX181" fmla="*/ 2276 w 10000"/>
                <a:gd name="connsiteY181" fmla="*/ 9152 h 9965"/>
                <a:gd name="connsiteX182" fmla="*/ 2179 w 10000"/>
                <a:gd name="connsiteY182" fmla="*/ 9074 h 9965"/>
                <a:gd name="connsiteX183" fmla="*/ 2179 w 10000"/>
                <a:gd name="connsiteY183" fmla="*/ 8948 h 9965"/>
                <a:gd name="connsiteX184" fmla="*/ 2179 w 10000"/>
                <a:gd name="connsiteY184" fmla="*/ 8870 h 9965"/>
                <a:gd name="connsiteX185" fmla="*/ 2237 w 10000"/>
                <a:gd name="connsiteY185" fmla="*/ 8838 h 9965"/>
                <a:gd name="connsiteX186" fmla="*/ 2335 w 10000"/>
                <a:gd name="connsiteY186" fmla="*/ 8791 h 9965"/>
                <a:gd name="connsiteX187" fmla="*/ 2490 w 10000"/>
                <a:gd name="connsiteY187" fmla="*/ 8791 h 9965"/>
                <a:gd name="connsiteX188" fmla="*/ 2529 w 10000"/>
                <a:gd name="connsiteY188" fmla="*/ 8744 h 9965"/>
                <a:gd name="connsiteX189" fmla="*/ 2626 w 10000"/>
                <a:gd name="connsiteY189" fmla="*/ 8713 h 9965"/>
                <a:gd name="connsiteX190" fmla="*/ 2685 w 10000"/>
                <a:gd name="connsiteY190" fmla="*/ 8556 h 9965"/>
                <a:gd name="connsiteX191" fmla="*/ 2626 w 10000"/>
                <a:gd name="connsiteY191" fmla="*/ 8383 h 9965"/>
                <a:gd name="connsiteX192" fmla="*/ 2588 w 10000"/>
                <a:gd name="connsiteY192" fmla="*/ 8195 h 9965"/>
                <a:gd name="connsiteX193" fmla="*/ 2432 w 10000"/>
                <a:gd name="connsiteY193" fmla="*/ 8022 h 9965"/>
                <a:gd name="connsiteX194" fmla="*/ 2393 w 10000"/>
                <a:gd name="connsiteY194" fmla="*/ 7991 h 9965"/>
                <a:gd name="connsiteX195" fmla="*/ 2335 w 10000"/>
                <a:gd name="connsiteY195" fmla="*/ 7943 h 9965"/>
                <a:gd name="connsiteX196" fmla="*/ 2393 w 10000"/>
                <a:gd name="connsiteY196" fmla="*/ 7865 h 9965"/>
                <a:gd name="connsiteX197" fmla="*/ 2432 w 10000"/>
                <a:gd name="connsiteY197" fmla="*/ 7834 h 9965"/>
                <a:gd name="connsiteX198" fmla="*/ 2490 w 10000"/>
                <a:gd name="connsiteY198" fmla="*/ 7834 h 9965"/>
                <a:gd name="connsiteX199" fmla="*/ 2588 w 10000"/>
                <a:gd name="connsiteY199" fmla="*/ 7834 h 9965"/>
                <a:gd name="connsiteX200" fmla="*/ 2685 w 10000"/>
                <a:gd name="connsiteY200" fmla="*/ 7834 h 9965"/>
                <a:gd name="connsiteX201" fmla="*/ 2782 w 10000"/>
                <a:gd name="connsiteY201" fmla="*/ 7912 h 9965"/>
                <a:gd name="connsiteX202" fmla="*/ 2938 w 10000"/>
                <a:gd name="connsiteY202" fmla="*/ 7991 h 9965"/>
                <a:gd name="connsiteX203" fmla="*/ 3074 w 10000"/>
                <a:gd name="connsiteY203" fmla="*/ 8069 h 9965"/>
                <a:gd name="connsiteX204" fmla="*/ 3230 w 10000"/>
                <a:gd name="connsiteY204" fmla="*/ 8100 h 9965"/>
                <a:gd name="connsiteX205" fmla="*/ 3230 w 10000"/>
                <a:gd name="connsiteY205" fmla="*/ 8069 h 9965"/>
                <a:gd name="connsiteX206" fmla="*/ 3288 w 10000"/>
                <a:gd name="connsiteY206" fmla="*/ 8069 h 9965"/>
                <a:gd name="connsiteX207" fmla="*/ 3327 w 10000"/>
                <a:gd name="connsiteY207" fmla="*/ 7912 h 9965"/>
                <a:gd name="connsiteX208" fmla="*/ 3327 w 10000"/>
                <a:gd name="connsiteY208" fmla="*/ 7786 h 9965"/>
                <a:gd name="connsiteX209" fmla="*/ 3327 w 10000"/>
                <a:gd name="connsiteY209" fmla="*/ 7708 h 9965"/>
                <a:gd name="connsiteX210" fmla="*/ 3230 w 10000"/>
                <a:gd name="connsiteY210" fmla="*/ 7582 h 9965"/>
                <a:gd name="connsiteX211" fmla="*/ 2977 w 10000"/>
                <a:gd name="connsiteY211" fmla="*/ 7378 h 9965"/>
                <a:gd name="connsiteX212" fmla="*/ 2685 w 10000"/>
                <a:gd name="connsiteY212" fmla="*/ 7064 h 9965"/>
                <a:gd name="connsiteX213" fmla="*/ 2724 w 10000"/>
                <a:gd name="connsiteY213" fmla="*/ 6986 h 9965"/>
                <a:gd name="connsiteX214" fmla="*/ 2782 w 10000"/>
                <a:gd name="connsiteY214" fmla="*/ 6986 h 9965"/>
                <a:gd name="connsiteX215" fmla="*/ 3035 w 10000"/>
                <a:gd name="connsiteY215" fmla="*/ 7017 h 9965"/>
                <a:gd name="connsiteX216" fmla="*/ 3230 w 10000"/>
                <a:gd name="connsiteY216" fmla="*/ 7017 h 9965"/>
                <a:gd name="connsiteX217" fmla="*/ 3288 w 10000"/>
                <a:gd name="connsiteY217" fmla="*/ 7017 h 9965"/>
                <a:gd name="connsiteX218" fmla="*/ 3288 w 10000"/>
                <a:gd name="connsiteY218" fmla="*/ 6986 h 9965"/>
                <a:gd name="connsiteX219" fmla="*/ 3171 w 10000"/>
                <a:gd name="connsiteY219" fmla="*/ 6829 h 9965"/>
                <a:gd name="connsiteX220" fmla="*/ 2977 w 10000"/>
                <a:gd name="connsiteY220" fmla="*/ 6656 h 9965"/>
                <a:gd name="connsiteX221" fmla="*/ 2840 w 10000"/>
                <a:gd name="connsiteY221" fmla="*/ 6546 h 9965"/>
                <a:gd name="connsiteX222" fmla="*/ 2588 w 10000"/>
                <a:gd name="connsiteY222" fmla="*/ 6468 h 9965"/>
                <a:gd name="connsiteX223" fmla="*/ 2335 w 10000"/>
                <a:gd name="connsiteY223" fmla="*/ 6421 h 9965"/>
                <a:gd name="connsiteX224" fmla="*/ 1634 w 10000"/>
                <a:gd name="connsiteY224" fmla="*/ 6421 h 9965"/>
                <a:gd name="connsiteX225" fmla="*/ 1245 w 10000"/>
                <a:gd name="connsiteY225" fmla="*/ 6374 h 9965"/>
                <a:gd name="connsiteX226" fmla="*/ 1089 w 10000"/>
                <a:gd name="connsiteY226" fmla="*/ 6421 h 9965"/>
                <a:gd name="connsiteX227" fmla="*/ 992 w 10000"/>
                <a:gd name="connsiteY227" fmla="*/ 6468 h 9965"/>
                <a:gd name="connsiteX228" fmla="*/ 934 w 10000"/>
                <a:gd name="connsiteY228" fmla="*/ 6546 h 9965"/>
                <a:gd name="connsiteX229" fmla="*/ 798 w 10000"/>
                <a:gd name="connsiteY229" fmla="*/ 6295 h 9965"/>
                <a:gd name="connsiteX230" fmla="*/ 642 w 10000"/>
                <a:gd name="connsiteY230" fmla="*/ 6217 h 9965"/>
                <a:gd name="connsiteX231" fmla="*/ 447 w 10000"/>
                <a:gd name="connsiteY231" fmla="*/ 6138 h 9965"/>
                <a:gd name="connsiteX232" fmla="*/ 195 w 10000"/>
                <a:gd name="connsiteY232" fmla="*/ 5934 h 9965"/>
                <a:gd name="connsiteX233" fmla="*/ 97 w 10000"/>
                <a:gd name="connsiteY233" fmla="*/ 5824 h 9965"/>
                <a:gd name="connsiteX234" fmla="*/ 97 w 10000"/>
                <a:gd name="connsiteY234" fmla="*/ 5699 h 9965"/>
                <a:gd name="connsiteX235" fmla="*/ 195 w 10000"/>
                <a:gd name="connsiteY235" fmla="*/ 5777 h 9965"/>
                <a:gd name="connsiteX236" fmla="*/ 292 w 10000"/>
                <a:gd name="connsiteY236" fmla="*/ 5824 h 9965"/>
                <a:gd name="connsiteX237" fmla="*/ 447 w 10000"/>
                <a:gd name="connsiteY237" fmla="*/ 5856 h 9965"/>
                <a:gd name="connsiteX238" fmla="*/ 584 w 10000"/>
                <a:gd name="connsiteY238" fmla="*/ 5856 h 9965"/>
                <a:gd name="connsiteX239" fmla="*/ 700 w 10000"/>
                <a:gd name="connsiteY239" fmla="*/ 5824 h 9965"/>
                <a:gd name="connsiteX240" fmla="*/ 1187 w 10000"/>
                <a:gd name="connsiteY240" fmla="*/ 5824 h 9965"/>
                <a:gd name="connsiteX241" fmla="*/ 1342 w 10000"/>
                <a:gd name="connsiteY241" fmla="*/ 5651 h 9965"/>
                <a:gd name="connsiteX242" fmla="*/ 1381 w 10000"/>
                <a:gd name="connsiteY242" fmla="*/ 5573 h 9965"/>
                <a:gd name="connsiteX243" fmla="*/ 1498 w 10000"/>
                <a:gd name="connsiteY243" fmla="*/ 5573 h 9965"/>
                <a:gd name="connsiteX244" fmla="*/ 1537 w 10000"/>
                <a:gd name="connsiteY244" fmla="*/ 5573 h 9965"/>
                <a:gd name="connsiteX245" fmla="*/ 1595 w 10000"/>
                <a:gd name="connsiteY245" fmla="*/ 5651 h 9965"/>
                <a:gd name="connsiteX246" fmla="*/ 1693 w 10000"/>
                <a:gd name="connsiteY246" fmla="*/ 5824 h 9965"/>
                <a:gd name="connsiteX247" fmla="*/ 1732 w 10000"/>
                <a:gd name="connsiteY247" fmla="*/ 5981 h 9965"/>
                <a:gd name="connsiteX248" fmla="*/ 1829 w 10000"/>
                <a:gd name="connsiteY248" fmla="*/ 6060 h 9965"/>
                <a:gd name="connsiteX249" fmla="*/ 1946 w 10000"/>
                <a:gd name="connsiteY249" fmla="*/ 6060 h 9965"/>
                <a:gd name="connsiteX250" fmla="*/ 2043 w 10000"/>
                <a:gd name="connsiteY250" fmla="*/ 6060 h 9965"/>
                <a:gd name="connsiteX251" fmla="*/ 2082 w 10000"/>
                <a:gd name="connsiteY251" fmla="*/ 6013 h 9965"/>
                <a:gd name="connsiteX252" fmla="*/ 2179 w 10000"/>
                <a:gd name="connsiteY252" fmla="*/ 5856 h 9965"/>
                <a:gd name="connsiteX253" fmla="*/ 2237 w 10000"/>
                <a:gd name="connsiteY253" fmla="*/ 5542 h 9965"/>
                <a:gd name="connsiteX254" fmla="*/ 2335 w 10000"/>
                <a:gd name="connsiteY254" fmla="*/ 5463 h 9965"/>
                <a:gd name="connsiteX255" fmla="*/ 2432 w 10000"/>
                <a:gd name="connsiteY255" fmla="*/ 5463 h 9965"/>
                <a:gd name="connsiteX256" fmla="*/ 2529 w 10000"/>
                <a:gd name="connsiteY256" fmla="*/ 5416 h 9965"/>
                <a:gd name="connsiteX257" fmla="*/ 2588 w 10000"/>
                <a:gd name="connsiteY257" fmla="*/ 5338 h 9965"/>
                <a:gd name="connsiteX258" fmla="*/ 2529 w 10000"/>
                <a:gd name="connsiteY258" fmla="*/ 5259 h 9965"/>
                <a:gd name="connsiteX259" fmla="*/ 2490 w 10000"/>
                <a:gd name="connsiteY259" fmla="*/ 5212 h 9965"/>
                <a:gd name="connsiteX260" fmla="*/ 2432 w 10000"/>
                <a:gd name="connsiteY260" fmla="*/ 5181 h 9965"/>
                <a:gd name="connsiteX261" fmla="*/ 2432 w 10000"/>
                <a:gd name="connsiteY261" fmla="*/ 5133 h 9965"/>
                <a:gd name="connsiteX262" fmla="*/ 2432 w 10000"/>
                <a:gd name="connsiteY262" fmla="*/ 5055 h 9965"/>
                <a:gd name="connsiteX263" fmla="*/ 2490 w 10000"/>
                <a:gd name="connsiteY263" fmla="*/ 5024 h 9965"/>
                <a:gd name="connsiteX264" fmla="*/ 2685 w 10000"/>
                <a:gd name="connsiteY264" fmla="*/ 5024 h 9965"/>
                <a:gd name="connsiteX265" fmla="*/ 2840 w 10000"/>
                <a:gd name="connsiteY265" fmla="*/ 5024 h 9965"/>
                <a:gd name="connsiteX266" fmla="*/ 2879 w 10000"/>
                <a:gd name="connsiteY266" fmla="*/ 4976 h 9965"/>
                <a:gd name="connsiteX267" fmla="*/ 2938 w 10000"/>
                <a:gd name="connsiteY267" fmla="*/ 4898 h 9965"/>
                <a:gd name="connsiteX268" fmla="*/ 2879 w 10000"/>
                <a:gd name="connsiteY268" fmla="*/ 4851 h 9965"/>
                <a:gd name="connsiteX269" fmla="*/ 2840 w 10000"/>
                <a:gd name="connsiteY269" fmla="*/ 4772 h 9965"/>
                <a:gd name="connsiteX270" fmla="*/ 2782 w 10000"/>
                <a:gd name="connsiteY270" fmla="*/ 4741 h 9965"/>
                <a:gd name="connsiteX271" fmla="*/ 2782 w 10000"/>
                <a:gd name="connsiteY271" fmla="*/ 4694 h 9965"/>
                <a:gd name="connsiteX272" fmla="*/ 2840 w 10000"/>
                <a:gd name="connsiteY272" fmla="*/ 4647 h 9965"/>
                <a:gd name="connsiteX273" fmla="*/ 2879 w 10000"/>
                <a:gd name="connsiteY273" fmla="*/ 4615 h 9965"/>
                <a:gd name="connsiteX274" fmla="*/ 3074 w 10000"/>
                <a:gd name="connsiteY274" fmla="*/ 4568 h 9965"/>
                <a:gd name="connsiteX275" fmla="*/ 2782 w 10000"/>
                <a:gd name="connsiteY275" fmla="*/ 4411 h 9965"/>
                <a:gd name="connsiteX276" fmla="*/ 2685 w 10000"/>
                <a:gd name="connsiteY276" fmla="*/ 4333 h 9965"/>
                <a:gd name="connsiteX277" fmla="*/ 2626 w 10000"/>
                <a:gd name="connsiteY277" fmla="*/ 4207 h 9965"/>
                <a:gd name="connsiteX278" fmla="*/ 2626 w 10000"/>
                <a:gd name="connsiteY278" fmla="*/ 3925 h 9965"/>
                <a:gd name="connsiteX279" fmla="*/ 2626 w 10000"/>
                <a:gd name="connsiteY279" fmla="*/ 3815 h 9965"/>
                <a:gd name="connsiteX280" fmla="*/ 2588 w 10000"/>
                <a:gd name="connsiteY280" fmla="*/ 3689 h 9965"/>
                <a:gd name="connsiteX281" fmla="*/ 2490 w 10000"/>
                <a:gd name="connsiteY281" fmla="*/ 3658 h 9965"/>
                <a:gd name="connsiteX282" fmla="*/ 2276 w 10000"/>
                <a:gd name="connsiteY282" fmla="*/ 3564 h 9965"/>
                <a:gd name="connsiteX283" fmla="*/ 2043 w 10000"/>
                <a:gd name="connsiteY283" fmla="*/ 3375 h 9965"/>
                <a:gd name="connsiteX284" fmla="*/ 1984 w 10000"/>
                <a:gd name="connsiteY284" fmla="*/ 3297 h 9965"/>
                <a:gd name="connsiteX285" fmla="*/ 1946 w 10000"/>
                <a:gd name="connsiteY285" fmla="*/ 3203 h 9965"/>
                <a:gd name="connsiteX286" fmla="*/ 1829 w 10000"/>
                <a:gd name="connsiteY286" fmla="*/ 3203 h 9965"/>
                <a:gd name="connsiteX287" fmla="*/ 1693 w 10000"/>
                <a:gd name="connsiteY287" fmla="*/ 3203 h 9965"/>
                <a:gd name="connsiteX288" fmla="*/ 1634 w 10000"/>
                <a:gd name="connsiteY288" fmla="*/ 3250 h 9965"/>
                <a:gd name="connsiteX289" fmla="*/ 1537 w 10000"/>
                <a:gd name="connsiteY289" fmla="*/ 3250 h 9965"/>
                <a:gd name="connsiteX290" fmla="*/ 1342 w 10000"/>
                <a:gd name="connsiteY290" fmla="*/ 3171 h 9965"/>
                <a:gd name="connsiteX291" fmla="*/ 1089 w 10000"/>
                <a:gd name="connsiteY291" fmla="*/ 3014 h 9965"/>
                <a:gd name="connsiteX292" fmla="*/ 934 w 10000"/>
                <a:gd name="connsiteY292" fmla="*/ 2967 h 9965"/>
                <a:gd name="connsiteX293" fmla="*/ 739 w 10000"/>
                <a:gd name="connsiteY293" fmla="*/ 2920 h 9965"/>
                <a:gd name="connsiteX294" fmla="*/ 642 w 10000"/>
                <a:gd name="connsiteY294" fmla="*/ 2841 h 9965"/>
                <a:gd name="connsiteX295" fmla="*/ 486 w 10000"/>
                <a:gd name="connsiteY295" fmla="*/ 2684 h 9965"/>
                <a:gd name="connsiteX296" fmla="*/ 292 w 10000"/>
                <a:gd name="connsiteY296" fmla="*/ 2402 h 9965"/>
                <a:gd name="connsiteX297" fmla="*/ 97 w 10000"/>
                <a:gd name="connsiteY297" fmla="*/ 2009 h 9965"/>
                <a:gd name="connsiteX298" fmla="*/ 39 w 10000"/>
                <a:gd name="connsiteY298" fmla="*/ 1601 h 9965"/>
                <a:gd name="connsiteX299" fmla="*/ 0 w 10000"/>
                <a:gd name="connsiteY299" fmla="*/ 1397 h 9965"/>
                <a:gd name="connsiteX300" fmla="*/ 39 w 10000"/>
                <a:gd name="connsiteY300" fmla="*/ 1193 h 9965"/>
                <a:gd name="connsiteX301" fmla="*/ 97 w 10000"/>
                <a:gd name="connsiteY301" fmla="*/ 1036 h 9965"/>
                <a:gd name="connsiteX302" fmla="*/ 136 w 10000"/>
                <a:gd name="connsiteY302" fmla="*/ 926 h 9965"/>
                <a:gd name="connsiteX303" fmla="*/ 253 w 10000"/>
                <a:gd name="connsiteY303" fmla="*/ 832 h 9965"/>
                <a:gd name="connsiteX304" fmla="*/ 389 w 10000"/>
                <a:gd name="connsiteY304" fmla="*/ 801 h 9965"/>
                <a:gd name="connsiteX305" fmla="*/ 642 w 10000"/>
                <a:gd name="connsiteY305" fmla="*/ 801 h 9965"/>
                <a:gd name="connsiteX306" fmla="*/ 934 w 10000"/>
                <a:gd name="connsiteY306" fmla="*/ 754 h 9965"/>
                <a:gd name="connsiteX307" fmla="*/ 1148 w 10000"/>
                <a:gd name="connsiteY307" fmla="*/ 722 h 9965"/>
                <a:gd name="connsiteX308" fmla="*/ 1245 w 10000"/>
                <a:gd name="connsiteY308" fmla="*/ 675 h 9965"/>
                <a:gd name="connsiteX309" fmla="*/ 1342 w 10000"/>
                <a:gd name="connsiteY309" fmla="*/ 597 h 9965"/>
                <a:gd name="connsiteX310" fmla="*/ 1440 w 10000"/>
                <a:gd name="connsiteY310" fmla="*/ 565 h 9965"/>
                <a:gd name="connsiteX311" fmla="*/ 1537 w 10000"/>
                <a:gd name="connsiteY311" fmla="*/ 565 h 9965"/>
                <a:gd name="connsiteX312" fmla="*/ 1946 w 10000"/>
                <a:gd name="connsiteY312" fmla="*/ 565 h 9965"/>
                <a:gd name="connsiteX313" fmla="*/ 2276 w 10000"/>
                <a:gd name="connsiteY313" fmla="*/ 597 h 9965"/>
                <a:gd name="connsiteX314" fmla="*/ 2490 w 10000"/>
                <a:gd name="connsiteY314" fmla="*/ 644 h 9965"/>
                <a:gd name="connsiteX315" fmla="*/ 2626 w 10000"/>
                <a:gd name="connsiteY315" fmla="*/ 722 h 9965"/>
                <a:gd name="connsiteX316" fmla="*/ 2782 w 10000"/>
                <a:gd name="connsiteY316" fmla="*/ 754 h 9965"/>
                <a:gd name="connsiteX317" fmla="*/ 2879 w 10000"/>
                <a:gd name="connsiteY317" fmla="*/ 722 h 9965"/>
                <a:gd name="connsiteX318" fmla="*/ 2977 w 10000"/>
                <a:gd name="connsiteY318" fmla="*/ 675 h 9965"/>
                <a:gd name="connsiteX319" fmla="*/ 3132 w 10000"/>
                <a:gd name="connsiteY319" fmla="*/ 597 h 9965"/>
                <a:gd name="connsiteX320" fmla="*/ 3288 w 10000"/>
                <a:gd name="connsiteY320" fmla="*/ 518 h 9965"/>
                <a:gd name="connsiteX321" fmla="*/ 3482 w 10000"/>
                <a:gd name="connsiteY321" fmla="*/ 283 h 9965"/>
                <a:gd name="connsiteX322" fmla="*/ 3638 w 10000"/>
                <a:gd name="connsiteY322" fmla="*/ 78 h 9965"/>
                <a:gd name="connsiteX323" fmla="*/ 3735 w 10000"/>
                <a:gd name="connsiteY323" fmla="*/ 0 h 9965"/>
                <a:gd name="connsiteX324" fmla="*/ 3638 w 10000"/>
                <a:gd name="connsiteY324" fmla="*/ 0 h 9965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5 h 10000"/>
                <a:gd name="connsiteX5" fmla="*/ 3930 w 10000"/>
                <a:gd name="connsiteY5" fmla="*/ 284 h 10000"/>
                <a:gd name="connsiteX6" fmla="*/ 4027 w 10000"/>
                <a:gd name="connsiteY6" fmla="*/ 284 h 10000"/>
                <a:gd name="connsiteX7" fmla="*/ 4183 w 10000"/>
                <a:gd name="connsiteY7" fmla="*/ 315 h 10000"/>
                <a:gd name="connsiteX8" fmla="*/ 4280 w 10000"/>
                <a:gd name="connsiteY8" fmla="*/ 315 h 10000"/>
                <a:gd name="connsiteX9" fmla="*/ 4377 w 10000"/>
                <a:gd name="connsiteY9" fmla="*/ 315 h 10000"/>
                <a:gd name="connsiteX10" fmla="*/ 4533 w 10000"/>
                <a:gd name="connsiteY10" fmla="*/ 393 h 10000"/>
                <a:gd name="connsiteX11" fmla="*/ 4630 w 10000"/>
                <a:gd name="connsiteY11" fmla="*/ 520 h 10000"/>
                <a:gd name="connsiteX12" fmla="*/ 4767 w 10000"/>
                <a:gd name="connsiteY12" fmla="*/ 757 h 10000"/>
                <a:gd name="connsiteX13" fmla="*/ 5019 w 10000"/>
                <a:gd name="connsiteY13" fmla="*/ 1119 h 10000"/>
                <a:gd name="connsiteX14" fmla="*/ 5272 w 10000"/>
                <a:gd name="connsiteY14" fmla="*/ 1528 h 10000"/>
                <a:gd name="connsiteX15" fmla="*/ 5311 w 10000"/>
                <a:gd name="connsiteY15" fmla="*/ 1764 h 10000"/>
                <a:gd name="connsiteX16" fmla="*/ 5370 w 10000"/>
                <a:gd name="connsiteY16" fmla="*/ 1843 h 10000"/>
                <a:gd name="connsiteX17" fmla="*/ 5525 w 10000"/>
                <a:gd name="connsiteY17" fmla="*/ 1891 h 10000"/>
                <a:gd name="connsiteX18" fmla="*/ 5525 w 10000"/>
                <a:gd name="connsiteY18" fmla="*/ 2016 h 10000"/>
                <a:gd name="connsiteX19" fmla="*/ 5564 w 10000"/>
                <a:gd name="connsiteY19" fmla="*/ 2095 h 10000"/>
                <a:gd name="connsiteX20" fmla="*/ 5828 w 10000"/>
                <a:gd name="connsiteY20" fmla="*/ 2130 h 10000"/>
                <a:gd name="connsiteX21" fmla="*/ 5778 w 10000"/>
                <a:gd name="connsiteY21" fmla="*/ 2300 h 10000"/>
                <a:gd name="connsiteX22" fmla="*/ 5817 w 10000"/>
                <a:gd name="connsiteY22" fmla="*/ 2331 h 10000"/>
                <a:gd name="connsiteX23" fmla="*/ 5808 w 10000"/>
                <a:gd name="connsiteY23" fmla="*/ 2186 h 10000"/>
                <a:gd name="connsiteX24" fmla="*/ 5817 w 10000"/>
                <a:gd name="connsiteY24" fmla="*/ 2536 h 10000"/>
                <a:gd name="connsiteX25" fmla="*/ 6000 w 10000"/>
                <a:gd name="connsiteY25" fmla="*/ 2512 h 10000"/>
                <a:gd name="connsiteX26" fmla="*/ 5914 w 10000"/>
                <a:gd name="connsiteY26" fmla="*/ 2615 h 10000"/>
                <a:gd name="connsiteX27" fmla="*/ 6214 w 10000"/>
                <a:gd name="connsiteY27" fmla="*/ 2613 h 10000"/>
                <a:gd name="connsiteX28" fmla="*/ 6292 w 10000"/>
                <a:gd name="connsiteY28" fmla="*/ 2914 h 10000"/>
                <a:gd name="connsiteX29" fmla="*/ 6345 w 10000"/>
                <a:gd name="connsiteY29" fmla="*/ 2964 h 10000"/>
                <a:gd name="connsiteX30" fmla="*/ 6265 w 10000"/>
                <a:gd name="connsiteY30" fmla="*/ 3057 h 10000"/>
                <a:gd name="connsiteX31" fmla="*/ 6425 w 10000"/>
                <a:gd name="connsiteY31" fmla="*/ 3117 h 10000"/>
                <a:gd name="connsiteX32" fmla="*/ 6584 w 10000"/>
                <a:gd name="connsiteY32" fmla="*/ 3143 h 10000"/>
                <a:gd name="connsiteX33" fmla="*/ 6670 w 10000"/>
                <a:gd name="connsiteY33" fmla="*/ 3329 h 10000"/>
                <a:gd name="connsiteX34" fmla="*/ 6556 w 10000"/>
                <a:gd name="connsiteY34" fmla="*/ 3497 h 10000"/>
                <a:gd name="connsiteX35" fmla="*/ 6615 w 10000"/>
                <a:gd name="connsiteY35" fmla="*/ 3544 h 10000"/>
                <a:gd name="connsiteX36" fmla="*/ 6673 w 10000"/>
                <a:gd name="connsiteY36" fmla="*/ 3497 h 10000"/>
                <a:gd name="connsiteX37" fmla="*/ 6770 w 10000"/>
                <a:gd name="connsiteY37" fmla="*/ 3419 h 10000"/>
                <a:gd name="connsiteX38" fmla="*/ 6809 w 10000"/>
                <a:gd name="connsiteY38" fmla="*/ 3309 h 10000"/>
                <a:gd name="connsiteX39" fmla="*/ 7004 w 10000"/>
                <a:gd name="connsiteY39" fmla="*/ 3261 h 10000"/>
                <a:gd name="connsiteX40" fmla="*/ 7223 w 10000"/>
                <a:gd name="connsiteY40" fmla="*/ 3080 h 10000"/>
                <a:gd name="connsiteX41" fmla="*/ 7236 w 10000"/>
                <a:gd name="connsiteY41" fmla="*/ 3159 h 10000"/>
                <a:gd name="connsiteX42" fmla="*/ 7364 w 10000"/>
                <a:gd name="connsiteY42" fmla="*/ 3132 h 10000"/>
                <a:gd name="connsiteX43" fmla="*/ 7759 w 10000"/>
                <a:gd name="connsiteY43" fmla="*/ 3212 h 10000"/>
                <a:gd name="connsiteX44" fmla="*/ 7829 w 10000"/>
                <a:gd name="connsiteY44" fmla="*/ 3294 h 10000"/>
                <a:gd name="connsiteX45" fmla="*/ 7976 w 10000"/>
                <a:gd name="connsiteY45" fmla="*/ 3338 h 10000"/>
                <a:gd name="connsiteX46" fmla="*/ 8050 w 10000"/>
                <a:gd name="connsiteY46" fmla="*/ 3363 h 10000"/>
                <a:gd name="connsiteX47" fmla="*/ 7909 w 10000"/>
                <a:gd name="connsiteY47" fmla="*/ 3364 h 10000"/>
                <a:gd name="connsiteX48" fmla="*/ 7961 w 10000"/>
                <a:gd name="connsiteY48" fmla="*/ 3413 h 10000"/>
                <a:gd name="connsiteX49" fmla="*/ 8009 w 10000"/>
                <a:gd name="connsiteY49" fmla="*/ 3355 h 10000"/>
                <a:gd name="connsiteX50" fmla="*/ 8235 w 10000"/>
                <a:gd name="connsiteY50" fmla="*/ 3322 h 10000"/>
                <a:gd name="connsiteX51" fmla="*/ 8416 w 10000"/>
                <a:gd name="connsiteY51" fmla="*/ 3475 h 10000"/>
                <a:gd name="connsiteX52" fmla="*/ 8570 w 10000"/>
                <a:gd name="connsiteY52" fmla="*/ 3437 h 10000"/>
                <a:gd name="connsiteX53" fmla="*/ 8669 w 10000"/>
                <a:gd name="connsiteY53" fmla="*/ 3711 h 10000"/>
                <a:gd name="connsiteX54" fmla="*/ 8800 w 10000"/>
                <a:gd name="connsiteY54" fmla="*/ 3824 h 10000"/>
                <a:gd name="connsiteX55" fmla="*/ 8658 w 10000"/>
                <a:gd name="connsiteY55" fmla="*/ 4064 h 10000"/>
                <a:gd name="connsiteX56" fmla="*/ 8922 w 10000"/>
                <a:gd name="connsiteY56" fmla="*/ 4037 h 10000"/>
                <a:gd name="connsiteX57" fmla="*/ 9008 w 10000"/>
                <a:gd name="connsiteY57" fmla="*/ 4144 h 10000"/>
                <a:gd name="connsiteX58" fmla="*/ 9047 w 10000"/>
                <a:gd name="connsiteY58" fmla="*/ 4222 h 10000"/>
                <a:gd name="connsiteX59" fmla="*/ 9047 w 10000"/>
                <a:gd name="connsiteY59" fmla="*/ 4269 h 10000"/>
                <a:gd name="connsiteX60" fmla="*/ 9008 w 10000"/>
                <a:gd name="connsiteY60" fmla="*/ 4395 h 10000"/>
                <a:gd name="connsiteX61" fmla="*/ 9008 w 10000"/>
                <a:gd name="connsiteY61" fmla="*/ 4474 h 10000"/>
                <a:gd name="connsiteX62" fmla="*/ 8911 w 10000"/>
                <a:gd name="connsiteY62" fmla="*/ 4584 h 10000"/>
                <a:gd name="connsiteX63" fmla="*/ 8911 w 10000"/>
                <a:gd name="connsiteY63" fmla="*/ 4836 h 10000"/>
                <a:gd name="connsiteX64" fmla="*/ 8813 w 10000"/>
                <a:gd name="connsiteY64" fmla="*/ 4868 h 10000"/>
                <a:gd name="connsiteX65" fmla="*/ 8755 w 10000"/>
                <a:gd name="connsiteY65" fmla="*/ 4836 h 10000"/>
                <a:gd name="connsiteX66" fmla="*/ 8696 w 10000"/>
                <a:gd name="connsiteY66" fmla="*/ 4836 h 10000"/>
                <a:gd name="connsiteX67" fmla="*/ 8560 w 10000"/>
                <a:gd name="connsiteY67" fmla="*/ 4868 h 10000"/>
                <a:gd name="connsiteX68" fmla="*/ 8463 w 10000"/>
                <a:gd name="connsiteY68" fmla="*/ 4915 h 10000"/>
                <a:gd name="connsiteX69" fmla="*/ 8366 w 10000"/>
                <a:gd name="connsiteY69" fmla="*/ 5042 h 10000"/>
                <a:gd name="connsiteX70" fmla="*/ 8307 w 10000"/>
                <a:gd name="connsiteY70" fmla="*/ 5120 h 10000"/>
                <a:gd name="connsiteX71" fmla="*/ 8366 w 10000"/>
                <a:gd name="connsiteY71" fmla="*/ 5230 h 10000"/>
                <a:gd name="connsiteX72" fmla="*/ 8405 w 10000"/>
                <a:gd name="connsiteY72" fmla="*/ 5309 h 10000"/>
                <a:gd name="connsiteX73" fmla="*/ 8599 w 10000"/>
                <a:gd name="connsiteY73" fmla="*/ 5435 h 10000"/>
                <a:gd name="connsiteX74" fmla="*/ 8658 w 10000"/>
                <a:gd name="connsiteY74" fmla="*/ 5514 h 10000"/>
                <a:gd name="connsiteX75" fmla="*/ 8658 w 10000"/>
                <a:gd name="connsiteY75" fmla="*/ 5593 h 10000"/>
                <a:gd name="connsiteX76" fmla="*/ 8658 w 10000"/>
                <a:gd name="connsiteY76" fmla="*/ 5719 h 10000"/>
                <a:gd name="connsiteX77" fmla="*/ 8599 w 10000"/>
                <a:gd name="connsiteY77" fmla="*/ 5844 h 10000"/>
                <a:gd name="connsiteX78" fmla="*/ 8560 w 10000"/>
                <a:gd name="connsiteY78" fmla="*/ 5955 h 10000"/>
                <a:gd name="connsiteX79" fmla="*/ 8366 w 10000"/>
                <a:gd name="connsiteY79" fmla="*/ 6002 h 10000"/>
                <a:gd name="connsiteX80" fmla="*/ 8307 w 10000"/>
                <a:gd name="connsiteY80" fmla="*/ 6081 h 10000"/>
                <a:gd name="connsiteX81" fmla="*/ 8249 w 10000"/>
                <a:gd name="connsiteY81" fmla="*/ 6128 h 10000"/>
                <a:gd name="connsiteX82" fmla="*/ 8307 w 10000"/>
                <a:gd name="connsiteY82" fmla="*/ 6239 h 10000"/>
                <a:gd name="connsiteX83" fmla="*/ 8405 w 10000"/>
                <a:gd name="connsiteY83" fmla="*/ 6317 h 10000"/>
                <a:gd name="connsiteX84" fmla="*/ 8502 w 10000"/>
                <a:gd name="connsiteY84" fmla="*/ 6364 h 10000"/>
                <a:gd name="connsiteX85" fmla="*/ 8560 w 10000"/>
                <a:gd name="connsiteY85" fmla="*/ 6396 h 10000"/>
                <a:gd name="connsiteX86" fmla="*/ 8599 w 10000"/>
                <a:gd name="connsiteY86" fmla="*/ 6522 h 10000"/>
                <a:gd name="connsiteX87" fmla="*/ 8599 w 10000"/>
                <a:gd name="connsiteY87" fmla="*/ 6601 h 10000"/>
                <a:gd name="connsiteX88" fmla="*/ 8658 w 10000"/>
                <a:gd name="connsiteY88" fmla="*/ 6679 h 10000"/>
                <a:gd name="connsiteX89" fmla="*/ 8696 w 10000"/>
                <a:gd name="connsiteY89" fmla="*/ 6774 h 10000"/>
                <a:gd name="connsiteX90" fmla="*/ 8813 w 10000"/>
                <a:gd name="connsiteY90" fmla="*/ 6806 h 10000"/>
                <a:gd name="connsiteX91" fmla="*/ 8949 w 10000"/>
                <a:gd name="connsiteY91" fmla="*/ 6853 h 10000"/>
                <a:gd name="connsiteX92" fmla="*/ 9105 w 10000"/>
                <a:gd name="connsiteY92" fmla="*/ 6884 h 10000"/>
                <a:gd name="connsiteX93" fmla="*/ 9144 w 10000"/>
                <a:gd name="connsiteY93" fmla="*/ 6963 h 10000"/>
                <a:gd name="connsiteX94" fmla="*/ 9144 w 10000"/>
                <a:gd name="connsiteY94" fmla="*/ 7215 h 10000"/>
                <a:gd name="connsiteX95" fmla="*/ 9144 w 10000"/>
                <a:gd name="connsiteY95" fmla="*/ 7373 h 10000"/>
                <a:gd name="connsiteX96" fmla="*/ 9144 w 10000"/>
                <a:gd name="connsiteY96" fmla="*/ 7451 h 10000"/>
                <a:gd name="connsiteX97" fmla="*/ 9202 w 10000"/>
                <a:gd name="connsiteY97" fmla="*/ 7499 h 10000"/>
                <a:gd name="connsiteX98" fmla="*/ 9261 w 10000"/>
                <a:gd name="connsiteY98" fmla="*/ 7578 h 10000"/>
                <a:gd name="connsiteX99" fmla="*/ 9358 w 10000"/>
                <a:gd name="connsiteY99" fmla="*/ 7578 h 10000"/>
                <a:gd name="connsiteX100" fmla="*/ 9397 w 10000"/>
                <a:gd name="connsiteY100" fmla="*/ 7609 h 10000"/>
                <a:gd name="connsiteX101" fmla="*/ 9455 w 10000"/>
                <a:gd name="connsiteY101" fmla="*/ 7657 h 10000"/>
                <a:gd name="connsiteX102" fmla="*/ 9650 w 10000"/>
                <a:gd name="connsiteY102" fmla="*/ 7971 h 10000"/>
                <a:gd name="connsiteX103" fmla="*/ 9747 w 10000"/>
                <a:gd name="connsiteY103" fmla="*/ 8177 h 10000"/>
                <a:gd name="connsiteX104" fmla="*/ 9844 w 10000"/>
                <a:gd name="connsiteY104" fmla="*/ 8381 h 10000"/>
                <a:gd name="connsiteX105" fmla="*/ 10000 w 10000"/>
                <a:gd name="connsiteY105" fmla="*/ 8664 h 10000"/>
                <a:gd name="connsiteX106" fmla="*/ 9942 w 10000"/>
                <a:gd name="connsiteY106" fmla="*/ 8696 h 10000"/>
                <a:gd name="connsiteX107" fmla="*/ 9942 w 10000"/>
                <a:gd name="connsiteY107" fmla="*/ 8775 h 10000"/>
                <a:gd name="connsiteX108" fmla="*/ 9844 w 10000"/>
                <a:gd name="connsiteY108" fmla="*/ 8869 h 10000"/>
                <a:gd name="connsiteX109" fmla="*/ 9708 w 10000"/>
                <a:gd name="connsiteY109" fmla="*/ 8901 h 10000"/>
                <a:gd name="connsiteX110" fmla="*/ 9358 w 10000"/>
                <a:gd name="connsiteY110" fmla="*/ 8901 h 10000"/>
                <a:gd name="connsiteX111" fmla="*/ 9397 w 10000"/>
                <a:gd name="connsiteY111" fmla="*/ 8979 h 10000"/>
                <a:gd name="connsiteX112" fmla="*/ 9397 w 10000"/>
                <a:gd name="connsiteY112" fmla="*/ 9027 h 10000"/>
                <a:gd name="connsiteX113" fmla="*/ 9494 w 10000"/>
                <a:gd name="connsiteY113" fmla="*/ 9106 h 10000"/>
                <a:gd name="connsiteX114" fmla="*/ 9358 w 10000"/>
                <a:gd name="connsiteY114" fmla="*/ 9106 h 10000"/>
                <a:gd name="connsiteX115" fmla="*/ 9261 w 10000"/>
                <a:gd name="connsiteY115" fmla="*/ 9106 h 10000"/>
                <a:gd name="connsiteX116" fmla="*/ 9144 w 10000"/>
                <a:gd name="connsiteY116" fmla="*/ 9059 h 10000"/>
                <a:gd name="connsiteX117" fmla="*/ 9047 w 10000"/>
                <a:gd name="connsiteY117" fmla="*/ 9106 h 10000"/>
                <a:gd name="connsiteX118" fmla="*/ 9047 w 10000"/>
                <a:gd name="connsiteY118" fmla="*/ 9184 h 10000"/>
                <a:gd name="connsiteX119" fmla="*/ 9047 w 10000"/>
                <a:gd name="connsiteY119" fmla="*/ 9231 h 10000"/>
                <a:gd name="connsiteX120" fmla="*/ 9008 w 10000"/>
                <a:gd name="connsiteY120" fmla="*/ 9389 h 10000"/>
                <a:gd name="connsiteX121" fmla="*/ 8911 w 10000"/>
                <a:gd name="connsiteY121" fmla="*/ 9499 h 10000"/>
                <a:gd name="connsiteX122" fmla="*/ 8755 w 10000"/>
                <a:gd name="connsiteY122" fmla="*/ 9626 h 10000"/>
                <a:gd name="connsiteX123" fmla="*/ 8560 w 10000"/>
                <a:gd name="connsiteY123" fmla="*/ 9673 h 10000"/>
                <a:gd name="connsiteX124" fmla="*/ 8502 w 10000"/>
                <a:gd name="connsiteY124" fmla="*/ 9626 h 10000"/>
                <a:gd name="connsiteX125" fmla="*/ 8238 w 10000"/>
                <a:gd name="connsiteY125" fmla="*/ 9744 h 10000"/>
                <a:gd name="connsiteX126" fmla="*/ 8182 w 10000"/>
                <a:gd name="connsiteY126" fmla="*/ 9790 h 10000"/>
                <a:gd name="connsiteX127" fmla="*/ 8122 w 10000"/>
                <a:gd name="connsiteY127" fmla="*/ 9751 h 10000"/>
                <a:gd name="connsiteX128" fmla="*/ 8000 w 10000"/>
                <a:gd name="connsiteY128" fmla="*/ 9745 h 10000"/>
                <a:gd name="connsiteX129" fmla="*/ 7828 w 10000"/>
                <a:gd name="connsiteY129" fmla="*/ 10000 h 10000"/>
                <a:gd name="connsiteX130" fmla="*/ 7776 w 10000"/>
                <a:gd name="connsiteY130" fmla="*/ 9919 h 10000"/>
                <a:gd name="connsiteX131" fmla="*/ 7739 w 10000"/>
                <a:gd name="connsiteY131" fmla="*/ 9633 h 10000"/>
                <a:gd name="connsiteX132" fmla="*/ 7802 w 10000"/>
                <a:gd name="connsiteY132" fmla="*/ 9795 h 10000"/>
                <a:gd name="connsiteX133" fmla="*/ 7417 w 10000"/>
                <a:gd name="connsiteY133" fmla="*/ 9555 h 10000"/>
                <a:gd name="connsiteX134" fmla="*/ 7399 w 10000"/>
                <a:gd name="connsiteY134" fmla="*/ 9498 h 10000"/>
                <a:gd name="connsiteX135" fmla="*/ 7004 w 10000"/>
                <a:gd name="connsiteY135" fmla="*/ 9468 h 10000"/>
                <a:gd name="connsiteX136" fmla="*/ 7004 w 10000"/>
                <a:gd name="connsiteY136" fmla="*/ 9421 h 10000"/>
                <a:gd name="connsiteX137" fmla="*/ 6965 w 10000"/>
                <a:gd name="connsiteY137" fmla="*/ 9421 h 10000"/>
                <a:gd name="connsiteX138" fmla="*/ 6809 w 10000"/>
                <a:gd name="connsiteY138" fmla="*/ 9342 h 10000"/>
                <a:gd name="connsiteX139" fmla="*/ 6615 w 10000"/>
                <a:gd name="connsiteY139" fmla="*/ 9263 h 10000"/>
                <a:gd name="connsiteX140" fmla="*/ 6167 w 10000"/>
                <a:gd name="connsiteY140" fmla="*/ 9231 h 10000"/>
                <a:gd name="connsiteX141" fmla="*/ 6109 w 10000"/>
                <a:gd name="connsiteY141" fmla="*/ 9184 h 10000"/>
                <a:gd name="connsiteX142" fmla="*/ 5817 w 10000"/>
                <a:gd name="connsiteY142" fmla="*/ 9106 h 10000"/>
                <a:gd name="connsiteX143" fmla="*/ 5661 w 10000"/>
                <a:gd name="connsiteY143" fmla="*/ 9059 h 10000"/>
                <a:gd name="connsiteX144" fmla="*/ 5564 w 10000"/>
                <a:gd name="connsiteY144" fmla="*/ 8948 h 10000"/>
                <a:gd name="connsiteX145" fmla="*/ 5214 w 10000"/>
                <a:gd name="connsiteY145" fmla="*/ 8775 h 10000"/>
                <a:gd name="connsiteX146" fmla="*/ 4864 w 10000"/>
                <a:gd name="connsiteY146" fmla="*/ 8664 h 10000"/>
                <a:gd name="connsiteX147" fmla="*/ 4825 w 10000"/>
                <a:gd name="connsiteY147" fmla="*/ 8696 h 10000"/>
                <a:gd name="connsiteX148" fmla="*/ 4864 w 10000"/>
                <a:gd name="connsiteY148" fmla="*/ 8664 h 10000"/>
                <a:gd name="connsiteX149" fmla="*/ 4767 w 10000"/>
                <a:gd name="connsiteY149" fmla="*/ 8696 h 10000"/>
                <a:gd name="connsiteX150" fmla="*/ 4669 w 10000"/>
                <a:gd name="connsiteY150" fmla="*/ 8696 h 10000"/>
                <a:gd name="connsiteX151" fmla="*/ 4475 w 10000"/>
                <a:gd name="connsiteY151" fmla="*/ 8617 h 10000"/>
                <a:gd name="connsiteX152" fmla="*/ 4377 w 10000"/>
                <a:gd name="connsiteY152" fmla="*/ 8586 h 10000"/>
                <a:gd name="connsiteX153" fmla="*/ 4319 w 10000"/>
                <a:gd name="connsiteY153" fmla="*/ 8586 h 10000"/>
                <a:gd name="connsiteX154" fmla="*/ 4222 w 10000"/>
                <a:gd name="connsiteY154" fmla="*/ 8617 h 10000"/>
                <a:gd name="connsiteX155" fmla="*/ 4183 w 10000"/>
                <a:gd name="connsiteY155" fmla="*/ 8696 h 10000"/>
                <a:gd name="connsiteX156" fmla="*/ 4183 w 10000"/>
                <a:gd name="connsiteY156" fmla="*/ 8822 h 10000"/>
                <a:gd name="connsiteX157" fmla="*/ 4086 w 10000"/>
                <a:gd name="connsiteY157" fmla="*/ 9342 h 10000"/>
                <a:gd name="connsiteX158" fmla="*/ 4125 w 10000"/>
                <a:gd name="connsiteY158" fmla="*/ 9421 h 10000"/>
                <a:gd name="connsiteX159" fmla="*/ 4280 w 10000"/>
                <a:gd name="connsiteY159" fmla="*/ 9499 h 10000"/>
                <a:gd name="connsiteX160" fmla="*/ 4113 w 10000"/>
                <a:gd name="connsiteY160" fmla="*/ 9481 h 10000"/>
                <a:gd name="connsiteX161" fmla="*/ 4273 w 10000"/>
                <a:gd name="connsiteY161" fmla="*/ 9569 h 10000"/>
                <a:gd name="connsiteX162" fmla="*/ 4189 w 10000"/>
                <a:gd name="connsiteY162" fmla="*/ 9610 h 10000"/>
                <a:gd name="connsiteX163" fmla="*/ 4090 w 10000"/>
                <a:gd name="connsiteY163" fmla="*/ 9683 h 10000"/>
                <a:gd name="connsiteX164" fmla="*/ 4038 w 10000"/>
                <a:gd name="connsiteY164" fmla="*/ 9636 h 10000"/>
                <a:gd name="connsiteX165" fmla="*/ 4222 w 10000"/>
                <a:gd name="connsiteY165" fmla="*/ 9988 h 10000"/>
                <a:gd name="connsiteX166" fmla="*/ 3900 w 10000"/>
                <a:gd name="connsiteY166" fmla="*/ 9677 h 10000"/>
                <a:gd name="connsiteX167" fmla="*/ 3930 w 10000"/>
                <a:gd name="connsiteY167" fmla="*/ 9830 h 10000"/>
                <a:gd name="connsiteX168" fmla="*/ 3930 w 10000"/>
                <a:gd name="connsiteY168" fmla="*/ 9751 h 10000"/>
                <a:gd name="connsiteX169" fmla="*/ 3930 w 10000"/>
                <a:gd name="connsiteY169" fmla="*/ 9594 h 10000"/>
                <a:gd name="connsiteX170" fmla="*/ 3872 w 10000"/>
                <a:gd name="connsiteY170" fmla="*/ 9546 h 10000"/>
                <a:gd name="connsiteX171" fmla="*/ 3833 w 10000"/>
                <a:gd name="connsiteY171" fmla="*/ 9499 h 10000"/>
                <a:gd name="connsiteX172" fmla="*/ 3774 w 10000"/>
                <a:gd name="connsiteY172" fmla="*/ 9546 h 10000"/>
                <a:gd name="connsiteX173" fmla="*/ 3521 w 10000"/>
                <a:gd name="connsiteY173" fmla="*/ 9594 h 10000"/>
                <a:gd name="connsiteX174" fmla="*/ 3424 w 10000"/>
                <a:gd name="connsiteY174" fmla="*/ 9594 h 10000"/>
                <a:gd name="connsiteX175" fmla="*/ 3288 w 10000"/>
                <a:gd name="connsiteY175" fmla="*/ 9546 h 10000"/>
                <a:gd name="connsiteX176" fmla="*/ 3132 w 10000"/>
                <a:gd name="connsiteY176" fmla="*/ 9468 h 10000"/>
                <a:gd name="connsiteX177" fmla="*/ 2938 w 10000"/>
                <a:gd name="connsiteY177" fmla="*/ 9389 h 10000"/>
                <a:gd name="connsiteX178" fmla="*/ 2724 w 10000"/>
                <a:gd name="connsiteY178" fmla="*/ 9342 h 10000"/>
                <a:gd name="connsiteX179" fmla="*/ 2432 w 10000"/>
                <a:gd name="connsiteY179" fmla="*/ 9311 h 10000"/>
                <a:gd name="connsiteX180" fmla="*/ 2393 w 10000"/>
                <a:gd name="connsiteY180" fmla="*/ 9231 h 10000"/>
                <a:gd name="connsiteX181" fmla="*/ 2276 w 10000"/>
                <a:gd name="connsiteY181" fmla="*/ 9184 h 10000"/>
                <a:gd name="connsiteX182" fmla="*/ 2179 w 10000"/>
                <a:gd name="connsiteY182" fmla="*/ 9106 h 10000"/>
                <a:gd name="connsiteX183" fmla="*/ 2179 w 10000"/>
                <a:gd name="connsiteY183" fmla="*/ 8979 h 10000"/>
                <a:gd name="connsiteX184" fmla="*/ 2179 w 10000"/>
                <a:gd name="connsiteY184" fmla="*/ 8901 h 10000"/>
                <a:gd name="connsiteX185" fmla="*/ 2237 w 10000"/>
                <a:gd name="connsiteY185" fmla="*/ 8869 h 10000"/>
                <a:gd name="connsiteX186" fmla="*/ 2335 w 10000"/>
                <a:gd name="connsiteY186" fmla="*/ 8822 h 10000"/>
                <a:gd name="connsiteX187" fmla="*/ 2490 w 10000"/>
                <a:gd name="connsiteY187" fmla="*/ 8822 h 10000"/>
                <a:gd name="connsiteX188" fmla="*/ 2529 w 10000"/>
                <a:gd name="connsiteY188" fmla="*/ 8775 h 10000"/>
                <a:gd name="connsiteX189" fmla="*/ 2626 w 10000"/>
                <a:gd name="connsiteY189" fmla="*/ 8744 h 10000"/>
                <a:gd name="connsiteX190" fmla="*/ 2685 w 10000"/>
                <a:gd name="connsiteY190" fmla="*/ 8586 h 10000"/>
                <a:gd name="connsiteX191" fmla="*/ 2626 w 10000"/>
                <a:gd name="connsiteY191" fmla="*/ 8412 h 10000"/>
                <a:gd name="connsiteX192" fmla="*/ 2588 w 10000"/>
                <a:gd name="connsiteY192" fmla="*/ 8224 h 10000"/>
                <a:gd name="connsiteX193" fmla="*/ 2432 w 10000"/>
                <a:gd name="connsiteY193" fmla="*/ 8050 h 10000"/>
                <a:gd name="connsiteX194" fmla="*/ 2393 w 10000"/>
                <a:gd name="connsiteY194" fmla="*/ 8019 h 10000"/>
                <a:gd name="connsiteX195" fmla="*/ 2335 w 10000"/>
                <a:gd name="connsiteY195" fmla="*/ 7971 h 10000"/>
                <a:gd name="connsiteX196" fmla="*/ 2393 w 10000"/>
                <a:gd name="connsiteY196" fmla="*/ 7893 h 10000"/>
                <a:gd name="connsiteX197" fmla="*/ 2432 w 10000"/>
                <a:gd name="connsiteY197" fmla="*/ 7862 h 10000"/>
                <a:gd name="connsiteX198" fmla="*/ 2490 w 10000"/>
                <a:gd name="connsiteY198" fmla="*/ 7862 h 10000"/>
                <a:gd name="connsiteX199" fmla="*/ 2588 w 10000"/>
                <a:gd name="connsiteY199" fmla="*/ 7862 h 10000"/>
                <a:gd name="connsiteX200" fmla="*/ 2685 w 10000"/>
                <a:gd name="connsiteY200" fmla="*/ 7862 h 10000"/>
                <a:gd name="connsiteX201" fmla="*/ 2782 w 10000"/>
                <a:gd name="connsiteY201" fmla="*/ 7940 h 10000"/>
                <a:gd name="connsiteX202" fmla="*/ 2938 w 10000"/>
                <a:gd name="connsiteY202" fmla="*/ 8019 h 10000"/>
                <a:gd name="connsiteX203" fmla="*/ 3074 w 10000"/>
                <a:gd name="connsiteY203" fmla="*/ 8097 h 10000"/>
                <a:gd name="connsiteX204" fmla="*/ 3230 w 10000"/>
                <a:gd name="connsiteY204" fmla="*/ 8128 h 10000"/>
                <a:gd name="connsiteX205" fmla="*/ 3230 w 10000"/>
                <a:gd name="connsiteY205" fmla="*/ 8097 h 10000"/>
                <a:gd name="connsiteX206" fmla="*/ 3288 w 10000"/>
                <a:gd name="connsiteY206" fmla="*/ 8097 h 10000"/>
                <a:gd name="connsiteX207" fmla="*/ 3327 w 10000"/>
                <a:gd name="connsiteY207" fmla="*/ 7940 h 10000"/>
                <a:gd name="connsiteX208" fmla="*/ 3327 w 10000"/>
                <a:gd name="connsiteY208" fmla="*/ 7813 h 10000"/>
                <a:gd name="connsiteX209" fmla="*/ 3327 w 10000"/>
                <a:gd name="connsiteY209" fmla="*/ 7735 h 10000"/>
                <a:gd name="connsiteX210" fmla="*/ 3230 w 10000"/>
                <a:gd name="connsiteY210" fmla="*/ 7609 h 10000"/>
                <a:gd name="connsiteX211" fmla="*/ 2977 w 10000"/>
                <a:gd name="connsiteY211" fmla="*/ 7404 h 10000"/>
                <a:gd name="connsiteX212" fmla="*/ 2685 w 10000"/>
                <a:gd name="connsiteY212" fmla="*/ 7089 h 10000"/>
                <a:gd name="connsiteX213" fmla="*/ 2724 w 10000"/>
                <a:gd name="connsiteY213" fmla="*/ 7011 h 10000"/>
                <a:gd name="connsiteX214" fmla="*/ 2782 w 10000"/>
                <a:gd name="connsiteY214" fmla="*/ 7011 h 10000"/>
                <a:gd name="connsiteX215" fmla="*/ 3035 w 10000"/>
                <a:gd name="connsiteY215" fmla="*/ 7042 h 10000"/>
                <a:gd name="connsiteX216" fmla="*/ 3230 w 10000"/>
                <a:gd name="connsiteY216" fmla="*/ 7042 h 10000"/>
                <a:gd name="connsiteX217" fmla="*/ 3288 w 10000"/>
                <a:gd name="connsiteY217" fmla="*/ 7042 h 10000"/>
                <a:gd name="connsiteX218" fmla="*/ 3288 w 10000"/>
                <a:gd name="connsiteY218" fmla="*/ 7011 h 10000"/>
                <a:gd name="connsiteX219" fmla="*/ 3171 w 10000"/>
                <a:gd name="connsiteY219" fmla="*/ 6853 h 10000"/>
                <a:gd name="connsiteX220" fmla="*/ 2977 w 10000"/>
                <a:gd name="connsiteY220" fmla="*/ 6679 h 10000"/>
                <a:gd name="connsiteX221" fmla="*/ 2840 w 10000"/>
                <a:gd name="connsiteY221" fmla="*/ 6569 h 10000"/>
                <a:gd name="connsiteX222" fmla="*/ 2588 w 10000"/>
                <a:gd name="connsiteY222" fmla="*/ 6491 h 10000"/>
                <a:gd name="connsiteX223" fmla="*/ 2335 w 10000"/>
                <a:gd name="connsiteY223" fmla="*/ 6444 h 10000"/>
                <a:gd name="connsiteX224" fmla="*/ 1634 w 10000"/>
                <a:gd name="connsiteY224" fmla="*/ 6444 h 10000"/>
                <a:gd name="connsiteX225" fmla="*/ 1245 w 10000"/>
                <a:gd name="connsiteY225" fmla="*/ 6396 h 10000"/>
                <a:gd name="connsiteX226" fmla="*/ 1089 w 10000"/>
                <a:gd name="connsiteY226" fmla="*/ 6444 h 10000"/>
                <a:gd name="connsiteX227" fmla="*/ 992 w 10000"/>
                <a:gd name="connsiteY227" fmla="*/ 6491 h 10000"/>
                <a:gd name="connsiteX228" fmla="*/ 934 w 10000"/>
                <a:gd name="connsiteY228" fmla="*/ 6569 h 10000"/>
                <a:gd name="connsiteX229" fmla="*/ 798 w 10000"/>
                <a:gd name="connsiteY229" fmla="*/ 6317 h 10000"/>
                <a:gd name="connsiteX230" fmla="*/ 642 w 10000"/>
                <a:gd name="connsiteY230" fmla="*/ 6239 h 10000"/>
                <a:gd name="connsiteX231" fmla="*/ 447 w 10000"/>
                <a:gd name="connsiteY231" fmla="*/ 6160 h 10000"/>
                <a:gd name="connsiteX232" fmla="*/ 195 w 10000"/>
                <a:gd name="connsiteY232" fmla="*/ 5955 h 10000"/>
                <a:gd name="connsiteX233" fmla="*/ 97 w 10000"/>
                <a:gd name="connsiteY233" fmla="*/ 5844 h 10000"/>
                <a:gd name="connsiteX234" fmla="*/ 97 w 10000"/>
                <a:gd name="connsiteY234" fmla="*/ 5719 h 10000"/>
                <a:gd name="connsiteX235" fmla="*/ 195 w 10000"/>
                <a:gd name="connsiteY235" fmla="*/ 5797 h 10000"/>
                <a:gd name="connsiteX236" fmla="*/ 292 w 10000"/>
                <a:gd name="connsiteY236" fmla="*/ 5844 h 10000"/>
                <a:gd name="connsiteX237" fmla="*/ 447 w 10000"/>
                <a:gd name="connsiteY237" fmla="*/ 5877 h 10000"/>
                <a:gd name="connsiteX238" fmla="*/ 584 w 10000"/>
                <a:gd name="connsiteY238" fmla="*/ 5877 h 10000"/>
                <a:gd name="connsiteX239" fmla="*/ 700 w 10000"/>
                <a:gd name="connsiteY239" fmla="*/ 5844 h 10000"/>
                <a:gd name="connsiteX240" fmla="*/ 1187 w 10000"/>
                <a:gd name="connsiteY240" fmla="*/ 5844 h 10000"/>
                <a:gd name="connsiteX241" fmla="*/ 1342 w 10000"/>
                <a:gd name="connsiteY241" fmla="*/ 5671 h 10000"/>
                <a:gd name="connsiteX242" fmla="*/ 1381 w 10000"/>
                <a:gd name="connsiteY242" fmla="*/ 5593 h 10000"/>
                <a:gd name="connsiteX243" fmla="*/ 1498 w 10000"/>
                <a:gd name="connsiteY243" fmla="*/ 5593 h 10000"/>
                <a:gd name="connsiteX244" fmla="*/ 1537 w 10000"/>
                <a:gd name="connsiteY244" fmla="*/ 5593 h 10000"/>
                <a:gd name="connsiteX245" fmla="*/ 1595 w 10000"/>
                <a:gd name="connsiteY245" fmla="*/ 5671 h 10000"/>
                <a:gd name="connsiteX246" fmla="*/ 1693 w 10000"/>
                <a:gd name="connsiteY246" fmla="*/ 5844 h 10000"/>
                <a:gd name="connsiteX247" fmla="*/ 1732 w 10000"/>
                <a:gd name="connsiteY247" fmla="*/ 6002 h 10000"/>
                <a:gd name="connsiteX248" fmla="*/ 1829 w 10000"/>
                <a:gd name="connsiteY248" fmla="*/ 6081 h 10000"/>
                <a:gd name="connsiteX249" fmla="*/ 1946 w 10000"/>
                <a:gd name="connsiteY249" fmla="*/ 6081 h 10000"/>
                <a:gd name="connsiteX250" fmla="*/ 2043 w 10000"/>
                <a:gd name="connsiteY250" fmla="*/ 6081 h 10000"/>
                <a:gd name="connsiteX251" fmla="*/ 2082 w 10000"/>
                <a:gd name="connsiteY251" fmla="*/ 6034 h 10000"/>
                <a:gd name="connsiteX252" fmla="*/ 2179 w 10000"/>
                <a:gd name="connsiteY252" fmla="*/ 5877 h 10000"/>
                <a:gd name="connsiteX253" fmla="*/ 2237 w 10000"/>
                <a:gd name="connsiteY253" fmla="*/ 5561 h 10000"/>
                <a:gd name="connsiteX254" fmla="*/ 2335 w 10000"/>
                <a:gd name="connsiteY254" fmla="*/ 5482 h 10000"/>
                <a:gd name="connsiteX255" fmla="*/ 2432 w 10000"/>
                <a:gd name="connsiteY255" fmla="*/ 5482 h 10000"/>
                <a:gd name="connsiteX256" fmla="*/ 2529 w 10000"/>
                <a:gd name="connsiteY256" fmla="*/ 5435 h 10000"/>
                <a:gd name="connsiteX257" fmla="*/ 2588 w 10000"/>
                <a:gd name="connsiteY257" fmla="*/ 5357 h 10000"/>
                <a:gd name="connsiteX258" fmla="*/ 2529 w 10000"/>
                <a:gd name="connsiteY258" fmla="*/ 5277 h 10000"/>
                <a:gd name="connsiteX259" fmla="*/ 2490 w 10000"/>
                <a:gd name="connsiteY259" fmla="*/ 5230 h 10000"/>
                <a:gd name="connsiteX260" fmla="*/ 2432 w 10000"/>
                <a:gd name="connsiteY260" fmla="*/ 5199 h 10000"/>
                <a:gd name="connsiteX261" fmla="*/ 2432 w 10000"/>
                <a:gd name="connsiteY261" fmla="*/ 5151 h 10000"/>
                <a:gd name="connsiteX262" fmla="*/ 2432 w 10000"/>
                <a:gd name="connsiteY262" fmla="*/ 5073 h 10000"/>
                <a:gd name="connsiteX263" fmla="*/ 2490 w 10000"/>
                <a:gd name="connsiteY263" fmla="*/ 5042 h 10000"/>
                <a:gd name="connsiteX264" fmla="*/ 2685 w 10000"/>
                <a:gd name="connsiteY264" fmla="*/ 5042 h 10000"/>
                <a:gd name="connsiteX265" fmla="*/ 2840 w 10000"/>
                <a:gd name="connsiteY265" fmla="*/ 5042 h 10000"/>
                <a:gd name="connsiteX266" fmla="*/ 2879 w 10000"/>
                <a:gd name="connsiteY266" fmla="*/ 4993 h 10000"/>
                <a:gd name="connsiteX267" fmla="*/ 2938 w 10000"/>
                <a:gd name="connsiteY267" fmla="*/ 4915 h 10000"/>
                <a:gd name="connsiteX268" fmla="*/ 2879 w 10000"/>
                <a:gd name="connsiteY268" fmla="*/ 4868 h 10000"/>
                <a:gd name="connsiteX269" fmla="*/ 2840 w 10000"/>
                <a:gd name="connsiteY269" fmla="*/ 4789 h 10000"/>
                <a:gd name="connsiteX270" fmla="*/ 2782 w 10000"/>
                <a:gd name="connsiteY270" fmla="*/ 4758 h 10000"/>
                <a:gd name="connsiteX271" fmla="*/ 2782 w 10000"/>
                <a:gd name="connsiteY271" fmla="*/ 4710 h 10000"/>
                <a:gd name="connsiteX272" fmla="*/ 2840 w 10000"/>
                <a:gd name="connsiteY272" fmla="*/ 4663 h 10000"/>
                <a:gd name="connsiteX273" fmla="*/ 2879 w 10000"/>
                <a:gd name="connsiteY273" fmla="*/ 4631 h 10000"/>
                <a:gd name="connsiteX274" fmla="*/ 3074 w 10000"/>
                <a:gd name="connsiteY274" fmla="*/ 4584 h 10000"/>
                <a:gd name="connsiteX275" fmla="*/ 2782 w 10000"/>
                <a:gd name="connsiteY275" fmla="*/ 4426 h 10000"/>
                <a:gd name="connsiteX276" fmla="*/ 2685 w 10000"/>
                <a:gd name="connsiteY276" fmla="*/ 4348 h 10000"/>
                <a:gd name="connsiteX277" fmla="*/ 2626 w 10000"/>
                <a:gd name="connsiteY277" fmla="*/ 4222 h 10000"/>
                <a:gd name="connsiteX278" fmla="*/ 2626 w 10000"/>
                <a:gd name="connsiteY278" fmla="*/ 3939 h 10000"/>
                <a:gd name="connsiteX279" fmla="*/ 2626 w 10000"/>
                <a:gd name="connsiteY279" fmla="*/ 3828 h 10000"/>
                <a:gd name="connsiteX280" fmla="*/ 2588 w 10000"/>
                <a:gd name="connsiteY280" fmla="*/ 3702 h 10000"/>
                <a:gd name="connsiteX281" fmla="*/ 2490 w 10000"/>
                <a:gd name="connsiteY281" fmla="*/ 3671 h 10000"/>
                <a:gd name="connsiteX282" fmla="*/ 2276 w 10000"/>
                <a:gd name="connsiteY282" fmla="*/ 3577 h 10000"/>
                <a:gd name="connsiteX283" fmla="*/ 2043 w 10000"/>
                <a:gd name="connsiteY283" fmla="*/ 3387 h 10000"/>
                <a:gd name="connsiteX284" fmla="*/ 1984 w 10000"/>
                <a:gd name="connsiteY284" fmla="*/ 3309 h 10000"/>
                <a:gd name="connsiteX285" fmla="*/ 1946 w 10000"/>
                <a:gd name="connsiteY285" fmla="*/ 3214 h 10000"/>
                <a:gd name="connsiteX286" fmla="*/ 1829 w 10000"/>
                <a:gd name="connsiteY286" fmla="*/ 3214 h 10000"/>
                <a:gd name="connsiteX287" fmla="*/ 1693 w 10000"/>
                <a:gd name="connsiteY287" fmla="*/ 3214 h 10000"/>
                <a:gd name="connsiteX288" fmla="*/ 1634 w 10000"/>
                <a:gd name="connsiteY288" fmla="*/ 3261 h 10000"/>
                <a:gd name="connsiteX289" fmla="*/ 1537 w 10000"/>
                <a:gd name="connsiteY289" fmla="*/ 3261 h 10000"/>
                <a:gd name="connsiteX290" fmla="*/ 1342 w 10000"/>
                <a:gd name="connsiteY290" fmla="*/ 3182 h 10000"/>
                <a:gd name="connsiteX291" fmla="*/ 1089 w 10000"/>
                <a:gd name="connsiteY291" fmla="*/ 3025 h 10000"/>
                <a:gd name="connsiteX292" fmla="*/ 934 w 10000"/>
                <a:gd name="connsiteY292" fmla="*/ 2977 h 10000"/>
                <a:gd name="connsiteX293" fmla="*/ 739 w 10000"/>
                <a:gd name="connsiteY293" fmla="*/ 2930 h 10000"/>
                <a:gd name="connsiteX294" fmla="*/ 642 w 10000"/>
                <a:gd name="connsiteY294" fmla="*/ 2851 h 10000"/>
                <a:gd name="connsiteX295" fmla="*/ 486 w 10000"/>
                <a:gd name="connsiteY295" fmla="*/ 2693 h 10000"/>
                <a:gd name="connsiteX296" fmla="*/ 292 w 10000"/>
                <a:gd name="connsiteY296" fmla="*/ 2410 h 10000"/>
                <a:gd name="connsiteX297" fmla="*/ 97 w 10000"/>
                <a:gd name="connsiteY297" fmla="*/ 2016 h 10000"/>
                <a:gd name="connsiteX298" fmla="*/ 39 w 10000"/>
                <a:gd name="connsiteY298" fmla="*/ 1607 h 10000"/>
                <a:gd name="connsiteX299" fmla="*/ 0 w 10000"/>
                <a:gd name="connsiteY299" fmla="*/ 1402 h 10000"/>
                <a:gd name="connsiteX300" fmla="*/ 39 w 10000"/>
                <a:gd name="connsiteY300" fmla="*/ 1197 h 10000"/>
                <a:gd name="connsiteX301" fmla="*/ 97 w 10000"/>
                <a:gd name="connsiteY301" fmla="*/ 1040 h 10000"/>
                <a:gd name="connsiteX302" fmla="*/ 136 w 10000"/>
                <a:gd name="connsiteY302" fmla="*/ 929 h 10000"/>
                <a:gd name="connsiteX303" fmla="*/ 253 w 10000"/>
                <a:gd name="connsiteY303" fmla="*/ 835 h 10000"/>
                <a:gd name="connsiteX304" fmla="*/ 389 w 10000"/>
                <a:gd name="connsiteY304" fmla="*/ 804 h 10000"/>
                <a:gd name="connsiteX305" fmla="*/ 642 w 10000"/>
                <a:gd name="connsiteY305" fmla="*/ 804 h 10000"/>
                <a:gd name="connsiteX306" fmla="*/ 934 w 10000"/>
                <a:gd name="connsiteY306" fmla="*/ 757 h 10000"/>
                <a:gd name="connsiteX307" fmla="*/ 1148 w 10000"/>
                <a:gd name="connsiteY307" fmla="*/ 725 h 10000"/>
                <a:gd name="connsiteX308" fmla="*/ 1245 w 10000"/>
                <a:gd name="connsiteY308" fmla="*/ 677 h 10000"/>
                <a:gd name="connsiteX309" fmla="*/ 1342 w 10000"/>
                <a:gd name="connsiteY309" fmla="*/ 599 h 10000"/>
                <a:gd name="connsiteX310" fmla="*/ 1440 w 10000"/>
                <a:gd name="connsiteY310" fmla="*/ 567 h 10000"/>
                <a:gd name="connsiteX311" fmla="*/ 1537 w 10000"/>
                <a:gd name="connsiteY311" fmla="*/ 567 h 10000"/>
                <a:gd name="connsiteX312" fmla="*/ 1946 w 10000"/>
                <a:gd name="connsiteY312" fmla="*/ 567 h 10000"/>
                <a:gd name="connsiteX313" fmla="*/ 2276 w 10000"/>
                <a:gd name="connsiteY313" fmla="*/ 599 h 10000"/>
                <a:gd name="connsiteX314" fmla="*/ 2490 w 10000"/>
                <a:gd name="connsiteY314" fmla="*/ 646 h 10000"/>
                <a:gd name="connsiteX315" fmla="*/ 2626 w 10000"/>
                <a:gd name="connsiteY315" fmla="*/ 725 h 10000"/>
                <a:gd name="connsiteX316" fmla="*/ 2782 w 10000"/>
                <a:gd name="connsiteY316" fmla="*/ 757 h 10000"/>
                <a:gd name="connsiteX317" fmla="*/ 2879 w 10000"/>
                <a:gd name="connsiteY317" fmla="*/ 725 h 10000"/>
                <a:gd name="connsiteX318" fmla="*/ 2977 w 10000"/>
                <a:gd name="connsiteY318" fmla="*/ 677 h 10000"/>
                <a:gd name="connsiteX319" fmla="*/ 3132 w 10000"/>
                <a:gd name="connsiteY319" fmla="*/ 599 h 10000"/>
                <a:gd name="connsiteX320" fmla="*/ 3288 w 10000"/>
                <a:gd name="connsiteY320" fmla="*/ 520 h 10000"/>
                <a:gd name="connsiteX321" fmla="*/ 3482 w 10000"/>
                <a:gd name="connsiteY321" fmla="*/ 284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  <a:gd name="connsiteX0" fmla="*/ 3638 w 10000"/>
                <a:gd name="connsiteY0" fmla="*/ 0 h 10000"/>
                <a:gd name="connsiteX1" fmla="*/ 3638 w 10000"/>
                <a:gd name="connsiteY1" fmla="*/ 0 h 10000"/>
                <a:gd name="connsiteX2" fmla="*/ 3735 w 10000"/>
                <a:gd name="connsiteY2" fmla="*/ 31 h 10000"/>
                <a:gd name="connsiteX3" fmla="*/ 3833 w 10000"/>
                <a:gd name="connsiteY3" fmla="*/ 110 h 10000"/>
                <a:gd name="connsiteX4" fmla="*/ 3872 w 10000"/>
                <a:gd name="connsiteY4" fmla="*/ 205 h 10000"/>
                <a:gd name="connsiteX5" fmla="*/ 3930 w 10000"/>
                <a:gd name="connsiteY5" fmla="*/ 284 h 10000"/>
                <a:gd name="connsiteX6" fmla="*/ 4027 w 10000"/>
                <a:gd name="connsiteY6" fmla="*/ 284 h 10000"/>
                <a:gd name="connsiteX7" fmla="*/ 4183 w 10000"/>
                <a:gd name="connsiteY7" fmla="*/ 315 h 10000"/>
                <a:gd name="connsiteX8" fmla="*/ 4280 w 10000"/>
                <a:gd name="connsiteY8" fmla="*/ 315 h 10000"/>
                <a:gd name="connsiteX9" fmla="*/ 4377 w 10000"/>
                <a:gd name="connsiteY9" fmla="*/ 315 h 10000"/>
                <a:gd name="connsiteX10" fmla="*/ 4533 w 10000"/>
                <a:gd name="connsiteY10" fmla="*/ 393 h 10000"/>
                <a:gd name="connsiteX11" fmla="*/ 4630 w 10000"/>
                <a:gd name="connsiteY11" fmla="*/ 520 h 10000"/>
                <a:gd name="connsiteX12" fmla="*/ 4767 w 10000"/>
                <a:gd name="connsiteY12" fmla="*/ 757 h 10000"/>
                <a:gd name="connsiteX13" fmla="*/ 5019 w 10000"/>
                <a:gd name="connsiteY13" fmla="*/ 1119 h 10000"/>
                <a:gd name="connsiteX14" fmla="*/ 5272 w 10000"/>
                <a:gd name="connsiteY14" fmla="*/ 1528 h 10000"/>
                <a:gd name="connsiteX15" fmla="*/ 5311 w 10000"/>
                <a:gd name="connsiteY15" fmla="*/ 1764 h 10000"/>
                <a:gd name="connsiteX16" fmla="*/ 5370 w 10000"/>
                <a:gd name="connsiteY16" fmla="*/ 1843 h 10000"/>
                <a:gd name="connsiteX17" fmla="*/ 5525 w 10000"/>
                <a:gd name="connsiteY17" fmla="*/ 1891 h 10000"/>
                <a:gd name="connsiteX18" fmla="*/ 5525 w 10000"/>
                <a:gd name="connsiteY18" fmla="*/ 2016 h 10000"/>
                <a:gd name="connsiteX19" fmla="*/ 5564 w 10000"/>
                <a:gd name="connsiteY19" fmla="*/ 2095 h 10000"/>
                <a:gd name="connsiteX20" fmla="*/ 5828 w 10000"/>
                <a:gd name="connsiteY20" fmla="*/ 2130 h 10000"/>
                <a:gd name="connsiteX21" fmla="*/ 5778 w 10000"/>
                <a:gd name="connsiteY21" fmla="*/ 2300 h 10000"/>
                <a:gd name="connsiteX22" fmla="*/ 5817 w 10000"/>
                <a:gd name="connsiteY22" fmla="*/ 2331 h 10000"/>
                <a:gd name="connsiteX23" fmla="*/ 5808 w 10000"/>
                <a:gd name="connsiteY23" fmla="*/ 2186 h 10000"/>
                <a:gd name="connsiteX24" fmla="*/ 5817 w 10000"/>
                <a:gd name="connsiteY24" fmla="*/ 2536 h 10000"/>
                <a:gd name="connsiteX25" fmla="*/ 6000 w 10000"/>
                <a:gd name="connsiteY25" fmla="*/ 2512 h 10000"/>
                <a:gd name="connsiteX26" fmla="*/ 5914 w 10000"/>
                <a:gd name="connsiteY26" fmla="*/ 2615 h 10000"/>
                <a:gd name="connsiteX27" fmla="*/ 6214 w 10000"/>
                <a:gd name="connsiteY27" fmla="*/ 2613 h 10000"/>
                <a:gd name="connsiteX28" fmla="*/ 6292 w 10000"/>
                <a:gd name="connsiteY28" fmla="*/ 2914 h 10000"/>
                <a:gd name="connsiteX29" fmla="*/ 6345 w 10000"/>
                <a:gd name="connsiteY29" fmla="*/ 2964 h 10000"/>
                <a:gd name="connsiteX30" fmla="*/ 6265 w 10000"/>
                <a:gd name="connsiteY30" fmla="*/ 3057 h 10000"/>
                <a:gd name="connsiteX31" fmla="*/ 6425 w 10000"/>
                <a:gd name="connsiteY31" fmla="*/ 3117 h 10000"/>
                <a:gd name="connsiteX32" fmla="*/ 6584 w 10000"/>
                <a:gd name="connsiteY32" fmla="*/ 3143 h 10000"/>
                <a:gd name="connsiteX33" fmla="*/ 6670 w 10000"/>
                <a:gd name="connsiteY33" fmla="*/ 3329 h 10000"/>
                <a:gd name="connsiteX34" fmla="*/ 6556 w 10000"/>
                <a:gd name="connsiteY34" fmla="*/ 3497 h 10000"/>
                <a:gd name="connsiteX35" fmla="*/ 6615 w 10000"/>
                <a:gd name="connsiteY35" fmla="*/ 3544 h 10000"/>
                <a:gd name="connsiteX36" fmla="*/ 6673 w 10000"/>
                <a:gd name="connsiteY36" fmla="*/ 3497 h 10000"/>
                <a:gd name="connsiteX37" fmla="*/ 6770 w 10000"/>
                <a:gd name="connsiteY37" fmla="*/ 3419 h 10000"/>
                <a:gd name="connsiteX38" fmla="*/ 6809 w 10000"/>
                <a:gd name="connsiteY38" fmla="*/ 3309 h 10000"/>
                <a:gd name="connsiteX39" fmla="*/ 7004 w 10000"/>
                <a:gd name="connsiteY39" fmla="*/ 3261 h 10000"/>
                <a:gd name="connsiteX40" fmla="*/ 7223 w 10000"/>
                <a:gd name="connsiteY40" fmla="*/ 3080 h 10000"/>
                <a:gd name="connsiteX41" fmla="*/ 7236 w 10000"/>
                <a:gd name="connsiteY41" fmla="*/ 3159 h 10000"/>
                <a:gd name="connsiteX42" fmla="*/ 7364 w 10000"/>
                <a:gd name="connsiteY42" fmla="*/ 3132 h 10000"/>
                <a:gd name="connsiteX43" fmla="*/ 7759 w 10000"/>
                <a:gd name="connsiteY43" fmla="*/ 3212 h 10000"/>
                <a:gd name="connsiteX44" fmla="*/ 7829 w 10000"/>
                <a:gd name="connsiteY44" fmla="*/ 3294 h 10000"/>
                <a:gd name="connsiteX45" fmla="*/ 7976 w 10000"/>
                <a:gd name="connsiteY45" fmla="*/ 3338 h 10000"/>
                <a:gd name="connsiteX46" fmla="*/ 8050 w 10000"/>
                <a:gd name="connsiteY46" fmla="*/ 3363 h 10000"/>
                <a:gd name="connsiteX47" fmla="*/ 7909 w 10000"/>
                <a:gd name="connsiteY47" fmla="*/ 3364 h 10000"/>
                <a:gd name="connsiteX48" fmla="*/ 7961 w 10000"/>
                <a:gd name="connsiteY48" fmla="*/ 3413 h 10000"/>
                <a:gd name="connsiteX49" fmla="*/ 8009 w 10000"/>
                <a:gd name="connsiteY49" fmla="*/ 3355 h 10000"/>
                <a:gd name="connsiteX50" fmla="*/ 8235 w 10000"/>
                <a:gd name="connsiteY50" fmla="*/ 3322 h 10000"/>
                <a:gd name="connsiteX51" fmla="*/ 8416 w 10000"/>
                <a:gd name="connsiteY51" fmla="*/ 3475 h 10000"/>
                <a:gd name="connsiteX52" fmla="*/ 8570 w 10000"/>
                <a:gd name="connsiteY52" fmla="*/ 3437 h 10000"/>
                <a:gd name="connsiteX53" fmla="*/ 8669 w 10000"/>
                <a:gd name="connsiteY53" fmla="*/ 3711 h 10000"/>
                <a:gd name="connsiteX54" fmla="*/ 8800 w 10000"/>
                <a:gd name="connsiteY54" fmla="*/ 3824 h 10000"/>
                <a:gd name="connsiteX55" fmla="*/ 8658 w 10000"/>
                <a:gd name="connsiteY55" fmla="*/ 4064 h 10000"/>
                <a:gd name="connsiteX56" fmla="*/ 8922 w 10000"/>
                <a:gd name="connsiteY56" fmla="*/ 4037 h 10000"/>
                <a:gd name="connsiteX57" fmla="*/ 9008 w 10000"/>
                <a:gd name="connsiteY57" fmla="*/ 4144 h 10000"/>
                <a:gd name="connsiteX58" fmla="*/ 9047 w 10000"/>
                <a:gd name="connsiteY58" fmla="*/ 4222 h 10000"/>
                <a:gd name="connsiteX59" fmla="*/ 9047 w 10000"/>
                <a:gd name="connsiteY59" fmla="*/ 4269 h 10000"/>
                <a:gd name="connsiteX60" fmla="*/ 9008 w 10000"/>
                <a:gd name="connsiteY60" fmla="*/ 4395 h 10000"/>
                <a:gd name="connsiteX61" fmla="*/ 9008 w 10000"/>
                <a:gd name="connsiteY61" fmla="*/ 4474 h 10000"/>
                <a:gd name="connsiteX62" fmla="*/ 8911 w 10000"/>
                <a:gd name="connsiteY62" fmla="*/ 4584 h 10000"/>
                <a:gd name="connsiteX63" fmla="*/ 8911 w 10000"/>
                <a:gd name="connsiteY63" fmla="*/ 4836 h 10000"/>
                <a:gd name="connsiteX64" fmla="*/ 8813 w 10000"/>
                <a:gd name="connsiteY64" fmla="*/ 4868 h 10000"/>
                <a:gd name="connsiteX65" fmla="*/ 8755 w 10000"/>
                <a:gd name="connsiteY65" fmla="*/ 4836 h 10000"/>
                <a:gd name="connsiteX66" fmla="*/ 8696 w 10000"/>
                <a:gd name="connsiteY66" fmla="*/ 4836 h 10000"/>
                <a:gd name="connsiteX67" fmla="*/ 8560 w 10000"/>
                <a:gd name="connsiteY67" fmla="*/ 4868 h 10000"/>
                <a:gd name="connsiteX68" fmla="*/ 8463 w 10000"/>
                <a:gd name="connsiteY68" fmla="*/ 4915 h 10000"/>
                <a:gd name="connsiteX69" fmla="*/ 8366 w 10000"/>
                <a:gd name="connsiteY69" fmla="*/ 5042 h 10000"/>
                <a:gd name="connsiteX70" fmla="*/ 8307 w 10000"/>
                <a:gd name="connsiteY70" fmla="*/ 5120 h 10000"/>
                <a:gd name="connsiteX71" fmla="*/ 8366 w 10000"/>
                <a:gd name="connsiteY71" fmla="*/ 5230 h 10000"/>
                <a:gd name="connsiteX72" fmla="*/ 8405 w 10000"/>
                <a:gd name="connsiteY72" fmla="*/ 5309 h 10000"/>
                <a:gd name="connsiteX73" fmla="*/ 8599 w 10000"/>
                <a:gd name="connsiteY73" fmla="*/ 5435 h 10000"/>
                <a:gd name="connsiteX74" fmla="*/ 8658 w 10000"/>
                <a:gd name="connsiteY74" fmla="*/ 5514 h 10000"/>
                <a:gd name="connsiteX75" fmla="*/ 8658 w 10000"/>
                <a:gd name="connsiteY75" fmla="*/ 5593 h 10000"/>
                <a:gd name="connsiteX76" fmla="*/ 8658 w 10000"/>
                <a:gd name="connsiteY76" fmla="*/ 5719 h 10000"/>
                <a:gd name="connsiteX77" fmla="*/ 8599 w 10000"/>
                <a:gd name="connsiteY77" fmla="*/ 5844 h 10000"/>
                <a:gd name="connsiteX78" fmla="*/ 8560 w 10000"/>
                <a:gd name="connsiteY78" fmla="*/ 5955 h 10000"/>
                <a:gd name="connsiteX79" fmla="*/ 8366 w 10000"/>
                <a:gd name="connsiteY79" fmla="*/ 6002 h 10000"/>
                <a:gd name="connsiteX80" fmla="*/ 8307 w 10000"/>
                <a:gd name="connsiteY80" fmla="*/ 6081 h 10000"/>
                <a:gd name="connsiteX81" fmla="*/ 8249 w 10000"/>
                <a:gd name="connsiteY81" fmla="*/ 6128 h 10000"/>
                <a:gd name="connsiteX82" fmla="*/ 8307 w 10000"/>
                <a:gd name="connsiteY82" fmla="*/ 6239 h 10000"/>
                <a:gd name="connsiteX83" fmla="*/ 8405 w 10000"/>
                <a:gd name="connsiteY83" fmla="*/ 6317 h 10000"/>
                <a:gd name="connsiteX84" fmla="*/ 8502 w 10000"/>
                <a:gd name="connsiteY84" fmla="*/ 6364 h 10000"/>
                <a:gd name="connsiteX85" fmla="*/ 8560 w 10000"/>
                <a:gd name="connsiteY85" fmla="*/ 6396 h 10000"/>
                <a:gd name="connsiteX86" fmla="*/ 8599 w 10000"/>
                <a:gd name="connsiteY86" fmla="*/ 6522 h 10000"/>
                <a:gd name="connsiteX87" fmla="*/ 8599 w 10000"/>
                <a:gd name="connsiteY87" fmla="*/ 6601 h 10000"/>
                <a:gd name="connsiteX88" fmla="*/ 8658 w 10000"/>
                <a:gd name="connsiteY88" fmla="*/ 6679 h 10000"/>
                <a:gd name="connsiteX89" fmla="*/ 8696 w 10000"/>
                <a:gd name="connsiteY89" fmla="*/ 6774 h 10000"/>
                <a:gd name="connsiteX90" fmla="*/ 8813 w 10000"/>
                <a:gd name="connsiteY90" fmla="*/ 6806 h 10000"/>
                <a:gd name="connsiteX91" fmla="*/ 8949 w 10000"/>
                <a:gd name="connsiteY91" fmla="*/ 6853 h 10000"/>
                <a:gd name="connsiteX92" fmla="*/ 9105 w 10000"/>
                <a:gd name="connsiteY92" fmla="*/ 6884 h 10000"/>
                <a:gd name="connsiteX93" fmla="*/ 9144 w 10000"/>
                <a:gd name="connsiteY93" fmla="*/ 6963 h 10000"/>
                <a:gd name="connsiteX94" fmla="*/ 9144 w 10000"/>
                <a:gd name="connsiteY94" fmla="*/ 7215 h 10000"/>
                <a:gd name="connsiteX95" fmla="*/ 9144 w 10000"/>
                <a:gd name="connsiteY95" fmla="*/ 7373 h 10000"/>
                <a:gd name="connsiteX96" fmla="*/ 9144 w 10000"/>
                <a:gd name="connsiteY96" fmla="*/ 7451 h 10000"/>
                <a:gd name="connsiteX97" fmla="*/ 9202 w 10000"/>
                <a:gd name="connsiteY97" fmla="*/ 7499 h 10000"/>
                <a:gd name="connsiteX98" fmla="*/ 9261 w 10000"/>
                <a:gd name="connsiteY98" fmla="*/ 7578 h 10000"/>
                <a:gd name="connsiteX99" fmla="*/ 9358 w 10000"/>
                <a:gd name="connsiteY99" fmla="*/ 7578 h 10000"/>
                <a:gd name="connsiteX100" fmla="*/ 9397 w 10000"/>
                <a:gd name="connsiteY100" fmla="*/ 7609 h 10000"/>
                <a:gd name="connsiteX101" fmla="*/ 9455 w 10000"/>
                <a:gd name="connsiteY101" fmla="*/ 7657 h 10000"/>
                <a:gd name="connsiteX102" fmla="*/ 9650 w 10000"/>
                <a:gd name="connsiteY102" fmla="*/ 7971 h 10000"/>
                <a:gd name="connsiteX103" fmla="*/ 9747 w 10000"/>
                <a:gd name="connsiteY103" fmla="*/ 8177 h 10000"/>
                <a:gd name="connsiteX104" fmla="*/ 9844 w 10000"/>
                <a:gd name="connsiteY104" fmla="*/ 8381 h 10000"/>
                <a:gd name="connsiteX105" fmla="*/ 10000 w 10000"/>
                <a:gd name="connsiteY105" fmla="*/ 8664 h 10000"/>
                <a:gd name="connsiteX106" fmla="*/ 9942 w 10000"/>
                <a:gd name="connsiteY106" fmla="*/ 8696 h 10000"/>
                <a:gd name="connsiteX107" fmla="*/ 9942 w 10000"/>
                <a:gd name="connsiteY107" fmla="*/ 8775 h 10000"/>
                <a:gd name="connsiteX108" fmla="*/ 9844 w 10000"/>
                <a:gd name="connsiteY108" fmla="*/ 8869 h 10000"/>
                <a:gd name="connsiteX109" fmla="*/ 9708 w 10000"/>
                <a:gd name="connsiteY109" fmla="*/ 8901 h 10000"/>
                <a:gd name="connsiteX110" fmla="*/ 9358 w 10000"/>
                <a:gd name="connsiteY110" fmla="*/ 8901 h 10000"/>
                <a:gd name="connsiteX111" fmla="*/ 9397 w 10000"/>
                <a:gd name="connsiteY111" fmla="*/ 8979 h 10000"/>
                <a:gd name="connsiteX112" fmla="*/ 9397 w 10000"/>
                <a:gd name="connsiteY112" fmla="*/ 9027 h 10000"/>
                <a:gd name="connsiteX113" fmla="*/ 9494 w 10000"/>
                <a:gd name="connsiteY113" fmla="*/ 9106 h 10000"/>
                <a:gd name="connsiteX114" fmla="*/ 9358 w 10000"/>
                <a:gd name="connsiteY114" fmla="*/ 9106 h 10000"/>
                <a:gd name="connsiteX115" fmla="*/ 9261 w 10000"/>
                <a:gd name="connsiteY115" fmla="*/ 9106 h 10000"/>
                <a:gd name="connsiteX116" fmla="*/ 9144 w 10000"/>
                <a:gd name="connsiteY116" fmla="*/ 9059 h 10000"/>
                <a:gd name="connsiteX117" fmla="*/ 9047 w 10000"/>
                <a:gd name="connsiteY117" fmla="*/ 9106 h 10000"/>
                <a:gd name="connsiteX118" fmla="*/ 9047 w 10000"/>
                <a:gd name="connsiteY118" fmla="*/ 9184 h 10000"/>
                <a:gd name="connsiteX119" fmla="*/ 9047 w 10000"/>
                <a:gd name="connsiteY119" fmla="*/ 9231 h 10000"/>
                <a:gd name="connsiteX120" fmla="*/ 9008 w 10000"/>
                <a:gd name="connsiteY120" fmla="*/ 9389 h 10000"/>
                <a:gd name="connsiteX121" fmla="*/ 8911 w 10000"/>
                <a:gd name="connsiteY121" fmla="*/ 9499 h 10000"/>
                <a:gd name="connsiteX122" fmla="*/ 8755 w 10000"/>
                <a:gd name="connsiteY122" fmla="*/ 9626 h 10000"/>
                <a:gd name="connsiteX123" fmla="*/ 8560 w 10000"/>
                <a:gd name="connsiteY123" fmla="*/ 9673 h 10000"/>
                <a:gd name="connsiteX124" fmla="*/ 8502 w 10000"/>
                <a:gd name="connsiteY124" fmla="*/ 9626 h 10000"/>
                <a:gd name="connsiteX125" fmla="*/ 8238 w 10000"/>
                <a:gd name="connsiteY125" fmla="*/ 9744 h 10000"/>
                <a:gd name="connsiteX126" fmla="*/ 8182 w 10000"/>
                <a:gd name="connsiteY126" fmla="*/ 9790 h 10000"/>
                <a:gd name="connsiteX127" fmla="*/ 8122 w 10000"/>
                <a:gd name="connsiteY127" fmla="*/ 9751 h 10000"/>
                <a:gd name="connsiteX128" fmla="*/ 8000 w 10000"/>
                <a:gd name="connsiteY128" fmla="*/ 9745 h 10000"/>
                <a:gd name="connsiteX129" fmla="*/ 7828 w 10000"/>
                <a:gd name="connsiteY129" fmla="*/ 10000 h 10000"/>
                <a:gd name="connsiteX130" fmla="*/ 7776 w 10000"/>
                <a:gd name="connsiteY130" fmla="*/ 9919 h 10000"/>
                <a:gd name="connsiteX131" fmla="*/ 7739 w 10000"/>
                <a:gd name="connsiteY131" fmla="*/ 9633 h 10000"/>
                <a:gd name="connsiteX132" fmla="*/ 7802 w 10000"/>
                <a:gd name="connsiteY132" fmla="*/ 9795 h 10000"/>
                <a:gd name="connsiteX133" fmla="*/ 7417 w 10000"/>
                <a:gd name="connsiteY133" fmla="*/ 9555 h 10000"/>
                <a:gd name="connsiteX134" fmla="*/ 7399 w 10000"/>
                <a:gd name="connsiteY134" fmla="*/ 9498 h 10000"/>
                <a:gd name="connsiteX135" fmla="*/ 7004 w 10000"/>
                <a:gd name="connsiteY135" fmla="*/ 9468 h 10000"/>
                <a:gd name="connsiteX136" fmla="*/ 7004 w 10000"/>
                <a:gd name="connsiteY136" fmla="*/ 9421 h 10000"/>
                <a:gd name="connsiteX137" fmla="*/ 6965 w 10000"/>
                <a:gd name="connsiteY137" fmla="*/ 9421 h 10000"/>
                <a:gd name="connsiteX138" fmla="*/ 6809 w 10000"/>
                <a:gd name="connsiteY138" fmla="*/ 9342 h 10000"/>
                <a:gd name="connsiteX139" fmla="*/ 6615 w 10000"/>
                <a:gd name="connsiteY139" fmla="*/ 9263 h 10000"/>
                <a:gd name="connsiteX140" fmla="*/ 6167 w 10000"/>
                <a:gd name="connsiteY140" fmla="*/ 9231 h 10000"/>
                <a:gd name="connsiteX141" fmla="*/ 6109 w 10000"/>
                <a:gd name="connsiteY141" fmla="*/ 9184 h 10000"/>
                <a:gd name="connsiteX142" fmla="*/ 5817 w 10000"/>
                <a:gd name="connsiteY142" fmla="*/ 9106 h 10000"/>
                <a:gd name="connsiteX143" fmla="*/ 5661 w 10000"/>
                <a:gd name="connsiteY143" fmla="*/ 9059 h 10000"/>
                <a:gd name="connsiteX144" fmla="*/ 5564 w 10000"/>
                <a:gd name="connsiteY144" fmla="*/ 8948 h 10000"/>
                <a:gd name="connsiteX145" fmla="*/ 5214 w 10000"/>
                <a:gd name="connsiteY145" fmla="*/ 8775 h 10000"/>
                <a:gd name="connsiteX146" fmla="*/ 4864 w 10000"/>
                <a:gd name="connsiteY146" fmla="*/ 8664 h 10000"/>
                <a:gd name="connsiteX147" fmla="*/ 4825 w 10000"/>
                <a:gd name="connsiteY147" fmla="*/ 8696 h 10000"/>
                <a:gd name="connsiteX148" fmla="*/ 4864 w 10000"/>
                <a:gd name="connsiteY148" fmla="*/ 8664 h 10000"/>
                <a:gd name="connsiteX149" fmla="*/ 4767 w 10000"/>
                <a:gd name="connsiteY149" fmla="*/ 8696 h 10000"/>
                <a:gd name="connsiteX150" fmla="*/ 4669 w 10000"/>
                <a:gd name="connsiteY150" fmla="*/ 8696 h 10000"/>
                <a:gd name="connsiteX151" fmla="*/ 4475 w 10000"/>
                <a:gd name="connsiteY151" fmla="*/ 8617 h 10000"/>
                <a:gd name="connsiteX152" fmla="*/ 4377 w 10000"/>
                <a:gd name="connsiteY152" fmla="*/ 8586 h 10000"/>
                <a:gd name="connsiteX153" fmla="*/ 4319 w 10000"/>
                <a:gd name="connsiteY153" fmla="*/ 8586 h 10000"/>
                <a:gd name="connsiteX154" fmla="*/ 4222 w 10000"/>
                <a:gd name="connsiteY154" fmla="*/ 8617 h 10000"/>
                <a:gd name="connsiteX155" fmla="*/ 4183 w 10000"/>
                <a:gd name="connsiteY155" fmla="*/ 8696 h 10000"/>
                <a:gd name="connsiteX156" fmla="*/ 4183 w 10000"/>
                <a:gd name="connsiteY156" fmla="*/ 8822 h 10000"/>
                <a:gd name="connsiteX157" fmla="*/ 4086 w 10000"/>
                <a:gd name="connsiteY157" fmla="*/ 9342 h 10000"/>
                <a:gd name="connsiteX158" fmla="*/ 4125 w 10000"/>
                <a:gd name="connsiteY158" fmla="*/ 9421 h 10000"/>
                <a:gd name="connsiteX159" fmla="*/ 4280 w 10000"/>
                <a:gd name="connsiteY159" fmla="*/ 9499 h 10000"/>
                <a:gd name="connsiteX160" fmla="*/ 4113 w 10000"/>
                <a:gd name="connsiteY160" fmla="*/ 9481 h 10000"/>
                <a:gd name="connsiteX161" fmla="*/ 4273 w 10000"/>
                <a:gd name="connsiteY161" fmla="*/ 9569 h 10000"/>
                <a:gd name="connsiteX162" fmla="*/ 4189 w 10000"/>
                <a:gd name="connsiteY162" fmla="*/ 9610 h 10000"/>
                <a:gd name="connsiteX163" fmla="*/ 4090 w 10000"/>
                <a:gd name="connsiteY163" fmla="*/ 9683 h 10000"/>
                <a:gd name="connsiteX164" fmla="*/ 4038 w 10000"/>
                <a:gd name="connsiteY164" fmla="*/ 9636 h 10000"/>
                <a:gd name="connsiteX165" fmla="*/ 4054 w 10000"/>
                <a:gd name="connsiteY165" fmla="*/ 9686 h 10000"/>
                <a:gd name="connsiteX166" fmla="*/ 3900 w 10000"/>
                <a:gd name="connsiteY166" fmla="*/ 9677 h 10000"/>
                <a:gd name="connsiteX167" fmla="*/ 3930 w 10000"/>
                <a:gd name="connsiteY167" fmla="*/ 9830 h 10000"/>
                <a:gd name="connsiteX168" fmla="*/ 3930 w 10000"/>
                <a:gd name="connsiteY168" fmla="*/ 9751 h 10000"/>
                <a:gd name="connsiteX169" fmla="*/ 3930 w 10000"/>
                <a:gd name="connsiteY169" fmla="*/ 9594 h 10000"/>
                <a:gd name="connsiteX170" fmla="*/ 3872 w 10000"/>
                <a:gd name="connsiteY170" fmla="*/ 9546 h 10000"/>
                <a:gd name="connsiteX171" fmla="*/ 3833 w 10000"/>
                <a:gd name="connsiteY171" fmla="*/ 9499 h 10000"/>
                <a:gd name="connsiteX172" fmla="*/ 3774 w 10000"/>
                <a:gd name="connsiteY172" fmla="*/ 9546 h 10000"/>
                <a:gd name="connsiteX173" fmla="*/ 3521 w 10000"/>
                <a:gd name="connsiteY173" fmla="*/ 9594 h 10000"/>
                <a:gd name="connsiteX174" fmla="*/ 3424 w 10000"/>
                <a:gd name="connsiteY174" fmla="*/ 9594 h 10000"/>
                <a:gd name="connsiteX175" fmla="*/ 3288 w 10000"/>
                <a:gd name="connsiteY175" fmla="*/ 9546 h 10000"/>
                <a:gd name="connsiteX176" fmla="*/ 3132 w 10000"/>
                <a:gd name="connsiteY176" fmla="*/ 9468 h 10000"/>
                <a:gd name="connsiteX177" fmla="*/ 2938 w 10000"/>
                <a:gd name="connsiteY177" fmla="*/ 9389 h 10000"/>
                <a:gd name="connsiteX178" fmla="*/ 2724 w 10000"/>
                <a:gd name="connsiteY178" fmla="*/ 9342 h 10000"/>
                <a:gd name="connsiteX179" fmla="*/ 2432 w 10000"/>
                <a:gd name="connsiteY179" fmla="*/ 9311 h 10000"/>
                <a:gd name="connsiteX180" fmla="*/ 2393 w 10000"/>
                <a:gd name="connsiteY180" fmla="*/ 9231 h 10000"/>
                <a:gd name="connsiteX181" fmla="*/ 2276 w 10000"/>
                <a:gd name="connsiteY181" fmla="*/ 9184 h 10000"/>
                <a:gd name="connsiteX182" fmla="*/ 2179 w 10000"/>
                <a:gd name="connsiteY182" fmla="*/ 9106 h 10000"/>
                <a:gd name="connsiteX183" fmla="*/ 2179 w 10000"/>
                <a:gd name="connsiteY183" fmla="*/ 8979 h 10000"/>
                <a:gd name="connsiteX184" fmla="*/ 2179 w 10000"/>
                <a:gd name="connsiteY184" fmla="*/ 8901 h 10000"/>
                <a:gd name="connsiteX185" fmla="*/ 2237 w 10000"/>
                <a:gd name="connsiteY185" fmla="*/ 8869 h 10000"/>
                <a:gd name="connsiteX186" fmla="*/ 2335 w 10000"/>
                <a:gd name="connsiteY186" fmla="*/ 8822 h 10000"/>
                <a:gd name="connsiteX187" fmla="*/ 2490 w 10000"/>
                <a:gd name="connsiteY187" fmla="*/ 8822 h 10000"/>
                <a:gd name="connsiteX188" fmla="*/ 2529 w 10000"/>
                <a:gd name="connsiteY188" fmla="*/ 8775 h 10000"/>
                <a:gd name="connsiteX189" fmla="*/ 2626 w 10000"/>
                <a:gd name="connsiteY189" fmla="*/ 8744 h 10000"/>
                <a:gd name="connsiteX190" fmla="*/ 2685 w 10000"/>
                <a:gd name="connsiteY190" fmla="*/ 8586 h 10000"/>
                <a:gd name="connsiteX191" fmla="*/ 2626 w 10000"/>
                <a:gd name="connsiteY191" fmla="*/ 8412 h 10000"/>
                <a:gd name="connsiteX192" fmla="*/ 2588 w 10000"/>
                <a:gd name="connsiteY192" fmla="*/ 8224 h 10000"/>
                <a:gd name="connsiteX193" fmla="*/ 2432 w 10000"/>
                <a:gd name="connsiteY193" fmla="*/ 8050 h 10000"/>
                <a:gd name="connsiteX194" fmla="*/ 2393 w 10000"/>
                <a:gd name="connsiteY194" fmla="*/ 8019 h 10000"/>
                <a:gd name="connsiteX195" fmla="*/ 2335 w 10000"/>
                <a:gd name="connsiteY195" fmla="*/ 7971 h 10000"/>
                <a:gd name="connsiteX196" fmla="*/ 2393 w 10000"/>
                <a:gd name="connsiteY196" fmla="*/ 7893 h 10000"/>
                <a:gd name="connsiteX197" fmla="*/ 2432 w 10000"/>
                <a:gd name="connsiteY197" fmla="*/ 7862 h 10000"/>
                <a:gd name="connsiteX198" fmla="*/ 2490 w 10000"/>
                <a:gd name="connsiteY198" fmla="*/ 7862 h 10000"/>
                <a:gd name="connsiteX199" fmla="*/ 2588 w 10000"/>
                <a:gd name="connsiteY199" fmla="*/ 7862 h 10000"/>
                <a:gd name="connsiteX200" fmla="*/ 2685 w 10000"/>
                <a:gd name="connsiteY200" fmla="*/ 7862 h 10000"/>
                <a:gd name="connsiteX201" fmla="*/ 2782 w 10000"/>
                <a:gd name="connsiteY201" fmla="*/ 7940 h 10000"/>
                <a:gd name="connsiteX202" fmla="*/ 2938 w 10000"/>
                <a:gd name="connsiteY202" fmla="*/ 8019 h 10000"/>
                <a:gd name="connsiteX203" fmla="*/ 3074 w 10000"/>
                <a:gd name="connsiteY203" fmla="*/ 8097 h 10000"/>
                <a:gd name="connsiteX204" fmla="*/ 3230 w 10000"/>
                <a:gd name="connsiteY204" fmla="*/ 8128 h 10000"/>
                <a:gd name="connsiteX205" fmla="*/ 3230 w 10000"/>
                <a:gd name="connsiteY205" fmla="*/ 8097 h 10000"/>
                <a:gd name="connsiteX206" fmla="*/ 3288 w 10000"/>
                <a:gd name="connsiteY206" fmla="*/ 8097 h 10000"/>
                <a:gd name="connsiteX207" fmla="*/ 3327 w 10000"/>
                <a:gd name="connsiteY207" fmla="*/ 7940 h 10000"/>
                <a:gd name="connsiteX208" fmla="*/ 3327 w 10000"/>
                <a:gd name="connsiteY208" fmla="*/ 7813 h 10000"/>
                <a:gd name="connsiteX209" fmla="*/ 3327 w 10000"/>
                <a:gd name="connsiteY209" fmla="*/ 7735 h 10000"/>
                <a:gd name="connsiteX210" fmla="*/ 3230 w 10000"/>
                <a:gd name="connsiteY210" fmla="*/ 7609 h 10000"/>
                <a:gd name="connsiteX211" fmla="*/ 2977 w 10000"/>
                <a:gd name="connsiteY211" fmla="*/ 7404 h 10000"/>
                <a:gd name="connsiteX212" fmla="*/ 2685 w 10000"/>
                <a:gd name="connsiteY212" fmla="*/ 7089 h 10000"/>
                <a:gd name="connsiteX213" fmla="*/ 2724 w 10000"/>
                <a:gd name="connsiteY213" fmla="*/ 7011 h 10000"/>
                <a:gd name="connsiteX214" fmla="*/ 2782 w 10000"/>
                <a:gd name="connsiteY214" fmla="*/ 7011 h 10000"/>
                <a:gd name="connsiteX215" fmla="*/ 3035 w 10000"/>
                <a:gd name="connsiteY215" fmla="*/ 7042 h 10000"/>
                <a:gd name="connsiteX216" fmla="*/ 3230 w 10000"/>
                <a:gd name="connsiteY216" fmla="*/ 7042 h 10000"/>
                <a:gd name="connsiteX217" fmla="*/ 3288 w 10000"/>
                <a:gd name="connsiteY217" fmla="*/ 7042 h 10000"/>
                <a:gd name="connsiteX218" fmla="*/ 3288 w 10000"/>
                <a:gd name="connsiteY218" fmla="*/ 7011 h 10000"/>
                <a:gd name="connsiteX219" fmla="*/ 3171 w 10000"/>
                <a:gd name="connsiteY219" fmla="*/ 6853 h 10000"/>
                <a:gd name="connsiteX220" fmla="*/ 2977 w 10000"/>
                <a:gd name="connsiteY220" fmla="*/ 6679 h 10000"/>
                <a:gd name="connsiteX221" fmla="*/ 2840 w 10000"/>
                <a:gd name="connsiteY221" fmla="*/ 6569 h 10000"/>
                <a:gd name="connsiteX222" fmla="*/ 2588 w 10000"/>
                <a:gd name="connsiteY222" fmla="*/ 6491 h 10000"/>
                <a:gd name="connsiteX223" fmla="*/ 2335 w 10000"/>
                <a:gd name="connsiteY223" fmla="*/ 6444 h 10000"/>
                <a:gd name="connsiteX224" fmla="*/ 1634 w 10000"/>
                <a:gd name="connsiteY224" fmla="*/ 6444 h 10000"/>
                <a:gd name="connsiteX225" fmla="*/ 1245 w 10000"/>
                <a:gd name="connsiteY225" fmla="*/ 6396 h 10000"/>
                <a:gd name="connsiteX226" fmla="*/ 1089 w 10000"/>
                <a:gd name="connsiteY226" fmla="*/ 6444 h 10000"/>
                <a:gd name="connsiteX227" fmla="*/ 992 w 10000"/>
                <a:gd name="connsiteY227" fmla="*/ 6491 h 10000"/>
                <a:gd name="connsiteX228" fmla="*/ 934 w 10000"/>
                <a:gd name="connsiteY228" fmla="*/ 6569 h 10000"/>
                <a:gd name="connsiteX229" fmla="*/ 798 w 10000"/>
                <a:gd name="connsiteY229" fmla="*/ 6317 h 10000"/>
                <a:gd name="connsiteX230" fmla="*/ 642 w 10000"/>
                <a:gd name="connsiteY230" fmla="*/ 6239 h 10000"/>
                <a:gd name="connsiteX231" fmla="*/ 447 w 10000"/>
                <a:gd name="connsiteY231" fmla="*/ 6160 h 10000"/>
                <a:gd name="connsiteX232" fmla="*/ 195 w 10000"/>
                <a:gd name="connsiteY232" fmla="*/ 5955 h 10000"/>
                <a:gd name="connsiteX233" fmla="*/ 97 w 10000"/>
                <a:gd name="connsiteY233" fmla="*/ 5844 h 10000"/>
                <a:gd name="connsiteX234" fmla="*/ 97 w 10000"/>
                <a:gd name="connsiteY234" fmla="*/ 5719 h 10000"/>
                <a:gd name="connsiteX235" fmla="*/ 195 w 10000"/>
                <a:gd name="connsiteY235" fmla="*/ 5797 h 10000"/>
                <a:gd name="connsiteX236" fmla="*/ 292 w 10000"/>
                <a:gd name="connsiteY236" fmla="*/ 5844 h 10000"/>
                <a:gd name="connsiteX237" fmla="*/ 447 w 10000"/>
                <a:gd name="connsiteY237" fmla="*/ 5877 h 10000"/>
                <a:gd name="connsiteX238" fmla="*/ 584 w 10000"/>
                <a:gd name="connsiteY238" fmla="*/ 5877 h 10000"/>
                <a:gd name="connsiteX239" fmla="*/ 700 w 10000"/>
                <a:gd name="connsiteY239" fmla="*/ 5844 h 10000"/>
                <a:gd name="connsiteX240" fmla="*/ 1187 w 10000"/>
                <a:gd name="connsiteY240" fmla="*/ 5844 h 10000"/>
                <a:gd name="connsiteX241" fmla="*/ 1342 w 10000"/>
                <a:gd name="connsiteY241" fmla="*/ 5671 h 10000"/>
                <a:gd name="connsiteX242" fmla="*/ 1381 w 10000"/>
                <a:gd name="connsiteY242" fmla="*/ 5593 h 10000"/>
                <a:gd name="connsiteX243" fmla="*/ 1498 w 10000"/>
                <a:gd name="connsiteY243" fmla="*/ 5593 h 10000"/>
                <a:gd name="connsiteX244" fmla="*/ 1537 w 10000"/>
                <a:gd name="connsiteY244" fmla="*/ 5593 h 10000"/>
                <a:gd name="connsiteX245" fmla="*/ 1595 w 10000"/>
                <a:gd name="connsiteY245" fmla="*/ 5671 h 10000"/>
                <a:gd name="connsiteX246" fmla="*/ 1693 w 10000"/>
                <a:gd name="connsiteY246" fmla="*/ 5844 h 10000"/>
                <a:gd name="connsiteX247" fmla="*/ 1732 w 10000"/>
                <a:gd name="connsiteY247" fmla="*/ 6002 h 10000"/>
                <a:gd name="connsiteX248" fmla="*/ 1829 w 10000"/>
                <a:gd name="connsiteY248" fmla="*/ 6081 h 10000"/>
                <a:gd name="connsiteX249" fmla="*/ 1946 w 10000"/>
                <a:gd name="connsiteY249" fmla="*/ 6081 h 10000"/>
                <a:gd name="connsiteX250" fmla="*/ 2043 w 10000"/>
                <a:gd name="connsiteY250" fmla="*/ 6081 h 10000"/>
                <a:gd name="connsiteX251" fmla="*/ 2082 w 10000"/>
                <a:gd name="connsiteY251" fmla="*/ 6034 h 10000"/>
                <a:gd name="connsiteX252" fmla="*/ 2179 w 10000"/>
                <a:gd name="connsiteY252" fmla="*/ 5877 h 10000"/>
                <a:gd name="connsiteX253" fmla="*/ 2237 w 10000"/>
                <a:gd name="connsiteY253" fmla="*/ 5561 h 10000"/>
                <a:gd name="connsiteX254" fmla="*/ 2335 w 10000"/>
                <a:gd name="connsiteY254" fmla="*/ 5482 h 10000"/>
                <a:gd name="connsiteX255" fmla="*/ 2432 w 10000"/>
                <a:gd name="connsiteY255" fmla="*/ 5482 h 10000"/>
                <a:gd name="connsiteX256" fmla="*/ 2529 w 10000"/>
                <a:gd name="connsiteY256" fmla="*/ 5435 h 10000"/>
                <a:gd name="connsiteX257" fmla="*/ 2588 w 10000"/>
                <a:gd name="connsiteY257" fmla="*/ 5357 h 10000"/>
                <a:gd name="connsiteX258" fmla="*/ 2529 w 10000"/>
                <a:gd name="connsiteY258" fmla="*/ 5277 h 10000"/>
                <a:gd name="connsiteX259" fmla="*/ 2490 w 10000"/>
                <a:gd name="connsiteY259" fmla="*/ 5230 h 10000"/>
                <a:gd name="connsiteX260" fmla="*/ 2432 w 10000"/>
                <a:gd name="connsiteY260" fmla="*/ 5199 h 10000"/>
                <a:gd name="connsiteX261" fmla="*/ 2432 w 10000"/>
                <a:gd name="connsiteY261" fmla="*/ 5151 h 10000"/>
                <a:gd name="connsiteX262" fmla="*/ 2432 w 10000"/>
                <a:gd name="connsiteY262" fmla="*/ 5073 h 10000"/>
                <a:gd name="connsiteX263" fmla="*/ 2490 w 10000"/>
                <a:gd name="connsiteY263" fmla="*/ 5042 h 10000"/>
                <a:gd name="connsiteX264" fmla="*/ 2685 w 10000"/>
                <a:gd name="connsiteY264" fmla="*/ 5042 h 10000"/>
                <a:gd name="connsiteX265" fmla="*/ 2840 w 10000"/>
                <a:gd name="connsiteY265" fmla="*/ 5042 h 10000"/>
                <a:gd name="connsiteX266" fmla="*/ 2879 w 10000"/>
                <a:gd name="connsiteY266" fmla="*/ 4993 h 10000"/>
                <a:gd name="connsiteX267" fmla="*/ 2938 w 10000"/>
                <a:gd name="connsiteY267" fmla="*/ 4915 h 10000"/>
                <a:gd name="connsiteX268" fmla="*/ 2879 w 10000"/>
                <a:gd name="connsiteY268" fmla="*/ 4868 h 10000"/>
                <a:gd name="connsiteX269" fmla="*/ 2840 w 10000"/>
                <a:gd name="connsiteY269" fmla="*/ 4789 h 10000"/>
                <a:gd name="connsiteX270" fmla="*/ 2782 w 10000"/>
                <a:gd name="connsiteY270" fmla="*/ 4758 h 10000"/>
                <a:gd name="connsiteX271" fmla="*/ 2782 w 10000"/>
                <a:gd name="connsiteY271" fmla="*/ 4710 h 10000"/>
                <a:gd name="connsiteX272" fmla="*/ 2840 w 10000"/>
                <a:gd name="connsiteY272" fmla="*/ 4663 h 10000"/>
                <a:gd name="connsiteX273" fmla="*/ 2879 w 10000"/>
                <a:gd name="connsiteY273" fmla="*/ 4631 h 10000"/>
                <a:gd name="connsiteX274" fmla="*/ 3074 w 10000"/>
                <a:gd name="connsiteY274" fmla="*/ 4584 h 10000"/>
                <a:gd name="connsiteX275" fmla="*/ 2782 w 10000"/>
                <a:gd name="connsiteY275" fmla="*/ 4426 h 10000"/>
                <a:gd name="connsiteX276" fmla="*/ 2685 w 10000"/>
                <a:gd name="connsiteY276" fmla="*/ 4348 h 10000"/>
                <a:gd name="connsiteX277" fmla="*/ 2626 w 10000"/>
                <a:gd name="connsiteY277" fmla="*/ 4222 h 10000"/>
                <a:gd name="connsiteX278" fmla="*/ 2626 w 10000"/>
                <a:gd name="connsiteY278" fmla="*/ 3939 h 10000"/>
                <a:gd name="connsiteX279" fmla="*/ 2626 w 10000"/>
                <a:gd name="connsiteY279" fmla="*/ 3828 h 10000"/>
                <a:gd name="connsiteX280" fmla="*/ 2588 w 10000"/>
                <a:gd name="connsiteY280" fmla="*/ 3702 h 10000"/>
                <a:gd name="connsiteX281" fmla="*/ 2490 w 10000"/>
                <a:gd name="connsiteY281" fmla="*/ 3671 h 10000"/>
                <a:gd name="connsiteX282" fmla="*/ 2276 w 10000"/>
                <a:gd name="connsiteY282" fmla="*/ 3577 h 10000"/>
                <a:gd name="connsiteX283" fmla="*/ 2043 w 10000"/>
                <a:gd name="connsiteY283" fmla="*/ 3387 h 10000"/>
                <a:gd name="connsiteX284" fmla="*/ 1984 w 10000"/>
                <a:gd name="connsiteY284" fmla="*/ 3309 h 10000"/>
                <a:gd name="connsiteX285" fmla="*/ 1946 w 10000"/>
                <a:gd name="connsiteY285" fmla="*/ 3214 h 10000"/>
                <a:gd name="connsiteX286" fmla="*/ 1829 w 10000"/>
                <a:gd name="connsiteY286" fmla="*/ 3214 h 10000"/>
                <a:gd name="connsiteX287" fmla="*/ 1693 w 10000"/>
                <a:gd name="connsiteY287" fmla="*/ 3214 h 10000"/>
                <a:gd name="connsiteX288" fmla="*/ 1634 w 10000"/>
                <a:gd name="connsiteY288" fmla="*/ 3261 h 10000"/>
                <a:gd name="connsiteX289" fmla="*/ 1537 w 10000"/>
                <a:gd name="connsiteY289" fmla="*/ 3261 h 10000"/>
                <a:gd name="connsiteX290" fmla="*/ 1342 w 10000"/>
                <a:gd name="connsiteY290" fmla="*/ 3182 h 10000"/>
                <a:gd name="connsiteX291" fmla="*/ 1089 w 10000"/>
                <a:gd name="connsiteY291" fmla="*/ 3025 h 10000"/>
                <a:gd name="connsiteX292" fmla="*/ 934 w 10000"/>
                <a:gd name="connsiteY292" fmla="*/ 2977 h 10000"/>
                <a:gd name="connsiteX293" fmla="*/ 739 w 10000"/>
                <a:gd name="connsiteY293" fmla="*/ 2930 h 10000"/>
                <a:gd name="connsiteX294" fmla="*/ 642 w 10000"/>
                <a:gd name="connsiteY294" fmla="*/ 2851 h 10000"/>
                <a:gd name="connsiteX295" fmla="*/ 486 w 10000"/>
                <a:gd name="connsiteY295" fmla="*/ 2693 h 10000"/>
                <a:gd name="connsiteX296" fmla="*/ 292 w 10000"/>
                <a:gd name="connsiteY296" fmla="*/ 2410 h 10000"/>
                <a:gd name="connsiteX297" fmla="*/ 97 w 10000"/>
                <a:gd name="connsiteY297" fmla="*/ 2016 h 10000"/>
                <a:gd name="connsiteX298" fmla="*/ 39 w 10000"/>
                <a:gd name="connsiteY298" fmla="*/ 1607 h 10000"/>
                <a:gd name="connsiteX299" fmla="*/ 0 w 10000"/>
                <a:gd name="connsiteY299" fmla="*/ 1402 h 10000"/>
                <a:gd name="connsiteX300" fmla="*/ 39 w 10000"/>
                <a:gd name="connsiteY300" fmla="*/ 1197 h 10000"/>
                <a:gd name="connsiteX301" fmla="*/ 97 w 10000"/>
                <a:gd name="connsiteY301" fmla="*/ 1040 h 10000"/>
                <a:gd name="connsiteX302" fmla="*/ 136 w 10000"/>
                <a:gd name="connsiteY302" fmla="*/ 929 h 10000"/>
                <a:gd name="connsiteX303" fmla="*/ 253 w 10000"/>
                <a:gd name="connsiteY303" fmla="*/ 835 h 10000"/>
                <a:gd name="connsiteX304" fmla="*/ 389 w 10000"/>
                <a:gd name="connsiteY304" fmla="*/ 804 h 10000"/>
                <a:gd name="connsiteX305" fmla="*/ 642 w 10000"/>
                <a:gd name="connsiteY305" fmla="*/ 804 h 10000"/>
                <a:gd name="connsiteX306" fmla="*/ 934 w 10000"/>
                <a:gd name="connsiteY306" fmla="*/ 757 h 10000"/>
                <a:gd name="connsiteX307" fmla="*/ 1148 w 10000"/>
                <a:gd name="connsiteY307" fmla="*/ 725 h 10000"/>
                <a:gd name="connsiteX308" fmla="*/ 1245 w 10000"/>
                <a:gd name="connsiteY308" fmla="*/ 677 h 10000"/>
                <a:gd name="connsiteX309" fmla="*/ 1342 w 10000"/>
                <a:gd name="connsiteY309" fmla="*/ 599 h 10000"/>
                <a:gd name="connsiteX310" fmla="*/ 1440 w 10000"/>
                <a:gd name="connsiteY310" fmla="*/ 567 h 10000"/>
                <a:gd name="connsiteX311" fmla="*/ 1537 w 10000"/>
                <a:gd name="connsiteY311" fmla="*/ 567 h 10000"/>
                <a:gd name="connsiteX312" fmla="*/ 1946 w 10000"/>
                <a:gd name="connsiteY312" fmla="*/ 567 h 10000"/>
                <a:gd name="connsiteX313" fmla="*/ 2276 w 10000"/>
                <a:gd name="connsiteY313" fmla="*/ 599 h 10000"/>
                <a:gd name="connsiteX314" fmla="*/ 2490 w 10000"/>
                <a:gd name="connsiteY314" fmla="*/ 646 h 10000"/>
                <a:gd name="connsiteX315" fmla="*/ 2626 w 10000"/>
                <a:gd name="connsiteY315" fmla="*/ 725 h 10000"/>
                <a:gd name="connsiteX316" fmla="*/ 2782 w 10000"/>
                <a:gd name="connsiteY316" fmla="*/ 757 h 10000"/>
                <a:gd name="connsiteX317" fmla="*/ 2879 w 10000"/>
                <a:gd name="connsiteY317" fmla="*/ 725 h 10000"/>
                <a:gd name="connsiteX318" fmla="*/ 2977 w 10000"/>
                <a:gd name="connsiteY318" fmla="*/ 677 h 10000"/>
                <a:gd name="connsiteX319" fmla="*/ 3132 w 10000"/>
                <a:gd name="connsiteY319" fmla="*/ 599 h 10000"/>
                <a:gd name="connsiteX320" fmla="*/ 3288 w 10000"/>
                <a:gd name="connsiteY320" fmla="*/ 520 h 10000"/>
                <a:gd name="connsiteX321" fmla="*/ 3482 w 10000"/>
                <a:gd name="connsiteY321" fmla="*/ 284 h 10000"/>
                <a:gd name="connsiteX322" fmla="*/ 3638 w 10000"/>
                <a:gd name="connsiteY322" fmla="*/ 78 h 10000"/>
                <a:gd name="connsiteX323" fmla="*/ 3735 w 10000"/>
                <a:gd name="connsiteY323" fmla="*/ 0 h 10000"/>
                <a:gd name="connsiteX324" fmla="*/ 3638 w 10000"/>
                <a:gd name="connsiteY32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</a:cxnLst>
              <a:rect l="l" t="t" r="r" b="b"/>
              <a:pathLst>
                <a:path w="10000" h="10000">
                  <a:moveTo>
                    <a:pt x="3638" y="0"/>
                  </a:moveTo>
                  <a:lnTo>
                    <a:pt x="3638" y="0"/>
                  </a:lnTo>
                  <a:lnTo>
                    <a:pt x="3735" y="31"/>
                  </a:lnTo>
                  <a:cubicBezTo>
                    <a:pt x="3768" y="57"/>
                    <a:pt x="3800" y="84"/>
                    <a:pt x="3833" y="110"/>
                  </a:cubicBezTo>
                  <a:cubicBezTo>
                    <a:pt x="3846" y="141"/>
                    <a:pt x="3859" y="174"/>
                    <a:pt x="3872" y="205"/>
                  </a:cubicBezTo>
                  <a:lnTo>
                    <a:pt x="3930" y="284"/>
                  </a:lnTo>
                  <a:lnTo>
                    <a:pt x="4027" y="284"/>
                  </a:lnTo>
                  <a:lnTo>
                    <a:pt x="4183" y="315"/>
                  </a:lnTo>
                  <a:lnTo>
                    <a:pt x="4280" y="315"/>
                  </a:lnTo>
                  <a:lnTo>
                    <a:pt x="4377" y="315"/>
                  </a:lnTo>
                  <a:lnTo>
                    <a:pt x="4533" y="393"/>
                  </a:lnTo>
                  <a:cubicBezTo>
                    <a:pt x="4565" y="436"/>
                    <a:pt x="4598" y="478"/>
                    <a:pt x="4630" y="520"/>
                  </a:cubicBezTo>
                  <a:cubicBezTo>
                    <a:pt x="4676" y="599"/>
                    <a:pt x="4721" y="678"/>
                    <a:pt x="4767" y="757"/>
                  </a:cubicBezTo>
                  <a:lnTo>
                    <a:pt x="5019" y="1119"/>
                  </a:lnTo>
                  <a:lnTo>
                    <a:pt x="5272" y="1528"/>
                  </a:lnTo>
                  <a:cubicBezTo>
                    <a:pt x="5285" y="1607"/>
                    <a:pt x="5298" y="1686"/>
                    <a:pt x="5311" y="1764"/>
                  </a:cubicBezTo>
                  <a:cubicBezTo>
                    <a:pt x="5331" y="1790"/>
                    <a:pt x="5350" y="1817"/>
                    <a:pt x="5370" y="1843"/>
                  </a:cubicBezTo>
                  <a:lnTo>
                    <a:pt x="5525" y="1891"/>
                  </a:lnTo>
                  <a:lnTo>
                    <a:pt x="5525" y="2016"/>
                  </a:lnTo>
                  <a:cubicBezTo>
                    <a:pt x="5538" y="2042"/>
                    <a:pt x="5551" y="2069"/>
                    <a:pt x="5564" y="2095"/>
                  </a:cubicBezTo>
                  <a:cubicBezTo>
                    <a:pt x="5596" y="2132"/>
                    <a:pt x="5796" y="2093"/>
                    <a:pt x="5828" y="2130"/>
                  </a:cubicBezTo>
                  <a:cubicBezTo>
                    <a:pt x="5811" y="2187"/>
                    <a:pt x="5795" y="2244"/>
                    <a:pt x="5778" y="2300"/>
                  </a:cubicBezTo>
                  <a:cubicBezTo>
                    <a:pt x="5791" y="2310"/>
                    <a:pt x="5804" y="2321"/>
                    <a:pt x="5817" y="2331"/>
                  </a:cubicBezTo>
                  <a:cubicBezTo>
                    <a:pt x="5833" y="2341"/>
                    <a:pt x="5792" y="2176"/>
                    <a:pt x="5808" y="2186"/>
                  </a:cubicBezTo>
                  <a:cubicBezTo>
                    <a:pt x="5792" y="2244"/>
                    <a:pt x="5833" y="2478"/>
                    <a:pt x="5817" y="2536"/>
                  </a:cubicBezTo>
                  <a:cubicBezTo>
                    <a:pt x="5836" y="2547"/>
                    <a:pt x="5981" y="2501"/>
                    <a:pt x="6000" y="2512"/>
                  </a:cubicBezTo>
                  <a:cubicBezTo>
                    <a:pt x="6013" y="2528"/>
                    <a:pt x="5901" y="2599"/>
                    <a:pt x="5914" y="2615"/>
                  </a:cubicBezTo>
                  <a:lnTo>
                    <a:pt x="6214" y="2613"/>
                  </a:lnTo>
                  <a:cubicBezTo>
                    <a:pt x="6195" y="2702"/>
                    <a:pt x="6311" y="2825"/>
                    <a:pt x="6292" y="2914"/>
                  </a:cubicBezTo>
                  <a:cubicBezTo>
                    <a:pt x="6311" y="2945"/>
                    <a:pt x="6326" y="2933"/>
                    <a:pt x="6345" y="2964"/>
                  </a:cubicBezTo>
                  <a:cubicBezTo>
                    <a:pt x="6318" y="2995"/>
                    <a:pt x="6292" y="3026"/>
                    <a:pt x="6265" y="3057"/>
                  </a:cubicBezTo>
                  <a:lnTo>
                    <a:pt x="6425" y="3117"/>
                  </a:lnTo>
                  <a:cubicBezTo>
                    <a:pt x="6445" y="3143"/>
                    <a:pt x="6564" y="3117"/>
                    <a:pt x="6584" y="3143"/>
                  </a:cubicBezTo>
                  <a:cubicBezTo>
                    <a:pt x="6613" y="3205"/>
                    <a:pt x="6641" y="3266"/>
                    <a:pt x="6670" y="3329"/>
                  </a:cubicBezTo>
                  <a:cubicBezTo>
                    <a:pt x="6683" y="3366"/>
                    <a:pt x="6543" y="3460"/>
                    <a:pt x="6556" y="3497"/>
                  </a:cubicBezTo>
                  <a:lnTo>
                    <a:pt x="6615" y="3544"/>
                  </a:lnTo>
                  <a:cubicBezTo>
                    <a:pt x="6634" y="3528"/>
                    <a:pt x="6654" y="3513"/>
                    <a:pt x="6673" y="3497"/>
                  </a:cubicBezTo>
                  <a:lnTo>
                    <a:pt x="6770" y="3419"/>
                  </a:lnTo>
                  <a:cubicBezTo>
                    <a:pt x="6783" y="3382"/>
                    <a:pt x="6796" y="3346"/>
                    <a:pt x="6809" y="3309"/>
                  </a:cubicBezTo>
                  <a:lnTo>
                    <a:pt x="7004" y="3261"/>
                  </a:lnTo>
                  <a:lnTo>
                    <a:pt x="7223" y="3080"/>
                  </a:lnTo>
                  <a:cubicBezTo>
                    <a:pt x="7267" y="3140"/>
                    <a:pt x="7192" y="3099"/>
                    <a:pt x="7236" y="3159"/>
                  </a:cubicBezTo>
                  <a:cubicBezTo>
                    <a:pt x="7255" y="3175"/>
                    <a:pt x="7345" y="3116"/>
                    <a:pt x="7364" y="3132"/>
                  </a:cubicBezTo>
                  <a:lnTo>
                    <a:pt x="7759" y="3212"/>
                  </a:lnTo>
                  <a:cubicBezTo>
                    <a:pt x="7728" y="3297"/>
                    <a:pt x="7860" y="3209"/>
                    <a:pt x="7829" y="3294"/>
                  </a:cubicBezTo>
                  <a:cubicBezTo>
                    <a:pt x="7842" y="3304"/>
                    <a:pt x="7963" y="3328"/>
                    <a:pt x="7976" y="3338"/>
                  </a:cubicBezTo>
                  <a:cubicBezTo>
                    <a:pt x="8001" y="3346"/>
                    <a:pt x="8025" y="3355"/>
                    <a:pt x="8050" y="3363"/>
                  </a:cubicBezTo>
                  <a:lnTo>
                    <a:pt x="7909" y="3364"/>
                  </a:lnTo>
                  <a:cubicBezTo>
                    <a:pt x="7928" y="3395"/>
                    <a:pt x="7942" y="3382"/>
                    <a:pt x="7961" y="3413"/>
                  </a:cubicBezTo>
                  <a:cubicBezTo>
                    <a:pt x="8011" y="3308"/>
                    <a:pt x="7959" y="3460"/>
                    <a:pt x="8009" y="3355"/>
                  </a:cubicBezTo>
                  <a:lnTo>
                    <a:pt x="8235" y="3322"/>
                  </a:lnTo>
                  <a:cubicBezTo>
                    <a:pt x="8207" y="3448"/>
                    <a:pt x="8444" y="3349"/>
                    <a:pt x="8416" y="3475"/>
                  </a:cubicBezTo>
                  <a:lnTo>
                    <a:pt x="8570" y="3437"/>
                  </a:lnTo>
                  <a:cubicBezTo>
                    <a:pt x="8603" y="3528"/>
                    <a:pt x="8636" y="3620"/>
                    <a:pt x="8669" y="3711"/>
                  </a:cubicBezTo>
                  <a:lnTo>
                    <a:pt x="8800" y="3824"/>
                  </a:lnTo>
                  <a:cubicBezTo>
                    <a:pt x="8753" y="3905"/>
                    <a:pt x="8705" y="3984"/>
                    <a:pt x="8658" y="4064"/>
                  </a:cubicBezTo>
                  <a:lnTo>
                    <a:pt x="8922" y="4037"/>
                  </a:lnTo>
                  <a:cubicBezTo>
                    <a:pt x="8951" y="4072"/>
                    <a:pt x="8979" y="4108"/>
                    <a:pt x="9008" y="4144"/>
                  </a:cubicBezTo>
                  <a:lnTo>
                    <a:pt x="9047" y="4222"/>
                  </a:lnTo>
                  <a:lnTo>
                    <a:pt x="9047" y="4269"/>
                  </a:lnTo>
                  <a:lnTo>
                    <a:pt x="9008" y="4395"/>
                  </a:lnTo>
                  <a:lnTo>
                    <a:pt x="9008" y="4474"/>
                  </a:lnTo>
                  <a:cubicBezTo>
                    <a:pt x="8976" y="4511"/>
                    <a:pt x="8943" y="4547"/>
                    <a:pt x="8911" y="4584"/>
                  </a:cubicBezTo>
                  <a:lnTo>
                    <a:pt x="8911" y="4836"/>
                  </a:lnTo>
                  <a:lnTo>
                    <a:pt x="8813" y="4868"/>
                  </a:lnTo>
                  <a:cubicBezTo>
                    <a:pt x="8794" y="4857"/>
                    <a:pt x="8774" y="4847"/>
                    <a:pt x="8755" y="4836"/>
                  </a:cubicBezTo>
                  <a:lnTo>
                    <a:pt x="8696" y="4836"/>
                  </a:lnTo>
                  <a:lnTo>
                    <a:pt x="8560" y="4868"/>
                  </a:lnTo>
                  <a:cubicBezTo>
                    <a:pt x="8528" y="4884"/>
                    <a:pt x="8495" y="4899"/>
                    <a:pt x="8463" y="4915"/>
                  </a:cubicBezTo>
                  <a:cubicBezTo>
                    <a:pt x="8431" y="4957"/>
                    <a:pt x="8398" y="4999"/>
                    <a:pt x="8366" y="5042"/>
                  </a:cubicBezTo>
                  <a:cubicBezTo>
                    <a:pt x="8346" y="5068"/>
                    <a:pt x="8327" y="5094"/>
                    <a:pt x="8307" y="5120"/>
                  </a:cubicBezTo>
                  <a:cubicBezTo>
                    <a:pt x="8327" y="5157"/>
                    <a:pt x="8346" y="5193"/>
                    <a:pt x="8366" y="5230"/>
                  </a:cubicBezTo>
                  <a:cubicBezTo>
                    <a:pt x="8379" y="5256"/>
                    <a:pt x="8392" y="5283"/>
                    <a:pt x="8405" y="5309"/>
                  </a:cubicBezTo>
                  <a:lnTo>
                    <a:pt x="8599" y="5435"/>
                  </a:lnTo>
                  <a:cubicBezTo>
                    <a:pt x="8619" y="5461"/>
                    <a:pt x="8638" y="5488"/>
                    <a:pt x="8658" y="5514"/>
                  </a:cubicBezTo>
                  <a:lnTo>
                    <a:pt x="8658" y="5593"/>
                  </a:lnTo>
                  <a:lnTo>
                    <a:pt x="8658" y="5719"/>
                  </a:lnTo>
                  <a:cubicBezTo>
                    <a:pt x="8638" y="5761"/>
                    <a:pt x="8619" y="5802"/>
                    <a:pt x="8599" y="5844"/>
                  </a:cubicBezTo>
                  <a:cubicBezTo>
                    <a:pt x="8586" y="5882"/>
                    <a:pt x="8573" y="5918"/>
                    <a:pt x="8560" y="5955"/>
                  </a:cubicBezTo>
                  <a:lnTo>
                    <a:pt x="8366" y="6002"/>
                  </a:lnTo>
                  <a:cubicBezTo>
                    <a:pt x="8346" y="6028"/>
                    <a:pt x="8327" y="6055"/>
                    <a:pt x="8307" y="6081"/>
                  </a:cubicBezTo>
                  <a:cubicBezTo>
                    <a:pt x="8288" y="6097"/>
                    <a:pt x="8268" y="6112"/>
                    <a:pt x="8249" y="6128"/>
                  </a:cubicBezTo>
                  <a:cubicBezTo>
                    <a:pt x="8268" y="6166"/>
                    <a:pt x="8288" y="6202"/>
                    <a:pt x="8307" y="6239"/>
                  </a:cubicBezTo>
                  <a:lnTo>
                    <a:pt x="8405" y="6317"/>
                  </a:lnTo>
                  <a:cubicBezTo>
                    <a:pt x="8437" y="6333"/>
                    <a:pt x="8470" y="6348"/>
                    <a:pt x="8502" y="6364"/>
                  </a:cubicBezTo>
                  <a:cubicBezTo>
                    <a:pt x="8521" y="6375"/>
                    <a:pt x="8541" y="6385"/>
                    <a:pt x="8560" y="6396"/>
                  </a:cubicBezTo>
                  <a:cubicBezTo>
                    <a:pt x="8573" y="6439"/>
                    <a:pt x="8586" y="6480"/>
                    <a:pt x="8599" y="6522"/>
                  </a:cubicBezTo>
                  <a:lnTo>
                    <a:pt x="8599" y="6601"/>
                  </a:lnTo>
                  <a:cubicBezTo>
                    <a:pt x="8619" y="6627"/>
                    <a:pt x="8638" y="6653"/>
                    <a:pt x="8658" y="6679"/>
                  </a:cubicBezTo>
                  <a:cubicBezTo>
                    <a:pt x="8671" y="6710"/>
                    <a:pt x="8683" y="6743"/>
                    <a:pt x="8696" y="6774"/>
                  </a:cubicBezTo>
                  <a:lnTo>
                    <a:pt x="8813" y="6806"/>
                  </a:lnTo>
                  <a:lnTo>
                    <a:pt x="8949" y="6853"/>
                  </a:lnTo>
                  <a:lnTo>
                    <a:pt x="9105" y="6884"/>
                  </a:lnTo>
                  <a:cubicBezTo>
                    <a:pt x="9118" y="6910"/>
                    <a:pt x="9131" y="6937"/>
                    <a:pt x="9144" y="6963"/>
                  </a:cubicBezTo>
                  <a:lnTo>
                    <a:pt x="9144" y="7215"/>
                  </a:lnTo>
                  <a:lnTo>
                    <a:pt x="9144" y="7373"/>
                  </a:lnTo>
                  <a:lnTo>
                    <a:pt x="9144" y="7451"/>
                  </a:lnTo>
                  <a:cubicBezTo>
                    <a:pt x="9163" y="7467"/>
                    <a:pt x="9183" y="7483"/>
                    <a:pt x="9202" y="7499"/>
                  </a:cubicBezTo>
                  <a:cubicBezTo>
                    <a:pt x="9222" y="7525"/>
                    <a:pt x="9241" y="7551"/>
                    <a:pt x="9261" y="7578"/>
                  </a:cubicBezTo>
                  <a:lnTo>
                    <a:pt x="9358" y="7578"/>
                  </a:lnTo>
                  <a:cubicBezTo>
                    <a:pt x="9371" y="7588"/>
                    <a:pt x="9384" y="7599"/>
                    <a:pt x="9397" y="7609"/>
                  </a:cubicBezTo>
                  <a:cubicBezTo>
                    <a:pt x="9416" y="7625"/>
                    <a:pt x="9436" y="7641"/>
                    <a:pt x="9455" y="7657"/>
                  </a:cubicBezTo>
                  <a:lnTo>
                    <a:pt x="9650" y="7971"/>
                  </a:lnTo>
                  <a:cubicBezTo>
                    <a:pt x="9682" y="8039"/>
                    <a:pt x="9715" y="8108"/>
                    <a:pt x="9747" y="8177"/>
                  </a:cubicBezTo>
                  <a:cubicBezTo>
                    <a:pt x="9779" y="8245"/>
                    <a:pt x="9812" y="8313"/>
                    <a:pt x="9844" y="8381"/>
                  </a:cubicBezTo>
                  <a:lnTo>
                    <a:pt x="10000" y="8664"/>
                  </a:lnTo>
                  <a:cubicBezTo>
                    <a:pt x="9981" y="8675"/>
                    <a:pt x="9961" y="8685"/>
                    <a:pt x="9942" y="8696"/>
                  </a:cubicBezTo>
                  <a:lnTo>
                    <a:pt x="9942" y="8775"/>
                  </a:lnTo>
                  <a:cubicBezTo>
                    <a:pt x="9909" y="8806"/>
                    <a:pt x="9877" y="8838"/>
                    <a:pt x="9844" y="8869"/>
                  </a:cubicBezTo>
                  <a:lnTo>
                    <a:pt x="9708" y="8901"/>
                  </a:lnTo>
                  <a:lnTo>
                    <a:pt x="9358" y="8901"/>
                  </a:lnTo>
                  <a:lnTo>
                    <a:pt x="9397" y="8979"/>
                  </a:lnTo>
                  <a:lnTo>
                    <a:pt x="9397" y="9027"/>
                  </a:lnTo>
                  <a:lnTo>
                    <a:pt x="9494" y="9106"/>
                  </a:lnTo>
                  <a:lnTo>
                    <a:pt x="9358" y="9106"/>
                  </a:lnTo>
                  <a:lnTo>
                    <a:pt x="9261" y="9106"/>
                  </a:lnTo>
                  <a:lnTo>
                    <a:pt x="9144" y="9059"/>
                  </a:lnTo>
                  <a:cubicBezTo>
                    <a:pt x="9112" y="9075"/>
                    <a:pt x="9079" y="9090"/>
                    <a:pt x="9047" y="9106"/>
                  </a:cubicBezTo>
                  <a:lnTo>
                    <a:pt x="9047" y="9184"/>
                  </a:lnTo>
                  <a:lnTo>
                    <a:pt x="9047" y="9231"/>
                  </a:lnTo>
                  <a:cubicBezTo>
                    <a:pt x="9034" y="9283"/>
                    <a:pt x="9021" y="9337"/>
                    <a:pt x="9008" y="9389"/>
                  </a:cubicBezTo>
                  <a:cubicBezTo>
                    <a:pt x="8976" y="9426"/>
                    <a:pt x="8943" y="9462"/>
                    <a:pt x="8911" y="9499"/>
                  </a:cubicBezTo>
                  <a:lnTo>
                    <a:pt x="8755" y="9626"/>
                  </a:lnTo>
                  <a:lnTo>
                    <a:pt x="8560" y="9673"/>
                  </a:lnTo>
                  <a:cubicBezTo>
                    <a:pt x="8541" y="9657"/>
                    <a:pt x="8521" y="9642"/>
                    <a:pt x="8502" y="9626"/>
                  </a:cubicBezTo>
                  <a:cubicBezTo>
                    <a:pt x="8470" y="9615"/>
                    <a:pt x="8270" y="9755"/>
                    <a:pt x="8238" y="9744"/>
                  </a:cubicBezTo>
                  <a:cubicBezTo>
                    <a:pt x="8242" y="9652"/>
                    <a:pt x="8178" y="9883"/>
                    <a:pt x="8182" y="9790"/>
                  </a:cubicBezTo>
                  <a:cubicBezTo>
                    <a:pt x="8150" y="9748"/>
                    <a:pt x="8154" y="9793"/>
                    <a:pt x="8122" y="9751"/>
                  </a:cubicBezTo>
                  <a:cubicBezTo>
                    <a:pt x="8089" y="9741"/>
                    <a:pt x="8033" y="9755"/>
                    <a:pt x="8000" y="9745"/>
                  </a:cubicBezTo>
                  <a:cubicBezTo>
                    <a:pt x="7925" y="9975"/>
                    <a:pt x="7903" y="9770"/>
                    <a:pt x="7828" y="10000"/>
                  </a:cubicBezTo>
                  <a:cubicBezTo>
                    <a:pt x="7815" y="10010"/>
                    <a:pt x="7789" y="9909"/>
                    <a:pt x="7776" y="9919"/>
                  </a:cubicBezTo>
                  <a:cubicBezTo>
                    <a:pt x="7761" y="9858"/>
                    <a:pt x="7735" y="9653"/>
                    <a:pt x="7739" y="9633"/>
                  </a:cubicBezTo>
                  <a:cubicBezTo>
                    <a:pt x="7726" y="9623"/>
                    <a:pt x="7815" y="9805"/>
                    <a:pt x="7802" y="9795"/>
                  </a:cubicBezTo>
                  <a:cubicBezTo>
                    <a:pt x="7748" y="9782"/>
                    <a:pt x="7484" y="9605"/>
                    <a:pt x="7417" y="9555"/>
                  </a:cubicBezTo>
                  <a:lnTo>
                    <a:pt x="7399" y="9498"/>
                  </a:lnTo>
                  <a:lnTo>
                    <a:pt x="7004" y="9468"/>
                  </a:lnTo>
                  <a:lnTo>
                    <a:pt x="7004" y="9421"/>
                  </a:lnTo>
                  <a:lnTo>
                    <a:pt x="6965" y="9421"/>
                  </a:lnTo>
                  <a:lnTo>
                    <a:pt x="6809" y="9342"/>
                  </a:lnTo>
                  <a:lnTo>
                    <a:pt x="6615" y="9263"/>
                  </a:lnTo>
                  <a:lnTo>
                    <a:pt x="6167" y="9231"/>
                  </a:lnTo>
                  <a:cubicBezTo>
                    <a:pt x="6148" y="9215"/>
                    <a:pt x="6128" y="9200"/>
                    <a:pt x="6109" y="9184"/>
                  </a:cubicBezTo>
                  <a:lnTo>
                    <a:pt x="5817" y="9106"/>
                  </a:lnTo>
                  <a:lnTo>
                    <a:pt x="5661" y="9059"/>
                  </a:lnTo>
                  <a:cubicBezTo>
                    <a:pt x="5629" y="9022"/>
                    <a:pt x="5596" y="8985"/>
                    <a:pt x="5564" y="8948"/>
                  </a:cubicBezTo>
                  <a:lnTo>
                    <a:pt x="5214" y="8775"/>
                  </a:lnTo>
                  <a:lnTo>
                    <a:pt x="4864" y="8664"/>
                  </a:lnTo>
                  <a:cubicBezTo>
                    <a:pt x="4851" y="8675"/>
                    <a:pt x="4838" y="8685"/>
                    <a:pt x="4825" y="8696"/>
                  </a:cubicBezTo>
                  <a:cubicBezTo>
                    <a:pt x="4838" y="8685"/>
                    <a:pt x="4851" y="8675"/>
                    <a:pt x="4864" y="8664"/>
                  </a:cubicBezTo>
                  <a:cubicBezTo>
                    <a:pt x="4832" y="8675"/>
                    <a:pt x="4799" y="8685"/>
                    <a:pt x="4767" y="8696"/>
                  </a:cubicBezTo>
                  <a:lnTo>
                    <a:pt x="4669" y="8696"/>
                  </a:lnTo>
                  <a:lnTo>
                    <a:pt x="4475" y="8617"/>
                  </a:lnTo>
                  <a:cubicBezTo>
                    <a:pt x="4442" y="8607"/>
                    <a:pt x="4410" y="8596"/>
                    <a:pt x="4377" y="8586"/>
                  </a:cubicBezTo>
                  <a:lnTo>
                    <a:pt x="4319" y="8586"/>
                  </a:lnTo>
                  <a:lnTo>
                    <a:pt x="4222" y="8617"/>
                  </a:lnTo>
                  <a:cubicBezTo>
                    <a:pt x="4209" y="8643"/>
                    <a:pt x="4196" y="8670"/>
                    <a:pt x="4183" y="8696"/>
                  </a:cubicBezTo>
                  <a:lnTo>
                    <a:pt x="4183" y="8822"/>
                  </a:lnTo>
                  <a:cubicBezTo>
                    <a:pt x="4151" y="8995"/>
                    <a:pt x="4118" y="9168"/>
                    <a:pt x="4086" y="9342"/>
                  </a:cubicBezTo>
                  <a:cubicBezTo>
                    <a:pt x="4099" y="9368"/>
                    <a:pt x="4112" y="9395"/>
                    <a:pt x="4125" y="9421"/>
                  </a:cubicBezTo>
                  <a:lnTo>
                    <a:pt x="4280" y="9499"/>
                  </a:lnTo>
                  <a:lnTo>
                    <a:pt x="4113" y="9481"/>
                  </a:lnTo>
                  <a:lnTo>
                    <a:pt x="4273" y="9569"/>
                  </a:lnTo>
                  <a:cubicBezTo>
                    <a:pt x="4273" y="9596"/>
                    <a:pt x="4189" y="9584"/>
                    <a:pt x="4189" y="9610"/>
                  </a:cubicBezTo>
                  <a:cubicBezTo>
                    <a:pt x="4157" y="9642"/>
                    <a:pt x="4122" y="9651"/>
                    <a:pt x="4090" y="9683"/>
                  </a:cubicBezTo>
                  <a:cubicBezTo>
                    <a:pt x="4073" y="9667"/>
                    <a:pt x="4055" y="9652"/>
                    <a:pt x="4038" y="9636"/>
                  </a:cubicBezTo>
                  <a:cubicBezTo>
                    <a:pt x="4043" y="9653"/>
                    <a:pt x="4049" y="9669"/>
                    <a:pt x="4054" y="9686"/>
                  </a:cubicBezTo>
                  <a:lnTo>
                    <a:pt x="3900" y="9677"/>
                  </a:lnTo>
                  <a:lnTo>
                    <a:pt x="3930" y="9830"/>
                  </a:lnTo>
                  <a:lnTo>
                    <a:pt x="3930" y="9751"/>
                  </a:lnTo>
                  <a:lnTo>
                    <a:pt x="3930" y="9594"/>
                  </a:lnTo>
                  <a:cubicBezTo>
                    <a:pt x="3911" y="9578"/>
                    <a:pt x="3891" y="9562"/>
                    <a:pt x="3872" y="9546"/>
                  </a:cubicBezTo>
                  <a:cubicBezTo>
                    <a:pt x="3859" y="9530"/>
                    <a:pt x="3846" y="9515"/>
                    <a:pt x="3833" y="9499"/>
                  </a:cubicBezTo>
                  <a:lnTo>
                    <a:pt x="3774" y="9546"/>
                  </a:lnTo>
                  <a:lnTo>
                    <a:pt x="3521" y="9594"/>
                  </a:lnTo>
                  <a:lnTo>
                    <a:pt x="3424" y="9594"/>
                  </a:lnTo>
                  <a:lnTo>
                    <a:pt x="3288" y="9546"/>
                  </a:lnTo>
                  <a:lnTo>
                    <a:pt x="3132" y="9468"/>
                  </a:lnTo>
                  <a:lnTo>
                    <a:pt x="2938" y="9389"/>
                  </a:lnTo>
                  <a:lnTo>
                    <a:pt x="2724" y="9342"/>
                  </a:lnTo>
                  <a:lnTo>
                    <a:pt x="2432" y="9311"/>
                  </a:lnTo>
                  <a:cubicBezTo>
                    <a:pt x="2419" y="9284"/>
                    <a:pt x="2406" y="9257"/>
                    <a:pt x="2393" y="9231"/>
                  </a:cubicBezTo>
                  <a:lnTo>
                    <a:pt x="2276" y="9184"/>
                  </a:lnTo>
                  <a:lnTo>
                    <a:pt x="2179" y="9106"/>
                  </a:lnTo>
                  <a:lnTo>
                    <a:pt x="2179" y="8979"/>
                  </a:lnTo>
                  <a:lnTo>
                    <a:pt x="2179" y="8901"/>
                  </a:lnTo>
                  <a:cubicBezTo>
                    <a:pt x="2198" y="8890"/>
                    <a:pt x="2218" y="8880"/>
                    <a:pt x="2237" y="8869"/>
                  </a:cubicBezTo>
                  <a:lnTo>
                    <a:pt x="2335" y="8822"/>
                  </a:lnTo>
                  <a:lnTo>
                    <a:pt x="2490" y="8822"/>
                  </a:lnTo>
                  <a:cubicBezTo>
                    <a:pt x="2503" y="8806"/>
                    <a:pt x="2516" y="8791"/>
                    <a:pt x="2529" y="8775"/>
                  </a:cubicBezTo>
                  <a:lnTo>
                    <a:pt x="2626" y="8744"/>
                  </a:lnTo>
                  <a:cubicBezTo>
                    <a:pt x="2646" y="8691"/>
                    <a:pt x="2665" y="8638"/>
                    <a:pt x="2685" y="8586"/>
                  </a:cubicBezTo>
                  <a:cubicBezTo>
                    <a:pt x="2665" y="8528"/>
                    <a:pt x="2646" y="8471"/>
                    <a:pt x="2626" y="8412"/>
                  </a:cubicBezTo>
                  <a:cubicBezTo>
                    <a:pt x="2613" y="8349"/>
                    <a:pt x="2601" y="8287"/>
                    <a:pt x="2588" y="8224"/>
                  </a:cubicBezTo>
                  <a:lnTo>
                    <a:pt x="2432" y="8050"/>
                  </a:lnTo>
                  <a:cubicBezTo>
                    <a:pt x="2419" y="8040"/>
                    <a:pt x="2406" y="8029"/>
                    <a:pt x="2393" y="8019"/>
                  </a:cubicBezTo>
                  <a:cubicBezTo>
                    <a:pt x="2374" y="8003"/>
                    <a:pt x="2354" y="7987"/>
                    <a:pt x="2335" y="7971"/>
                  </a:cubicBezTo>
                  <a:cubicBezTo>
                    <a:pt x="2354" y="7945"/>
                    <a:pt x="2374" y="7919"/>
                    <a:pt x="2393" y="7893"/>
                  </a:cubicBezTo>
                  <a:cubicBezTo>
                    <a:pt x="2406" y="7883"/>
                    <a:pt x="2419" y="7872"/>
                    <a:pt x="2432" y="7862"/>
                  </a:cubicBezTo>
                  <a:lnTo>
                    <a:pt x="2490" y="7862"/>
                  </a:lnTo>
                  <a:lnTo>
                    <a:pt x="2588" y="7862"/>
                  </a:lnTo>
                  <a:lnTo>
                    <a:pt x="2685" y="7862"/>
                  </a:lnTo>
                  <a:lnTo>
                    <a:pt x="2782" y="7940"/>
                  </a:lnTo>
                  <a:lnTo>
                    <a:pt x="2938" y="8019"/>
                  </a:lnTo>
                  <a:lnTo>
                    <a:pt x="3074" y="8097"/>
                  </a:lnTo>
                  <a:lnTo>
                    <a:pt x="3230" y="8128"/>
                  </a:lnTo>
                  <a:lnTo>
                    <a:pt x="3230" y="8097"/>
                  </a:lnTo>
                  <a:lnTo>
                    <a:pt x="3288" y="8097"/>
                  </a:lnTo>
                  <a:cubicBezTo>
                    <a:pt x="3301" y="8045"/>
                    <a:pt x="3314" y="7992"/>
                    <a:pt x="3327" y="7940"/>
                  </a:cubicBezTo>
                  <a:lnTo>
                    <a:pt x="3327" y="7813"/>
                  </a:lnTo>
                  <a:lnTo>
                    <a:pt x="3327" y="7735"/>
                  </a:lnTo>
                  <a:cubicBezTo>
                    <a:pt x="3295" y="7693"/>
                    <a:pt x="3262" y="7651"/>
                    <a:pt x="3230" y="7609"/>
                  </a:cubicBezTo>
                  <a:lnTo>
                    <a:pt x="2977" y="7404"/>
                  </a:lnTo>
                  <a:lnTo>
                    <a:pt x="2685" y="7089"/>
                  </a:lnTo>
                  <a:lnTo>
                    <a:pt x="2724" y="7011"/>
                  </a:lnTo>
                  <a:lnTo>
                    <a:pt x="2782" y="7011"/>
                  </a:lnTo>
                  <a:lnTo>
                    <a:pt x="3035" y="7042"/>
                  </a:lnTo>
                  <a:lnTo>
                    <a:pt x="3230" y="7042"/>
                  </a:lnTo>
                  <a:lnTo>
                    <a:pt x="3288" y="7042"/>
                  </a:lnTo>
                  <a:lnTo>
                    <a:pt x="3288" y="7011"/>
                  </a:lnTo>
                  <a:lnTo>
                    <a:pt x="3171" y="6853"/>
                  </a:lnTo>
                  <a:lnTo>
                    <a:pt x="2977" y="6679"/>
                  </a:lnTo>
                  <a:lnTo>
                    <a:pt x="2840" y="6569"/>
                  </a:lnTo>
                  <a:lnTo>
                    <a:pt x="2588" y="6491"/>
                  </a:lnTo>
                  <a:lnTo>
                    <a:pt x="2335" y="6444"/>
                  </a:lnTo>
                  <a:lnTo>
                    <a:pt x="1634" y="6444"/>
                  </a:lnTo>
                  <a:lnTo>
                    <a:pt x="1245" y="6396"/>
                  </a:lnTo>
                  <a:lnTo>
                    <a:pt x="1089" y="6444"/>
                  </a:lnTo>
                  <a:cubicBezTo>
                    <a:pt x="1057" y="6460"/>
                    <a:pt x="1024" y="6475"/>
                    <a:pt x="992" y="6491"/>
                  </a:cubicBezTo>
                  <a:cubicBezTo>
                    <a:pt x="973" y="6517"/>
                    <a:pt x="953" y="6543"/>
                    <a:pt x="934" y="6569"/>
                  </a:cubicBezTo>
                  <a:cubicBezTo>
                    <a:pt x="889" y="6485"/>
                    <a:pt x="843" y="6401"/>
                    <a:pt x="798" y="6317"/>
                  </a:cubicBezTo>
                  <a:lnTo>
                    <a:pt x="642" y="6239"/>
                  </a:lnTo>
                  <a:lnTo>
                    <a:pt x="447" y="6160"/>
                  </a:lnTo>
                  <a:lnTo>
                    <a:pt x="195" y="5955"/>
                  </a:lnTo>
                  <a:cubicBezTo>
                    <a:pt x="162" y="5918"/>
                    <a:pt x="130" y="5881"/>
                    <a:pt x="97" y="5844"/>
                  </a:cubicBezTo>
                  <a:lnTo>
                    <a:pt x="97" y="5719"/>
                  </a:lnTo>
                  <a:lnTo>
                    <a:pt x="195" y="5797"/>
                  </a:lnTo>
                  <a:cubicBezTo>
                    <a:pt x="227" y="5813"/>
                    <a:pt x="260" y="5828"/>
                    <a:pt x="292" y="5844"/>
                  </a:cubicBezTo>
                  <a:lnTo>
                    <a:pt x="447" y="5877"/>
                  </a:lnTo>
                  <a:lnTo>
                    <a:pt x="584" y="5877"/>
                  </a:lnTo>
                  <a:lnTo>
                    <a:pt x="700" y="5844"/>
                  </a:lnTo>
                  <a:lnTo>
                    <a:pt x="1187" y="5844"/>
                  </a:lnTo>
                  <a:lnTo>
                    <a:pt x="1342" y="5671"/>
                  </a:lnTo>
                  <a:lnTo>
                    <a:pt x="1381" y="5593"/>
                  </a:lnTo>
                  <a:lnTo>
                    <a:pt x="1498" y="5593"/>
                  </a:lnTo>
                  <a:lnTo>
                    <a:pt x="1537" y="5593"/>
                  </a:lnTo>
                  <a:cubicBezTo>
                    <a:pt x="1556" y="5619"/>
                    <a:pt x="1576" y="5645"/>
                    <a:pt x="1595" y="5671"/>
                  </a:cubicBezTo>
                  <a:lnTo>
                    <a:pt x="1693" y="5844"/>
                  </a:lnTo>
                  <a:cubicBezTo>
                    <a:pt x="1706" y="5897"/>
                    <a:pt x="1719" y="5950"/>
                    <a:pt x="1732" y="6002"/>
                  </a:cubicBezTo>
                  <a:lnTo>
                    <a:pt x="1829" y="6081"/>
                  </a:lnTo>
                  <a:lnTo>
                    <a:pt x="1946" y="6081"/>
                  </a:lnTo>
                  <a:lnTo>
                    <a:pt x="2043" y="6081"/>
                  </a:lnTo>
                  <a:cubicBezTo>
                    <a:pt x="2056" y="6065"/>
                    <a:pt x="2069" y="6050"/>
                    <a:pt x="2082" y="6034"/>
                  </a:cubicBezTo>
                  <a:lnTo>
                    <a:pt x="2179" y="5877"/>
                  </a:lnTo>
                  <a:cubicBezTo>
                    <a:pt x="2198" y="5771"/>
                    <a:pt x="2218" y="5667"/>
                    <a:pt x="2237" y="5561"/>
                  </a:cubicBezTo>
                  <a:cubicBezTo>
                    <a:pt x="2270" y="5535"/>
                    <a:pt x="2302" y="5508"/>
                    <a:pt x="2335" y="5482"/>
                  </a:cubicBezTo>
                  <a:lnTo>
                    <a:pt x="2432" y="5482"/>
                  </a:lnTo>
                  <a:cubicBezTo>
                    <a:pt x="2464" y="5466"/>
                    <a:pt x="2497" y="5451"/>
                    <a:pt x="2529" y="5435"/>
                  </a:cubicBezTo>
                  <a:cubicBezTo>
                    <a:pt x="2549" y="5409"/>
                    <a:pt x="2568" y="5383"/>
                    <a:pt x="2588" y="5357"/>
                  </a:cubicBezTo>
                  <a:cubicBezTo>
                    <a:pt x="2568" y="5331"/>
                    <a:pt x="2549" y="5304"/>
                    <a:pt x="2529" y="5277"/>
                  </a:cubicBezTo>
                  <a:cubicBezTo>
                    <a:pt x="2516" y="5261"/>
                    <a:pt x="2503" y="5246"/>
                    <a:pt x="2490" y="5230"/>
                  </a:cubicBezTo>
                  <a:lnTo>
                    <a:pt x="2432" y="5199"/>
                  </a:lnTo>
                  <a:lnTo>
                    <a:pt x="2432" y="5151"/>
                  </a:lnTo>
                  <a:lnTo>
                    <a:pt x="2432" y="5073"/>
                  </a:lnTo>
                  <a:lnTo>
                    <a:pt x="2490" y="5042"/>
                  </a:lnTo>
                  <a:lnTo>
                    <a:pt x="2685" y="5042"/>
                  </a:lnTo>
                  <a:lnTo>
                    <a:pt x="2840" y="5042"/>
                  </a:lnTo>
                  <a:cubicBezTo>
                    <a:pt x="2853" y="5026"/>
                    <a:pt x="2866" y="5009"/>
                    <a:pt x="2879" y="4993"/>
                  </a:cubicBezTo>
                  <a:cubicBezTo>
                    <a:pt x="2899" y="4967"/>
                    <a:pt x="2918" y="4941"/>
                    <a:pt x="2938" y="4915"/>
                  </a:cubicBezTo>
                  <a:lnTo>
                    <a:pt x="2879" y="4868"/>
                  </a:lnTo>
                  <a:cubicBezTo>
                    <a:pt x="2866" y="4842"/>
                    <a:pt x="2853" y="4815"/>
                    <a:pt x="2840" y="4789"/>
                  </a:cubicBezTo>
                  <a:lnTo>
                    <a:pt x="2782" y="4758"/>
                  </a:lnTo>
                  <a:lnTo>
                    <a:pt x="2782" y="4710"/>
                  </a:lnTo>
                  <a:cubicBezTo>
                    <a:pt x="2801" y="4694"/>
                    <a:pt x="2821" y="4679"/>
                    <a:pt x="2840" y="4663"/>
                  </a:cubicBezTo>
                  <a:cubicBezTo>
                    <a:pt x="2853" y="4652"/>
                    <a:pt x="2866" y="4642"/>
                    <a:pt x="2879" y="4631"/>
                  </a:cubicBezTo>
                  <a:lnTo>
                    <a:pt x="3074" y="4584"/>
                  </a:lnTo>
                  <a:lnTo>
                    <a:pt x="2782" y="4426"/>
                  </a:lnTo>
                  <a:lnTo>
                    <a:pt x="2685" y="4348"/>
                  </a:lnTo>
                  <a:cubicBezTo>
                    <a:pt x="2665" y="4306"/>
                    <a:pt x="2646" y="4264"/>
                    <a:pt x="2626" y="4222"/>
                  </a:cubicBezTo>
                  <a:lnTo>
                    <a:pt x="2626" y="3939"/>
                  </a:lnTo>
                  <a:lnTo>
                    <a:pt x="2626" y="3828"/>
                  </a:lnTo>
                  <a:cubicBezTo>
                    <a:pt x="2613" y="3786"/>
                    <a:pt x="2601" y="3744"/>
                    <a:pt x="2588" y="3702"/>
                  </a:cubicBezTo>
                  <a:cubicBezTo>
                    <a:pt x="2555" y="3692"/>
                    <a:pt x="2523" y="3681"/>
                    <a:pt x="2490" y="3671"/>
                  </a:cubicBezTo>
                  <a:lnTo>
                    <a:pt x="2276" y="3577"/>
                  </a:lnTo>
                  <a:lnTo>
                    <a:pt x="2043" y="3387"/>
                  </a:lnTo>
                  <a:cubicBezTo>
                    <a:pt x="2023" y="3361"/>
                    <a:pt x="2004" y="3335"/>
                    <a:pt x="1984" y="3309"/>
                  </a:cubicBezTo>
                  <a:cubicBezTo>
                    <a:pt x="1971" y="3277"/>
                    <a:pt x="1959" y="3245"/>
                    <a:pt x="1946" y="3214"/>
                  </a:cubicBezTo>
                  <a:lnTo>
                    <a:pt x="1829" y="3214"/>
                  </a:lnTo>
                  <a:lnTo>
                    <a:pt x="1693" y="3214"/>
                  </a:lnTo>
                  <a:lnTo>
                    <a:pt x="1634" y="3261"/>
                  </a:lnTo>
                  <a:lnTo>
                    <a:pt x="1537" y="3261"/>
                  </a:lnTo>
                  <a:lnTo>
                    <a:pt x="1342" y="3182"/>
                  </a:lnTo>
                  <a:lnTo>
                    <a:pt x="1089" y="3025"/>
                  </a:lnTo>
                  <a:lnTo>
                    <a:pt x="934" y="2977"/>
                  </a:lnTo>
                  <a:lnTo>
                    <a:pt x="739" y="2930"/>
                  </a:lnTo>
                  <a:lnTo>
                    <a:pt x="642" y="2851"/>
                  </a:lnTo>
                  <a:lnTo>
                    <a:pt x="486" y="2693"/>
                  </a:lnTo>
                  <a:cubicBezTo>
                    <a:pt x="421" y="2599"/>
                    <a:pt x="357" y="2504"/>
                    <a:pt x="292" y="2410"/>
                  </a:cubicBezTo>
                  <a:lnTo>
                    <a:pt x="97" y="2016"/>
                  </a:lnTo>
                  <a:cubicBezTo>
                    <a:pt x="78" y="1880"/>
                    <a:pt x="58" y="1743"/>
                    <a:pt x="39" y="1607"/>
                  </a:cubicBezTo>
                  <a:cubicBezTo>
                    <a:pt x="26" y="1539"/>
                    <a:pt x="13" y="1470"/>
                    <a:pt x="0" y="1402"/>
                  </a:cubicBezTo>
                  <a:cubicBezTo>
                    <a:pt x="13" y="1334"/>
                    <a:pt x="26" y="1265"/>
                    <a:pt x="39" y="1197"/>
                  </a:cubicBezTo>
                  <a:cubicBezTo>
                    <a:pt x="58" y="1145"/>
                    <a:pt x="78" y="1092"/>
                    <a:pt x="97" y="1040"/>
                  </a:cubicBezTo>
                  <a:lnTo>
                    <a:pt x="136" y="929"/>
                  </a:lnTo>
                  <a:lnTo>
                    <a:pt x="253" y="835"/>
                  </a:lnTo>
                  <a:lnTo>
                    <a:pt x="389" y="804"/>
                  </a:lnTo>
                  <a:lnTo>
                    <a:pt x="642" y="804"/>
                  </a:lnTo>
                  <a:lnTo>
                    <a:pt x="934" y="757"/>
                  </a:lnTo>
                  <a:lnTo>
                    <a:pt x="1148" y="725"/>
                  </a:lnTo>
                  <a:cubicBezTo>
                    <a:pt x="1180" y="708"/>
                    <a:pt x="1213" y="693"/>
                    <a:pt x="1245" y="677"/>
                  </a:cubicBezTo>
                  <a:lnTo>
                    <a:pt x="1342" y="599"/>
                  </a:lnTo>
                  <a:lnTo>
                    <a:pt x="1440" y="567"/>
                  </a:lnTo>
                  <a:lnTo>
                    <a:pt x="1537" y="567"/>
                  </a:lnTo>
                  <a:lnTo>
                    <a:pt x="1946" y="567"/>
                  </a:lnTo>
                  <a:lnTo>
                    <a:pt x="2276" y="599"/>
                  </a:lnTo>
                  <a:lnTo>
                    <a:pt x="2490" y="646"/>
                  </a:lnTo>
                  <a:lnTo>
                    <a:pt x="2626" y="725"/>
                  </a:lnTo>
                  <a:lnTo>
                    <a:pt x="2782" y="757"/>
                  </a:lnTo>
                  <a:cubicBezTo>
                    <a:pt x="2814" y="746"/>
                    <a:pt x="2847" y="736"/>
                    <a:pt x="2879" y="725"/>
                  </a:cubicBezTo>
                  <a:lnTo>
                    <a:pt x="2977" y="677"/>
                  </a:lnTo>
                  <a:lnTo>
                    <a:pt x="3132" y="599"/>
                  </a:lnTo>
                  <a:lnTo>
                    <a:pt x="3288" y="520"/>
                  </a:lnTo>
                  <a:cubicBezTo>
                    <a:pt x="3353" y="442"/>
                    <a:pt x="3417" y="362"/>
                    <a:pt x="3482" y="284"/>
                  </a:cubicBezTo>
                  <a:lnTo>
                    <a:pt x="3638" y="78"/>
                  </a:lnTo>
                  <a:lnTo>
                    <a:pt x="3735" y="0"/>
                  </a:lnTo>
                  <a:lnTo>
                    <a:pt x="3638" y="0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  <p:sp>
          <p:nvSpPr>
            <p:cNvPr id="664" name="Freeform 1132"/>
            <p:cNvSpPr>
              <a:spLocks/>
            </p:cNvSpPr>
            <p:nvPr/>
          </p:nvSpPr>
          <p:spPr bwMode="auto">
            <a:xfrm>
              <a:off x="1748709" y="2804579"/>
              <a:ext cx="645985" cy="539496"/>
            </a:xfrm>
            <a:custGeom>
              <a:avLst/>
              <a:gdLst>
                <a:gd name="T0" fmla="*/ 263 w 355"/>
                <a:gd name="T1" fmla="*/ 21 h 297"/>
                <a:gd name="T2" fmla="*/ 240 w 355"/>
                <a:gd name="T3" fmla="*/ 44 h 297"/>
                <a:gd name="T4" fmla="*/ 214 w 355"/>
                <a:gd name="T5" fmla="*/ 31 h 297"/>
                <a:gd name="T6" fmla="*/ 194 w 355"/>
                <a:gd name="T7" fmla="*/ 38 h 297"/>
                <a:gd name="T8" fmla="*/ 156 w 355"/>
                <a:gd name="T9" fmla="*/ 33 h 297"/>
                <a:gd name="T10" fmla="*/ 125 w 355"/>
                <a:gd name="T11" fmla="*/ 10 h 297"/>
                <a:gd name="T12" fmla="*/ 97 w 355"/>
                <a:gd name="T13" fmla="*/ 18 h 297"/>
                <a:gd name="T14" fmla="*/ 71 w 355"/>
                <a:gd name="T15" fmla="*/ 41 h 297"/>
                <a:gd name="T16" fmla="*/ 40 w 355"/>
                <a:gd name="T17" fmla="*/ 31 h 297"/>
                <a:gd name="T18" fmla="*/ 30 w 355"/>
                <a:gd name="T19" fmla="*/ 46 h 297"/>
                <a:gd name="T20" fmla="*/ 5 w 355"/>
                <a:gd name="T21" fmla="*/ 72 h 297"/>
                <a:gd name="T22" fmla="*/ 10 w 355"/>
                <a:gd name="T23" fmla="*/ 79 h 297"/>
                <a:gd name="T24" fmla="*/ 20 w 355"/>
                <a:gd name="T25" fmla="*/ 90 h 297"/>
                <a:gd name="T26" fmla="*/ 38 w 355"/>
                <a:gd name="T27" fmla="*/ 92 h 297"/>
                <a:gd name="T28" fmla="*/ 58 w 355"/>
                <a:gd name="T29" fmla="*/ 120 h 297"/>
                <a:gd name="T30" fmla="*/ 86 w 355"/>
                <a:gd name="T31" fmla="*/ 184 h 297"/>
                <a:gd name="T32" fmla="*/ 97 w 355"/>
                <a:gd name="T33" fmla="*/ 200 h 297"/>
                <a:gd name="T34" fmla="*/ 112 w 355"/>
                <a:gd name="T35" fmla="*/ 220 h 297"/>
                <a:gd name="T36" fmla="*/ 112 w 355"/>
                <a:gd name="T37" fmla="*/ 233 h 297"/>
                <a:gd name="T38" fmla="*/ 130 w 355"/>
                <a:gd name="T39" fmla="*/ 241 h 297"/>
                <a:gd name="T40" fmla="*/ 135 w 355"/>
                <a:gd name="T41" fmla="*/ 266 h 297"/>
                <a:gd name="T42" fmla="*/ 148 w 355"/>
                <a:gd name="T43" fmla="*/ 287 h 297"/>
                <a:gd name="T44" fmla="*/ 156 w 355"/>
                <a:gd name="T45" fmla="*/ 294 h 297"/>
                <a:gd name="T46" fmla="*/ 173 w 355"/>
                <a:gd name="T47" fmla="*/ 279 h 297"/>
                <a:gd name="T48" fmla="*/ 194 w 355"/>
                <a:gd name="T49" fmla="*/ 282 h 297"/>
                <a:gd name="T50" fmla="*/ 214 w 355"/>
                <a:gd name="T51" fmla="*/ 294 h 297"/>
                <a:gd name="T52" fmla="*/ 230 w 355"/>
                <a:gd name="T53" fmla="*/ 276 h 297"/>
                <a:gd name="T54" fmla="*/ 243 w 355"/>
                <a:gd name="T55" fmla="*/ 258 h 297"/>
                <a:gd name="T56" fmla="*/ 250 w 355"/>
                <a:gd name="T57" fmla="*/ 246 h 297"/>
                <a:gd name="T58" fmla="*/ 273 w 355"/>
                <a:gd name="T59" fmla="*/ 269 h 297"/>
                <a:gd name="T60" fmla="*/ 289 w 355"/>
                <a:gd name="T61" fmla="*/ 271 h 297"/>
                <a:gd name="T62" fmla="*/ 296 w 355"/>
                <a:gd name="T63" fmla="*/ 261 h 297"/>
                <a:gd name="T64" fmla="*/ 299 w 355"/>
                <a:gd name="T65" fmla="*/ 248 h 297"/>
                <a:gd name="T66" fmla="*/ 286 w 355"/>
                <a:gd name="T67" fmla="*/ 228 h 297"/>
                <a:gd name="T68" fmla="*/ 301 w 355"/>
                <a:gd name="T69" fmla="*/ 223 h 297"/>
                <a:gd name="T70" fmla="*/ 301 w 355"/>
                <a:gd name="T71" fmla="*/ 212 h 297"/>
                <a:gd name="T72" fmla="*/ 312 w 355"/>
                <a:gd name="T73" fmla="*/ 166 h 297"/>
                <a:gd name="T74" fmla="*/ 330 w 355"/>
                <a:gd name="T75" fmla="*/ 159 h 297"/>
                <a:gd name="T76" fmla="*/ 347 w 355"/>
                <a:gd name="T77" fmla="*/ 143 h 297"/>
                <a:gd name="T78" fmla="*/ 353 w 355"/>
                <a:gd name="T79" fmla="*/ 136 h 297"/>
                <a:gd name="T80" fmla="*/ 345 w 355"/>
                <a:gd name="T81" fmla="*/ 113 h 297"/>
                <a:gd name="T82" fmla="*/ 327 w 355"/>
                <a:gd name="T83" fmla="*/ 100 h 297"/>
                <a:gd name="T84" fmla="*/ 330 w 355"/>
                <a:gd name="T85" fmla="*/ 90 h 297"/>
                <a:gd name="T86" fmla="*/ 332 w 355"/>
                <a:gd name="T87" fmla="*/ 77 h 297"/>
                <a:gd name="T88" fmla="*/ 319 w 355"/>
                <a:gd name="T89" fmla="*/ 56 h 297"/>
                <a:gd name="T90" fmla="*/ 314 w 355"/>
                <a:gd name="T91" fmla="*/ 46 h 297"/>
                <a:gd name="T92" fmla="*/ 289 w 355"/>
                <a:gd name="T93" fmla="*/ 41 h 297"/>
                <a:gd name="T94" fmla="*/ 278 w 355"/>
                <a:gd name="T95" fmla="*/ 26 h 297"/>
                <a:gd name="T96" fmla="*/ 266 w 355"/>
                <a:gd name="T97" fmla="*/ 18 h 29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55"/>
                <a:gd name="T148" fmla="*/ 0 h 297"/>
                <a:gd name="T149" fmla="*/ 355 w 355"/>
                <a:gd name="T150" fmla="*/ 297 h 29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55" h="297">
                  <a:moveTo>
                    <a:pt x="266" y="18"/>
                  </a:moveTo>
                  <a:lnTo>
                    <a:pt x="266" y="18"/>
                  </a:lnTo>
                  <a:lnTo>
                    <a:pt x="263" y="21"/>
                  </a:lnTo>
                  <a:lnTo>
                    <a:pt x="255" y="26"/>
                  </a:lnTo>
                  <a:lnTo>
                    <a:pt x="250" y="33"/>
                  </a:lnTo>
                  <a:lnTo>
                    <a:pt x="245" y="44"/>
                  </a:lnTo>
                  <a:lnTo>
                    <a:pt x="240" y="44"/>
                  </a:lnTo>
                  <a:lnTo>
                    <a:pt x="227" y="36"/>
                  </a:lnTo>
                  <a:lnTo>
                    <a:pt x="222" y="33"/>
                  </a:lnTo>
                  <a:lnTo>
                    <a:pt x="214" y="31"/>
                  </a:lnTo>
                  <a:lnTo>
                    <a:pt x="207" y="33"/>
                  </a:lnTo>
                  <a:lnTo>
                    <a:pt x="199" y="36"/>
                  </a:lnTo>
                  <a:lnTo>
                    <a:pt x="194" y="38"/>
                  </a:lnTo>
                  <a:lnTo>
                    <a:pt x="186" y="41"/>
                  </a:lnTo>
                  <a:lnTo>
                    <a:pt x="171" y="38"/>
                  </a:lnTo>
                  <a:lnTo>
                    <a:pt x="156" y="33"/>
                  </a:lnTo>
                  <a:lnTo>
                    <a:pt x="143" y="26"/>
                  </a:lnTo>
                  <a:lnTo>
                    <a:pt x="130" y="18"/>
                  </a:lnTo>
                  <a:lnTo>
                    <a:pt x="125" y="10"/>
                  </a:lnTo>
                  <a:lnTo>
                    <a:pt x="120" y="5"/>
                  </a:lnTo>
                  <a:lnTo>
                    <a:pt x="112" y="0"/>
                  </a:lnTo>
                  <a:lnTo>
                    <a:pt x="97" y="18"/>
                  </a:lnTo>
                  <a:lnTo>
                    <a:pt x="81" y="33"/>
                  </a:lnTo>
                  <a:lnTo>
                    <a:pt x="71" y="41"/>
                  </a:lnTo>
                  <a:lnTo>
                    <a:pt x="66" y="44"/>
                  </a:lnTo>
                  <a:lnTo>
                    <a:pt x="61" y="38"/>
                  </a:lnTo>
                  <a:lnTo>
                    <a:pt x="53" y="33"/>
                  </a:lnTo>
                  <a:lnTo>
                    <a:pt x="40" y="31"/>
                  </a:lnTo>
                  <a:lnTo>
                    <a:pt x="35" y="33"/>
                  </a:lnTo>
                  <a:lnTo>
                    <a:pt x="33" y="36"/>
                  </a:lnTo>
                  <a:lnTo>
                    <a:pt x="30" y="46"/>
                  </a:lnTo>
                  <a:lnTo>
                    <a:pt x="30" y="51"/>
                  </a:lnTo>
                  <a:lnTo>
                    <a:pt x="25" y="59"/>
                  </a:lnTo>
                  <a:lnTo>
                    <a:pt x="17" y="64"/>
                  </a:lnTo>
                  <a:lnTo>
                    <a:pt x="5" y="72"/>
                  </a:lnTo>
                  <a:lnTo>
                    <a:pt x="0" y="72"/>
                  </a:lnTo>
                  <a:lnTo>
                    <a:pt x="5" y="74"/>
                  </a:lnTo>
                  <a:lnTo>
                    <a:pt x="10" y="79"/>
                  </a:lnTo>
                  <a:lnTo>
                    <a:pt x="12" y="85"/>
                  </a:lnTo>
                  <a:lnTo>
                    <a:pt x="15" y="90"/>
                  </a:lnTo>
                  <a:lnTo>
                    <a:pt x="20" y="90"/>
                  </a:lnTo>
                  <a:lnTo>
                    <a:pt x="28" y="92"/>
                  </a:lnTo>
                  <a:lnTo>
                    <a:pt x="33" y="92"/>
                  </a:lnTo>
                  <a:lnTo>
                    <a:pt x="38" y="92"/>
                  </a:lnTo>
                  <a:lnTo>
                    <a:pt x="46" y="97"/>
                  </a:lnTo>
                  <a:lnTo>
                    <a:pt x="51" y="105"/>
                  </a:lnTo>
                  <a:lnTo>
                    <a:pt x="58" y="120"/>
                  </a:lnTo>
                  <a:lnTo>
                    <a:pt x="71" y="143"/>
                  </a:lnTo>
                  <a:lnTo>
                    <a:pt x="84" y="169"/>
                  </a:lnTo>
                  <a:lnTo>
                    <a:pt x="86" y="184"/>
                  </a:lnTo>
                  <a:lnTo>
                    <a:pt x="89" y="189"/>
                  </a:lnTo>
                  <a:lnTo>
                    <a:pt x="97" y="192"/>
                  </a:lnTo>
                  <a:lnTo>
                    <a:pt x="97" y="200"/>
                  </a:lnTo>
                  <a:lnTo>
                    <a:pt x="99" y="205"/>
                  </a:lnTo>
                  <a:lnTo>
                    <a:pt x="104" y="212"/>
                  </a:lnTo>
                  <a:lnTo>
                    <a:pt x="110" y="218"/>
                  </a:lnTo>
                  <a:lnTo>
                    <a:pt x="112" y="220"/>
                  </a:lnTo>
                  <a:lnTo>
                    <a:pt x="112" y="225"/>
                  </a:lnTo>
                  <a:lnTo>
                    <a:pt x="112" y="233"/>
                  </a:lnTo>
                  <a:lnTo>
                    <a:pt x="115" y="235"/>
                  </a:lnTo>
                  <a:lnTo>
                    <a:pt x="117" y="238"/>
                  </a:lnTo>
                  <a:lnTo>
                    <a:pt x="130" y="241"/>
                  </a:lnTo>
                  <a:lnTo>
                    <a:pt x="127" y="258"/>
                  </a:lnTo>
                  <a:lnTo>
                    <a:pt x="130" y="264"/>
                  </a:lnTo>
                  <a:lnTo>
                    <a:pt x="135" y="266"/>
                  </a:lnTo>
                  <a:lnTo>
                    <a:pt x="145" y="274"/>
                  </a:lnTo>
                  <a:lnTo>
                    <a:pt x="148" y="279"/>
                  </a:lnTo>
                  <a:lnTo>
                    <a:pt x="148" y="287"/>
                  </a:lnTo>
                  <a:lnTo>
                    <a:pt x="150" y="294"/>
                  </a:lnTo>
                  <a:lnTo>
                    <a:pt x="153" y="297"/>
                  </a:lnTo>
                  <a:lnTo>
                    <a:pt x="156" y="294"/>
                  </a:lnTo>
                  <a:lnTo>
                    <a:pt x="161" y="289"/>
                  </a:lnTo>
                  <a:lnTo>
                    <a:pt x="163" y="282"/>
                  </a:lnTo>
                  <a:lnTo>
                    <a:pt x="173" y="279"/>
                  </a:lnTo>
                  <a:lnTo>
                    <a:pt x="184" y="279"/>
                  </a:lnTo>
                  <a:lnTo>
                    <a:pt x="191" y="279"/>
                  </a:lnTo>
                  <a:lnTo>
                    <a:pt x="194" y="282"/>
                  </a:lnTo>
                  <a:lnTo>
                    <a:pt x="202" y="287"/>
                  </a:lnTo>
                  <a:lnTo>
                    <a:pt x="207" y="292"/>
                  </a:lnTo>
                  <a:lnTo>
                    <a:pt x="209" y="294"/>
                  </a:lnTo>
                  <a:lnTo>
                    <a:pt x="214" y="294"/>
                  </a:lnTo>
                  <a:lnTo>
                    <a:pt x="217" y="289"/>
                  </a:lnTo>
                  <a:lnTo>
                    <a:pt x="220" y="284"/>
                  </a:lnTo>
                  <a:lnTo>
                    <a:pt x="230" y="276"/>
                  </a:lnTo>
                  <a:lnTo>
                    <a:pt x="237" y="269"/>
                  </a:lnTo>
                  <a:lnTo>
                    <a:pt x="243" y="264"/>
                  </a:lnTo>
                  <a:lnTo>
                    <a:pt x="243" y="258"/>
                  </a:lnTo>
                  <a:lnTo>
                    <a:pt x="243" y="253"/>
                  </a:lnTo>
                  <a:lnTo>
                    <a:pt x="245" y="248"/>
                  </a:lnTo>
                  <a:lnTo>
                    <a:pt x="250" y="246"/>
                  </a:lnTo>
                  <a:lnTo>
                    <a:pt x="253" y="248"/>
                  </a:lnTo>
                  <a:lnTo>
                    <a:pt x="258" y="251"/>
                  </a:lnTo>
                  <a:lnTo>
                    <a:pt x="266" y="258"/>
                  </a:lnTo>
                  <a:lnTo>
                    <a:pt x="273" y="269"/>
                  </a:lnTo>
                  <a:lnTo>
                    <a:pt x="278" y="271"/>
                  </a:lnTo>
                  <a:lnTo>
                    <a:pt x="286" y="271"/>
                  </a:lnTo>
                  <a:lnTo>
                    <a:pt x="289" y="271"/>
                  </a:lnTo>
                  <a:lnTo>
                    <a:pt x="291" y="269"/>
                  </a:lnTo>
                  <a:lnTo>
                    <a:pt x="294" y="264"/>
                  </a:lnTo>
                  <a:lnTo>
                    <a:pt x="296" y="261"/>
                  </a:lnTo>
                  <a:lnTo>
                    <a:pt x="299" y="256"/>
                  </a:lnTo>
                  <a:lnTo>
                    <a:pt x="299" y="248"/>
                  </a:lnTo>
                  <a:lnTo>
                    <a:pt x="296" y="243"/>
                  </a:lnTo>
                  <a:lnTo>
                    <a:pt x="294" y="238"/>
                  </a:lnTo>
                  <a:lnTo>
                    <a:pt x="289" y="233"/>
                  </a:lnTo>
                  <a:lnTo>
                    <a:pt x="286" y="228"/>
                  </a:lnTo>
                  <a:lnTo>
                    <a:pt x="294" y="228"/>
                  </a:lnTo>
                  <a:lnTo>
                    <a:pt x="299" y="225"/>
                  </a:lnTo>
                  <a:lnTo>
                    <a:pt x="301" y="223"/>
                  </a:lnTo>
                  <a:lnTo>
                    <a:pt x="301" y="220"/>
                  </a:lnTo>
                  <a:lnTo>
                    <a:pt x="301" y="215"/>
                  </a:lnTo>
                  <a:lnTo>
                    <a:pt x="301" y="212"/>
                  </a:lnTo>
                  <a:lnTo>
                    <a:pt x="301" y="205"/>
                  </a:lnTo>
                  <a:lnTo>
                    <a:pt x="304" y="187"/>
                  </a:lnTo>
                  <a:lnTo>
                    <a:pt x="312" y="166"/>
                  </a:lnTo>
                  <a:lnTo>
                    <a:pt x="317" y="166"/>
                  </a:lnTo>
                  <a:lnTo>
                    <a:pt x="324" y="166"/>
                  </a:lnTo>
                  <a:lnTo>
                    <a:pt x="330" y="159"/>
                  </a:lnTo>
                  <a:lnTo>
                    <a:pt x="335" y="154"/>
                  </a:lnTo>
                  <a:lnTo>
                    <a:pt x="340" y="146"/>
                  </a:lnTo>
                  <a:lnTo>
                    <a:pt x="347" y="143"/>
                  </a:lnTo>
                  <a:lnTo>
                    <a:pt x="353" y="141"/>
                  </a:lnTo>
                  <a:lnTo>
                    <a:pt x="355" y="136"/>
                  </a:lnTo>
                  <a:lnTo>
                    <a:pt x="353" y="136"/>
                  </a:lnTo>
                  <a:lnTo>
                    <a:pt x="350" y="133"/>
                  </a:lnTo>
                  <a:lnTo>
                    <a:pt x="347" y="128"/>
                  </a:lnTo>
                  <a:lnTo>
                    <a:pt x="347" y="120"/>
                  </a:lnTo>
                  <a:lnTo>
                    <a:pt x="345" y="113"/>
                  </a:lnTo>
                  <a:lnTo>
                    <a:pt x="342" y="108"/>
                  </a:lnTo>
                  <a:lnTo>
                    <a:pt x="335" y="105"/>
                  </a:lnTo>
                  <a:lnTo>
                    <a:pt x="327" y="100"/>
                  </a:lnTo>
                  <a:lnTo>
                    <a:pt x="324" y="97"/>
                  </a:lnTo>
                  <a:lnTo>
                    <a:pt x="324" y="92"/>
                  </a:lnTo>
                  <a:lnTo>
                    <a:pt x="330" y="90"/>
                  </a:lnTo>
                  <a:lnTo>
                    <a:pt x="332" y="87"/>
                  </a:lnTo>
                  <a:lnTo>
                    <a:pt x="332" y="82"/>
                  </a:lnTo>
                  <a:lnTo>
                    <a:pt x="332" y="77"/>
                  </a:lnTo>
                  <a:lnTo>
                    <a:pt x="327" y="72"/>
                  </a:lnTo>
                  <a:lnTo>
                    <a:pt x="322" y="64"/>
                  </a:lnTo>
                  <a:lnTo>
                    <a:pt x="319" y="56"/>
                  </a:lnTo>
                  <a:lnTo>
                    <a:pt x="319" y="51"/>
                  </a:lnTo>
                  <a:lnTo>
                    <a:pt x="322" y="49"/>
                  </a:lnTo>
                  <a:lnTo>
                    <a:pt x="314" y="46"/>
                  </a:lnTo>
                  <a:lnTo>
                    <a:pt x="307" y="46"/>
                  </a:lnTo>
                  <a:lnTo>
                    <a:pt x="296" y="44"/>
                  </a:lnTo>
                  <a:lnTo>
                    <a:pt x="289" y="41"/>
                  </a:lnTo>
                  <a:lnTo>
                    <a:pt x="286" y="38"/>
                  </a:lnTo>
                  <a:lnTo>
                    <a:pt x="283" y="33"/>
                  </a:lnTo>
                  <a:lnTo>
                    <a:pt x="281" y="28"/>
                  </a:lnTo>
                  <a:lnTo>
                    <a:pt x="278" y="26"/>
                  </a:lnTo>
                  <a:lnTo>
                    <a:pt x="268" y="21"/>
                  </a:lnTo>
                  <a:lnTo>
                    <a:pt x="266" y="18"/>
                  </a:lnTo>
                  <a:close/>
                </a:path>
              </a:pathLst>
            </a:custGeom>
            <a:solidFill>
              <a:schemeClr val="bg1">
                <a:lumMod val="20000"/>
                <a:lumOff val="80000"/>
              </a:schemeClr>
            </a:solidFill>
            <a:ln w="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en-US" sz="941" dirty="0">
                <a:solidFill>
                  <a:srgbClr val="646464"/>
                </a:solidFill>
              </a:endParaRPr>
            </a:p>
          </p:txBody>
        </p:sp>
      </p:grpSp>
      <p:cxnSp>
        <p:nvCxnSpPr>
          <p:cNvPr id="780" name="Straight Connector 779"/>
          <p:cNvCxnSpPr>
            <a:stCxn id="721" idx="3"/>
            <a:endCxn id="624" idx="47"/>
          </p:cNvCxnSpPr>
          <p:nvPr/>
        </p:nvCxnSpPr>
        <p:spPr bwMode="gray">
          <a:xfrm flipV="1">
            <a:off x="3416969" y="2247207"/>
            <a:ext cx="792626" cy="262168"/>
          </a:xfrm>
          <a:prstGeom prst="line">
            <a:avLst/>
          </a:prstGeom>
          <a:noFill/>
          <a:ln w="12700">
            <a:solidFill>
              <a:schemeClr val="accent1"/>
            </a:solidFill>
            <a:miter lim="800000"/>
            <a:headEnd/>
            <a:tailEnd type="none" w="med" len="med"/>
          </a:ln>
          <a:effectLst/>
        </p:spPr>
      </p:cxnSp>
      <p:cxnSp>
        <p:nvCxnSpPr>
          <p:cNvPr id="789" name="Straight Connector 788"/>
          <p:cNvCxnSpPr>
            <a:stCxn id="742" idx="1"/>
            <a:endCxn id="875" idx="0"/>
          </p:cNvCxnSpPr>
          <p:nvPr/>
        </p:nvCxnSpPr>
        <p:spPr bwMode="gray">
          <a:xfrm flipH="1">
            <a:off x="4157577" y="2456973"/>
            <a:ext cx="695843" cy="506014"/>
          </a:xfrm>
          <a:prstGeom prst="line">
            <a:avLst/>
          </a:prstGeom>
          <a:noFill/>
          <a:ln w="12700">
            <a:solidFill>
              <a:schemeClr val="accent1"/>
            </a:solidFill>
            <a:miter lim="800000"/>
            <a:headEnd/>
            <a:tailEnd type="none" w="med" len="med"/>
          </a:ln>
          <a:effectLst/>
        </p:spPr>
      </p:cxnSp>
      <p:cxnSp>
        <p:nvCxnSpPr>
          <p:cNvPr id="798" name="Straight Connector 797"/>
          <p:cNvCxnSpPr>
            <a:stCxn id="745" idx="0"/>
          </p:cNvCxnSpPr>
          <p:nvPr/>
        </p:nvCxnSpPr>
        <p:spPr bwMode="gray">
          <a:xfrm flipV="1">
            <a:off x="5623938" y="4806893"/>
            <a:ext cx="555952" cy="425279"/>
          </a:xfrm>
          <a:prstGeom prst="line">
            <a:avLst/>
          </a:prstGeom>
          <a:noFill/>
          <a:ln w="12700">
            <a:solidFill>
              <a:schemeClr val="accent1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848" name="Rectangle 847"/>
          <p:cNvSpPr/>
          <p:nvPr/>
        </p:nvSpPr>
        <p:spPr bwMode="auto">
          <a:xfrm>
            <a:off x="7473465" y="1453179"/>
            <a:ext cx="3123267" cy="4954816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txBody>
          <a:bodyPr rot="0" spcFirstLastPara="0" vertOverflow="overflow" horzOverflow="overflow" vert="horz" wrap="square" lIns="117286" tIns="117286" rIns="117286" bIns="11728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ts val="513"/>
              </a:spcAft>
            </a:pPr>
            <a:endParaRPr lang="en-US" sz="855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75" name="5-Point Star 874"/>
          <p:cNvSpPr/>
          <p:nvPr/>
        </p:nvSpPr>
        <p:spPr bwMode="auto">
          <a:xfrm>
            <a:off x="4059838" y="2962988"/>
            <a:ext cx="195477" cy="195477"/>
          </a:xfrm>
          <a:prstGeom prst="star5">
            <a:avLst/>
          </a:prstGeom>
          <a:solidFill>
            <a:srgbClr val="F04C3E"/>
          </a:solidFill>
          <a:ln>
            <a:noFill/>
          </a:ln>
        </p:spPr>
        <p:txBody>
          <a:bodyPr rot="0" spcFirstLastPara="0" vertOverflow="overflow" horzOverflow="overflow" vert="horz" wrap="square" lIns="117286" tIns="117286" rIns="117286" bIns="11728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ts val="513"/>
              </a:spcAft>
            </a:pPr>
            <a:endParaRPr lang="en-US" sz="855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1536" y="1475779"/>
            <a:ext cx="234575" cy="234573"/>
          </a:xfrm>
          <a:prstGeom prst="rect">
            <a:avLst/>
          </a:prstGeom>
        </p:spPr>
      </p:pic>
      <p:sp>
        <p:nvSpPr>
          <p:cNvPr id="775" name="TextBox 774"/>
          <p:cNvSpPr txBox="1"/>
          <p:nvPr/>
        </p:nvSpPr>
        <p:spPr>
          <a:xfrm>
            <a:off x="7879727" y="1456456"/>
            <a:ext cx="1992525" cy="175467"/>
          </a:xfrm>
          <a:prstGeom prst="rect">
            <a:avLst/>
          </a:prstGeom>
          <a:noFill/>
        </p:spPr>
        <p:txBody>
          <a:bodyPr wrap="square" lIns="0" tIns="31276" rIns="0" bIns="0" rtlCol="0"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50000"/>
              </a:spcBef>
              <a:spcAft>
                <a:spcPts val="513"/>
              </a:spcAft>
              <a:buClr>
                <a:srgbClr val="FFE600"/>
              </a:buClr>
              <a:buSzPct val="70000"/>
            </a:pPr>
            <a:r>
              <a:rPr lang="ru-RU" sz="1100" b="1" dirty="0">
                <a:solidFill>
                  <a:srgbClr val="646464"/>
                </a:solidFill>
                <a:latin typeface="EYInterstate Light" panose="02000506000000020004" pitchFamily="2" charset="0"/>
              </a:rPr>
              <a:t>Сырьевая база</a:t>
            </a:r>
            <a:endParaRPr lang="en-US" sz="1100" b="1" dirty="0">
              <a:solidFill>
                <a:srgbClr val="646464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776" name="TextBox 775"/>
          <p:cNvSpPr txBox="1"/>
          <p:nvPr/>
        </p:nvSpPr>
        <p:spPr>
          <a:xfrm>
            <a:off x="7879727" y="2092274"/>
            <a:ext cx="2380085" cy="319353"/>
          </a:xfrm>
          <a:prstGeom prst="rect">
            <a:avLst/>
          </a:prstGeom>
          <a:noFill/>
        </p:spPr>
        <p:txBody>
          <a:bodyPr wrap="square" lIns="0" tIns="31276" rIns="0" bIns="0" rtlCol="0"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50000"/>
              </a:spcBef>
              <a:spcAft>
                <a:spcPts val="513"/>
              </a:spcAft>
              <a:buClr>
                <a:srgbClr val="FFE600"/>
              </a:buClr>
              <a:buSzPct val="70000"/>
            </a:pPr>
            <a:r>
              <a:rPr lang="ru-RU" sz="1100" b="1" dirty="0">
                <a:solidFill>
                  <a:srgbClr val="646464"/>
                </a:solidFill>
                <a:latin typeface="EYInterstate Light" panose="02000506000000020004" pitchFamily="2" charset="0"/>
              </a:rPr>
              <a:t>Инвестиционный климат/истории успеха</a:t>
            </a:r>
            <a:endParaRPr lang="en-US" sz="1100" b="1" dirty="0">
              <a:solidFill>
                <a:srgbClr val="646464"/>
              </a:solidFill>
              <a:latin typeface="EYInterstate Light" panose="02000506000000020004" pitchFamily="2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1536" y="2144743"/>
            <a:ext cx="234573" cy="234573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1536" y="3109853"/>
            <a:ext cx="234573" cy="234573"/>
          </a:xfrm>
          <a:prstGeom prst="rect">
            <a:avLst/>
          </a:prstGeom>
        </p:spPr>
      </p:pic>
      <p:sp>
        <p:nvSpPr>
          <p:cNvPr id="777" name="TextBox 776"/>
          <p:cNvSpPr txBox="1"/>
          <p:nvPr/>
        </p:nvSpPr>
        <p:spPr>
          <a:xfrm>
            <a:off x="7879727" y="3137918"/>
            <a:ext cx="2438433" cy="175467"/>
          </a:xfrm>
          <a:prstGeom prst="rect">
            <a:avLst/>
          </a:prstGeom>
          <a:noFill/>
        </p:spPr>
        <p:txBody>
          <a:bodyPr wrap="square" lIns="0" tIns="31276" rIns="0" bIns="0" rtlCol="0">
            <a:spAutoFit/>
          </a:bodyPr>
          <a:lstStyle>
            <a:defPPr>
              <a:defRPr lang="en-US"/>
            </a:defPPr>
            <a:lvl1pPr eaLnBrk="0" fontAlgn="base" hangingPunct="0">
              <a:lnSpc>
                <a:spcPct val="85000"/>
              </a:lnSpc>
              <a:spcBef>
                <a:spcPct val="50000"/>
              </a:spcBef>
              <a:spcAft>
                <a:spcPts val="513"/>
              </a:spcAft>
              <a:buClr>
                <a:srgbClr val="FFE600"/>
              </a:buClr>
              <a:buSzPct val="70000"/>
              <a:defRPr sz="1100" b="1">
                <a:solidFill>
                  <a:srgbClr val="646464"/>
                </a:solidFill>
                <a:latin typeface="EYInterstate Light" panose="02000506000000020004" pitchFamily="2" charset="0"/>
              </a:defRPr>
            </a:lvl1pPr>
          </a:lstStyle>
          <a:p>
            <a:r>
              <a:rPr lang="ru-RU" dirty="0"/>
              <a:t>Инвестиционная инфраструктура</a:t>
            </a:r>
            <a:endParaRPr lang="en-US" dirty="0"/>
          </a:p>
        </p:txBody>
      </p:sp>
      <p:sp>
        <p:nvSpPr>
          <p:cNvPr id="781" name="TextBox 780"/>
          <p:cNvSpPr txBox="1"/>
          <p:nvPr/>
        </p:nvSpPr>
        <p:spPr>
          <a:xfrm>
            <a:off x="7879726" y="5800470"/>
            <a:ext cx="2046990" cy="175467"/>
          </a:xfrm>
          <a:prstGeom prst="rect">
            <a:avLst/>
          </a:prstGeom>
          <a:noFill/>
        </p:spPr>
        <p:txBody>
          <a:bodyPr wrap="square" lIns="0" tIns="31276" rIns="0" bIns="0" rtlCol="0">
            <a:spAutoFit/>
          </a:bodyPr>
          <a:lstStyle>
            <a:defPPr>
              <a:defRPr lang="en-US"/>
            </a:defPPr>
            <a:lvl1pPr eaLnBrk="0" fontAlgn="base" hangingPunct="0">
              <a:lnSpc>
                <a:spcPct val="85000"/>
              </a:lnSpc>
              <a:spcBef>
                <a:spcPct val="50000"/>
              </a:spcBef>
              <a:spcAft>
                <a:spcPts val="513"/>
              </a:spcAft>
              <a:buClr>
                <a:srgbClr val="FFE600"/>
              </a:buClr>
              <a:buSzPct val="70000"/>
              <a:defRPr sz="1100" b="1">
                <a:solidFill>
                  <a:srgbClr val="646464"/>
                </a:solidFill>
                <a:latin typeface="EYInterstate Light" panose="02000506000000020004" pitchFamily="2" charset="0"/>
              </a:defRPr>
            </a:lvl1pPr>
          </a:lstStyle>
          <a:p>
            <a:r>
              <a:rPr lang="ru-RU" dirty="0"/>
              <a:t>Логистика до рынков </a:t>
            </a:r>
            <a:r>
              <a:rPr lang="ru-RU" dirty="0"/>
              <a:t>сбыта</a:t>
            </a:r>
            <a:endParaRPr lang="en-US" dirty="0"/>
          </a:p>
        </p:txBody>
      </p:sp>
      <p:sp>
        <p:nvSpPr>
          <p:cNvPr id="782" name="TextBox 781"/>
          <p:cNvSpPr txBox="1"/>
          <p:nvPr/>
        </p:nvSpPr>
        <p:spPr>
          <a:xfrm>
            <a:off x="7879726" y="4203583"/>
            <a:ext cx="2046990" cy="175467"/>
          </a:xfrm>
          <a:prstGeom prst="rect">
            <a:avLst/>
          </a:prstGeom>
          <a:noFill/>
        </p:spPr>
        <p:txBody>
          <a:bodyPr wrap="square" lIns="0" tIns="31276" rIns="0" bIns="0" rtlCol="0">
            <a:spAutoFit/>
          </a:bodyPr>
          <a:lstStyle>
            <a:defPPr>
              <a:defRPr lang="en-US"/>
            </a:defPPr>
            <a:lvl1pPr eaLnBrk="0" fontAlgn="base" hangingPunct="0">
              <a:lnSpc>
                <a:spcPct val="85000"/>
              </a:lnSpc>
              <a:spcBef>
                <a:spcPct val="50000"/>
              </a:spcBef>
              <a:spcAft>
                <a:spcPts val="513"/>
              </a:spcAft>
              <a:buClr>
                <a:srgbClr val="FFE600"/>
              </a:buClr>
              <a:buSzPct val="70000"/>
              <a:defRPr sz="1100" b="1">
                <a:solidFill>
                  <a:srgbClr val="646464"/>
                </a:solidFill>
                <a:latin typeface="EYInterstate Light" panose="02000506000000020004" pitchFamily="2" charset="0"/>
              </a:defRPr>
            </a:lvl1pPr>
          </a:lstStyle>
          <a:p>
            <a:r>
              <a:rPr lang="ru-RU" dirty="0"/>
              <a:t>Кадровые ресурсы</a:t>
            </a:r>
            <a:endParaRPr lang="en-US" dirty="0"/>
          </a:p>
        </p:txBody>
      </p:sp>
      <p:sp>
        <p:nvSpPr>
          <p:cNvPr id="783" name="TextBox 782"/>
          <p:cNvSpPr txBox="1"/>
          <p:nvPr/>
        </p:nvSpPr>
        <p:spPr>
          <a:xfrm>
            <a:off x="7879726" y="5120284"/>
            <a:ext cx="2046990" cy="175467"/>
          </a:xfrm>
          <a:prstGeom prst="rect">
            <a:avLst/>
          </a:prstGeom>
          <a:noFill/>
        </p:spPr>
        <p:txBody>
          <a:bodyPr wrap="square" lIns="0" tIns="31276" rIns="0" bIns="0" rtlCol="0">
            <a:spAutoFit/>
          </a:bodyPr>
          <a:lstStyle>
            <a:defPPr>
              <a:defRPr lang="en-US"/>
            </a:defPPr>
            <a:lvl1pPr eaLnBrk="0" fontAlgn="base" hangingPunct="0">
              <a:lnSpc>
                <a:spcPct val="85000"/>
              </a:lnSpc>
              <a:spcBef>
                <a:spcPct val="50000"/>
              </a:spcBef>
              <a:spcAft>
                <a:spcPts val="513"/>
              </a:spcAft>
              <a:buClr>
                <a:srgbClr val="FFE600"/>
              </a:buClr>
              <a:buSzPct val="70000"/>
              <a:defRPr sz="1100" b="1">
                <a:solidFill>
                  <a:srgbClr val="646464"/>
                </a:solidFill>
                <a:latin typeface="EYInterstate Light" panose="02000506000000020004" pitchFamily="2" charset="0"/>
              </a:defRPr>
            </a:lvl1pPr>
          </a:lstStyle>
          <a:p>
            <a:r>
              <a:rPr lang="ru-RU" dirty="0"/>
              <a:t>Качество жизни</a:t>
            </a:r>
            <a:endParaRPr lang="en-US" dirty="0"/>
          </a:p>
        </p:txBody>
      </p:sp>
      <p:pic>
        <p:nvPicPr>
          <p:cNvPr id="68" name="Picture 67"/>
          <p:cNvPicPr>
            <a:picLocks noChangeAspect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1536" y="5780864"/>
            <a:ext cx="250211" cy="250211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1536" y="4182658"/>
            <a:ext cx="234573" cy="234573"/>
          </a:xfrm>
          <a:prstGeom prst="rect">
            <a:avLst/>
          </a:prstGeom>
        </p:spPr>
      </p:pic>
      <p:pic>
        <p:nvPicPr>
          <p:cNvPr id="353" name="Picture 352"/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1536" y="5098671"/>
            <a:ext cx="234573" cy="234573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1899508" y="3143148"/>
            <a:ext cx="1524724" cy="887104"/>
            <a:chOff x="230393" y="3889643"/>
            <a:chExt cx="1783080" cy="1037419"/>
          </a:xfrm>
        </p:grpSpPr>
        <p:cxnSp>
          <p:nvCxnSpPr>
            <p:cNvPr id="771" name="Straight Connector 770"/>
            <p:cNvCxnSpPr>
              <a:stCxn id="6" idx="2"/>
            </p:cNvCxnSpPr>
            <p:nvPr/>
          </p:nvCxnSpPr>
          <p:spPr bwMode="gray">
            <a:xfrm>
              <a:off x="1121933" y="4721747"/>
              <a:ext cx="742447" cy="20531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 type="none" w="med" len="med"/>
            </a:ln>
            <a:effectLst/>
          </p:spPr>
        </p:cxnSp>
        <p:grpSp>
          <p:nvGrpSpPr>
            <p:cNvPr id="10" name="Group 9"/>
            <p:cNvGrpSpPr/>
            <p:nvPr/>
          </p:nvGrpSpPr>
          <p:grpSpPr>
            <a:xfrm>
              <a:off x="230393" y="3889643"/>
              <a:ext cx="1783080" cy="832104"/>
              <a:chOff x="745368" y="3832808"/>
              <a:chExt cx="1783080" cy="832104"/>
            </a:xfrm>
          </p:grpSpPr>
          <p:sp>
            <p:nvSpPr>
              <p:cNvPr id="6" name="Rectangle 5"/>
              <p:cNvSpPr/>
              <p:nvPr/>
            </p:nvSpPr>
            <p:spPr bwMode="auto">
              <a:xfrm>
                <a:off x="745368" y="3832808"/>
                <a:ext cx="1783080" cy="832104"/>
              </a:xfrm>
              <a:prstGeom prst="rect">
                <a:avLst/>
              </a:prstGeom>
              <a:solidFill>
                <a:srgbClr val="FFFFFF">
                  <a:alpha val="69804"/>
                </a:srgbClr>
              </a:solidFill>
              <a:ln>
                <a:solidFill>
                  <a:schemeClr val="bg1">
                    <a:lumMod val="40000"/>
                    <a:lumOff val="60000"/>
                  </a:schemeClr>
                </a:solidFill>
              </a:ln>
            </p:spPr>
            <p:txBody>
              <a:bodyPr rot="0" spcFirstLastPara="0" vertOverflow="overflow" horzOverflow="overflow" vert="horz" wrap="square" lIns="117286" tIns="117286" rIns="117286" bIns="11728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eaLnBrk="0" fontAlgn="base" hangingPunct="0">
                  <a:spcAft>
                    <a:spcPts val="513"/>
                  </a:spcAft>
                </a:pPr>
                <a:endParaRPr lang="en-US" sz="855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7" name="TextBox 6"/>
              <p:cNvSpPr txBox="1"/>
              <p:nvPr/>
            </p:nvSpPr>
            <p:spPr>
              <a:xfrm>
                <a:off x="782283" y="3856885"/>
                <a:ext cx="1286880" cy="215433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eaLnBrk="0" fontAlgn="base" hangingPunct="0">
                  <a:spcAft>
                    <a:spcPts val="513"/>
                  </a:spcAft>
                  <a:buClr>
                    <a:srgbClr val="808080"/>
                  </a:buClr>
                  <a:buSzPct val="70000"/>
                </a:pPr>
                <a:r>
                  <a:rPr lang="ru-RU" sz="1197" b="1" kern="0" dirty="0">
                    <a:solidFill>
                      <a:srgbClr val="646464"/>
                    </a:solidFill>
                  </a:rPr>
                  <a:t>Краснодар</a:t>
                </a:r>
                <a:endParaRPr lang="en-US" sz="1197" b="1" kern="0" dirty="0">
                  <a:solidFill>
                    <a:srgbClr val="646464"/>
                  </a:solidFill>
                </a:endParaRPr>
              </a:p>
            </p:txBody>
          </p:sp>
        </p:grpSp>
      </p:grpSp>
      <p:grpSp>
        <p:nvGrpSpPr>
          <p:cNvPr id="738" name="Group 737"/>
          <p:cNvGrpSpPr/>
          <p:nvPr/>
        </p:nvGrpSpPr>
        <p:grpSpPr>
          <a:xfrm>
            <a:off x="4853419" y="2101204"/>
            <a:ext cx="1524724" cy="711538"/>
            <a:chOff x="-368608" y="1574815"/>
            <a:chExt cx="1783080" cy="832104"/>
          </a:xfrm>
        </p:grpSpPr>
        <p:sp>
          <p:nvSpPr>
            <p:cNvPr id="742" name="Rectangle 741"/>
            <p:cNvSpPr/>
            <p:nvPr/>
          </p:nvSpPr>
          <p:spPr bwMode="auto">
            <a:xfrm>
              <a:off x="-368608" y="1574815"/>
              <a:ext cx="1783080" cy="832104"/>
            </a:xfrm>
            <a:prstGeom prst="rect">
              <a:avLst/>
            </a:prstGeom>
            <a:solidFill>
              <a:srgbClr val="FFFFFF">
                <a:alpha val="69804"/>
              </a:srgbClr>
            </a:solidFill>
            <a:ln>
              <a:solidFill>
                <a:schemeClr val="bg1">
                  <a:lumMod val="40000"/>
                  <a:lumOff val="60000"/>
                </a:schemeClr>
              </a:solidFill>
            </a:ln>
          </p:spPr>
          <p:txBody>
            <a:bodyPr rot="0" spcFirstLastPara="0" vertOverflow="overflow" horzOverflow="overflow" vert="horz" wrap="square" lIns="117286" tIns="117286" rIns="117286" bIns="11728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eaLnBrk="0" fontAlgn="base" hangingPunct="0">
                <a:spcAft>
                  <a:spcPts val="513"/>
                </a:spcAft>
              </a:pPr>
              <a:endParaRPr lang="en-US" sz="855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3" name="TextBox 742"/>
            <p:cNvSpPr txBox="1"/>
            <p:nvPr/>
          </p:nvSpPr>
          <p:spPr>
            <a:xfrm>
              <a:off x="-331927" y="1579780"/>
              <a:ext cx="1228549" cy="215433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>
              <a:defPPr>
                <a:defRPr lang="en-GB"/>
              </a:defPPr>
              <a:lvl1pPr algn="l"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SzPct val="70000"/>
                <a:defRPr sz="1600" b="1" kern="0"/>
              </a:lvl1pPr>
            </a:lstStyle>
            <a:p>
              <a:pPr eaLnBrk="0" fontAlgn="base" hangingPunct="0">
                <a:buClr>
                  <a:srgbClr val="808080"/>
                </a:buClr>
              </a:pPr>
              <a:r>
                <a:rPr lang="ru-RU" sz="1197" dirty="0">
                  <a:solidFill>
                    <a:srgbClr val="646464"/>
                  </a:solidFill>
                </a:rPr>
                <a:t>Москва</a:t>
              </a:r>
              <a:endParaRPr lang="en-US" sz="1197" dirty="0">
                <a:solidFill>
                  <a:srgbClr val="646464"/>
                </a:solidFill>
              </a:endParaRPr>
            </a:p>
          </p:txBody>
        </p:sp>
      </p:grpSp>
      <p:grpSp>
        <p:nvGrpSpPr>
          <p:cNvPr id="720" name="Group 719"/>
          <p:cNvGrpSpPr/>
          <p:nvPr/>
        </p:nvGrpSpPr>
        <p:grpSpPr>
          <a:xfrm>
            <a:off x="1892245" y="2150298"/>
            <a:ext cx="1524724" cy="714846"/>
            <a:chOff x="21232" y="1580453"/>
            <a:chExt cx="1783080" cy="835973"/>
          </a:xfrm>
        </p:grpSpPr>
        <p:sp>
          <p:nvSpPr>
            <p:cNvPr id="721" name="Rectangle 720"/>
            <p:cNvSpPr/>
            <p:nvPr/>
          </p:nvSpPr>
          <p:spPr bwMode="auto">
            <a:xfrm>
              <a:off x="21232" y="1584322"/>
              <a:ext cx="1783080" cy="832104"/>
            </a:xfrm>
            <a:prstGeom prst="rect">
              <a:avLst/>
            </a:prstGeom>
            <a:solidFill>
              <a:srgbClr val="FFFFFF">
                <a:alpha val="69804"/>
              </a:srgbClr>
            </a:solidFill>
            <a:ln>
              <a:solidFill>
                <a:schemeClr val="bg1">
                  <a:lumMod val="40000"/>
                  <a:lumOff val="60000"/>
                </a:schemeClr>
              </a:solidFill>
            </a:ln>
          </p:spPr>
          <p:txBody>
            <a:bodyPr rot="0" spcFirstLastPara="0" vertOverflow="overflow" horzOverflow="overflow" vert="horz" wrap="square" lIns="117286" tIns="117286" rIns="117286" bIns="117286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eaLnBrk="0" fontAlgn="base" hangingPunct="0">
                <a:spcAft>
                  <a:spcPts val="513"/>
                </a:spcAft>
              </a:pPr>
              <a:endParaRPr lang="en-US" sz="855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3" name="TextBox 722"/>
            <p:cNvSpPr txBox="1"/>
            <p:nvPr/>
          </p:nvSpPr>
          <p:spPr>
            <a:xfrm>
              <a:off x="38836" y="1580453"/>
              <a:ext cx="1647088" cy="215433"/>
            </a:xfrm>
            <a:prstGeom prst="rect">
              <a:avLst/>
            </a:prstGeom>
          </p:spPr>
          <p:txBody>
            <a:bodyPr wrap="square" lIns="0" tIns="0" rIns="0" bIns="0" rtlCol="0">
              <a:spAutoFit/>
            </a:bodyPr>
            <a:lstStyle>
              <a:defPPr>
                <a:defRPr lang="en-GB"/>
              </a:defPPr>
              <a:lvl1pPr algn="l">
                <a:spcBef>
                  <a:spcPts val="0"/>
                </a:spcBef>
                <a:spcAft>
                  <a:spcPts val="600"/>
                </a:spcAft>
                <a:buClr>
                  <a:schemeClr val="accent1"/>
                </a:buClr>
                <a:buSzPct val="70000"/>
                <a:defRPr sz="1600" b="1" kern="0"/>
              </a:lvl1pPr>
            </a:lstStyle>
            <a:p>
              <a:pPr eaLnBrk="0" fontAlgn="base" hangingPunct="0">
                <a:buClr>
                  <a:srgbClr val="808080"/>
                </a:buClr>
              </a:pPr>
              <a:r>
                <a:rPr lang="ru-RU" sz="1197" dirty="0">
                  <a:solidFill>
                    <a:srgbClr val="646464"/>
                  </a:solidFill>
                </a:rPr>
                <a:t>Санкт-Петербург</a:t>
              </a:r>
              <a:endParaRPr lang="en-US" sz="1197" dirty="0">
                <a:solidFill>
                  <a:srgbClr val="646464"/>
                </a:solidFill>
              </a:endParaRPr>
            </a:p>
          </p:txBody>
        </p:sp>
      </p:grpSp>
      <p:grpSp>
        <p:nvGrpSpPr>
          <p:cNvPr id="377" name="Group 376"/>
          <p:cNvGrpSpPr/>
          <p:nvPr/>
        </p:nvGrpSpPr>
        <p:grpSpPr>
          <a:xfrm>
            <a:off x="4861576" y="5232171"/>
            <a:ext cx="1524724" cy="711538"/>
            <a:chOff x="6174228" y="5270762"/>
            <a:chExt cx="1783080" cy="832104"/>
          </a:xfrm>
        </p:grpSpPr>
        <p:grpSp>
          <p:nvGrpSpPr>
            <p:cNvPr id="744" name="Group 743"/>
            <p:cNvGrpSpPr/>
            <p:nvPr/>
          </p:nvGrpSpPr>
          <p:grpSpPr>
            <a:xfrm>
              <a:off x="6174228" y="5270762"/>
              <a:ext cx="1783080" cy="832104"/>
              <a:chOff x="745368" y="3832808"/>
              <a:chExt cx="1783080" cy="832104"/>
            </a:xfrm>
          </p:grpSpPr>
          <p:sp>
            <p:nvSpPr>
              <p:cNvPr id="745" name="Rectangle 744"/>
              <p:cNvSpPr/>
              <p:nvPr/>
            </p:nvSpPr>
            <p:spPr bwMode="auto">
              <a:xfrm>
                <a:off x="745368" y="3832808"/>
                <a:ext cx="1783080" cy="832104"/>
              </a:xfrm>
              <a:prstGeom prst="rect">
                <a:avLst/>
              </a:prstGeom>
              <a:solidFill>
                <a:srgbClr val="FFFFFF">
                  <a:alpha val="69804"/>
                </a:srgbClr>
              </a:solidFill>
              <a:ln>
                <a:solidFill>
                  <a:schemeClr val="bg1">
                    <a:lumMod val="40000"/>
                    <a:lumOff val="60000"/>
                  </a:schemeClr>
                </a:solidFill>
              </a:ln>
            </p:spPr>
            <p:txBody>
              <a:bodyPr rot="0" spcFirstLastPara="0" vertOverflow="overflow" horzOverflow="overflow" vert="horz" wrap="square" lIns="117286" tIns="117286" rIns="117286" bIns="11728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eaLnBrk="0" fontAlgn="base" hangingPunct="0">
                  <a:spcAft>
                    <a:spcPts val="513"/>
                  </a:spcAft>
                </a:pPr>
                <a:endParaRPr lang="en-US" sz="855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747" name="TextBox 746"/>
              <p:cNvSpPr txBox="1"/>
              <p:nvPr/>
            </p:nvSpPr>
            <p:spPr>
              <a:xfrm>
                <a:off x="762263" y="3856885"/>
                <a:ext cx="1305351" cy="215433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GB"/>
                </a:defPPr>
                <a:lvl1pPr algn="l">
                  <a:spcBef>
                    <a:spcPts val="0"/>
                  </a:spcBef>
                  <a:spcAft>
                    <a:spcPts val="600"/>
                  </a:spcAft>
                  <a:buClr>
                    <a:schemeClr val="accent1"/>
                  </a:buClr>
                  <a:buSzPct val="70000"/>
                  <a:defRPr sz="1600" b="1" kern="0"/>
                </a:lvl1pPr>
              </a:lstStyle>
              <a:p>
                <a:pPr eaLnBrk="0" fontAlgn="base" hangingPunct="0">
                  <a:buClr>
                    <a:srgbClr val="808080"/>
                  </a:buClr>
                </a:pPr>
                <a:r>
                  <a:rPr lang="ru-RU" sz="1197" dirty="0">
                    <a:solidFill>
                      <a:srgbClr val="646464"/>
                    </a:solidFill>
                  </a:rPr>
                  <a:t>Новосибирск</a:t>
                </a:r>
                <a:endParaRPr lang="en-US" sz="1197" dirty="0">
                  <a:solidFill>
                    <a:srgbClr val="646464"/>
                  </a:solidFill>
                </a:endParaRPr>
              </a:p>
            </p:txBody>
          </p:sp>
        </p:grpSp>
        <p:pic>
          <p:nvPicPr>
            <p:cNvPr id="834" name="Picture 833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43146" y="5641915"/>
              <a:ext cx="356616" cy="356616"/>
            </a:xfrm>
            <a:prstGeom prst="rect">
              <a:avLst/>
            </a:prstGeom>
            <a:solidFill>
              <a:srgbClr val="C9E7A7"/>
            </a:solidFill>
          </p:spPr>
        </p:pic>
        <p:pic>
          <p:nvPicPr>
            <p:cNvPr id="835" name="Picture 834"/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74393" y="5641915"/>
              <a:ext cx="356616" cy="356616"/>
            </a:xfrm>
            <a:prstGeom prst="rect">
              <a:avLst/>
            </a:prstGeom>
            <a:solidFill>
              <a:srgbClr val="C9E7A7"/>
            </a:solidFill>
          </p:spPr>
        </p:pic>
        <p:pic>
          <p:nvPicPr>
            <p:cNvPr id="836" name="Picture 835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5640" y="5641915"/>
              <a:ext cx="356616" cy="356616"/>
            </a:xfrm>
            <a:prstGeom prst="rect">
              <a:avLst/>
            </a:prstGeom>
            <a:solidFill>
              <a:srgbClr val="C9E7A7"/>
            </a:solidFill>
          </p:spPr>
        </p:pic>
      </p:grpSp>
      <p:sp>
        <p:nvSpPr>
          <p:cNvPr id="430" name="TextBox 429"/>
          <p:cNvSpPr txBox="1"/>
          <p:nvPr/>
        </p:nvSpPr>
        <p:spPr>
          <a:xfrm>
            <a:off x="7888624" y="1688040"/>
            <a:ext cx="2336586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117475" indent="-117475" eaLnBrk="0" fontAlgn="base" hangingPunct="0">
              <a:lnSpc>
                <a:spcPct val="80000"/>
              </a:lnSpc>
              <a:spcAft>
                <a:spcPts val="257"/>
              </a:spcAft>
              <a:buClr>
                <a:srgbClr val="808080"/>
              </a:buClr>
              <a:buSzPct val="100000"/>
              <a:buFont typeface="EYInterstate Light" panose="02000506000000020004" pitchFamily="2" charset="0"/>
              <a:buChar char="•"/>
            </a:pPr>
            <a:r>
              <a:rPr lang="ru-RU" sz="1000" kern="0" dirty="0">
                <a:solidFill>
                  <a:srgbClr val="646464"/>
                </a:solidFill>
                <a:latin typeface="EYInterstate Light" panose="02000506000000020004" pitchFamily="2" charset="0"/>
              </a:rPr>
              <a:t>Доступность и качество сырья и материалов, используемых в производстве</a:t>
            </a:r>
            <a:endParaRPr lang="en-US" sz="1000" kern="0" dirty="0">
              <a:solidFill>
                <a:srgbClr val="646464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767" name="TextBox 766"/>
          <p:cNvSpPr txBox="1"/>
          <p:nvPr/>
        </p:nvSpPr>
        <p:spPr>
          <a:xfrm>
            <a:off x="7888624" y="2452730"/>
            <a:ext cx="2286396" cy="65402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eaLnBrk="0" fontAlgn="base" hangingPunct="0">
              <a:lnSpc>
                <a:spcPct val="80000"/>
              </a:lnSpc>
              <a:spcAft>
                <a:spcPts val="257"/>
              </a:spcAft>
              <a:buClr>
                <a:srgbClr val="808080"/>
              </a:buClr>
              <a:buSzPct val="70000"/>
              <a:defRPr sz="1100" kern="0">
                <a:solidFill>
                  <a:srgbClr val="646464"/>
                </a:solidFill>
                <a:latin typeface="EYInterstate Light" panose="02000506000000020004" pitchFamily="2" charset="0"/>
              </a:defRPr>
            </a:lvl1pPr>
          </a:lstStyle>
          <a:p>
            <a:pPr marL="117475" indent="-117475">
              <a:buSzPct val="100000"/>
              <a:buFont typeface="EYInterstate Light" panose="02000506000000020004" pitchFamily="2" charset="0"/>
              <a:buChar char="•"/>
            </a:pPr>
            <a:r>
              <a:rPr lang="ru-RU" sz="1000" dirty="0"/>
              <a:t>Присутствие </a:t>
            </a:r>
            <a:r>
              <a:rPr lang="ru-RU" sz="1000" dirty="0"/>
              <a:t>международных компаний релевантного профиля в </a:t>
            </a:r>
            <a:r>
              <a:rPr lang="ru-RU" sz="1000" dirty="0"/>
              <a:t>регионе</a:t>
            </a:r>
            <a:endParaRPr lang="ru-RU" sz="1000" dirty="0"/>
          </a:p>
          <a:p>
            <a:pPr marL="117475" indent="-117475">
              <a:buSzPct val="100000"/>
              <a:buFont typeface="EYInterstate Light" panose="02000506000000020004" pitchFamily="2" charset="0"/>
              <a:buChar char="•"/>
            </a:pPr>
            <a:r>
              <a:rPr lang="ru-RU" sz="1000" dirty="0"/>
              <a:t>Общая благоприятная оценка инвестиционного </a:t>
            </a:r>
            <a:r>
              <a:rPr lang="ru-RU" sz="1000" dirty="0"/>
              <a:t>климата</a:t>
            </a:r>
            <a:endParaRPr lang="en-US" sz="1000" dirty="0"/>
          </a:p>
        </p:txBody>
      </p:sp>
      <p:sp>
        <p:nvSpPr>
          <p:cNvPr id="769" name="TextBox 768"/>
          <p:cNvSpPr txBox="1"/>
          <p:nvPr/>
        </p:nvSpPr>
        <p:spPr>
          <a:xfrm>
            <a:off x="7888624" y="3367807"/>
            <a:ext cx="2286396" cy="77713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eaLnBrk="0" fontAlgn="base" hangingPunct="0">
              <a:lnSpc>
                <a:spcPct val="80000"/>
              </a:lnSpc>
              <a:spcAft>
                <a:spcPts val="257"/>
              </a:spcAft>
              <a:buClr>
                <a:srgbClr val="808080"/>
              </a:buClr>
              <a:buSzPct val="70000"/>
              <a:defRPr sz="1100" kern="0">
                <a:solidFill>
                  <a:srgbClr val="646464"/>
                </a:solidFill>
                <a:latin typeface="EYInterstate Light" panose="02000506000000020004" pitchFamily="2" charset="0"/>
              </a:defRPr>
            </a:lvl1pPr>
          </a:lstStyle>
          <a:p>
            <a:pPr marL="117475" indent="-117475">
              <a:buSzPct val="100000"/>
              <a:buFont typeface="EYInterstate Light" panose="02000506000000020004" pitchFamily="2" charset="0"/>
              <a:buChar char="•"/>
            </a:pPr>
            <a:r>
              <a:rPr lang="ru-RU" sz="1000" dirty="0"/>
              <a:t>Развитая система льгот и преференций для инвесторов, в том числе специальные режимы – ТОР, </a:t>
            </a:r>
            <a:r>
              <a:rPr lang="ru-RU" sz="1000" dirty="0"/>
              <a:t>ОЭЗ </a:t>
            </a:r>
            <a:endParaRPr lang="ru-RU" sz="1000" dirty="0"/>
          </a:p>
          <a:p>
            <a:pPr marL="117475" indent="-117475">
              <a:buSzPct val="100000"/>
              <a:buFont typeface="EYInterstate Light" panose="02000506000000020004" pitchFamily="2" charset="0"/>
              <a:buChar char="•"/>
            </a:pPr>
            <a:r>
              <a:rPr lang="ru-RU" sz="1000" dirty="0"/>
              <a:t>Наличие качественных индустриальных парков. </a:t>
            </a:r>
            <a:endParaRPr lang="en-US" sz="1000" dirty="0"/>
          </a:p>
        </p:txBody>
      </p:sp>
      <p:sp>
        <p:nvSpPr>
          <p:cNvPr id="774" name="TextBox 773"/>
          <p:cNvSpPr txBox="1"/>
          <p:nvPr/>
        </p:nvSpPr>
        <p:spPr>
          <a:xfrm>
            <a:off x="7888624" y="4409485"/>
            <a:ext cx="2286396" cy="6924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eaLnBrk="0" fontAlgn="base" hangingPunct="0">
              <a:lnSpc>
                <a:spcPct val="80000"/>
              </a:lnSpc>
              <a:spcAft>
                <a:spcPts val="257"/>
              </a:spcAft>
              <a:buClr>
                <a:srgbClr val="808080"/>
              </a:buClr>
              <a:buSzPct val="70000"/>
              <a:defRPr sz="1100" kern="0">
                <a:solidFill>
                  <a:srgbClr val="646464"/>
                </a:solidFill>
                <a:latin typeface="EYInterstate Light" panose="02000506000000020004" pitchFamily="2" charset="0"/>
              </a:defRPr>
            </a:lvl1pPr>
          </a:lstStyle>
          <a:p>
            <a:pPr marL="117475" indent="-117475">
              <a:buSzPct val="100000"/>
              <a:buFont typeface="EYInterstate Light" panose="02000506000000020004" pitchFamily="2" charset="0"/>
              <a:buChar char="•"/>
            </a:pPr>
            <a:r>
              <a:rPr lang="ru-RU" sz="1000" dirty="0"/>
              <a:t>Наличие кадров необходимой квалификации</a:t>
            </a:r>
          </a:p>
          <a:p>
            <a:pPr marL="117475" indent="-117475">
              <a:buSzPct val="100000"/>
              <a:buFont typeface="EYInterstate Light" panose="02000506000000020004" pitchFamily="2" charset="0"/>
              <a:buChar char="•"/>
            </a:pPr>
            <a:r>
              <a:rPr lang="ru-RU" sz="1000" dirty="0"/>
              <a:t>Наличие образовательных учреждений релевантного профиля</a:t>
            </a:r>
          </a:p>
          <a:p>
            <a:pPr marL="117475" indent="-117475">
              <a:buSzPct val="100000"/>
              <a:buFont typeface="EYInterstate Light" panose="02000506000000020004" pitchFamily="2" charset="0"/>
              <a:buChar char="•"/>
            </a:pPr>
            <a:r>
              <a:rPr lang="ru-RU" sz="1000" dirty="0"/>
              <a:t>Средняя заработная плата</a:t>
            </a:r>
          </a:p>
        </p:txBody>
      </p:sp>
      <p:sp>
        <p:nvSpPr>
          <p:cNvPr id="779" name="TextBox 778"/>
          <p:cNvSpPr txBox="1"/>
          <p:nvPr/>
        </p:nvSpPr>
        <p:spPr>
          <a:xfrm>
            <a:off x="7888624" y="5349467"/>
            <a:ext cx="2286396" cy="40780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eaLnBrk="0" fontAlgn="base" hangingPunct="0">
              <a:lnSpc>
                <a:spcPct val="80000"/>
              </a:lnSpc>
              <a:spcAft>
                <a:spcPts val="257"/>
              </a:spcAft>
              <a:buClr>
                <a:srgbClr val="808080"/>
              </a:buClr>
              <a:buSzPct val="70000"/>
              <a:defRPr sz="1000" kern="0">
                <a:solidFill>
                  <a:srgbClr val="646464"/>
                </a:solidFill>
                <a:latin typeface="EYInterstate Light" panose="02000506000000020004" pitchFamily="2" charset="0"/>
              </a:defRPr>
            </a:lvl1pPr>
          </a:lstStyle>
          <a:p>
            <a:pPr marL="117475" indent="-117475">
              <a:buSzPct val="100000"/>
              <a:buFont typeface="EYInterstate Light" panose="02000506000000020004" pitchFamily="2" charset="0"/>
              <a:buChar char="•"/>
            </a:pPr>
            <a:r>
              <a:rPr lang="ru-RU" dirty="0"/>
              <a:t>Благоприятный климат и экологическая ситуация</a:t>
            </a:r>
          </a:p>
          <a:p>
            <a:pPr marL="117475" indent="-117475">
              <a:buSzPct val="100000"/>
              <a:buFont typeface="EYInterstate Light" panose="02000506000000020004" pitchFamily="2" charset="0"/>
              <a:buChar char="•"/>
            </a:pPr>
            <a:r>
              <a:rPr lang="ru-RU" dirty="0"/>
              <a:t>Отсутствие оттока населения</a:t>
            </a:r>
            <a:endParaRPr lang="en-US" dirty="0"/>
          </a:p>
        </p:txBody>
      </p:sp>
      <p:grpSp>
        <p:nvGrpSpPr>
          <p:cNvPr id="752" name="Group 751"/>
          <p:cNvGrpSpPr/>
          <p:nvPr/>
        </p:nvGrpSpPr>
        <p:grpSpPr>
          <a:xfrm>
            <a:off x="4140768" y="4402896"/>
            <a:ext cx="1804231" cy="711538"/>
            <a:chOff x="230393" y="3889643"/>
            <a:chExt cx="2109948" cy="832104"/>
          </a:xfrm>
        </p:grpSpPr>
        <p:cxnSp>
          <p:nvCxnSpPr>
            <p:cNvPr id="793" name="Straight Connector 792"/>
            <p:cNvCxnSpPr>
              <a:stCxn id="795" idx="3"/>
            </p:cNvCxnSpPr>
            <p:nvPr/>
          </p:nvCxnSpPr>
          <p:spPr bwMode="gray">
            <a:xfrm flipV="1">
              <a:off x="2013473" y="4097210"/>
              <a:ext cx="326868" cy="20848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 type="none" w="med" len="med"/>
            </a:ln>
            <a:effectLst/>
          </p:spPr>
        </p:cxnSp>
        <p:grpSp>
          <p:nvGrpSpPr>
            <p:cNvPr id="794" name="Group 793"/>
            <p:cNvGrpSpPr/>
            <p:nvPr/>
          </p:nvGrpSpPr>
          <p:grpSpPr>
            <a:xfrm>
              <a:off x="230393" y="3889643"/>
              <a:ext cx="1783080" cy="832104"/>
              <a:chOff x="745368" y="3832808"/>
              <a:chExt cx="1783080" cy="832104"/>
            </a:xfrm>
          </p:grpSpPr>
          <p:sp>
            <p:nvSpPr>
              <p:cNvPr id="795" name="Rectangle 794"/>
              <p:cNvSpPr/>
              <p:nvPr/>
            </p:nvSpPr>
            <p:spPr bwMode="auto">
              <a:xfrm>
                <a:off x="745368" y="3832808"/>
                <a:ext cx="1783080" cy="832104"/>
              </a:xfrm>
              <a:prstGeom prst="rect">
                <a:avLst/>
              </a:prstGeom>
              <a:solidFill>
                <a:srgbClr val="FFFFFF">
                  <a:alpha val="69804"/>
                </a:srgbClr>
              </a:solidFill>
              <a:ln>
                <a:solidFill>
                  <a:schemeClr val="bg1">
                    <a:lumMod val="40000"/>
                    <a:lumOff val="60000"/>
                  </a:schemeClr>
                </a:solidFill>
              </a:ln>
            </p:spPr>
            <p:txBody>
              <a:bodyPr rot="0" spcFirstLastPara="0" vertOverflow="overflow" horzOverflow="overflow" vert="horz" wrap="square" lIns="117286" tIns="117286" rIns="117286" bIns="11728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eaLnBrk="0" fontAlgn="base" hangingPunct="0">
                  <a:spcAft>
                    <a:spcPts val="513"/>
                  </a:spcAft>
                </a:pPr>
                <a:endParaRPr lang="en-US" sz="855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797" name="TextBox 796"/>
              <p:cNvSpPr txBox="1"/>
              <p:nvPr/>
            </p:nvSpPr>
            <p:spPr>
              <a:xfrm>
                <a:off x="782283" y="3856885"/>
                <a:ext cx="1286880" cy="215433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eaLnBrk="0" fontAlgn="base" hangingPunct="0">
                  <a:spcAft>
                    <a:spcPts val="513"/>
                  </a:spcAft>
                  <a:buClr>
                    <a:srgbClr val="808080"/>
                  </a:buClr>
                  <a:buSzPct val="70000"/>
                </a:pPr>
                <a:r>
                  <a:rPr lang="ru-RU" sz="1197" b="1" kern="0" dirty="0">
                    <a:solidFill>
                      <a:srgbClr val="646464"/>
                    </a:solidFill>
                  </a:rPr>
                  <a:t>Омск</a:t>
                </a:r>
                <a:endParaRPr lang="en-US" sz="1197" b="1" kern="0" dirty="0">
                  <a:solidFill>
                    <a:srgbClr val="646464"/>
                  </a:solidFill>
                </a:endParaRPr>
              </a:p>
            </p:txBody>
          </p:sp>
        </p:grpSp>
      </p:grpSp>
      <p:grpSp>
        <p:nvGrpSpPr>
          <p:cNvPr id="800" name="Group 799"/>
          <p:cNvGrpSpPr/>
          <p:nvPr/>
        </p:nvGrpSpPr>
        <p:grpSpPr>
          <a:xfrm>
            <a:off x="5861908" y="3439560"/>
            <a:ext cx="1524724" cy="964660"/>
            <a:chOff x="230393" y="3889643"/>
            <a:chExt cx="1783080" cy="1128116"/>
          </a:xfrm>
        </p:grpSpPr>
        <p:cxnSp>
          <p:nvCxnSpPr>
            <p:cNvPr id="801" name="Straight Connector 800"/>
            <p:cNvCxnSpPr>
              <a:stCxn id="805" idx="2"/>
            </p:cNvCxnSpPr>
            <p:nvPr/>
          </p:nvCxnSpPr>
          <p:spPr bwMode="gray">
            <a:xfrm flipH="1">
              <a:off x="935811" y="4721747"/>
              <a:ext cx="186122" cy="296012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 type="none" w="med" len="med"/>
            </a:ln>
            <a:effectLst/>
          </p:spPr>
        </p:cxnSp>
        <p:grpSp>
          <p:nvGrpSpPr>
            <p:cNvPr id="802" name="Group 801"/>
            <p:cNvGrpSpPr/>
            <p:nvPr/>
          </p:nvGrpSpPr>
          <p:grpSpPr>
            <a:xfrm>
              <a:off x="230393" y="3889643"/>
              <a:ext cx="1783080" cy="832104"/>
              <a:chOff x="745368" y="3832808"/>
              <a:chExt cx="1783080" cy="832104"/>
            </a:xfrm>
          </p:grpSpPr>
          <p:sp>
            <p:nvSpPr>
              <p:cNvPr id="805" name="Rectangle 804"/>
              <p:cNvSpPr/>
              <p:nvPr/>
            </p:nvSpPr>
            <p:spPr bwMode="auto">
              <a:xfrm>
                <a:off x="745368" y="3832808"/>
                <a:ext cx="1783080" cy="832104"/>
              </a:xfrm>
              <a:prstGeom prst="rect">
                <a:avLst/>
              </a:prstGeom>
              <a:solidFill>
                <a:srgbClr val="FFFFFF">
                  <a:alpha val="69804"/>
                </a:srgbClr>
              </a:solidFill>
              <a:ln>
                <a:solidFill>
                  <a:schemeClr val="bg1">
                    <a:lumMod val="40000"/>
                    <a:lumOff val="60000"/>
                  </a:schemeClr>
                </a:solidFill>
              </a:ln>
            </p:spPr>
            <p:txBody>
              <a:bodyPr rot="0" spcFirstLastPara="0" vertOverflow="overflow" horzOverflow="overflow" vert="horz" wrap="square" lIns="117286" tIns="117286" rIns="117286" bIns="11728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eaLnBrk="0" fontAlgn="base" hangingPunct="0">
                  <a:spcAft>
                    <a:spcPts val="513"/>
                  </a:spcAft>
                </a:pPr>
                <a:endParaRPr lang="en-US" sz="855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806" name="TextBox 805"/>
              <p:cNvSpPr txBox="1"/>
              <p:nvPr/>
            </p:nvSpPr>
            <p:spPr>
              <a:xfrm>
                <a:off x="782283" y="3856885"/>
                <a:ext cx="1286880" cy="215433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eaLnBrk="0" fontAlgn="base" hangingPunct="0">
                  <a:spcAft>
                    <a:spcPts val="513"/>
                  </a:spcAft>
                  <a:buClr>
                    <a:srgbClr val="808080"/>
                  </a:buClr>
                  <a:buSzPct val="70000"/>
                </a:pPr>
                <a:r>
                  <a:rPr lang="ru-RU" sz="1197" b="1" kern="0" dirty="0">
                    <a:solidFill>
                      <a:srgbClr val="646464"/>
                    </a:solidFill>
                  </a:rPr>
                  <a:t>Томск</a:t>
                </a:r>
                <a:endParaRPr lang="en-US" sz="1197" b="1" kern="0" dirty="0">
                  <a:solidFill>
                    <a:srgbClr val="646464"/>
                  </a:solidFill>
                </a:endParaRPr>
              </a:p>
            </p:txBody>
          </p:sp>
        </p:grpSp>
      </p:grpSp>
      <p:grpSp>
        <p:nvGrpSpPr>
          <p:cNvPr id="807" name="Group 806"/>
          <p:cNvGrpSpPr/>
          <p:nvPr/>
        </p:nvGrpSpPr>
        <p:grpSpPr>
          <a:xfrm>
            <a:off x="3514389" y="3591960"/>
            <a:ext cx="1910493" cy="711538"/>
            <a:chOff x="230393" y="3889643"/>
            <a:chExt cx="2234215" cy="832104"/>
          </a:xfrm>
        </p:grpSpPr>
        <p:cxnSp>
          <p:nvCxnSpPr>
            <p:cNvPr id="808" name="Straight Connector 807"/>
            <p:cNvCxnSpPr>
              <a:stCxn id="813" idx="3"/>
            </p:cNvCxnSpPr>
            <p:nvPr/>
          </p:nvCxnSpPr>
          <p:spPr bwMode="gray">
            <a:xfrm flipV="1">
              <a:off x="2013473" y="4270530"/>
              <a:ext cx="451135" cy="35165"/>
            </a:xfrm>
            <a:prstGeom prst="line">
              <a:avLst/>
            </a:prstGeom>
            <a:noFill/>
            <a:ln w="12700">
              <a:solidFill>
                <a:schemeClr val="tx1">
                  <a:lumMod val="50000"/>
                  <a:lumOff val="50000"/>
                </a:schemeClr>
              </a:solidFill>
              <a:miter lim="800000"/>
              <a:headEnd/>
              <a:tailEnd type="none" w="med" len="med"/>
            </a:ln>
            <a:effectLst/>
          </p:spPr>
        </p:cxnSp>
        <p:grpSp>
          <p:nvGrpSpPr>
            <p:cNvPr id="809" name="Group 808"/>
            <p:cNvGrpSpPr/>
            <p:nvPr/>
          </p:nvGrpSpPr>
          <p:grpSpPr>
            <a:xfrm>
              <a:off x="230393" y="3889643"/>
              <a:ext cx="1783080" cy="832104"/>
              <a:chOff x="745368" y="3832808"/>
              <a:chExt cx="1783080" cy="832104"/>
            </a:xfrm>
          </p:grpSpPr>
          <p:sp>
            <p:nvSpPr>
              <p:cNvPr id="813" name="Rectangle 812"/>
              <p:cNvSpPr/>
              <p:nvPr/>
            </p:nvSpPr>
            <p:spPr bwMode="auto">
              <a:xfrm>
                <a:off x="745368" y="3832808"/>
                <a:ext cx="1783080" cy="832104"/>
              </a:xfrm>
              <a:prstGeom prst="rect">
                <a:avLst/>
              </a:prstGeom>
              <a:solidFill>
                <a:srgbClr val="FFFFFF">
                  <a:alpha val="69804"/>
                </a:srgbClr>
              </a:solidFill>
              <a:ln>
                <a:solidFill>
                  <a:schemeClr val="bg1">
                    <a:lumMod val="40000"/>
                    <a:lumOff val="60000"/>
                  </a:schemeClr>
                </a:solidFill>
              </a:ln>
            </p:spPr>
            <p:txBody>
              <a:bodyPr rot="0" spcFirstLastPara="0" vertOverflow="overflow" horzOverflow="overflow" vert="horz" wrap="square" lIns="117286" tIns="117286" rIns="117286" bIns="117286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eaLnBrk="0" fontAlgn="base" hangingPunct="0">
                  <a:spcAft>
                    <a:spcPts val="513"/>
                  </a:spcAft>
                </a:pPr>
                <a:endParaRPr lang="en-US" sz="855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818" name="TextBox 817"/>
              <p:cNvSpPr txBox="1"/>
              <p:nvPr/>
            </p:nvSpPr>
            <p:spPr>
              <a:xfrm>
                <a:off x="782283" y="3856885"/>
                <a:ext cx="1286880" cy="215433"/>
              </a:xfrm>
              <a:prstGeom prst="rect">
                <a:avLst/>
              </a:prstGeom>
            </p:spPr>
            <p:txBody>
              <a:bodyPr wrap="square" lIns="0" tIns="0" rIns="0" bIns="0" rtlCol="0">
                <a:spAutoFit/>
              </a:bodyPr>
              <a:lstStyle/>
              <a:p>
                <a:pPr eaLnBrk="0" fontAlgn="base" hangingPunct="0">
                  <a:spcAft>
                    <a:spcPts val="513"/>
                  </a:spcAft>
                  <a:buClr>
                    <a:srgbClr val="808080"/>
                  </a:buClr>
                  <a:buSzPct val="70000"/>
                </a:pPr>
                <a:r>
                  <a:rPr lang="ru-RU" sz="1197" b="1" kern="0" dirty="0">
                    <a:solidFill>
                      <a:srgbClr val="646464"/>
                    </a:solidFill>
                  </a:rPr>
                  <a:t>Екатеринбург</a:t>
                </a:r>
                <a:endParaRPr lang="en-US" sz="1197" b="1" kern="0" dirty="0">
                  <a:solidFill>
                    <a:srgbClr val="646464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2667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025992" y="474608"/>
            <a:ext cx="8086688" cy="427345"/>
          </a:xfrm>
        </p:spPr>
        <p:txBody>
          <a:bodyPr vert="horz" lIns="117286" tIns="0" rIns="0" bIns="0" rtlCol="0">
            <a:noAutofit/>
          </a:bodyPr>
          <a:lstStyle/>
          <a:p>
            <a:r>
              <a:rPr lang="ru-RU" sz="1368" b="1" dirty="0"/>
              <a:t>Оценивая трудовые ресурсы в регионе, международный инвестор использует различные индикаторы, характеризующие их численность, качество и доступность.</a:t>
            </a:r>
          </a:p>
          <a:p>
            <a:r>
              <a:rPr lang="ru-RU" sz="1368" b="1" dirty="0"/>
              <a:t>Качество жизни в регионе должно соответствовать требованиям </a:t>
            </a:r>
            <a:r>
              <a:rPr lang="ru-RU" sz="1368" b="1" dirty="0" err="1"/>
              <a:t>экспатов</a:t>
            </a:r>
            <a:r>
              <a:rPr lang="ru-RU" sz="1368" b="1" dirty="0"/>
              <a:t>.</a:t>
            </a:r>
            <a:endParaRPr lang="en-US" sz="1368" b="1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722652"/>
              </p:ext>
            </p:extLst>
          </p:nvPr>
        </p:nvGraphicFramePr>
        <p:xfrm>
          <a:off x="5206768" y="1778846"/>
          <a:ext cx="4907559" cy="31261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85813"/>
                <a:gridCol w="2021746"/>
              </a:tblGrid>
              <a:tr h="32202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</a:rPr>
                        <a:t>Численность</a:t>
                      </a:r>
                      <a:r>
                        <a:rPr lang="ru-RU" sz="105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</a:rPr>
                        <a:t> населения в радиусе 800 км от административного центра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~7 </a:t>
                      </a:r>
                      <a: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млн человек</a:t>
                      </a:r>
                      <a:endParaRPr lang="en-US" sz="1050" b="0" i="0" u="none" strike="noStrike" kern="1200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2202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</a:rPr>
                        <a:t>Общая численность трудоспособного населения</a:t>
                      </a:r>
                      <a:endParaRPr lang="en-US" sz="1050" b="0" i="0" u="none" strike="noStrike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105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453</a:t>
                      </a:r>
                      <a:r>
                        <a:rPr lang="ru-RU" sz="105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 тыс. человек</a:t>
                      </a:r>
                      <a:endParaRPr lang="en-US" sz="1050" b="0" i="0" u="none" strike="noStrike" kern="1200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4783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</a:rPr>
                        <a:t>Прирост численности населения (2016 год)</a:t>
                      </a:r>
                      <a:endParaRPr lang="en-US" sz="1050" b="0" i="0" u="none" strike="noStrike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Естественный прирост населения </a:t>
                      </a:r>
                      <a:b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</a:br>
                      <a:r>
                        <a:rPr lang="en-US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(+0,8</a:t>
                      </a:r>
                      <a: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 на 1 000 человек</a:t>
                      </a:r>
                      <a:r>
                        <a:rPr lang="en-US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) </a:t>
                      </a:r>
                      <a:endParaRPr lang="en-US" sz="1050" b="0" i="0" u="none" strike="noStrike" kern="1200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4783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</a:rPr>
                        <a:t>Иммиграционный </a:t>
                      </a:r>
                      <a:r>
                        <a:rPr lang="ru-RU" sz="105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</a:rPr>
                        <a:t>прирост населения</a:t>
                      </a:r>
                      <a:endParaRPr lang="en-US" sz="1050" b="0" i="0" u="none" strike="noStrike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Миграционный приток населения </a:t>
                      </a:r>
                      <a:b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</a:br>
                      <a:r>
                        <a:rPr lang="en-US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(+</a:t>
                      </a:r>
                      <a:r>
                        <a:rPr lang="en-US" sz="105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15 284</a:t>
                      </a:r>
                      <a:r>
                        <a:rPr lang="en-US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)</a:t>
                      </a:r>
                      <a:endParaRPr lang="en-US" sz="1050" b="0" i="0" u="none" strike="noStrike" kern="1200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69136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Количество высших</a:t>
                      </a:r>
                      <a:r>
                        <a:rPr lang="ru-RU" sz="105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 учебных заведений</a:t>
                      </a:r>
                      <a:endParaRPr lang="en-US" sz="1050" b="0" i="0" u="none" strike="noStrike" kern="1200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25</a:t>
                      </a:r>
                      <a:endParaRPr lang="en-US" sz="1050" b="0" i="0" u="none" strike="noStrike" kern="1200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25562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Число выпускников высших учебных заведений в 2016 году</a:t>
                      </a:r>
                      <a:endParaRPr lang="en-US" sz="1050" b="0" i="0" u="none" strike="noStrike" kern="1200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C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26,2 </a:t>
                      </a:r>
                      <a: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тыс. человек</a:t>
                      </a:r>
                      <a:endParaRPr lang="en-US" sz="1050" b="0" i="0" u="none" strike="noStrike" kern="1200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CE1"/>
                    </a:solidFill>
                  </a:tcPr>
                </a:tc>
              </a:tr>
              <a:tr h="32202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Число высших учебных</a:t>
                      </a:r>
                      <a:r>
                        <a:rPr lang="ru-RU" sz="105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 заведений, входящих в ТОП-100 по России</a:t>
                      </a:r>
                      <a:endParaRPr lang="en-US" sz="1050" b="0" i="0" u="none" strike="noStrike" kern="1200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C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3 </a:t>
                      </a:r>
                      <a: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ВУЗа</a:t>
                      </a:r>
                      <a:endParaRPr lang="en-US" sz="1050" b="0" i="0" u="none" strike="noStrike" kern="1200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CE1"/>
                    </a:solidFill>
                  </a:tcPr>
                </a:tc>
              </a:tr>
              <a:tr h="322027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Длительность экспозиции</a:t>
                      </a:r>
                      <a:r>
                        <a:rPr lang="ru-RU" sz="105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 производственной вакансии</a:t>
                      </a:r>
                      <a:endParaRPr lang="en-US" sz="1050" b="0" i="0" u="none" strike="noStrike" kern="1200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1,9 </a:t>
                      </a:r>
                      <a: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месяцев</a:t>
                      </a:r>
                      <a:endParaRPr lang="en-US" sz="1050" b="0" i="0" u="none" strike="noStrike" kern="1200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7F"/>
                    </a:solidFill>
                  </a:tcPr>
                </a:tc>
              </a:tr>
              <a:tr h="32202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</a:rPr>
                        <a:t>Средняя заработная плана населения,</a:t>
                      </a:r>
                      <a:r>
                        <a:rPr lang="ru-RU" sz="105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</a:rPr>
                        <a:t> руб./месяц</a:t>
                      </a:r>
                      <a:endParaRPr lang="en-US" sz="1050" b="0" i="0" u="none" strike="noStrike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30</a:t>
                      </a:r>
                      <a:r>
                        <a:rPr lang="ru-RU" sz="105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314</a:t>
                      </a:r>
                      <a: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 руб./месяц</a:t>
                      </a:r>
                      <a:endParaRPr lang="en-US" sz="1050" b="0" i="0" u="none" strike="noStrike" kern="1200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7F"/>
                    </a:solidFill>
                  </a:tcPr>
                </a:tc>
              </a:tr>
            </a:tbl>
          </a:graphicData>
        </a:graphic>
      </p:graphicFrame>
      <p:sp>
        <p:nvSpPr>
          <p:cNvPr id="667" name="TextBox 666"/>
          <p:cNvSpPr txBox="1"/>
          <p:nvPr/>
        </p:nvSpPr>
        <p:spPr>
          <a:xfrm>
            <a:off x="3829244" y="1871444"/>
            <a:ext cx="2046990" cy="345514"/>
          </a:xfrm>
          <a:prstGeom prst="rect">
            <a:avLst/>
          </a:prstGeom>
          <a:noFill/>
        </p:spPr>
        <p:txBody>
          <a:bodyPr wrap="square" lIns="0" tIns="31276" rIns="0" bIns="0" rtlCol="0">
            <a:spAutoFit/>
          </a:bodyPr>
          <a:lstStyle>
            <a:defPPr>
              <a:defRPr lang="en-US"/>
            </a:defPPr>
            <a:lvl1pPr eaLnBrk="0" fontAlgn="base" hangingPunct="0">
              <a:lnSpc>
                <a:spcPct val="85000"/>
              </a:lnSpc>
              <a:spcBef>
                <a:spcPct val="50000"/>
              </a:spcBef>
              <a:spcAft>
                <a:spcPts val="513"/>
              </a:spcAft>
              <a:buClr>
                <a:srgbClr val="FFE600"/>
              </a:buClr>
              <a:buSzPct val="70000"/>
              <a:defRPr sz="1100" b="1">
                <a:solidFill>
                  <a:srgbClr val="646464"/>
                </a:solidFill>
                <a:latin typeface="EYInterstate Light" panose="02000506000000020004" pitchFamily="2" charset="0"/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Численность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кадров</a:t>
            </a:r>
            <a:endParaRPr lang="en-US" sz="1200" dirty="0"/>
          </a:p>
        </p:txBody>
      </p:sp>
      <p:sp>
        <p:nvSpPr>
          <p:cNvPr id="668" name="TextBox 667"/>
          <p:cNvSpPr txBox="1"/>
          <p:nvPr/>
        </p:nvSpPr>
        <p:spPr>
          <a:xfrm>
            <a:off x="3837633" y="3592587"/>
            <a:ext cx="1335580" cy="188547"/>
          </a:xfrm>
          <a:prstGeom prst="rect">
            <a:avLst/>
          </a:prstGeom>
          <a:noFill/>
        </p:spPr>
        <p:txBody>
          <a:bodyPr wrap="square" lIns="0" tIns="31276" rIns="0" bIns="0" rtlCol="0">
            <a:spAutoFit/>
          </a:bodyPr>
          <a:lstStyle>
            <a:defPPr>
              <a:defRPr lang="en-US"/>
            </a:defPPr>
            <a:lvl1pPr eaLnBrk="0" fontAlgn="base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Pct val="70000"/>
              <a:defRPr sz="1600" b="1">
                <a:solidFill>
                  <a:srgbClr val="646464"/>
                </a:solidFill>
                <a:latin typeface="EYInterstate Light" panose="02000506000000020004" pitchFamily="2" charset="0"/>
              </a:defRPr>
            </a:lvl1pPr>
          </a:lstStyle>
          <a:p>
            <a:r>
              <a:rPr lang="ru-RU" sz="1200" dirty="0"/>
              <a:t>Качество кадров</a:t>
            </a:r>
            <a:endParaRPr lang="en-US" sz="1200" dirty="0"/>
          </a:p>
        </p:txBody>
      </p:sp>
      <p:sp>
        <p:nvSpPr>
          <p:cNvPr id="669" name="TextBox 668"/>
          <p:cNvSpPr txBox="1"/>
          <p:nvPr/>
        </p:nvSpPr>
        <p:spPr>
          <a:xfrm>
            <a:off x="3854410" y="4357381"/>
            <a:ext cx="2046990" cy="345514"/>
          </a:xfrm>
          <a:prstGeom prst="rect">
            <a:avLst/>
          </a:prstGeom>
          <a:noFill/>
        </p:spPr>
        <p:txBody>
          <a:bodyPr wrap="square" lIns="0" tIns="31276" rIns="0" bIns="0" rtlCol="0">
            <a:spAutoFit/>
          </a:bodyPr>
          <a:lstStyle>
            <a:defPPr>
              <a:defRPr lang="en-US"/>
            </a:defPPr>
            <a:lvl1pPr eaLnBrk="0" fontAlgn="base" hangingPunc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E600"/>
              </a:buClr>
              <a:buSzPct val="70000"/>
              <a:defRPr sz="1600" b="1">
                <a:solidFill>
                  <a:srgbClr val="646464"/>
                </a:solidFill>
                <a:latin typeface="EYInterstate Light" panose="02000506000000020004" pitchFamily="2" charset="0"/>
              </a:defRPr>
            </a:lvl1pPr>
          </a:lstStyle>
          <a:p>
            <a:r>
              <a:rPr lang="ru-RU" sz="1200" dirty="0"/>
              <a:t>Доступность</a:t>
            </a:r>
          </a:p>
          <a:p>
            <a:r>
              <a:rPr lang="ru-RU" sz="1200" dirty="0"/>
              <a:t>кадров</a:t>
            </a:r>
            <a:endParaRPr lang="en-US" sz="1200" dirty="0"/>
          </a:p>
        </p:txBody>
      </p:sp>
      <p:cxnSp>
        <p:nvCxnSpPr>
          <p:cNvPr id="9" name="Straight Connector 8"/>
          <p:cNvCxnSpPr/>
          <p:nvPr/>
        </p:nvCxnSpPr>
        <p:spPr bwMode="gray">
          <a:xfrm>
            <a:off x="2035728" y="1711354"/>
            <a:ext cx="8070210" cy="0"/>
          </a:xfrm>
          <a:prstGeom prst="line">
            <a:avLst/>
          </a:prstGeom>
          <a:noFill/>
          <a:ln w="9525">
            <a:solidFill>
              <a:schemeClr val="accent1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672" name="TextBox 671"/>
          <p:cNvSpPr txBox="1"/>
          <p:nvPr/>
        </p:nvSpPr>
        <p:spPr>
          <a:xfrm>
            <a:off x="2454846" y="1419836"/>
            <a:ext cx="3297205" cy="214708"/>
          </a:xfrm>
          <a:prstGeom prst="rect">
            <a:avLst/>
          </a:prstGeom>
          <a:noFill/>
        </p:spPr>
        <p:txBody>
          <a:bodyPr wrap="square" lIns="0" tIns="31276" rIns="0" bIns="0" rtlCol="0">
            <a:spAutoFit/>
          </a:bodyPr>
          <a:lstStyle>
            <a:defPPr>
              <a:defRPr lang="en-US"/>
            </a:defPPr>
            <a:lvl1pPr eaLnBrk="0" fontAlgn="base" hangingPunct="0">
              <a:lnSpc>
                <a:spcPct val="85000"/>
              </a:lnSpc>
              <a:spcBef>
                <a:spcPct val="50000"/>
              </a:spcBef>
              <a:spcAft>
                <a:spcPts val="513"/>
              </a:spcAft>
              <a:buClr>
                <a:srgbClr val="FFE600"/>
              </a:buClr>
              <a:buSzPct val="70000"/>
              <a:defRPr sz="1100" b="1">
                <a:solidFill>
                  <a:srgbClr val="646464"/>
                </a:solidFill>
                <a:latin typeface="EYInterstate Light" panose="02000506000000020004" pitchFamily="2" charset="0"/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Трудовые ресурсы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673" name="Picture 672"/>
          <p:cNvPicPr>
            <a:picLocks noChangeAspect="1"/>
          </p:cNvPicPr>
          <p:nvPr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5029" y="1325461"/>
            <a:ext cx="361901" cy="361897"/>
          </a:xfrm>
          <a:prstGeom prst="rect">
            <a:avLst/>
          </a:prstGeom>
        </p:spPr>
      </p:pic>
      <p:cxnSp>
        <p:nvCxnSpPr>
          <p:cNvPr id="674" name="Straight Connector 673"/>
          <p:cNvCxnSpPr/>
          <p:nvPr/>
        </p:nvCxnSpPr>
        <p:spPr bwMode="gray">
          <a:xfrm>
            <a:off x="1970015" y="5143849"/>
            <a:ext cx="8070210" cy="0"/>
          </a:xfrm>
          <a:prstGeom prst="line">
            <a:avLst/>
          </a:prstGeom>
          <a:noFill/>
          <a:ln w="9525">
            <a:solidFill>
              <a:schemeClr val="accent1"/>
            </a:solidFill>
            <a:miter lim="800000"/>
            <a:headEnd/>
            <a:tailEnd type="none" w="med" len="med"/>
          </a:ln>
          <a:effectLst/>
        </p:spPr>
      </p:cxnSp>
      <p:sp>
        <p:nvSpPr>
          <p:cNvPr id="675" name="TextBox 674"/>
          <p:cNvSpPr txBox="1"/>
          <p:nvPr/>
        </p:nvSpPr>
        <p:spPr>
          <a:xfrm>
            <a:off x="2389133" y="4852331"/>
            <a:ext cx="3297205" cy="214708"/>
          </a:xfrm>
          <a:prstGeom prst="rect">
            <a:avLst/>
          </a:prstGeom>
          <a:noFill/>
        </p:spPr>
        <p:txBody>
          <a:bodyPr wrap="square" lIns="0" tIns="31276" rIns="0" bIns="0" rtlCol="0">
            <a:spAutoFit/>
          </a:bodyPr>
          <a:lstStyle>
            <a:defPPr>
              <a:defRPr lang="en-US"/>
            </a:defPPr>
            <a:lvl1pPr eaLnBrk="0" fontAlgn="base" hangingPunct="0">
              <a:lnSpc>
                <a:spcPct val="85000"/>
              </a:lnSpc>
              <a:spcBef>
                <a:spcPct val="50000"/>
              </a:spcBef>
              <a:spcAft>
                <a:spcPts val="513"/>
              </a:spcAft>
              <a:buClr>
                <a:srgbClr val="FFE600"/>
              </a:buClr>
              <a:buSzPct val="70000"/>
              <a:defRPr sz="1100" b="1">
                <a:solidFill>
                  <a:srgbClr val="646464"/>
                </a:solidFill>
                <a:latin typeface="EYInterstate Light" panose="02000506000000020004" pitchFamily="2" charset="0"/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Качество жизни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1293507"/>
              </p:ext>
            </p:extLst>
          </p:nvPr>
        </p:nvGraphicFramePr>
        <p:xfrm>
          <a:off x="5227305" y="5228571"/>
          <a:ext cx="4907559" cy="137781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37483"/>
                <a:gridCol w="1770076"/>
              </a:tblGrid>
              <a:tr h="19071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</a:rPr>
                        <a:t>Средняя стоимость аренды 1-2</a:t>
                      </a:r>
                      <a:r>
                        <a:rPr lang="ru-RU" sz="105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</a:rPr>
                        <a:t> комнатной квартиры, руб./месяц</a:t>
                      </a:r>
                      <a:endParaRPr lang="en-US" sz="1050" b="0" i="0" u="none" strike="noStrike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14 000 – 19</a:t>
                      </a:r>
                      <a:r>
                        <a:rPr lang="ru-RU" sz="105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 700 руб./месяц</a:t>
                      </a:r>
                      <a:endParaRPr lang="en-US" sz="1050" b="0" i="0" u="none" strike="noStrike" kern="1200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19071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</a:rPr>
                        <a:t>Наличие релевантных консульств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C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2 европейских консульства</a:t>
                      </a:r>
                      <a:endParaRPr lang="en-US" sz="1050" b="0" i="0" u="none" strike="noStrike" kern="1200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CE1"/>
                    </a:solidFill>
                  </a:tcPr>
                </a:tc>
              </a:tr>
              <a:tr h="134224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Наличие</a:t>
                      </a:r>
                      <a:r>
                        <a:rPr lang="ru-RU" sz="105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 ежедневных рейсов в Москву</a:t>
                      </a:r>
                      <a:endParaRPr lang="en-US" sz="1050" b="0" i="0" u="none" strike="noStrike" kern="1200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CE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11</a:t>
                      </a:r>
                      <a:r>
                        <a:rPr lang="ru-RU" sz="105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 рейсов</a:t>
                      </a:r>
                      <a:endParaRPr lang="en-US" sz="1050" b="0" i="0" u="none" strike="noStrike" kern="1200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CE1"/>
                    </a:solidFill>
                  </a:tcPr>
                </a:tc>
              </a:tr>
              <a:tr h="3104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</a:rPr>
                        <a:t>Доступность медицинских учреждений в административном центре</a:t>
                      </a:r>
                      <a:endParaRPr lang="en-US" sz="1050" b="0" i="0" u="none" strike="noStrike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0,5 учреждений</a:t>
                      </a:r>
                      <a:r>
                        <a:rPr lang="ru-RU" sz="105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на 1 000 человек</a:t>
                      </a:r>
                      <a:endParaRPr lang="en-US" sz="1050" b="0" i="0" u="none" strike="noStrike" kern="1200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7F"/>
                    </a:solidFill>
                  </a:tcPr>
                </a:tc>
              </a:tr>
              <a:tr h="35842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</a:rPr>
                        <a:t>Экологический</a:t>
                      </a:r>
                      <a:r>
                        <a:rPr lang="ru-RU" sz="105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</a:rPr>
                        <a:t> рейтинг региона </a:t>
                      </a:r>
                    </a:p>
                    <a:p>
                      <a:pPr algn="l" fontAlgn="ctr"/>
                      <a:r>
                        <a:rPr lang="ru-RU" sz="105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</a:rPr>
                        <a:t>(Зеленый патруль 2016)</a:t>
                      </a:r>
                      <a:endParaRPr lang="en-US" sz="1050" b="0" i="0" u="none" strike="noStrike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7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5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EYInterstate Light" panose="02000506000000020004" pitchFamily="2" charset="0"/>
                          <a:ea typeface="+mn-ea"/>
                          <a:cs typeface="+mn-cs"/>
                        </a:rPr>
                        <a:t>35 место</a:t>
                      </a:r>
                      <a:endParaRPr lang="en-US" sz="1050" b="0" i="0" u="none" strike="noStrike" kern="1200" dirty="0">
                        <a:solidFill>
                          <a:schemeClr val="bg1"/>
                        </a:solidFill>
                        <a:effectLst/>
                        <a:latin typeface="EYInterstate Light" panose="02000506000000020004" pitchFamily="2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27F"/>
                    </a:solidFill>
                  </a:tcPr>
                </a:tc>
              </a:tr>
            </a:tbl>
          </a:graphicData>
        </a:graphic>
      </p:graphicFrame>
      <p:sp>
        <p:nvSpPr>
          <p:cNvPr id="677" name="TextBox 676"/>
          <p:cNvSpPr txBox="1"/>
          <p:nvPr/>
        </p:nvSpPr>
        <p:spPr>
          <a:xfrm>
            <a:off x="3864199" y="5211661"/>
            <a:ext cx="2046990" cy="188547"/>
          </a:xfrm>
          <a:prstGeom prst="rect">
            <a:avLst/>
          </a:prstGeom>
          <a:noFill/>
        </p:spPr>
        <p:txBody>
          <a:bodyPr wrap="square" lIns="0" tIns="31276" rIns="0" bIns="0" rtlCol="0">
            <a:spAutoFit/>
          </a:bodyPr>
          <a:lstStyle>
            <a:defPPr>
              <a:defRPr lang="en-US"/>
            </a:defPPr>
            <a:lvl1pPr eaLnBrk="0" fontAlgn="base" hangingPunct="0">
              <a:lnSpc>
                <a:spcPct val="85000"/>
              </a:lnSpc>
              <a:spcBef>
                <a:spcPct val="50000"/>
              </a:spcBef>
              <a:spcAft>
                <a:spcPts val="513"/>
              </a:spcAft>
              <a:buClr>
                <a:srgbClr val="FFE600"/>
              </a:buClr>
              <a:buSzPct val="70000"/>
              <a:defRPr sz="1100" b="1">
                <a:solidFill>
                  <a:srgbClr val="646464"/>
                </a:solidFill>
                <a:latin typeface="EYInterstate Light" panose="02000506000000020004" pitchFamily="2" charset="0"/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Стоимость</a:t>
            </a:r>
            <a:endParaRPr lang="en-US" sz="1200" dirty="0"/>
          </a:p>
        </p:txBody>
      </p:sp>
      <p:sp>
        <p:nvSpPr>
          <p:cNvPr id="678" name="TextBox 677"/>
          <p:cNvSpPr txBox="1"/>
          <p:nvPr/>
        </p:nvSpPr>
        <p:spPr>
          <a:xfrm>
            <a:off x="3873986" y="5536734"/>
            <a:ext cx="1324392" cy="345514"/>
          </a:xfrm>
          <a:prstGeom prst="rect">
            <a:avLst/>
          </a:prstGeom>
          <a:noFill/>
        </p:spPr>
        <p:txBody>
          <a:bodyPr wrap="square" lIns="0" tIns="31276" rIns="0" bIns="0" rtlCol="0">
            <a:spAutoFit/>
          </a:bodyPr>
          <a:lstStyle>
            <a:defPPr>
              <a:defRPr lang="en-US"/>
            </a:defPPr>
            <a:lvl1pPr eaLnBrk="0" fontAlgn="base" hangingPunct="0">
              <a:lnSpc>
                <a:spcPct val="85000"/>
              </a:lnSpc>
              <a:spcBef>
                <a:spcPct val="50000"/>
              </a:spcBef>
              <a:spcAft>
                <a:spcPts val="513"/>
              </a:spcAft>
              <a:buClr>
                <a:srgbClr val="FFE600"/>
              </a:buClr>
              <a:buSzPct val="70000"/>
              <a:defRPr sz="1100" b="1">
                <a:solidFill>
                  <a:srgbClr val="646464"/>
                </a:solidFill>
                <a:latin typeface="EYInterstate Light" panose="02000506000000020004" pitchFamily="2" charset="0"/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Связь с головным офисом</a:t>
            </a:r>
            <a:endParaRPr lang="en-US" sz="1200" dirty="0"/>
          </a:p>
        </p:txBody>
      </p:sp>
      <p:sp>
        <p:nvSpPr>
          <p:cNvPr id="679" name="TextBox 678"/>
          <p:cNvSpPr txBox="1"/>
          <p:nvPr/>
        </p:nvSpPr>
        <p:spPr>
          <a:xfrm>
            <a:off x="3900551" y="6033083"/>
            <a:ext cx="1324392" cy="188547"/>
          </a:xfrm>
          <a:prstGeom prst="rect">
            <a:avLst/>
          </a:prstGeom>
          <a:noFill/>
        </p:spPr>
        <p:txBody>
          <a:bodyPr wrap="square" lIns="0" tIns="31276" rIns="0" bIns="0" rtlCol="0">
            <a:spAutoFit/>
          </a:bodyPr>
          <a:lstStyle>
            <a:defPPr>
              <a:defRPr lang="en-US"/>
            </a:defPPr>
            <a:lvl1pPr eaLnBrk="0" fontAlgn="base" hangingPunct="0">
              <a:lnSpc>
                <a:spcPct val="85000"/>
              </a:lnSpc>
              <a:spcBef>
                <a:spcPct val="50000"/>
              </a:spcBef>
              <a:spcAft>
                <a:spcPts val="513"/>
              </a:spcAft>
              <a:buClr>
                <a:srgbClr val="FFE600"/>
              </a:buClr>
              <a:buSzPct val="70000"/>
              <a:defRPr sz="1100" b="1">
                <a:solidFill>
                  <a:srgbClr val="646464"/>
                </a:solidFill>
                <a:latin typeface="EYInterstate Light" panose="02000506000000020004" pitchFamily="2" charset="0"/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Безопасность</a:t>
            </a:r>
            <a:endParaRPr lang="en-US" sz="1200" dirty="0"/>
          </a:p>
        </p:txBody>
      </p:sp>
      <p:pic>
        <p:nvPicPr>
          <p:cNvPr id="680" name="Picture 679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6412" y="4800588"/>
            <a:ext cx="314542" cy="314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312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043917" y="686866"/>
            <a:ext cx="7933619" cy="453274"/>
          </a:xfrm>
        </p:spPr>
        <p:txBody>
          <a:bodyPr/>
          <a:lstStyle/>
          <a:p>
            <a:r>
              <a:rPr lang="ru-RU" sz="1368" b="1" dirty="0"/>
              <a:t>Перспективные направления бизнеса в Новосибирской области</a:t>
            </a:r>
            <a:endParaRPr lang="en-US" sz="1368" b="1" dirty="0"/>
          </a:p>
        </p:txBody>
      </p:sp>
      <p:sp>
        <p:nvSpPr>
          <p:cNvPr id="6" name="Rectangle 5"/>
          <p:cNvSpPr/>
          <p:nvPr/>
        </p:nvSpPr>
        <p:spPr>
          <a:xfrm>
            <a:off x="2043917" y="1686228"/>
            <a:ext cx="8158653" cy="2817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fontAlgn="base" hangingPunct="0">
              <a:lnSpc>
                <a:spcPct val="120000"/>
              </a:lnSpc>
              <a:spcBef>
                <a:spcPts val="513"/>
              </a:spcBef>
              <a:spcAft>
                <a:spcPts val="513"/>
              </a:spcAft>
            </a:pPr>
            <a:r>
              <a:rPr lang="ru-RU" sz="1026" kern="600" dirty="0">
                <a:solidFill>
                  <a:srgbClr val="646464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Для определенных секторов экономики наиболее важным фактором является </a:t>
            </a:r>
            <a:r>
              <a:rPr lang="ru-RU" sz="1026" kern="600" dirty="0">
                <a:solidFill>
                  <a:srgbClr val="646464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инфраструктура, </a:t>
            </a:r>
            <a:r>
              <a:rPr lang="ru-RU" sz="1026" kern="600" dirty="0">
                <a:solidFill>
                  <a:srgbClr val="646464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ресурсы </a:t>
            </a:r>
            <a:r>
              <a:rPr lang="ru-RU" sz="1026" kern="600" dirty="0">
                <a:solidFill>
                  <a:srgbClr val="646464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или </a:t>
            </a:r>
            <a:r>
              <a:rPr lang="ru-RU" sz="1026" kern="600" dirty="0">
                <a:solidFill>
                  <a:srgbClr val="646464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кадровый потенциал </a:t>
            </a:r>
            <a:endParaRPr lang="en-US" sz="1026" kern="600" dirty="0">
              <a:solidFill>
                <a:srgbClr val="646464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043917" y="2109500"/>
            <a:ext cx="8102811" cy="1578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eaLnBrk="0" fontAlgn="base" hangingPunct="0">
              <a:spcAft>
                <a:spcPts val="513"/>
              </a:spcAft>
              <a:buClr>
                <a:srgbClr val="808080"/>
              </a:buClr>
              <a:buSzPct val="70000"/>
            </a:pPr>
            <a:r>
              <a:rPr lang="ru-RU" sz="1026" b="1" kern="0" dirty="0">
                <a:solidFill>
                  <a:srgbClr val="646464"/>
                </a:solidFill>
              </a:rPr>
              <a:t>Таблица наиболее перспективных отраслевых направлений для развития в Новосибирской области</a:t>
            </a:r>
            <a:endParaRPr lang="en-US" sz="1026" b="1" kern="0" dirty="0" err="1">
              <a:solidFill>
                <a:srgbClr val="646464"/>
              </a:solidFill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1232229"/>
              </p:ext>
            </p:extLst>
          </p:nvPr>
        </p:nvGraphicFramePr>
        <p:xfrm>
          <a:off x="2043917" y="2352453"/>
          <a:ext cx="8102811" cy="4104331"/>
        </p:xfrm>
        <a:graphic>
          <a:graphicData uri="http://schemas.openxmlformats.org/drawingml/2006/table">
            <a:tbl>
              <a:tblPr firstRow="1" firstCol="1" bandRow="1"/>
              <a:tblGrid>
                <a:gridCol w="444186"/>
                <a:gridCol w="1867474"/>
                <a:gridCol w="1026377"/>
                <a:gridCol w="1191591"/>
                <a:gridCol w="1271676"/>
                <a:gridCol w="1191591"/>
                <a:gridCol w="1109916"/>
              </a:tblGrid>
              <a:tr h="189004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#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6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Отрасль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6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Наиболее важный критерий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6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Инфраструктура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есурсы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адровый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отенциал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(1-5)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60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отенциал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сбыта</a:t>
                      </a:r>
                      <a:endParaRPr lang="en-US" sz="10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6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Итоговая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оценка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600"/>
                    </a:solidFill>
                  </a:tcPr>
                </a:tc>
              </a:tr>
              <a:tr h="50358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Сбыт в Сибирском федеральном округе (1-5)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Сбыт в других регионах РФ и за рубежом (1-5)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6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7801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9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90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Логистические и оптово-распределительные центры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Инфраструктура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</a:tr>
              <a:tr h="28351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9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en-US" sz="90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Медицинское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оборудование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адры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516" marR="6516" marT="6516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83C87D"/>
                    </a:solidFill>
                  </a:tcPr>
                </a:tc>
              </a:tr>
              <a:tr h="28351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9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  <a:endParaRPr lang="en-US" sz="90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Лекарственные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репараты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есурсы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адры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A2D07F"/>
                    </a:solidFill>
                  </a:tcPr>
                </a:tc>
              </a:tr>
              <a:tr h="23567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ищевая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ромышленность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есурсы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0E784"/>
                    </a:solidFill>
                  </a:tcPr>
                </a:tc>
              </a:tr>
              <a:tr h="32412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9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Высотехнологичное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оборудование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адры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0E784"/>
                    </a:solidFill>
                  </a:tcPr>
                </a:tc>
              </a:tr>
              <a:tr h="23567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9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Деревообработка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есурсы</a:t>
                      </a:r>
                      <a:endParaRPr lang="en-US" sz="90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0E784"/>
                    </a:solidFill>
                  </a:tcPr>
                </a:tc>
              </a:tr>
              <a:tr h="23567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9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7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Электроника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риборостроение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адры</a:t>
                      </a:r>
                      <a:endParaRPr lang="en-US" sz="90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0E784"/>
                    </a:solidFill>
                  </a:tcPr>
                </a:tc>
              </a:tr>
              <a:tr h="23567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9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Машиностроение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есурсы, кадры</a:t>
                      </a:r>
                      <a:endParaRPr lang="en-US" sz="90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0E784"/>
                    </a:solidFill>
                  </a:tcPr>
                </a:tc>
              </a:tr>
              <a:tr h="23567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имическая промышленность</a:t>
                      </a:r>
                      <a:endParaRPr lang="en-US" sz="90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есурсы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адры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0E784"/>
                    </a:solidFill>
                  </a:tcPr>
                </a:tc>
              </a:tr>
              <a:tr h="33572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роизводство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металлических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изделий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есурсы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0E784"/>
                    </a:solidFill>
                  </a:tcPr>
                </a:tc>
              </a:tr>
              <a:tr h="23567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9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1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роизводство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мебели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есурсы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CBF7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0E784"/>
                    </a:solidFill>
                  </a:tcPr>
                </a:tc>
              </a:tr>
              <a:tr h="39280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9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2</a:t>
                      </a:r>
                      <a:endParaRPr lang="en-US" sz="9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9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Производство одежды и иных текстильных изделий</a:t>
                      </a:r>
                      <a:endParaRPr lang="en-US" sz="90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Ресурсы</a:t>
                      </a:r>
                      <a:endParaRPr lang="en-US" sz="90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5751" marR="35751" marT="0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6516" marR="6516" marT="6516" marB="0" anchor="ctr">
                    <a:lnL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5457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GUTTER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GUTTER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GUTTER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GUTTER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GUTTER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GUTTER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GUTTER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GUTTER" val="True"/>
</p:tagLst>
</file>

<file path=ppt/theme/theme1.xml><?xml version="1.0" encoding="utf-8"?>
<a:theme xmlns:a="http://schemas.openxmlformats.org/drawingml/2006/main" name="2_TAS A4L Master">
  <a:themeElements>
    <a:clrScheme name="Custom 55">
      <a:dk1>
        <a:srgbClr val="000000"/>
      </a:dk1>
      <a:lt1>
        <a:srgbClr val="646464"/>
      </a:lt1>
      <a:dk2>
        <a:srgbClr val="FFFFFF"/>
      </a:dk2>
      <a:lt2>
        <a:srgbClr val="333333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0"/>
          </a:spcBef>
          <a:spcAft>
            <a:spcPts val="600"/>
          </a:spcAft>
          <a:defRPr sz="1000" dirty="0" smtClean="0">
            <a:solidFill>
              <a:schemeClr val="tx1"/>
            </a:solidFill>
            <a:latin typeface="+mn-lt"/>
            <a:ea typeface="+mn-ea"/>
            <a:cs typeface="Arial" pitchFamily="34" charset="0"/>
          </a:defRPr>
        </a:defPPr>
      </a:lstStyle>
    </a:spDef>
    <a:lnDef>
      <a:spPr bwMode="gray">
        <a:noFill/>
        <a:ln w="9525">
          <a:solidFill>
            <a:schemeClr val="accent1"/>
          </a:solidFill>
          <a:miter lim="800000"/>
          <a:headEnd/>
          <a:tailEnd type="none" w="med" len="med"/>
        </a:ln>
        <a:effectLst/>
      </a:spPr>
      <a:bodyPr/>
      <a:lstStyle/>
    </a:lnDef>
    <a:txDef>
      <a:spPr/>
      <a:bodyPr wrap="none" lIns="0" tIns="0" rIns="0" bIns="0" rtlCol="0">
        <a:spAutoFit/>
      </a:bodyPr>
      <a:lstStyle>
        <a:defPPr marL="171450" indent="-171450" algn="l">
          <a:spcBef>
            <a:spcPts val="0"/>
          </a:spcBef>
          <a:spcAft>
            <a:spcPts val="600"/>
          </a:spcAft>
          <a:buClr>
            <a:schemeClr val="accent1"/>
          </a:buClr>
          <a:buSzPct val="70000"/>
          <a:buFont typeface="Arial" panose="020B0604020202020204" pitchFamily="34" charset="0"/>
          <a:buChar char="►"/>
          <a:defRPr sz="1000" kern="0" dirty="0" err="1" smtClean="0"/>
        </a:defPPr>
      </a:lstStyle>
    </a:txDef>
  </a:objectDefaults>
  <a:extraClrSchemeLst>
    <a:extraClrScheme>
      <a:clrScheme name="TAS colors">
        <a:dk1>
          <a:srgbClr val="000000"/>
        </a:dk1>
        <a:lt1>
          <a:srgbClr val="646464"/>
        </a:lt1>
        <a:dk2>
          <a:srgbClr val="FFFFFF"/>
        </a:dk2>
        <a:lt2>
          <a:srgbClr val="646464"/>
        </a:lt2>
        <a:accent1>
          <a:srgbClr val="808080"/>
        </a:accent1>
        <a:accent2>
          <a:srgbClr val="FFE600"/>
        </a:accent2>
        <a:accent3>
          <a:srgbClr val="999999"/>
        </a:accent3>
        <a:accent4>
          <a:srgbClr val="F0F0F0"/>
        </a:accent4>
        <a:accent5>
          <a:srgbClr val="00A3AE"/>
        </a:accent5>
        <a:accent6>
          <a:srgbClr val="C0C0C0"/>
        </a:accent6>
        <a:hlink>
          <a:srgbClr val="336699"/>
        </a:hlink>
        <a:folHlink>
          <a:srgbClr val="91278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TAS Deliverables Enhancement_Base PPT Template_Jan_2016.pptx" id="{9E88DC66-A289-4221-BB9B-F77E17FE4B3A}" vid="{1293BCC6-5E06-46B1-A909-F5C23EB12849}"/>
    </a:ext>
  </a:extLst>
</a:theme>
</file>

<file path=ppt/theme/theme2.xml><?xml version="1.0" encoding="utf-8"?>
<a:theme xmlns:a="http://schemas.openxmlformats.org/drawingml/2006/main" name="TAS A4L Master">
  <a:themeElements>
    <a:clrScheme name="Custom 55">
      <a:dk1>
        <a:srgbClr val="000000"/>
      </a:dk1>
      <a:lt1>
        <a:srgbClr val="646464"/>
      </a:lt1>
      <a:dk2>
        <a:srgbClr val="FFFFFF"/>
      </a:dk2>
      <a:lt2>
        <a:srgbClr val="333333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137160" tIns="137160" rIns="137160" bIns="13716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0"/>
          </a:spcBef>
          <a:spcAft>
            <a:spcPts val="600"/>
          </a:spcAft>
          <a:defRPr sz="1000" dirty="0" smtClean="0">
            <a:solidFill>
              <a:schemeClr val="tx1"/>
            </a:solidFill>
            <a:latin typeface="+mn-lt"/>
            <a:ea typeface="+mn-ea"/>
            <a:cs typeface="Arial" pitchFamily="34" charset="0"/>
          </a:defRPr>
        </a:defPPr>
      </a:lstStyle>
    </a:spDef>
    <a:lnDef>
      <a:spPr bwMode="gray">
        <a:noFill/>
        <a:ln w="9525">
          <a:solidFill>
            <a:schemeClr val="accent1"/>
          </a:solidFill>
          <a:miter lim="800000"/>
          <a:headEnd/>
          <a:tailEnd type="none" w="med" len="med"/>
        </a:ln>
        <a:effectLst/>
      </a:spPr>
      <a:bodyPr/>
      <a:lstStyle/>
    </a:lnDef>
    <a:txDef>
      <a:spPr/>
      <a:bodyPr wrap="none" lIns="0" tIns="0" rIns="0" bIns="0" rtlCol="0">
        <a:spAutoFit/>
      </a:bodyPr>
      <a:lstStyle>
        <a:defPPr marL="171450" indent="-171450" algn="l">
          <a:spcBef>
            <a:spcPts val="0"/>
          </a:spcBef>
          <a:spcAft>
            <a:spcPts val="600"/>
          </a:spcAft>
          <a:buClr>
            <a:schemeClr val="accent1"/>
          </a:buClr>
          <a:buSzPct val="70000"/>
          <a:buFont typeface="Arial" panose="020B0604020202020204" pitchFamily="34" charset="0"/>
          <a:buChar char="►"/>
          <a:defRPr sz="1000" kern="0" dirty="0" err="1" smtClean="0"/>
        </a:defPPr>
      </a:lstStyle>
    </a:txDef>
  </a:objectDefaults>
  <a:extraClrSchemeLst>
    <a:extraClrScheme>
      <a:clrScheme name="TAS colors">
        <a:dk1>
          <a:srgbClr val="000000"/>
        </a:dk1>
        <a:lt1>
          <a:srgbClr val="646464"/>
        </a:lt1>
        <a:dk2>
          <a:srgbClr val="FFFFFF"/>
        </a:dk2>
        <a:lt2>
          <a:srgbClr val="646464"/>
        </a:lt2>
        <a:accent1>
          <a:srgbClr val="808080"/>
        </a:accent1>
        <a:accent2>
          <a:srgbClr val="FFE600"/>
        </a:accent2>
        <a:accent3>
          <a:srgbClr val="999999"/>
        </a:accent3>
        <a:accent4>
          <a:srgbClr val="F0F0F0"/>
        </a:accent4>
        <a:accent5>
          <a:srgbClr val="00A3AE"/>
        </a:accent5>
        <a:accent6>
          <a:srgbClr val="C0C0C0"/>
        </a:accent6>
        <a:hlink>
          <a:srgbClr val="336699"/>
        </a:hlink>
        <a:folHlink>
          <a:srgbClr val="91278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TAS Deliverables Enhancement_Base PPT Template_Jan_2016.pptx" id="{9E88DC66-A289-4221-BB9B-F77E17FE4B3A}" vid="{1293BCC6-5E06-46B1-A909-F5C23EB12849}"/>
    </a:ext>
  </a:extLst>
</a:theme>
</file>

<file path=ppt/theme/theme3.xml><?xml version="1.0" encoding="utf-8"?>
<a:theme xmlns:a="http://schemas.openxmlformats.org/drawingml/2006/main" name="EY_regular_presentation_2010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4.xml><?xml version="1.0" encoding="utf-8"?>
<a:theme xmlns:a="http://schemas.openxmlformats.org/drawingml/2006/main" name="Bullet text">
  <a:themeElements>
    <a:clrScheme name="Bullet text 1">
      <a:dk1>
        <a:srgbClr val="646464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545454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Bullet tex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36000" rIns="0" bIns="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36000" rIns="0" bIns="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 bwMode="auto">
        <a:solidFill>
          <a:schemeClr val="accent5">
            <a:lumMod val="20000"/>
            <a:lumOff val="80000"/>
          </a:schemeClr>
        </a:solidFill>
        <a:ln w="9525">
          <a:noFill/>
          <a:miter lim="800000"/>
          <a:headEnd/>
          <a:tailEnd/>
        </a:ln>
      </a:spPr>
      <a:bodyPr wrap="square" anchor="ctr">
        <a:spAutoFit/>
      </a:bodyPr>
      <a:lstStyle>
        <a:defPPr>
          <a:defRPr sz="1200" dirty="0"/>
        </a:defPPr>
      </a:lstStyle>
    </a:txDef>
  </a:objectDefaults>
  <a:extraClrSchemeLst>
    <a:extraClrScheme>
      <a:clrScheme name="Bullet text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Bullet text">
  <a:themeElements>
    <a:clrScheme name="Bullet text 1">
      <a:dk1>
        <a:srgbClr val="646464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545454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Bullet tex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36000" rIns="0" bIns="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36000" rIns="0" bIns="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 bwMode="auto">
        <a:solidFill>
          <a:schemeClr val="accent5">
            <a:lumMod val="20000"/>
            <a:lumOff val="80000"/>
          </a:schemeClr>
        </a:solidFill>
        <a:ln w="9525">
          <a:noFill/>
          <a:miter lim="800000"/>
          <a:headEnd/>
          <a:tailEnd/>
        </a:ln>
      </a:spPr>
      <a:bodyPr wrap="square" anchor="ctr">
        <a:spAutoFit/>
      </a:bodyPr>
      <a:lstStyle>
        <a:defPPr>
          <a:defRPr sz="1200" dirty="0"/>
        </a:defPPr>
      </a:lstStyle>
    </a:txDef>
  </a:objectDefaults>
  <a:extraClrSchemeLst>
    <a:extraClrScheme>
      <a:clrScheme name="Bullet text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074</TotalTime>
  <Words>1236</Words>
  <Application>Microsoft Office PowerPoint</Application>
  <PresentationFormat>Widescreen</PresentationFormat>
  <Paragraphs>335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3" baseType="lpstr">
      <vt:lpstr>Arial</vt:lpstr>
      <vt:lpstr>Arial Narrow</vt:lpstr>
      <vt:lpstr>Calibri</vt:lpstr>
      <vt:lpstr>EYInterstate Light</vt:lpstr>
      <vt:lpstr>EYInterstate Regular</vt:lpstr>
      <vt:lpstr>Times</vt:lpstr>
      <vt:lpstr>Times New Roman</vt:lpstr>
      <vt:lpstr>2_TAS A4L Master</vt:lpstr>
      <vt:lpstr>TAS A4L Master</vt:lpstr>
      <vt:lpstr>EY_regular_presentation_2010</vt:lpstr>
      <vt:lpstr>Bullet text</vt:lpstr>
      <vt:lpstr>1_Bullet text</vt:lpstr>
      <vt:lpstr>think-cell Slide</vt:lpstr>
      <vt:lpstr>Иностранные инвестиции в Новосибирскую область: Подход инвестора </vt:lpstr>
      <vt:lpstr>PowerPoint Presentation</vt:lpstr>
      <vt:lpstr>PowerPoint Presentation</vt:lpstr>
      <vt:lpstr>Развитие новых инвестиционных и экспортных проектов в Российской Федерации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Один из основных приоритетов  - технологический бизнес</vt:lpstr>
    </vt:vector>
  </TitlesOfParts>
  <Company>Ernst &amp; You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Y</dc:creator>
  <cp:lastModifiedBy>Pavel S Okhonin</cp:lastModifiedBy>
  <cp:revision>118</cp:revision>
  <cp:lastPrinted>2018-02-12T04:40:44Z</cp:lastPrinted>
  <dcterms:created xsi:type="dcterms:W3CDTF">2017-10-10T07:14:03Z</dcterms:created>
  <dcterms:modified xsi:type="dcterms:W3CDTF">2018-02-12T10:36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ppReportDate">
    <vt:lpwstr/>
  </property>
  <property fmtid="{D5CDD505-2E9C-101B-9397-08002B2CF9AE}" pid="3" name="WppReportVersion">
    <vt:lpwstr>Version 1.0</vt:lpwstr>
  </property>
  <property fmtid="{D5CDD505-2E9C-101B-9397-08002B2CF9AE}" pid="4" name="WppReportDraft">
    <vt:lpwstr>(Draft)</vt:lpwstr>
  </property>
  <property fmtid="{D5CDD505-2E9C-101B-9397-08002B2CF9AE}" pid="5" name="WppReportCurrencySymbol">
    <vt:lpwstr>$</vt:lpwstr>
  </property>
  <property fmtid="{D5CDD505-2E9C-101B-9397-08002B2CF9AE}" pid="6" name="WppReportDashboardTitleText">
    <vt:lpwstr>Dashboard</vt:lpwstr>
  </property>
  <property fmtid="{D5CDD505-2E9C-101B-9397-08002B2CF9AE}" pid="7" name="WppReportShortPageNumberFormat">
    <vt:lpwstr>Page &lt;#&gt;</vt:lpwstr>
  </property>
  <property fmtid="{D5CDD505-2E9C-101B-9397-08002B2CF9AE}" pid="8" name="WppReportLongPageNumberFormat">
    <vt:lpwstr>Page &lt;#&gt; of &lt;PageCount&gt;</vt:lpwstr>
  </property>
  <property fmtid="{D5CDD505-2E9C-101B-9397-08002B2CF9AE}" pid="9" name="WppReportTocTitleText">
    <vt:lpwstr>Table of contents</vt:lpwstr>
  </property>
  <property fmtid="{D5CDD505-2E9C-101B-9397-08002B2CF9AE}" pid="10" name="WppReportIsTocUpdateRecommended">
    <vt:bool>true</vt:bool>
  </property>
  <property fmtid="{D5CDD505-2E9C-101B-9397-08002B2CF9AE}" pid="11" name="WppReportPropertiesLastWrittenToDocument">
    <vt:filetime>2018-02-12T03:31:54Z</vt:filetime>
  </property>
</Properties>
</file>